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0.xml" ContentType="application/vnd.openxmlformats-officedocument.presentationml.tags+xml"/>
  <Override PartName="/ppt/notesSlides/notesSlide1.xml" ContentType="application/vnd.openxmlformats-officedocument.presentationml.notesSlide+xml"/>
  <Override PartName="/ppt/tags/tag51.xml" ContentType="application/vnd.openxmlformats-officedocument.presentationml.tags+xml"/>
  <Override PartName="/ppt/notesSlides/notesSlide2.xml" ContentType="application/vnd.openxmlformats-officedocument.presentationml.notesSlide+xml"/>
  <Override PartName="/ppt/tags/tag52.xml" ContentType="application/vnd.openxmlformats-officedocument.presentationml.tags+xml"/>
  <Override PartName="/ppt/notesSlides/notesSlide3.xml" ContentType="application/vnd.openxmlformats-officedocument.presentationml.notesSlide+xml"/>
  <Override PartName="/ppt/tags/tag53.xml" ContentType="application/vnd.openxmlformats-officedocument.presentationml.tags+xml"/>
  <Override PartName="/ppt/notesSlides/notesSlide4.xml" ContentType="application/vnd.openxmlformats-officedocument.presentationml.notesSlide+xml"/>
  <Override PartName="/ppt/tags/tag54.xml" ContentType="application/vnd.openxmlformats-officedocument.presentationml.tags+xml"/>
  <Override PartName="/ppt/notesSlides/notesSlide5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6.xml" ContentType="application/vnd.openxmlformats-officedocument.presentationml.notesSlide+xml"/>
  <Override PartName="/ppt/tags/tag60.xml" ContentType="application/vnd.openxmlformats-officedocument.presentationml.tags+xml"/>
  <Override PartName="/ppt/notesSlides/notesSlide7.xml" ContentType="application/vnd.openxmlformats-officedocument.presentationml.notesSlide+xml"/>
  <Override PartName="/ppt/tags/tag61.xml" ContentType="application/vnd.openxmlformats-officedocument.presentationml.tags+xml"/>
  <Override PartName="/ppt/notesSlides/notesSlide8.xml" ContentType="application/vnd.openxmlformats-officedocument.presentationml.notesSlide+xml"/>
  <Override PartName="/ppt/tags/tag62.xml" ContentType="application/vnd.openxmlformats-officedocument.presentationml.tags+xml"/>
  <Override PartName="/ppt/notesSlides/notesSlide9.xml" ContentType="application/vnd.openxmlformats-officedocument.presentationml.notesSlide+xml"/>
  <Override PartName="/ppt/tags/tag63.xml" ContentType="application/vnd.openxmlformats-officedocument.presentationml.tags+xml"/>
  <Override PartName="/ppt/notesSlides/notesSlide10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1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12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4"/>
    <p:sldMasterId id="2147483734" r:id="rId5"/>
  </p:sldMasterIdLst>
  <p:notesMasterIdLst>
    <p:notesMasterId r:id="rId33"/>
  </p:notesMasterIdLst>
  <p:handoutMasterIdLst>
    <p:handoutMasterId r:id="rId34"/>
  </p:handoutMasterIdLst>
  <p:sldIdLst>
    <p:sldId id="256" r:id="rId6"/>
    <p:sldId id="262" r:id="rId7"/>
    <p:sldId id="266" r:id="rId8"/>
    <p:sldId id="263" r:id="rId9"/>
    <p:sldId id="303" r:id="rId10"/>
    <p:sldId id="331" r:id="rId11"/>
    <p:sldId id="281" r:id="rId12"/>
    <p:sldId id="279" r:id="rId13"/>
    <p:sldId id="282" r:id="rId14"/>
    <p:sldId id="284" r:id="rId15"/>
    <p:sldId id="283" r:id="rId16"/>
    <p:sldId id="287" r:id="rId17"/>
    <p:sldId id="286" r:id="rId18"/>
    <p:sldId id="285" r:id="rId19"/>
    <p:sldId id="289" r:id="rId20"/>
    <p:sldId id="290" r:id="rId21"/>
    <p:sldId id="292" r:id="rId22"/>
    <p:sldId id="294" r:id="rId23"/>
    <p:sldId id="293" r:id="rId24"/>
    <p:sldId id="330" r:id="rId25"/>
    <p:sldId id="297" r:id="rId26"/>
    <p:sldId id="298" r:id="rId27"/>
    <p:sldId id="299" r:id="rId28"/>
    <p:sldId id="332" r:id="rId29"/>
    <p:sldId id="2147472711" r:id="rId30"/>
    <p:sldId id="307" r:id="rId31"/>
    <p:sldId id="325" r:id="rId32"/>
  </p:sldIdLst>
  <p:sldSz cx="12169775" cy="6858000"/>
  <p:notesSz cx="6858000" cy="9144000"/>
  <p:custDataLst>
    <p:tags r:id="rId3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+ Presentation title" id="{6A74CD53-0059-4B4D-833B-154F4099ADFC}">
          <p14:sldIdLst>
            <p14:sldId id="256"/>
          </p14:sldIdLst>
        </p14:section>
        <p14:section name="Rahmenbedingungen/Herausforderungen/Motivation" id="{D508666D-FD34-4B5B-9F73-7ECCC6657F8A}">
          <p14:sldIdLst/>
        </p14:section>
        <p14:section name="Vorteil &amp; Nutzen Argumentation für unser Angebot" id="{82D8B989-0534-4E63-AF3B-7C6B9D0ECD7B}">
          <p14:sldIdLst>
            <p14:sldId id="262"/>
            <p14:sldId id="266"/>
            <p14:sldId id="263"/>
            <p14:sldId id="303"/>
          </p14:sldIdLst>
        </p14:section>
        <p14:section name="Mehrwertdienste" id="{EB1FAD8B-6854-420B-BA5E-8A49A65E81BB}">
          <p14:sldIdLst>
            <p14:sldId id="331"/>
            <p14:sldId id="281"/>
            <p14:sldId id="279"/>
            <p14:sldId id="282"/>
            <p14:sldId id="284"/>
            <p14:sldId id="283"/>
            <p14:sldId id="287"/>
            <p14:sldId id="286"/>
            <p14:sldId id="285"/>
            <p14:sldId id="289"/>
            <p14:sldId id="290"/>
            <p14:sldId id="292"/>
            <p14:sldId id="294"/>
            <p14:sldId id="293"/>
          </p14:sldIdLst>
        </p14:section>
        <p14:section name="Projektbeispiele/Referenzen" id="{72C599BA-B711-44E0-9538-BBB9657DBA8E}">
          <p14:sldIdLst>
            <p14:sldId id="330"/>
            <p14:sldId id="297"/>
            <p14:sldId id="298"/>
            <p14:sldId id="299"/>
            <p14:sldId id="332"/>
            <p14:sldId id="2147472711"/>
          </p14:sldIdLst>
        </p14:section>
        <p14:section name="Technik" id="{D046C473-6FAC-4A78-A0E1-7662FF552F1D}">
          <p14:sldIdLst>
            <p14:sldId id="307"/>
          </p14:sldIdLst>
        </p14:section>
        <p14:section name="Projektimplementierung" id="{C199E784-71E8-4E8C-81CF-57B5399553A3}">
          <p14:sldIdLst/>
        </p14:section>
        <p14:section name="Consulting optional" id="{8120AE6C-4806-4A6C-8B6B-5E8DD96B5E32}">
          <p14:sldIdLst/>
        </p14:section>
        <p14:section name="Konditionen" id="{A2FB8A98-DBA0-4E70-B353-272D83606AE2}">
          <p14:sldIdLst/>
        </p14:section>
        <p14:section name="Zusammenfassung" id="{95C9448D-406C-448D-A694-5BD9DAFDD0D7}">
          <p14:sldIdLst>
            <p14:sldId id="325"/>
          </p14:sldIdLst>
        </p14:section>
        <p14:section name="Backup" id="{1B4B0840-85A3-4DA1-BB3B-A19E51E05BEA}">
          <p14:sldIdLst/>
        </p14:section>
        <p14:section name="Content" id="{EF926C84-7DA5-436C-969B-ABE0A0B32672}">
          <p14:sldIdLst/>
        </p14:section>
        <p14:section name="Appendix" id="{850AE6FF-8EBF-4EAA-A5C2-3A6130320122}">
          <p14:sldIdLst/>
        </p14:section>
        <p14:section name="Use Cases/Patientenjourney" id="{CAAB4CE8-9AF9-484E-A477-D9EEDE7D700E}">
          <p14:sldIdLst/>
        </p14:section>
      </p14:sectionLst>
    </p:ext>
    <p:ext uri="{EFAFB233-063F-42B5-8137-9DF3F51BA10A}">
      <p15:sldGuideLst xmlns:p15="http://schemas.microsoft.com/office/powerpoint/2012/main">
        <p15:guide id="1" pos="340" userDrawn="1">
          <p15:clr>
            <a:srgbClr val="A4A3A4"/>
          </p15:clr>
        </p15:guide>
        <p15:guide id="2" pos="930" userDrawn="1">
          <p15:clr>
            <a:srgbClr val="A4A3A4"/>
          </p15:clr>
        </p15:guide>
        <p15:guide id="4" pos="1410" userDrawn="1">
          <p15:clr>
            <a:srgbClr val="A4A3A4"/>
          </p15:clr>
        </p15:guide>
        <p15:guide id="6" pos="2003" userDrawn="1">
          <p15:clr>
            <a:srgbClr val="A4A3A4"/>
          </p15:clr>
        </p15:guide>
        <p15:guide id="7" pos="2117" userDrawn="1">
          <p15:clr>
            <a:srgbClr val="A4A3A4"/>
          </p15:clr>
        </p15:guide>
        <p15:guide id="8" pos="2592" userDrawn="1">
          <p15:clr>
            <a:srgbClr val="A4A3A4"/>
          </p15:clr>
        </p15:guide>
        <p15:guide id="9" pos="2705" userDrawn="1">
          <p15:clr>
            <a:srgbClr val="A4A3A4"/>
          </p15:clr>
        </p15:guide>
        <p15:guide id="10" pos="3185" userDrawn="1">
          <p15:clr>
            <a:srgbClr val="A4A3A4"/>
          </p15:clr>
        </p15:guide>
        <p15:guide id="11" pos="3299" userDrawn="1">
          <p15:clr>
            <a:srgbClr val="A4A3A4"/>
          </p15:clr>
        </p15:guide>
        <p15:guide id="12" pos="3776" userDrawn="1">
          <p15:clr>
            <a:srgbClr val="A4A3A4"/>
          </p15:clr>
        </p15:guide>
        <p15:guide id="13" pos="3890" userDrawn="1">
          <p15:clr>
            <a:srgbClr val="A4A3A4"/>
          </p15:clr>
        </p15:guide>
        <p15:guide id="15" pos="4482" userDrawn="1">
          <p15:clr>
            <a:srgbClr val="A4A3A4"/>
          </p15:clr>
        </p15:guide>
        <p15:guide id="16" pos="4959" userDrawn="1">
          <p15:clr>
            <a:srgbClr val="A4A3A4"/>
          </p15:clr>
        </p15:guide>
        <p15:guide id="18" pos="5552" userDrawn="1">
          <p15:clr>
            <a:srgbClr val="A4A3A4"/>
          </p15:clr>
        </p15:guide>
        <p15:guide id="19" pos="5666" userDrawn="1">
          <p15:clr>
            <a:srgbClr val="A4A3A4"/>
          </p15:clr>
        </p15:guide>
        <p15:guide id="20" pos="6143" userDrawn="1">
          <p15:clr>
            <a:srgbClr val="A4A3A4"/>
          </p15:clr>
        </p15:guide>
        <p15:guide id="21" pos="6237" userDrawn="1">
          <p15:clr>
            <a:srgbClr val="A4A3A4"/>
          </p15:clr>
        </p15:guide>
        <p15:guide id="22" pos="6734" userDrawn="1">
          <p15:clr>
            <a:srgbClr val="A4A3A4"/>
          </p15:clr>
        </p15:guide>
        <p15:guide id="24" pos="7325" userDrawn="1">
          <p15:clr>
            <a:srgbClr val="A4A3A4"/>
          </p15:clr>
        </p15:guide>
        <p15:guide id="25" orient="horz" pos="3902" userDrawn="1">
          <p15:clr>
            <a:srgbClr val="A4A3A4"/>
          </p15:clr>
        </p15:guide>
        <p15:guide id="26" orient="horz" pos="663" userDrawn="1">
          <p15:clr>
            <a:srgbClr val="A4A3A4"/>
          </p15:clr>
        </p15:guide>
        <p15:guide id="27" orient="horz" pos="10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F4ACB2A-5258-72B1-5550-DC01B08AA697}" name="Mahr, Thilo" initials="MT" userId="S::thilo.mahr@siemens-healthineers.com::8c1662f6-2810-4d9f-833f-344995b3b834" providerId="AD"/>
  <p188:author id="{C28B3242-5EC9-B123-BBAB-4B8492ACB2DA}" name="Schulz, Linda" initials="SL" userId="S::schulz.linda@siemens-healthineers.com::b47c55c7-d293-4845-9a85-e892e04e728a" providerId="AD"/>
  <p188:author id="{C34F587D-084B-363E-B4FC-B9E214848EBD}" name="Becker, Kim" initials="BK" userId="S::kim.becker@siemens-healthineers.com::551edd55-a56f-41ee-9264-9f933f0ec6d7" providerId="AD"/>
  <p188:author id="{17790FA2-20BC-5152-F0F0-CEFBE1C9A090}" name="Carolin Schmitt" initials="CS" userId="S::carolin.schmitt@siemens-healthineers.com::deeeb2ef-20c4-43c1-995c-12b8010edf12" providerId="AD"/>
  <p188:author id="{80368DBF-029D-B2EE-8A4C-CA146062D25A}" name="Resch, Stefan" initials="RS" userId="S::stefan.resch@siemens-healthineers.com::cbc6892e-866c-4717-80cc-50f00c9b031e" providerId="AD"/>
  <p188:author id="{594C5AE4-C62B-3706-7B35-1158DBBCEE93}" name="Ihls, Alexander" initials="IA" userId="S::alexander.ihls@siemens-healthineers.com::314af338-451c-4fbe-b272-d01587db6fc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-1-5-21-2414005191-2431363525-1628603290-159728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D9BE"/>
    <a:srgbClr val="FFFFFF"/>
    <a:srgbClr val="FF9900"/>
    <a:srgbClr val="F9D9D2"/>
    <a:srgbClr val="F1F1F1"/>
    <a:srgbClr val="80CC9C"/>
    <a:srgbClr val="FFF3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A043D2C-A1F6-44BF-BE22-31DDACE0F46E}" vWet="2" dt="2024-05-02T15:52:05.691"/>
    <p1510:client id="{9F49361A-A648-4F24-A1F3-9C74743D95F5}" v="18" dt="2024-05-02T15:53:01.887"/>
  </p1510:revLst>
</p1510:revInfo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pos="340"/>
        <p:guide pos="930"/>
        <p:guide pos="1410"/>
        <p:guide pos="2003"/>
        <p:guide pos="2117"/>
        <p:guide pos="2592"/>
        <p:guide pos="2705"/>
        <p:guide pos="3185"/>
        <p:guide pos="3299"/>
        <p:guide pos="3776"/>
        <p:guide pos="3890"/>
        <p:guide pos="4482"/>
        <p:guide pos="4959"/>
        <p:guide pos="5552"/>
        <p:guide pos="5666"/>
        <p:guide pos="6143"/>
        <p:guide pos="6237"/>
        <p:guide pos="6734"/>
        <p:guide pos="7325"/>
        <p:guide orient="horz" pos="3902"/>
        <p:guide orient="horz" pos="663"/>
        <p:guide orient="horz" pos="102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heme" Target="theme/theme1.xml"/><Relationship Id="rId21" Type="http://schemas.openxmlformats.org/officeDocument/2006/relationships/slide" Target="slides/slide16.xml"/><Relationship Id="rId34" Type="http://schemas.openxmlformats.org/officeDocument/2006/relationships/handoutMaster" Target="handoutMasters/handoutMaster1.xml"/><Relationship Id="rId42" Type="http://schemas.microsoft.com/office/2015/10/relationships/revisionInfo" Target="revisionInfo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ags" Target="tags/tag1.xml"/><Relationship Id="rId43" Type="http://schemas.microsoft.com/office/2018/10/relationships/authors" Target="author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esch, Stefan" userId="cbc6892e-866c-4717-80cc-50f00c9b031e" providerId="ADAL" clId="{9F49361A-A648-4F24-A1F3-9C74743D95F5}"/>
    <pc:docChg chg="modSld sldOrd">
      <pc:chgData name="Resch, Stefan" userId="cbc6892e-866c-4717-80cc-50f00c9b031e" providerId="ADAL" clId="{9F49361A-A648-4F24-A1F3-9C74743D95F5}" dt="2024-05-02T15:53:01.888" v="18" actId="20577"/>
      <pc:docMkLst>
        <pc:docMk/>
      </pc:docMkLst>
      <pc:sldChg chg="modSp mod">
        <pc:chgData name="Resch, Stefan" userId="cbc6892e-866c-4717-80cc-50f00c9b031e" providerId="ADAL" clId="{9F49361A-A648-4F24-A1F3-9C74743D95F5}" dt="2024-05-02T15:53:01.888" v="18" actId="20577"/>
        <pc:sldMkLst>
          <pc:docMk/>
          <pc:sldMk cId="1329170867" sldId="256"/>
        </pc:sldMkLst>
        <pc:spChg chg="mod">
          <ac:chgData name="Resch, Stefan" userId="cbc6892e-866c-4717-80cc-50f00c9b031e" providerId="ADAL" clId="{9F49361A-A648-4F24-A1F3-9C74743D95F5}" dt="2024-05-02T15:53:01.888" v="18" actId="20577"/>
          <ac:spMkLst>
            <pc:docMk/>
            <pc:sldMk cId="1329170867" sldId="256"/>
            <ac:spMk id="4" creationId="{80B37447-1921-7285-8A66-E074C46903ED}"/>
          </ac:spMkLst>
        </pc:spChg>
      </pc:sldChg>
      <pc:sldChg chg="mod ord modShow">
        <pc:chgData name="Resch, Stefan" userId="cbc6892e-866c-4717-80cc-50f00c9b031e" providerId="ADAL" clId="{9F49361A-A648-4F24-A1F3-9C74743D95F5}" dt="2024-05-02T15:51:16.868" v="2"/>
        <pc:sldMkLst>
          <pc:docMk/>
          <pc:sldMk cId="1088980500" sldId="266"/>
        </pc:sldMkLst>
      </pc:sldChg>
      <pc:sldChg chg="mod modShow">
        <pc:chgData name="Resch, Stefan" userId="cbc6892e-866c-4717-80cc-50f00c9b031e" providerId="ADAL" clId="{9F49361A-A648-4F24-A1F3-9C74743D95F5}" dt="2024-05-02T15:51:56.119" v="4" actId="729"/>
        <pc:sldMkLst>
          <pc:docMk/>
          <pc:sldMk cId="3545076332" sldId="279"/>
        </pc:sldMkLst>
      </pc:sldChg>
      <pc:sldChg chg="mod modShow">
        <pc:chgData name="Resch, Stefan" userId="cbc6892e-866c-4717-80cc-50f00c9b031e" providerId="ADAL" clId="{9F49361A-A648-4F24-A1F3-9C74743D95F5}" dt="2024-05-02T15:52:11.437" v="5" actId="729"/>
        <pc:sldMkLst>
          <pc:docMk/>
          <pc:sldMk cId="3488664717" sldId="285"/>
        </pc:sldMkLst>
      </pc:sldChg>
      <pc:sldChg chg="mod modShow">
        <pc:chgData name="Resch, Stefan" userId="cbc6892e-866c-4717-80cc-50f00c9b031e" providerId="ADAL" clId="{9F49361A-A648-4F24-A1F3-9C74743D95F5}" dt="2024-05-02T15:51:36.002" v="3" actId="729"/>
        <pc:sldMkLst>
          <pc:docMk/>
          <pc:sldMk cId="2966392353" sldId="303"/>
        </pc:sldMkLst>
      </pc:sldChg>
      <pc:sldChg chg="mod modShow">
        <pc:chgData name="Resch, Stefan" userId="cbc6892e-866c-4717-80cc-50f00c9b031e" providerId="ADAL" clId="{9F49361A-A648-4F24-A1F3-9C74743D95F5}" dt="2024-05-02T15:52:47.923" v="6" actId="729"/>
        <pc:sldMkLst>
          <pc:docMk/>
          <pc:sldMk cId="3528317663" sldId="307"/>
        </pc:sldMkLst>
      </pc:sldChg>
    </pc:docChg>
  </pc:docChgLst>
  <pc:docChgLst>
    <pc:chgData name="Stromer, Daniel" userId="94a66bb3-c7c5-4e0b-96c4-ad0fc13446c3" providerId="ADAL" clId="{78A75B05-7BEC-4351-9981-260FD72A5927}"/>
    <pc:docChg chg="modSld">
      <pc:chgData name="Stromer, Daniel" userId="94a66bb3-c7c5-4e0b-96c4-ad0fc13446c3" providerId="ADAL" clId="{78A75B05-7BEC-4351-9981-260FD72A5927}" dt="2024-04-19T09:10:44.734" v="75" actId="729"/>
      <pc:docMkLst>
        <pc:docMk/>
      </pc:docMkLst>
      <pc:sldChg chg="modSp mod">
        <pc:chgData name="Stromer, Daniel" userId="94a66bb3-c7c5-4e0b-96c4-ad0fc13446c3" providerId="ADAL" clId="{78A75B05-7BEC-4351-9981-260FD72A5927}" dt="2024-04-19T09:07:28.872" v="65" actId="20577"/>
        <pc:sldMkLst>
          <pc:docMk/>
          <pc:sldMk cId="1329170867" sldId="256"/>
        </pc:sldMkLst>
        <pc:spChg chg="mod">
          <ac:chgData name="Stromer, Daniel" userId="94a66bb3-c7c5-4e0b-96c4-ad0fc13446c3" providerId="ADAL" clId="{78A75B05-7BEC-4351-9981-260FD72A5927}" dt="2024-04-19T09:07:06.104" v="59" actId="255"/>
          <ac:spMkLst>
            <pc:docMk/>
            <pc:sldMk cId="1329170867" sldId="256"/>
            <ac:spMk id="2" creationId="{A3A6C69E-D0B8-6728-005D-86630AC13981}"/>
          </ac:spMkLst>
        </pc:spChg>
        <pc:spChg chg="mod">
          <ac:chgData name="Stromer, Daniel" userId="94a66bb3-c7c5-4e0b-96c4-ad0fc13446c3" providerId="ADAL" clId="{78A75B05-7BEC-4351-9981-260FD72A5927}" dt="2024-04-19T09:07:28.872" v="65" actId="20577"/>
          <ac:spMkLst>
            <pc:docMk/>
            <pc:sldMk cId="1329170867" sldId="256"/>
            <ac:spMk id="3" creationId="{4C0C6088-05C5-2751-4715-65C9B831240C}"/>
          </ac:spMkLst>
        </pc:spChg>
        <pc:spChg chg="mod">
          <ac:chgData name="Stromer, Daniel" userId="94a66bb3-c7c5-4e0b-96c4-ad0fc13446c3" providerId="ADAL" clId="{78A75B05-7BEC-4351-9981-260FD72A5927}" dt="2024-04-19T09:06:54.472" v="55" actId="20577"/>
          <ac:spMkLst>
            <pc:docMk/>
            <pc:sldMk cId="1329170867" sldId="256"/>
            <ac:spMk id="4" creationId="{80B37447-1921-7285-8A66-E074C46903ED}"/>
          </ac:spMkLst>
        </pc:spChg>
      </pc:sldChg>
      <pc:sldChg chg="mod modShow">
        <pc:chgData name="Stromer, Daniel" userId="94a66bb3-c7c5-4e0b-96c4-ad0fc13446c3" providerId="ADAL" clId="{78A75B05-7BEC-4351-9981-260FD72A5927}" dt="2024-04-19T09:08:03.699" v="66" actId="729"/>
        <pc:sldMkLst>
          <pc:docMk/>
          <pc:sldMk cId="4230993304" sldId="281"/>
        </pc:sldMkLst>
      </pc:sldChg>
      <pc:sldChg chg="mod modShow">
        <pc:chgData name="Stromer, Daniel" userId="94a66bb3-c7c5-4e0b-96c4-ad0fc13446c3" providerId="ADAL" clId="{78A75B05-7BEC-4351-9981-260FD72A5927}" dt="2024-04-19T09:08:41.222" v="69" actId="729"/>
        <pc:sldMkLst>
          <pc:docMk/>
          <pc:sldMk cId="3488664717" sldId="285"/>
        </pc:sldMkLst>
      </pc:sldChg>
      <pc:sldChg chg="mod modShow">
        <pc:chgData name="Stromer, Daniel" userId="94a66bb3-c7c5-4e0b-96c4-ad0fc13446c3" providerId="ADAL" clId="{78A75B05-7BEC-4351-9981-260FD72A5927}" dt="2024-04-19T09:08:36.268" v="68" actId="729"/>
        <pc:sldMkLst>
          <pc:docMk/>
          <pc:sldMk cId="15123534" sldId="286"/>
        </pc:sldMkLst>
      </pc:sldChg>
      <pc:sldChg chg="mod modShow">
        <pc:chgData name="Stromer, Daniel" userId="94a66bb3-c7c5-4e0b-96c4-ad0fc13446c3" providerId="ADAL" clId="{78A75B05-7BEC-4351-9981-260FD72A5927}" dt="2024-04-19T09:08:31.326" v="67" actId="729"/>
        <pc:sldMkLst>
          <pc:docMk/>
          <pc:sldMk cId="1620549504" sldId="287"/>
        </pc:sldMkLst>
      </pc:sldChg>
      <pc:sldChg chg="mod modShow">
        <pc:chgData name="Stromer, Daniel" userId="94a66bb3-c7c5-4e0b-96c4-ad0fc13446c3" providerId="ADAL" clId="{78A75B05-7BEC-4351-9981-260FD72A5927}" dt="2024-04-19T09:08:45.325" v="70" actId="729"/>
        <pc:sldMkLst>
          <pc:docMk/>
          <pc:sldMk cId="908838304" sldId="289"/>
        </pc:sldMkLst>
      </pc:sldChg>
      <pc:sldChg chg="mod modShow">
        <pc:chgData name="Stromer, Daniel" userId="94a66bb3-c7c5-4e0b-96c4-ad0fc13446c3" providerId="ADAL" clId="{78A75B05-7BEC-4351-9981-260FD72A5927}" dt="2024-04-19T09:10:16.743" v="73" actId="729"/>
        <pc:sldMkLst>
          <pc:docMk/>
          <pc:sldMk cId="754594594" sldId="290"/>
        </pc:sldMkLst>
      </pc:sldChg>
      <pc:sldChg chg="mod modShow">
        <pc:chgData name="Stromer, Daniel" userId="94a66bb3-c7c5-4e0b-96c4-ad0fc13446c3" providerId="ADAL" clId="{78A75B05-7BEC-4351-9981-260FD72A5927}" dt="2024-04-19T09:09:10.629" v="72" actId="729"/>
        <pc:sldMkLst>
          <pc:docMk/>
          <pc:sldMk cId="411775386" sldId="297"/>
        </pc:sldMkLst>
      </pc:sldChg>
      <pc:sldChg chg="mod modShow">
        <pc:chgData name="Stromer, Daniel" userId="94a66bb3-c7c5-4e0b-96c4-ad0fc13446c3" providerId="ADAL" clId="{78A75B05-7BEC-4351-9981-260FD72A5927}" dt="2024-04-19T09:09:06.826" v="71" actId="729"/>
        <pc:sldMkLst>
          <pc:docMk/>
          <pc:sldMk cId="1844031248" sldId="298"/>
        </pc:sldMkLst>
      </pc:sldChg>
      <pc:sldChg chg="mod modShow">
        <pc:chgData name="Stromer, Daniel" userId="94a66bb3-c7c5-4e0b-96c4-ad0fc13446c3" providerId="ADAL" clId="{78A75B05-7BEC-4351-9981-260FD72A5927}" dt="2024-04-19T09:10:30.352" v="74" actId="729"/>
        <pc:sldMkLst>
          <pc:docMk/>
          <pc:sldMk cId="2455869565" sldId="299"/>
        </pc:sldMkLst>
      </pc:sldChg>
      <pc:sldChg chg="mod modShow">
        <pc:chgData name="Stromer, Daniel" userId="94a66bb3-c7c5-4e0b-96c4-ad0fc13446c3" providerId="ADAL" clId="{78A75B05-7BEC-4351-9981-260FD72A5927}" dt="2024-04-19T09:10:44.734" v="75" actId="729"/>
        <pc:sldMkLst>
          <pc:docMk/>
          <pc:sldMk cId="3020790875" sldId="2147472711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5200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336413" y="0"/>
            <a:ext cx="25200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BDA71A-1B2A-4433-8945-45370C4DCDE9}" type="datetimeFigureOut">
              <a:rPr lang="de-DE" smtClean="0"/>
              <a:t>02.05.2024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5200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336413" y="8685213"/>
            <a:ext cx="25200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de-DE" b="1"/>
              <a:t>Handout No. </a:t>
            </a:r>
            <a:fld id="{B49B9624-A158-41A9-AA0A-67326D52065F}" type="slidenum">
              <a:rPr lang="de-DE" smtClean="0"/>
              <a:t>‹#›</a:t>
            </a:fld>
            <a:endParaRPr lang="de-DE"/>
          </a:p>
        </p:txBody>
      </p:sp>
      <p:pic>
        <p:nvPicPr>
          <p:cNvPr id="6" name="Picture 6" descr="\\vmware-host\Shared Folders\von PS\Siemens Healthineers\sh_logo_RGB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72206" y="98628"/>
            <a:ext cx="1512000" cy="360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7200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5200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336413" y="0"/>
            <a:ext cx="25200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03F07D9B-B795-4FD2-B57A-16A22194EECE}" type="datetimeFigureOut">
              <a:rPr lang="de-DE" smtClean="0"/>
              <a:pPr/>
              <a:t>02.05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7350" y="685800"/>
            <a:ext cx="60833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5200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336413" y="8685213"/>
            <a:ext cx="25200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8" name="Picture 6" descr="\\vmware-host\Shared Folders\von PS\Siemens Healthineers\sh_logo_RGB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2206" y="98628"/>
            <a:ext cx="1512000" cy="360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94359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26341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0" i="0" u="none" strike="noStrike" baseline="0"/>
              <a:t>Das webbasierte Ärzteportal</a:t>
            </a:r>
            <a:r>
              <a:rPr lang="de-DE" sz="1100" baseline="30000"/>
              <a:t>1</a:t>
            </a:r>
            <a:r>
              <a:rPr lang="de-DE" b="0" i="0" u="none" strike="noStrike" baseline="0"/>
              <a:t> ermöglicht den Zugriff auf strukturierte und auch unstrukturierte Daten von Patient*innen</a:t>
            </a:r>
            <a:r>
              <a:rPr lang="de-DE"/>
              <a:t>. Über das Portal werden auch die externen medizinischen Leistungserbringer an die Plattform angebunde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rteile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b="0" i="0" u="none" strike="noStrike" baseline="0"/>
              <a:t>Sicherer Zugriff</a:t>
            </a:r>
            <a:r>
              <a:rPr lang="de-DE" sz="1400" baseline="30000"/>
              <a:t>2</a:t>
            </a:r>
            <a:r>
              <a:rPr lang="de-DE" sz="1400" b="0" i="0" u="none" strike="noStrike" baseline="0"/>
              <a:t> auf medizinische Daten (bei vorheriger Zustimmung seitens Patient*in)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/>
              <a:t>Beitrag zur Reduktion der Aufwände bei administrativen Aufgaben und papierbasierten Arbeitsabläufen</a:t>
            </a:r>
            <a:endParaRPr lang="de-DE" sz="1400" b="0" i="0" u="none" strike="noStrike" baseline="0">
              <a:cs typeface="Calibri"/>
            </a:endParaRP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b="0" i="0" u="none" strike="noStrike" baseline="0"/>
              <a:t>Einfache Integration in bestehende IT-Infrastrukturen sowie weiterer Mehrwert-Applikationen von Siemens und Drittanbietern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endParaRPr lang="de-DE" sz="1400" b="0" i="0" u="none" strike="noStrike" baseline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unktione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ompakte, individuell konfigurierbare </a:t>
            </a:r>
            <a:r>
              <a:rPr lang="de-DE" sz="1400">
                <a:solidFill>
                  <a:srgbClr val="000000"/>
                </a:solidFill>
                <a:latin typeface="Calibri"/>
              </a:rPr>
              <a:t>Darstellung der 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zinischen Daten einer zu behandelnden Person (Patient</a:t>
            </a:r>
            <a:r>
              <a:rPr lang="de-DE" sz="1400">
                <a:solidFill>
                  <a:srgbClr val="000000"/>
                </a:solidFill>
                <a:latin typeface="Calibri"/>
              </a:rPr>
              <a:t>en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rt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richteter Befundversand – Tool zum digitalen Versenden von Befunden an involvierte Expert*innen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b="0">
                <a:solidFill>
                  <a:srgbClr val="000000"/>
                </a:solidFill>
                <a:latin typeface="Calibri"/>
              </a:rPr>
              <a:t>Digitales Zu- und Überweisungstool zur effizienten Übermittlung von Informationen an weitere Leistungserbringer</a:t>
            </a:r>
            <a:endParaRPr lang="de-DE" sz="1400" b="0">
              <a:solidFill>
                <a:srgbClr val="000000"/>
              </a:solidFill>
              <a:highlight>
                <a:srgbClr val="FFFF00"/>
              </a:highlight>
              <a:latin typeface="Calibri"/>
            </a:endParaRP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b="0">
                <a:solidFill>
                  <a:srgbClr val="000000"/>
                </a:solidFill>
                <a:latin typeface="Calibri"/>
              </a:rPr>
              <a:t>Anpassbare Darstellung aller Laborwerte mit Hervorhebung kritischer Werte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endParaRPr lang="de-DE" sz="1400" b="0" i="0" u="none" strike="noStrike" baseline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i="0" u="none" strike="noStrike" baseline="0">
              <a:cs typeface="Calibri"/>
            </a:endParaRP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56726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5101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141038-3205-4BB5-A815-D152094B29B2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95205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91689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6261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21835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800" b="1"/>
              <a:t>Alex:</a:t>
            </a:r>
          </a:p>
          <a:p>
            <a:endParaRPr lang="de-DE"/>
          </a:p>
          <a:p>
            <a:r>
              <a:rPr lang="de-DE" sz="1200"/>
              <a:t>Wenige zentrale Komponenten</a:t>
            </a:r>
          </a:p>
          <a:p>
            <a:endParaRPr lang="de-DE" sz="1200"/>
          </a:p>
          <a:p>
            <a:r>
              <a:rPr lang="de-DE" sz="1200"/>
              <a:t>Medizinische Daten bleiben dezentral in der Obhut der Leistungserbringer</a:t>
            </a:r>
          </a:p>
          <a:p>
            <a:endParaRPr lang="de-DE" sz="1200"/>
          </a:p>
          <a:p>
            <a:r>
              <a:rPr lang="de-DE" sz="1200"/>
              <a:t>Anbindung von TI und Partner Anwendungen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0966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0" i="0" u="none" strike="noStrike" baseline="0"/>
              <a:t>Das webbasierte Ärzteportal</a:t>
            </a:r>
            <a:r>
              <a:rPr lang="de-DE" sz="1100" baseline="30000"/>
              <a:t>1</a:t>
            </a:r>
            <a:r>
              <a:rPr lang="de-DE" b="0" i="0" u="none" strike="noStrike" baseline="0"/>
              <a:t> ermöglicht den Zugriff auf strukturierte und auch unstrukturierte Daten von Patient*innen</a:t>
            </a:r>
            <a:r>
              <a:rPr lang="de-DE"/>
              <a:t>. Über das Portal werden auch die externen medizinischen Leistungserbringer an die Plattform angebunde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rteile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b="0" i="0" u="none" strike="noStrike" baseline="0"/>
              <a:t>Sicherer Zugriff</a:t>
            </a:r>
            <a:r>
              <a:rPr lang="de-DE" sz="1400" baseline="30000"/>
              <a:t>2</a:t>
            </a:r>
            <a:r>
              <a:rPr lang="de-DE" sz="1400" b="0" i="0" u="none" strike="noStrike" baseline="0"/>
              <a:t> auf medizinische Daten (bei vorheriger Zustimmung seitens Patient*in)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/>
              <a:t>Beitrag zur Reduktion der Aufwände bei administrativen Aufgaben und papierbasierten Arbeitsabläufen</a:t>
            </a:r>
            <a:endParaRPr lang="de-DE" sz="1400" b="0" i="0" u="none" strike="noStrike" baseline="0">
              <a:cs typeface="Calibri"/>
            </a:endParaRP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b="0" i="0" u="none" strike="noStrike" baseline="0"/>
              <a:t>Einfache Integration in bestehende IT-Infrastrukturen sowie weiterer Mehrwert-Applikationen von Siemens und Drittanbietern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endParaRPr lang="de-DE" sz="1400" b="0" i="0" u="none" strike="noStrike" baseline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unktione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ompakte, individuell konfigurierbare </a:t>
            </a:r>
            <a:r>
              <a:rPr lang="de-DE" sz="1400">
                <a:solidFill>
                  <a:srgbClr val="000000"/>
                </a:solidFill>
                <a:latin typeface="Calibri"/>
              </a:rPr>
              <a:t>Darstellung der 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zinischen Daten einer zu behandelnden Person (Patient</a:t>
            </a:r>
            <a:r>
              <a:rPr lang="de-DE" sz="1400">
                <a:solidFill>
                  <a:srgbClr val="000000"/>
                </a:solidFill>
                <a:latin typeface="Calibri"/>
              </a:rPr>
              <a:t>en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rt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richteter Befundversand – Tool zum digitalen Versenden von Befunden an involvierte Expert*innen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b="0">
                <a:solidFill>
                  <a:srgbClr val="000000"/>
                </a:solidFill>
                <a:latin typeface="Calibri"/>
              </a:rPr>
              <a:t>Digitales Zu- und Überweisungstool zur effizienten Übermittlung von Informationen an weitere Leistungserbringer</a:t>
            </a:r>
            <a:endParaRPr lang="de-DE" sz="1400" b="0">
              <a:solidFill>
                <a:srgbClr val="000000"/>
              </a:solidFill>
              <a:highlight>
                <a:srgbClr val="FFFF00"/>
              </a:highlight>
              <a:latin typeface="Calibri"/>
            </a:endParaRP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b="0">
                <a:solidFill>
                  <a:srgbClr val="000000"/>
                </a:solidFill>
                <a:latin typeface="Calibri"/>
              </a:rPr>
              <a:t>Anpassbare Darstellung aller Laborwerte mit Hervorhebung kritischer Werte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endParaRPr lang="de-DE" sz="1400" b="0" i="0" u="none" strike="noStrike" baseline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i="0" u="none" strike="noStrike" baseline="0">
              <a:cs typeface="Calibri"/>
            </a:endParaRP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83385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0" i="0" u="none" strike="noStrike" baseline="0"/>
              <a:t>Das webbasierte Ärzteportal</a:t>
            </a:r>
            <a:r>
              <a:rPr lang="de-DE" sz="1100" baseline="30000"/>
              <a:t>1</a:t>
            </a:r>
            <a:r>
              <a:rPr lang="de-DE" b="0" i="0" u="none" strike="noStrike" baseline="0"/>
              <a:t> ermöglicht den Zugriff auf strukturierte und auch unstrukturierte Daten von Patient*innen</a:t>
            </a:r>
            <a:r>
              <a:rPr lang="de-DE"/>
              <a:t>. Über das Portal werden auch die externen medizinischen Leistungserbringer an die Plattform angebunde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rteile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b="0" i="0" u="none" strike="noStrike" baseline="0"/>
              <a:t>Sicherer Zugriff</a:t>
            </a:r>
            <a:r>
              <a:rPr lang="de-DE" sz="1400" baseline="30000"/>
              <a:t>2</a:t>
            </a:r>
            <a:r>
              <a:rPr lang="de-DE" sz="1400" b="0" i="0" u="none" strike="noStrike" baseline="0"/>
              <a:t> auf medizinische Daten (bei vorheriger Zustimmung seitens Patient*in)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/>
              <a:t>Beitrag zur Reduktion der Aufwände bei administrativen Aufgaben und papierbasierten Arbeitsabläufen</a:t>
            </a:r>
            <a:endParaRPr lang="de-DE" sz="1400" b="0" i="0" u="none" strike="noStrike" baseline="0">
              <a:cs typeface="Calibri"/>
            </a:endParaRP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b="0" i="0" u="none" strike="noStrike" baseline="0"/>
              <a:t>Einfache Integration in bestehende IT-Infrastrukturen sowie weiterer Mehrwert-Applikationen von Siemens und Drittanbietern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endParaRPr lang="de-DE" sz="1400" b="0" i="0" u="none" strike="noStrike" baseline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unktione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ompakte, individuell konfigurierbare </a:t>
            </a:r>
            <a:r>
              <a:rPr lang="de-DE" sz="1400">
                <a:solidFill>
                  <a:srgbClr val="000000"/>
                </a:solidFill>
                <a:latin typeface="Calibri"/>
              </a:rPr>
              <a:t>Darstellung der 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zinischen Daten einer zu behandelnden Person (Patient</a:t>
            </a:r>
            <a:r>
              <a:rPr lang="de-DE" sz="1400">
                <a:solidFill>
                  <a:srgbClr val="000000"/>
                </a:solidFill>
                <a:latin typeface="Calibri"/>
              </a:rPr>
              <a:t>en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rt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richteter Befundversand – Tool zum digitalen Versenden von Befunden an involvierte Expert*innen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b="0">
                <a:solidFill>
                  <a:srgbClr val="000000"/>
                </a:solidFill>
                <a:latin typeface="Calibri"/>
              </a:rPr>
              <a:t>Digitales Zu- und Überweisungstool zur effizienten Übermittlung von Informationen an weitere Leistungserbringer</a:t>
            </a:r>
            <a:endParaRPr lang="de-DE" sz="1400" b="0">
              <a:solidFill>
                <a:srgbClr val="000000"/>
              </a:solidFill>
              <a:highlight>
                <a:srgbClr val="FFFF00"/>
              </a:highlight>
              <a:latin typeface="Calibri"/>
            </a:endParaRP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b="0">
                <a:solidFill>
                  <a:srgbClr val="000000"/>
                </a:solidFill>
                <a:latin typeface="Calibri"/>
              </a:rPr>
              <a:t>Anpassbare Darstellung aller Laborwerte mit Hervorhebung kritischer Werte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endParaRPr lang="de-DE" sz="1400" b="0" i="0" u="none" strike="noStrike" baseline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i="0" u="none" strike="noStrike" baseline="0">
              <a:cs typeface="Calibri"/>
            </a:endParaRP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97447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0" i="0" u="none" strike="noStrike" baseline="0"/>
              <a:t>Das webbasierte Ärzteportal</a:t>
            </a:r>
            <a:r>
              <a:rPr lang="de-DE" sz="1100" baseline="30000"/>
              <a:t>1</a:t>
            </a:r>
            <a:r>
              <a:rPr lang="de-DE" b="0" i="0" u="none" strike="noStrike" baseline="0"/>
              <a:t> ermöglicht den Zugriff auf strukturierte und auch unstrukturierte Daten von Patient*innen</a:t>
            </a:r>
            <a:r>
              <a:rPr lang="de-DE"/>
              <a:t>. Über das Portal werden auch die externen medizinischen Leistungserbringer an die Plattform angebunde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rteile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b="0" i="0" u="none" strike="noStrike" baseline="0"/>
              <a:t>Sicherer Zugriff</a:t>
            </a:r>
            <a:r>
              <a:rPr lang="de-DE" sz="1400" baseline="30000"/>
              <a:t>2</a:t>
            </a:r>
            <a:r>
              <a:rPr lang="de-DE" sz="1400" b="0" i="0" u="none" strike="noStrike" baseline="0"/>
              <a:t> auf medizinische Daten (bei vorheriger Zustimmung seitens Patient*in)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/>
              <a:t>Beitrag zur Reduktion der Aufwände bei administrativen Aufgaben und papierbasierten Arbeitsabläufen</a:t>
            </a:r>
            <a:endParaRPr lang="de-DE" sz="1400" b="0" i="0" u="none" strike="noStrike" baseline="0">
              <a:cs typeface="Calibri"/>
            </a:endParaRP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b="0" i="0" u="none" strike="noStrike" baseline="0"/>
              <a:t>Einfache Integration in bestehende IT-Infrastrukturen sowie weiterer Mehrwert-Applikationen von Siemens und Drittanbietern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endParaRPr lang="de-DE" sz="1400" b="0" i="0" u="none" strike="noStrike" baseline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unktione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ompakte, individuell konfigurierbare </a:t>
            </a:r>
            <a:r>
              <a:rPr lang="de-DE" sz="1400">
                <a:solidFill>
                  <a:srgbClr val="000000"/>
                </a:solidFill>
                <a:latin typeface="Calibri"/>
              </a:rPr>
              <a:t>Darstellung der 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zinischen Daten einer zu behandelnden Person (Patient</a:t>
            </a:r>
            <a:r>
              <a:rPr lang="de-DE" sz="1400">
                <a:solidFill>
                  <a:srgbClr val="000000"/>
                </a:solidFill>
                <a:latin typeface="Calibri"/>
              </a:rPr>
              <a:t>en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rt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richteter Befundversand – Tool zum digitalen Versenden von Befunden an involvierte Expert*innen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b="0">
                <a:solidFill>
                  <a:srgbClr val="000000"/>
                </a:solidFill>
                <a:latin typeface="Calibri"/>
              </a:rPr>
              <a:t>Digitales Zu- und Überweisungstool zur effizienten Übermittlung von Informationen an weitere Leistungserbringer</a:t>
            </a:r>
            <a:endParaRPr lang="de-DE" sz="1400" b="0">
              <a:solidFill>
                <a:srgbClr val="000000"/>
              </a:solidFill>
              <a:highlight>
                <a:srgbClr val="FFFF00"/>
              </a:highlight>
              <a:latin typeface="Calibri"/>
            </a:endParaRP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b="0">
                <a:solidFill>
                  <a:srgbClr val="000000"/>
                </a:solidFill>
                <a:latin typeface="Calibri"/>
              </a:rPr>
              <a:t>Anpassbare Darstellung aller Laborwerte mit Hervorhebung kritischer Werte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endParaRPr lang="de-DE" sz="1400" b="0" i="0" u="none" strike="noStrike" baseline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i="0" u="none" strike="noStrike" baseline="0">
              <a:cs typeface="Calibri"/>
            </a:endParaRP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73387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0" i="0" u="none" strike="noStrike" baseline="0"/>
              <a:t>Das webbasierte Ärzteportal</a:t>
            </a:r>
            <a:r>
              <a:rPr lang="de-DE" sz="1100" baseline="30000"/>
              <a:t>1</a:t>
            </a:r>
            <a:r>
              <a:rPr lang="de-DE" b="0" i="0" u="none" strike="noStrike" baseline="0"/>
              <a:t> ermöglicht den Zugriff auf strukturierte und auch unstrukturierte Daten von Patient*innen</a:t>
            </a:r>
            <a:r>
              <a:rPr lang="de-DE"/>
              <a:t>. Über das Portal werden auch die externen medizinischen Leistungserbringer an die Plattform angebunde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rteile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b="0" i="0" u="none" strike="noStrike" baseline="0"/>
              <a:t>Sicherer Zugriff</a:t>
            </a:r>
            <a:r>
              <a:rPr lang="de-DE" sz="1400" baseline="30000"/>
              <a:t>2</a:t>
            </a:r>
            <a:r>
              <a:rPr lang="de-DE" sz="1400" b="0" i="0" u="none" strike="noStrike" baseline="0"/>
              <a:t> auf medizinische Daten (bei vorheriger Zustimmung seitens Patient*in)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/>
              <a:t>Beitrag zur Reduktion der Aufwände bei administrativen Aufgaben und papierbasierten Arbeitsabläufen</a:t>
            </a:r>
            <a:endParaRPr lang="de-DE" sz="1400" b="0" i="0" u="none" strike="noStrike" baseline="0">
              <a:cs typeface="Calibri"/>
            </a:endParaRP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b="0" i="0" u="none" strike="noStrike" baseline="0"/>
              <a:t>Einfache Integration in bestehende IT-Infrastrukturen sowie weiterer Mehrwert-Applikationen von Siemens und Drittanbietern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endParaRPr lang="de-DE" sz="1400" b="0" i="0" u="none" strike="noStrike" baseline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unktione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ompakte, individuell konfigurierbare </a:t>
            </a:r>
            <a:r>
              <a:rPr lang="de-DE" sz="1400">
                <a:solidFill>
                  <a:srgbClr val="000000"/>
                </a:solidFill>
                <a:latin typeface="Calibri"/>
              </a:rPr>
              <a:t>Darstellung der 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zinischen Daten einer zu behandelnden Person (Patient</a:t>
            </a:r>
            <a:r>
              <a:rPr lang="de-DE" sz="1400">
                <a:solidFill>
                  <a:srgbClr val="000000"/>
                </a:solidFill>
                <a:latin typeface="Calibri"/>
              </a:rPr>
              <a:t>en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rt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richteter Befundversand – Tool zum digitalen Versenden von Befunden an involvierte Expert*innen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b="0">
                <a:solidFill>
                  <a:srgbClr val="000000"/>
                </a:solidFill>
                <a:latin typeface="Calibri"/>
              </a:rPr>
              <a:t>Digitales Zu- und Überweisungstool zur effizienten Übermittlung von Informationen an weitere Leistungserbringer</a:t>
            </a:r>
            <a:endParaRPr lang="de-DE" sz="1400" b="0">
              <a:solidFill>
                <a:srgbClr val="000000"/>
              </a:solidFill>
              <a:highlight>
                <a:srgbClr val="FFFF00"/>
              </a:highlight>
              <a:latin typeface="Calibri"/>
            </a:endParaRP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b="0">
                <a:solidFill>
                  <a:srgbClr val="000000"/>
                </a:solidFill>
                <a:latin typeface="Calibri"/>
              </a:rPr>
              <a:t>Anpassbare Darstellung aller Laborwerte mit Hervorhebung kritischer Werte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endParaRPr lang="de-DE" sz="1400" b="0" i="0" u="none" strike="noStrike" baseline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i="0" u="none" strike="noStrike" baseline="0">
              <a:cs typeface="Calibri"/>
            </a:endParaRP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68337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image" Target="../media/image2.jpeg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image" Target="../media/image2.jpeg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 Title Picture">
    <p:bg bwMode="ltGray"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6F64EF9-06B2-D873-53AD-AFFAD04B25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447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6F64EF9-06B2-D873-53AD-AFFAD04B25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067DF58E-A6E6-A0DE-45C2-359E076D37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654" t="30206" r="13994" b="25082"/>
          <a:stretch/>
        </p:blipFill>
        <p:spPr>
          <a:xfrm>
            <a:off x="6206232" y="1619251"/>
            <a:ext cx="5963540" cy="5093192"/>
          </a:xfrm>
          <a:prstGeom prst="rect">
            <a:avLst/>
          </a:prstGeom>
        </p:spPr>
      </p:pic>
      <p:sp>
        <p:nvSpPr>
          <p:cNvPr id="4" name="White cover"/>
          <p:cNvSpPr/>
          <p:nvPr userDrawn="1"/>
        </p:nvSpPr>
        <p:spPr bwMode="white">
          <a:xfrm>
            <a:off x="2" y="0"/>
            <a:ext cx="12169773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de-DE"/>
              <a:t>Optional subhead</a:t>
            </a:r>
            <a:endParaRPr lang="de-DE" noProof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1" y="1915073"/>
            <a:ext cx="5462766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Headline </a:t>
            </a:r>
            <a:br>
              <a:rPr lang="de-DE"/>
            </a:br>
            <a:r>
              <a:rPr lang="de-DE"/>
              <a:t>Calibri Bold 52 pt</a:t>
            </a:r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de-DE"/>
              <a:t>Presenter Calibri 16 pt</a:t>
            </a:r>
            <a:br>
              <a:rPr lang="de-DE"/>
            </a:br>
            <a:r>
              <a:rPr lang="de-DE"/>
              <a:t>English, Month 20XX</a:t>
            </a:r>
          </a:p>
        </p:txBody>
      </p:sp>
      <p:sp>
        <p:nvSpPr>
          <p:cNvPr id="5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de-DE" sz="1000">
                <a:solidFill>
                  <a:schemeClr val="bg1"/>
                </a:solidFill>
              </a:rPr>
              <a:t>Frei verwendbar © Siemens Healthineers, 2023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 b="1">
                <a:solidFill>
                  <a:schemeClr val="tx1"/>
                </a:solidFill>
                <a:latin typeface="+mn-lt"/>
              </a:rPr>
              <a:t>The animation</a:t>
            </a:r>
            <a:r>
              <a:rPr lang="de-DE" sz="1100">
                <a:solidFill>
                  <a:schemeClr val="tx1"/>
                </a:solidFill>
                <a:latin typeface="+mn-lt"/>
              </a:rPr>
              <a:t> </a:t>
            </a:r>
            <a:r>
              <a:rPr lang="de-DE" sz="110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de-DE" sz="1100">
                <a:solidFill>
                  <a:schemeClr val="tx1"/>
                </a:solidFill>
                <a:latin typeface="+mn-lt"/>
              </a:rPr>
              <a:t>can be </a:t>
            </a:r>
            <a:r>
              <a:rPr lang="de-DE" sz="1100">
                <a:solidFill>
                  <a:schemeClr val="tx1"/>
                </a:solidFill>
              </a:rPr>
              <a:t>optionally  </a:t>
            </a:r>
            <a:r>
              <a:rPr lang="de-DE" sz="110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pPr rtl="0"/>
            <a:endParaRPr lang="de-DE" sz="1100">
              <a:solidFill>
                <a:schemeClr val="bg1"/>
              </a:solidFill>
              <a:latin typeface="+mn-lt"/>
            </a:endParaRPr>
          </a:p>
          <a:p>
            <a:pPr rtl="0"/>
            <a:r>
              <a:rPr lang="de-DE" sz="110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pPr rtl="0"/>
            <a:r>
              <a:rPr lang="de-DE" sz="110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:a16="http://schemas.microsoft.com/office/drawing/2014/main" id="{308C3086-C876-432D-8B3E-89699301CAE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0232" y="5999014"/>
            <a:ext cx="2826000" cy="144267"/>
          </a:xfrm>
          <a:prstGeom prst="rect">
            <a:avLst/>
          </a:prstGeom>
        </p:spPr>
      </p:pic>
      <p:sp>
        <p:nvSpPr>
          <p:cNvPr id="14" name="Abgerundetes Rechteck 8">
            <a:extLst>
              <a:ext uri="{FF2B5EF4-FFF2-40B4-BE49-F238E27FC236}">
                <a16:creationId xmlns:a16="http://schemas.microsoft.com/office/drawing/2014/main" id="{F28C118A-C910-4A30-B1F0-95D02F39904B}"/>
              </a:ext>
            </a:extLst>
          </p:cNvPr>
          <p:cNvSpPr/>
          <p:nvPr userDrawn="1"/>
        </p:nvSpPr>
        <p:spPr>
          <a:xfrm>
            <a:off x="12560400" y="4655790"/>
            <a:ext cx="1800000" cy="624002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 b="0">
                <a:solidFill>
                  <a:schemeClr val="tx1"/>
                </a:solidFill>
                <a:latin typeface="+mn-lt"/>
              </a:rPr>
              <a:t>Select </a:t>
            </a:r>
            <a:r>
              <a:rPr lang="de-DE" sz="1100" b="1">
                <a:solidFill>
                  <a:schemeClr val="tx1"/>
                </a:solidFill>
                <a:latin typeface="+mn-lt"/>
              </a:rPr>
              <a:t>additional title motifs </a:t>
            </a:r>
            <a:r>
              <a:rPr lang="de-DE" sz="1100" b="0">
                <a:solidFill>
                  <a:schemeClr val="tx1"/>
                </a:solidFill>
                <a:latin typeface="+mn-lt"/>
              </a:rPr>
              <a:t>from the separate PPT </a:t>
            </a:r>
            <a:br>
              <a:rPr lang="de-DE" sz="1100" b="0">
                <a:solidFill>
                  <a:schemeClr val="tx1"/>
                </a:solidFill>
                <a:latin typeface="+mn-lt"/>
              </a:rPr>
            </a:br>
            <a:r>
              <a:rPr lang="de-DE" sz="1100" b="0">
                <a:solidFill>
                  <a:schemeClr val="tx1"/>
                </a:solidFill>
                <a:latin typeface="+mn-lt"/>
              </a:rPr>
              <a:t>“Title variations”.</a:t>
            </a:r>
            <a:endParaRPr lang="de-DE" sz="110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15" name="Marker">
            <a:extLst>
              <a:ext uri="{FF2B5EF4-FFF2-40B4-BE49-F238E27FC236}">
                <a16:creationId xmlns:a16="http://schemas.microsoft.com/office/drawing/2014/main" id="{203C11FA-C801-422E-9F79-C2E5974841E6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6" name="Gerade Verbindung 40">
              <a:extLst>
                <a:ext uri="{FF2B5EF4-FFF2-40B4-BE49-F238E27FC236}">
                  <a16:creationId xmlns:a16="http://schemas.microsoft.com/office/drawing/2014/main" id="{D031BCF9-84E8-418E-8AEE-B4A2B10E5918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42">
              <a:extLst>
                <a:ext uri="{FF2B5EF4-FFF2-40B4-BE49-F238E27FC236}">
                  <a16:creationId xmlns:a16="http://schemas.microsoft.com/office/drawing/2014/main" id="{1D25D2D7-52B1-4264-905E-74357A728837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45">
              <a:extLst>
                <a:ext uri="{FF2B5EF4-FFF2-40B4-BE49-F238E27FC236}">
                  <a16:creationId xmlns:a16="http://schemas.microsoft.com/office/drawing/2014/main" id="{85ECCCE4-B347-4562-8B5B-B3E088D3D159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6">
              <a:extLst>
                <a:ext uri="{FF2B5EF4-FFF2-40B4-BE49-F238E27FC236}">
                  <a16:creationId xmlns:a16="http://schemas.microsoft.com/office/drawing/2014/main" id="{315FF164-B668-4C95-AEA8-E6F5CC67C93A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48">
              <a:extLst>
                <a:ext uri="{FF2B5EF4-FFF2-40B4-BE49-F238E27FC236}">
                  <a16:creationId xmlns:a16="http://schemas.microsoft.com/office/drawing/2014/main" id="{36C0B5C8-A467-47E4-ACF3-2FCB141DA49B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49">
              <a:extLst>
                <a:ext uri="{FF2B5EF4-FFF2-40B4-BE49-F238E27FC236}">
                  <a16:creationId xmlns:a16="http://schemas.microsoft.com/office/drawing/2014/main" id="{8A8AE28F-68E3-4218-952B-C0FB3F688811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51">
              <a:extLst>
                <a:ext uri="{FF2B5EF4-FFF2-40B4-BE49-F238E27FC236}">
                  <a16:creationId xmlns:a16="http://schemas.microsoft.com/office/drawing/2014/main" id="{3882FEFD-B94C-4415-AE3C-8086BDD12083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52">
              <a:extLst>
                <a:ext uri="{FF2B5EF4-FFF2-40B4-BE49-F238E27FC236}">
                  <a16:creationId xmlns:a16="http://schemas.microsoft.com/office/drawing/2014/main" id="{9E1DB1E3-A940-41E6-9F3A-36C5C8601D04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54">
              <a:extLst>
                <a:ext uri="{FF2B5EF4-FFF2-40B4-BE49-F238E27FC236}">
                  <a16:creationId xmlns:a16="http://schemas.microsoft.com/office/drawing/2014/main" id="{323BB452-D519-4469-9765-A3C850B79D11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55">
              <a:extLst>
                <a:ext uri="{FF2B5EF4-FFF2-40B4-BE49-F238E27FC236}">
                  <a16:creationId xmlns:a16="http://schemas.microsoft.com/office/drawing/2014/main" id="{29051F2C-2511-4120-AC66-085B495C7FA1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57">
              <a:extLst>
                <a:ext uri="{FF2B5EF4-FFF2-40B4-BE49-F238E27FC236}">
                  <a16:creationId xmlns:a16="http://schemas.microsoft.com/office/drawing/2014/main" id="{3430B135-E97B-47D7-8172-AFD15657CFE1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58">
              <a:extLst>
                <a:ext uri="{FF2B5EF4-FFF2-40B4-BE49-F238E27FC236}">
                  <a16:creationId xmlns:a16="http://schemas.microsoft.com/office/drawing/2014/main" id="{2C069331-5413-4B72-9AEA-08F8ADCC6545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60">
              <a:extLst>
                <a:ext uri="{FF2B5EF4-FFF2-40B4-BE49-F238E27FC236}">
                  <a16:creationId xmlns:a16="http://schemas.microsoft.com/office/drawing/2014/main" id="{D07E6B36-BA28-4E87-91F8-55139D3C3365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61">
              <a:extLst>
                <a:ext uri="{FF2B5EF4-FFF2-40B4-BE49-F238E27FC236}">
                  <a16:creationId xmlns:a16="http://schemas.microsoft.com/office/drawing/2014/main" id="{3C4A2EF8-87AB-4682-A30A-222A2FA12F0E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63">
              <a:extLst>
                <a:ext uri="{FF2B5EF4-FFF2-40B4-BE49-F238E27FC236}">
                  <a16:creationId xmlns:a16="http://schemas.microsoft.com/office/drawing/2014/main" id="{6257EF58-8D83-4A04-B443-F526CB33AE20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4">
              <a:extLst>
                <a:ext uri="{FF2B5EF4-FFF2-40B4-BE49-F238E27FC236}">
                  <a16:creationId xmlns:a16="http://schemas.microsoft.com/office/drawing/2014/main" id="{63906B93-993A-4648-B44A-2386B2441F01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6">
              <a:extLst>
                <a:ext uri="{FF2B5EF4-FFF2-40B4-BE49-F238E27FC236}">
                  <a16:creationId xmlns:a16="http://schemas.microsoft.com/office/drawing/2014/main" id="{B9C31A83-830E-4A5A-8314-DB3E89114FC2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67">
              <a:extLst>
                <a:ext uri="{FF2B5EF4-FFF2-40B4-BE49-F238E27FC236}">
                  <a16:creationId xmlns:a16="http://schemas.microsoft.com/office/drawing/2014/main" id="{CC8E7EF9-479C-4DB3-82D2-82C0CCC5D05F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69">
              <a:extLst>
                <a:ext uri="{FF2B5EF4-FFF2-40B4-BE49-F238E27FC236}">
                  <a16:creationId xmlns:a16="http://schemas.microsoft.com/office/drawing/2014/main" id="{BFC9E558-F3F8-4DAF-A516-33495045A13B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70">
              <a:extLst>
                <a:ext uri="{FF2B5EF4-FFF2-40B4-BE49-F238E27FC236}">
                  <a16:creationId xmlns:a16="http://schemas.microsoft.com/office/drawing/2014/main" id="{0504A52C-3752-40E6-95AB-794C2A68CC89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2">
              <a:extLst>
                <a:ext uri="{FF2B5EF4-FFF2-40B4-BE49-F238E27FC236}">
                  <a16:creationId xmlns:a16="http://schemas.microsoft.com/office/drawing/2014/main" id="{9BB79F82-2710-4AE1-BD2A-100F090EF68F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3">
              <a:extLst>
                <a:ext uri="{FF2B5EF4-FFF2-40B4-BE49-F238E27FC236}">
                  <a16:creationId xmlns:a16="http://schemas.microsoft.com/office/drawing/2014/main" id="{F36F7042-6F55-4FCB-BDE4-BD8F2223A01E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75">
              <a:extLst>
                <a:ext uri="{FF2B5EF4-FFF2-40B4-BE49-F238E27FC236}">
                  <a16:creationId xmlns:a16="http://schemas.microsoft.com/office/drawing/2014/main" id="{9C257BB2-225E-4BCC-873B-4B1BD0C0F232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76">
              <a:extLst>
                <a:ext uri="{FF2B5EF4-FFF2-40B4-BE49-F238E27FC236}">
                  <a16:creationId xmlns:a16="http://schemas.microsoft.com/office/drawing/2014/main" id="{8FEFE920-8C03-4463-975F-E8447FB83B5E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78">
              <a:extLst>
                <a:ext uri="{FF2B5EF4-FFF2-40B4-BE49-F238E27FC236}">
                  <a16:creationId xmlns:a16="http://schemas.microsoft.com/office/drawing/2014/main" id="{B158C3D5-4534-4AB7-8811-788588FA1D5A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79">
              <a:extLst>
                <a:ext uri="{FF2B5EF4-FFF2-40B4-BE49-F238E27FC236}">
                  <a16:creationId xmlns:a16="http://schemas.microsoft.com/office/drawing/2014/main" id="{22FBA77D-965C-4C41-9021-507DE370743D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1">
              <a:extLst>
                <a:ext uri="{FF2B5EF4-FFF2-40B4-BE49-F238E27FC236}">
                  <a16:creationId xmlns:a16="http://schemas.microsoft.com/office/drawing/2014/main" id="{867B7C5F-B47A-444D-8880-87F0716A71B5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2">
              <a:extLst>
                <a:ext uri="{FF2B5EF4-FFF2-40B4-BE49-F238E27FC236}">
                  <a16:creationId xmlns:a16="http://schemas.microsoft.com/office/drawing/2014/main" id="{317C26FD-B9F6-47B4-BC29-771058AC8F2E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4">
              <a:extLst>
                <a:ext uri="{FF2B5EF4-FFF2-40B4-BE49-F238E27FC236}">
                  <a16:creationId xmlns:a16="http://schemas.microsoft.com/office/drawing/2014/main" id="{43CC7CA0-655B-49B5-B948-1E68522B6157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5">
              <a:extLst>
                <a:ext uri="{FF2B5EF4-FFF2-40B4-BE49-F238E27FC236}">
                  <a16:creationId xmlns:a16="http://schemas.microsoft.com/office/drawing/2014/main" id="{6FBD5E04-E84B-45D5-A232-6FC4F81AD25E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87">
              <a:extLst>
                <a:ext uri="{FF2B5EF4-FFF2-40B4-BE49-F238E27FC236}">
                  <a16:creationId xmlns:a16="http://schemas.microsoft.com/office/drawing/2014/main" id="{8D6CA0C7-3FA0-44C0-994A-3BBC4C546525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88">
              <a:extLst>
                <a:ext uri="{FF2B5EF4-FFF2-40B4-BE49-F238E27FC236}">
                  <a16:creationId xmlns:a16="http://schemas.microsoft.com/office/drawing/2014/main" id="{877272A0-7777-4F51-AD84-F1F92B270336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90">
              <a:extLst>
                <a:ext uri="{FF2B5EF4-FFF2-40B4-BE49-F238E27FC236}">
                  <a16:creationId xmlns:a16="http://schemas.microsoft.com/office/drawing/2014/main" id="{74DE5DBA-63A1-4777-8047-C7BFADB2D2AB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91">
              <a:extLst>
                <a:ext uri="{FF2B5EF4-FFF2-40B4-BE49-F238E27FC236}">
                  <a16:creationId xmlns:a16="http://schemas.microsoft.com/office/drawing/2014/main" id="{DF58D9B6-961F-4D33-AC18-7AE5FA8F3E6C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93">
              <a:extLst>
                <a:ext uri="{FF2B5EF4-FFF2-40B4-BE49-F238E27FC236}">
                  <a16:creationId xmlns:a16="http://schemas.microsoft.com/office/drawing/2014/main" id="{21659B66-2B95-4CF8-8F6F-A9AE6FCEADC4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94">
              <a:extLst>
                <a:ext uri="{FF2B5EF4-FFF2-40B4-BE49-F238E27FC236}">
                  <a16:creationId xmlns:a16="http://schemas.microsoft.com/office/drawing/2014/main" id="{3D19B761-521D-48E5-AA1C-F5C30B8A3CC3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96">
              <a:extLst>
                <a:ext uri="{FF2B5EF4-FFF2-40B4-BE49-F238E27FC236}">
                  <a16:creationId xmlns:a16="http://schemas.microsoft.com/office/drawing/2014/main" id="{D9E491F3-912F-4B84-B4DD-2DFF3278FA94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97">
              <a:extLst>
                <a:ext uri="{FF2B5EF4-FFF2-40B4-BE49-F238E27FC236}">
                  <a16:creationId xmlns:a16="http://schemas.microsoft.com/office/drawing/2014/main" id="{C4221A51-0C53-4EFE-912B-CA87AC2DC1DD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99">
              <a:extLst>
                <a:ext uri="{FF2B5EF4-FFF2-40B4-BE49-F238E27FC236}">
                  <a16:creationId xmlns:a16="http://schemas.microsoft.com/office/drawing/2014/main" id="{9CA6994E-1B4A-4E05-A3D4-3583EA04880D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00">
              <a:extLst>
                <a:ext uri="{FF2B5EF4-FFF2-40B4-BE49-F238E27FC236}">
                  <a16:creationId xmlns:a16="http://schemas.microsoft.com/office/drawing/2014/main" id="{664579E4-BC0D-4958-946A-B6BAFBA42376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2">
              <a:extLst>
                <a:ext uri="{FF2B5EF4-FFF2-40B4-BE49-F238E27FC236}">
                  <a16:creationId xmlns:a16="http://schemas.microsoft.com/office/drawing/2014/main" id="{6CA6B543-E849-4BE2-B037-7395D0979AEF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3">
              <a:extLst>
                <a:ext uri="{FF2B5EF4-FFF2-40B4-BE49-F238E27FC236}">
                  <a16:creationId xmlns:a16="http://schemas.microsoft.com/office/drawing/2014/main" id="{B9940D95-8960-4063-942F-55A28C7A2B0A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05">
              <a:extLst>
                <a:ext uri="{FF2B5EF4-FFF2-40B4-BE49-F238E27FC236}">
                  <a16:creationId xmlns:a16="http://schemas.microsoft.com/office/drawing/2014/main" id="{D00674EB-F78E-4C40-A700-5F7C74AEAEE2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06">
              <a:extLst>
                <a:ext uri="{FF2B5EF4-FFF2-40B4-BE49-F238E27FC236}">
                  <a16:creationId xmlns:a16="http://schemas.microsoft.com/office/drawing/2014/main" id="{0DCA50F4-A9B2-428A-AA54-4B8B1917B2ED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08">
              <a:extLst>
                <a:ext uri="{FF2B5EF4-FFF2-40B4-BE49-F238E27FC236}">
                  <a16:creationId xmlns:a16="http://schemas.microsoft.com/office/drawing/2014/main" id="{CA5ECE16-73D5-46E1-B089-9B7169059B79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09">
              <a:extLst>
                <a:ext uri="{FF2B5EF4-FFF2-40B4-BE49-F238E27FC236}">
                  <a16:creationId xmlns:a16="http://schemas.microsoft.com/office/drawing/2014/main" id="{A9717020-CD0B-4476-B79C-3D756C65F958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11">
              <a:extLst>
                <a:ext uri="{FF2B5EF4-FFF2-40B4-BE49-F238E27FC236}">
                  <a16:creationId xmlns:a16="http://schemas.microsoft.com/office/drawing/2014/main" id="{8B06A486-9375-4512-827A-9BAEC13DE8FC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12">
              <a:extLst>
                <a:ext uri="{FF2B5EF4-FFF2-40B4-BE49-F238E27FC236}">
                  <a16:creationId xmlns:a16="http://schemas.microsoft.com/office/drawing/2014/main" id="{92619BC7-7172-44EB-AAB6-52A42888788A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14">
              <a:extLst>
                <a:ext uri="{FF2B5EF4-FFF2-40B4-BE49-F238E27FC236}">
                  <a16:creationId xmlns:a16="http://schemas.microsoft.com/office/drawing/2014/main" id="{FDB24C7D-14A7-40A1-B129-2B27A7DC201A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16">
              <a:extLst>
                <a:ext uri="{FF2B5EF4-FFF2-40B4-BE49-F238E27FC236}">
                  <a16:creationId xmlns:a16="http://schemas.microsoft.com/office/drawing/2014/main" id="{AC339FA9-9FFA-48BD-A241-A1DAEFB32F09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117">
              <a:extLst>
                <a:ext uri="{FF2B5EF4-FFF2-40B4-BE49-F238E27FC236}">
                  <a16:creationId xmlns:a16="http://schemas.microsoft.com/office/drawing/2014/main" id="{A4849DAA-078A-4163-9703-070F6832D1A7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118">
              <a:extLst>
                <a:ext uri="{FF2B5EF4-FFF2-40B4-BE49-F238E27FC236}">
                  <a16:creationId xmlns:a16="http://schemas.microsoft.com/office/drawing/2014/main" id="{56D9B350-C6E2-4B86-8B3B-182430D737AB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414978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ext and Pict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79C7F11-E758-C8AB-66A1-4F91001E67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9440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79C7F11-E758-C8AB-66A1-4F91001E67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le Calibri Bold 28 pt</a:t>
            </a:r>
          </a:p>
        </p:txBody>
      </p:sp>
      <p:sp>
        <p:nvSpPr>
          <p:cNvPr id="5" name="Content">
            <a:extLst>
              <a:ext uri="{FF2B5EF4-FFF2-40B4-BE49-F238E27FC236}">
                <a16:creationId xmlns:a16="http://schemas.microsoft.com/office/drawing/2014/main" id="{9C6F4BCA-FA11-41BC-899F-4225802B0B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40000" y="1623600"/>
            <a:ext cx="4510800" cy="4572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1623600"/>
            <a:ext cx="5453063" cy="4572000"/>
          </a:xfrm>
        </p:spPr>
        <p:txBody>
          <a:bodyPr lIns="180000" tIns="180000" rIns="180000" bIns="180000"/>
          <a:lstStyle>
            <a:lvl1pPr rtl="0">
              <a:defRPr b="1"/>
            </a:lvl1pPr>
          </a:lstStyle>
          <a:p>
            <a:r>
              <a:rPr lang="de-DE" noProof="0"/>
              <a:t>Add a </a:t>
            </a:r>
            <a:r>
              <a:rPr lang="de-DE" noProof="0" err="1"/>
              <a:t>picture</a:t>
            </a:r>
            <a:endParaRPr lang="de-DE" noProof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1000" b="0"/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7" name="Author">
            <a:extLst>
              <a:ext uri="{FF2B5EF4-FFF2-40B4-BE49-F238E27FC236}">
                <a16:creationId xmlns:a16="http://schemas.microsoft.com/office/drawing/2014/main" id="{26CB829D-BCCA-4C81-9883-CB2EF6F5A81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0A0C2692-8EAB-494D-9DDD-3D6F2724AC8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1722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wo Text Box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6893E44-688A-7C88-0186-38C34010BE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0646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6893E44-688A-7C88-0186-38C34010BE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le Calibri Bold 28 pt</a:t>
            </a:r>
          </a:p>
        </p:txBody>
      </p:sp>
      <p:sp>
        <p:nvSpPr>
          <p:cNvPr id="4" name="Content left column">
            <a:extLst>
              <a:ext uri="{FF2B5EF4-FFF2-40B4-BE49-F238E27FC236}">
                <a16:creationId xmlns:a16="http://schemas.microsoft.com/office/drawing/2014/main" id="{4FDBB5BE-FB7F-472A-B808-A79C66F99FE9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000" y="1623600"/>
            <a:ext cx="5454000" cy="4572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12" name="Content right column">
            <a:extLst>
              <a:ext uri="{FF2B5EF4-FFF2-40B4-BE49-F238E27FC236}">
                <a16:creationId xmlns:a16="http://schemas.microsoft.com/office/drawing/2014/main" id="{239F9EB4-5513-4EE9-8F49-510E69716E1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174438" y="1623600"/>
            <a:ext cx="5454000" cy="4572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1000" b="0"/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lnSpc>
                <a:spcPct val="100000"/>
              </a:lnSpc>
              <a:defRPr/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15" name="Siemens Healthineers logo">
            <a:extLst>
              <a:ext uri="{FF2B5EF4-FFF2-40B4-BE49-F238E27FC236}">
                <a16:creationId xmlns:a16="http://schemas.microsoft.com/office/drawing/2014/main" id="{F7C407CE-0992-4EA4-8D73-20B7A51247F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6042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lack with marg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68A5D89-B449-FB3D-AB98-0C620EB68C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053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68A5D89-B449-FB3D-AB98-0C620EB68C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Black layer"/>
          <p:cNvSpPr/>
          <p:nvPr userDrawn="1"/>
        </p:nvSpPr>
        <p:spPr bwMode="white">
          <a:xfrm>
            <a:off x="2" y="0"/>
            <a:ext cx="805497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/>
          </a:p>
        </p:txBody>
      </p:sp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40001" y="219599"/>
            <a:ext cx="6394200" cy="8329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/>
              <a:t>Title Calibri Bold 28 pt</a:t>
            </a:r>
          </a:p>
        </p:txBody>
      </p:sp>
      <p:sp>
        <p:nvSpPr>
          <p:cNvPr id="102" name="Content"/>
          <p:cNvSpPr>
            <a:spLocks noGrp="1"/>
          </p:cNvSpPr>
          <p:nvPr>
            <p:ph idx="1" hasCustomPrompt="1"/>
          </p:nvPr>
        </p:nvSpPr>
        <p:spPr>
          <a:xfrm>
            <a:off x="540000" y="1623600"/>
            <a:ext cx="6394200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4" name="Margin content">
            <a:extLst>
              <a:ext uri="{FF2B5EF4-FFF2-40B4-BE49-F238E27FC236}">
                <a16:creationId xmlns:a16="http://schemas.microsoft.com/office/drawing/2014/main" id="{B7D38A37-9AC1-413C-B8AD-491DCC7608B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93188" y="1623600"/>
            <a:ext cx="1874837" cy="1275698"/>
          </a:xfrm>
        </p:spPr>
        <p:txBody>
          <a:bodyPr tIns="144000" bIns="144000">
            <a:spAutoFit/>
          </a:bodyPr>
          <a:lstStyle>
            <a:lvl1pPr rtl="0">
              <a:defRPr sz="1600"/>
            </a:lvl1pPr>
            <a:lvl2pPr rtl="0">
              <a:defRPr sz="1600"/>
            </a:lvl2pPr>
            <a:lvl3pPr marL="216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600"/>
            </a:lvl3pPr>
            <a:lvl4pPr marL="432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4pPr>
            <a:lvl5pPr marL="648000">
              <a:defRPr/>
            </a:lvl5pPr>
          </a:lstStyle>
          <a:p>
            <a:pPr lvl="0"/>
            <a:r>
              <a:rPr lang="de-DE"/>
              <a:t>Calibri Bold 16 pt</a:t>
            </a:r>
          </a:p>
          <a:p>
            <a:pPr lvl="1"/>
            <a:r>
              <a:rPr lang="de-DE"/>
              <a:t>Text Calibri 16 pt</a:t>
            </a:r>
          </a:p>
          <a:p>
            <a:pPr lvl="2"/>
            <a:r>
              <a:rPr lang="de-DE"/>
              <a:t>Text Calibri 16 pt</a:t>
            </a:r>
          </a:p>
          <a:p>
            <a:pPr marL="439200" marR="0" lvl="3" indent="-219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/>
              <a:t>Text Calibri 16 pt</a:t>
            </a:r>
          </a:p>
        </p:txBody>
      </p:sp>
      <p:sp>
        <p:nvSpPr>
          <p:cNvPr id="97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>
            <a:lvl1pPr rtl="0"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sp>
        <p:nvSpPr>
          <p:cNvPr id="89" name="Information"/>
          <p:cNvSpPr/>
          <p:nvPr userDrawn="1"/>
        </p:nvSpPr>
        <p:spPr>
          <a:xfrm>
            <a:off x="-2160000" y="0"/>
            <a:ext cx="1800000" cy="1287379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rtl="0"/>
            <a:r>
              <a:rPr lang="de-DE" sz="1100" b="1">
                <a:solidFill>
                  <a:schemeClr val="tx1"/>
                </a:solidFill>
                <a:latin typeface="+mn-lt"/>
              </a:rPr>
              <a:t>The animation</a:t>
            </a:r>
            <a:r>
              <a:rPr lang="de-DE" sz="1100">
                <a:solidFill>
                  <a:schemeClr val="tx1"/>
                </a:solidFill>
                <a:latin typeface="+mn-lt"/>
              </a:rPr>
              <a:t> </a:t>
            </a:r>
            <a:r>
              <a:rPr lang="de-DE" sz="1100">
                <a:solidFill>
                  <a:schemeClr val="bg1"/>
                </a:solidFill>
                <a:latin typeface="+mn-lt"/>
              </a:rPr>
              <a:t>of the </a:t>
            </a:r>
            <a:r>
              <a:rPr lang="de-DE" sz="1100" err="1">
                <a:solidFill>
                  <a:schemeClr val="bg1"/>
                </a:solidFill>
                <a:latin typeface="+mn-lt"/>
              </a:rPr>
              <a:t>black</a:t>
            </a:r>
            <a:r>
              <a:rPr lang="de-DE" sz="1100">
                <a:solidFill>
                  <a:schemeClr val="bg1"/>
                </a:solidFill>
                <a:latin typeface="+mn-lt"/>
              </a:rPr>
              <a:t> </a:t>
            </a:r>
            <a:r>
              <a:rPr lang="de-DE" sz="1100" err="1">
                <a:solidFill>
                  <a:schemeClr val="bg1"/>
                </a:solidFill>
                <a:latin typeface="+mn-lt"/>
              </a:rPr>
              <a:t>layer</a:t>
            </a:r>
            <a:r>
              <a:rPr lang="de-DE" sz="1100">
                <a:solidFill>
                  <a:schemeClr val="bg1"/>
                </a:solidFill>
                <a:latin typeface="+mn-lt"/>
              </a:rPr>
              <a:t> </a:t>
            </a:r>
            <a:r>
              <a:rPr lang="de-DE" sz="1100">
                <a:solidFill>
                  <a:schemeClr val="tx1"/>
                </a:solidFill>
                <a:latin typeface="+mn-lt"/>
              </a:rPr>
              <a:t>can be </a:t>
            </a:r>
            <a:r>
              <a:rPr lang="de-DE" sz="1100" err="1">
                <a:solidFill>
                  <a:schemeClr val="tx1"/>
                </a:solidFill>
                <a:latin typeface="+mn-lt"/>
              </a:rPr>
              <a:t>controlled</a:t>
            </a:r>
            <a:r>
              <a:rPr lang="de-DE" sz="1100">
                <a:solidFill>
                  <a:schemeClr val="tx1"/>
                </a:solidFill>
                <a:latin typeface="+mn-lt"/>
              </a:rPr>
              <a:t> on the master layout.</a:t>
            </a:r>
          </a:p>
          <a:p>
            <a:pPr rtl="0"/>
            <a:endParaRPr lang="de-DE" sz="1100">
              <a:solidFill>
                <a:schemeClr val="bg1"/>
              </a:solidFill>
              <a:latin typeface="+mn-lt"/>
            </a:endParaRPr>
          </a:p>
          <a:p>
            <a:pPr rtl="0"/>
            <a:r>
              <a:rPr lang="de-DE" sz="1100">
                <a:solidFill>
                  <a:schemeClr val="bg1"/>
                </a:solidFill>
                <a:latin typeface="+mn-lt"/>
              </a:rPr>
              <a:t>Go to View &gt; Slide Master.</a:t>
            </a:r>
          </a:p>
          <a:p>
            <a:pPr rtl="0"/>
            <a:r>
              <a:rPr lang="de-DE" sz="110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04" name="Siemens Healthineers logo">
            <a:extLst>
              <a:ext uri="{FF2B5EF4-FFF2-40B4-BE49-F238E27FC236}">
                <a16:creationId xmlns:a16="http://schemas.microsoft.com/office/drawing/2014/main" id="{8A740305-7C35-4277-8346-A32E99A8E67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172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13333" decel="8666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" grpId="0" animBg="1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0677C4F-1DCC-304E-8627-4F9F404897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2596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0677C4F-1DCC-304E-8627-4F9F404897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le Calibri Bold 28 pt</a:t>
            </a:r>
          </a:p>
        </p:txBody>
      </p:sp>
      <p:sp>
        <p:nvSpPr>
          <p:cNvPr id="7" name="Content left column">
            <a:extLst>
              <a:ext uri="{FF2B5EF4-FFF2-40B4-BE49-F238E27FC236}">
                <a16:creationId xmlns:a16="http://schemas.microsoft.com/office/drawing/2014/main" id="{F3DE8C85-D5DE-48E2-BC87-EE21BFCB3F6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000" y="1623600"/>
            <a:ext cx="3574800" cy="1350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4" name="Picture placeholder left"/>
          <p:cNvSpPr>
            <a:spLocks noGrp="1"/>
          </p:cNvSpPr>
          <p:nvPr>
            <p:ph type="pic" sz="quarter" idx="18" hasCustomPrompt="1"/>
          </p:nvPr>
        </p:nvSpPr>
        <p:spPr>
          <a:xfrm>
            <a:off x="540000" y="3204000"/>
            <a:ext cx="3574800" cy="2354400"/>
          </a:xfrm>
        </p:spPr>
        <p:txBody>
          <a:bodyPr/>
          <a:lstStyle>
            <a:lvl1pPr rtl="0">
              <a:defRPr b="0"/>
            </a:lvl1pPr>
          </a:lstStyle>
          <a:p>
            <a:r>
              <a:rPr lang="de-DE" noProof="0"/>
              <a:t>add a </a:t>
            </a:r>
            <a:r>
              <a:rPr lang="de-DE" noProof="0" err="1"/>
              <a:t>picture</a:t>
            </a:r>
            <a:endParaRPr lang="de-DE" noProof="0"/>
          </a:p>
        </p:txBody>
      </p:sp>
      <p:sp>
        <p:nvSpPr>
          <p:cNvPr id="16" name="Content middle column">
            <a:extLst>
              <a:ext uri="{FF2B5EF4-FFF2-40B4-BE49-F238E27FC236}">
                <a16:creationId xmlns:a16="http://schemas.microsoft.com/office/drawing/2014/main" id="{A005602E-D4D7-400C-8402-35CFAA6A345E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297488" y="1623600"/>
            <a:ext cx="3574800" cy="1350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11" name="Picture placeholder middle"/>
          <p:cNvSpPr>
            <a:spLocks noGrp="1"/>
          </p:cNvSpPr>
          <p:nvPr>
            <p:ph type="pic" sz="quarter" idx="19" hasCustomPrompt="1"/>
          </p:nvPr>
        </p:nvSpPr>
        <p:spPr>
          <a:xfrm>
            <a:off x="4295775" y="3204000"/>
            <a:ext cx="3574800" cy="2354400"/>
          </a:xfrm>
        </p:spPr>
        <p:txBody>
          <a:bodyPr/>
          <a:lstStyle>
            <a:lvl1pPr rtl="0">
              <a:defRPr b="0"/>
            </a:lvl1pPr>
          </a:lstStyle>
          <a:p>
            <a:r>
              <a:rPr lang="de-DE" noProof="0"/>
              <a:t>add a </a:t>
            </a:r>
            <a:r>
              <a:rPr lang="de-DE" noProof="0" err="1"/>
              <a:t>picture</a:t>
            </a:r>
            <a:endParaRPr lang="de-DE" noProof="0"/>
          </a:p>
        </p:txBody>
      </p:sp>
      <p:sp>
        <p:nvSpPr>
          <p:cNvPr id="18" name="Content right column">
            <a:extLst>
              <a:ext uri="{FF2B5EF4-FFF2-40B4-BE49-F238E27FC236}">
                <a16:creationId xmlns:a16="http://schemas.microsoft.com/office/drawing/2014/main" id="{CC72F373-4575-41D8-A962-8FD122BE5D9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8054975" y="1623600"/>
            <a:ext cx="3574800" cy="1350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12" name="Picture placeholder right"/>
          <p:cNvSpPr>
            <a:spLocks noGrp="1"/>
          </p:cNvSpPr>
          <p:nvPr>
            <p:ph type="pic" sz="quarter" idx="20" hasCustomPrompt="1"/>
          </p:nvPr>
        </p:nvSpPr>
        <p:spPr>
          <a:xfrm>
            <a:off x="8054975" y="3204000"/>
            <a:ext cx="3574800" cy="2354400"/>
          </a:xfrm>
        </p:spPr>
        <p:txBody>
          <a:bodyPr/>
          <a:lstStyle>
            <a:lvl1pPr rtl="0">
              <a:defRPr b="0"/>
            </a:lvl1pPr>
          </a:lstStyle>
          <a:p>
            <a:r>
              <a:rPr lang="de-DE" noProof="0"/>
              <a:t>add a </a:t>
            </a:r>
            <a:r>
              <a:rPr lang="de-DE" noProof="0" err="1"/>
              <a:t>picture</a:t>
            </a:r>
            <a:endParaRPr lang="de-DE" noProof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1000" b="0"/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lnSpc>
                <a:spcPct val="100000"/>
              </a:lnSpc>
              <a:defRPr/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21" name="Siemens Healthineers logo">
            <a:extLst>
              <a:ext uri="{FF2B5EF4-FFF2-40B4-BE49-F238E27FC236}">
                <a16:creationId xmlns:a16="http://schemas.microsoft.com/office/drawing/2014/main" id="{D6A3697A-6D9B-4985-810C-549CED2CA52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7395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1C7BB52-8B28-4A8A-58B6-D1DA4E8AA1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6335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1C7BB52-8B28-4A8A-58B6-D1DA4E8AA1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le Calibri Bold 28 pt</a:t>
            </a:r>
          </a:p>
        </p:txBody>
      </p:sp>
      <p:sp>
        <p:nvSpPr>
          <p:cNvPr id="4" name="Content left column">
            <a:extLst>
              <a:ext uri="{FF2B5EF4-FFF2-40B4-BE49-F238E27FC236}">
                <a16:creationId xmlns:a16="http://schemas.microsoft.com/office/drawing/2014/main" id="{3A7B9670-2998-4639-948A-6AC5336D3394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40000" y="1623600"/>
            <a:ext cx="3574800" cy="4572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12" name="Content middle column">
            <a:extLst>
              <a:ext uri="{FF2B5EF4-FFF2-40B4-BE49-F238E27FC236}">
                <a16:creationId xmlns:a16="http://schemas.microsoft.com/office/drawing/2014/main" id="{FDCEFC57-1E08-4A1D-8A85-E1A2B909727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296819" y="1623600"/>
            <a:ext cx="3574800" cy="4572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14" name="Content right column">
            <a:extLst>
              <a:ext uri="{FF2B5EF4-FFF2-40B4-BE49-F238E27FC236}">
                <a16:creationId xmlns:a16="http://schemas.microsoft.com/office/drawing/2014/main" id="{3FD09867-0821-4EF2-A2D6-A5663051D69F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8053638" y="1623600"/>
            <a:ext cx="3574800" cy="4572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1000" b="0"/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lnSpc>
                <a:spcPct val="100000"/>
              </a:lnSpc>
              <a:defRPr/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16" name="Siemens Healthineers logo">
            <a:extLst>
              <a:ext uri="{FF2B5EF4-FFF2-40B4-BE49-F238E27FC236}">
                <a16:creationId xmlns:a16="http://schemas.microsoft.com/office/drawing/2014/main" id="{EA7999BE-FBC8-4C3B-8CFC-04FE082969E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0559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 - light image">
    <p:bg bwMode="ltGray"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3D4AE85-B1FA-4D36-F866-D5D9421937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5962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3D4AE85-B1FA-4D36-F866-D5D9421937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540200" y="1623600"/>
            <a:ext cx="4514400" cy="2520000"/>
          </a:xfrm>
        </p:spPr>
        <p:txBody>
          <a:bodyPr/>
          <a:lstStyle>
            <a:lvl1pPr rtl="0">
              <a:lnSpc>
                <a:spcPct val="100000"/>
              </a:lnSpc>
              <a:defRPr sz="2800" b="0" i="1" baseline="0"/>
            </a:lvl1pPr>
            <a:lvl2pPr rtl="0">
              <a:lnSpc>
                <a:spcPct val="100000"/>
              </a:lnSpc>
              <a:spcBef>
                <a:spcPts val="1200"/>
              </a:spcBef>
              <a:defRPr sz="1400"/>
            </a:lvl2pPr>
          </a:lstStyle>
          <a:p>
            <a:pPr lvl="0"/>
            <a:r>
              <a:rPr lang="de-DE" noProof="0"/>
              <a:t>Quote Calibri Italic 28 pt</a:t>
            </a:r>
          </a:p>
          <a:p>
            <a:pPr lvl="1"/>
            <a:r>
              <a:rPr lang="de-DE" noProof="0"/>
              <a:t>Subline Calibri 14 pt</a:t>
            </a:r>
          </a:p>
        </p:txBody>
      </p:sp>
      <p:sp>
        <p:nvSpPr>
          <p:cNvPr id="100" name="Footnote">
            <a:extLst>
              <a:ext uri="{FF2B5EF4-FFF2-40B4-BE49-F238E27FC236}">
                <a16:creationId xmlns:a16="http://schemas.microsoft.com/office/drawing/2014/main" id="{6797901A-74D0-49F5-B69A-D3AF7774E1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1000" b="0"/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>
            <a:lvl1pPr rtl="0">
              <a:lnSpc>
                <a:spcPct val="100000"/>
              </a:lnSpc>
              <a:defRPr/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102" name="Siemens Healthineers logo">
            <a:extLst>
              <a:ext uri="{FF2B5EF4-FFF2-40B4-BE49-F238E27FC236}">
                <a16:creationId xmlns:a16="http://schemas.microsoft.com/office/drawing/2014/main" id="{F754266B-32E9-4BFB-AAFC-1B55BA50D3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8317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B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F16E647-D546-8C60-F0C0-C347B853F2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829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F16E647-D546-8C60-F0C0-C347B853F2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1479599" y="1623599"/>
            <a:ext cx="8271403" cy="4572000"/>
          </a:xfrm>
        </p:spPr>
        <p:txBody>
          <a:bodyPr/>
          <a:lstStyle>
            <a:lvl1pPr rtl="0">
              <a:lnSpc>
                <a:spcPct val="85000"/>
              </a:lnSpc>
              <a:defRPr sz="4800" b="0" i="1" baseline="0"/>
            </a:lvl1pPr>
            <a:lvl2pPr rtl="0">
              <a:lnSpc>
                <a:spcPct val="100000"/>
              </a:lnSpc>
              <a:spcBef>
                <a:spcPts val="2200"/>
              </a:spcBef>
              <a:defRPr sz="1400"/>
            </a:lvl2pPr>
          </a:lstStyle>
          <a:p>
            <a:pPr lvl="0"/>
            <a:r>
              <a:rPr lang="de-DE" noProof="0"/>
              <a:t>Quote Calibri Italic 48 pt</a:t>
            </a:r>
          </a:p>
          <a:p>
            <a:pPr lvl="1"/>
            <a:r>
              <a:rPr lang="de-DE" noProof="0"/>
              <a:t>Subline Calibri 14 pt</a:t>
            </a:r>
          </a:p>
        </p:txBody>
      </p:sp>
      <p:sp>
        <p:nvSpPr>
          <p:cNvPr id="166" name="Footnote">
            <a:extLst>
              <a:ext uri="{FF2B5EF4-FFF2-40B4-BE49-F238E27FC236}">
                <a16:creationId xmlns:a16="http://schemas.microsoft.com/office/drawing/2014/main" id="{1D9962D9-4193-4A78-8426-8B6D0B25AC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1000" b="0"/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>
            <a:lvl1pPr rtl="0">
              <a:defRPr/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168" name="Siemens Healthineers logo">
            <a:extLst>
              <a:ext uri="{FF2B5EF4-FFF2-40B4-BE49-F238E27FC236}">
                <a16:creationId xmlns:a16="http://schemas.microsoft.com/office/drawing/2014/main" id="{51774F67-5207-4A19-A451-8F2F81E1B70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8767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C - Author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2C72E08-6DF1-D87B-D5E7-E52876EAF8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3475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2C72E08-6DF1-D87B-D5E7-E52876EAF8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">
            <a:extLst>
              <a:ext uri="{FF2B5EF4-FFF2-40B4-BE49-F238E27FC236}">
                <a16:creationId xmlns:a16="http://schemas.microsoft.com/office/drawing/2014/main" id="{5A6CD612-171C-4905-9B87-E8BEEE4700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479598" y="1623599"/>
            <a:ext cx="1512000" cy="1944000"/>
          </a:xfrm>
        </p:spPr>
        <p:txBody>
          <a:bodyPr lIns="180000" tIns="180000" rIns="180000" bIns="180000"/>
          <a:lstStyle>
            <a:lvl1pPr rtl="0">
              <a:defRPr/>
            </a:lvl1pPr>
          </a:lstStyle>
          <a:p>
            <a:r>
              <a:rPr lang="de-DE"/>
              <a:t>Add a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3359150" y="1623599"/>
            <a:ext cx="6391852" cy="4572000"/>
          </a:xfrm>
        </p:spPr>
        <p:txBody>
          <a:bodyPr/>
          <a:lstStyle>
            <a:lvl1pPr rtl="0">
              <a:lnSpc>
                <a:spcPct val="85000"/>
              </a:lnSpc>
              <a:defRPr sz="4000" b="0" i="1" baseline="0"/>
            </a:lvl1pPr>
            <a:lvl2pPr rtl="0">
              <a:lnSpc>
                <a:spcPct val="100000"/>
              </a:lnSpc>
              <a:spcBef>
                <a:spcPts val="2200"/>
              </a:spcBef>
              <a:defRPr sz="1400"/>
            </a:lvl2pPr>
          </a:lstStyle>
          <a:p>
            <a:pPr lvl="0"/>
            <a:r>
              <a:rPr lang="de-DE" noProof="0"/>
              <a:t>Quote Calibri Italic 40 pt</a:t>
            </a:r>
          </a:p>
          <a:p>
            <a:pPr lvl="1"/>
            <a:r>
              <a:rPr lang="de-DE" noProof="0"/>
              <a:t>Subline Calibri 14 pt</a:t>
            </a:r>
          </a:p>
        </p:txBody>
      </p:sp>
      <p:sp>
        <p:nvSpPr>
          <p:cNvPr id="166" name="Footnote">
            <a:extLst>
              <a:ext uri="{FF2B5EF4-FFF2-40B4-BE49-F238E27FC236}">
                <a16:creationId xmlns:a16="http://schemas.microsoft.com/office/drawing/2014/main" id="{1D9962D9-4193-4A78-8426-8B6D0B25AC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1000" b="0"/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>
            <a:lvl1pPr rtl="0">
              <a:defRPr/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167" name="Siemens Healthineers logo">
            <a:extLst>
              <a:ext uri="{FF2B5EF4-FFF2-40B4-BE49-F238E27FC236}">
                <a16:creationId xmlns:a16="http://schemas.microsoft.com/office/drawing/2014/main" id="{2DA2A2CE-361D-4EC3-B92E-CAD6A1146B0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7980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7A5C37F-DAA4-F291-690C-4624A532C7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9813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7A5C37F-DAA4-F291-690C-4624A532C7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le Calibri Bold 28 pt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1000" b="0"/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lnSpc>
                <a:spcPct val="100000"/>
              </a:lnSpc>
              <a:defRPr/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10" name="Siemens Healthineers logo">
            <a:extLst>
              <a:ext uri="{FF2B5EF4-FFF2-40B4-BE49-F238E27FC236}">
                <a16:creationId xmlns:a16="http://schemas.microsoft.com/office/drawing/2014/main" id="{05ECFCCA-E67E-4951-9242-12B3C9F71F1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843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det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0006750-60C3-FF68-7871-54A71FAB2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3952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0006750-60C3-FF68-7871-54A71FAB2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le Calibri Bold 28 pt</a:t>
            </a:r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3063240" y="1623600"/>
            <a:ext cx="6223000" cy="5238000"/>
          </a:xfrm>
        </p:spPr>
        <p:txBody>
          <a:bodyPr lIns="180000" tIns="180000" rIns="180000" bIns="180000"/>
          <a:lstStyle>
            <a:lvl1pPr rtl="0">
              <a:defRPr b="1"/>
            </a:lvl1pPr>
          </a:lstStyle>
          <a:p>
            <a:r>
              <a:rPr lang="de-DE" noProof="0"/>
              <a:t>Add a </a:t>
            </a:r>
            <a:r>
              <a:rPr lang="de-DE" noProof="0" err="1"/>
              <a:t>product</a:t>
            </a:r>
            <a:r>
              <a:rPr lang="de-DE" noProof="0"/>
              <a:t> </a:t>
            </a:r>
            <a:r>
              <a:rPr lang="de-DE" noProof="0" err="1"/>
              <a:t>picture</a:t>
            </a:r>
            <a:endParaRPr lang="de-DE" noProof="0"/>
          </a:p>
        </p:txBody>
      </p:sp>
      <p:sp>
        <p:nvSpPr>
          <p:cNvPr id="14" name="Product detail 1"/>
          <p:cNvSpPr>
            <a:spLocks noGrp="1"/>
          </p:cNvSpPr>
          <p:nvPr>
            <p:ph type="body" sz="quarter" idx="26" hasCustomPrompt="1"/>
          </p:nvPr>
        </p:nvSpPr>
        <p:spPr>
          <a:xfrm>
            <a:off x="900000" y="2212094"/>
            <a:ext cx="2160000" cy="828000"/>
          </a:xfrm>
        </p:spPr>
        <p:txBody>
          <a:bodyPr/>
          <a:lstStyle>
            <a:lvl1pPr rtl="0"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 rtl="0"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marR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5113" indent="26988">
              <a:defRPr sz="1400"/>
            </a:lvl4pPr>
          </a:lstStyle>
          <a:p>
            <a:pPr lvl="0"/>
            <a:r>
              <a:rPr lang="de-DE" noProof="0"/>
              <a:t>Headline Calibri Bold 14 pt</a:t>
            </a:r>
          </a:p>
          <a:p>
            <a:pPr lvl="1"/>
            <a:r>
              <a:rPr lang="de-DE" noProof="0"/>
              <a:t>Text Calibri 14 pt</a:t>
            </a:r>
          </a:p>
          <a:p>
            <a:pPr lvl="2"/>
            <a:r>
              <a:rPr lang="de-DE" noProof="0"/>
              <a:t>Text Calibri 14 pt</a:t>
            </a:r>
          </a:p>
        </p:txBody>
      </p:sp>
      <p:sp>
        <p:nvSpPr>
          <p:cNvPr id="15" name="Product detail 2"/>
          <p:cNvSpPr>
            <a:spLocks noGrp="1"/>
          </p:cNvSpPr>
          <p:nvPr>
            <p:ph type="body" sz="quarter" idx="27" hasCustomPrompt="1"/>
          </p:nvPr>
        </p:nvSpPr>
        <p:spPr>
          <a:xfrm>
            <a:off x="900000" y="3392894"/>
            <a:ext cx="2160000" cy="828000"/>
          </a:xfrm>
        </p:spPr>
        <p:txBody>
          <a:bodyPr/>
          <a:lstStyle>
            <a:lvl1pPr rtl="0"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 rtl="0"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indent="-144000" rtl="0">
              <a:defRPr sz="1400"/>
            </a:lvl3pPr>
          </a:lstStyle>
          <a:p>
            <a:pPr lvl="0"/>
            <a:r>
              <a:rPr lang="de-DE" noProof="0"/>
              <a:t>Headline Calibri Bold 14 pt</a:t>
            </a:r>
          </a:p>
          <a:p>
            <a:pPr lvl="1"/>
            <a:r>
              <a:rPr lang="de-DE" noProof="0"/>
              <a:t>Text Calibri 14 pt</a:t>
            </a:r>
          </a:p>
          <a:p>
            <a:pPr lvl="2"/>
            <a:r>
              <a:rPr lang="de-DE" noProof="0"/>
              <a:t>Text Calibri 14 pt</a:t>
            </a:r>
          </a:p>
        </p:txBody>
      </p:sp>
      <p:sp>
        <p:nvSpPr>
          <p:cNvPr id="18" name="Product detail 3"/>
          <p:cNvSpPr>
            <a:spLocks noGrp="1"/>
          </p:cNvSpPr>
          <p:nvPr>
            <p:ph type="body" sz="quarter" idx="28" hasCustomPrompt="1"/>
          </p:nvPr>
        </p:nvSpPr>
        <p:spPr>
          <a:xfrm>
            <a:off x="900000" y="4573694"/>
            <a:ext cx="2160000" cy="828000"/>
          </a:xfrm>
        </p:spPr>
        <p:txBody>
          <a:bodyPr/>
          <a:lstStyle>
            <a:lvl1pPr rtl="0"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 rtl="0"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indent="-144000" rtl="0">
              <a:defRPr sz="1400"/>
            </a:lvl3pPr>
          </a:lstStyle>
          <a:p>
            <a:pPr lvl="0"/>
            <a:r>
              <a:rPr lang="de-DE" noProof="0"/>
              <a:t>Headline Calibri Bold 14 pt</a:t>
            </a:r>
          </a:p>
          <a:p>
            <a:pPr lvl="1"/>
            <a:r>
              <a:rPr lang="de-DE" noProof="0"/>
              <a:t>Text Calibri 14 pt</a:t>
            </a:r>
          </a:p>
          <a:p>
            <a:pPr lvl="2"/>
            <a:r>
              <a:rPr lang="de-DE" noProof="0"/>
              <a:t>Text Calibri 14 pt</a:t>
            </a:r>
          </a:p>
        </p:txBody>
      </p:sp>
      <p:sp>
        <p:nvSpPr>
          <p:cNvPr id="23" name="Product detail 4"/>
          <p:cNvSpPr>
            <a:spLocks noGrp="1"/>
          </p:cNvSpPr>
          <p:nvPr>
            <p:ph type="body" sz="quarter" idx="16" hasCustomPrompt="1"/>
          </p:nvPr>
        </p:nvSpPr>
        <p:spPr>
          <a:xfrm>
            <a:off x="9288000" y="2802494"/>
            <a:ext cx="2160000" cy="828000"/>
          </a:xfrm>
        </p:spPr>
        <p:txBody>
          <a:bodyPr/>
          <a:lstStyle>
            <a:lvl1pPr rtl="0"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 rtl="0"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indent="-144000" rtl="0">
              <a:defRPr sz="1400"/>
            </a:lvl3pPr>
          </a:lstStyle>
          <a:p>
            <a:pPr lvl="0"/>
            <a:r>
              <a:rPr lang="de-DE" noProof="0"/>
              <a:t>Headline Calibri Bold 14 pt</a:t>
            </a:r>
          </a:p>
          <a:p>
            <a:pPr lvl="1"/>
            <a:r>
              <a:rPr lang="de-DE" noProof="0"/>
              <a:t>Text Calibri 14 pt</a:t>
            </a:r>
          </a:p>
          <a:p>
            <a:pPr lvl="2"/>
            <a:r>
              <a:rPr lang="de-DE" noProof="0"/>
              <a:t>Text Calibri 14 pt</a:t>
            </a:r>
          </a:p>
        </p:txBody>
      </p:sp>
      <p:sp>
        <p:nvSpPr>
          <p:cNvPr id="27" name="Product detail 5"/>
          <p:cNvSpPr>
            <a:spLocks noGrp="1"/>
          </p:cNvSpPr>
          <p:nvPr>
            <p:ph type="body" sz="quarter" idx="25" hasCustomPrompt="1"/>
          </p:nvPr>
        </p:nvSpPr>
        <p:spPr>
          <a:xfrm>
            <a:off x="9288000" y="3983294"/>
            <a:ext cx="2160000" cy="828000"/>
          </a:xfrm>
        </p:spPr>
        <p:txBody>
          <a:bodyPr/>
          <a:lstStyle>
            <a:lvl1pPr rtl="0"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 rtl="0"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indent="-144000" rtl="0">
              <a:defRPr sz="1400"/>
            </a:lvl3pPr>
          </a:lstStyle>
          <a:p>
            <a:pPr lvl="0"/>
            <a:r>
              <a:rPr lang="de-DE" noProof="0"/>
              <a:t>Headline Calibri Bold 14 pt</a:t>
            </a:r>
          </a:p>
          <a:p>
            <a:pPr lvl="1"/>
            <a:r>
              <a:rPr lang="de-DE" noProof="0"/>
              <a:t>Text Calibri 14 pt</a:t>
            </a:r>
          </a:p>
          <a:p>
            <a:pPr lvl="2"/>
            <a:r>
              <a:rPr lang="de-DE" noProof="0"/>
              <a:t>Text Calibri 14 pt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1000" b="0"/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 rtl="0">
              <a:lnSpc>
                <a:spcPct val="100000"/>
              </a:lnSpc>
              <a:defRPr/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22" name="Siemens Healthineers logo">
            <a:extLst>
              <a:ext uri="{FF2B5EF4-FFF2-40B4-BE49-F238E27FC236}">
                <a16:creationId xmlns:a16="http://schemas.microsoft.com/office/drawing/2014/main" id="{57AE67C3-A035-4D77-A3D4-AC7D74AD312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7186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tle Picture (vertical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3D3DC7F-9636-DCEB-DD8B-A6F2603734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174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3D3DC7F-9636-DCEB-DD8B-A6F2603734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DBF22B7-3B2F-403C-85C0-7EE50268BA0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234400" y="-1"/>
            <a:ext cx="6933600" cy="6858000"/>
          </a:xfrm>
          <a:solidFill>
            <a:schemeClr val="accent6"/>
          </a:solidFill>
        </p:spPr>
        <p:txBody>
          <a:bodyPr lIns="144000" tIns="108000" rIns="144000" bIns="108000"/>
          <a:lstStyle>
            <a:lvl1pPr rtl="0">
              <a:defRPr/>
            </a:lvl1pPr>
            <a:lvl2pPr>
              <a:defRPr/>
            </a:lvl2pPr>
          </a:lstStyle>
          <a:p>
            <a:r>
              <a:rPr lang="de-DE"/>
              <a:t>Insert key visual or another title motive (please refer to the front level communication matrix). When using a key visual, please pay attention to the correct placement.</a:t>
            </a:r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59031"/>
            <a:ext cx="3574800" cy="360000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de-DE"/>
              <a:t>Optional subhead</a:t>
            </a:r>
            <a:endParaRPr lang="de-DE" noProof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540000" y="1623599"/>
            <a:ext cx="4516188" cy="2692231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Headline </a:t>
            </a:r>
            <a:br>
              <a:rPr lang="de-DE"/>
            </a:br>
            <a:r>
              <a:rPr lang="de-DE"/>
              <a:t>Calibri </a:t>
            </a:r>
            <a:br>
              <a:rPr lang="de-DE"/>
            </a:br>
            <a:r>
              <a:rPr lang="de-DE"/>
              <a:t>Bold 52 pt</a:t>
            </a:r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715054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</a:lstStyle>
          <a:p>
            <a:r>
              <a:rPr lang="de-DE"/>
              <a:t>Presenter Calibri 16 pt</a:t>
            </a:r>
            <a:br>
              <a:rPr lang="de-DE"/>
            </a:br>
            <a:r>
              <a:rPr lang="de-DE"/>
              <a:t>English, Month 20XX</a:t>
            </a:r>
          </a:p>
        </p:txBody>
      </p:sp>
      <p:pic>
        <p:nvPicPr>
          <p:cNvPr id="87" name="Siemens Healthineers logo">
            <a:extLst>
              <a:ext uri="{FF2B5EF4-FFF2-40B4-BE49-F238E27FC236}">
                <a16:creationId xmlns:a16="http://schemas.microsoft.com/office/drawing/2014/main" id="{5C47D4D0-1261-4166-A003-74EAB8DCE9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grpSp>
        <p:nvGrpSpPr>
          <p:cNvPr id="7" name="Marker">
            <a:extLst>
              <a:ext uri="{FF2B5EF4-FFF2-40B4-BE49-F238E27FC236}">
                <a16:creationId xmlns:a16="http://schemas.microsoft.com/office/drawing/2014/main" id="{8C7A0370-8816-4A08-9357-C042C6DC9A5A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8" name="Gerade Verbindung 40">
              <a:extLst>
                <a:ext uri="{FF2B5EF4-FFF2-40B4-BE49-F238E27FC236}">
                  <a16:creationId xmlns:a16="http://schemas.microsoft.com/office/drawing/2014/main" id="{B89B956C-9BFF-4CBA-A1E7-AF25DEA1B997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42">
              <a:extLst>
                <a:ext uri="{FF2B5EF4-FFF2-40B4-BE49-F238E27FC236}">
                  <a16:creationId xmlns:a16="http://schemas.microsoft.com/office/drawing/2014/main" id="{716E386B-E5CE-4F14-979B-4801C00D59F5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5">
              <a:extLst>
                <a:ext uri="{FF2B5EF4-FFF2-40B4-BE49-F238E27FC236}">
                  <a16:creationId xmlns:a16="http://schemas.microsoft.com/office/drawing/2014/main" id="{AAEB1910-2515-4E15-B279-ADF57F7D7E45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46">
              <a:extLst>
                <a:ext uri="{FF2B5EF4-FFF2-40B4-BE49-F238E27FC236}">
                  <a16:creationId xmlns:a16="http://schemas.microsoft.com/office/drawing/2014/main" id="{58E6267F-E493-4E05-B531-ACD672EC2905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48">
              <a:extLst>
                <a:ext uri="{FF2B5EF4-FFF2-40B4-BE49-F238E27FC236}">
                  <a16:creationId xmlns:a16="http://schemas.microsoft.com/office/drawing/2014/main" id="{63E3763E-903B-4182-A36A-5134E48FCFE2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9">
              <a:extLst>
                <a:ext uri="{FF2B5EF4-FFF2-40B4-BE49-F238E27FC236}">
                  <a16:creationId xmlns:a16="http://schemas.microsoft.com/office/drawing/2014/main" id="{7324EC6A-4EDC-4C9F-A3AD-2C520392B7A7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51">
              <a:extLst>
                <a:ext uri="{FF2B5EF4-FFF2-40B4-BE49-F238E27FC236}">
                  <a16:creationId xmlns:a16="http://schemas.microsoft.com/office/drawing/2014/main" id="{7055EE7B-BD64-4AC7-BE6C-6A339D5601B2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2">
              <a:extLst>
                <a:ext uri="{FF2B5EF4-FFF2-40B4-BE49-F238E27FC236}">
                  <a16:creationId xmlns:a16="http://schemas.microsoft.com/office/drawing/2014/main" id="{DF25FE40-F241-448F-A86B-76E25203851E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4">
              <a:extLst>
                <a:ext uri="{FF2B5EF4-FFF2-40B4-BE49-F238E27FC236}">
                  <a16:creationId xmlns:a16="http://schemas.microsoft.com/office/drawing/2014/main" id="{001BB968-63D5-4FC5-904D-5D29C6157370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5">
              <a:extLst>
                <a:ext uri="{FF2B5EF4-FFF2-40B4-BE49-F238E27FC236}">
                  <a16:creationId xmlns:a16="http://schemas.microsoft.com/office/drawing/2014/main" id="{A6842145-3348-45A4-980B-11A21625733F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7">
              <a:extLst>
                <a:ext uri="{FF2B5EF4-FFF2-40B4-BE49-F238E27FC236}">
                  <a16:creationId xmlns:a16="http://schemas.microsoft.com/office/drawing/2014/main" id="{815E0C77-75DA-462D-8EC7-66E986715D23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8">
              <a:extLst>
                <a:ext uri="{FF2B5EF4-FFF2-40B4-BE49-F238E27FC236}">
                  <a16:creationId xmlns:a16="http://schemas.microsoft.com/office/drawing/2014/main" id="{72543F56-1E45-4574-913E-C913E9100888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60">
              <a:extLst>
                <a:ext uri="{FF2B5EF4-FFF2-40B4-BE49-F238E27FC236}">
                  <a16:creationId xmlns:a16="http://schemas.microsoft.com/office/drawing/2014/main" id="{C640789B-DC8D-4F30-B880-A4B6A57822A9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1">
              <a:extLst>
                <a:ext uri="{FF2B5EF4-FFF2-40B4-BE49-F238E27FC236}">
                  <a16:creationId xmlns:a16="http://schemas.microsoft.com/office/drawing/2014/main" id="{7AC6B0A3-4182-4689-99AA-3228DB9F6CAE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3">
              <a:extLst>
                <a:ext uri="{FF2B5EF4-FFF2-40B4-BE49-F238E27FC236}">
                  <a16:creationId xmlns:a16="http://schemas.microsoft.com/office/drawing/2014/main" id="{595E7DA6-6CBF-4BE5-90D3-656149C7E419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4">
              <a:extLst>
                <a:ext uri="{FF2B5EF4-FFF2-40B4-BE49-F238E27FC236}">
                  <a16:creationId xmlns:a16="http://schemas.microsoft.com/office/drawing/2014/main" id="{B95A643F-8B13-4DC9-91C0-5445B4860367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6">
              <a:extLst>
                <a:ext uri="{FF2B5EF4-FFF2-40B4-BE49-F238E27FC236}">
                  <a16:creationId xmlns:a16="http://schemas.microsoft.com/office/drawing/2014/main" id="{356F07C9-D4B4-45B4-8271-02FE5030898E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7">
              <a:extLst>
                <a:ext uri="{FF2B5EF4-FFF2-40B4-BE49-F238E27FC236}">
                  <a16:creationId xmlns:a16="http://schemas.microsoft.com/office/drawing/2014/main" id="{A7D8731D-7285-4323-9853-A3FCECB3FC7C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9">
              <a:extLst>
                <a:ext uri="{FF2B5EF4-FFF2-40B4-BE49-F238E27FC236}">
                  <a16:creationId xmlns:a16="http://schemas.microsoft.com/office/drawing/2014/main" id="{A3E045C0-3D08-4F2B-AF94-DA7C602CFA61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0">
              <a:extLst>
                <a:ext uri="{FF2B5EF4-FFF2-40B4-BE49-F238E27FC236}">
                  <a16:creationId xmlns:a16="http://schemas.microsoft.com/office/drawing/2014/main" id="{1778086A-991B-4796-9532-41646C7860A9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2">
              <a:extLst>
                <a:ext uri="{FF2B5EF4-FFF2-40B4-BE49-F238E27FC236}">
                  <a16:creationId xmlns:a16="http://schemas.microsoft.com/office/drawing/2014/main" id="{899109C4-205C-47FC-9B07-929C95517097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3">
              <a:extLst>
                <a:ext uri="{FF2B5EF4-FFF2-40B4-BE49-F238E27FC236}">
                  <a16:creationId xmlns:a16="http://schemas.microsoft.com/office/drawing/2014/main" id="{F1D687B4-419C-4EDD-8974-73B346092B09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5">
              <a:extLst>
                <a:ext uri="{FF2B5EF4-FFF2-40B4-BE49-F238E27FC236}">
                  <a16:creationId xmlns:a16="http://schemas.microsoft.com/office/drawing/2014/main" id="{FB4C2138-68E9-40BB-BC9E-7489BC0D1CD3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6">
              <a:extLst>
                <a:ext uri="{FF2B5EF4-FFF2-40B4-BE49-F238E27FC236}">
                  <a16:creationId xmlns:a16="http://schemas.microsoft.com/office/drawing/2014/main" id="{38A1761B-9E25-4D38-9157-3C324E2EF301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8">
              <a:extLst>
                <a:ext uri="{FF2B5EF4-FFF2-40B4-BE49-F238E27FC236}">
                  <a16:creationId xmlns:a16="http://schemas.microsoft.com/office/drawing/2014/main" id="{9138AC2D-725F-4604-A198-CB299E7044CC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9">
              <a:extLst>
                <a:ext uri="{FF2B5EF4-FFF2-40B4-BE49-F238E27FC236}">
                  <a16:creationId xmlns:a16="http://schemas.microsoft.com/office/drawing/2014/main" id="{695C712E-EF76-4D84-A6B3-065A92B5D749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1">
              <a:extLst>
                <a:ext uri="{FF2B5EF4-FFF2-40B4-BE49-F238E27FC236}">
                  <a16:creationId xmlns:a16="http://schemas.microsoft.com/office/drawing/2014/main" id="{55475569-B11D-45EA-8502-515BCAE466B5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2">
              <a:extLst>
                <a:ext uri="{FF2B5EF4-FFF2-40B4-BE49-F238E27FC236}">
                  <a16:creationId xmlns:a16="http://schemas.microsoft.com/office/drawing/2014/main" id="{13906181-164E-4BB5-859D-10BA62261ACD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4">
              <a:extLst>
                <a:ext uri="{FF2B5EF4-FFF2-40B4-BE49-F238E27FC236}">
                  <a16:creationId xmlns:a16="http://schemas.microsoft.com/office/drawing/2014/main" id="{0E5CEA6C-3F30-4541-BA07-FB28C090B6B1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5">
              <a:extLst>
                <a:ext uri="{FF2B5EF4-FFF2-40B4-BE49-F238E27FC236}">
                  <a16:creationId xmlns:a16="http://schemas.microsoft.com/office/drawing/2014/main" id="{F75FFC11-8621-4442-8AD6-4FE9E0F860F4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7">
              <a:extLst>
                <a:ext uri="{FF2B5EF4-FFF2-40B4-BE49-F238E27FC236}">
                  <a16:creationId xmlns:a16="http://schemas.microsoft.com/office/drawing/2014/main" id="{EEEABEE3-F061-4362-A46B-72BEE22B070F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8">
              <a:extLst>
                <a:ext uri="{FF2B5EF4-FFF2-40B4-BE49-F238E27FC236}">
                  <a16:creationId xmlns:a16="http://schemas.microsoft.com/office/drawing/2014/main" id="{5AC61265-AB02-4A15-A0FB-B8833112BAB3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0">
              <a:extLst>
                <a:ext uri="{FF2B5EF4-FFF2-40B4-BE49-F238E27FC236}">
                  <a16:creationId xmlns:a16="http://schemas.microsoft.com/office/drawing/2014/main" id="{13BC005C-35E1-4C28-943D-980AE545C766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1">
              <a:extLst>
                <a:ext uri="{FF2B5EF4-FFF2-40B4-BE49-F238E27FC236}">
                  <a16:creationId xmlns:a16="http://schemas.microsoft.com/office/drawing/2014/main" id="{72BAB9C2-5BDC-4288-A254-BB4F74A93485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3">
              <a:extLst>
                <a:ext uri="{FF2B5EF4-FFF2-40B4-BE49-F238E27FC236}">
                  <a16:creationId xmlns:a16="http://schemas.microsoft.com/office/drawing/2014/main" id="{16637504-EE70-4BE5-B8FC-2FCE0D91C89D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4">
              <a:extLst>
                <a:ext uri="{FF2B5EF4-FFF2-40B4-BE49-F238E27FC236}">
                  <a16:creationId xmlns:a16="http://schemas.microsoft.com/office/drawing/2014/main" id="{3443847B-E417-4FDE-97A4-F21A7D42F3ED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6">
              <a:extLst>
                <a:ext uri="{FF2B5EF4-FFF2-40B4-BE49-F238E27FC236}">
                  <a16:creationId xmlns:a16="http://schemas.microsoft.com/office/drawing/2014/main" id="{E55B4267-1249-4F0B-BA01-1A9D2B46285A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7">
              <a:extLst>
                <a:ext uri="{FF2B5EF4-FFF2-40B4-BE49-F238E27FC236}">
                  <a16:creationId xmlns:a16="http://schemas.microsoft.com/office/drawing/2014/main" id="{319A043A-A540-409E-AAC7-A069836E8653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9">
              <a:extLst>
                <a:ext uri="{FF2B5EF4-FFF2-40B4-BE49-F238E27FC236}">
                  <a16:creationId xmlns:a16="http://schemas.microsoft.com/office/drawing/2014/main" id="{CC95F68B-6402-4D96-B1CE-C0B4AFA6FC2D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0">
              <a:extLst>
                <a:ext uri="{FF2B5EF4-FFF2-40B4-BE49-F238E27FC236}">
                  <a16:creationId xmlns:a16="http://schemas.microsoft.com/office/drawing/2014/main" id="{0E5D4C2B-AE5D-4CD3-BD95-39DE41CD53E3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2">
              <a:extLst>
                <a:ext uri="{FF2B5EF4-FFF2-40B4-BE49-F238E27FC236}">
                  <a16:creationId xmlns:a16="http://schemas.microsoft.com/office/drawing/2014/main" id="{2925923C-7608-49AF-A283-825865B102F7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3">
              <a:extLst>
                <a:ext uri="{FF2B5EF4-FFF2-40B4-BE49-F238E27FC236}">
                  <a16:creationId xmlns:a16="http://schemas.microsoft.com/office/drawing/2014/main" id="{25261322-CD55-4407-A970-582C590B3188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5">
              <a:extLst>
                <a:ext uri="{FF2B5EF4-FFF2-40B4-BE49-F238E27FC236}">
                  <a16:creationId xmlns:a16="http://schemas.microsoft.com/office/drawing/2014/main" id="{DE4E4596-840F-4DCB-B720-1DECB51EFF00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6">
              <a:extLst>
                <a:ext uri="{FF2B5EF4-FFF2-40B4-BE49-F238E27FC236}">
                  <a16:creationId xmlns:a16="http://schemas.microsoft.com/office/drawing/2014/main" id="{AB631C90-846A-4222-A63E-2CC35AA0C2D2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8">
              <a:extLst>
                <a:ext uri="{FF2B5EF4-FFF2-40B4-BE49-F238E27FC236}">
                  <a16:creationId xmlns:a16="http://schemas.microsoft.com/office/drawing/2014/main" id="{4BDA1428-57BE-4D8F-8C5A-F9B925ED38ED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9">
              <a:extLst>
                <a:ext uri="{FF2B5EF4-FFF2-40B4-BE49-F238E27FC236}">
                  <a16:creationId xmlns:a16="http://schemas.microsoft.com/office/drawing/2014/main" id="{A8D1A26D-C355-4E42-BAEF-7577564BC660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1">
              <a:extLst>
                <a:ext uri="{FF2B5EF4-FFF2-40B4-BE49-F238E27FC236}">
                  <a16:creationId xmlns:a16="http://schemas.microsoft.com/office/drawing/2014/main" id="{492F1E83-1B29-4315-99F9-044930A7D2E5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2">
              <a:extLst>
                <a:ext uri="{FF2B5EF4-FFF2-40B4-BE49-F238E27FC236}">
                  <a16:creationId xmlns:a16="http://schemas.microsoft.com/office/drawing/2014/main" id="{F4B4C25B-EAB0-45FA-AFCA-5339015FC849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4">
              <a:extLst>
                <a:ext uri="{FF2B5EF4-FFF2-40B4-BE49-F238E27FC236}">
                  <a16:creationId xmlns:a16="http://schemas.microsoft.com/office/drawing/2014/main" id="{8F9FD23A-6358-4ED1-B21B-8DEAD90DF97A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6">
              <a:extLst>
                <a:ext uri="{FF2B5EF4-FFF2-40B4-BE49-F238E27FC236}">
                  <a16:creationId xmlns:a16="http://schemas.microsoft.com/office/drawing/2014/main" id="{1AA7C894-6335-47E9-B551-E467C14A5940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7">
              <a:extLst>
                <a:ext uri="{FF2B5EF4-FFF2-40B4-BE49-F238E27FC236}">
                  <a16:creationId xmlns:a16="http://schemas.microsoft.com/office/drawing/2014/main" id="{B455C8DD-149E-4C97-93F6-4AA62DBD1F7A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8">
              <a:extLst>
                <a:ext uri="{FF2B5EF4-FFF2-40B4-BE49-F238E27FC236}">
                  <a16:creationId xmlns:a16="http://schemas.microsoft.com/office/drawing/2014/main" id="{2979FAD9-5578-40CF-BCA9-081C50E2E8B6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3" name="Dot pulse">
            <a:extLst>
              <a:ext uri="{FF2B5EF4-FFF2-40B4-BE49-F238E27FC236}">
                <a16:creationId xmlns:a16="http://schemas.microsoft.com/office/drawing/2014/main" id="{FC255B9C-6ED5-4D3C-AB33-D8937A8D879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3679" y="4976328"/>
            <a:ext cx="2826000" cy="144267"/>
          </a:xfrm>
          <a:prstGeom prst="rect">
            <a:avLst/>
          </a:prstGeom>
        </p:spPr>
      </p:pic>
      <p:sp>
        <p:nvSpPr>
          <p:cNvPr id="65" name="Abgerundetes Rechteck 8">
            <a:extLst>
              <a:ext uri="{FF2B5EF4-FFF2-40B4-BE49-F238E27FC236}">
                <a16:creationId xmlns:a16="http://schemas.microsoft.com/office/drawing/2014/main" id="{AE53DB3D-081F-4729-84B0-B999F48632C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 b="1">
                <a:solidFill>
                  <a:schemeClr val="tx1"/>
                </a:solidFill>
                <a:latin typeface="+mn-lt"/>
              </a:rPr>
              <a:t>The animation</a:t>
            </a:r>
            <a:r>
              <a:rPr lang="de-DE" sz="1100">
                <a:solidFill>
                  <a:schemeClr val="tx1"/>
                </a:solidFill>
                <a:latin typeface="+mn-lt"/>
              </a:rPr>
              <a:t> </a:t>
            </a:r>
            <a:r>
              <a:rPr lang="de-DE" sz="110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de-DE" sz="1100">
                <a:solidFill>
                  <a:schemeClr val="tx1"/>
                </a:solidFill>
                <a:latin typeface="+mn-lt"/>
              </a:rPr>
              <a:t>can be </a:t>
            </a:r>
            <a:r>
              <a:rPr lang="de-DE" sz="1100">
                <a:solidFill>
                  <a:schemeClr val="tx1"/>
                </a:solidFill>
              </a:rPr>
              <a:t>optionally  </a:t>
            </a:r>
            <a:r>
              <a:rPr lang="de-DE" sz="110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pPr rtl="0"/>
            <a:endParaRPr lang="de-DE" sz="1100">
              <a:solidFill>
                <a:schemeClr val="bg1"/>
              </a:solidFill>
              <a:latin typeface="+mn-lt"/>
            </a:endParaRPr>
          </a:p>
          <a:p>
            <a:pPr rtl="0"/>
            <a:r>
              <a:rPr lang="de-DE" sz="110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pPr rtl="0"/>
            <a:r>
              <a:rPr lang="de-DE" sz="110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</p:spTree>
    <p:extLst>
      <p:ext uri="{BB962C8B-B14F-4D97-AF65-F5344CB8AC3E}">
        <p14:creationId xmlns:p14="http://schemas.microsoft.com/office/powerpoint/2010/main" val="4126882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0A741C2-9F84-AE9A-DA35-8CB99541AA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827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0A741C2-9F84-AE9A-DA35-8CB99541A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rey cover"/>
          <p:cNvSpPr/>
          <p:nvPr userDrawn="1"/>
        </p:nvSpPr>
        <p:spPr bwMode="auto">
          <a:xfrm>
            <a:off x="0" y="0"/>
            <a:ext cx="6000750" cy="685800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/>
          </a:p>
        </p:txBody>
      </p:sp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4697163" cy="8329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le Calibri Bold 28 pt</a:t>
            </a:r>
            <a:endParaRPr lang="de-DE"/>
          </a:p>
        </p:txBody>
      </p:sp>
      <p:sp>
        <p:nvSpPr>
          <p:cNvPr id="6" name="Diagram"/>
          <p:cNvSpPr>
            <a:spLocks noGrp="1"/>
          </p:cNvSpPr>
          <p:nvPr>
            <p:ph type="chart" sz="quarter" idx="18" hasCustomPrompt="1"/>
          </p:nvPr>
        </p:nvSpPr>
        <p:spPr>
          <a:xfrm>
            <a:off x="0" y="1623600"/>
            <a:ext cx="6000750" cy="4572000"/>
          </a:xfrm>
        </p:spPr>
        <p:txBody>
          <a:bodyPr lIns="180000" tIns="180000" rIns="180000" bIns="180000"/>
          <a:lstStyle>
            <a:lvl1pPr rtl="0">
              <a:defRPr b="1"/>
            </a:lvl1pPr>
          </a:lstStyle>
          <a:p>
            <a:r>
              <a:rPr lang="de-DE" noProof="0"/>
              <a:t>Add a </a:t>
            </a:r>
            <a:r>
              <a:rPr lang="de-DE" noProof="0" err="1"/>
              <a:t>diagram</a:t>
            </a:r>
            <a:endParaRPr lang="de-DE" noProof="0"/>
          </a:p>
        </p:txBody>
      </p:sp>
      <p:sp>
        <p:nvSpPr>
          <p:cNvPr id="7" name="Content">
            <a:extLst>
              <a:ext uri="{FF2B5EF4-FFF2-40B4-BE49-F238E27FC236}">
                <a16:creationId xmlns:a16="http://schemas.microsoft.com/office/drawing/2014/main" id="{2BF4AC8F-F597-45E5-8DEC-DEB931D9DAF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572249" y="2263139"/>
            <a:ext cx="5058000" cy="39312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1000" b="0"/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lnSpc>
                <a:spcPct val="100000"/>
              </a:lnSpc>
              <a:defRPr/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5C7CC333-5A2B-46AC-8B83-498F30AB826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4581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nical Pictures, Title/Content/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8F8215C-0CC9-8A27-BC55-DC98114269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227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8F8215C-0CC9-8A27-BC55-DC98114269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39999" y="219599"/>
            <a:ext cx="9212400" cy="8329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le Calibri Bold 28 pt</a:t>
            </a:r>
            <a:endParaRPr lang="de-DE"/>
          </a:p>
        </p:txBody>
      </p:sp>
      <p:sp>
        <p:nvSpPr>
          <p:cNvPr id="10" name="Content">
            <a:extLst>
              <a:ext uri="{FF2B5EF4-FFF2-40B4-BE49-F238E27FC236}">
                <a16:creationId xmlns:a16="http://schemas.microsoft.com/office/drawing/2014/main" id="{9F588DA8-B417-4AA8-9930-A6744CC61E9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40000" y="1619250"/>
            <a:ext cx="5635375" cy="4573863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buClrTx/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52C62DF1-15C2-4184-A4A8-1D85A6A7CF0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115175" y="1619250"/>
            <a:ext cx="4513262" cy="4573588"/>
          </a:xfrm>
        </p:spPr>
        <p:txBody>
          <a:bodyPr lIns="180000" tIns="180000" rIns="180000" bIns="18000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d a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sp>
        <p:nvSpPr>
          <p:cNvPr id="101" name="Restricted"/>
          <p:cNvSpPr txBox="1"/>
          <p:nvPr userDrawn="1"/>
        </p:nvSpPr>
        <p:spPr>
          <a:xfrm>
            <a:off x="8054976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>
              <a:lnSpc>
                <a:spcPct val="100000"/>
              </a:lnSpc>
            </a:pPr>
            <a:r>
              <a:rPr lang="de-DE" sz="1000">
                <a:solidFill>
                  <a:schemeClr val="bg1"/>
                </a:solidFill>
              </a:rPr>
              <a:t>Frei verwendbar © Siemens Healthineers, 2023</a:t>
            </a:r>
          </a:p>
        </p:txBody>
      </p:sp>
      <p:pic>
        <p:nvPicPr>
          <p:cNvPr id="108" name="Siemens Healthineers logo">
            <a:extLst>
              <a:ext uri="{FF2B5EF4-FFF2-40B4-BE49-F238E27FC236}">
                <a16:creationId xmlns:a16="http://schemas.microsoft.com/office/drawing/2014/main" id="{418176E0-4F12-4F90-92BB-288ECE13FFA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4504" y="281267"/>
            <a:ext cx="1450797" cy="34588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84CCA68-ECFB-4738-8888-BCE166E98278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bg1"/>
                </a:solidFill>
                <a:latin typeface="Calibri" panose="020F0502020204030204" pitchFamily="34" charset="0"/>
              </a:rPr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58973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linical Pictures, Title/Content/Pictur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12B63AD-5FA0-DF65-2ACB-92D6F3B9DE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2010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12B63AD-5FA0-DF65-2ACB-92D6F3B9DE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le Calibri Bold 28 pt</a:t>
            </a:r>
          </a:p>
        </p:txBody>
      </p:sp>
      <p:sp>
        <p:nvSpPr>
          <p:cNvPr id="7" name="Content left column">
            <a:extLst>
              <a:ext uri="{FF2B5EF4-FFF2-40B4-BE49-F238E27FC236}">
                <a16:creationId xmlns:a16="http://schemas.microsoft.com/office/drawing/2014/main" id="{F3DE8C85-D5DE-48E2-BC87-EE21BFCB3F6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000" y="1623600"/>
            <a:ext cx="4514400" cy="4572000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4" name="Clinical image 1"/>
          <p:cNvSpPr>
            <a:spLocks noGrp="1"/>
          </p:cNvSpPr>
          <p:nvPr>
            <p:ph type="pic" sz="quarter" idx="18" hasCustomPrompt="1"/>
          </p:nvPr>
        </p:nvSpPr>
        <p:spPr bwMode="auto">
          <a:xfrm>
            <a:off x="6174000" y="1623600"/>
            <a:ext cx="2638800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 rtl="0">
              <a:defRPr b="1"/>
            </a:lvl1pPr>
          </a:lstStyle>
          <a:p>
            <a:r>
              <a:rPr lang="de-DE" noProof="0"/>
              <a:t>Add a </a:t>
            </a:r>
            <a:r>
              <a:rPr lang="de-DE" noProof="0" err="1"/>
              <a:t>picture</a:t>
            </a:r>
            <a:endParaRPr lang="de-DE" noProof="0"/>
          </a:p>
        </p:txBody>
      </p:sp>
      <p:sp>
        <p:nvSpPr>
          <p:cNvPr id="5" name="Caption 1">
            <a:extLst>
              <a:ext uri="{FF2B5EF4-FFF2-40B4-BE49-F238E27FC236}">
                <a16:creationId xmlns:a16="http://schemas.microsoft.com/office/drawing/2014/main" id="{A4D87FDD-062F-49D8-809F-5741C82145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75375" y="3502800"/>
            <a:ext cx="2642400" cy="331200"/>
          </a:xfrm>
        </p:spPr>
        <p:txBody>
          <a:bodyPr tIns="36000"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Text Calibri 14 pt</a:t>
            </a:r>
          </a:p>
        </p:txBody>
      </p:sp>
      <p:sp>
        <p:nvSpPr>
          <p:cNvPr id="14" name="Clinical image 2">
            <a:extLst>
              <a:ext uri="{FF2B5EF4-FFF2-40B4-BE49-F238E27FC236}">
                <a16:creationId xmlns:a16="http://schemas.microsoft.com/office/drawing/2014/main" id="{1B6A89FF-0093-42D5-A01F-9F38E6EAE9A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989200" y="1623600"/>
            <a:ext cx="2638800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 rtl="0">
              <a:defRPr b="1"/>
            </a:lvl1pPr>
          </a:lstStyle>
          <a:p>
            <a:r>
              <a:rPr lang="de-DE" noProof="0"/>
              <a:t>Add a </a:t>
            </a:r>
            <a:r>
              <a:rPr lang="de-DE" noProof="0" err="1"/>
              <a:t>picture</a:t>
            </a:r>
            <a:endParaRPr lang="de-DE" noProof="0"/>
          </a:p>
        </p:txBody>
      </p:sp>
      <p:sp>
        <p:nvSpPr>
          <p:cNvPr id="24" name="Caption 2">
            <a:extLst>
              <a:ext uri="{FF2B5EF4-FFF2-40B4-BE49-F238E27FC236}">
                <a16:creationId xmlns:a16="http://schemas.microsoft.com/office/drawing/2014/main" id="{650FABFD-7068-4DE9-976C-84AD6DB2DF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85600" y="3502800"/>
            <a:ext cx="2642400" cy="331200"/>
          </a:xfrm>
        </p:spPr>
        <p:txBody>
          <a:bodyPr tIns="36000"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Text Calibri 14 pt</a:t>
            </a:r>
          </a:p>
        </p:txBody>
      </p:sp>
      <p:sp>
        <p:nvSpPr>
          <p:cNvPr id="15" name="Clinical image 3">
            <a:extLst>
              <a:ext uri="{FF2B5EF4-FFF2-40B4-BE49-F238E27FC236}">
                <a16:creationId xmlns:a16="http://schemas.microsoft.com/office/drawing/2014/main" id="{0FB77AF6-1131-46EA-A876-D52D6E453D8C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174000" y="3981600"/>
            <a:ext cx="2638800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 rtl="0">
              <a:defRPr b="1"/>
            </a:lvl1pPr>
          </a:lstStyle>
          <a:p>
            <a:r>
              <a:rPr lang="de-DE" noProof="0"/>
              <a:t>Add a </a:t>
            </a:r>
            <a:r>
              <a:rPr lang="de-DE" noProof="0" err="1"/>
              <a:t>picture</a:t>
            </a:r>
            <a:endParaRPr lang="de-DE" noProof="0"/>
          </a:p>
        </p:txBody>
      </p:sp>
      <p:sp>
        <p:nvSpPr>
          <p:cNvPr id="25" name="Caption 3">
            <a:extLst>
              <a:ext uri="{FF2B5EF4-FFF2-40B4-BE49-F238E27FC236}">
                <a16:creationId xmlns:a16="http://schemas.microsoft.com/office/drawing/2014/main" id="{122681D0-1733-4184-8DE3-4F7818D7DE5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75375" y="5860800"/>
            <a:ext cx="2642400" cy="331200"/>
          </a:xfrm>
        </p:spPr>
        <p:txBody>
          <a:bodyPr tIns="36000"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Text Calibri 14 pt</a:t>
            </a:r>
          </a:p>
        </p:txBody>
      </p:sp>
      <p:sp>
        <p:nvSpPr>
          <p:cNvPr id="17" name="Clinical image 4">
            <a:extLst>
              <a:ext uri="{FF2B5EF4-FFF2-40B4-BE49-F238E27FC236}">
                <a16:creationId xmlns:a16="http://schemas.microsoft.com/office/drawing/2014/main" id="{45149F5E-90E9-4952-A69E-9F6C567BF48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989200" y="3981600"/>
            <a:ext cx="2638800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 rtl="0">
              <a:defRPr b="1"/>
            </a:lvl1pPr>
          </a:lstStyle>
          <a:p>
            <a:r>
              <a:rPr lang="de-DE" noProof="0"/>
              <a:t>Add a </a:t>
            </a:r>
            <a:r>
              <a:rPr lang="de-DE" noProof="0" err="1"/>
              <a:t>picture</a:t>
            </a:r>
            <a:endParaRPr lang="de-DE" noProof="0"/>
          </a:p>
        </p:txBody>
      </p:sp>
      <p:sp>
        <p:nvSpPr>
          <p:cNvPr id="26" name="Caption 4">
            <a:extLst>
              <a:ext uri="{FF2B5EF4-FFF2-40B4-BE49-F238E27FC236}">
                <a16:creationId xmlns:a16="http://schemas.microsoft.com/office/drawing/2014/main" id="{868D25E9-432A-40D3-8673-17F684EC8D1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85600" y="5860800"/>
            <a:ext cx="2642400" cy="331200"/>
          </a:xfrm>
        </p:spPr>
        <p:txBody>
          <a:bodyPr tIns="36000"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Text Calibri 14 pt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sp>
        <p:nvSpPr>
          <p:cNvPr id="22" name="Restricted">
            <a:extLst>
              <a:ext uri="{FF2B5EF4-FFF2-40B4-BE49-F238E27FC236}">
                <a16:creationId xmlns:a16="http://schemas.microsoft.com/office/drawing/2014/main" id="{42452E35-28FF-43F0-BAA1-0E6FD1DE3EED}"/>
              </a:ext>
            </a:extLst>
          </p:cNvPr>
          <p:cNvSpPr txBox="1"/>
          <p:nvPr userDrawn="1"/>
        </p:nvSpPr>
        <p:spPr>
          <a:xfrm>
            <a:off x="8054976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>
              <a:lnSpc>
                <a:spcPct val="100000"/>
              </a:lnSpc>
            </a:pPr>
            <a:r>
              <a:rPr lang="de-DE" sz="1000">
                <a:solidFill>
                  <a:schemeClr val="bg1"/>
                </a:solidFill>
              </a:rPr>
              <a:t>Restricted © Siemens Healthineers, 2019</a:t>
            </a:r>
          </a:p>
        </p:txBody>
      </p:sp>
      <p:pic>
        <p:nvPicPr>
          <p:cNvPr id="20" name="Siemens Healthineers logo">
            <a:extLst>
              <a:ext uri="{FF2B5EF4-FFF2-40B4-BE49-F238E27FC236}">
                <a16:creationId xmlns:a16="http://schemas.microsoft.com/office/drawing/2014/main" id="{BC2F1249-80CB-4DEF-AB9A-3694F6FE173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44504" y="281267"/>
            <a:ext cx="1450797" cy="34588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60FE2AC-E3F6-4795-9F40-E557323AE6B9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bg1"/>
                </a:solidFill>
                <a:latin typeface="Calibri" panose="020F0502020204030204" pitchFamily="34" charset="0"/>
              </a:rPr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48953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363D7F8-BE96-0E5B-7526-5328A27156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0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363D7F8-BE96-0E5B-7526-5328A27156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6575175" cy="8329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le Calibri Bold 28 pt</a:t>
            </a:r>
            <a:endParaRPr lang="de-DE"/>
          </a:p>
        </p:txBody>
      </p:sp>
      <p:sp>
        <p:nvSpPr>
          <p:cNvPr id="6" name="Content left">
            <a:extLst>
              <a:ext uri="{FF2B5EF4-FFF2-40B4-BE49-F238E27FC236}">
                <a16:creationId xmlns:a16="http://schemas.microsoft.com/office/drawing/2014/main" id="{B8F2235E-1561-4540-BBA6-ED3314518FCA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237163" y="1620000"/>
            <a:ext cx="4518000" cy="2520000"/>
          </a:xfrm>
        </p:spPr>
        <p:txBody>
          <a:bodyPr tIns="144000" bIns="144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/>
              <a:t>Headline Calibri Bold 16 pt</a:t>
            </a:r>
          </a:p>
          <a:p>
            <a:pPr lvl="1"/>
            <a:r>
              <a:rPr lang="de-DE" noProof="0"/>
              <a:t>Text Calibri 16 pt</a:t>
            </a:r>
          </a:p>
          <a:p>
            <a:pPr lvl="2"/>
            <a:r>
              <a:rPr lang="de-DE" noProof="0"/>
              <a:t>Text Calibri 16 pt</a:t>
            </a:r>
          </a:p>
          <a:p>
            <a:pPr lvl="3"/>
            <a:r>
              <a:rPr lang="de-DE" noProof="0"/>
              <a:t>Text Calibri 16 pt</a:t>
            </a:r>
          </a:p>
          <a:p>
            <a:pPr lvl="4"/>
            <a:r>
              <a:rPr lang="de-DE" noProof="0"/>
              <a:t>Text Calibri 16 pt</a:t>
            </a:r>
          </a:p>
          <a:p>
            <a:pPr lvl="5"/>
            <a:r>
              <a:rPr lang="de-DE" noProof="0"/>
              <a:t>Text Calibri 16 pt</a:t>
            </a:r>
          </a:p>
          <a:p>
            <a:pPr lvl="6"/>
            <a:r>
              <a:rPr lang="de-DE" noProof="0"/>
              <a:t>Text Calibri 16 pt</a:t>
            </a:r>
          </a:p>
          <a:p>
            <a:pPr lvl="7"/>
            <a:r>
              <a:rPr lang="de-DE" noProof="0"/>
              <a:t>Text Calibri 16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11" name="Content right">
            <a:extLst>
              <a:ext uri="{FF2B5EF4-FFF2-40B4-BE49-F238E27FC236}">
                <a16:creationId xmlns:a16="http://schemas.microsoft.com/office/drawing/2014/main" id="{0FB035AA-D8D6-455D-B8AF-CD2D66504C31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540000" y="1620000"/>
            <a:ext cx="4518000" cy="2520000"/>
          </a:xfrm>
        </p:spPr>
        <p:txBody>
          <a:bodyPr tIns="144000" bIns="144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/>
              <a:t>Headline Calibri Bold 16 pt</a:t>
            </a:r>
          </a:p>
          <a:p>
            <a:pPr lvl="1"/>
            <a:r>
              <a:rPr lang="de-DE" noProof="0"/>
              <a:t>Text Calibri 16 pt</a:t>
            </a:r>
          </a:p>
          <a:p>
            <a:pPr lvl="2"/>
            <a:r>
              <a:rPr lang="de-DE" noProof="0"/>
              <a:t>Text Calibri 16 pt</a:t>
            </a:r>
          </a:p>
          <a:p>
            <a:pPr lvl="3"/>
            <a:r>
              <a:rPr lang="de-DE" noProof="0"/>
              <a:t>Text Calibri 16 pt</a:t>
            </a:r>
          </a:p>
          <a:p>
            <a:pPr lvl="4"/>
            <a:r>
              <a:rPr lang="de-DE" noProof="0"/>
              <a:t>Text Calibri 16 pt</a:t>
            </a:r>
          </a:p>
          <a:p>
            <a:pPr lvl="5"/>
            <a:r>
              <a:rPr lang="de-DE" noProof="0"/>
              <a:t>Text Calibri 16 pt</a:t>
            </a:r>
          </a:p>
          <a:p>
            <a:pPr lvl="6"/>
            <a:r>
              <a:rPr lang="de-DE" noProof="0"/>
              <a:t>Text Calibri 16 pt</a:t>
            </a:r>
          </a:p>
          <a:p>
            <a:pPr lvl="7"/>
            <a:r>
              <a:rPr lang="de-DE" noProof="0"/>
              <a:t>Text Calibri 16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88" name="Siemens Healthineers logo">
            <a:extLst>
              <a:ext uri="{FF2B5EF4-FFF2-40B4-BE49-F238E27FC236}">
                <a16:creationId xmlns:a16="http://schemas.microsoft.com/office/drawing/2014/main" id="{B6178E59-1497-433B-BBC8-B4CC5BE3F26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0862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 Title Picture">
    <p:bg bwMode="ltGray"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6F64EF9-06B2-D873-53AD-AFFAD04B25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44720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6F64EF9-06B2-D873-53AD-AFFAD04B25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067DF58E-A6E6-A0DE-45C2-359E076D37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654" t="30206" r="13994" b="25082"/>
          <a:stretch/>
        </p:blipFill>
        <p:spPr>
          <a:xfrm>
            <a:off x="6206232" y="1619251"/>
            <a:ext cx="5963540" cy="5093192"/>
          </a:xfrm>
          <a:prstGeom prst="rect">
            <a:avLst/>
          </a:prstGeom>
        </p:spPr>
      </p:pic>
      <p:sp>
        <p:nvSpPr>
          <p:cNvPr id="4" name="White cover"/>
          <p:cNvSpPr/>
          <p:nvPr userDrawn="1"/>
        </p:nvSpPr>
        <p:spPr bwMode="white">
          <a:xfrm>
            <a:off x="3" y="0"/>
            <a:ext cx="12169773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sz="1797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defRPr sz="1797" b="1">
                <a:solidFill>
                  <a:schemeClr val="bg1"/>
                </a:solidFill>
              </a:defRPr>
            </a:lvl1pPr>
          </a:lstStyle>
          <a:p>
            <a:r>
              <a:rPr lang="de-DE"/>
              <a:t>Optional subhead</a:t>
            </a:r>
            <a:endParaRPr lang="de-DE" noProof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1" y="1915073"/>
            <a:ext cx="5462766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275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191" b="1" baseline="0">
                <a:solidFill>
                  <a:schemeClr val="bg2"/>
                </a:solidFill>
              </a:defRPr>
            </a:lvl1pPr>
            <a:lvl2pPr marL="45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5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8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82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6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1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Headline </a:t>
            </a:r>
            <a:br>
              <a:rPr lang="de-DE"/>
            </a:br>
            <a:r>
              <a:rPr lang="de-DE"/>
              <a:t>Calibri Bold 52 pt</a:t>
            </a:r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3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597" b="0">
                <a:solidFill>
                  <a:schemeClr val="bg1"/>
                </a:solidFill>
              </a:defRPr>
            </a:lvl1pPr>
          </a:lstStyle>
          <a:p>
            <a:r>
              <a:rPr lang="de-DE"/>
              <a:t>Presenter Calibri 16 pt</a:t>
            </a:r>
            <a:br>
              <a:rPr lang="de-DE"/>
            </a:br>
            <a:r>
              <a:rPr lang="de-DE"/>
              <a:t>English, Month 20XX</a:t>
            </a:r>
          </a:p>
        </p:txBody>
      </p:sp>
      <p:sp>
        <p:nvSpPr>
          <p:cNvPr id="5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de-DE" sz="998">
                <a:solidFill>
                  <a:schemeClr val="bg1"/>
                </a:solidFill>
              </a:rPr>
              <a:t>Frei verwendbar © Siemens Healthineers, 2023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6"/>
            <a:ext cx="2484000" cy="592209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5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869" tIns="35934" rIns="71869" bIns="35934" rtlCol="0" anchor="ctr"/>
          <a:lstStyle/>
          <a:p>
            <a:pPr marL="0" marR="0" lvl="0" indent="0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98" b="1">
                <a:solidFill>
                  <a:schemeClr val="tx1"/>
                </a:solidFill>
                <a:latin typeface="+mn-lt"/>
              </a:rPr>
              <a:t>The animation</a:t>
            </a:r>
            <a:r>
              <a:rPr lang="de-DE" sz="1098">
                <a:solidFill>
                  <a:schemeClr val="tx1"/>
                </a:solidFill>
                <a:latin typeface="+mn-lt"/>
              </a:rPr>
              <a:t> </a:t>
            </a:r>
            <a:r>
              <a:rPr lang="de-DE" sz="1098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de-DE" sz="1098">
                <a:solidFill>
                  <a:schemeClr val="tx1"/>
                </a:solidFill>
                <a:latin typeface="+mn-lt"/>
              </a:rPr>
              <a:t>can be </a:t>
            </a:r>
            <a:r>
              <a:rPr lang="de-DE" sz="1098">
                <a:solidFill>
                  <a:schemeClr val="tx1"/>
                </a:solidFill>
              </a:rPr>
              <a:t>optionally  </a:t>
            </a:r>
            <a:r>
              <a:rPr lang="de-DE" sz="1098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pPr rtl="0"/>
            <a:endParaRPr lang="de-DE" sz="1098">
              <a:solidFill>
                <a:schemeClr val="bg1"/>
              </a:solidFill>
              <a:latin typeface="+mn-lt"/>
            </a:endParaRPr>
          </a:p>
          <a:p>
            <a:pPr rtl="0"/>
            <a:r>
              <a:rPr lang="de-DE" sz="1098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pPr rtl="0"/>
            <a:r>
              <a:rPr lang="de-DE" sz="1098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:a16="http://schemas.microsoft.com/office/drawing/2014/main" id="{308C3086-C876-432D-8B3E-89699301CAE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0232" y="5999016"/>
            <a:ext cx="2826000" cy="144267"/>
          </a:xfrm>
          <a:prstGeom prst="rect">
            <a:avLst/>
          </a:prstGeom>
        </p:spPr>
      </p:pic>
      <p:sp>
        <p:nvSpPr>
          <p:cNvPr id="14" name="Abgerundetes Rechteck 8">
            <a:extLst>
              <a:ext uri="{FF2B5EF4-FFF2-40B4-BE49-F238E27FC236}">
                <a16:creationId xmlns:a16="http://schemas.microsoft.com/office/drawing/2014/main" id="{F28C118A-C910-4A30-B1F0-95D02F39904B}"/>
              </a:ext>
            </a:extLst>
          </p:cNvPr>
          <p:cNvSpPr/>
          <p:nvPr userDrawn="1"/>
        </p:nvSpPr>
        <p:spPr>
          <a:xfrm>
            <a:off x="12560400" y="4655790"/>
            <a:ext cx="1800000" cy="624002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869" tIns="35934" rIns="71869" bIns="35934" rtlCol="0" anchor="ctr">
            <a:noAutofit/>
          </a:bodyPr>
          <a:lstStyle/>
          <a:p>
            <a:pPr marL="0" marR="0" lvl="0" indent="0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98" b="0">
                <a:solidFill>
                  <a:schemeClr val="tx1"/>
                </a:solidFill>
                <a:latin typeface="+mn-lt"/>
              </a:rPr>
              <a:t>Select </a:t>
            </a:r>
            <a:r>
              <a:rPr lang="de-DE" sz="1098" b="1">
                <a:solidFill>
                  <a:schemeClr val="tx1"/>
                </a:solidFill>
                <a:latin typeface="+mn-lt"/>
              </a:rPr>
              <a:t>additional title motifs </a:t>
            </a:r>
            <a:r>
              <a:rPr lang="de-DE" sz="1098" b="0">
                <a:solidFill>
                  <a:schemeClr val="tx1"/>
                </a:solidFill>
                <a:latin typeface="+mn-lt"/>
              </a:rPr>
              <a:t>from the separate PPT </a:t>
            </a:r>
            <a:br>
              <a:rPr lang="de-DE" sz="1098" b="0">
                <a:solidFill>
                  <a:schemeClr val="tx1"/>
                </a:solidFill>
                <a:latin typeface="+mn-lt"/>
              </a:rPr>
            </a:br>
            <a:r>
              <a:rPr lang="de-DE" sz="1098" b="0">
                <a:solidFill>
                  <a:schemeClr val="tx1"/>
                </a:solidFill>
                <a:latin typeface="+mn-lt"/>
              </a:rPr>
              <a:t>“Title variations”.</a:t>
            </a:r>
            <a:endParaRPr lang="de-DE" sz="1098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15" name="Marker">
            <a:extLst>
              <a:ext uri="{FF2B5EF4-FFF2-40B4-BE49-F238E27FC236}">
                <a16:creationId xmlns:a16="http://schemas.microsoft.com/office/drawing/2014/main" id="{203C11FA-C801-422E-9F79-C2E5974841E6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6" name="Gerade Verbindung 40">
              <a:extLst>
                <a:ext uri="{FF2B5EF4-FFF2-40B4-BE49-F238E27FC236}">
                  <a16:creationId xmlns:a16="http://schemas.microsoft.com/office/drawing/2014/main" id="{D031BCF9-84E8-418E-8AEE-B4A2B10E5918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42">
              <a:extLst>
                <a:ext uri="{FF2B5EF4-FFF2-40B4-BE49-F238E27FC236}">
                  <a16:creationId xmlns:a16="http://schemas.microsoft.com/office/drawing/2014/main" id="{1D25D2D7-52B1-4264-905E-74357A728837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45">
              <a:extLst>
                <a:ext uri="{FF2B5EF4-FFF2-40B4-BE49-F238E27FC236}">
                  <a16:creationId xmlns:a16="http://schemas.microsoft.com/office/drawing/2014/main" id="{85ECCCE4-B347-4562-8B5B-B3E088D3D159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6">
              <a:extLst>
                <a:ext uri="{FF2B5EF4-FFF2-40B4-BE49-F238E27FC236}">
                  <a16:creationId xmlns:a16="http://schemas.microsoft.com/office/drawing/2014/main" id="{315FF164-B668-4C95-AEA8-E6F5CC67C93A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48">
              <a:extLst>
                <a:ext uri="{FF2B5EF4-FFF2-40B4-BE49-F238E27FC236}">
                  <a16:creationId xmlns:a16="http://schemas.microsoft.com/office/drawing/2014/main" id="{36C0B5C8-A467-47E4-ACF3-2FCB141DA49B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49">
              <a:extLst>
                <a:ext uri="{FF2B5EF4-FFF2-40B4-BE49-F238E27FC236}">
                  <a16:creationId xmlns:a16="http://schemas.microsoft.com/office/drawing/2014/main" id="{8A8AE28F-68E3-4218-952B-C0FB3F688811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51">
              <a:extLst>
                <a:ext uri="{FF2B5EF4-FFF2-40B4-BE49-F238E27FC236}">
                  <a16:creationId xmlns:a16="http://schemas.microsoft.com/office/drawing/2014/main" id="{3882FEFD-B94C-4415-AE3C-8086BDD12083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52">
              <a:extLst>
                <a:ext uri="{FF2B5EF4-FFF2-40B4-BE49-F238E27FC236}">
                  <a16:creationId xmlns:a16="http://schemas.microsoft.com/office/drawing/2014/main" id="{9E1DB1E3-A940-41E6-9F3A-36C5C8601D04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54">
              <a:extLst>
                <a:ext uri="{FF2B5EF4-FFF2-40B4-BE49-F238E27FC236}">
                  <a16:creationId xmlns:a16="http://schemas.microsoft.com/office/drawing/2014/main" id="{323BB452-D519-4469-9765-A3C850B79D11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55">
              <a:extLst>
                <a:ext uri="{FF2B5EF4-FFF2-40B4-BE49-F238E27FC236}">
                  <a16:creationId xmlns:a16="http://schemas.microsoft.com/office/drawing/2014/main" id="{29051F2C-2511-4120-AC66-085B495C7FA1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57">
              <a:extLst>
                <a:ext uri="{FF2B5EF4-FFF2-40B4-BE49-F238E27FC236}">
                  <a16:creationId xmlns:a16="http://schemas.microsoft.com/office/drawing/2014/main" id="{3430B135-E97B-47D7-8172-AFD15657CFE1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58">
              <a:extLst>
                <a:ext uri="{FF2B5EF4-FFF2-40B4-BE49-F238E27FC236}">
                  <a16:creationId xmlns:a16="http://schemas.microsoft.com/office/drawing/2014/main" id="{2C069331-5413-4B72-9AEA-08F8ADCC6545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60">
              <a:extLst>
                <a:ext uri="{FF2B5EF4-FFF2-40B4-BE49-F238E27FC236}">
                  <a16:creationId xmlns:a16="http://schemas.microsoft.com/office/drawing/2014/main" id="{D07E6B36-BA28-4E87-91F8-55139D3C3365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61">
              <a:extLst>
                <a:ext uri="{FF2B5EF4-FFF2-40B4-BE49-F238E27FC236}">
                  <a16:creationId xmlns:a16="http://schemas.microsoft.com/office/drawing/2014/main" id="{3C4A2EF8-87AB-4682-A30A-222A2FA12F0E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63">
              <a:extLst>
                <a:ext uri="{FF2B5EF4-FFF2-40B4-BE49-F238E27FC236}">
                  <a16:creationId xmlns:a16="http://schemas.microsoft.com/office/drawing/2014/main" id="{6257EF58-8D83-4A04-B443-F526CB33AE20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4">
              <a:extLst>
                <a:ext uri="{FF2B5EF4-FFF2-40B4-BE49-F238E27FC236}">
                  <a16:creationId xmlns:a16="http://schemas.microsoft.com/office/drawing/2014/main" id="{63906B93-993A-4648-B44A-2386B2441F01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6">
              <a:extLst>
                <a:ext uri="{FF2B5EF4-FFF2-40B4-BE49-F238E27FC236}">
                  <a16:creationId xmlns:a16="http://schemas.microsoft.com/office/drawing/2014/main" id="{B9C31A83-830E-4A5A-8314-DB3E89114FC2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67">
              <a:extLst>
                <a:ext uri="{FF2B5EF4-FFF2-40B4-BE49-F238E27FC236}">
                  <a16:creationId xmlns:a16="http://schemas.microsoft.com/office/drawing/2014/main" id="{CC8E7EF9-479C-4DB3-82D2-82C0CCC5D05F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69">
              <a:extLst>
                <a:ext uri="{FF2B5EF4-FFF2-40B4-BE49-F238E27FC236}">
                  <a16:creationId xmlns:a16="http://schemas.microsoft.com/office/drawing/2014/main" id="{BFC9E558-F3F8-4DAF-A516-33495045A13B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70">
              <a:extLst>
                <a:ext uri="{FF2B5EF4-FFF2-40B4-BE49-F238E27FC236}">
                  <a16:creationId xmlns:a16="http://schemas.microsoft.com/office/drawing/2014/main" id="{0504A52C-3752-40E6-95AB-794C2A68CC89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2">
              <a:extLst>
                <a:ext uri="{FF2B5EF4-FFF2-40B4-BE49-F238E27FC236}">
                  <a16:creationId xmlns:a16="http://schemas.microsoft.com/office/drawing/2014/main" id="{9BB79F82-2710-4AE1-BD2A-100F090EF68F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3">
              <a:extLst>
                <a:ext uri="{FF2B5EF4-FFF2-40B4-BE49-F238E27FC236}">
                  <a16:creationId xmlns:a16="http://schemas.microsoft.com/office/drawing/2014/main" id="{F36F7042-6F55-4FCB-BDE4-BD8F2223A01E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75">
              <a:extLst>
                <a:ext uri="{FF2B5EF4-FFF2-40B4-BE49-F238E27FC236}">
                  <a16:creationId xmlns:a16="http://schemas.microsoft.com/office/drawing/2014/main" id="{9C257BB2-225E-4BCC-873B-4B1BD0C0F232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76">
              <a:extLst>
                <a:ext uri="{FF2B5EF4-FFF2-40B4-BE49-F238E27FC236}">
                  <a16:creationId xmlns:a16="http://schemas.microsoft.com/office/drawing/2014/main" id="{8FEFE920-8C03-4463-975F-E8447FB83B5E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78">
              <a:extLst>
                <a:ext uri="{FF2B5EF4-FFF2-40B4-BE49-F238E27FC236}">
                  <a16:creationId xmlns:a16="http://schemas.microsoft.com/office/drawing/2014/main" id="{B158C3D5-4534-4AB7-8811-788588FA1D5A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79">
              <a:extLst>
                <a:ext uri="{FF2B5EF4-FFF2-40B4-BE49-F238E27FC236}">
                  <a16:creationId xmlns:a16="http://schemas.microsoft.com/office/drawing/2014/main" id="{22FBA77D-965C-4C41-9021-507DE370743D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1">
              <a:extLst>
                <a:ext uri="{FF2B5EF4-FFF2-40B4-BE49-F238E27FC236}">
                  <a16:creationId xmlns:a16="http://schemas.microsoft.com/office/drawing/2014/main" id="{867B7C5F-B47A-444D-8880-87F0716A71B5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2">
              <a:extLst>
                <a:ext uri="{FF2B5EF4-FFF2-40B4-BE49-F238E27FC236}">
                  <a16:creationId xmlns:a16="http://schemas.microsoft.com/office/drawing/2014/main" id="{317C26FD-B9F6-47B4-BC29-771058AC8F2E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4">
              <a:extLst>
                <a:ext uri="{FF2B5EF4-FFF2-40B4-BE49-F238E27FC236}">
                  <a16:creationId xmlns:a16="http://schemas.microsoft.com/office/drawing/2014/main" id="{43CC7CA0-655B-49B5-B948-1E68522B6157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5">
              <a:extLst>
                <a:ext uri="{FF2B5EF4-FFF2-40B4-BE49-F238E27FC236}">
                  <a16:creationId xmlns:a16="http://schemas.microsoft.com/office/drawing/2014/main" id="{6FBD5E04-E84B-45D5-A232-6FC4F81AD25E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87">
              <a:extLst>
                <a:ext uri="{FF2B5EF4-FFF2-40B4-BE49-F238E27FC236}">
                  <a16:creationId xmlns:a16="http://schemas.microsoft.com/office/drawing/2014/main" id="{8D6CA0C7-3FA0-44C0-994A-3BBC4C546525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88">
              <a:extLst>
                <a:ext uri="{FF2B5EF4-FFF2-40B4-BE49-F238E27FC236}">
                  <a16:creationId xmlns:a16="http://schemas.microsoft.com/office/drawing/2014/main" id="{877272A0-7777-4F51-AD84-F1F92B270336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90">
              <a:extLst>
                <a:ext uri="{FF2B5EF4-FFF2-40B4-BE49-F238E27FC236}">
                  <a16:creationId xmlns:a16="http://schemas.microsoft.com/office/drawing/2014/main" id="{74DE5DBA-63A1-4777-8047-C7BFADB2D2AB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91">
              <a:extLst>
                <a:ext uri="{FF2B5EF4-FFF2-40B4-BE49-F238E27FC236}">
                  <a16:creationId xmlns:a16="http://schemas.microsoft.com/office/drawing/2014/main" id="{DF58D9B6-961F-4D33-AC18-7AE5FA8F3E6C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93">
              <a:extLst>
                <a:ext uri="{FF2B5EF4-FFF2-40B4-BE49-F238E27FC236}">
                  <a16:creationId xmlns:a16="http://schemas.microsoft.com/office/drawing/2014/main" id="{21659B66-2B95-4CF8-8F6F-A9AE6FCEADC4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94">
              <a:extLst>
                <a:ext uri="{FF2B5EF4-FFF2-40B4-BE49-F238E27FC236}">
                  <a16:creationId xmlns:a16="http://schemas.microsoft.com/office/drawing/2014/main" id="{3D19B761-521D-48E5-AA1C-F5C30B8A3CC3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96">
              <a:extLst>
                <a:ext uri="{FF2B5EF4-FFF2-40B4-BE49-F238E27FC236}">
                  <a16:creationId xmlns:a16="http://schemas.microsoft.com/office/drawing/2014/main" id="{D9E491F3-912F-4B84-B4DD-2DFF3278FA94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97">
              <a:extLst>
                <a:ext uri="{FF2B5EF4-FFF2-40B4-BE49-F238E27FC236}">
                  <a16:creationId xmlns:a16="http://schemas.microsoft.com/office/drawing/2014/main" id="{C4221A51-0C53-4EFE-912B-CA87AC2DC1DD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99">
              <a:extLst>
                <a:ext uri="{FF2B5EF4-FFF2-40B4-BE49-F238E27FC236}">
                  <a16:creationId xmlns:a16="http://schemas.microsoft.com/office/drawing/2014/main" id="{9CA6994E-1B4A-4E05-A3D4-3583EA04880D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00">
              <a:extLst>
                <a:ext uri="{FF2B5EF4-FFF2-40B4-BE49-F238E27FC236}">
                  <a16:creationId xmlns:a16="http://schemas.microsoft.com/office/drawing/2014/main" id="{664579E4-BC0D-4958-946A-B6BAFBA42376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2">
              <a:extLst>
                <a:ext uri="{FF2B5EF4-FFF2-40B4-BE49-F238E27FC236}">
                  <a16:creationId xmlns:a16="http://schemas.microsoft.com/office/drawing/2014/main" id="{6CA6B543-E849-4BE2-B037-7395D0979AEF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3">
              <a:extLst>
                <a:ext uri="{FF2B5EF4-FFF2-40B4-BE49-F238E27FC236}">
                  <a16:creationId xmlns:a16="http://schemas.microsoft.com/office/drawing/2014/main" id="{B9940D95-8960-4063-942F-55A28C7A2B0A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05">
              <a:extLst>
                <a:ext uri="{FF2B5EF4-FFF2-40B4-BE49-F238E27FC236}">
                  <a16:creationId xmlns:a16="http://schemas.microsoft.com/office/drawing/2014/main" id="{D00674EB-F78E-4C40-A700-5F7C74AEAEE2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06">
              <a:extLst>
                <a:ext uri="{FF2B5EF4-FFF2-40B4-BE49-F238E27FC236}">
                  <a16:creationId xmlns:a16="http://schemas.microsoft.com/office/drawing/2014/main" id="{0DCA50F4-A9B2-428A-AA54-4B8B1917B2ED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08">
              <a:extLst>
                <a:ext uri="{FF2B5EF4-FFF2-40B4-BE49-F238E27FC236}">
                  <a16:creationId xmlns:a16="http://schemas.microsoft.com/office/drawing/2014/main" id="{CA5ECE16-73D5-46E1-B089-9B7169059B79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09">
              <a:extLst>
                <a:ext uri="{FF2B5EF4-FFF2-40B4-BE49-F238E27FC236}">
                  <a16:creationId xmlns:a16="http://schemas.microsoft.com/office/drawing/2014/main" id="{A9717020-CD0B-4476-B79C-3D756C65F958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11">
              <a:extLst>
                <a:ext uri="{FF2B5EF4-FFF2-40B4-BE49-F238E27FC236}">
                  <a16:creationId xmlns:a16="http://schemas.microsoft.com/office/drawing/2014/main" id="{8B06A486-9375-4512-827A-9BAEC13DE8FC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12">
              <a:extLst>
                <a:ext uri="{FF2B5EF4-FFF2-40B4-BE49-F238E27FC236}">
                  <a16:creationId xmlns:a16="http://schemas.microsoft.com/office/drawing/2014/main" id="{92619BC7-7172-44EB-AAB6-52A42888788A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14">
              <a:extLst>
                <a:ext uri="{FF2B5EF4-FFF2-40B4-BE49-F238E27FC236}">
                  <a16:creationId xmlns:a16="http://schemas.microsoft.com/office/drawing/2014/main" id="{FDB24C7D-14A7-40A1-B129-2B27A7DC201A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16">
              <a:extLst>
                <a:ext uri="{FF2B5EF4-FFF2-40B4-BE49-F238E27FC236}">
                  <a16:creationId xmlns:a16="http://schemas.microsoft.com/office/drawing/2014/main" id="{AC339FA9-9FFA-48BD-A241-A1DAEFB32F09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117">
              <a:extLst>
                <a:ext uri="{FF2B5EF4-FFF2-40B4-BE49-F238E27FC236}">
                  <a16:creationId xmlns:a16="http://schemas.microsoft.com/office/drawing/2014/main" id="{A4849DAA-078A-4163-9703-070F6832D1A7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118">
              <a:extLst>
                <a:ext uri="{FF2B5EF4-FFF2-40B4-BE49-F238E27FC236}">
                  <a16:creationId xmlns:a16="http://schemas.microsoft.com/office/drawing/2014/main" id="{56D9B350-C6E2-4B86-8B3B-182430D737AB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029035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tle Picture (vertical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3D3DC7F-9636-DCEB-DD8B-A6F2603734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17444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3D3DC7F-9636-DCEB-DD8B-A6F2603734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DBF22B7-3B2F-403C-85C0-7EE50268BA0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234400" y="-1"/>
            <a:ext cx="6933600" cy="6858000"/>
          </a:xfrm>
          <a:solidFill>
            <a:schemeClr val="accent6"/>
          </a:solidFill>
        </p:spPr>
        <p:txBody>
          <a:bodyPr lIns="144000" tIns="108000" rIns="144000" bIns="108000"/>
          <a:lstStyle>
            <a:lvl1pPr rtl="0">
              <a:defRPr/>
            </a:lvl1pPr>
            <a:lvl2pPr>
              <a:defRPr/>
            </a:lvl2pPr>
          </a:lstStyle>
          <a:p>
            <a:r>
              <a:rPr lang="de-DE"/>
              <a:t>Insert key visual or another title motive (please refer to the front level communication matrix). When using a key visual, please pay attention to the correct placement.</a:t>
            </a:r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59031"/>
            <a:ext cx="3574800" cy="360000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lnSpc>
                <a:spcPct val="100000"/>
              </a:lnSpc>
              <a:defRPr sz="1797" b="1">
                <a:solidFill>
                  <a:schemeClr val="tx1"/>
                </a:solidFill>
              </a:defRPr>
            </a:lvl1pPr>
          </a:lstStyle>
          <a:p>
            <a:r>
              <a:rPr lang="de-DE"/>
              <a:t>Optional subhead</a:t>
            </a:r>
            <a:endParaRPr lang="de-DE" noProof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540000" y="1623601"/>
            <a:ext cx="4516188" cy="2692231"/>
          </a:xfrm>
        </p:spPr>
        <p:txBody>
          <a:bodyPr lIns="0" tIns="0" rIns="0" bIns="0" anchor="b">
            <a:noAutofit/>
          </a:bodyPr>
          <a:lstStyle>
            <a:lvl1pPr marL="0" marR="0" indent="0" algn="l" defTabSz="91275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191" b="1" baseline="0">
                <a:solidFill>
                  <a:schemeClr val="bg2"/>
                </a:solidFill>
              </a:defRPr>
            </a:lvl1pPr>
            <a:lvl2pPr marL="45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5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8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82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6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1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Headline </a:t>
            </a:r>
            <a:br>
              <a:rPr lang="de-DE"/>
            </a:br>
            <a:r>
              <a:rPr lang="de-DE"/>
              <a:t>Calibri </a:t>
            </a:r>
            <a:br>
              <a:rPr lang="de-DE"/>
            </a:br>
            <a:r>
              <a:rPr lang="de-DE"/>
              <a:t>Bold 52 pt</a:t>
            </a:r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715056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1597" b="0">
                <a:solidFill>
                  <a:schemeClr val="tx1"/>
                </a:solidFill>
              </a:defRPr>
            </a:lvl1pPr>
          </a:lstStyle>
          <a:p>
            <a:r>
              <a:rPr lang="de-DE"/>
              <a:t>Presenter Calibri 16 pt</a:t>
            </a:r>
            <a:br>
              <a:rPr lang="de-DE"/>
            </a:br>
            <a:r>
              <a:rPr lang="de-DE"/>
              <a:t>English, Month 20XX</a:t>
            </a:r>
          </a:p>
        </p:txBody>
      </p:sp>
      <p:pic>
        <p:nvPicPr>
          <p:cNvPr id="87" name="Siemens Healthineers logo">
            <a:extLst>
              <a:ext uri="{FF2B5EF4-FFF2-40B4-BE49-F238E27FC236}">
                <a16:creationId xmlns:a16="http://schemas.microsoft.com/office/drawing/2014/main" id="{5C47D4D0-1261-4166-A003-74EAB8DCE9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6"/>
            <a:ext cx="2484000" cy="592209"/>
          </a:xfrm>
          <a:prstGeom prst="rect">
            <a:avLst/>
          </a:prstGeom>
        </p:spPr>
      </p:pic>
      <p:grpSp>
        <p:nvGrpSpPr>
          <p:cNvPr id="7" name="Marker">
            <a:extLst>
              <a:ext uri="{FF2B5EF4-FFF2-40B4-BE49-F238E27FC236}">
                <a16:creationId xmlns:a16="http://schemas.microsoft.com/office/drawing/2014/main" id="{8C7A0370-8816-4A08-9357-C042C6DC9A5A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8" name="Gerade Verbindung 40">
              <a:extLst>
                <a:ext uri="{FF2B5EF4-FFF2-40B4-BE49-F238E27FC236}">
                  <a16:creationId xmlns:a16="http://schemas.microsoft.com/office/drawing/2014/main" id="{B89B956C-9BFF-4CBA-A1E7-AF25DEA1B997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42">
              <a:extLst>
                <a:ext uri="{FF2B5EF4-FFF2-40B4-BE49-F238E27FC236}">
                  <a16:creationId xmlns:a16="http://schemas.microsoft.com/office/drawing/2014/main" id="{716E386B-E5CE-4F14-979B-4801C00D59F5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5">
              <a:extLst>
                <a:ext uri="{FF2B5EF4-FFF2-40B4-BE49-F238E27FC236}">
                  <a16:creationId xmlns:a16="http://schemas.microsoft.com/office/drawing/2014/main" id="{AAEB1910-2515-4E15-B279-ADF57F7D7E45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46">
              <a:extLst>
                <a:ext uri="{FF2B5EF4-FFF2-40B4-BE49-F238E27FC236}">
                  <a16:creationId xmlns:a16="http://schemas.microsoft.com/office/drawing/2014/main" id="{58E6267F-E493-4E05-B531-ACD672EC2905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48">
              <a:extLst>
                <a:ext uri="{FF2B5EF4-FFF2-40B4-BE49-F238E27FC236}">
                  <a16:creationId xmlns:a16="http://schemas.microsoft.com/office/drawing/2014/main" id="{63E3763E-903B-4182-A36A-5134E48FCFE2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9">
              <a:extLst>
                <a:ext uri="{FF2B5EF4-FFF2-40B4-BE49-F238E27FC236}">
                  <a16:creationId xmlns:a16="http://schemas.microsoft.com/office/drawing/2014/main" id="{7324EC6A-4EDC-4C9F-A3AD-2C520392B7A7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51">
              <a:extLst>
                <a:ext uri="{FF2B5EF4-FFF2-40B4-BE49-F238E27FC236}">
                  <a16:creationId xmlns:a16="http://schemas.microsoft.com/office/drawing/2014/main" id="{7055EE7B-BD64-4AC7-BE6C-6A339D5601B2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2">
              <a:extLst>
                <a:ext uri="{FF2B5EF4-FFF2-40B4-BE49-F238E27FC236}">
                  <a16:creationId xmlns:a16="http://schemas.microsoft.com/office/drawing/2014/main" id="{DF25FE40-F241-448F-A86B-76E25203851E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4">
              <a:extLst>
                <a:ext uri="{FF2B5EF4-FFF2-40B4-BE49-F238E27FC236}">
                  <a16:creationId xmlns:a16="http://schemas.microsoft.com/office/drawing/2014/main" id="{001BB968-63D5-4FC5-904D-5D29C6157370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5">
              <a:extLst>
                <a:ext uri="{FF2B5EF4-FFF2-40B4-BE49-F238E27FC236}">
                  <a16:creationId xmlns:a16="http://schemas.microsoft.com/office/drawing/2014/main" id="{A6842145-3348-45A4-980B-11A21625733F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7">
              <a:extLst>
                <a:ext uri="{FF2B5EF4-FFF2-40B4-BE49-F238E27FC236}">
                  <a16:creationId xmlns:a16="http://schemas.microsoft.com/office/drawing/2014/main" id="{815E0C77-75DA-462D-8EC7-66E986715D23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8">
              <a:extLst>
                <a:ext uri="{FF2B5EF4-FFF2-40B4-BE49-F238E27FC236}">
                  <a16:creationId xmlns:a16="http://schemas.microsoft.com/office/drawing/2014/main" id="{72543F56-1E45-4574-913E-C913E9100888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60">
              <a:extLst>
                <a:ext uri="{FF2B5EF4-FFF2-40B4-BE49-F238E27FC236}">
                  <a16:creationId xmlns:a16="http://schemas.microsoft.com/office/drawing/2014/main" id="{C640789B-DC8D-4F30-B880-A4B6A57822A9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1">
              <a:extLst>
                <a:ext uri="{FF2B5EF4-FFF2-40B4-BE49-F238E27FC236}">
                  <a16:creationId xmlns:a16="http://schemas.microsoft.com/office/drawing/2014/main" id="{7AC6B0A3-4182-4689-99AA-3228DB9F6CAE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3">
              <a:extLst>
                <a:ext uri="{FF2B5EF4-FFF2-40B4-BE49-F238E27FC236}">
                  <a16:creationId xmlns:a16="http://schemas.microsoft.com/office/drawing/2014/main" id="{595E7DA6-6CBF-4BE5-90D3-656149C7E419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4">
              <a:extLst>
                <a:ext uri="{FF2B5EF4-FFF2-40B4-BE49-F238E27FC236}">
                  <a16:creationId xmlns:a16="http://schemas.microsoft.com/office/drawing/2014/main" id="{B95A643F-8B13-4DC9-91C0-5445B4860367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6">
              <a:extLst>
                <a:ext uri="{FF2B5EF4-FFF2-40B4-BE49-F238E27FC236}">
                  <a16:creationId xmlns:a16="http://schemas.microsoft.com/office/drawing/2014/main" id="{356F07C9-D4B4-45B4-8271-02FE5030898E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7">
              <a:extLst>
                <a:ext uri="{FF2B5EF4-FFF2-40B4-BE49-F238E27FC236}">
                  <a16:creationId xmlns:a16="http://schemas.microsoft.com/office/drawing/2014/main" id="{A7D8731D-7285-4323-9853-A3FCECB3FC7C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9">
              <a:extLst>
                <a:ext uri="{FF2B5EF4-FFF2-40B4-BE49-F238E27FC236}">
                  <a16:creationId xmlns:a16="http://schemas.microsoft.com/office/drawing/2014/main" id="{A3E045C0-3D08-4F2B-AF94-DA7C602CFA61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0">
              <a:extLst>
                <a:ext uri="{FF2B5EF4-FFF2-40B4-BE49-F238E27FC236}">
                  <a16:creationId xmlns:a16="http://schemas.microsoft.com/office/drawing/2014/main" id="{1778086A-991B-4796-9532-41646C7860A9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2">
              <a:extLst>
                <a:ext uri="{FF2B5EF4-FFF2-40B4-BE49-F238E27FC236}">
                  <a16:creationId xmlns:a16="http://schemas.microsoft.com/office/drawing/2014/main" id="{899109C4-205C-47FC-9B07-929C95517097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3">
              <a:extLst>
                <a:ext uri="{FF2B5EF4-FFF2-40B4-BE49-F238E27FC236}">
                  <a16:creationId xmlns:a16="http://schemas.microsoft.com/office/drawing/2014/main" id="{F1D687B4-419C-4EDD-8974-73B346092B09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5">
              <a:extLst>
                <a:ext uri="{FF2B5EF4-FFF2-40B4-BE49-F238E27FC236}">
                  <a16:creationId xmlns:a16="http://schemas.microsoft.com/office/drawing/2014/main" id="{FB4C2138-68E9-40BB-BC9E-7489BC0D1CD3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6">
              <a:extLst>
                <a:ext uri="{FF2B5EF4-FFF2-40B4-BE49-F238E27FC236}">
                  <a16:creationId xmlns:a16="http://schemas.microsoft.com/office/drawing/2014/main" id="{38A1761B-9E25-4D38-9157-3C324E2EF301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8">
              <a:extLst>
                <a:ext uri="{FF2B5EF4-FFF2-40B4-BE49-F238E27FC236}">
                  <a16:creationId xmlns:a16="http://schemas.microsoft.com/office/drawing/2014/main" id="{9138AC2D-725F-4604-A198-CB299E7044CC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9">
              <a:extLst>
                <a:ext uri="{FF2B5EF4-FFF2-40B4-BE49-F238E27FC236}">
                  <a16:creationId xmlns:a16="http://schemas.microsoft.com/office/drawing/2014/main" id="{695C712E-EF76-4D84-A6B3-065A92B5D749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1">
              <a:extLst>
                <a:ext uri="{FF2B5EF4-FFF2-40B4-BE49-F238E27FC236}">
                  <a16:creationId xmlns:a16="http://schemas.microsoft.com/office/drawing/2014/main" id="{55475569-B11D-45EA-8502-515BCAE466B5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2">
              <a:extLst>
                <a:ext uri="{FF2B5EF4-FFF2-40B4-BE49-F238E27FC236}">
                  <a16:creationId xmlns:a16="http://schemas.microsoft.com/office/drawing/2014/main" id="{13906181-164E-4BB5-859D-10BA62261ACD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4">
              <a:extLst>
                <a:ext uri="{FF2B5EF4-FFF2-40B4-BE49-F238E27FC236}">
                  <a16:creationId xmlns:a16="http://schemas.microsoft.com/office/drawing/2014/main" id="{0E5CEA6C-3F30-4541-BA07-FB28C090B6B1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5">
              <a:extLst>
                <a:ext uri="{FF2B5EF4-FFF2-40B4-BE49-F238E27FC236}">
                  <a16:creationId xmlns:a16="http://schemas.microsoft.com/office/drawing/2014/main" id="{F75FFC11-8621-4442-8AD6-4FE9E0F860F4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7">
              <a:extLst>
                <a:ext uri="{FF2B5EF4-FFF2-40B4-BE49-F238E27FC236}">
                  <a16:creationId xmlns:a16="http://schemas.microsoft.com/office/drawing/2014/main" id="{EEEABEE3-F061-4362-A46B-72BEE22B070F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8">
              <a:extLst>
                <a:ext uri="{FF2B5EF4-FFF2-40B4-BE49-F238E27FC236}">
                  <a16:creationId xmlns:a16="http://schemas.microsoft.com/office/drawing/2014/main" id="{5AC61265-AB02-4A15-A0FB-B8833112BAB3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0">
              <a:extLst>
                <a:ext uri="{FF2B5EF4-FFF2-40B4-BE49-F238E27FC236}">
                  <a16:creationId xmlns:a16="http://schemas.microsoft.com/office/drawing/2014/main" id="{13BC005C-35E1-4C28-943D-980AE545C766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1">
              <a:extLst>
                <a:ext uri="{FF2B5EF4-FFF2-40B4-BE49-F238E27FC236}">
                  <a16:creationId xmlns:a16="http://schemas.microsoft.com/office/drawing/2014/main" id="{72BAB9C2-5BDC-4288-A254-BB4F74A93485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3">
              <a:extLst>
                <a:ext uri="{FF2B5EF4-FFF2-40B4-BE49-F238E27FC236}">
                  <a16:creationId xmlns:a16="http://schemas.microsoft.com/office/drawing/2014/main" id="{16637504-EE70-4BE5-B8FC-2FCE0D91C89D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4">
              <a:extLst>
                <a:ext uri="{FF2B5EF4-FFF2-40B4-BE49-F238E27FC236}">
                  <a16:creationId xmlns:a16="http://schemas.microsoft.com/office/drawing/2014/main" id="{3443847B-E417-4FDE-97A4-F21A7D42F3ED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6">
              <a:extLst>
                <a:ext uri="{FF2B5EF4-FFF2-40B4-BE49-F238E27FC236}">
                  <a16:creationId xmlns:a16="http://schemas.microsoft.com/office/drawing/2014/main" id="{E55B4267-1249-4F0B-BA01-1A9D2B46285A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7">
              <a:extLst>
                <a:ext uri="{FF2B5EF4-FFF2-40B4-BE49-F238E27FC236}">
                  <a16:creationId xmlns:a16="http://schemas.microsoft.com/office/drawing/2014/main" id="{319A043A-A540-409E-AAC7-A069836E8653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9">
              <a:extLst>
                <a:ext uri="{FF2B5EF4-FFF2-40B4-BE49-F238E27FC236}">
                  <a16:creationId xmlns:a16="http://schemas.microsoft.com/office/drawing/2014/main" id="{CC95F68B-6402-4D96-B1CE-C0B4AFA6FC2D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0">
              <a:extLst>
                <a:ext uri="{FF2B5EF4-FFF2-40B4-BE49-F238E27FC236}">
                  <a16:creationId xmlns:a16="http://schemas.microsoft.com/office/drawing/2014/main" id="{0E5D4C2B-AE5D-4CD3-BD95-39DE41CD53E3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2">
              <a:extLst>
                <a:ext uri="{FF2B5EF4-FFF2-40B4-BE49-F238E27FC236}">
                  <a16:creationId xmlns:a16="http://schemas.microsoft.com/office/drawing/2014/main" id="{2925923C-7608-49AF-A283-825865B102F7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3">
              <a:extLst>
                <a:ext uri="{FF2B5EF4-FFF2-40B4-BE49-F238E27FC236}">
                  <a16:creationId xmlns:a16="http://schemas.microsoft.com/office/drawing/2014/main" id="{25261322-CD55-4407-A970-582C590B3188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5">
              <a:extLst>
                <a:ext uri="{FF2B5EF4-FFF2-40B4-BE49-F238E27FC236}">
                  <a16:creationId xmlns:a16="http://schemas.microsoft.com/office/drawing/2014/main" id="{DE4E4596-840F-4DCB-B720-1DECB51EFF00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6">
              <a:extLst>
                <a:ext uri="{FF2B5EF4-FFF2-40B4-BE49-F238E27FC236}">
                  <a16:creationId xmlns:a16="http://schemas.microsoft.com/office/drawing/2014/main" id="{AB631C90-846A-4222-A63E-2CC35AA0C2D2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8">
              <a:extLst>
                <a:ext uri="{FF2B5EF4-FFF2-40B4-BE49-F238E27FC236}">
                  <a16:creationId xmlns:a16="http://schemas.microsoft.com/office/drawing/2014/main" id="{4BDA1428-57BE-4D8F-8C5A-F9B925ED38ED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9">
              <a:extLst>
                <a:ext uri="{FF2B5EF4-FFF2-40B4-BE49-F238E27FC236}">
                  <a16:creationId xmlns:a16="http://schemas.microsoft.com/office/drawing/2014/main" id="{A8D1A26D-C355-4E42-BAEF-7577564BC660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1">
              <a:extLst>
                <a:ext uri="{FF2B5EF4-FFF2-40B4-BE49-F238E27FC236}">
                  <a16:creationId xmlns:a16="http://schemas.microsoft.com/office/drawing/2014/main" id="{492F1E83-1B29-4315-99F9-044930A7D2E5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2">
              <a:extLst>
                <a:ext uri="{FF2B5EF4-FFF2-40B4-BE49-F238E27FC236}">
                  <a16:creationId xmlns:a16="http://schemas.microsoft.com/office/drawing/2014/main" id="{F4B4C25B-EAB0-45FA-AFCA-5339015FC849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4">
              <a:extLst>
                <a:ext uri="{FF2B5EF4-FFF2-40B4-BE49-F238E27FC236}">
                  <a16:creationId xmlns:a16="http://schemas.microsoft.com/office/drawing/2014/main" id="{8F9FD23A-6358-4ED1-B21B-8DEAD90DF97A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6">
              <a:extLst>
                <a:ext uri="{FF2B5EF4-FFF2-40B4-BE49-F238E27FC236}">
                  <a16:creationId xmlns:a16="http://schemas.microsoft.com/office/drawing/2014/main" id="{1AA7C894-6335-47E9-B551-E467C14A5940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7">
              <a:extLst>
                <a:ext uri="{FF2B5EF4-FFF2-40B4-BE49-F238E27FC236}">
                  <a16:creationId xmlns:a16="http://schemas.microsoft.com/office/drawing/2014/main" id="{B455C8DD-149E-4C97-93F6-4AA62DBD1F7A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8">
              <a:extLst>
                <a:ext uri="{FF2B5EF4-FFF2-40B4-BE49-F238E27FC236}">
                  <a16:creationId xmlns:a16="http://schemas.microsoft.com/office/drawing/2014/main" id="{2979FAD9-5578-40CF-BCA9-081C50E2E8B6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3" name="Dot pulse">
            <a:extLst>
              <a:ext uri="{FF2B5EF4-FFF2-40B4-BE49-F238E27FC236}">
                <a16:creationId xmlns:a16="http://schemas.microsoft.com/office/drawing/2014/main" id="{FC255B9C-6ED5-4D3C-AB33-D8937A8D879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3679" y="4976330"/>
            <a:ext cx="2826000" cy="144267"/>
          </a:xfrm>
          <a:prstGeom prst="rect">
            <a:avLst/>
          </a:prstGeom>
        </p:spPr>
      </p:pic>
      <p:sp>
        <p:nvSpPr>
          <p:cNvPr id="65" name="Abgerundetes Rechteck 8">
            <a:extLst>
              <a:ext uri="{FF2B5EF4-FFF2-40B4-BE49-F238E27FC236}">
                <a16:creationId xmlns:a16="http://schemas.microsoft.com/office/drawing/2014/main" id="{AE53DB3D-081F-4729-84B0-B999F48632CA}"/>
              </a:ext>
            </a:extLst>
          </p:cNvPr>
          <p:cNvSpPr/>
          <p:nvPr userDrawn="1"/>
        </p:nvSpPr>
        <p:spPr>
          <a:xfrm>
            <a:off x="12560400" y="5407845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869" tIns="35934" rIns="71869" bIns="35934" rtlCol="0" anchor="ctr"/>
          <a:lstStyle/>
          <a:p>
            <a:pPr marL="0" marR="0" lvl="0" indent="0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98" b="1">
                <a:solidFill>
                  <a:schemeClr val="tx1"/>
                </a:solidFill>
                <a:latin typeface="+mn-lt"/>
              </a:rPr>
              <a:t>The animation</a:t>
            </a:r>
            <a:r>
              <a:rPr lang="de-DE" sz="1098">
                <a:solidFill>
                  <a:schemeClr val="tx1"/>
                </a:solidFill>
                <a:latin typeface="+mn-lt"/>
              </a:rPr>
              <a:t> </a:t>
            </a:r>
            <a:r>
              <a:rPr lang="de-DE" sz="1098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de-DE" sz="1098">
                <a:solidFill>
                  <a:schemeClr val="tx1"/>
                </a:solidFill>
                <a:latin typeface="+mn-lt"/>
              </a:rPr>
              <a:t>can be </a:t>
            </a:r>
            <a:r>
              <a:rPr lang="de-DE" sz="1098">
                <a:solidFill>
                  <a:schemeClr val="tx1"/>
                </a:solidFill>
              </a:rPr>
              <a:t>optionally  </a:t>
            </a:r>
            <a:r>
              <a:rPr lang="de-DE" sz="1098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pPr rtl="0"/>
            <a:endParaRPr lang="de-DE" sz="1098">
              <a:solidFill>
                <a:schemeClr val="bg1"/>
              </a:solidFill>
              <a:latin typeface="+mn-lt"/>
            </a:endParaRPr>
          </a:p>
          <a:p>
            <a:pPr rtl="0"/>
            <a:r>
              <a:rPr lang="de-DE" sz="1098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pPr rtl="0"/>
            <a:r>
              <a:rPr lang="de-DE" sz="1098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</p:spTree>
    <p:extLst>
      <p:ext uri="{BB962C8B-B14F-4D97-AF65-F5344CB8AC3E}">
        <p14:creationId xmlns:p14="http://schemas.microsoft.com/office/powerpoint/2010/main" val="36237346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tl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87AF612-CCBE-D078-F5B3-4C91EABD8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279406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87AF612-CCBE-D078-F5B3-4C91EABD8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1" y="4359600"/>
            <a:ext cx="3579813" cy="360000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defRPr sz="1797" b="1">
                <a:solidFill>
                  <a:schemeClr val="tx1"/>
                </a:solidFill>
              </a:defRPr>
            </a:lvl1pPr>
          </a:lstStyle>
          <a:p>
            <a:r>
              <a:rPr lang="de-DE"/>
              <a:t>Optional subhead</a:t>
            </a:r>
            <a:endParaRPr lang="de-DE" noProof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540001" y="1915199"/>
            <a:ext cx="6394200" cy="2401200"/>
          </a:xfrm>
        </p:spPr>
        <p:txBody>
          <a:bodyPr lIns="0" tIns="0" rIns="0" bIns="0" anchor="b">
            <a:noAutofit/>
          </a:bodyPr>
          <a:lstStyle>
            <a:lvl1pPr marL="0" marR="0" indent="0" algn="l" defTabSz="91275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191" b="1" baseline="0">
                <a:solidFill>
                  <a:schemeClr val="bg2"/>
                </a:solidFill>
              </a:defRPr>
            </a:lvl1pPr>
            <a:lvl2pPr marL="45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5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8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82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6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1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Headline </a:t>
            </a:r>
            <a:br>
              <a:rPr lang="de-DE"/>
            </a:br>
            <a:r>
              <a:rPr lang="de-DE"/>
              <a:t>Calibri Bold</a:t>
            </a:r>
          </a:p>
        </p:txBody>
      </p:sp>
      <p:sp>
        <p:nvSpPr>
          <p:cNvPr id="6" name="Presenter">
            <a:extLst>
              <a:ext uri="{FF2B5EF4-FFF2-40B4-BE49-F238E27FC236}">
                <a16:creationId xmlns:a16="http://schemas.microsoft.com/office/drawing/2014/main" id="{046EC491-C7E1-4B50-AC08-4B82CD6C66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0001" y="5090400"/>
            <a:ext cx="3579813" cy="540000"/>
          </a:xfrm>
        </p:spPr>
        <p:txBody>
          <a:bodyPr/>
          <a:lstStyle>
            <a:lvl1pPr rtl="0">
              <a:defRPr sz="1597" b="0"/>
            </a:lvl1pPr>
          </a:lstStyle>
          <a:p>
            <a:r>
              <a:rPr lang="de-DE"/>
              <a:t>Presenter Calibri 16 pt</a:t>
            </a:r>
            <a:br>
              <a:rPr lang="de-DE"/>
            </a:br>
            <a:r>
              <a:rPr lang="de-DE"/>
              <a:t>English, Month 20XX</a:t>
            </a:r>
          </a:p>
        </p:txBody>
      </p:sp>
      <p:pic>
        <p:nvPicPr>
          <p:cNvPr id="87" name="Siemens Healthineers logo">
            <a:extLst>
              <a:ext uri="{FF2B5EF4-FFF2-40B4-BE49-F238E27FC236}">
                <a16:creationId xmlns:a16="http://schemas.microsoft.com/office/drawing/2014/main" id="{35EEC452-B426-4E7B-8973-E9DC55604B2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6"/>
            <a:ext cx="2484000" cy="592209"/>
          </a:xfrm>
          <a:prstGeom prst="rect">
            <a:avLst/>
          </a:prstGeom>
        </p:spPr>
      </p:pic>
      <p:pic>
        <p:nvPicPr>
          <p:cNvPr id="7" name="Dot pulse">
            <a:extLst>
              <a:ext uri="{FF2B5EF4-FFF2-40B4-BE49-F238E27FC236}">
                <a16:creationId xmlns:a16="http://schemas.microsoft.com/office/drawing/2014/main" id="{BF10F800-E2D2-4A30-9DC1-1940116C0E4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5175" y="4029935"/>
            <a:ext cx="2826000" cy="144267"/>
          </a:xfrm>
          <a:prstGeom prst="rect">
            <a:avLst/>
          </a:prstGeom>
        </p:spPr>
      </p:pic>
      <p:sp>
        <p:nvSpPr>
          <p:cNvPr id="8" name="Abgerundetes Rechteck 8">
            <a:extLst>
              <a:ext uri="{FF2B5EF4-FFF2-40B4-BE49-F238E27FC236}">
                <a16:creationId xmlns:a16="http://schemas.microsoft.com/office/drawing/2014/main" id="{DBB37A37-4416-4E90-92A7-341CF6FAF214}"/>
              </a:ext>
            </a:extLst>
          </p:cNvPr>
          <p:cNvSpPr/>
          <p:nvPr userDrawn="1"/>
        </p:nvSpPr>
        <p:spPr>
          <a:xfrm>
            <a:off x="12560400" y="5407845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869" tIns="35934" rIns="71869" bIns="35934" rtlCol="0" anchor="ctr"/>
          <a:lstStyle/>
          <a:p>
            <a:pPr marL="0" marR="0" lvl="0" indent="0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98" b="1">
                <a:solidFill>
                  <a:schemeClr val="tx1"/>
                </a:solidFill>
                <a:latin typeface="+mn-lt"/>
              </a:rPr>
              <a:t>The animation</a:t>
            </a:r>
            <a:r>
              <a:rPr lang="de-DE" sz="1098">
                <a:solidFill>
                  <a:schemeClr val="tx1"/>
                </a:solidFill>
                <a:latin typeface="+mn-lt"/>
              </a:rPr>
              <a:t> </a:t>
            </a:r>
            <a:r>
              <a:rPr lang="de-DE" sz="1098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de-DE" sz="1098">
                <a:solidFill>
                  <a:schemeClr val="tx1"/>
                </a:solidFill>
                <a:latin typeface="+mn-lt"/>
              </a:rPr>
              <a:t>can be </a:t>
            </a:r>
            <a:r>
              <a:rPr lang="de-DE" sz="1098">
                <a:solidFill>
                  <a:schemeClr val="tx1"/>
                </a:solidFill>
              </a:rPr>
              <a:t>optionally  </a:t>
            </a:r>
            <a:r>
              <a:rPr lang="de-DE" sz="1098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pPr rtl="0"/>
            <a:endParaRPr lang="de-DE" sz="1098">
              <a:solidFill>
                <a:schemeClr val="bg1"/>
              </a:solidFill>
              <a:latin typeface="+mn-lt"/>
            </a:endParaRPr>
          </a:p>
          <a:p>
            <a:pPr rtl="0"/>
            <a:r>
              <a:rPr lang="de-DE" sz="1098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pPr rtl="0"/>
            <a:r>
              <a:rPr lang="de-DE" sz="1098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grpSp>
        <p:nvGrpSpPr>
          <p:cNvPr id="9" name="Marker">
            <a:extLst>
              <a:ext uri="{FF2B5EF4-FFF2-40B4-BE49-F238E27FC236}">
                <a16:creationId xmlns:a16="http://schemas.microsoft.com/office/drawing/2014/main" id="{D39A42E3-E034-456A-A3F4-983938E62B60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0" name="Gerade Verbindung 40">
              <a:extLst>
                <a:ext uri="{FF2B5EF4-FFF2-40B4-BE49-F238E27FC236}">
                  <a16:creationId xmlns:a16="http://schemas.microsoft.com/office/drawing/2014/main" id="{7EA5DFEE-96B5-471D-81C0-5EF9A808435E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2">
              <a:extLst>
                <a:ext uri="{FF2B5EF4-FFF2-40B4-BE49-F238E27FC236}">
                  <a16:creationId xmlns:a16="http://schemas.microsoft.com/office/drawing/2014/main" id="{F6FE5688-06C6-4AC4-A569-2B413F35EC6E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45">
              <a:extLst>
                <a:ext uri="{FF2B5EF4-FFF2-40B4-BE49-F238E27FC236}">
                  <a16:creationId xmlns:a16="http://schemas.microsoft.com/office/drawing/2014/main" id="{A46EE828-435A-466B-B291-531ACD081B61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46">
              <a:extLst>
                <a:ext uri="{FF2B5EF4-FFF2-40B4-BE49-F238E27FC236}">
                  <a16:creationId xmlns:a16="http://schemas.microsoft.com/office/drawing/2014/main" id="{4E888A75-66AE-4FE7-88A7-FC420843805E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8">
              <a:extLst>
                <a:ext uri="{FF2B5EF4-FFF2-40B4-BE49-F238E27FC236}">
                  <a16:creationId xmlns:a16="http://schemas.microsoft.com/office/drawing/2014/main" id="{05D52D9C-9BDD-45C5-BB42-908F85769875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49">
              <a:extLst>
                <a:ext uri="{FF2B5EF4-FFF2-40B4-BE49-F238E27FC236}">
                  <a16:creationId xmlns:a16="http://schemas.microsoft.com/office/drawing/2014/main" id="{F90169CA-7B48-43EA-99B5-5BB8F5C7FAF2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1">
              <a:extLst>
                <a:ext uri="{FF2B5EF4-FFF2-40B4-BE49-F238E27FC236}">
                  <a16:creationId xmlns:a16="http://schemas.microsoft.com/office/drawing/2014/main" id="{F8A274D0-79BC-4A7C-BC35-24A63FEE3370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2">
              <a:extLst>
                <a:ext uri="{FF2B5EF4-FFF2-40B4-BE49-F238E27FC236}">
                  <a16:creationId xmlns:a16="http://schemas.microsoft.com/office/drawing/2014/main" id="{F1C376A8-6474-403C-819A-A69E80654EB5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4">
              <a:extLst>
                <a:ext uri="{FF2B5EF4-FFF2-40B4-BE49-F238E27FC236}">
                  <a16:creationId xmlns:a16="http://schemas.microsoft.com/office/drawing/2014/main" id="{43143CCC-DC7F-4662-8A8A-46996B39E7E1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5">
              <a:extLst>
                <a:ext uri="{FF2B5EF4-FFF2-40B4-BE49-F238E27FC236}">
                  <a16:creationId xmlns:a16="http://schemas.microsoft.com/office/drawing/2014/main" id="{F6236ACA-7244-4667-9238-02757C2EAFB5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7">
              <a:extLst>
                <a:ext uri="{FF2B5EF4-FFF2-40B4-BE49-F238E27FC236}">
                  <a16:creationId xmlns:a16="http://schemas.microsoft.com/office/drawing/2014/main" id="{8E4010D3-1AE7-4FCA-8300-850BB954A506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58">
              <a:extLst>
                <a:ext uri="{FF2B5EF4-FFF2-40B4-BE49-F238E27FC236}">
                  <a16:creationId xmlns:a16="http://schemas.microsoft.com/office/drawing/2014/main" id="{EC46CD02-8AD2-4474-B747-A5AC59B657DB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60">
              <a:extLst>
                <a:ext uri="{FF2B5EF4-FFF2-40B4-BE49-F238E27FC236}">
                  <a16:creationId xmlns:a16="http://schemas.microsoft.com/office/drawing/2014/main" id="{3C008754-4721-4013-9DD9-4276CE32690C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1">
              <a:extLst>
                <a:ext uri="{FF2B5EF4-FFF2-40B4-BE49-F238E27FC236}">
                  <a16:creationId xmlns:a16="http://schemas.microsoft.com/office/drawing/2014/main" id="{3056DE7E-58F1-4D73-8C19-6E7881C70C5B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3">
              <a:extLst>
                <a:ext uri="{FF2B5EF4-FFF2-40B4-BE49-F238E27FC236}">
                  <a16:creationId xmlns:a16="http://schemas.microsoft.com/office/drawing/2014/main" id="{3B3E1CD6-4B1F-4020-B468-B06ABDA78018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4">
              <a:extLst>
                <a:ext uri="{FF2B5EF4-FFF2-40B4-BE49-F238E27FC236}">
                  <a16:creationId xmlns:a16="http://schemas.microsoft.com/office/drawing/2014/main" id="{13357323-3808-4962-B967-75E17B45A4B2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6">
              <a:extLst>
                <a:ext uri="{FF2B5EF4-FFF2-40B4-BE49-F238E27FC236}">
                  <a16:creationId xmlns:a16="http://schemas.microsoft.com/office/drawing/2014/main" id="{1653938B-8CB8-4E29-8275-7492D19BD87A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7">
              <a:extLst>
                <a:ext uri="{FF2B5EF4-FFF2-40B4-BE49-F238E27FC236}">
                  <a16:creationId xmlns:a16="http://schemas.microsoft.com/office/drawing/2014/main" id="{716967B0-3183-4F1C-9947-9C3231AED359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9">
              <a:extLst>
                <a:ext uri="{FF2B5EF4-FFF2-40B4-BE49-F238E27FC236}">
                  <a16:creationId xmlns:a16="http://schemas.microsoft.com/office/drawing/2014/main" id="{24A98F4C-9B95-4D59-A35E-BC4FD22C7CED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0">
              <a:extLst>
                <a:ext uri="{FF2B5EF4-FFF2-40B4-BE49-F238E27FC236}">
                  <a16:creationId xmlns:a16="http://schemas.microsoft.com/office/drawing/2014/main" id="{E2AC2629-2D6F-4E0B-906C-B29FC2C0416E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2">
              <a:extLst>
                <a:ext uri="{FF2B5EF4-FFF2-40B4-BE49-F238E27FC236}">
                  <a16:creationId xmlns:a16="http://schemas.microsoft.com/office/drawing/2014/main" id="{BE9A42B9-530E-4242-8847-CDED545A750F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3">
              <a:extLst>
                <a:ext uri="{FF2B5EF4-FFF2-40B4-BE49-F238E27FC236}">
                  <a16:creationId xmlns:a16="http://schemas.microsoft.com/office/drawing/2014/main" id="{1D7743B7-4A22-4499-816E-620480EF940B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5">
              <a:extLst>
                <a:ext uri="{FF2B5EF4-FFF2-40B4-BE49-F238E27FC236}">
                  <a16:creationId xmlns:a16="http://schemas.microsoft.com/office/drawing/2014/main" id="{A97A8787-113E-44B0-85C1-552A745B4379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6">
              <a:extLst>
                <a:ext uri="{FF2B5EF4-FFF2-40B4-BE49-F238E27FC236}">
                  <a16:creationId xmlns:a16="http://schemas.microsoft.com/office/drawing/2014/main" id="{83987063-6FE9-40BB-AEEC-B9B963D66AF2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8">
              <a:extLst>
                <a:ext uri="{FF2B5EF4-FFF2-40B4-BE49-F238E27FC236}">
                  <a16:creationId xmlns:a16="http://schemas.microsoft.com/office/drawing/2014/main" id="{67746B3D-00B2-405D-BFA0-FCEDC2545C54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9">
              <a:extLst>
                <a:ext uri="{FF2B5EF4-FFF2-40B4-BE49-F238E27FC236}">
                  <a16:creationId xmlns:a16="http://schemas.microsoft.com/office/drawing/2014/main" id="{6DB3F7B3-59C2-4B42-84F0-B222C48E4378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1">
              <a:extLst>
                <a:ext uri="{FF2B5EF4-FFF2-40B4-BE49-F238E27FC236}">
                  <a16:creationId xmlns:a16="http://schemas.microsoft.com/office/drawing/2014/main" id="{55366E91-0C12-412A-BA36-B761FED4662D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2">
              <a:extLst>
                <a:ext uri="{FF2B5EF4-FFF2-40B4-BE49-F238E27FC236}">
                  <a16:creationId xmlns:a16="http://schemas.microsoft.com/office/drawing/2014/main" id="{E9F891A0-5172-4546-8B1F-2579FA2FEBD1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4">
              <a:extLst>
                <a:ext uri="{FF2B5EF4-FFF2-40B4-BE49-F238E27FC236}">
                  <a16:creationId xmlns:a16="http://schemas.microsoft.com/office/drawing/2014/main" id="{88A59020-D08E-4532-9B90-DE28E5DB31B3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5">
              <a:extLst>
                <a:ext uri="{FF2B5EF4-FFF2-40B4-BE49-F238E27FC236}">
                  <a16:creationId xmlns:a16="http://schemas.microsoft.com/office/drawing/2014/main" id="{AC5A657B-443F-418C-8790-F24C3AF724AB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7">
              <a:extLst>
                <a:ext uri="{FF2B5EF4-FFF2-40B4-BE49-F238E27FC236}">
                  <a16:creationId xmlns:a16="http://schemas.microsoft.com/office/drawing/2014/main" id="{A1481941-E67A-4D8E-8177-0C855C7921CA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8">
              <a:extLst>
                <a:ext uri="{FF2B5EF4-FFF2-40B4-BE49-F238E27FC236}">
                  <a16:creationId xmlns:a16="http://schemas.microsoft.com/office/drawing/2014/main" id="{B5C21370-5DFC-4BC7-9353-C5BD1FE074B1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0">
              <a:extLst>
                <a:ext uri="{FF2B5EF4-FFF2-40B4-BE49-F238E27FC236}">
                  <a16:creationId xmlns:a16="http://schemas.microsoft.com/office/drawing/2014/main" id="{7B1A8D85-878C-4EC3-9178-F67AD1152B0E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1">
              <a:extLst>
                <a:ext uri="{FF2B5EF4-FFF2-40B4-BE49-F238E27FC236}">
                  <a16:creationId xmlns:a16="http://schemas.microsoft.com/office/drawing/2014/main" id="{70A39318-BD31-471B-9806-F60534F8F0E5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3">
              <a:extLst>
                <a:ext uri="{FF2B5EF4-FFF2-40B4-BE49-F238E27FC236}">
                  <a16:creationId xmlns:a16="http://schemas.microsoft.com/office/drawing/2014/main" id="{66A99A16-D0C7-4F1C-AEEA-78BB918AD85C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4">
              <a:extLst>
                <a:ext uri="{FF2B5EF4-FFF2-40B4-BE49-F238E27FC236}">
                  <a16:creationId xmlns:a16="http://schemas.microsoft.com/office/drawing/2014/main" id="{C5471DB2-7EF6-49D9-B6EB-08154804E355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6">
              <a:extLst>
                <a:ext uri="{FF2B5EF4-FFF2-40B4-BE49-F238E27FC236}">
                  <a16:creationId xmlns:a16="http://schemas.microsoft.com/office/drawing/2014/main" id="{0C03E5D8-6F9E-4FBE-A702-3236683D6C12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7">
              <a:extLst>
                <a:ext uri="{FF2B5EF4-FFF2-40B4-BE49-F238E27FC236}">
                  <a16:creationId xmlns:a16="http://schemas.microsoft.com/office/drawing/2014/main" id="{1350AFA6-8E40-427D-B6A5-4639818970AE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9">
              <a:extLst>
                <a:ext uri="{FF2B5EF4-FFF2-40B4-BE49-F238E27FC236}">
                  <a16:creationId xmlns:a16="http://schemas.microsoft.com/office/drawing/2014/main" id="{4EA8B6C3-8CB9-4354-9182-2F485841245F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0">
              <a:extLst>
                <a:ext uri="{FF2B5EF4-FFF2-40B4-BE49-F238E27FC236}">
                  <a16:creationId xmlns:a16="http://schemas.microsoft.com/office/drawing/2014/main" id="{8CA7F308-45E5-4D6F-8E96-526C3A054166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2">
              <a:extLst>
                <a:ext uri="{FF2B5EF4-FFF2-40B4-BE49-F238E27FC236}">
                  <a16:creationId xmlns:a16="http://schemas.microsoft.com/office/drawing/2014/main" id="{6E94B82F-99AB-41B6-80E6-D0835067958D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3">
              <a:extLst>
                <a:ext uri="{FF2B5EF4-FFF2-40B4-BE49-F238E27FC236}">
                  <a16:creationId xmlns:a16="http://schemas.microsoft.com/office/drawing/2014/main" id="{F1473618-312D-4115-AFBB-2A8F5C508800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5">
              <a:extLst>
                <a:ext uri="{FF2B5EF4-FFF2-40B4-BE49-F238E27FC236}">
                  <a16:creationId xmlns:a16="http://schemas.microsoft.com/office/drawing/2014/main" id="{19D5E2ED-F51A-401F-BD42-1335500C191C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6">
              <a:extLst>
                <a:ext uri="{FF2B5EF4-FFF2-40B4-BE49-F238E27FC236}">
                  <a16:creationId xmlns:a16="http://schemas.microsoft.com/office/drawing/2014/main" id="{28A2F7D4-0473-4A68-935F-B452E1C78B7F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8">
              <a:extLst>
                <a:ext uri="{FF2B5EF4-FFF2-40B4-BE49-F238E27FC236}">
                  <a16:creationId xmlns:a16="http://schemas.microsoft.com/office/drawing/2014/main" id="{9A104325-5070-4CA8-A88D-7BF93FED52AF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9">
              <a:extLst>
                <a:ext uri="{FF2B5EF4-FFF2-40B4-BE49-F238E27FC236}">
                  <a16:creationId xmlns:a16="http://schemas.microsoft.com/office/drawing/2014/main" id="{497B098B-696E-4EA7-ABCF-A245A65E913D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1">
              <a:extLst>
                <a:ext uri="{FF2B5EF4-FFF2-40B4-BE49-F238E27FC236}">
                  <a16:creationId xmlns:a16="http://schemas.microsoft.com/office/drawing/2014/main" id="{0C3F8CAE-34D6-4FA4-8746-9336AC48A58F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2">
              <a:extLst>
                <a:ext uri="{FF2B5EF4-FFF2-40B4-BE49-F238E27FC236}">
                  <a16:creationId xmlns:a16="http://schemas.microsoft.com/office/drawing/2014/main" id="{E38B1F47-5868-4E05-9265-15445F9319E3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4">
              <a:extLst>
                <a:ext uri="{FF2B5EF4-FFF2-40B4-BE49-F238E27FC236}">
                  <a16:creationId xmlns:a16="http://schemas.microsoft.com/office/drawing/2014/main" id="{B2354D57-D020-4A7A-A1F5-C9BD43B68326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6">
              <a:extLst>
                <a:ext uri="{FF2B5EF4-FFF2-40B4-BE49-F238E27FC236}">
                  <a16:creationId xmlns:a16="http://schemas.microsoft.com/office/drawing/2014/main" id="{E347C51B-06E4-4BD6-A625-C5DA2E13F669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7">
              <a:extLst>
                <a:ext uri="{FF2B5EF4-FFF2-40B4-BE49-F238E27FC236}">
                  <a16:creationId xmlns:a16="http://schemas.microsoft.com/office/drawing/2014/main" id="{3D6E3457-7600-4502-A63F-F9541EA564E1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8">
              <a:extLst>
                <a:ext uri="{FF2B5EF4-FFF2-40B4-BE49-F238E27FC236}">
                  <a16:creationId xmlns:a16="http://schemas.microsoft.com/office/drawing/2014/main" id="{5EFDB259-6FB2-4510-9177-612DC5D43785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2" name="Restricted">
            <a:extLst>
              <a:ext uri="{FF2B5EF4-FFF2-40B4-BE49-F238E27FC236}">
                <a16:creationId xmlns:a16="http://schemas.microsoft.com/office/drawing/2014/main" id="{9D18BEB4-BC2D-46B0-A703-1BB50CE54E27}"/>
              </a:ext>
            </a:extLst>
          </p:cNvPr>
          <p:cNvSpPr txBox="1"/>
          <p:nvPr userDrawn="1"/>
        </p:nvSpPr>
        <p:spPr bwMode="black">
          <a:xfrm>
            <a:off x="8056800" y="6519470"/>
            <a:ext cx="3571200" cy="154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de-DE" sz="998">
                <a:solidFill>
                  <a:schemeClr val="tx1"/>
                </a:solidFill>
              </a:rPr>
              <a:t>Restricted © Siemens Healthineers, 2019</a:t>
            </a:r>
          </a:p>
        </p:txBody>
      </p:sp>
    </p:spTree>
    <p:extLst>
      <p:ext uri="{BB962C8B-B14F-4D97-AF65-F5344CB8AC3E}">
        <p14:creationId xmlns:p14="http://schemas.microsoft.com/office/powerpoint/2010/main" val="1488100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55B854E-4FF2-384C-9360-7A8E775BD5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497698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55B854E-4FF2-384C-9360-7A8E775BD5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1476375" y="1623600"/>
            <a:ext cx="7336347" cy="1224000"/>
          </a:xfrm>
        </p:spPr>
        <p:txBody>
          <a:bodyPr vert="horz" lIns="0" tIns="0" rIns="0" bIns="0" anchor="b" anchorCtr="0">
            <a:noAutofit/>
          </a:bodyPr>
          <a:lstStyle>
            <a:lvl1pPr algn="l" rtl="0">
              <a:defRPr sz="2595" b="1">
                <a:solidFill>
                  <a:schemeClr val="tx1"/>
                </a:solidFill>
              </a:defRPr>
            </a:lvl1pPr>
          </a:lstStyle>
          <a:p>
            <a:r>
              <a:rPr lang="de-DE"/>
              <a:t>ETIAM sit atmet</a:t>
            </a:r>
            <a:endParaRPr lang="de-DE" noProof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1476375" y="3009329"/>
            <a:ext cx="7337425" cy="1661315"/>
          </a:xfrm>
        </p:spPr>
        <p:txBody>
          <a:bodyPr lIns="0" tIns="0" rIns="0" bIns="0" anchor="t">
            <a:noAutofit/>
          </a:bodyPr>
          <a:lstStyle>
            <a:lvl1pPr marL="0" marR="0" indent="0" algn="l" defTabSz="91275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191" b="1" baseline="0">
                <a:solidFill>
                  <a:schemeClr val="bg2"/>
                </a:solidFill>
              </a:defRPr>
            </a:lvl1pPr>
            <a:lvl2pPr marL="45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5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8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82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6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1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Headline </a:t>
            </a:r>
            <a:br>
              <a:rPr lang="de-DE"/>
            </a:br>
            <a:r>
              <a:rPr lang="de-DE"/>
              <a:t>Calibri Bold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998">
                <a:solidFill>
                  <a:schemeClr val="tx1"/>
                </a:solidFill>
              </a:defRPr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13" name="Siemens Healthineers logo">
            <a:extLst>
              <a:ext uri="{FF2B5EF4-FFF2-40B4-BE49-F238E27FC236}">
                <a16:creationId xmlns:a16="http://schemas.microsoft.com/office/drawing/2014/main" id="{72B2F2CC-04D6-480A-9038-E43A3647321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1043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EF0F022-FEB0-F7C9-DD95-EF80B49502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91266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EF0F022-FEB0-F7C9-DD95-EF80B49502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1476375" y="1623600"/>
            <a:ext cx="7336347" cy="1224000"/>
          </a:xfrm>
        </p:spPr>
        <p:txBody>
          <a:bodyPr vert="horz" lIns="0" tIns="0" rIns="0" bIns="0" anchor="b" anchorCtr="0">
            <a:noAutofit/>
          </a:bodyPr>
          <a:lstStyle>
            <a:lvl1pPr algn="l" rtl="0">
              <a:defRPr sz="2595" b="1">
                <a:solidFill>
                  <a:schemeClr val="bg1"/>
                </a:solidFill>
              </a:defRPr>
            </a:lvl1pPr>
          </a:lstStyle>
          <a:p>
            <a:r>
              <a:rPr lang="de-DE"/>
              <a:t>ETIAM sit atmet</a:t>
            </a:r>
            <a:endParaRPr lang="de-DE" noProof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1476375" y="3009329"/>
            <a:ext cx="7337425" cy="1661315"/>
          </a:xfrm>
        </p:spPr>
        <p:txBody>
          <a:bodyPr lIns="0" tIns="0" rIns="0" bIns="0" anchor="t">
            <a:noAutofit/>
          </a:bodyPr>
          <a:lstStyle>
            <a:lvl1pPr marL="0" marR="0" indent="0" algn="l" defTabSz="91275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191" b="1" baseline="0">
                <a:solidFill>
                  <a:schemeClr val="bg2"/>
                </a:solidFill>
              </a:defRPr>
            </a:lvl1pPr>
            <a:lvl2pPr marL="45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5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8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82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6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1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Headline </a:t>
            </a:r>
            <a:br>
              <a:rPr lang="de-DE"/>
            </a:br>
            <a:r>
              <a:rPr lang="de-DE"/>
              <a:t>Calibri Bold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998">
                <a:solidFill>
                  <a:schemeClr val="bg1"/>
                </a:solidFill>
              </a:defRPr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grpSp>
        <p:nvGrpSpPr>
          <p:cNvPr id="6" name="Marker">
            <a:extLst>
              <a:ext uri="{FF2B5EF4-FFF2-40B4-BE49-F238E27FC236}">
                <a16:creationId xmlns:a16="http://schemas.microsoft.com/office/drawing/2014/main" id="{FA350118-2CDB-4D1D-9A15-37265E9A2EBF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7" name="Gerade Verbindung 40">
              <a:extLst>
                <a:ext uri="{FF2B5EF4-FFF2-40B4-BE49-F238E27FC236}">
                  <a16:creationId xmlns:a16="http://schemas.microsoft.com/office/drawing/2014/main" id="{2DE56DF7-4A34-49CA-8A5F-7D4C0B163372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42">
              <a:extLst>
                <a:ext uri="{FF2B5EF4-FFF2-40B4-BE49-F238E27FC236}">
                  <a16:creationId xmlns:a16="http://schemas.microsoft.com/office/drawing/2014/main" id="{937BBF9E-AA5D-403C-9FB2-AAEFB06FFEE3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45">
              <a:extLst>
                <a:ext uri="{FF2B5EF4-FFF2-40B4-BE49-F238E27FC236}">
                  <a16:creationId xmlns:a16="http://schemas.microsoft.com/office/drawing/2014/main" id="{D439082A-D679-4369-A278-8783FE36FC88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46">
              <a:extLst>
                <a:ext uri="{FF2B5EF4-FFF2-40B4-BE49-F238E27FC236}">
                  <a16:creationId xmlns:a16="http://schemas.microsoft.com/office/drawing/2014/main" id="{C4350D87-ED91-4479-856D-5B8CF153BF5A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8">
              <a:extLst>
                <a:ext uri="{FF2B5EF4-FFF2-40B4-BE49-F238E27FC236}">
                  <a16:creationId xmlns:a16="http://schemas.microsoft.com/office/drawing/2014/main" id="{3372D79B-9023-42EF-90F8-2FE932BFEACB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9">
              <a:extLst>
                <a:ext uri="{FF2B5EF4-FFF2-40B4-BE49-F238E27FC236}">
                  <a16:creationId xmlns:a16="http://schemas.microsoft.com/office/drawing/2014/main" id="{ADF756B4-BC60-464D-B910-59F1A21C487A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51">
              <a:extLst>
                <a:ext uri="{FF2B5EF4-FFF2-40B4-BE49-F238E27FC236}">
                  <a16:creationId xmlns:a16="http://schemas.microsoft.com/office/drawing/2014/main" id="{400F1294-A6B4-481B-BC4B-5340D1E95067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2">
              <a:extLst>
                <a:ext uri="{FF2B5EF4-FFF2-40B4-BE49-F238E27FC236}">
                  <a16:creationId xmlns:a16="http://schemas.microsoft.com/office/drawing/2014/main" id="{23E74B0A-CD00-4236-A2F7-5DC1207B25F5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4">
              <a:extLst>
                <a:ext uri="{FF2B5EF4-FFF2-40B4-BE49-F238E27FC236}">
                  <a16:creationId xmlns:a16="http://schemas.microsoft.com/office/drawing/2014/main" id="{EF938F0C-85E0-4F8C-96E5-C76D4ADA6F87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5">
              <a:extLst>
                <a:ext uri="{FF2B5EF4-FFF2-40B4-BE49-F238E27FC236}">
                  <a16:creationId xmlns:a16="http://schemas.microsoft.com/office/drawing/2014/main" id="{5021DF1C-123F-449C-9299-CC4869A95FB3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7">
              <a:extLst>
                <a:ext uri="{FF2B5EF4-FFF2-40B4-BE49-F238E27FC236}">
                  <a16:creationId xmlns:a16="http://schemas.microsoft.com/office/drawing/2014/main" id="{FF2E8183-C487-4406-8220-0713AA070CE1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8">
              <a:extLst>
                <a:ext uri="{FF2B5EF4-FFF2-40B4-BE49-F238E27FC236}">
                  <a16:creationId xmlns:a16="http://schemas.microsoft.com/office/drawing/2014/main" id="{9BA794A9-5335-44A2-9352-A46BC3154597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60">
              <a:extLst>
                <a:ext uri="{FF2B5EF4-FFF2-40B4-BE49-F238E27FC236}">
                  <a16:creationId xmlns:a16="http://schemas.microsoft.com/office/drawing/2014/main" id="{3B7538EE-EDC1-4C4B-8293-82D92696FFAF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61">
              <a:extLst>
                <a:ext uri="{FF2B5EF4-FFF2-40B4-BE49-F238E27FC236}">
                  <a16:creationId xmlns:a16="http://schemas.microsoft.com/office/drawing/2014/main" id="{09D0298B-BF52-4871-B16B-C7E44CF93776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3">
              <a:extLst>
                <a:ext uri="{FF2B5EF4-FFF2-40B4-BE49-F238E27FC236}">
                  <a16:creationId xmlns:a16="http://schemas.microsoft.com/office/drawing/2014/main" id="{CC69E2A9-D6DD-44AC-9C39-8A5CB1637324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4">
              <a:extLst>
                <a:ext uri="{FF2B5EF4-FFF2-40B4-BE49-F238E27FC236}">
                  <a16:creationId xmlns:a16="http://schemas.microsoft.com/office/drawing/2014/main" id="{9A50B785-85B0-49D7-A557-C1CCEE41465D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6">
              <a:extLst>
                <a:ext uri="{FF2B5EF4-FFF2-40B4-BE49-F238E27FC236}">
                  <a16:creationId xmlns:a16="http://schemas.microsoft.com/office/drawing/2014/main" id="{5ED8BECE-8D2B-47F0-8F73-D5685D59E2C6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7">
              <a:extLst>
                <a:ext uri="{FF2B5EF4-FFF2-40B4-BE49-F238E27FC236}">
                  <a16:creationId xmlns:a16="http://schemas.microsoft.com/office/drawing/2014/main" id="{16717229-1AC8-40EF-B617-C15F28F5707A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9">
              <a:extLst>
                <a:ext uri="{FF2B5EF4-FFF2-40B4-BE49-F238E27FC236}">
                  <a16:creationId xmlns:a16="http://schemas.microsoft.com/office/drawing/2014/main" id="{649C8FF4-BB77-433B-B62A-BC2883677B8A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70">
              <a:extLst>
                <a:ext uri="{FF2B5EF4-FFF2-40B4-BE49-F238E27FC236}">
                  <a16:creationId xmlns:a16="http://schemas.microsoft.com/office/drawing/2014/main" id="{FFB8DF0A-45CE-4A09-8EE8-08E1D2B637A7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2">
              <a:extLst>
                <a:ext uri="{FF2B5EF4-FFF2-40B4-BE49-F238E27FC236}">
                  <a16:creationId xmlns:a16="http://schemas.microsoft.com/office/drawing/2014/main" id="{47C152F1-3453-4AF5-B4A9-6B3A2FBF38D7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3">
              <a:extLst>
                <a:ext uri="{FF2B5EF4-FFF2-40B4-BE49-F238E27FC236}">
                  <a16:creationId xmlns:a16="http://schemas.microsoft.com/office/drawing/2014/main" id="{F44E728D-41AC-46BF-AA01-9A3E7D3634E0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5">
              <a:extLst>
                <a:ext uri="{FF2B5EF4-FFF2-40B4-BE49-F238E27FC236}">
                  <a16:creationId xmlns:a16="http://schemas.microsoft.com/office/drawing/2014/main" id="{42EA3322-49A4-41D9-A9F4-2D1CDA2B9893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6">
              <a:extLst>
                <a:ext uri="{FF2B5EF4-FFF2-40B4-BE49-F238E27FC236}">
                  <a16:creationId xmlns:a16="http://schemas.microsoft.com/office/drawing/2014/main" id="{5583F9E5-85F6-46E0-9AC9-E2E6F9DBBB82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8">
              <a:extLst>
                <a:ext uri="{FF2B5EF4-FFF2-40B4-BE49-F238E27FC236}">
                  <a16:creationId xmlns:a16="http://schemas.microsoft.com/office/drawing/2014/main" id="{D3278E3D-27B0-4D12-8CA4-5447938671BF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9">
              <a:extLst>
                <a:ext uri="{FF2B5EF4-FFF2-40B4-BE49-F238E27FC236}">
                  <a16:creationId xmlns:a16="http://schemas.microsoft.com/office/drawing/2014/main" id="{FC5A0A42-E0CF-4330-B8DC-AB1DD0EE9B10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81">
              <a:extLst>
                <a:ext uri="{FF2B5EF4-FFF2-40B4-BE49-F238E27FC236}">
                  <a16:creationId xmlns:a16="http://schemas.microsoft.com/office/drawing/2014/main" id="{40CF86C5-4808-4064-B84F-CBEF9CB27EB1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2">
              <a:extLst>
                <a:ext uri="{FF2B5EF4-FFF2-40B4-BE49-F238E27FC236}">
                  <a16:creationId xmlns:a16="http://schemas.microsoft.com/office/drawing/2014/main" id="{A7AEA581-FF31-4D5E-939C-C708600BE27E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4">
              <a:extLst>
                <a:ext uri="{FF2B5EF4-FFF2-40B4-BE49-F238E27FC236}">
                  <a16:creationId xmlns:a16="http://schemas.microsoft.com/office/drawing/2014/main" id="{AA38A6FD-81CD-4A99-9F0B-49E7FA09F07C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5">
              <a:extLst>
                <a:ext uri="{FF2B5EF4-FFF2-40B4-BE49-F238E27FC236}">
                  <a16:creationId xmlns:a16="http://schemas.microsoft.com/office/drawing/2014/main" id="{BE46A269-5108-4684-9EE5-305BE5872874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7">
              <a:extLst>
                <a:ext uri="{FF2B5EF4-FFF2-40B4-BE49-F238E27FC236}">
                  <a16:creationId xmlns:a16="http://schemas.microsoft.com/office/drawing/2014/main" id="{3FE94714-A679-4EEE-9AE4-B4BAAE085CF6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8">
              <a:extLst>
                <a:ext uri="{FF2B5EF4-FFF2-40B4-BE49-F238E27FC236}">
                  <a16:creationId xmlns:a16="http://schemas.microsoft.com/office/drawing/2014/main" id="{A3C764CA-0081-4E3E-B612-81AE48E38457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90">
              <a:extLst>
                <a:ext uri="{FF2B5EF4-FFF2-40B4-BE49-F238E27FC236}">
                  <a16:creationId xmlns:a16="http://schemas.microsoft.com/office/drawing/2014/main" id="{1BF3C449-FD97-41A5-9689-A6BC7F1B197F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1">
              <a:extLst>
                <a:ext uri="{FF2B5EF4-FFF2-40B4-BE49-F238E27FC236}">
                  <a16:creationId xmlns:a16="http://schemas.microsoft.com/office/drawing/2014/main" id="{91FD4557-8E9E-4FB5-A42C-158CE6E2EB22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3">
              <a:extLst>
                <a:ext uri="{FF2B5EF4-FFF2-40B4-BE49-F238E27FC236}">
                  <a16:creationId xmlns:a16="http://schemas.microsoft.com/office/drawing/2014/main" id="{582A2C32-4D58-45BA-8473-121B3E9F668E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4">
              <a:extLst>
                <a:ext uri="{FF2B5EF4-FFF2-40B4-BE49-F238E27FC236}">
                  <a16:creationId xmlns:a16="http://schemas.microsoft.com/office/drawing/2014/main" id="{74EB25C2-3062-4F6D-80BC-EE6156457E73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6">
              <a:extLst>
                <a:ext uri="{FF2B5EF4-FFF2-40B4-BE49-F238E27FC236}">
                  <a16:creationId xmlns:a16="http://schemas.microsoft.com/office/drawing/2014/main" id="{4B9F92EE-4390-433E-AB4C-596238B07320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7">
              <a:extLst>
                <a:ext uri="{FF2B5EF4-FFF2-40B4-BE49-F238E27FC236}">
                  <a16:creationId xmlns:a16="http://schemas.microsoft.com/office/drawing/2014/main" id="{EAFB0A32-7453-4CEF-ACAB-F374091019F0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9">
              <a:extLst>
                <a:ext uri="{FF2B5EF4-FFF2-40B4-BE49-F238E27FC236}">
                  <a16:creationId xmlns:a16="http://schemas.microsoft.com/office/drawing/2014/main" id="{3BC74E13-125F-425A-A5B4-74E010AB8637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100">
              <a:extLst>
                <a:ext uri="{FF2B5EF4-FFF2-40B4-BE49-F238E27FC236}">
                  <a16:creationId xmlns:a16="http://schemas.microsoft.com/office/drawing/2014/main" id="{6C3C906C-664B-4C7C-AEC6-7F9305CF3699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2">
              <a:extLst>
                <a:ext uri="{FF2B5EF4-FFF2-40B4-BE49-F238E27FC236}">
                  <a16:creationId xmlns:a16="http://schemas.microsoft.com/office/drawing/2014/main" id="{25813290-AD47-426C-89B8-CF97FC131227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3">
              <a:extLst>
                <a:ext uri="{FF2B5EF4-FFF2-40B4-BE49-F238E27FC236}">
                  <a16:creationId xmlns:a16="http://schemas.microsoft.com/office/drawing/2014/main" id="{CB1A949D-3EFE-4F15-9889-0D96B00D65BF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5">
              <a:extLst>
                <a:ext uri="{FF2B5EF4-FFF2-40B4-BE49-F238E27FC236}">
                  <a16:creationId xmlns:a16="http://schemas.microsoft.com/office/drawing/2014/main" id="{9717171A-62BA-4752-8D28-624601388654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6">
              <a:extLst>
                <a:ext uri="{FF2B5EF4-FFF2-40B4-BE49-F238E27FC236}">
                  <a16:creationId xmlns:a16="http://schemas.microsoft.com/office/drawing/2014/main" id="{6459ADD6-42B0-4C43-9015-08A990182379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8">
              <a:extLst>
                <a:ext uri="{FF2B5EF4-FFF2-40B4-BE49-F238E27FC236}">
                  <a16:creationId xmlns:a16="http://schemas.microsoft.com/office/drawing/2014/main" id="{0B6ABFAF-52C9-41B6-967D-352EAE314590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9">
              <a:extLst>
                <a:ext uri="{FF2B5EF4-FFF2-40B4-BE49-F238E27FC236}">
                  <a16:creationId xmlns:a16="http://schemas.microsoft.com/office/drawing/2014/main" id="{9FEC4BAC-3680-461C-8B3C-24B845D8C3C4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11">
              <a:extLst>
                <a:ext uri="{FF2B5EF4-FFF2-40B4-BE49-F238E27FC236}">
                  <a16:creationId xmlns:a16="http://schemas.microsoft.com/office/drawing/2014/main" id="{FA168A75-8036-4535-8F66-4A3350477E81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2">
              <a:extLst>
                <a:ext uri="{FF2B5EF4-FFF2-40B4-BE49-F238E27FC236}">
                  <a16:creationId xmlns:a16="http://schemas.microsoft.com/office/drawing/2014/main" id="{A18C4E76-6CA5-43C5-8FA5-221B24637625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4">
              <a:extLst>
                <a:ext uri="{FF2B5EF4-FFF2-40B4-BE49-F238E27FC236}">
                  <a16:creationId xmlns:a16="http://schemas.microsoft.com/office/drawing/2014/main" id="{9CCF6106-20E5-4896-99A3-B7C1E3AFF423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6">
              <a:extLst>
                <a:ext uri="{FF2B5EF4-FFF2-40B4-BE49-F238E27FC236}">
                  <a16:creationId xmlns:a16="http://schemas.microsoft.com/office/drawing/2014/main" id="{6F614B0B-535C-4FC2-9A91-3FA11CBF19E6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7">
              <a:extLst>
                <a:ext uri="{FF2B5EF4-FFF2-40B4-BE49-F238E27FC236}">
                  <a16:creationId xmlns:a16="http://schemas.microsoft.com/office/drawing/2014/main" id="{DF4C6D78-47DF-495C-8E3A-EB631F5F2D0D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8">
              <a:extLst>
                <a:ext uri="{FF2B5EF4-FFF2-40B4-BE49-F238E27FC236}">
                  <a16:creationId xmlns:a16="http://schemas.microsoft.com/office/drawing/2014/main" id="{4E9D06F9-8CA0-406C-9338-B32AF4F38C5B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6F91D59C-B598-43C1-9A82-7C0B3D35A2A5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998" b="1" i="0" u="none" kern="1200" spc="0" smtClean="0">
                <a:solidFill>
                  <a:schemeClr val="bg1"/>
                </a:solidFill>
                <a:latin typeface="Calibri" panose="020F0502020204030204" pitchFamily="34" charset="0"/>
              </a:rPr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998" b="1" i="0" u="none" kern="1200" spc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62" name="Restricted">
            <a:extLst>
              <a:ext uri="{FF2B5EF4-FFF2-40B4-BE49-F238E27FC236}">
                <a16:creationId xmlns:a16="http://schemas.microsoft.com/office/drawing/2014/main" id="{BB270B93-CCA2-4390-ADC0-BF16EC6A1194}"/>
              </a:ext>
            </a:extLst>
          </p:cNvPr>
          <p:cNvSpPr txBox="1"/>
          <p:nvPr userDrawn="1"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de-DE" sz="998">
                <a:solidFill>
                  <a:schemeClr val="bg1"/>
                </a:solidFill>
              </a:rPr>
              <a:t>Restricted © Siemens Healthineers, 2019</a:t>
            </a:r>
          </a:p>
        </p:txBody>
      </p:sp>
      <p:pic>
        <p:nvPicPr>
          <p:cNvPr id="63" name="Siemens Healthineers logo">
            <a:extLst>
              <a:ext uri="{FF2B5EF4-FFF2-40B4-BE49-F238E27FC236}">
                <a16:creationId xmlns:a16="http://schemas.microsoft.com/office/drawing/2014/main" id="{2E7414E2-6AC0-4D81-972E-9CF172806A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4505" y="281267"/>
            <a:ext cx="1450797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2640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icture">
    <p:bg bwMode="ltGray"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4360ADE-EF95-CE6B-FB9E-BF128B713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988022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4360ADE-EF95-CE6B-FB9E-BF128B713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hite cover"/>
          <p:cNvSpPr/>
          <p:nvPr userDrawn="1"/>
        </p:nvSpPr>
        <p:spPr bwMode="white">
          <a:xfrm>
            <a:off x="6934200" y="0"/>
            <a:ext cx="52355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sz="1797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7512776" y="2334410"/>
            <a:ext cx="4115663" cy="2601334"/>
          </a:xfrm>
        </p:spPr>
        <p:txBody>
          <a:bodyPr lIns="0" tIns="0" rIns="0" bIns="0" anchor="t">
            <a:noAutofit/>
          </a:bodyPr>
          <a:lstStyle>
            <a:lvl1pPr marL="0" marR="0" indent="0" algn="l" defTabSz="91275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191" b="1" baseline="0">
                <a:solidFill>
                  <a:schemeClr val="bg2"/>
                </a:solidFill>
              </a:defRPr>
            </a:lvl1pPr>
            <a:lvl2pPr marL="45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5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8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82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6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1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Headline </a:t>
            </a:r>
            <a:br>
              <a:rPr lang="de-DE"/>
            </a:br>
            <a:r>
              <a:rPr lang="de-DE"/>
              <a:t>Calibri Bold</a:t>
            </a:r>
          </a:p>
        </p:txBody>
      </p:sp>
      <p:sp>
        <p:nvSpPr>
          <p:cNvPr id="9" name="Footnote">
            <a:extLst>
              <a:ext uri="{FF2B5EF4-FFF2-40B4-BE49-F238E27FC236}">
                <a16:creationId xmlns:a16="http://schemas.microsoft.com/office/drawing/2014/main" id="{4D8785A4-C6E6-43A1-9BA1-402D04E7BADC}"/>
              </a:ext>
            </a:extLst>
          </p:cNvPr>
          <p:cNvSpPr txBox="1"/>
          <p:nvPr userDrawn="1"/>
        </p:nvSpPr>
        <p:spPr>
          <a:xfrm>
            <a:off x="540000" y="6372559"/>
            <a:ext cx="2636337" cy="324000"/>
          </a:xfrm>
          <a:prstGeom prst="rect">
            <a:avLst/>
          </a:prstGeom>
          <a:noFill/>
        </p:spPr>
        <p:txBody>
          <a:bodyPr wrap="square" lIns="0" tIns="0" rIns="0" rtlCol="0">
            <a:noAutofit/>
          </a:bodyPr>
          <a:lstStyle/>
          <a:p>
            <a:pPr marL="0" marR="0" lvl="0" indent="0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98">
                <a:solidFill>
                  <a:schemeClr val="bg1"/>
                </a:solidFill>
              </a:rPr>
              <a:t>Click to add </a:t>
            </a:r>
            <a:r>
              <a:rPr lang="de-DE" sz="998" err="1">
                <a:solidFill>
                  <a:schemeClr val="bg1"/>
                </a:solidFill>
              </a:rPr>
              <a:t>footnote</a:t>
            </a:r>
            <a:br>
              <a:rPr lang="de-DE" sz="998">
                <a:solidFill>
                  <a:schemeClr val="bg1"/>
                </a:solidFill>
              </a:rPr>
            </a:br>
            <a:r>
              <a:rPr lang="de-DE" sz="998" err="1">
                <a:solidFill>
                  <a:schemeClr val="bg1"/>
                </a:solidFill>
              </a:rPr>
              <a:t>second</a:t>
            </a:r>
            <a:r>
              <a:rPr lang="de-DE" sz="998">
                <a:solidFill>
                  <a:schemeClr val="bg1"/>
                </a:solidFill>
              </a:rPr>
              <a:t> </a:t>
            </a:r>
            <a:r>
              <a:rPr lang="de-DE" sz="998" err="1">
                <a:solidFill>
                  <a:schemeClr val="bg1"/>
                </a:solidFill>
              </a:rPr>
              <a:t>line</a:t>
            </a:r>
            <a:endParaRPr lang="de-DE" sz="998">
              <a:solidFill>
                <a:schemeClr val="bg1"/>
              </a:solidFill>
            </a:endParaRP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998">
                <a:solidFill>
                  <a:schemeClr val="tx1"/>
                </a:solidFill>
              </a:defRPr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sp>
        <p:nvSpPr>
          <p:cNvPr id="16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de-DE" sz="998">
                <a:solidFill>
                  <a:schemeClr val="tx1"/>
                </a:solidFill>
              </a:rPr>
              <a:t>Restricted © Siemens Healthineers, 2019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:a16="http://schemas.microsoft.com/office/drawing/2014/main" id="{F2A95EF1-1926-47A8-A827-99B1C6C611E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57245B0-2A34-4E93-8EFF-DD735993B24D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998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998" b="1" i="0" u="none" kern="1200" spc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73878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tl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87AF612-CCBE-D078-F5B3-4C91EABD8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2794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87AF612-CCBE-D078-F5B3-4C91EABD8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59600"/>
            <a:ext cx="3579813" cy="360000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de-DE"/>
              <a:t>Optional subhead</a:t>
            </a:r>
            <a:endParaRPr lang="de-DE" noProof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540001" y="1915199"/>
            <a:ext cx="6394200" cy="2401200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Headline </a:t>
            </a:r>
            <a:br>
              <a:rPr lang="de-DE"/>
            </a:br>
            <a:r>
              <a:rPr lang="de-DE"/>
              <a:t>Calibri Bold</a:t>
            </a:r>
          </a:p>
        </p:txBody>
      </p:sp>
      <p:sp>
        <p:nvSpPr>
          <p:cNvPr id="6" name="Presenter">
            <a:extLst>
              <a:ext uri="{FF2B5EF4-FFF2-40B4-BE49-F238E27FC236}">
                <a16:creationId xmlns:a16="http://schemas.microsoft.com/office/drawing/2014/main" id="{046EC491-C7E1-4B50-AC08-4B82CD6C66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5090400"/>
            <a:ext cx="3579813" cy="540000"/>
          </a:xfrm>
        </p:spPr>
        <p:txBody>
          <a:bodyPr/>
          <a:lstStyle>
            <a:lvl1pPr rtl="0">
              <a:defRPr sz="1600" b="0"/>
            </a:lvl1pPr>
          </a:lstStyle>
          <a:p>
            <a:r>
              <a:rPr lang="de-DE"/>
              <a:t>Presenter Calibri 16 pt</a:t>
            </a:r>
            <a:br>
              <a:rPr lang="de-DE"/>
            </a:br>
            <a:r>
              <a:rPr lang="de-DE"/>
              <a:t>English, Month 20XX</a:t>
            </a:r>
          </a:p>
        </p:txBody>
      </p:sp>
      <p:pic>
        <p:nvPicPr>
          <p:cNvPr id="87" name="Siemens Healthineers logo">
            <a:extLst>
              <a:ext uri="{FF2B5EF4-FFF2-40B4-BE49-F238E27FC236}">
                <a16:creationId xmlns:a16="http://schemas.microsoft.com/office/drawing/2014/main" id="{35EEC452-B426-4E7B-8973-E9DC55604B2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pic>
        <p:nvPicPr>
          <p:cNvPr id="7" name="Dot pulse">
            <a:extLst>
              <a:ext uri="{FF2B5EF4-FFF2-40B4-BE49-F238E27FC236}">
                <a16:creationId xmlns:a16="http://schemas.microsoft.com/office/drawing/2014/main" id="{BF10F800-E2D2-4A30-9DC1-1940116C0E4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5175" y="4029933"/>
            <a:ext cx="2826000" cy="144267"/>
          </a:xfrm>
          <a:prstGeom prst="rect">
            <a:avLst/>
          </a:prstGeom>
        </p:spPr>
      </p:pic>
      <p:sp>
        <p:nvSpPr>
          <p:cNvPr id="8" name="Abgerundetes Rechteck 8">
            <a:extLst>
              <a:ext uri="{FF2B5EF4-FFF2-40B4-BE49-F238E27FC236}">
                <a16:creationId xmlns:a16="http://schemas.microsoft.com/office/drawing/2014/main" id="{DBB37A37-4416-4E90-92A7-341CF6FAF214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 b="1">
                <a:solidFill>
                  <a:schemeClr val="tx1"/>
                </a:solidFill>
                <a:latin typeface="+mn-lt"/>
              </a:rPr>
              <a:t>The animation</a:t>
            </a:r>
            <a:r>
              <a:rPr lang="de-DE" sz="1100">
                <a:solidFill>
                  <a:schemeClr val="tx1"/>
                </a:solidFill>
                <a:latin typeface="+mn-lt"/>
              </a:rPr>
              <a:t> </a:t>
            </a:r>
            <a:r>
              <a:rPr lang="de-DE" sz="110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de-DE" sz="1100">
                <a:solidFill>
                  <a:schemeClr val="tx1"/>
                </a:solidFill>
                <a:latin typeface="+mn-lt"/>
              </a:rPr>
              <a:t>can be </a:t>
            </a:r>
            <a:r>
              <a:rPr lang="de-DE" sz="1100">
                <a:solidFill>
                  <a:schemeClr val="tx1"/>
                </a:solidFill>
              </a:rPr>
              <a:t>optionally  </a:t>
            </a:r>
            <a:r>
              <a:rPr lang="de-DE" sz="110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pPr rtl="0"/>
            <a:endParaRPr lang="de-DE" sz="1100">
              <a:solidFill>
                <a:schemeClr val="bg1"/>
              </a:solidFill>
              <a:latin typeface="+mn-lt"/>
            </a:endParaRPr>
          </a:p>
          <a:p>
            <a:pPr rtl="0"/>
            <a:r>
              <a:rPr lang="de-DE" sz="110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pPr rtl="0"/>
            <a:r>
              <a:rPr lang="de-DE" sz="110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grpSp>
        <p:nvGrpSpPr>
          <p:cNvPr id="9" name="Marker">
            <a:extLst>
              <a:ext uri="{FF2B5EF4-FFF2-40B4-BE49-F238E27FC236}">
                <a16:creationId xmlns:a16="http://schemas.microsoft.com/office/drawing/2014/main" id="{D39A42E3-E034-456A-A3F4-983938E62B60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0" name="Gerade Verbindung 40">
              <a:extLst>
                <a:ext uri="{FF2B5EF4-FFF2-40B4-BE49-F238E27FC236}">
                  <a16:creationId xmlns:a16="http://schemas.microsoft.com/office/drawing/2014/main" id="{7EA5DFEE-96B5-471D-81C0-5EF9A808435E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2">
              <a:extLst>
                <a:ext uri="{FF2B5EF4-FFF2-40B4-BE49-F238E27FC236}">
                  <a16:creationId xmlns:a16="http://schemas.microsoft.com/office/drawing/2014/main" id="{F6FE5688-06C6-4AC4-A569-2B413F35EC6E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45">
              <a:extLst>
                <a:ext uri="{FF2B5EF4-FFF2-40B4-BE49-F238E27FC236}">
                  <a16:creationId xmlns:a16="http://schemas.microsoft.com/office/drawing/2014/main" id="{A46EE828-435A-466B-B291-531ACD081B61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46">
              <a:extLst>
                <a:ext uri="{FF2B5EF4-FFF2-40B4-BE49-F238E27FC236}">
                  <a16:creationId xmlns:a16="http://schemas.microsoft.com/office/drawing/2014/main" id="{4E888A75-66AE-4FE7-88A7-FC420843805E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8">
              <a:extLst>
                <a:ext uri="{FF2B5EF4-FFF2-40B4-BE49-F238E27FC236}">
                  <a16:creationId xmlns:a16="http://schemas.microsoft.com/office/drawing/2014/main" id="{05D52D9C-9BDD-45C5-BB42-908F85769875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49">
              <a:extLst>
                <a:ext uri="{FF2B5EF4-FFF2-40B4-BE49-F238E27FC236}">
                  <a16:creationId xmlns:a16="http://schemas.microsoft.com/office/drawing/2014/main" id="{F90169CA-7B48-43EA-99B5-5BB8F5C7FAF2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1">
              <a:extLst>
                <a:ext uri="{FF2B5EF4-FFF2-40B4-BE49-F238E27FC236}">
                  <a16:creationId xmlns:a16="http://schemas.microsoft.com/office/drawing/2014/main" id="{F8A274D0-79BC-4A7C-BC35-24A63FEE3370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2">
              <a:extLst>
                <a:ext uri="{FF2B5EF4-FFF2-40B4-BE49-F238E27FC236}">
                  <a16:creationId xmlns:a16="http://schemas.microsoft.com/office/drawing/2014/main" id="{F1C376A8-6474-403C-819A-A69E80654EB5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4">
              <a:extLst>
                <a:ext uri="{FF2B5EF4-FFF2-40B4-BE49-F238E27FC236}">
                  <a16:creationId xmlns:a16="http://schemas.microsoft.com/office/drawing/2014/main" id="{43143CCC-DC7F-4662-8A8A-46996B39E7E1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5">
              <a:extLst>
                <a:ext uri="{FF2B5EF4-FFF2-40B4-BE49-F238E27FC236}">
                  <a16:creationId xmlns:a16="http://schemas.microsoft.com/office/drawing/2014/main" id="{F6236ACA-7244-4667-9238-02757C2EAFB5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7">
              <a:extLst>
                <a:ext uri="{FF2B5EF4-FFF2-40B4-BE49-F238E27FC236}">
                  <a16:creationId xmlns:a16="http://schemas.microsoft.com/office/drawing/2014/main" id="{8E4010D3-1AE7-4FCA-8300-850BB954A506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58">
              <a:extLst>
                <a:ext uri="{FF2B5EF4-FFF2-40B4-BE49-F238E27FC236}">
                  <a16:creationId xmlns:a16="http://schemas.microsoft.com/office/drawing/2014/main" id="{EC46CD02-8AD2-4474-B747-A5AC59B657DB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60">
              <a:extLst>
                <a:ext uri="{FF2B5EF4-FFF2-40B4-BE49-F238E27FC236}">
                  <a16:creationId xmlns:a16="http://schemas.microsoft.com/office/drawing/2014/main" id="{3C008754-4721-4013-9DD9-4276CE32690C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1">
              <a:extLst>
                <a:ext uri="{FF2B5EF4-FFF2-40B4-BE49-F238E27FC236}">
                  <a16:creationId xmlns:a16="http://schemas.microsoft.com/office/drawing/2014/main" id="{3056DE7E-58F1-4D73-8C19-6E7881C70C5B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3">
              <a:extLst>
                <a:ext uri="{FF2B5EF4-FFF2-40B4-BE49-F238E27FC236}">
                  <a16:creationId xmlns:a16="http://schemas.microsoft.com/office/drawing/2014/main" id="{3B3E1CD6-4B1F-4020-B468-B06ABDA78018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4">
              <a:extLst>
                <a:ext uri="{FF2B5EF4-FFF2-40B4-BE49-F238E27FC236}">
                  <a16:creationId xmlns:a16="http://schemas.microsoft.com/office/drawing/2014/main" id="{13357323-3808-4962-B967-75E17B45A4B2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6">
              <a:extLst>
                <a:ext uri="{FF2B5EF4-FFF2-40B4-BE49-F238E27FC236}">
                  <a16:creationId xmlns:a16="http://schemas.microsoft.com/office/drawing/2014/main" id="{1653938B-8CB8-4E29-8275-7492D19BD87A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7">
              <a:extLst>
                <a:ext uri="{FF2B5EF4-FFF2-40B4-BE49-F238E27FC236}">
                  <a16:creationId xmlns:a16="http://schemas.microsoft.com/office/drawing/2014/main" id="{716967B0-3183-4F1C-9947-9C3231AED359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9">
              <a:extLst>
                <a:ext uri="{FF2B5EF4-FFF2-40B4-BE49-F238E27FC236}">
                  <a16:creationId xmlns:a16="http://schemas.microsoft.com/office/drawing/2014/main" id="{24A98F4C-9B95-4D59-A35E-BC4FD22C7CED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0">
              <a:extLst>
                <a:ext uri="{FF2B5EF4-FFF2-40B4-BE49-F238E27FC236}">
                  <a16:creationId xmlns:a16="http://schemas.microsoft.com/office/drawing/2014/main" id="{E2AC2629-2D6F-4E0B-906C-B29FC2C0416E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2">
              <a:extLst>
                <a:ext uri="{FF2B5EF4-FFF2-40B4-BE49-F238E27FC236}">
                  <a16:creationId xmlns:a16="http://schemas.microsoft.com/office/drawing/2014/main" id="{BE9A42B9-530E-4242-8847-CDED545A750F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3">
              <a:extLst>
                <a:ext uri="{FF2B5EF4-FFF2-40B4-BE49-F238E27FC236}">
                  <a16:creationId xmlns:a16="http://schemas.microsoft.com/office/drawing/2014/main" id="{1D7743B7-4A22-4499-816E-620480EF940B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5">
              <a:extLst>
                <a:ext uri="{FF2B5EF4-FFF2-40B4-BE49-F238E27FC236}">
                  <a16:creationId xmlns:a16="http://schemas.microsoft.com/office/drawing/2014/main" id="{A97A8787-113E-44B0-85C1-552A745B4379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6">
              <a:extLst>
                <a:ext uri="{FF2B5EF4-FFF2-40B4-BE49-F238E27FC236}">
                  <a16:creationId xmlns:a16="http://schemas.microsoft.com/office/drawing/2014/main" id="{83987063-6FE9-40BB-AEEC-B9B963D66AF2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8">
              <a:extLst>
                <a:ext uri="{FF2B5EF4-FFF2-40B4-BE49-F238E27FC236}">
                  <a16:creationId xmlns:a16="http://schemas.microsoft.com/office/drawing/2014/main" id="{67746B3D-00B2-405D-BFA0-FCEDC2545C54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9">
              <a:extLst>
                <a:ext uri="{FF2B5EF4-FFF2-40B4-BE49-F238E27FC236}">
                  <a16:creationId xmlns:a16="http://schemas.microsoft.com/office/drawing/2014/main" id="{6DB3F7B3-59C2-4B42-84F0-B222C48E4378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1">
              <a:extLst>
                <a:ext uri="{FF2B5EF4-FFF2-40B4-BE49-F238E27FC236}">
                  <a16:creationId xmlns:a16="http://schemas.microsoft.com/office/drawing/2014/main" id="{55366E91-0C12-412A-BA36-B761FED4662D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2">
              <a:extLst>
                <a:ext uri="{FF2B5EF4-FFF2-40B4-BE49-F238E27FC236}">
                  <a16:creationId xmlns:a16="http://schemas.microsoft.com/office/drawing/2014/main" id="{E9F891A0-5172-4546-8B1F-2579FA2FEBD1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4">
              <a:extLst>
                <a:ext uri="{FF2B5EF4-FFF2-40B4-BE49-F238E27FC236}">
                  <a16:creationId xmlns:a16="http://schemas.microsoft.com/office/drawing/2014/main" id="{88A59020-D08E-4532-9B90-DE28E5DB31B3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5">
              <a:extLst>
                <a:ext uri="{FF2B5EF4-FFF2-40B4-BE49-F238E27FC236}">
                  <a16:creationId xmlns:a16="http://schemas.microsoft.com/office/drawing/2014/main" id="{AC5A657B-443F-418C-8790-F24C3AF724AB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7">
              <a:extLst>
                <a:ext uri="{FF2B5EF4-FFF2-40B4-BE49-F238E27FC236}">
                  <a16:creationId xmlns:a16="http://schemas.microsoft.com/office/drawing/2014/main" id="{A1481941-E67A-4D8E-8177-0C855C7921CA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8">
              <a:extLst>
                <a:ext uri="{FF2B5EF4-FFF2-40B4-BE49-F238E27FC236}">
                  <a16:creationId xmlns:a16="http://schemas.microsoft.com/office/drawing/2014/main" id="{B5C21370-5DFC-4BC7-9353-C5BD1FE074B1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0">
              <a:extLst>
                <a:ext uri="{FF2B5EF4-FFF2-40B4-BE49-F238E27FC236}">
                  <a16:creationId xmlns:a16="http://schemas.microsoft.com/office/drawing/2014/main" id="{7B1A8D85-878C-4EC3-9178-F67AD1152B0E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1">
              <a:extLst>
                <a:ext uri="{FF2B5EF4-FFF2-40B4-BE49-F238E27FC236}">
                  <a16:creationId xmlns:a16="http://schemas.microsoft.com/office/drawing/2014/main" id="{70A39318-BD31-471B-9806-F60534F8F0E5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3">
              <a:extLst>
                <a:ext uri="{FF2B5EF4-FFF2-40B4-BE49-F238E27FC236}">
                  <a16:creationId xmlns:a16="http://schemas.microsoft.com/office/drawing/2014/main" id="{66A99A16-D0C7-4F1C-AEEA-78BB918AD85C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4">
              <a:extLst>
                <a:ext uri="{FF2B5EF4-FFF2-40B4-BE49-F238E27FC236}">
                  <a16:creationId xmlns:a16="http://schemas.microsoft.com/office/drawing/2014/main" id="{C5471DB2-7EF6-49D9-B6EB-08154804E355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6">
              <a:extLst>
                <a:ext uri="{FF2B5EF4-FFF2-40B4-BE49-F238E27FC236}">
                  <a16:creationId xmlns:a16="http://schemas.microsoft.com/office/drawing/2014/main" id="{0C03E5D8-6F9E-4FBE-A702-3236683D6C12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7">
              <a:extLst>
                <a:ext uri="{FF2B5EF4-FFF2-40B4-BE49-F238E27FC236}">
                  <a16:creationId xmlns:a16="http://schemas.microsoft.com/office/drawing/2014/main" id="{1350AFA6-8E40-427D-B6A5-4639818970AE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9">
              <a:extLst>
                <a:ext uri="{FF2B5EF4-FFF2-40B4-BE49-F238E27FC236}">
                  <a16:creationId xmlns:a16="http://schemas.microsoft.com/office/drawing/2014/main" id="{4EA8B6C3-8CB9-4354-9182-2F485841245F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0">
              <a:extLst>
                <a:ext uri="{FF2B5EF4-FFF2-40B4-BE49-F238E27FC236}">
                  <a16:creationId xmlns:a16="http://schemas.microsoft.com/office/drawing/2014/main" id="{8CA7F308-45E5-4D6F-8E96-526C3A054166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2">
              <a:extLst>
                <a:ext uri="{FF2B5EF4-FFF2-40B4-BE49-F238E27FC236}">
                  <a16:creationId xmlns:a16="http://schemas.microsoft.com/office/drawing/2014/main" id="{6E94B82F-99AB-41B6-80E6-D0835067958D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3">
              <a:extLst>
                <a:ext uri="{FF2B5EF4-FFF2-40B4-BE49-F238E27FC236}">
                  <a16:creationId xmlns:a16="http://schemas.microsoft.com/office/drawing/2014/main" id="{F1473618-312D-4115-AFBB-2A8F5C508800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5">
              <a:extLst>
                <a:ext uri="{FF2B5EF4-FFF2-40B4-BE49-F238E27FC236}">
                  <a16:creationId xmlns:a16="http://schemas.microsoft.com/office/drawing/2014/main" id="{19D5E2ED-F51A-401F-BD42-1335500C191C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6">
              <a:extLst>
                <a:ext uri="{FF2B5EF4-FFF2-40B4-BE49-F238E27FC236}">
                  <a16:creationId xmlns:a16="http://schemas.microsoft.com/office/drawing/2014/main" id="{28A2F7D4-0473-4A68-935F-B452E1C78B7F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8">
              <a:extLst>
                <a:ext uri="{FF2B5EF4-FFF2-40B4-BE49-F238E27FC236}">
                  <a16:creationId xmlns:a16="http://schemas.microsoft.com/office/drawing/2014/main" id="{9A104325-5070-4CA8-A88D-7BF93FED52AF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9">
              <a:extLst>
                <a:ext uri="{FF2B5EF4-FFF2-40B4-BE49-F238E27FC236}">
                  <a16:creationId xmlns:a16="http://schemas.microsoft.com/office/drawing/2014/main" id="{497B098B-696E-4EA7-ABCF-A245A65E913D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1">
              <a:extLst>
                <a:ext uri="{FF2B5EF4-FFF2-40B4-BE49-F238E27FC236}">
                  <a16:creationId xmlns:a16="http://schemas.microsoft.com/office/drawing/2014/main" id="{0C3F8CAE-34D6-4FA4-8746-9336AC48A58F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2">
              <a:extLst>
                <a:ext uri="{FF2B5EF4-FFF2-40B4-BE49-F238E27FC236}">
                  <a16:creationId xmlns:a16="http://schemas.microsoft.com/office/drawing/2014/main" id="{E38B1F47-5868-4E05-9265-15445F9319E3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4">
              <a:extLst>
                <a:ext uri="{FF2B5EF4-FFF2-40B4-BE49-F238E27FC236}">
                  <a16:creationId xmlns:a16="http://schemas.microsoft.com/office/drawing/2014/main" id="{B2354D57-D020-4A7A-A1F5-C9BD43B68326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6">
              <a:extLst>
                <a:ext uri="{FF2B5EF4-FFF2-40B4-BE49-F238E27FC236}">
                  <a16:creationId xmlns:a16="http://schemas.microsoft.com/office/drawing/2014/main" id="{E347C51B-06E4-4BD6-A625-C5DA2E13F669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7">
              <a:extLst>
                <a:ext uri="{FF2B5EF4-FFF2-40B4-BE49-F238E27FC236}">
                  <a16:creationId xmlns:a16="http://schemas.microsoft.com/office/drawing/2014/main" id="{3D6E3457-7600-4502-A63F-F9541EA564E1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8">
              <a:extLst>
                <a:ext uri="{FF2B5EF4-FFF2-40B4-BE49-F238E27FC236}">
                  <a16:creationId xmlns:a16="http://schemas.microsoft.com/office/drawing/2014/main" id="{5EFDB259-6FB2-4510-9177-612DC5D43785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2" name="Restricted">
            <a:extLst>
              <a:ext uri="{FF2B5EF4-FFF2-40B4-BE49-F238E27FC236}">
                <a16:creationId xmlns:a16="http://schemas.microsoft.com/office/drawing/2014/main" id="{9D18BEB4-BC2D-46B0-A703-1BB50CE54E27}"/>
              </a:ext>
            </a:extLst>
          </p:cNvPr>
          <p:cNvSpPr txBox="1"/>
          <p:nvPr userDrawn="1"/>
        </p:nvSpPr>
        <p:spPr bwMode="black">
          <a:xfrm>
            <a:off x="8056800" y="6519470"/>
            <a:ext cx="3571200" cy="154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de-DE" sz="1000">
                <a:solidFill>
                  <a:schemeClr val="tx1"/>
                </a:solidFill>
              </a:rPr>
              <a:t>Frei verwendbar © Siemens Healthineers, 2019</a:t>
            </a:r>
          </a:p>
        </p:txBody>
      </p:sp>
    </p:spTree>
    <p:extLst>
      <p:ext uri="{BB962C8B-B14F-4D97-AF65-F5344CB8AC3E}">
        <p14:creationId xmlns:p14="http://schemas.microsoft.com/office/powerpoint/2010/main" val="2057352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icture (cut-out imag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29F6D2A-46C5-E07C-6B59-CE81B8D854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219167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29F6D2A-46C5-E07C-6B59-CE81B8D85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934200" cy="6858000"/>
          </a:xfrm>
        </p:spPr>
        <p:txBody>
          <a:bodyPr lIns="180000" tIns="180000" rIns="180000" bIns="180000"/>
          <a:lstStyle>
            <a:lvl1pPr rtl="0">
              <a:defRPr/>
            </a:lvl1pPr>
          </a:lstStyle>
          <a:p>
            <a:r>
              <a:rPr lang="de-DE"/>
              <a:t>Add a product picture</a:t>
            </a:r>
          </a:p>
        </p:txBody>
      </p:sp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7125500" y="1623600"/>
            <a:ext cx="4502938" cy="1224000"/>
          </a:xfrm>
        </p:spPr>
        <p:txBody>
          <a:bodyPr vert="horz" lIns="0" tIns="0" rIns="0" bIns="0" anchor="b" anchorCtr="0">
            <a:noAutofit/>
          </a:bodyPr>
          <a:lstStyle>
            <a:lvl1pPr algn="l" rtl="0">
              <a:defRPr sz="2595" b="1">
                <a:solidFill>
                  <a:schemeClr val="tx1"/>
                </a:solidFill>
              </a:defRPr>
            </a:lvl1pPr>
          </a:lstStyle>
          <a:p>
            <a:r>
              <a:rPr lang="de-DE"/>
              <a:t>ETIAM sit atmet</a:t>
            </a:r>
            <a:endParaRPr lang="de-DE" noProof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7125501" y="3009329"/>
            <a:ext cx="4503600" cy="1661315"/>
          </a:xfrm>
        </p:spPr>
        <p:txBody>
          <a:bodyPr lIns="0" tIns="0" rIns="0" bIns="0" anchor="t">
            <a:noAutofit/>
          </a:bodyPr>
          <a:lstStyle>
            <a:lvl1pPr marL="0" marR="0" indent="0" algn="l" defTabSz="91275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191" b="1" baseline="0">
                <a:solidFill>
                  <a:schemeClr val="bg2"/>
                </a:solidFill>
              </a:defRPr>
            </a:lvl1pPr>
            <a:lvl2pPr marL="45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5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8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82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6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1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Headline </a:t>
            </a:r>
            <a:br>
              <a:rPr lang="de-DE"/>
            </a:br>
            <a:r>
              <a:rPr lang="de-DE"/>
              <a:t>Calibri Bold</a:t>
            </a:r>
          </a:p>
        </p:txBody>
      </p:sp>
      <p:sp>
        <p:nvSpPr>
          <p:cNvPr id="9" name="Footnote">
            <a:extLst>
              <a:ext uri="{FF2B5EF4-FFF2-40B4-BE49-F238E27FC236}">
                <a16:creationId xmlns:a16="http://schemas.microsoft.com/office/drawing/2014/main" id="{63A13AEC-6E96-4994-BA26-3AFB5FCFE509}"/>
              </a:ext>
            </a:extLst>
          </p:cNvPr>
          <p:cNvSpPr txBox="1"/>
          <p:nvPr userDrawn="1"/>
        </p:nvSpPr>
        <p:spPr>
          <a:xfrm>
            <a:off x="540000" y="6372559"/>
            <a:ext cx="2636337" cy="324000"/>
          </a:xfrm>
          <a:prstGeom prst="rect">
            <a:avLst/>
          </a:prstGeom>
          <a:noFill/>
        </p:spPr>
        <p:txBody>
          <a:bodyPr wrap="square" lIns="0" tIns="0" rIns="0" rtlCol="0">
            <a:noAutofit/>
          </a:bodyPr>
          <a:lstStyle/>
          <a:p>
            <a:pPr marL="0" marR="0" lvl="0" indent="0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98">
                <a:solidFill>
                  <a:schemeClr val="bg1"/>
                </a:solidFill>
              </a:rPr>
              <a:t>Click to add </a:t>
            </a:r>
            <a:r>
              <a:rPr lang="de-DE" sz="998" err="1">
                <a:solidFill>
                  <a:schemeClr val="bg1"/>
                </a:solidFill>
              </a:rPr>
              <a:t>footnote</a:t>
            </a:r>
            <a:br>
              <a:rPr lang="de-DE" sz="998">
                <a:solidFill>
                  <a:schemeClr val="bg1"/>
                </a:solidFill>
              </a:rPr>
            </a:br>
            <a:r>
              <a:rPr lang="de-DE" sz="998" err="1">
                <a:solidFill>
                  <a:schemeClr val="bg1"/>
                </a:solidFill>
              </a:rPr>
              <a:t>second</a:t>
            </a:r>
            <a:r>
              <a:rPr lang="de-DE" sz="998">
                <a:solidFill>
                  <a:schemeClr val="bg1"/>
                </a:solidFill>
              </a:rPr>
              <a:t> </a:t>
            </a:r>
            <a:r>
              <a:rPr lang="de-DE" sz="998" err="1">
                <a:solidFill>
                  <a:schemeClr val="bg1"/>
                </a:solidFill>
              </a:rPr>
              <a:t>line</a:t>
            </a:r>
            <a:endParaRPr lang="de-DE" sz="998">
              <a:solidFill>
                <a:schemeClr val="bg1"/>
              </a:solidFill>
            </a:endParaRP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998">
                <a:solidFill>
                  <a:schemeClr val="tx1"/>
                </a:solidFill>
              </a:defRPr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15" name="Siemens Healthineers logo">
            <a:extLst>
              <a:ext uri="{FF2B5EF4-FFF2-40B4-BE49-F238E27FC236}">
                <a16:creationId xmlns:a16="http://schemas.microsoft.com/office/drawing/2014/main" id="{71639FCE-B405-406F-AB7D-EA609CD2342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99584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/Table of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473DB20-3BF4-A423-D1C6-1C034B50AF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076720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473DB20-3BF4-A423-D1C6-1C034B50AF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1" y="219601"/>
            <a:ext cx="9210425" cy="8329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/>
              <a:t>Table of Contents</a:t>
            </a:r>
            <a:br>
              <a:rPr lang="de-DE"/>
            </a:br>
            <a:r>
              <a:rPr lang="de-DE"/>
              <a:t>Title Calibri Bold 28 pt</a:t>
            </a:r>
            <a:endParaRPr lang="de-DE" noProof="0"/>
          </a:p>
        </p:txBody>
      </p:sp>
      <p:sp>
        <p:nvSpPr>
          <p:cNvPr id="23" name="Content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1623602"/>
            <a:ext cx="4512060" cy="4570825"/>
          </a:xfrm>
        </p:spPr>
        <p:txBody>
          <a:bodyPr/>
          <a:lstStyle>
            <a:lvl1pPr marL="215611" indent="-215611" rtl="0">
              <a:spcBef>
                <a:spcPts val="898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01970" algn="r"/>
              </a:tabLst>
              <a:defRPr lang="en-US" sz="1797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15611" indent="0" rtl="0">
              <a:buFont typeface="Arial" panose="020B0604020202020204" pitchFamily="34" charset="0"/>
              <a:buNone/>
              <a:tabLst>
                <a:tab pos="4501970" algn="r"/>
              </a:tabLst>
              <a:defRPr b="0">
                <a:solidFill>
                  <a:schemeClr val="tx1"/>
                </a:solidFill>
              </a:defRPr>
            </a:lvl2pPr>
            <a:lvl3pPr marL="431222" indent="-215611" rtl="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01970" algn="r"/>
              </a:tabLst>
              <a:defRPr/>
            </a:lvl3pPr>
            <a:lvl4pPr>
              <a:defRPr/>
            </a:lvl4pPr>
          </a:lstStyle>
          <a:p>
            <a:pPr lvl="0"/>
            <a:r>
              <a:rPr lang="de-DE" noProof="0"/>
              <a:t>Text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0"/>
            <a:r>
              <a:rPr lang="de-DE" noProof="0"/>
              <a:t>Text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7" y="1623600"/>
            <a:ext cx="4514850" cy="2538000"/>
          </a:xfrm>
        </p:spPr>
        <p:txBody>
          <a:bodyPr lIns="180000" tIns="180000" rIns="180000" bIns="180000"/>
          <a:lstStyle>
            <a:lvl1pPr rtl="0">
              <a:defRPr b="1"/>
            </a:lvl1pPr>
          </a:lstStyle>
          <a:p>
            <a:r>
              <a:rPr lang="de-DE" noProof="0"/>
              <a:t>Add a illustrative </a:t>
            </a:r>
            <a:r>
              <a:rPr lang="de-DE" noProof="0" err="1"/>
              <a:t>image</a:t>
            </a:r>
            <a:endParaRPr lang="de-DE" noProof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998" b="0"/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lnSpc>
                <a:spcPct val="100000"/>
              </a:lnSpc>
              <a:defRPr/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12" name="Siemens Healthineers logo">
            <a:extLst>
              <a:ext uri="{FF2B5EF4-FFF2-40B4-BE49-F238E27FC236}">
                <a16:creationId xmlns:a16="http://schemas.microsoft.com/office/drawing/2014/main" id="{5B079570-04AF-4229-A2FB-E49C0FA353C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7335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D915330-C796-70EC-32AB-A989694C8A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931643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D915330-C796-70EC-32AB-A989694C8A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1" y="219601"/>
            <a:ext cx="9210425" cy="8329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le Calibri Bold 28 pt</a:t>
            </a:r>
          </a:p>
        </p:txBody>
      </p:sp>
      <p:sp>
        <p:nvSpPr>
          <p:cNvPr id="4" name="Content">
            <a:extLst>
              <a:ext uri="{FF2B5EF4-FFF2-40B4-BE49-F238E27FC236}">
                <a16:creationId xmlns:a16="http://schemas.microsoft.com/office/drawing/2014/main" id="{906B1CE5-AD7F-4EF1-A5A9-79DBBDA7E9CD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39999" y="1623600"/>
            <a:ext cx="9212400" cy="4572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998" b="0"/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lnSpc>
                <a:spcPct val="100000"/>
              </a:lnSpc>
              <a:defRPr/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432736EC-6501-42F7-8D77-527C9087F92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10854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ext and Pict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79C7F11-E758-C8AB-66A1-4F91001E67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944075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79C7F11-E758-C8AB-66A1-4F91001E67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1" y="219601"/>
            <a:ext cx="9210425" cy="8329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le Calibri Bold 28 pt</a:t>
            </a:r>
          </a:p>
        </p:txBody>
      </p:sp>
      <p:sp>
        <p:nvSpPr>
          <p:cNvPr id="5" name="Content">
            <a:extLst>
              <a:ext uri="{FF2B5EF4-FFF2-40B4-BE49-F238E27FC236}">
                <a16:creationId xmlns:a16="http://schemas.microsoft.com/office/drawing/2014/main" id="{9C6F4BCA-FA11-41BC-899F-4225802B0B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40000" y="1623600"/>
            <a:ext cx="4510800" cy="4572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1623600"/>
            <a:ext cx="5453063" cy="4572000"/>
          </a:xfrm>
        </p:spPr>
        <p:txBody>
          <a:bodyPr lIns="180000" tIns="180000" rIns="180000" bIns="180000"/>
          <a:lstStyle>
            <a:lvl1pPr rtl="0">
              <a:defRPr b="1"/>
            </a:lvl1pPr>
          </a:lstStyle>
          <a:p>
            <a:r>
              <a:rPr lang="de-DE" noProof="0"/>
              <a:t>Add a </a:t>
            </a:r>
            <a:r>
              <a:rPr lang="de-DE" noProof="0" err="1"/>
              <a:t>picture</a:t>
            </a:r>
            <a:endParaRPr lang="de-DE" noProof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998" b="0"/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7" name="Author">
            <a:extLst>
              <a:ext uri="{FF2B5EF4-FFF2-40B4-BE49-F238E27FC236}">
                <a16:creationId xmlns:a16="http://schemas.microsoft.com/office/drawing/2014/main" id="{26CB829D-BCCA-4C81-9883-CB2EF6F5A81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0A0C2692-8EAB-494D-9DDD-3D6F2724AC8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18260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wo Text Box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6893E44-688A-7C88-0186-38C34010BE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064690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6893E44-688A-7C88-0186-38C34010BE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1" y="219601"/>
            <a:ext cx="9210425" cy="8329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le Calibri Bold 28 pt</a:t>
            </a:r>
          </a:p>
        </p:txBody>
      </p:sp>
      <p:sp>
        <p:nvSpPr>
          <p:cNvPr id="4" name="Content left column">
            <a:extLst>
              <a:ext uri="{FF2B5EF4-FFF2-40B4-BE49-F238E27FC236}">
                <a16:creationId xmlns:a16="http://schemas.microsoft.com/office/drawing/2014/main" id="{4FDBB5BE-FB7F-472A-B808-A79C66F99FE9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000" y="1623600"/>
            <a:ext cx="5454000" cy="4572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12" name="Content right column">
            <a:extLst>
              <a:ext uri="{FF2B5EF4-FFF2-40B4-BE49-F238E27FC236}">
                <a16:creationId xmlns:a16="http://schemas.microsoft.com/office/drawing/2014/main" id="{239F9EB4-5513-4EE9-8F49-510E69716E1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174438" y="1623600"/>
            <a:ext cx="5454000" cy="4572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998" b="0"/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lnSpc>
                <a:spcPct val="100000"/>
              </a:lnSpc>
              <a:defRPr/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15" name="Siemens Healthineers logo">
            <a:extLst>
              <a:ext uri="{FF2B5EF4-FFF2-40B4-BE49-F238E27FC236}">
                <a16:creationId xmlns:a16="http://schemas.microsoft.com/office/drawing/2014/main" id="{F7C407CE-0992-4EA4-8D73-20B7A51247F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5381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lack with marg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68A5D89-B449-FB3D-AB98-0C620EB68C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05371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68A5D89-B449-FB3D-AB98-0C620EB68C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Black layer"/>
          <p:cNvSpPr/>
          <p:nvPr userDrawn="1"/>
        </p:nvSpPr>
        <p:spPr bwMode="white">
          <a:xfrm>
            <a:off x="2" y="0"/>
            <a:ext cx="805497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sz="1797"/>
          </a:p>
        </p:txBody>
      </p:sp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40001" y="219601"/>
            <a:ext cx="6394200" cy="8329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/>
              <a:t>Title Calibri Bold 28 pt</a:t>
            </a:r>
          </a:p>
        </p:txBody>
      </p:sp>
      <p:sp>
        <p:nvSpPr>
          <p:cNvPr id="102" name="Content"/>
          <p:cNvSpPr>
            <a:spLocks noGrp="1"/>
          </p:cNvSpPr>
          <p:nvPr>
            <p:ph idx="1" hasCustomPrompt="1"/>
          </p:nvPr>
        </p:nvSpPr>
        <p:spPr>
          <a:xfrm>
            <a:off x="540000" y="1623600"/>
            <a:ext cx="6394200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4" name="Margin content">
            <a:extLst>
              <a:ext uri="{FF2B5EF4-FFF2-40B4-BE49-F238E27FC236}">
                <a16:creationId xmlns:a16="http://schemas.microsoft.com/office/drawing/2014/main" id="{B7D38A37-9AC1-413C-B8AD-491DCC7608B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93189" y="1623600"/>
            <a:ext cx="1874837" cy="1275698"/>
          </a:xfrm>
        </p:spPr>
        <p:txBody>
          <a:bodyPr tIns="144000" bIns="144000">
            <a:spAutoFit/>
          </a:bodyPr>
          <a:lstStyle>
            <a:lvl1pPr rtl="0">
              <a:defRPr sz="1597"/>
            </a:lvl1pPr>
            <a:lvl2pPr rtl="0">
              <a:defRPr sz="1597"/>
            </a:lvl2pPr>
            <a:lvl3pPr marL="215611" marR="0" indent="-215611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597"/>
            </a:lvl3pPr>
            <a:lvl4pPr marL="431222" marR="0" indent="-215611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597"/>
            </a:lvl4pPr>
            <a:lvl5pPr marL="646834">
              <a:defRPr/>
            </a:lvl5pPr>
          </a:lstStyle>
          <a:p>
            <a:pPr lvl="0"/>
            <a:r>
              <a:rPr lang="de-DE"/>
              <a:t>Calibri Bold 16 pt</a:t>
            </a:r>
          </a:p>
          <a:p>
            <a:pPr lvl="1"/>
            <a:r>
              <a:rPr lang="de-DE"/>
              <a:t>Text Calibri 16 pt</a:t>
            </a:r>
          </a:p>
          <a:p>
            <a:pPr lvl="2"/>
            <a:r>
              <a:rPr lang="de-DE"/>
              <a:t>Text Calibri 16 pt</a:t>
            </a:r>
          </a:p>
          <a:p>
            <a:pPr marL="438409" marR="0" lvl="3" indent="-219205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/>
              <a:t>Text Calibri 16 pt</a:t>
            </a:r>
          </a:p>
        </p:txBody>
      </p:sp>
      <p:sp>
        <p:nvSpPr>
          <p:cNvPr id="97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998" b="0">
                <a:solidFill>
                  <a:schemeClr val="bg1"/>
                </a:solidFill>
              </a:defRPr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>
            <a:lvl1pPr rtl="0"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sp>
        <p:nvSpPr>
          <p:cNvPr id="89" name="Information"/>
          <p:cNvSpPr/>
          <p:nvPr userDrawn="1"/>
        </p:nvSpPr>
        <p:spPr>
          <a:xfrm>
            <a:off x="-2160000" y="2"/>
            <a:ext cx="1800000" cy="1287379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869" tIns="35934" rIns="71869" bIns="35934" rtlCol="0" anchor="ctr"/>
          <a:lstStyle/>
          <a:p>
            <a:pPr rtl="0"/>
            <a:r>
              <a:rPr lang="de-DE" sz="1098" b="1">
                <a:solidFill>
                  <a:schemeClr val="tx1"/>
                </a:solidFill>
                <a:latin typeface="+mn-lt"/>
              </a:rPr>
              <a:t>The animation</a:t>
            </a:r>
            <a:r>
              <a:rPr lang="de-DE" sz="1098">
                <a:solidFill>
                  <a:schemeClr val="tx1"/>
                </a:solidFill>
                <a:latin typeface="+mn-lt"/>
              </a:rPr>
              <a:t> </a:t>
            </a:r>
            <a:r>
              <a:rPr lang="de-DE" sz="1098">
                <a:solidFill>
                  <a:schemeClr val="bg1"/>
                </a:solidFill>
                <a:latin typeface="+mn-lt"/>
              </a:rPr>
              <a:t>of the </a:t>
            </a:r>
            <a:r>
              <a:rPr lang="de-DE" sz="1098" err="1">
                <a:solidFill>
                  <a:schemeClr val="bg1"/>
                </a:solidFill>
                <a:latin typeface="+mn-lt"/>
              </a:rPr>
              <a:t>black</a:t>
            </a:r>
            <a:r>
              <a:rPr lang="de-DE" sz="1098">
                <a:solidFill>
                  <a:schemeClr val="bg1"/>
                </a:solidFill>
                <a:latin typeface="+mn-lt"/>
              </a:rPr>
              <a:t> </a:t>
            </a:r>
            <a:r>
              <a:rPr lang="de-DE" sz="1098" err="1">
                <a:solidFill>
                  <a:schemeClr val="bg1"/>
                </a:solidFill>
                <a:latin typeface="+mn-lt"/>
              </a:rPr>
              <a:t>layer</a:t>
            </a:r>
            <a:r>
              <a:rPr lang="de-DE" sz="1098">
                <a:solidFill>
                  <a:schemeClr val="bg1"/>
                </a:solidFill>
                <a:latin typeface="+mn-lt"/>
              </a:rPr>
              <a:t> </a:t>
            </a:r>
            <a:r>
              <a:rPr lang="de-DE" sz="1098">
                <a:solidFill>
                  <a:schemeClr val="tx1"/>
                </a:solidFill>
                <a:latin typeface="+mn-lt"/>
              </a:rPr>
              <a:t>can be </a:t>
            </a:r>
            <a:r>
              <a:rPr lang="de-DE" sz="1098" err="1">
                <a:solidFill>
                  <a:schemeClr val="tx1"/>
                </a:solidFill>
                <a:latin typeface="+mn-lt"/>
              </a:rPr>
              <a:t>controlled</a:t>
            </a:r>
            <a:r>
              <a:rPr lang="de-DE" sz="1098">
                <a:solidFill>
                  <a:schemeClr val="tx1"/>
                </a:solidFill>
                <a:latin typeface="+mn-lt"/>
              </a:rPr>
              <a:t> on the master layout.</a:t>
            </a:r>
          </a:p>
          <a:p>
            <a:pPr rtl="0"/>
            <a:endParaRPr lang="de-DE" sz="1098">
              <a:solidFill>
                <a:schemeClr val="bg1"/>
              </a:solidFill>
              <a:latin typeface="+mn-lt"/>
            </a:endParaRPr>
          </a:p>
          <a:p>
            <a:pPr rtl="0"/>
            <a:r>
              <a:rPr lang="de-DE" sz="1098">
                <a:solidFill>
                  <a:schemeClr val="bg1"/>
                </a:solidFill>
                <a:latin typeface="+mn-lt"/>
              </a:rPr>
              <a:t>Go to View &gt; Slide Master.</a:t>
            </a:r>
          </a:p>
          <a:p>
            <a:pPr rtl="0"/>
            <a:r>
              <a:rPr lang="de-DE" sz="1098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04" name="Siemens Healthineers logo">
            <a:extLst>
              <a:ext uri="{FF2B5EF4-FFF2-40B4-BE49-F238E27FC236}">
                <a16:creationId xmlns:a16="http://schemas.microsoft.com/office/drawing/2014/main" id="{8A740305-7C35-4277-8346-A32E99A8E67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7552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13333" decel="8666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" grpId="0" animBg="1"/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0677C4F-1DCC-304E-8627-4F9F404897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259628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0677C4F-1DCC-304E-8627-4F9F404897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1" y="219601"/>
            <a:ext cx="9210425" cy="8329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le Calibri Bold 28 pt</a:t>
            </a:r>
          </a:p>
        </p:txBody>
      </p:sp>
      <p:sp>
        <p:nvSpPr>
          <p:cNvPr id="7" name="Content left column">
            <a:extLst>
              <a:ext uri="{FF2B5EF4-FFF2-40B4-BE49-F238E27FC236}">
                <a16:creationId xmlns:a16="http://schemas.microsoft.com/office/drawing/2014/main" id="{F3DE8C85-D5DE-48E2-BC87-EE21BFCB3F6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000" y="1623600"/>
            <a:ext cx="3574800" cy="1350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4" name="Picture placeholder left"/>
          <p:cNvSpPr>
            <a:spLocks noGrp="1"/>
          </p:cNvSpPr>
          <p:nvPr>
            <p:ph type="pic" sz="quarter" idx="18" hasCustomPrompt="1"/>
          </p:nvPr>
        </p:nvSpPr>
        <p:spPr>
          <a:xfrm>
            <a:off x="540000" y="3204000"/>
            <a:ext cx="3574800" cy="2354400"/>
          </a:xfrm>
        </p:spPr>
        <p:txBody>
          <a:bodyPr/>
          <a:lstStyle>
            <a:lvl1pPr rtl="0">
              <a:defRPr b="0"/>
            </a:lvl1pPr>
          </a:lstStyle>
          <a:p>
            <a:r>
              <a:rPr lang="de-DE" noProof="0"/>
              <a:t>add a </a:t>
            </a:r>
            <a:r>
              <a:rPr lang="de-DE" noProof="0" err="1"/>
              <a:t>picture</a:t>
            </a:r>
            <a:endParaRPr lang="de-DE" noProof="0"/>
          </a:p>
        </p:txBody>
      </p:sp>
      <p:sp>
        <p:nvSpPr>
          <p:cNvPr id="16" name="Content middle column">
            <a:extLst>
              <a:ext uri="{FF2B5EF4-FFF2-40B4-BE49-F238E27FC236}">
                <a16:creationId xmlns:a16="http://schemas.microsoft.com/office/drawing/2014/main" id="{A005602E-D4D7-400C-8402-35CFAA6A345E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297488" y="1623600"/>
            <a:ext cx="3574800" cy="1350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11" name="Picture placeholder middle"/>
          <p:cNvSpPr>
            <a:spLocks noGrp="1"/>
          </p:cNvSpPr>
          <p:nvPr>
            <p:ph type="pic" sz="quarter" idx="19" hasCustomPrompt="1"/>
          </p:nvPr>
        </p:nvSpPr>
        <p:spPr>
          <a:xfrm>
            <a:off x="4295775" y="3204000"/>
            <a:ext cx="3574800" cy="2354400"/>
          </a:xfrm>
        </p:spPr>
        <p:txBody>
          <a:bodyPr/>
          <a:lstStyle>
            <a:lvl1pPr rtl="0">
              <a:defRPr b="0"/>
            </a:lvl1pPr>
          </a:lstStyle>
          <a:p>
            <a:r>
              <a:rPr lang="de-DE" noProof="0"/>
              <a:t>add a </a:t>
            </a:r>
            <a:r>
              <a:rPr lang="de-DE" noProof="0" err="1"/>
              <a:t>picture</a:t>
            </a:r>
            <a:endParaRPr lang="de-DE" noProof="0"/>
          </a:p>
        </p:txBody>
      </p:sp>
      <p:sp>
        <p:nvSpPr>
          <p:cNvPr id="18" name="Content right column">
            <a:extLst>
              <a:ext uri="{FF2B5EF4-FFF2-40B4-BE49-F238E27FC236}">
                <a16:creationId xmlns:a16="http://schemas.microsoft.com/office/drawing/2014/main" id="{CC72F373-4575-41D8-A962-8FD122BE5D9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8054975" y="1623600"/>
            <a:ext cx="3574800" cy="1350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12" name="Picture placeholder right"/>
          <p:cNvSpPr>
            <a:spLocks noGrp="1"/>
          </p:cNvSpPr>
          <p:nvPr>
            <p:ph type="pic" sz="quarter" idx="20" hasCustomPrompt="1"/>
          </p:nvPr>
        </p:nvSpPr>
        <p:spPr>
          <a:xfrm>
            <a:off x="8054975" y="3204000"/>
            <a:ext cx="3574800" cy="2354400"/>
          </a:xfrm>
        </p:spPr>
        <p:txBody>
          <a:bodyPr/>
          <a:lstStyle>
            <a:lvl1pPr rtl="0">
              <a:defRPr b="0"/>
            </a:lvl1pPr>
          </a:lstStyle>
          <a:p>
            <a:r>
              <a:rPr lang="de-DE" noProof="0"/>
              <a:t>add a </a:t>
            </a:r>
            <a:r>
              <a:rPr lang="de-DE" noProof="0" err="1"/>
              <a:t>picture</a:t>
            </a:r>
            <a:endParaRPr lang="de-DE" noProof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998" b="0"/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lnSpc>
                <a:spcPct val="100000"/>
              </a:lnSpc>
              <a:defRPr/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21" name="Siemens Healthineers logo">
            <a:extLst>
              <a:ext uri="{FF2B5EF4-FFF2-40B4-BE49-F238E27FC236}">
                <a16:creationId xmlns:a16="http://schemas.microsoft.com/office/drawing/2014/main" id="{D6A3697A-6D9B-4985-810C-549CED2CA52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9366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1C7BB52-8B28-4A8A-58B6-D1DA4E8AA1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633578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1C7BB52-8B28-4A8A-58B6-D1DA4E8AA1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1" y="219601"/>
            <a:ext cx="9210425" cy="8329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le Calibri Bold 28 pt</a:t>
            </a:r>
          </a:p>
        </p:txBody>
      </p:sp>
      <p:sp>
        <p:nvSpPr>
          <p:cNvPr id="4" name="Content left column">
            <a:extLst>
              <a:ext uri="{FF2B5EF4-FFF2-40B4-BE49-F238E27FC236}">
                <a16:creationId xmlns:a16="http://schemas.microsoft.com/office/drawing/2014/main" id="{3A7B9670-2998-4639-948A-6AC5336D3394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40000" y="1623600"/>
            <a:ext cx="3574800" cy="4572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12" name="Content middle column">
            <a:extLst>
              <a:ext uri="{FF2B5EF4-FFF2-40B4-BE49-F238E27FC236}">
                <a16:creationId xmlns:a16="http://schemas.microsoft.com/office/drawing/2014/main" id="{FDCEFC57-1E08-4A1D-8A85-E1A2B909727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296819" y="1623600"/>
            <a:ext cx="3574800" cy="4572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14" name="Content right column">
            <a:extLst>
              <a:ext uri="{FF2B5EF4-FFF2-40B4-BE49-F238E27FC236}">
                <a16:creationId xmlns:a16="http://schemas.microsoft.com/office/drawing/2014/main" id="{3FD09867-0821-4EF2-A2D6-A5663051D69F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8053638" y="1623600"/>
            <a:ext cx="3574800" cy="4572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998" b="0"/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lnSpc>
                <a:spcPct val="100000"/>
              </a:lnSpc>
              <a:defRPr/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16" name="Siemens Healthineers logo">
            <a:extLst>
              <a:ext uri="{FF2B5EF4-FFF2-40B4-BE49-F238E27FC236}">
                <a16:creationId xmlns:a16="http://schemas.microsoft.com/office/drawing/2014/main" id="{EA7999BE-FBC8-4C3B-8CFC-04FE082969E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92524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 - light image">
    <p:bg bwMode="ltGray"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3D4AE85-B1FA-4D36-F866-D5D9421937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596287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3D4AE85-B1FA-4D36-F866-D5D9421937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540200" y="1623600"/>
            <a:ext cx="4514400" cy="2520000"/>
          </a:xfrm>
        </p:spPr>
        <p:txBody>
          <a:bodyPr/>
          <a:lstStyle>
            <a:lvl1pPr rtl="0">
              <a:lnSpc>
                <a:spcPct val="100000"/>
              </a:lnSpc>
              <a:defRPr sz="2795" b="0" i="1" baseline="0"/>
            </a:lvl1pPr>
            <a:lvl2pPr rtl="0">
              <a:lnSpc>
                <a:spcPct val="100000"/>
              </a:lnSpc>
              <a:spcBef>
                <a:spcPts val="1198"/>
              </a:spcBef>
              <a:defRPr sz="1397"/>
            </a:lvl2pPr>
          </a:lstStyle>
          <a:p>
            <a:pPr lvl="0"/>
            <a:r>
              <a:rPr lang="de-DE" noProof="0"/>
              <a:t>Quote Calibri Italic 28 pt</a:t>
            </a:r>
          </a:p>
          <a:p>
            <a:pPr lvl="1"/>
            <a:r>
              <a:rPr lang="de-DE" noProof="0"/>
              <a:t>Subline Calibri 14 pt</a:t>
            </a:r>
          </a:p>
        </p:txBody>
      </p:sp>
      <p:sp>
        <p:nvSpPr>
          <p:cNvPr id="100" name="Footnote">
            <a:extLst>
              <a:ext uri="{FF2B5EF4-FFF2-40B4-BE49-F238E27FC236}">
                <a16:creationId xmlns:a16="http://schemas.microsoft.com/office/drawing/2014/main" id="{6797901A-74D0-49F5-B69A-D3AF7774E1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998" b="0"/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>
            <a:lvl1pPr rtl="0">
              <a:lnSpc>
                <a:spcPct val="100000"/>
              </a:lnSpc>
              <a:defRPr/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102" name="Siemens Healthineers logo">
            <a:extLst>
              <a:ext uri="{FF2B5EF4-FFF2-40B4-BE49-F238E27FC236}">
                <a16:creationId xmlns:a16="http://schemas.microsoft.com/office/drawing/2014/main" id="{F754266B-32E9-4BFB-AAFC-1B55BA50D3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71411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B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F16E647-D546-8C60-F0C0-C347B853F2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82987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F16E647-D546-8C60-F0C0-C347B853F2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1479600" y="1623599"/>
            <a:ext cx="8271403" cy="4572000"/>
          </a:xfrm>
        </p:spPr>
        <p:txBody>
          <a:bodyPr/>
          <a:lstStyle>
            <a:lvl1pPr rtl="0">
              <a:lnSpc>
                <a:spcPct val="85000"/>
              </a:lnSpc>
              <a:defRPr sz="4791" b="0" i="1" baseline="0"/>
            </a:lvl1pPr>
            <a:lvl2pPr rtl="0">
              <a:lnSpc>
                <a:spcPct val="100000"/>
              </a:lnSpc>
              <a:spcBef>
                <a:spcPts val="2196"/>
              </a:spcBef>
              <a:defRPr sz="1397"/>
            </a:lvl2pPr>
          </a:lstStyle>
          <a:p>
            <a:pPr lvl="0"/>
            <a:r>
              <a:rPr lang="de-DE" noProof="0"/>
              <a:t>Quote Calibri Italic 48 pt</a:t>
            </a:r>
          </a:p>
          <a:p>
            <a:pPr lvl="1"/>
            <a:r>
              <a:rPr lang="de-DE" noProof="0"/>
              <a:t>Subline Calibri 14 pt</a:t>
            </a:r>
          </a:p>
        </p:txBody>
      </p:sp>
      <p:sp>
        <p:nvSpPr>
          <p:cNvPr id="166" name="Footnote">
            <a:extLst>
              <a:ext uri="{FF2B5EF4-FFF2-40B4-BE49-F238E27FC236}">
                <a16:creationId xmlns:a16="http://schemas.microsoft.com/office/drawing/2014/main" id="{1D9962D9-4193-4A78-8426-8B6D0B25AC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998" b="0"/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>
            <a:lvl1pPr rtl="0">
              <a:defRPr/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168" name="Siemens Healthineers logo">
            <a:extLst>
              <a:ext uri="{FF2B5EF4-FFF2-40B4-BE49-F238E27FC236}">
                <a16:creationId xmlns:a16="http://schemas.microsoft.com/office/drawing/2014/main" id="{51774F67-5207-4A19-A451-8F2F81E1B70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5998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55B854E-4FF2-384C-9360-7A8E775BD5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4976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55B854E-4FF2-384C-9360-7A8E775BD5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1476374" y="1623600"/>
            <a:ext cx="7336347" cy="1224000"/>
          </a:xfrm>
        </p:spPr>
        <p:txBody>
          <a:bodyPr vert="horz" lIns="0" tIns="0" rIns="0" bIns="0" anchor="b" anchorCtr="0">
            <a:noAutofit/>
          </a:bodyPr>
          <a:lstStyle>
            <a:lvl1pPr algn="l" rtl="0"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/>
              <a:t>ETIAM sit atmet</a:t>
            </a:r>
            <a:endParaRPr lang="de-DE" noProof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1476374" y="3009329"/>
            <a:ext cx="7337425" cy="166131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Headline </a:t>
            </a:r>
            <a:br>
              <a:rPr lang="de-DE"/>
            </a:br>
            <a:r>
              <a:rPr lang="de-DE"/>
              <a:t>Calibri Bold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1000">
                <a:solidFill>
                  <a:schemeClr val="tx1"/>
                </a:solidFill>
              </a:defRPr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13" name="Siemens Healthineers logo">
            <a:extLst>
              <a:ext uri="{FF2B5EF4-FFF2-40B4-BE49-F238E27FC236}">
                <a16:creationId xmlns:a16="http://schemas.microsoft.com/office/drawing/2014/main" id="{72B2F2CC-04D6-480A-9038-E43A3647321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81126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C - Author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2C72E08-6DF1-D87B-D5E7-E52876EAF8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347576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2C72E08-6DF1-D87B-D5E7-E52876EAF8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">
            <a:extLst>
              <a:ext uri="{FF2B5EF4-FFF2-40B4-BE49-F238E27FC236}">
                <a16:creationId xmlns:a16="http://schemas.microsoft.com/office/drawing/2014/main" id="{5A6CD612-171C-4905-9B87-E8BEEE4700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479598" y="1623599"/>
            <a:ext cx="1512000" cy="1944000"/>
          </a:xfrm>
        </p:spPr>
        <p:txBody>
          <a:bodyPr lIns="180000" tIns="180000" rIns="180000" bIns="180000"/>
          <a:lstStyle>
            <a:lvl1pPr rtl="0">
              <a:defRPr/>
            </a:lvl1pPr>
          </a:lstStyle>
          <a:p>
            <a:r>
              <a:rPr lang="de-DE"/>
              <a:t>Add a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3359151" y="1623599"/>
            <a:ext cx="6391852" cy="4572000"/>
          </a:xfrm>
        </p:spPr>
        <p:txBody>
          <a:bodyPr/>
          <a:lstStyle>
            <a:lvl1pPr rtl="0">
              <a:lnSpc>
                <a:spcPct val="85000"/>
              </a:lnSpc>
              <a:defRPr sz="3993" b="0" i="1" baseline="0"/>
            </a:lvl1pPr>
            <a:lvl2pPr rtl="0">
              <a:lnSpc>
                <a:spcPct val="100000"/>
              </a:lnSpc>
              <a:spcBef>
                <a:spcPts val="2196"/>
              </a:spcBef>
              <a:defRPr sz="1397"/>
            </a:lvl2pPr>
          </a:lstStyle>
          <a:p>
            <a:pPr lvl="0"/>
            <a:r>
              <a:rPr lang="de-DE" noProof="0"/>
              <a:t>Quote Calibri Italic 40 pt</a:t>
            </a:r>
          </a:p>
          <a:p>
            <a:pPr lvl="1"/>
            <a:r>
              <a:rPr lang="de-DE" noProof="0"/>
              <a:t>Subline Calibri 14 pt</a:t>
            </a:r>
          </a:p>
        </p:txBody>
      </p:sp>
      <p:sp>
        <p:nvSpPr>
          <p:cNvPr id="166" name="Footnote">
            <a:extLst>
              <a:ext uri="{FF2B5EF4-FFF2-40B4-BE49-F238E27FC236}">
                <a16:creationId xmlns:a16="http://schemas.microsoft.com/office/drawing/2014/main" id="{1D9962D9-4193-4A78-8426-8B6D0B25AC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998" b="0"/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>
            <a:lvl1pPr rtl="0">
              <a:defRPr/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167" name="Siemens Healthineers logo">
            <a:extLst>
              <a:ext uri="{FF2B5EF4-FFF2-40B4-BE49-F238E27FC236}">
                <a16:creationId xmlns:a16="http://schemas.microsoft.com/office/drawing/2014/main" id="{2DA2A2CE-361D-4EC3-B92E-CAD6A1146B0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77875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7A5C37F-DAA4-F291-690C-4624A532C7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981381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7A5C37F-DAA4-F291-690C-4624A532C7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le Calibri Bold 28 pt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998" b="0"/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lnSpc>
                <a:spcPct val="100000"/>
              </a:lnSpc>
              <a:defRPr/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10" name="Siemens Healthineers logo">
            <a:extLst>
              <a:ext uri="{FF2B5EF4-FFF2-40B4-BE49-F238E27FC236}">
                <a16:creationId xmlns:a16="http://schemas.microsoft.com/office/drawing/2014/main" id="{05ECFCCA-E67E-4951-9242-12B3C9F71F1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5307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det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0006750-60C3-FF68-7871-54A71FAB2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395275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0006750-60C3-FF68-7871-54A71FAB2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le Calibri Bold 28 pt</a:t>
            </a:r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3063240" y="1623600"/>
            <a:ext cx="6223000" cy="5238000"/>
          </a:xfrm>
        </p:spPr>
        <p:txBody>
          <a:bodyPr lIns="180000" tIns="180000" rIns="180000" bIns="180000"/>
          <a:lstStyle>
            <a:lvl1pPr rtl="0">
              <a:defRPr b="1"/>
            </a:lvl1pPr>
          </a:lstStyle>
          <a:p>
            <a:r>
              <a:rPr lang="de-DE" noProof="0"/>
              <a:t>Add a </a:t>
            </a:r>
            <a:r>
              <a:rPr lang="de-DE" noProof="0" err="1"/>
              <a:t>product</a:t>
            </a:r>
            <a:r>
              <a:rPr lang="de-DE" noProof="0"/>
              <a:t> </a:t>
            </a:r>
            <a:r>
              <a:rPr lang="de-DE" noProof="0" err="1"/>
              <a:t>picture</a:t>
            </a:r>
            <a:endParaRPr lang="de-DE" noProof="0"/>
          </a:p>
        </p:txBody>
      </p:sp>
      <p:sp>
        <p:nvSpPr>
          <p:cNvPr id="14" name="Product detail 1"/>
          <p:cNvSpPr>
            <a:spLocks noGrp="1"/>
          </p:cNvSpPr>
          <p:nvPr>
            <p:ph type="body" sz="quarter" idx="26" hasCustomPrompt="1"/>
          </p:nvPr>
        </p:nvSpPr>
        <p:spPr>
          <a:xfrm>
            <a:off x="900000" y="2212094"/>
            <a:ext cx="2160000" cy="828000"/>
          </a:xfrm>
        </p:spPr>
        <p:txBody>
          <a:bodyPr/>
          <a:lstStyle>
            <a:lvl1pPr rtl="0">
              <a:lnSpc>
                <a:spcPct val="100000"/>
              </a:lnSpc>
              <a:defRPr sz="1397">
                <a:solidFill>
                  <a:schemeClr val="tx1"/>
                </a:solidFill>
              </a:defRPr>
            </a:lvl1pPr>
            <a:lvl2pPr rtl="0">
              <a:lnSpc>
                <a:spcPct val="100000"/>
              </a:lnSpc>
              <a:defRPr sz="1397">
                <a:solidFill>
                  <a:schemeClr val="tx1"/>
                </a:solidFill>
              </a:defRPr>
            </a:lvl2pPr>
            <a:lvl3pPr marL="143741" marR="0" indent="-143741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397"/>
            </a:lvl3pPr>
            <a:lvl4pPr marL="264636" indent="26939">
              <a:defRPr sz="1397"/>
            </a:lvl4pPr>
          </a:lstStyle>
          <a:p>
            <a:pPr lvl="0"/>
            <a:r>
              <a:rPr lang="de-DE" noProof="0"/>
              <a:t>Headline Calibri Bold 14 pt</a:t>
            </a:r>
          </a:p>
          <a:p>
            <a:pPr lvl="1"/>
            <a:r>
              <a:rPr lang="de-DE" noProof="0"/>
              <a:t>Text Calibri 14 pt</a:t>
            </a:r>
          </a:p>
          <a:p>
            <a:pPr lvl="2"/>
            <a:r>
              <a:rPr lang="de-DE" noProof="0"/>
              <a:t>Text Calibri 14 pt</a:t>
            </a:r>
          </a:p>
        </p:txBody>
      </p:sp>
      <p:sp>
        <p:nvSpPr>
          <p:cNvPr id="15" name="Product detail 2"/>
          <p:cNvSpPr>
            <a:spLocks noGrp="1"/>
          </p:cNvSpPr>
          <p:nvPr>
            <p:ph type="body" sz="quarter" idx="27" hasCustomPrompt="1"/>
          </p:nvPr>
        </p:nvSpPr>
        <p:spPr>
          <a:xfrm>
            <a:off x="900000" y="3392894"/>
            <a:ext cx="2160000" cy="828000"/>
          </a:xfrm>
        </p:spPr>
        <p:txBody>
          <a:bodyPr/>
          <a:lstStyle>
            <a:lvl1pPr rtl="0">
              <a:lnSpc>
                <a:spcPct val="100000"/>
              </a:lnSpc>
              <a:defRPr sz="1397">
                <a:solidFill>
                  <a:schemeClr val="tx1"/>
                </a:solidFill>
              </a:defRPr>
            </a:lvl1pPr>
            <a:lvl2pPr rtl="0">
              <a:lnSpc>
                <a:spcPct val="100000"/>
              </a:lnSpc>
              <a:defRPr sz="1397">
                <a:solidFill>
                  <a:schemeClr val="tx1"/>
                </a:solidFill>
              </a:defRPr>
            </a:lvl2pPr>
            <a:lvl3pPr marL="143741" indent="-143741" rtl="0">
              <a:defRPr sz="1397"/>
            </a:lvl3pPr>
          </a:lstStyle>
          <a:p>
            <a:pPr lvl="0"/>
            <a:r>
              <a:rPr lang="de-DE" noProof="0"/>
              <a:t>Headline Calibri Bold 14 pt</a:t>
            </a:r>
          </a:p>
          <a:p>
            <a:pPr lvl="1"/>
            <a:r>
              <a:rPr lang="de-DE" noProof="0"/>
              <a:t>Text Calibri 14 pt</a:t>
            </a:r>
          </a:p>
          <a:p>
            <a:pPr lvl="2"/>
            <a:r>
              <a:rPr lang="de-DE" noProof="0"/>
              <a:t>Text Calibri 14 pt</a:t>
            </a:r>
          </a:p>
        </p:txBody>
      </p:sp>
      <p:sp>
        <p:nvSpPr>
          <p:cNvPr id="18" name="Product detail 3"/>
          <p:cNvSpPr>
            <a:spLocks noGrp="1"/>
          </p:cNvSpPr>
          <p:nvPr>
            <p:ph type="body" sz="quarter" idx="28" hasCustomPrompt="1"/>
          </p:nvPr>
        </p:nvSpPr>
        <p:spPr>
          <a:xfrm>
            <a:off x="900000" y="4573694"/>
            <a:ext cx="2160000" cy="828000"/>
          </a:xfrm>
        </p:spPr>
        <p:txBody>
          <a:bodyPr/>
          <a:lstStyle>
            <a:lvl1pPr rtl="0">
              <a:lnSpc>
                <a:spcPct val="100000"/>
              </a:lnSpc>
              <a:defRPr sz="1397">
                <a:solidFill>
                  <a:schemeClr val="tx1"/>
                </a:solidFill>
              </a:defRPr>
            </a:lvl1pPr>
            <a:lvl2pPr rtl="0">
              <a:lnSpc>
                <a:spcPct val="100000"/>
              </a:lnSpc>
              <a:defRPr sz="1397">
                <a:solidFill>
                  <a:schemeClr val="tx1"/>
                </a:solidFill>
              </a:defRPr>
            </a:lvl2pPr>
            <a:lvl3pPr marL="143741" indent="-143741" rtl="0">
              <a:defRPr sz="1397"/>
            </a:lvl3pPr>
          </a:lstStyle>
          <a:p>
            <a:pPr lvl="0"/>
            <a:r>
              <a:rPr lang="de-DE" noProof="0"/>
              <a:t>Headline Calibri Bold 14 pt</a:t>
            </a:r>
          </a:p>
          <a:p>
            <a:pPr lvl="1"/>
            <a:r>
              <a:rPr lang="de-DE" noProof="0"/>
              <a:t>Text Calibri 14 pt</a:t>
            </a:r>
          </a:p>
          <a:p>
            <a:pPr lvl="2"/>
            <a:r>
              <a:rPr lang="de-DE" noProof="0"/>
              <a:t>Text Calibri 14 pt</a:t>
            </a:r>
          </a:p>
        </p:txBody>
      </p:sp>
      <p:sp>
        <p:nvSpPr>
          <p:cNvPr id="23" name="Product detail 4"/>
          <p:cNvSpPr>
            <a:spLocks noGrp="1"/>
          </p:cNvSpPr>
          <p:nvPr>
            <p:ph type="body" sz="quarter" idx="16" hasCustomPrompt="1"/>
          </p:nvPr>
        </p:nvSpPr>
        <p:spPr>
          <a:xfrm>
            <a:off x="9288000" y="2802494"/>
            <a:ext cx="2160000" cy="828000"/>
          </a:xfrm>
        </p:spPr>
        <p:txBody>
          <a:bodyPr/>
          <a:lstStyle>
            <a:lvl1pPr rtl="0">
              <a:lnSpc>
                <a:spcPct val="100000"/>
              </a:lnSpc>
              <a:defRPr sz="1397">
                <a:solidFill>
                  <a:schemeClr val="tx1"/>
                </a:solidFill>
              </a:defRPr>
            </a:lvl1pPr>
            <a:lvl2pPr rtl="0">
              <a:lnSpc>
                <a:spcPct val="100000"/>
              </a:lnSpc>
              <a:defRPr sz="1397">
                <a:solidFill>
                  <a:schemeClr val="tx1"/>
                </a:solidFill>
              </a:defRPr>
            </a:lvl2pPr>
            <a:lvl3pPr marL="143741" indent="-143741" rtl="0">
              <a:defRPr sz="1397"/>
            </a:lvl3pPr>
          </a:lstStyle>
          <a:p>
            <a:pPr lvl="0"/>
            <a:r>
              <a:rPr lang="de-DE" noProof="0"/>
              <a:t>Headline Calibri Bold 14 pt</a:t>
            </a:r>
          </a:p>
          <a:p>
            <a:pPr lvl="1"/>
            <a:r>
              <a:rPr lang="de-DE" noProof="0"/>
              <a:t>Text Calibri 14 pt</a:t>
            </a:r>
          </a:p>
          <a:p>
            <a:pPr lvl="2"/>
            <a:r>
              <a:rPr lang="de-DE" noProof="0"/>
              <a:t>Text Calibri 14 pt</a:t>
            </a:r>
          </a:p>
        </p:txBody>
      </p:sp>
      <p:sp>
        <p:nvSpPr>
          <p:cNvPr id="27" name="Product detail 5"/>
          <p:cNvSpPr>
            <a:spLocks noGrp="1"/>
          </p:cNvSpPr>
          <p:nvPr>
            <p:ph type="body" sz="quarter" idx="25" hasCustomPrompt="1"/>
          </p:nvPr>
        </p:nvSpPr>
        <p:spPr>
          <a:xfrm>
            <a:off x="9288000" y="3983294"/>
            <a:ext cx="2160000" cy="828000"/>
          </a:xfrm>
        </p:spPr>
        <p:txBody>
          <a:bodyPr/>
          <a:lstStyle>
            <a:lvl1pPr rtl="0">
              <a:lnSpc>
                <a:spcPct val="100000"/>
              </a:lnSpc>
              <a:defRPr sz="1397">
                <a:solidFill>
                  <a:schemeClr val="tx1"/>
                </a:solidFill>
              </a:defRPr>
            </a:lvl1pPr>
            <a:lvl2pPr rtl="0">
              <a:lnSpc>
                <a:spcPct val="100000"/>
              </a:lnSpc>
              <a:defRPr sz="1397">
                <a:solidFill>
                  <a:schemeClr val="tx1"/>
                </a:solidFill>
              </a:defRPr>
            </a:lvl2pPr>
            <a:lvl3pPr marL="143741" indent="-143741" rtl="0">
              <a:defRPr sz="1397"/>
            </a:lvl3pPr>
          </a:lstStyle>
          <a:p>
            <a:pPr lvl="0"/>
            <a:r>
              <a:rPr lang="de-DE" noProof="0"/>
              <a:t>Headline Calibri Bold 14 pt</a:t>
            </a:r>
          </a:p>
          <a:p>
            <a:pPr lvl="1"/>
            <a:r>
              <a:rPr lang="de-DE" noProof="0"/>
              <a:t>Text Calibri 14 pt</a:t>
            </a:r>
          </a:p>
          <a:p>
            <a:pPr lvl="2"/>
            <a:r>
              <a:rPr lang="de-DE" noProof="0"/>
              <a:t>Text Calibri 14 pt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998" b="0"/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 rtl="0">
              <a:lnSpc>
                <a:spcPct val="100000"/>
              </a:lnSpc>
              <a:defRPr/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22" name="Siemens Healthineers logo">
            <a:extLst>
              <a:ext uri="{FF2B5EF4-FFF2-40B4-BE49-F238E27FC236}">
                <a16:creationId xmlns:a16="http://schemas.microsoft.com/office/drawing/2014/main" id="{57AE67C3-A035-4D77-A3D4-AC7D74AD312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64810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0A741C2-9F84-AE9A-DA35-8CB99541AA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82715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0A741C2-9F84-AE9A-DA35-8CB99541A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rey cover"/>
          <p:cNvSpPr/>
          <p:nvPr userDrawn="1"/>
        </p:nvSpPr>
        <p:spPr bwMode="auto">
          <a:xfrm>
            <a:off x="1" y="0"/>
            <a:ext cx="6000750" cy="685800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sz="1797"/>
          </a:p>
        </p:txBody>
      </p:sp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40001" y="219601"/>
            <a:ext cx="4697163" cy="8329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le Calibri Bold 28 pt</a:t>
            </a:r>
            <a:endParaRPr lang="de-DE"/>
          </a:p>
        </p:txBody>
      </p:sp>
      <p:sp>
        <p:nvSpPr>
          <p:cNvPr id="6" name="Diagram"/>
          <p:cNvSpPr>
            <a:spLocks noGrp="1"/>
          </p:cNvSpPr>
          <p:nvPr>
            <p:ph type="chart" sz="quarter" idx="18" hasCustomPrompt="1"/>
          </p:nvPr>
        </p:nvSpPr>
        <p:spPr>
          <a:xfrm>
            <a:off x="1" y="1623600"/>
            <a:ext cx="6000750" cy="4572000"/>
          </a:xfrm>
        </p:spPr>
        <p:txBody>
          <a:bodyPr lIns="180000" tIns="180000" rIns="180000" bIns="180000"/>
          <a:lstStyle>
            <a:lvl1pPr rtl="0">
              <a:defRPr b="1"/>
            </a:lvl1pPr>
          </a:lstStyle>
          <a:p>
            <a:r>
              <a:rPr lang="de-DE" noProof="0"/>
              <a:t>Add a </a:t>
            </a:r>
            <a:r>
              <a:rPr lang="de-DE" noProof="0" err="1"/>
              <a:t>diagram</a:t>
            </a:r>
            <a:endParaRPr lang="de-DE" noProof="0"/>
          </a:p>
        </p:txBody>
      </p:sp>
      <p:sp>
        <p:nvSpPr>
          <p:cNvPr id="7" name="Content">
            <a:extLst>
              <a:ext uri="{FF2B5EF4-FFF2-40B4-BE49-F238E27FC236}">
                <a16:creationId xmlns:a16="http://schemas.microsoft.com/office/drawing/2014/main" id="{2BF4AC8F-F597-45E5-8DEC-DEB931D9DAF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572250" y="2263139"/>
            <a:ext cx="5058000" cy="39312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998" b="0"/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lnSpc>
                <a:spcPct val="100000"/>
              </a:lnSpc>
              <a:defRPr/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5C7CC333-5A2B-46AC-8B83-498F30AB826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55999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nical Pictures, Title/Content/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8F8215C-0CC9-8A27-BC55-DC98114269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22753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8F8215C-0CC9-8A27-BC55-DC98114269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39999" y="219601"/>
            <a:ext cx="9212400" cy="8329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le Calibri Bold 28 pt</a:t>
            </a:r>
            <a:endParaRPr lang="de-DE"/>
          </a:p>
        </p:txBody>
      </p:sp>
      <p:sp>
        <p:nvSpPr>
          <p:cNvPr id="10" name="Content">
            <a:extLst>
              <a:ext uri="{FF2B5EF4-FFF2-40B4-BE49-F238E27FC236}">
                <a16:creationId xmlns:a16="http://schemas.microsoft.com/office/drawing/2014/main" id="{9F588DA8-B417-4AA8-9930-A6744CC61E9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40001" y="1619252"/>
            <a:ext cx="5635375" cy="4573863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buClrTx/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52C62DF1-15C2-4184-A4A8-1D85A6A7CF0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115175" y="1619250"/>
            <a:ext cx="4513262" cy="4573588"/>
          </a:xfrm>
        </p:spPr>
        <p:txBody>
          <a:bodyPr lIns="180000" tIns="180000" rIns="180000" bIns="18000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d a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998" b="0">
                <a:solidFill>
                  <a:schemeClr val="bg1"/>
                </a:solidFill>
              </a:defRPr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sp>
        <p:nvSpPr>
          <p:cNvPr id="101" name="Restricted"/>
          <p:cNvSpPr txBox="1"/>
          <p:nvPr userDrawn="1"/>
        </p:nvSpPr>
        <p:spPr>
          <a:xfrm>
            <a:off x="8054976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>
              <a:lnSpc>
                <a:spcPct val="100000"/>
              </a:lnSpc>
            </a:pPr>
            <a:r>
              <a:rPr lang="de-DE" sz="998">
                <a:solidFill>
                  <a:schemeClr val="bg1"/>
                </a:solidFill>
              </a:rPr>
              <a:t>Intern © Siemens Healthineers, 2023</a:t>
            </a:r>
          </a:p>
        </p:txBody>
      </p:sp>
      <p:pic>
        <p:nvPicPr>
          <p:cNvPr id="108" name="Siemens Healthineers logo">
            <a:extLst>
              <a:ext uri="{FF2B5EF4-FFF2-40B4-BE49-F238E27FC236}">
                <a16:creationId xmlns:a16="http://schemas.microsoft.com/office/drawing/2014/main" id="{418176E0-4F12-4F90-92BB-288ECE13FFA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4505" y="281267"/>
            <a:ext cx="1450797" cy="34588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84CCA68-ECFB-4738-8888-BCE166E98278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998" b="1" i="0" u="none" kern="1200" spc="0" smtClean="0">
                <a:solidFill>
                  <a:schemeClr val="bg1"/>
                </a:solidFill>
                <a:latin typeface="Calibri" panose="020F0502020204030204" pitchFamily="34" charset="0"/>
              </a:rPr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998" b="1" i="0" u="none" kern="1200" spc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277761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linical Pictures, Title/Content/Pictur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12B63AD-5FA0-DF65-2ACB-92D6F3B9DE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201092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12B63AD-5FA0-DF65-2ACB-92D6F3B9DE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1" y="219601"/>
            <a:ext cx="9210425" cy="8329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le Calibri Bold 28 pt</a:t>
            </a:r>
          </a:p>
        </p:txBody>
      </p:sp>
      <p:sp>
        <p:nvSpPr>
          <p:cNvPr id="7" name="Content left column">
            <a:extLst>
              <a:ext uri="{FF2B5EF4-FFF2-40B4-BE49-F238E27FC236}">
                <a16:creationId xmlns:a16="http://schemas.microsoft.com/office/drawing/2014/main" id="{F3DE8C85-D5DE-48E2-BC87-EE21BFCB3F6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000" y="1623600"/>
            <a:ext cx="4514400" cy="4572000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4" name="Clinical image 1"/>
          <p:cNvSpPr>
            <a:spLocks noGrp="1"/>
          </p:cNvSpPr>
          <p:nvPr>
            <p:ph type="pic" sz="quarter" idx="18" hasCustomPrompt="1"/>
          </p:nvPr>
        </p:nvSpPr>
        <p:spPr bwMode="auto">
          <a:xfrm>
            <a:off x="6174000" y="1623600"/>
            <a:ext cx="2638800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 rtl="0">
              <a:defRPr b="1"/>
            </a:lvl1pPr>
          </a:lstStyle>
          <a:p>
            <a:r>
              <a:rPr lang="de-DE" noProof="0"/>
              <a:t>Add a </a:t>
            </a:r>
            <a:r>
              <a:rPr lang="de-DE" noProof="0" err="1"/>
              <a:t>picture</a:t>
            </a:r>
            <a:endParaRPr lang="de-DE" noProof="0"/>
          </a:p>
        </p:txBody>
      </p:sp>
      <p:sp>
        <p:nvSpPr>
          <p:cNvPr id="5" name="Caption 1">
            <a:extLst>
              <a:ext uri="{FF2B5EF4-FFF2-40B4-BE49-F238E27FC236}">
                <a16:creationId xmlns:a16="http://schemas.microsoft.com/office/drawing/2014/main" id="{A4D87FDD-062F-49D8-809F-5741C82145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75375" y="3502800"/>
            <a:ext cx="2642400" cy="331200"/>
          </a:xfrm>
        </p:spPr>
        <p:txBody>
          <a:bodyPr tIns="36000"/>
          <a:lstStyle>
            <a:lvl1pPr rtl="0">
              <a:defRPr sz="1397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Text Calibri 14 pt</a:t>
            </a:r>
          </a:p>
        </p:txBody>
      </p:sp>
      <p:sp>
        <p:nvSpPr>
          <p:cNvPr id="14" name="Clinical image 2">
            <a:extLst>
              <a:ext uri="{FF2B5EF4-FFF2-40B4-BE49-F238E27FC236}">
                <a16:creationId xmlns:a16="http://schemas.microsoft.com/office/drawing/2014/main" id="{1B6A89FF-0093-42D5-A01F-9F38E6EAE9A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989201" y="1623600"/>
            <a:ext cx="2638800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 rtl="0">
              <a:defRPr b="1"/>
            </a:lvl1pPr>
          </a:lstStyle>
          <a:p>
            <a:r>
              <a:rPr lang="de-DE" noProof="0"/>
              <a:t>Add a </a:t>
            </a:r>
            <a:r>
              <a:rPr lang="de-DE" noProof="0" err="1"/>
              <a:t>picture</a:t>
            </a:r>
            <a:endParaRPr lang="de-DE" noProof="0"/>
          </a:p>
        </p:txBody>
      </p:sp>
      <p:sp>
        <p:nvSpPr>
          <p:cNvPr id="24" name="Caption 2">
            <a:extLst>
              <a:ext uri="{FF2B5EF4-FFF2-40B4-BE49-F238E27FC236}">
                <a16:creationId xmlns:a16="http://schemas.microsoft.com/office/drawing/2014/main" id="{650FABFD-7068-4DE9-976C-84AD6DB2DF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85600" y="3502800"/>
            <a:ext cx="2642400" cy="331200"/>
          </a:xfrm>
        </p:spPr>
        <p:txBody>
          <a:bodyPr tIns="36000"/>
          <a:lstStyle>
            <a:lvl1pPr rtl="0">
              <a:defRPr sz="1397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Text Calibri 14 pt</a:t>
            </a:r>
          </a:p>
        </p:txBody>
      </p:sp>
      <p:sp>
        <p:nvSpPr>
          <p:cNvPr id="15" name="Clinical image 3">
            <a:extLst>
              <a:ext uri="{FF2B5EF4-FFF2-40B4-BE49-F238E27FC236}">
                <a16:creationId xmlns:a16="http://schemas.microsoft.com/office/drawing/2014/main" id="{0FB77AF6-1131-46EA-A876-D52D6E453D8C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174000" y="3981600"/>
            <a:ext cx="2638800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 rtl="0">
              <a:defRPr b="1"/>
            </a:lvl1pPr>
          </a:lstStyle>
          <a:p>
            <a:r>
              <a:rPr lang="de-DE" noProof="0"/>
              <a:t>Add a </a:t>
            </a:r>
            <a:r>
              <a:rPr lang="de-DE" noProof="0" err="1"/>
              <a:t>picture</a:t>
            </a:r>
            <a:endParaRPr lang="de-DE" noProof="0"/>
          </a:p>
        </p:txBody>
      </p:sp>
      <p:sp>
        <p:nvSpPr>
          <p:cNvPr id="25" name="Caption 3">
            <a:extLst>
              <a:ext uri="{FF2B5EF4-FFF2-40B4-BE49-F238E27FC236}">
                <a16:creationId xmlns:a16="http://schemas.microsoft.com/office/drawing/2014/main" id="{122681D0-1733-4184-8DE3-4F7818D7DE5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75375" y="5860800"/>
            <a:ext cx="2642400" cy="331200"/>
          </a:xfrm>
        </p:spPr>
        <p:txBody>
          <a:bodyPr tIns="36000"/>
          <a:lstStyle>
            <a:lvl1pPr rtl="0">
              <a:defRPr sz="1397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Text Calibri 14 pt</a:t>
            </a:r>
          </a:p>
        </p:txBody>
      </p:sp>
      <p:sp>
        <p:nvSpPr>
          <p:cNvPr id="17" name="Clinical image 4">
            <a:extLst>
              <a:ext uri="{FF2B5EF4-FFF2-40B4-BE49-F238E27FC236}">
                <a16:creationId xmlns:a16="http://schemas.microsoft.com/office/drawing/2014/main" id="{45149F5E-90E9-4952-A69E-9F6C567BF48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989201" y="3981600"/>
            <a:ext cx="2638800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 rtl="0">
              <a:defRPr b="1"/>
            </a:lvl1pPr>
          </a:lstStyle>
          <a:p>
            <a:r>
              <a:rPr lang="de-DE" noProof="0"/>
              <a:t>Add a </a:t>
            </a:r>
            <a:r>
              <a:rPr lang="de-DE" noProof="0" err="1"/>
              <a:t>picture</a:t>
            </a:r>
            <a:endParaRPr lang="de-DE" noProof="0"/>
          </a:p>
        </p:txBody>
      </p:sp>
      <p:sp>
        <p:nvSpPr>
          <p:cNvPr id="26" name="Caption 4">
            <a:extLst>
              <a:ext uri="{FF2B5EF4-FFF2-40B4-BE49-F238E27FC236}">
                <a16:creationId xmlns:a16="http://schemas.microsoft.com/office/drawing/2014/main" id="{868D25E9-432A-40D3-8673-17F684EC8D1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85600" y="5860800"/>
            <a:ext cx="2642400" cy="331200"/>
          </a:xfrm>
        </p:spPr>
        <p:txBody>
          <a:bodyPr tIns="36000"/>
          <a:lstStyle>
            <a:lvl1pPr rtl="0">
              <a:defRPr sz="1397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Text Calibri 14 pt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998" b="0">
                <a:solidFill>
                  <a:schemeClr val="bg1"/>
                </a:solidFill>
              </a:defRPr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sp>
        <p:nvSpPr>
          <p:cNvPr id="22" name="Restricted">
            <a:extLst>
              <a:ext uri="{FF2B5EF4-FFF2-40B4-BE49-F238E27FC236}">
                <a16:creationId xmlns:a16="http://schemas.microsoft.com/office/drawing/2014/main" id="{42452E35-28FF-43F0-BAA1-0E6FD1DE3EED}"/>
              </a:ext>
            </a:extLst>
          </p:cNvPr>
          <p:cNvSpPr txBox="1"/>
          <p:nvPr userDrawn="1"/>
        </p:nvSpPr>
        <p:spPr>
          <a:xfrm>
            <a:off x="8054976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>
              <a:lnSpc>
                <a:spcPct val="100000"/>
              </a:lnSpc>
            </a:pPr>
            <a:r>
              <a:rPr lang="de-DE" sz="998">
                <a:solidFill>
                  <a:schemeClr val="bg1"/>
                </a:solidFill>
              </a:rPr>
              <a:t>Restricted © Siemens Healthineers, 2019</a:t>
            </a:r>
          </a:p>
        </p:txBody>
      </p:sp>
      <p:pic>
        <p:nvPicPr>
          <p:cNvPr id="20" name="Siemens Healthineers logo">
            <a:extLst>
              <a:ext uri="{FF2B5EF4-FFF2-40B4-BE49-F238E27FC236}">
                <a16:creationId xmlns:a16="http://schemas.microsoft.com/office/drawing/2014/main" id="{BC2F1249-80CB-4DEF-AB9A-3694F6FE173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44505" y="281267"/>
            <a:ext cx="1450797" cy="34588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60FE2AC-E3F6-4795-9F40-E557323AE6B9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998" b="1" i="0" u="none" kern="1200" spc="0" smtClean="0">
                <a:solidFill>
                  <a:schemeClr val="bg1"/>
                </a:solidFill>
                <a:latin typeface="Calibri" panose="020F0502020204030204" pitchFamily="34" charset="0"/>
              </a:rPr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998" b="1" i="0" u="none" kern="1200" spc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98984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363D7F8-BE96-0E5B-7526-5328A27156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051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363D7F8-BE96-0E5B-7526-5328A27156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Headline"/>
          <p:cNvSpPr>
            <a:spLocks noGrp="1"/>
          </p:cNvSpPr>
          <p:nvPr>
            <p:ph type="title" hasCustomPrompt="1"/>
          </p:nvPr>
        </p:nvSpPr>
        <p:spPr>
          <a:xfrm>
            <a:off x="540001" y="219601"/>
            <a:ext cx="6575175" cy="8329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le Calibri Bold 28 pt</a:t>
            </a:r>
            <a:endParaRPr lang="de-DE"/>
          </a:p>
        </p:txBody>
      </p:sp>
      <p:sp>
        <p:nvSpPr>
          <p:cNvPr id="6" name="Content left">
            <a:extLst>
              <a:ext uri="{FF2B5EF4-FFF2-40B4-BE49-F238E27FC236}">
                <a16:creationId xmlns:a16="http://schemas.microsoft.com/office/drawing/2014/main" id="{B8F2235E-1561-4540-BBA6-ED3314518FCA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237163" y="1620000"/>
            <a:ext cx="4518000" cy="2520000"/>
          </a:xfrm>
        </p:spPr>
        <p:txBody>
          <a:bodyPr tIns="144000" bIns="144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/>
              <a:t>Headline Calibri Bold 16 pt</a:t>
            </a:r>
          </a:p>
          <a:p>
            <a:pPr lvl="1"/>
            <a:r>
              <a:rPr lang="de-DE" noProof="0"/>
              <a:t>Text Calibri 16 pt</a:t>
            </a:r>
          </a:p>
          <a:p>
            <a:pPr lvl="2"/>
            <a:r>
              <a:rPr lang="de-DE" noProof="0"/>
              <a:t>Text Calibri 16 pt</a:t>
            </a:r>
          </a:p>
          <a:p>
            <a:pPr lvl="3"/>
            <a:r>
              <a:rPr lang="de-DE" noProof="0"/>
              <a:t>Text Calibri 16 pt</a:t>
            </a:r>
          </a:p>
          <a:p>
            <a:pPr lvl="4"/>
            <a:r>
              <a:rPr lang="de-DE" noProof="0"/>
              <a:t>Text Calibri 16 pt</a:t>
            </a:r>
          </a:p>
          <a:p>
            <a:pPr lvl="5"/>
            <a:r>
              <a:rPr lang="de-DE" noProof="0"/>
              <a:t>Text Calibri 16 pt</a:t>
            </a:r>
          </a:p>
          <a:p>
            <a:pPr lvl="6"/>
            <a:r>
              <a:rPr lang="de-DE" noProof="0"/>
              <a:t>Text Calibri 16 pt</a:t>
            </a:r>
          </a:p>
          <a:p>
            <a:pPr lvl="7"/>
            <a:r>
              <a:rPr lang="de-DE" noProof="0"/>
              <a:t>Text Calibri 16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11" name="Content right">
            <a:extLst>
              <a:ext uri="{FF2B5EF4-FFF2-40B4-BE49-F238E27FC236}">
                <a16:creationId xmlns:a16="http://schemas.microsoft.com/office/drawing/2014/main" id="{0FB035AA-D8D6-455D-B8AF-CD2D66504C31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540000" y="1620000"/>
            <a:ext cx="4518000" cy="2520000"/>
          </a:xfrm>
        </p:spPr>
        <p:txBody>
          <a:bodyPr tIns="144000" bIns="144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/>
              <a:t>Headline Calibri Bold 16 pt</a:t>
            </a:r>
          </a:p>
          <a:p>
            <a:pPr lvl="1"/>
            <a:r>
              <a:rPr lang="de-DE" noProof="0"/>
              <a:t>Text Calibri 16 pt</a:t>
            </a:r>
          </a:p>
          <a:p>
            <a:pPr lvl="2"/>
            <a:r>
              <a:rPr lang="de-DE" noProof="0"/>
              <a:t>Text Calibri 16 pt</a:t>
            </a:r>
          </a:p>
          <a:p>
            <a:pPr lvl="3"/>
            <a:r>
              <a:rPr lang="de-DE" noProof="0"/>
              <a:t>Text Calibri 16 pt</a:t>
            </a:r>
          </a:p>
          <a:p>
            <a:pPr lvl="4"/>
            <a:r>
              <a:rPr lang="de-DE" noProof="0"/>
              <a:t>Text Calibri 16 pt</a:t>
            </a:r>
          </a:p>
          <a:p>
            <a:pPr lvl="5"/>
            <a:r>
              <a:rPr lang="de-DE" noProof="0"/>
              <a:t>Text Calibri 16 pt</a:t>
            </a:r>
          </a:p>
          <a:p>
            <a:pPr lvl="6"/>
            <a:r>
              <a:rPr lang="de-DE" noProof="0"/>
              <a:t>Text Calibri 16 pt</a:t>
            </a:r>
          </a:p>
          <a:p>
            <a:pPr lvl="7"/>
            <a:r>
              <a:rPr lang="de-DE" noProof="0"/>
              <a:t>Text Calibri 16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998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88" name="Siemens Healthineers logo">
            <a:extLst>
              <a:ext uri="{FF2B5EF4-FFF2-40B4-BE49-F238E27FC236}">
                <a16:creationId xmlns:a16="http://schemas.microsoft.com/office/drawing/2014/main" id="{B6178E59-1497-433B-BBC8-B4CC5BE3F26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487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EF0F022-FEB0-F7C9-DD95-EF80B49502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912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EF0F022-FEB0-F7C9-DD95-EF80B49502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1476374" y="1623600"/>
            <a:ext cx="7336347" cy="1224000"/>
          </a:xfrm>
        </p:spPr>
        <p:txBody>
          <a:bodyPr vert="horz" lIns="0" tIns="0" rIns="0" bIns="0" anchor="b" anchorCtr="0">
            <a:noAutofit/>
          </a:bodyPr>
          <a:lstStyle>
            <a:lvl1pPr algn="l" rtl="0">
              <a:defRPr sz="2600" b="1">
                <a:solidFill>
                  <a:schemeClr val="bg1"/>
                </a:solidFill>
              </a:defRPr>
            </a:lvl1pPr>
          </a:lstStyle>
          <a:p>
            <a:r>
              <a:rPr lang="de-DE"/>
              <a:t>ETIAM sit atmet</a:t>
            </a:r>
            <a:endParaRPr lang="de-DE" noProof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1476374" y="3009329"/>
            <a:ext cx="7337425" cy="166131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Headline </a:t>
            </a:r>
            <a:br>
              <a:rPr lang="de-DE"/>
            </a:br>
            <a:r>
              <a:rPr lang="de-DE"/>
              <a:t>Calibri Bold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1000">
                <a:solidFill>
                  <a:schemeClr val="bg1"/>
                </a:solidFill>
              </a:defRPr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grpSp>
        <p:nvGrpSpPr>
          <p:cNvPr id="6" name="Marker">
            <a:extLst>
              <a:ext uri="{FF2B5EF4-FFF2-40B4-BE49-F238E27FC236}">
                <a16:creationId xmlns:a16="http://schemas.microsoft.com/office/drawing/2014/main" id="{FA350118-2CDB-4D1D-9A15-37265E9A2EBF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7" name="Gerade Verbindung 40">
              <a:extLst>
                <a:ext uri="{FF2B5EF4-FFF2-40B4-BE49-F238E27FC236}">
                  <a16:creationId xmlns:a16="http://schemas.microsoft.com/office/drawing/2014/main" id="{2DE56DF7-4A34-49CA-8A5F-7D4C0B163372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42">
              <a:extLst>
                <a:ext uri="{FF2B5EF4-FFF2-40B4-BE49-F238E27FC236}">
                  <a16:creationId xmlns:a16="http://schemas.microsoft.com/office/drawing/2014/main" id="{937BBF9E-AA5D-403C-9FB2-AAEFB06FFEE3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45">
              <a:extLst>
                <a:ext uri="{FF2B5EF4-FFF2-40B4-BE49-F238E27FC236}">
                  <a16:creationId xmlns:a16="http://schemas.microsoft.com/office/drawing/2014/main" id="{D439082A-D679-4369-A278-8783FE36FC88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46">
              <a:extLst>
                <a:ext uri="{FF2B5EF4-FFF2-40B4-BE49-F238E27FC236}">
                  <a16:creationId xmlns:a16="http://schemas.microsoft.com/office/drawing/2014/main" id="{C4350D87-ED91-4479-856D-5B8CF153BF5A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8">
              <a:extLst>
                <a:ext uri="{FF2B5EF4-FFF2-40B4-BE49-F238E27FC236}">
                  <a16:creationId xmlns:a16="http://schemas.microsoft.com/office/drawing/2014/main" id="{3372D79B-9023-42EF-90F8-2FE932BFEACB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9">
              <a:extLst>
                <a:ext uri="{FF2B5EF4-FFF2-40B4-BE49-F238E27FC236}">
                  <a16:creationId xmlns:a16="http://schemas.microsoft.com/office/drawing/2014/main" id="{ADF756B4-BC60-464D-B910-59F1A21C487A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51">
              <a:extLst>
                <a:ext uri="{FF2B5EF4-FFF2-40B4-BE49-F238E27FC236}">
                  <a16:creationId xmlns:a16="http://schemas.microsoft.com/office/drawing/2014/main" id="{400F1294-A6B4-481B-BC4B-5340D1E95067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2">
              <a:extLst>
                <a:ext uri="{FF2B5EF4-FFF2-40B4-BE49-F238E27FC236}">
                  <a16:creationId xmlns:a16="http://schemas.microsoft.com/office/drawing/2014/main" id="{23E74B0A-CD00-4236-A2F7-5DC1207B25F5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4">
              <a:extLst>
                <a:ext uri="{FF2B5EF4-FFF2-40B4-BE49-F238E27FC236}">
                  <a16:creationId xmlns:a16="http://schemas.microsoft.com/office/drawing/2014/main" id="{EF938F0C-85E0-4F8C-96E5-C76D4ADA6F87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5">
              <a:extLst>
                <a:ext uri="{FF2B5EF4-FFF2-40B4-BE49-F238E27FC236}">
                  <a16:creationId xmlns:a16="http://schemas.microsoft.com/office/drawing/2014/main" id="{5021DF1C-123F-449C-9299-CC4869A95FB3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7">
              <a:extLst>
                <a:ext uri="{FF2B5EF4-FFF2-40B4-BE49-F238E27FC236}">
                  <a16:creationId xmlns:a16="http://schemas.microsoft.com/office/drawing/2014/main" id="{FF2E8183-C487-4406-8220-0713AA070CE1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8">
              <a:extLst>
                <a:ext uri="{FF2B5EF4-FFF2-40B4-BE49-F238E27FC236}">
                  <a16:creationId xmlns:a16="http://schemas.microsoft.com/office/drawing/2014/main" id="{9BA794A9-5335-44A2-9352-A46BC3154597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60">
              <a:extLst>
                <a:ext uri="{FF2B5EF4-FFF2-40B4-BE49-F238E27FC236}">
                  <a16:creationId xmlns:a16="http://schemas.microsoft.com/office/drawing/2014/main" id="{3B7538EE-EDC1-4C4B-8293-82D92696FFAF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61">
              <a:extLst>
                <a:ext uri="{FF2B5EF4-FFF2-40B4-BE49-F238E27FC236}">
                  <a16:creationId xmlns:a16="http://schemas.microsoft.com/office/drawing/2014/main" id="{09D0298B-BF52-4871-B16B-C7E44CF93776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3">
              <a:extLst>
                <a:ext uri="{FF2B5EF4-FFF2-40B4-BE49-F238E27FC236}">
                  <a16:creationId xmlns:a16="http://schemas.microsoft.com/office/drawing/2014/main" id="{CC69E2A9-D6DD-44AC-9C39-8A5CB1637324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4">
              <a:extLst>
                <a:ext uri="{FF2B5EF4-FFF2-40B4-BE49-F238E27FC236}">
                  <a16:creationId xmlns:a16="http://schemas.microsoft.com/office/drawing/2014/main" id="{9A50B785-85B0-49D7-A557-C1CCEE41465D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6">
              <a:extLst>
                <a:ext uri="{FF2B5EF4-FFF2-40B4-BE49-F238E27FC236}">
                  <a16:creationId xmlns:a16="http://schemas.microsoft.com/office/drawing/2014/main" id="{5ED8BECE-8D2B-47F0-8F73-D5685D59E2C6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7">
              <a:extLst>
                <a:ext uri="{FF2B5EF4-FFF2-40B4-BE49-F238E27FC236}">
                  <a16:creationId xmlns:a16="http://schemas.microsoft.com/office/drawing/2014/main" id="{16717229-1AC8-40EF-B617-C15F28F5707A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9">
              <a:extLst>
                <a:ext uri="{FF2B5EF4-FFF2-40B4-BE49-F238E27FC236}">
                  <a16:creationId xmlns:a16="http://schemas.microsoft.com/office/drawing/2014/main" id="{649C8FF4-BB77-433B-B62A-BC2883677B8A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70">
              <a:extLst>
                <a:ext uri="{FF2B5EF4-FFF2-40B4-BE49-F238E27FC236}">
                  <a16:creationId xmlns:a16="http://schemas.microsoft.com/office/drawing/2014/main" id="{FFB8DF0A-45CE-4A09-8EE8-08E1D2B637A7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2">
              <a:extLst>
                <a:ext uri="{FF2B5EF4-FFF2-40B4-BE49-F238E27FC236}">
                  <a16:creationId xmlns:a16="http://schemas.microsoft.com/office/drawing/2014/main" id="{47C152F1-3453-4AF5-B4A9-6B3A2FBF38D7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3">
              <a:extLst>
                <a:ext uri="{FF2B5EF4-FFF2-40B4-BE49-F238E27FC236}">
                  <a16:creationId xmlns:a16="http://schemas.microsoft.com/office/drawing/2014/main" id="{F44E728D-41AC-46BF-AA01-9A3E7D3634E0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5">
              <a:extLst>
                <a:ext uri="{FF2B5EF4-FFF2-40B4-BE49-F238E27FC236}">
                  <a16:creationId xmlns:a16="http://schemas.microsoft.com/office/drawing/2014/main" id="{42EA3322-49A4-41D9-A9F4-2D1CDA2B9893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6">
              <a:extLst>
                <a:ext uri="{FF2B5EF4-FFF2-40B4-BE49-F238E27FC236}">
                  <a16:creationId xmlns:a16="http://schemas.microsoft.com/office/drawing/2014/main" id="{5583F9E5-85F6-46E0-9AC9-E2E6F9DBBB82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8">
              <a:extLst>
                <a:ext uri="{FF2B5EF4-FFF2-40B4-BE49-F238E27FC236}">
                  <a16:creationId xmlns:a16="http://schemas.microsoft.com/office/drawing/2014/main" id="{D3278E3D-27B0-4D12-8CA4-5447938671BF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9">
              <a:extLst>
                <a:ext uri="{FF2B5EF4-FFF2-40B4-BE49-F238E27FC236}">
                  <a16:creationId xmlns:a16="http://schemas.microsoft.com/office/drawing/2014/main" id="{FC5A0A42-E0CF-4330-B8DC-AB1DD0EE9B10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81">
              <a:extLst>
                <a:ext uri="{FF2B5EF4-FFF2-40B4-BE49-F238E27FC236}">
                  <a16:creationId xmlns:a16="http://schemas.microsoft.com/office/drawing/2014/main" id="{40CF86C5-4808-4064-B84F-CBEF9CB27EB1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2">
              <a:extLst>
                <a:ext uri="{FF2B5EF4-FFF2-40B4-BE49-F238E27FC236}">
                  <a16:creationId xmlns:a16="http://schemas.microsoft.com/office/drawing/2014/main" id="{A7AEA581-FF31-4D5E-939C-C708600BE27E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4">
              <a:extLst>
                <a:ext uri="{FF2B5EF4-FFF2-40B4-BE49-F238E27FC236}">
                  <a16:creationId xmlns:a16="http://schemas.microsoft.com/office/drawing/2014/main" id="{AA38A6FD-81CD-4A99-9F0B-49E7FA09F07C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5">
              <a:extLst>
                <a:ext uri="{FF2B5EF4-FFF2-40B4-BE49-F238E27FC236}">
                  <a16:creationId xmlns:a16="http://schemas.microsoft.com/office/drawing/2014/main" id="{BE46A269-5108-4684-9EE5-305BE5872874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7">
              <a:extLst>
                <a:ext uri="{FF2B5EF4-FFF2-40B4-BE49-F238E27FC236}">
                  <a16:creationId xmlns:a16="http://schemas.microsoft.com/office/drawing/2014/main" id="{3FE94714-A679-4EEE-9AE4-B4BAAE085CF6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8">
              <a:extLst>
                <a:ext uri="{FF2B5EF4-FFF2-40B4-BE49-F238E27FC236}">
                  <a16:creationId xmlns:a16="http://schemas.microsoft.com/office/drawing/2014/main" id="{A3C764CA-0081-4E3E-B612-81AE48E38457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90">
              <a:extLst>
                <a:ext uri="{FF2B5EF4-FFF2-40B4-BE49-F238E27FC236}">
                  <a16:creationId xmlns:a16="http://schemas.microsoft.com/office/drawing/2014/main" id="{1BF3C449-FD97-41A5-9689-A6BC7F1B197F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1">
              <a:extLst>
                <a:ext uri="{FF2B5EF4-FFF2-40B4-BE49-F238E27FC236}">
                  <a16:creationId xmlns:a16="http://schemas.microsoft.com/office/drawing/2014/main" id="{91FD4557-8E9E-4FB5-A42C-158CE6E2EB22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3">
              <a:extLst>
                <a:ext uri="{FF2B5EF4-FFF2-40B4-BE49-F238E27FC236}">
                  <a16:creationId xmlns:a16="http://schemas.microsoft.com/office/drawing/2014/main" id="{582A2C32-4D58-45BA-8473-121B3E9F668E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4">
              <a:extLst>
                <a:ext uri="{FF2B5EF4-FFF2-40B4-BE49-F238E27FC236}">
                  <a16:creationId xmlns:a16="http://schemas.microsoft.com/office/drawing/2014/main" id="{74EB25C2-3062-4F6D-80BC-EE6156457E73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6">
              <a:extLst>
                <a:ext uri="{FF2B5EF4-FFF2-40B4-BE49-F238E27FC236}">
                  <a16:creationId xmlns:a16="http://schemas.microsoft.com/office/drawing/2014/main" id="{4B9F92EE-4390-433E-AB4C-596238B07320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7">
              <a:extLst>
                <a:ext uri="{FF2B5EF4-FFF2-40B4-BE49-F238E27FC236}">
                  <a16:creationId xmlns:a16="http://schemas.microsoft.com/office/drawing/2014/main" id="{EAFB0A32-7453-4CEF-ACAB-F374091019F0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9">
              <a:extLst>
                <a:ext uri="{FF2B5EF4-FFF2-40B4-BE49-F238E27FC236}">
                  <a16:creationId xmlns:a16="http://schemas.microsoft.com/office/drawing/2014/main" id="{3BC74E13-125F-425A-A5B4-74E010AB8637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100">
              <a:extLst>
                <a:ext uri="{FF2B5EF4-FFF2-40B4-BE49-F238E27FC236}">
                  <a16:creationId xmlns:a16="http://schemas.microsoft.com/office/drawing/2014/main" id="{6C3C906C-664B-4C7C-AEC6-7F9305CF3699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2">
              <a:extLst>
                <a:ext uri="{FF2B5EF4-FFF2-40B4-BE49-F238E27FC236}">
                  <a16:creationId xmlns:a16="http://schemas.microsoft.com/office/drawing/2014/main" id="{25813290-AD47-426C-89B8-CF97FC131227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3">
              <a:extLst>
                <a:ext uri="{FF2B5EF4-FFF2-40B4-BE49-F238E27FC236}">
                  <a16:creationId xmlns:a16="http://schemas.microsoft.com/office/drawing/2014/main" id="{CB1A949D-3EFE-4F15-9889-0D96B00D65BF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5">
              <a:extLst>
                <a:ext uri="{FF2B5EF4-FFF2-40B4-BE49-F238E27FC236}">
                  <a16:creationId xmlns:a16="http://schemas.microsoft.com/office/drawing/2014/main" id="{9717171A-62BA-4752-8D28-624601388654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6">
              <a:extLst>
                <a:ext uri="{FF2B5EF4-FFF2-40B4-BE49-F238E27FC236}">
                  <a16:creationId xmlns:a16="http://schemas.microsoft.com/office/drawing/2014/main" id="{6459ADD6-42B0-4C43-9015-08A990182379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8">
              <a:extLst>
                <a:ext uri="{FF2B5EF4-FFF2-40B4-BE49-F238E27FC236}">
                  <a16:creationId xmlns:a16="http://schemas.microsoft.com/office/drawing/2014/main" id="{0B6ABFAF-52C9-41B6-967D-352EAE314590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9">
              <a:extLst>
                <a:ext uri="{FF2B5EF4-FFF2-40B4-BE49-F238E27FC236}">
                  <a16:creationId xmlns:a16="http://schemas.microsoft.com/office/drawing/2014/main" id="{9FEC4BAC-3680-461C-8B3C-24B845D8C3C4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11">
              <a:extLst>
                <a:ext uri="{FF2B5EF4-FFF2-40B4-BE49-F238E27FC236}">
                  <a16:creationId xmlns:a16="http://schemas.microsoft.com/office/drawing/2014/main" id="{FA168A75-8036-4535-8F66-4A3350477E81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2">
              <a:extLst>
                <a:ext uri="{FF2B5EF4-FFF2-40B4-BE49-F238E27FC236}">
                  <a16:creationId xmlns:a16="http://schemas.microsoft.com/office/drawing/2014/main" id="{A18C4E76-6CA5-43C5-8FA5-221B24637625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4">
              <a:extLst>
                <a:ext uri="{FF2B5EF4-FFF2-40B4-BE49-F238E27FC236}">
                  <a16:creationId xmlns:a16="http://schemas.microsoft.com/office/drawing/2014/main" id="{9CCF6106-20E5-4896-99A3-B7C1E3AFF423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6">
              <a:extLst>
                <a:ext uri="{FF2B5EF4-FFF2-40B4-BE49-F238E27FC236}">
                  <a16:creationId xmlns:a16="http://schemas.microsoft.com/office/drawing/2014/main" id="{6F614B0B-535C-4FC2-9A91-3FA11CBF19E6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7">
              <a:extLst>
                <a:ext uri="{FF2B5EF4-FFF2-40B4-BE49-F238E27FC236}">
                  <a16:creationId xmlns:a16="http://schemas.microsoft.com/office/drawing/2014/main" id="{DF4C6D78-47DF-495C-8E3A-EB631F5F2D0D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8">
              <a:extLst>
                <a:ext uri="{FF2B5EF4-FFF2-40B4-BE49-F238E27FC236}">
                  <a16:creationId xmlns:a16="http://schemas.microsoft.com/office/drawing/2014/main" id="{4E9D06F9-8CA0-406C-9338-B32AF4F38C5B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6F91D59C-B598-43C1-9A82-7C0B3D35A2A5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bg1"/>
                </a:solidFill>
                <a:latin typeface="Calibri" panose="020F0502020204030204" pitchFamily="34" charset="0"/>
              </a:rPr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62" name="Restricted">
            <a:extLst>
              <a:ext uri="{FF2B5EF4-FFF2-40B4-BE49-F238E27FC236}">
                <a16:creationId xmlns:a16="http://schemas.microsoft.com/office/drawing/2014/main" id="{BB270B93-CCA2-4390-ADC0-BF16EC6A1194}"/>
              </a:ext>
            </a:extLst>
          </p:cNvPr>
          <p:cNvSpPr txBox="1"/>
          <p:nvPr userDrawn="1"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de-DE" sz="1000">
                <a:solidFill>
                  <a:schemeClr val="bg1"/>
                </a:solidFill>
              </a:rPr>
              <a:t>Frei verwendbar © Siemens Healthineers, 2019</a:t>
            </a:r>
          </a:p>
        </p:txBody>
      </p:sp>
      <p:pic>
        <p:nvPicPr>
          <p:cNvPr id="63" name="Siemens Healthineers logo">
            <a:extLst>
              <a:ext uri="{FF2B5EF4-FFF2-40B4-BE49-F238E27FC236}">
                <a16:creationId xmlns:a16="http://schemas.microsoft.com/office/drawing/2014/main" id="{2E7414E2-6AC0-4D81-972E-9CF172806A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4504" y="281267"/>
            <a:ext cx="1450797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0040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icture">
    <p:bg bwMode="ltGray"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4360ADE-EF95-CE6B-FB9E-BF128B713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9880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4360ADE-EF95-CE6B-FB9E-BF128B713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hite cover"/>
          <p:cNvSpPr/>
          <p:nvPr userDrawn="1"/>
        </p:nvSpPr>
        <p:spPr bwMode="white">
          <a:xfrm>
            <a:off x="6934200" y="0"/>
            <a:ext cx="52355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7512775" y="2334410"/>
            <a:ext cx="4115663" cy="2601334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Headline </a:t>
            </a:r>
            <a:br>
              <a:rPr lang="de-DE"/>
            </a:br>
            <a:r>
              <a:rPr lang="de-DE"/>
              <a:t>Calibri Bold</a:t>
            </a:r>
          </a:p>
        </p:txBody>
      </p:sp>
      <p:sp>
        <p:nvSpPr>
          <p:cNvPr id="9" name="Footnote">
            <a:extLst>
              <a:ext uri="{FF2B5EF4-FFF2-40B4-BE49-F238E27FC236}">
                <a16:creationId xmlns:a16="http://schemas.microsoft.com/office/drawing/2014/main" id="{4D8785A4-C6E6-43A1-9BA1-402D04E7BADC}"/>
              </a:ext>
            </a:extLst>
          </p:cNvPr>
          <p:cNvSpPr txBox="1"/>
          <p:nvPr userDrawn="1"/>
        </p:nvSpPr>
        <p:spPr>
          <a:xfrm>
            <a:off x="540000" y="6372559"/>
            <a:ext cx="2636337" cy="324000"/>
          </a:xfrm>
          <a:prstGeom prst="rect">
            <a:avLst/>
          </a:prstGeom>
          <a:noFill/>
        </p:spPr>
        <p:txBody>
          <a:bodyPr wrap="square" lIns="0" tIns="0" r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>
                <a:solidFill>
                  <a:schemeClr val="bg1"/>
                </a:solidFill>
              </a:rPr>
              <a:t>Click to add </a:t>
            </a:r>
            <a:r>
              <a:rPr lang="de-DE" sz="1000" err="1">
                <a:solidFill>
                  <a:schemeClr val="bg1"/>
                </a:solidFill>
              </a:rPr>
              <a:t>footnote</a:t>
            </a:r>
            <a:br>
              <a:rPr lang="de-DE" sz="1000">
                <a:solidFill>
                  <a:schemeClr val="bg1"/>
                </a:solidFill>
              </a:rPr>
            </a:br>
            <a:r>
              <a:rPr lang="de-DE" sz="1000" err="1">
                <a:solidFill>
                  <a:schemeClr val="bg1"/>
                </a:solidFill>
              </a:rPr>
              <a:t>second</a:t>
            </a:r>
            <a:r>
              <a:rPr lang="de-DE" sz="1000">
                <a:solidFill>
                  <a:schemeClr val="bg1"/>
                </a:solidFill>
              </a:rPr>
              <a:t> </a:t>
            </a:r>
            <a:r>
              <a:rPr lang="de-DE" sz="1000" err="1">
                <a:solidFill>
                  <a:schemeClr val="bg1"/>
                </a:solidFill>
              </a:rPr>
              <a:t>line</a:t>
            </a:r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1000">
                <a:solidFill>
                  <a:schemeClr val="tx1"/>
                </a:solidFill>
              </a:defRPr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sp>
        <p:nvSpPr>
          <p:cNvPr id="16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de-DE" sz="1000">
                <a:solidFill>
                  <a:schemeClr val="tx1"/>
                </a:solidFill>
              </a:rPr>
              <a:t>Frei verwendbar © Siemens Healthineers, 2019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:a16="http://schemas.microsoft.com/office/drawing/2014/main" id="{F2A95EF1-1926-47A8-A827-99B1C6C611E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57245B0-2A34-4E93-8EFF-DD735993B24D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01387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icture (cut-out imag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29F6D2A-46C5-E07C-6B59-CE81B8D854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2191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29F6D2A-46C5-E07C-6B59-CE81B8D85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934200" cy="6858000"/>
          </a:xfrm>
        </p:spPr>
        <p:txBody>
          <a:bodyPr lIns="180000" tIns="180000" rIns="180000" bIns="180000"/>
          <a:lstStyle>
            <a:lvl1pPr rtl="0">
              <a:defRPr/>
            </a:lvl1pPr>
          </a:lstStyle>
          <a:p>
            <a:r>
              <a:rPr lang="de-DE"/>
              <a:t>Add a product picture</a:t>
            </a:r>
          </a:p>
        </p:txBody>
      </p:sp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7125500" y="1623600"/>
            <a:ext cx="4502938" cy="1224000"/>
          </a:xfrm>
        </p:spPr>
        <p:txBody>
          <a:bodyPr vert="horz" lIns="0" tIns="0" rIns="0" bIns="0" anchor="b" anchorCtr="0">
            <a:noAutofit/>
          </a:bodyPr>
          <a:lstStyle>
            <a:lvl1pPr algn="l" rtl="0"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/>
              <a:t>ETIAM sit atmet</a:t>
            </a:r>
            <a:endParaRPr lang="de-DE" noProof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7125500" y="3009329"/>
            <a:ext cx="4503600" cy="166131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Headline </a:t>
            </a:r>
            <a:br>
              <a:rPr lang="de-DE"/>
            </a:br>
            <a:r>
              <a:rPr lang="de-DE"/>
              <a:t>Calibri Bold</a:t>
            </a:r>
          </a:p>
        </p:txBody>
      </p:sp>
      <p:sp>
        <p:nvSpPr>
          <p:cNvPr id="9" name="Footnote">
            <a:extLst>
              <a:ext uri="{FF2B5EF4-FFF2-40B4-BE49-F238E27FC236}">
                <a16:creationId xmlns:a16="http://schemas.microsoft.com/office/drawing/2014/main" id="{63A13AEC-6E96-4994-BA26-3AFB5FCFE509}"/>
              </a:ext>
            </a:extLst>
          </p:cNvPr>
          <p:cNvSpPr txBox="1"/>
          <p:nvPr userDrawn="1"/>
        </p:nvSpPr>
        <p:spPr>
          <a:xfrm>
            <a:off x="540000" y="6372559"/>
            <a:ext cx="2636337" cy="324000"/>
          </a:xfrm>
          <a:prstGeom prst="rect">
            <a:avLst/>
          </a:prstGeom>
          <a:noFill/>
        </p:spPr>
        <p:txBody>
          <a:bodyPr wrap="square" lIns="0" tIns="0" r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>
                <a:solidFill>
                  <a:schemeClr val="bg1"/>
                </a:solidFill>
              </a:rPr>
              <a:t>Click to add </a:t>
            </a:r>
            <a:r>
              <a:rPr lang="de-DE" sz="1000" err="1">
                <a:solidFill>
                  <a:schemeClr val="bg1"/>
                </a:solidFill>
              </a:rPr>
              <a:t>footnote</a:t>
            </a:r>
            <a:br>
              <a:rPr lang="de-DE" sz="1000">
                <a:solidFill>
                  <a:schemeClr val="bg1"/>
                </a:solidFill>
              </a:rPr>
            </a:br>
            <a:r>
              <a:rPr lang="de-DE" sz="1000" err="1">
                <a:solidFill>
                  <a:schemeClr val="bg1"/>
                </a:solidFill>
              </a:rPr>
              <a:t>second</a:t>
            </a:r>
            <a:r>
              <a:rPr lang="de-DE" sz="1000">
                <a:solidFill>
                  <a:schemeClr val="bg1"/>
                </a:solidFill>
              </a:rPr>
              <a:t> </a:t>
            </a:r>
            <a:r>
              <a:rPr lang="de-DE" sz="1000" err="1">
                <a:solidFill>
                  <a:schemeClr val="bg1"/>
                </a:solidFill>
              </a:rPr>
              <a:t>line</a:t>
            </a:r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1000">
                <a:solidFill>
                  <a:schemeClr val="tx1"/>
                </a:solidFill>
              </a:defRPr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15" name="Siemens Healthineers logo">
            <a:extLst>
              <a:ext uri="{FF2B5EF4-FFF2-40B4-BE49-F238E27FC236}">
                <a16:creationId xmlns:a16="http://schemas.microsoft.com/office/drawing/2014/main" id="{71639FCE-B405-406F-AB7D-EA609CD2342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3200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/Table of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473DB20-3BF4-A423-D1C6-1C034B50AF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0767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473DB20-3BF4-A423-D1C6-1C034B50AF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/>
              <a:t>Table of Contents</a:t>
            </a:r>
            <a:br>
              <a:rPr lang="de-DE"/>
            </a:br>
            <a:r>
              <a:rPr lang="de-DE"/>
              <a:t>Title Calibri Bold 28 pt</a:t>
            </a:r>
            <a:endParaRPr lang="de-DE" noProof="0"/>
          </a:p>
        </p:txBody>
      </p:sp>
      <p:sp>
        <p:nvSpPr>
          <p:cNvPr id="23" name="Content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1623600"/>
            <a:ext cx="4512060" cy="4570825"/>
          </a:xfrm>
        </p:spPr>
        <p:txBody>
          <a:bodyPr/>
          <a:lstStyle>
            <a:lvl1pPr marL="216000" indent="-216000" rtl="0">
              <a:spcBef>
                <a:spcPts val="9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10088" algn="r"/>
              </a:tabLst>
              <a:defRPr lang="en-US" sz="18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16000" indent="0" rtl="0">
              <a:buFont typeface="Arial" panose="020B0604020202020204" pitchFamily="34" charset="0"/>
              <a:buNone/>
              <a:tabLst>
                <a:tab pos="4510088" algn="r"/>
              </a:tabLst>
              <a:defRPr b="0">
                <a:solidFill>
                  <a:schemeClr val="tx1"/>
                </a:solidFill>
              </a:defRPr>
            </a:lvl2pPr>
            <a:lvl3pPr marL="432000" indent="-216000" rtl="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10088" algn="r"/>
              </a:tabLst>
              <a:defRPr/>
            </a:lvl3pPr>
            <a:lvl4pPr>
              <a:defRPr/>
            </a:lvl4pPr>
          </a:lstStyle>
          <a:p>
            <a:pPr lvl="0"/>
            <a:r>
              <a:rPr lang="de-DE" noProof="0"/>
              <a:t>Text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0"/>
            <a:r>
              <a:rPr lang="de-DE" noProof="0"/>
              <a:t>Text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6" y="1623600"/>
            <a:ext cx="4514850" cy="2538000"/>
          </a:xfrm>
        </p:spPr>
        <p:txBody>
          <a:bodyPr lIns="180000" tIns="180000" rIns="180000" bIns="180000"/>
          <a:lstStyle>
            <a:lvl1pPr rtl="0">
              <a:defRPr b="1"/>
            </a:lvl1pPr>
          </a:lstStyle>
          <a:p>
            <a:r>
              <a:rPr lang="de-DE" noProof="0"/>
              <a:t>Add a illustrative </a:t>
            </a:r>
            <a:r>
              <a:rPr lang="de-DE" noProof="0" err="1"/>
              <a:t>image</a:t>
            </a:r>
            <a:endParaRPr lang="de-DE" noProof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1000" b="0"/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lnSpc>
                <a:spcPct val="100000"/>
              </a:lnSpc>
              <a:defRPr/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12" name="Siemens Healthineers logo">
            <a:extLst>
              <a:ext uri="{FF2B5EF4-FFF2-40B4-BE49-F238E27FC236}">
                <a16:creationId xmlns:a16="http://schemas.microsoft.com/office/drawing/2014/main" id="{5B079570-04AF-4229-A2FB-E49C0FA353C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9951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D915330-C796-70EC-32AB-A989694C8A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9316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D915330-C796-70EC-32AB-A989694C8A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Title Calibri Bold 28 pt</a:t>
            </a:r>
          </a:p>
        </p:txBody>
      </p:sp>
      <p:sp>
        <p:nvSpPr>
          <p:cNvPr id="4" name="Content">
            <a:extLst>
              <a:ext uri="{FF2B5EF4-FFF2-40B4-BE49-F238E27FC236}">
                <a16:creationId xmlns:a16="http://schemas.microsoft.com/office/drawing/2014/main" id="{906B1CE5-AD7F-4EF1-A5A9-79DBBDA7E9CD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39999" y="1623600"/>
            <a:ext cx="9212400" cy="4572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 rtl="0">
              <a:lnSpc>
                <a:spcPct val="100000"/>
              </a:lnSpc>
              <a:defRPr sz="1000" b="0"/>
            </a:lvl1pPr>
          </a:lstStyle>
          <a:p>
            <a:r>
              <a:rPr lang="de-DE"/>
              <a:t>Click to add footnote</a:t>
            </a:r>
            <a:br>
              <a:rPr lang="de-DE"/>
            </a:br>
            <a:r>
              <a:rPr lang="de-DE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lnSpc>
                <a:spcPct val="100000"/>
              </a:lnSpc>
              <a:defRPr/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432736EC-6501-42F7-8D77-527C9087F92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314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oleObject" Target="../embeddings/oleObject25.bin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ags" Target="../tags/tag26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3D55490-D344-7131-D5CF-8D68A3D11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909574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6" imgW="306" imgH="306" progId="TCLayout.ActiveDocument.1">
                  <p:embed/>
                </p:oleObj>
              </mc:Choice>
              <mc:Fallback>
                <p:oleObj name="think-cell Folie" r:id="rId26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3D55490-D344-7131-D5CF-8D68A3D11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eadline"/>
          <p:cNvSpPr>
            <a:spLocks noGrp="1"/>
          </p:cNvSpPr>
          <p:nvPr>
            <p:ph type="title"/>
          </p:nvPr>
        </p:nvSpPr>
        <p:spPr>
          <a:xfrm>
            <a:off x="540000" y="219599"/>
            <a:ext cx="9210425" cy="8329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/>
              <a:t>Title Calibri Bold 28 pt</a:t>
            </a:r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>
          <a:xfrm>
            <a:off x="540000" y="1623600"/>
            <a:ext cx="9210425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5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1000">
                <a:solidFill>
                  <a:schemeClr val="tx1"/>
                </a:solidFill>
              </a:defRPr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grpSp>
        <p:nvGrpSpPr>
          <p:cNvPr id="4" name="Marker">
            <a:extLst>
              <a:ext uri="{FF2B5EF4-FFF2-40B4-BE49-F238E27FC236}">
                <a16:creationId xmlns:a16="http://schemas.microsoft.com/office/drawing/2014/main" id="{177468D6-3548-46CA-8691-336AA6DB769A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41" name="Gerade Verbindung 40"/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/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/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/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/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/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/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5CBC6209-A7E2-4F1F-A86E-330817A9A8C0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14" name="Restricted">
            <a:extLst>
              <a:ext uri="{FF2B5EF4-FFF2-40B4-BE49-F238E27FC236}">
                <a16:creationId xmlns:a16="http://schemas.microsoft.com/office/drawing/2014/main" id="{80B62AD4-5C66-42D5-BF2D-D5624DB31253}"/>
              </a:ext>
            </a:extLst>
          </p:cNvPr>
          <p:cNvSpPr txBox="1"/>
          <p:nvPr userDrawn="1"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de-DE" sz="1000">
                <a:solidFill>
                  <a:schemeClr val="tx1"/>
                </a:solidFill>
              </a:rPr>
              <a:t>Frei verwendbar © Siemens Healthineers, 2023</a:t>
            </a:r>
          </a:p>
        </p:txBody>
      </p:sp>
    </p:spTree>
    <p:extLst>
      <p:ext uri="{BB962C8B-B14F-4D97-AF65-F5344CB8AC3E}">
        <p14:creationId xmlns:p14="http://schemas.microsoft.com/office/powerpoint/2010/main" val="2632197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715" r:id="rId2"/>
    <p:sldLayoutId id="2147483717" r:id="rId3"/>
    <p:sldLayoutId id="2147483729" r:id="rId4"/>
    <p:sldLayoutId id="2147483733" r:id="rId5"/>
    <p:sldLayoutId id="2147483718" r:id="rId6"/>
    <p:sldLayoutId id="2147483716" r:id="rId7"/>
    <p:sldLayoutId id="2147483725" r:id="rId8"/>
    <p:sldLayoutId id="2147483724" r:id="rId9"/>
    <p:sldLayoutId id="2147483698" r:id="rId10"/>
    <p:sldLayoutId id="2147483723" r:id="rId11"/>
    <p:sldLayoutId id="2147483721" r:id="rId12"/>
    <p:sldLayoutId id="2147483706" r:id="rId13"/>
    <p:sldLayoutId id="2147483730" r:id="rId14"/>
    <p:sldLayoutId id="2147483692" r:id="rId15"/>
    <p:sldLayoutId id="2147483719" r:id="rId16"/>
    <p:sldLayoutId id="2147483731" r:id="rId17"/>
    <p:sldLayoutId id="2147483727" r:id="rId18"/>
    <p:sldLayoutId id="2147483710" r:id="rId19"/>
    <p:sldLayoutId id="2147483712" r:id="rId20"/>
    <p:sldLayoutId id="2147483702" r:id="rId21"/>
    <p:sldLayoutId id="2147483732" r:id="rId22"/>
    <p:sldLayoutId id="2147483726" r:id="rId23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Clr>
          <a:schemeClr val="bg2"/>
        </a:buClr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marR="0" indent="-2160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96000" marR="0" indent="-2160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16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 userDrawn="1">
          <p15:clr>
            <a:srgbClr val="F26B43"/>
          </p15:clr>
        </p15:guide>
        <p15:guide id="2" pos="819" userDrawn="1">
          <p15:clr>
            <a:srgbClr val="F26B43"/>
          </p15:clr>
        </p15:guide>
        <p15:guide id="3" pos="930" userDrawn="1">
          <p15:clr>
            <a:srgbClr val="F26B43"/>
          </p15:clr>
        </p15:guide>
        <p15:guide id="4" pos="1410" userDrawn="1">
          <p15:clr>
            <a:srgbClr val="F26B43"/>
          </p15:clr>
        </p15:guide>
        <p15:guide id="5" pos="1524" userDrawn="1">
          <p15:clr>
            <a:srgbClr val="F26B43"/>
          </p15:clr>
        </p15:guide>
        <p15:guide id="6" pos="2003" userDrawn="1">
          <p15:clr>
            <a:srgbClr val="F26B43"/>
          </p15:clr>
        </p15:guide>
        <p15:guide id="7" pos="2117" userDrawn="1">
          <p15:clr>
            <a:srgbClr val="F26B43"/>
          </p15:clr>
        </p15:guide>
        <p15:guide id="8" pos="2592" userDrawn="1">
          <p15:clr>
            <a:srgbClr val="F26B43"/>
          </p15:clr>
        </p15:guide>
        <p15:guide id="9" pos="2705" userDrawn="1">
          <p15:clr>
            <a:srgbClr val="F26B43"/>
          </p15:clr>
        </p15:guide>
        <p15:guide id="10" pos="3185" userDrawn="1">
          <p15:clr>
            <a:srgbClr val="F26B43"/>
          </p15:clr>
        </p15:guide>
        <p15:guide id="11" pos="3299" userDrawn="1">
          <p15:clr>
            <a:srgbClr val="F26B43"/>
          </p15:clr>
        </p15:guide>
        <p15:guide id="12" pos="3776" userDrawn="1">
          <p15:clr>
            <a:srgbClr val="F26B43"/>
          </p15:clr>
        </p15:guide>
        <p15:guide id="13" pos="3890" userDrawn="1">
          <p15:clr>
            <a:srgbClr val="F26B43"/>
          </p15:clr>
        </p15:guide>
        <p15:guide id="14" pos="4368" userDrawn="1">
          <p15:clr>
            <a:srgbClr val="F26B43"/>
          </p15:clr>
        </p15:guide>
        <p15:guide id="15" pos="4482" userDrawn="1">
          <p15:clr>
            <a:srgbClr val="F26B43"/>
          </p15:clr>
        </p15:guide>
        <p15:guide id="16" pos="4959" userDrawn="1">
          <p15:clr>
            <a:srgbClr val="F26B43"/>
          </p15:clr>
        </p15:guide>
        <p15:guide id="17" pos="5075" userDrawn="1">
          <p15:clr>
            <a:srgbClr val="F26B43"/>
          </p15:clr>
        </p15:guide>
        <p15:guide id="18" pos="5552" userDrawn="1">
          <p15:clr>
            <a:srgbClr val="F26B43"/>
          </p15:clr>
        </p15:guide>
        <p15:guide id="19" pos="5666" userDrawn="1">
          <p15:clr>
            <a:srgbClr val="F26B43"/>
          </p15:clr>
        </p15:guide>
        <p15:guide id="20" pos="6143" userDrawn="1">
          <p15:clr>
            <a:srgbClr val="F26B43"/>
          </p15:clr>
        </p15:guide>
        <p15:guide id="21" pos="6254" userDrawn="1">
          <p15:clr>
            <a:srgbClr val="F26B43"/>
          </p15:clr>
        </p15:guide>
        <p15:guide id="22" pos="6734" userDrawn="1">
          <p15:clr>
            <a:srgbClr val="F26B43"/>
          </p15:clr>
        </p15:guide>
        <p15:guide id="23" pos="6846" userDrawn="1">
          <p15:clr>
            <a:srgbClr val="F26B43"/>
          </p15:clr>
        </p15:guide>
        <p15:guide id="24" pos="7325" userDrawn="1">
          <p15:clr>
            <a:srgbClr val="F26B43"/>
          </p15:clr>
        </p15:guide>
        <p15:guide id="26" orient="horz" pos="3902" userDrawn="1">
          <p15:clr>
            <a:srgbClr val="F26B43"/>
          </p15:clr>
        </p15:guide>
        <p15:guide id="27" orient="horz" pos="663" userDrawn="1">
          <p15:clr>
            <a:srgbClr val="F26B43"/>
          </p15:clr>
        </p15:guide>
        <p15:guide id="28" orient="horz" pos="10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3D55490-D344-7131-D5CF-8D68A3D11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90957437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6" imgW="306" imgH="306" progId="TCLayout.ActiveDocument.1">
                  <p:embed/>
                </p:oleObj>
              </mc:Choice>
              <mc:Fallback>
                <p:oleObj name="think-cell Folie" r:id="rId26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3D55490-D344-7131-D5CF-8D68A3D11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eadline"/>
          <p:cNvSpPr>
            <a:spLocks noGrp="1"/>
          </p:cNvSpPr>
          <p:nvPr>
            <p:ph type="title"/>
          </p:nvPr>
        </p:nvSpPr>
        <p:spPr>
          <a:xfrm>
            <a:off x="540001" y="219601"/>
            <a:ext cx="9210425" cy="8329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/>
              <a:t>Title Calibri Bold 28 pt</a:t>
            </a:r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>
          <a:xfrm>
            <a:off x="540001" y="1623600"/>
            <a:ext cx="9210425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Headline Calibri Bold 18 pt</a:t>
            </a:r>
          </a:p>
          <a:p>
            <a:pPr lvl="1"/>
            <a:r>
              <a:rPr lang="de-DE" noProof="0"/>
              <a:t>Text Calibri 18 pt</a:t>
            </a:r>
          </a:p>
          <a:p>
            <a:pPr lvl="2"/>
            <a:r>
              <a:rPr lang="de-DE" noProof="0"/>
              <a:t>Text Calibri 18 pt</a:t>
            </a:r>
          </a:p>
          <a:p>
            <a:pPr lvl="3"/>
            <a:r>
              <a:rPr lang="de-DE" noProof="0"/>
              <a:t>Text Calibri 18 pt</a:t>
            </a:r>
          </a:p>
          <a:p>
            <a:pPr lvl="4"/>
            <a:r>
              <a:rPr lang="de-DE" noProof="0"/>
              <a:t>Text Calibri 18 pt</a:t>
            </a:r>
          </a:p>
          <a:p>
            <a:pPr lvl="5"/>
            <a:r>
              <a:rPr lang="de-DE" noProof="0"/>
              <a:t>Text Calibri 18 pt</a:t>
            </a:r>
          </a:p>
          <a:p>
            <a:pPr lvl="6"/>
            <a:r>
              <a:rPr lang="de-DE" noProof="0"/>
              <a:t>Text Calibri 18 pt</a:t>
            </a:r>
          </a:p>
          <a:p>
            <a:pPr lvl="7"/>
            <a:r>
              <a:rPr lang="de-DE" noProof="0"/>
              <a:t>Text Calibri 18 pt</a:t>
            </a:r>
          </a:p>
          <a:p>
            <a:pPr lvl="8"/>
            <a:r>
              <a:rPr lang="de-DE" noProof="0"/>
              <a:t>Text Calibri 14 pt</a:t>
            </a:r>
          </a:p>
        </p:txBody>
      </p:sp>
      <p:sp>
        <p:nvSpPr>
          <p:cNvPr id="5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998">
                <a:solidFill>
                  <a:schemeClr val="tx1"/>
                </a:solidFill>
              </a:defRPr>
            </a:lvl1pPr>
          </a:lstStyle>
          <a:p>
            <a:r>
              <a:rPr lang="pt-BR"/>
              <a:t>A91GER-H-001672-E4</a:t>
            </a:r>
            <a:endParaRPr lang="de-DE"/>
          </a:p>
        </p:txBody>
      </p:sp>
      <p:grpSp>
        <p:nvGrpSpPr>
          <p:cNvPr id="4" name="Marker">
            <a:extLst>
              <a:ext uri="{FF2B5EF4-FFF2-40B4-BE49-F238E27FC236}">
                <a16:creationId xmlns:a16="http://schemas.microsoft.com/office/drawing/2014/main" id="{177468D6-3548-46CA-8691-336AA6DB769A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41" name="Gerade Verbindung 40"/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/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/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/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/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/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/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5CBC6209-A7E2-4F1F-A86E-330817A9A8C0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998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998" b="1" i="0" u="none" kern="1200" spc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14" name="Restricted">
            <a:extLst>
              <a:ext uri="{FF2B5EF4-FFF2-40B4-BE49-F238E27FC236}">
                <a16:creationId xmlns:a16="http://schemas.microsoft.com/office/drawing/2014/main" id="{80B62AD4-5C66-42D5-BF2D-D5624DB31253}"/>
              </a:ext>
            </a:extLst>
          </p:cNvPr>
          <p:cNvSpPr txBox="1"/>
          <p:nvPr userDrawn="1"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de-DE" sz="998">
                <a:solidFill>
                  <a:schemeClr val="tx1"/>
                </a:solidFill>
              </a:rPr>
              <a:t>Frei verwendbar © Siemens Healthineers, 2023</a:t>
            </a:r>
          </a:p>
        </p:txBody>
      </p:sp>
    </p:spTree>
    <p:extLst>
      <p:ext uri="{BB962C8B-B14F-4D97-AF65-F5344CB8AC3E}">
        <p14:creationId xmlns:p14="http://schemas.microsoft.com/office/powerpoint/2010/main" val="3416243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  <p:sldLayoutId id="2147483752" r:id="rId18"/>
    <p:sldLayoutId id="2147483753" r:id="rId19"/>
    <p:sldLayoutId id="2147483754" r:id="rId20"/>
    <p:sldLayoutId id="2147483755" r:id="rId21"/>
    <p:sldLayoutId id="2147483756" r:id="rId22"/>
    <p:sldLayoutId id="2147483757" r:id="rId23"/>
  </p:sldLayoutIdLst>
  <p:hf sldNum="0" hdr="0" dt="0"/>
  <p:txStyles>
    <p:titleStyle>
      <a:lvl1pPr algn="l" defTabSz="912754" rtl="0" eaLnBrk="1" latinLnBrk="0" hangingPunct="1">
        <a:spcBef>
          <a:spcPct val="0"/>
        </a:spcBef>
        <a:buNone/>
        <a:defRPr sz="2795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2754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797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2754" rtl="0" eaLnBrk="1" latinLnBrk="0" hangingPunct="1">
        <a:lnSpc>
          <a:spcPct val="100000"/>
        </a:lnSpc>
        <a:spcBef>
          <a:spcPts val="0"/>
        </a:spcBef>
        <a:buClr>
          <a:schemeClr val="bg2"/>
        </a:buClr>
        <a:buFont typeface="Arial" panose="020B0604020202020204" pitchFamily="34" charset="0"/>
        <a:buNone/>
        <a:defRPr sz="1797" kern="1200">
          <a:solidFill>
            <a:schemeClr val="tx1"/>
          </a:solidFill>
          <a:latin typeface="+mn-lt"/>
          <a:ea typeface="+mn-ea"/>
          <a:cs typeface="+mn-cs"/>
        </a:defRPr>
      </a:lvl2pPr>
      <a:lvl3pPr marL="215611" indent="-215611" algn="l" defTabSz="912754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3pPr>
      <a:lvl4pPr marL="431222" indent="-215611" algn="l" defTabSz="912754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4pPr>
      <a:lvl5pPr marL="646834" indent="-215611" algn="l" defTabSz="912754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5pPr>
      <a:lvl6pPr marL="862445" marR="0" indent="-215611" algn="l" defTabSz="912754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797" kern="1200">
          <a:solidFill>
            <a:schemeClr val="tx1"/>
          </a:solidFill>
          <a:latin typeface="+mn-lt"/>
          <a:ea typeface="+mn-ea"/>
          <a:cs typeface="+mn-cs"/>
        </a:defRPr>
      </a:lvl6pPr>
      <a:lvl7pPr marL="1078056" indent="-215611" algn="l" defTabSz="912754" rtl="0" eaLnBrk="1" latinLnBrk="0" hangingPunct="1">
        <a:spcBef>
          <a:spcPts val="0"/>
        </a:spcBef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7pPr>
      <a:lvl8pPr marL="1293667" marR="0" indent="-215611" algn="l" defTabSz="912754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797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2754" rtl="0" eaLnBrk="1" latinLnBrk="0" hangingPunct="1">
        <a:spcBef>
          <a:spcPts val="1597"/>
        </a:spcBef>
        <a:buFontTx/>
        <a:buNone/>
        <a:defRPr sz="13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2754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1pPr>
      <a:lvl2pPr marL="456377" algn="l" defTabSz="912754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2pPr>
      <a:lvl3pPr marL="912754" algn="l" defTabSz="912754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3pPr>
      <a:lvl4pPr marL="1369131" algn="l" defTabSz="912754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4pPr>
      <a:lvl5pPr marL="1825508" algn="l" defTabSz="912754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5pPr>
      <a:lvl6pPr marL="2281885" algn="l" defTabSz="912754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6pPr>
      <a:lvl7pPr marL="2738262" algn="l" defTabSz="912754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7pPr>
      <a:lvl8pPr marL="3194639" algn="l" defTabSz="912754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8pPr>
      <a:lvl9pPr marL="3651016" algn="l" defTabSz="912754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>
          <p15:clr>
            <a:srgbClr val="F26B43"/>
          </p15:clr>
        </p15:guide>
        <p15:guide id="2" pos="819">
          <p15:clr>
            <a:srgbClr val="F26B43"/>
          </p15:clr>
        </p15:guide>
        <p15:guide id="3" pos="930">
          <p15:clr>
            <a:srgbClr val="F26B43"/>
          </p15:clr>
        </p15:guide>
        <p15:guide id="4" pos="1410">
          <p15:clr>
            <a:srgbClr val="F26B43"/>
          </p15:clr>
        </p15:guide>
        <p15:guide id="5" pos="1524">
          <p15:clr>
            <a:srgbClr val="F26B43"/>
          </p15:clr>
        </p15:guide>
        <p15:guide id="6" pos="2003">
          <p15:clr>
            <a:srgbClr val="F26B43"/>
          </p15:clr>
        </p15:guide>
        <p15:guide id="7" pos="2117">
          <p15:clr>
            <a:srgbClr val="F26B43"/>
          </p15:clr>
        </p15:guide>
        <p15:guide id="8" pos="2592">
          <p15:clr>
            <a:srgbClr val="F26B43"/>
          </p15:clr>
        </p15:guide>
        <p15:guide id="9" pos="2705">
          <p15:clr>
            <a:srgbClr val="F26B43"/>
          </p15:clr>
        </p15:guide>
        <p15:guide id="10" pos="3185">
          <p15:clr>
            <a:srgbClr val="F26B43"/>
          </p15:clr>
        </p15:guide>
        <p15:guide id="11" pos="3299">
          <p15:clr>
            <a:srgbClr val="F26B43"/>
          </p15:clr>
        </p15:guide>
        <p15:guide id="12" pos="3776">
          <p15:clr>
            <a:srgbClr val="F26B43"/>
          </p15:clr>
        </p15:guide>
        <p15:guide id="13" pos="3890">
          <p15:clr>
            <a:srgbClr val="F26B43"/>
          </p15:clr>
        </p15:guide>
        <p15:guide id="14" pos="4368">
          <p15:clr>
            <a:srgbClr val="F26B43"/>
          </p15:clr>
        </p15:guide>
        <p15:guide id="15" pos="4482">
          <p15:clr>
            <a:srgbClr val="F26B43"/>
          </p15:clr>
        </p15:guide>
        <p15:guide id="16" pos="4959">
          <p15:clr>
            <a:srgbClr val="F26B43"/>
          </p15:clr>
        </p15:guide>
        <p15:guide id="17" pos="5075">
          <p15:clr>
            <a:srgbClr val="F26B43"/>
          </p15:clr>
        </p15:guide>
        <p15:guide id="18" pos="5552">
          <p15:clr>
            <a:srgbClr val="F26B43"/>
          </p15:clr>
        </p15:guide>
        <p15:guide id="19" pos="5666">
          <p15:clr>
            <a:srgbClr val="F26B43"/>
          </p15:clr>
        </p15:guide>
        <p15:guide id="20" pos="6143">
          <p15:clr>
            <a:srgbClr val="F26B43"/>
          </p15:clr>
        </p15:guide>
        <p15:guide id="21" pos="6254">
          <p15:clr>
            <a:srgbClr val="F26B43"/>
          </p15:clr>
        </p15:guide>
        <p15:guide id="22" pos="6734">
          <p15:clr>
            <a:srgbClr val="F26B43"/>
          </p15:clr>
        </p15:guide>
        <p15:guide id="23" pos="6846">
          <p15:clr>
            <a:srgbClr val="F26B43"/>
          </p15:clr>
        </p15:guide>
        <p15:guide id="24" pos="7325">
          <p15:clr>
            <a:srgbClr val="F26B43"/>
          </p15:clr>
        </p15:guide>
        <p15:guide id="26" orient="horz" pos="3902">
          <p15:clr>
            <a:srgbClr val="F26B43"/>
          </p15:clr>
        </p15:guide>
        <p15:guide id="27" orient="horz" pos="663">
          <p15:clr>
            <a:srgbClr val="F26B43"/>
          </p15:clr>
        </p15:guide>
        <p15:guide id="28" orient="horz" pos="10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2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58.png"/><Relationship Id="rId12" Type="http://schemas.openxmlformats.org/officeDocument/2006/relationships/image" Target="../media/image61.svg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65.svg"/><Relationship Id="rId1" Type="http://schemas.openxmlformats.org/officeDocument/2006/relationships/tags" Target="../tags/tag59.xml"/><Relationship Id="rId6" Type="http://schemas.openxmlformats.org/officeDocument/2006/relationships/image" Target="../media/image57.png"/><Relationship Id="rId11" Type="http://schemas.openxmlformats.org/officeDocument/2006/relationships/image" Target="../media/image60.png"/><Relationship Id="rId5" Type="http://schemas.openxmlformats.org/officeDocument/2006/relationships/image" Target="../media/image1.emf"/><Relationship Id="rId15" Type="http://schemas.openxmlformats.org/officeDocument/2006/relationships/image" Target="../media/image64.png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58.bin"/><Relationship Id="rId9" Type="http://schemas.openxmlformats.org/officeDocument/2006/relationships/image" Target="../media/image10.png"/><Relationship Id="rId14" Type="http://schemas.openxmlformats.org/officeDocument/2006/relationships/image" Target="../media/image63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svg"/><Relationship Id="rId13" Type="http://schemas.openxmlformats.org/officeDocument/2006/relationships/image" Target="../media/image66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60.png"/><Relationship Id="rId12" Type="http://schemas.openxmlformats.org/officeDocument/2006/relationships/image" Target="../media/image65.svg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11.png"/><Relationship Id="rId1" Type="http://schemas.openxmlformats.org/officeDocument/2006/relationships/tags" Target="../tags/tag60.xml"/><Relationship Id="rId6" Type="http://schemas.openxmlformats.org/officeDocument/2006/relationships/image" Target="../media/image10.png"/><Relationship Id="rId11" Type="http://schemas.openxmlformats.org/officeDocument/2006/relationships/image" Target="../media/image64.png"/><Relationship Id="rId5" Type="http://schemas.openxmlformats.org/officeDocument/2006/relationships/image" Target="../media/image1.emf"/><Relationship Id="rId15" Type="http://schemas.openxmlformats.org/officeDocument/2006/relationships/image" Target="../media/image68.png"/><Relationship Id="rId10" Type="http://schemas.openxmlformats.org/officeDocument/2006/relationships/image" Target="../media/image63.svg"/><Relationship Id="rId4" Type="http://schemas.openxmlformats.org/officeDocument/2006/relationships/oleObject" Target="../embeddings/oleObject59.bin"/><Relationship Id="rId9" Type="http://schemas.openxmlformats.org/officeDocument/2006/relationships/image" Target="../media/image62.png"/><Relationship Id="rId14" Type="http://schemas.openxmlformats.org/officeDocument/2006/relationships/image" Target="../media/image6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13" Type="http://schemas.openxmlformats.org/officeDocument/2006/relationships/image" Target="../media/image65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0.png"/><Relationship Id="rId12" Type="http://schemas.openxmlformats.org/officeDocument/2006/relationships/image" Target="../media/image64.png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11.png"/><Relationship Id="rId1" Type="http://schemas.openxmlformats.org/officeDocument/2006/relationships/tags" Target="../tags/tag61.xml"/><Relationship Id="rId6" Type="http://schemas.openxmlformats.org/officeDocument/2006/relationships/image" Target="../media/image69.png"/><Relationship Id="rId11" Type="http://schemas.openxmlformats.org/officeDocument/2006/relationships/image" Target="../media/image63.svg"/><Relationship Id="rId5" Type="http://schemas.openxmlformats.org/officeDocument/2006/relationships/image" Target="../media/image1.emf"/><Relationship Id="rId15" Type="http://schemas.openxmlformats.org/officeDocument/2006/relationships/image" Target="../media/image71.png"/><Relationship Id="rId10" Type="http://schemas.openxmlformats.org/officeDocument/2006/relationships/image" Target="../media/image62.png"/><Relationship Id="rId4" Type="http://schemas.openxmlformats.org/officeDocument/2006/relationships/oleObject" Target="../embeddings/oleObject60.bin"/><Relationship Id="rId9" Type="http://schemas.openxmlformats.org/officeDocument/2006/relationships/image" Target="../media/image61.svg"/><Relationship Id="rId14" Type="http://schemas.openxmlformats.org/officeDocument/2006/relationships/image" Target="../media/image7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13" Type="http://schemas.openxmlformats.org/officeDocument/2006/relationships/image" Target="../media/image65.sv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0.png"/><Relationship Id="rId12" Type="http://schemas.openxmlformats.org/officeDocument/2006/relationships/image" Target="../media/image64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2.xml"/><Relationship Id="rId6" Type="http://schemas.openxmlformats.org/officeDocument/2006/relationships/image" Target="../media/image72.png"/><Relationship Id="rId11" Type="http://schemas.openxmlformats.org/officeDocument/2006/relationships/image" Target="../media/image63.svg"/><Relationship Id="rId5" Type="http://schemas.openxmlformats.org/officeDocument/2006/relationships/image" Target="../media/image1.emf"/><Relationship Id="rId15" Type="http://schemas.openxmlformats.org/officeDocument/2006/relationships/image" Target="../media/image11.png"/><Relationship Id="rId10" Type="http://schemas.openxmlformats.org/officeDocument/2006/relationships/image" Target="../media/image62.png"/><Relationship Id="rId4" Type="http://schemas.openxmlformats.org/officeDocument/2006/relationships/oleObject" Target="../embeddings/oleObject61.bin"/><Relationship Id="rId9" Type="http://schemas.openxmlformats.org/officeDocument/2006/relationships/image" Target="../media/image61.svg"/><Relationship Id="rId14" Type="http://schemas.openxmlformats.org/officeDocument/2006/relationships/image" Target="../media/image7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svg"/><Relationship Id="rId13" Type="http://schemas.openxmlformats.org/officeDocument/2006/relationships/image" Target="../media/image74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60.png"/><Relationship Id="rId12" Type="http://schemas.openxmlformats.org/officeDocument/2006/relationships/image" Target="../media/image65.sv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3.xml"/><Relationship Id="rId6" Type="http://schemas.openxmlformats.org/officeDocument/2006/relationships/image" Target="../media/image10.png"/><Relationship Id="rId11" Type="http://schemas.openxmlformats.org/officeDocument/2006/relationships/image" Target="../media/image64.png"/><Relationship Id="rId5" Type="http://schemas.openxmlformats.org/officeDocument/2006/relationships/image" Target="../media/image1.emf"/><Relationship Id="rId15" Type="http://schemas.openxmlformats.org/officeDocument/2006/relationships/image" Target="../media/image11.png"/><Relationship Id="rId10" Type="http://schemas.openxmlformats.org/officeDocument/2006/relationships/image" Target="../media/image63.svg"/><Relationship Id="rId4" Type="http://schemas.openxmlformats.org/officeDocument/2006/relationships/oleObject" Target="../embeddings/oleObject62.bin"/><Relationship Id="rId9" Type="http://schemas.openxmlformats.org/officeDocument/2006/relationships/image" Target="../media/image62.png"/><Relationship Id="rId14" Type="http://schemas.openxmlformats.org/officeDocument/2006/relationships/image" Target="../media/image7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svg"/><Relationship Id="rId3" Type="http://schemas.openxmlformats.org/officeDocument/2006/relationships/oleObject" Target="../embeddings/oleObject63.bin"/><Relationship Id="rId7" Type="http://schemas.openxmlformats.org/officeDocument/2006/relationships/image" Target="../media/image62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4.xml"/><Relationship Id="rId6" Type="http://schemas.openxmlformats.org/officeDocument/2006/relationships/image" Target="../media/image61.svg"/><Relationship Id="rId11" Type="http://schemas.openxmlformats.org/officeDocument/2006/relationships/image" Target="../media/image55.emf"/><Relationship Id="rId5" Type="http://schemas.openxmlformats.org/officeDocument/2006/relationships/image" Target="../media/image60.png"/><Relationship Id="rId10" Type="http://schemas.openxmlformats.org/officeDocument/2006/relationships/image" Target="../media/image65.svg"/><Relationship Id="rId4" Type="http://schemas.openxmlformats.org/officeDocument/2006/relationships/image" Target="../media/image1.emf"/><Relationship Id="rId9" Type="http://schemas.openxmlformats.org/officeDocument/2006/relationships/image" Target="../media/image6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svg"/><Relationship Id="rId3" Type="http://schemas.openxmlformats.org/officeDocument/2006/relationships/oleObject" Target="../embeddings/oleObject64.bin"/><Relationship Id="rId7" Type="http://schemas.openxmlformats.org/officeDocument/2006/relationships/image" Target="../media/image60.png"/><Relationship Id="rId12" Type="http://schemas.openxmlformats.org/officeDocument/2006/relationships/image" Target="../media/image65.sv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5.xml"/><Relationship Id="rId6" Type="http://schemas.openxmlformats.org/officeDocument/2006/relationships/image" Target="../media/image77.png"/><Relationship Id="rId11" Type="http://schemas.openxmlformats.org/officeDocument/2006/relationships/image" Target="../media/image64.png"/><Relationship Id="rId5" Type="http://schemas.openxmlformats.org/officeDocument/2006/relationships/image" Target="../media/image76.png"/><Relationship Id="rId10" Type="http://schemas.openxmlformats.org/officeDocument/2006/relationships/image" Target="../media/image63.svg"/><Relationship Id="rId4" Type="http://schemas.openxmlformats.org/officeDocument/2006/relationships/image" Target="../media/image1.emf"/><Relationship Id="rId9" Type="http://schemas.openxmlformats.org/officeDocument/2006/relationships/image" Target="../media/image6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oleObject" Target="../embeddings/oleObject65.bin"/><Relationship Id="rId7" Type="http://schemas.openxmlformats.org/officeDocument/2006/relationships/image" Target="../media/image56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6.xml"/><Relationship Id="rId6" Type="http://schemas.openxmlformats.org/officeDocument/2006/relationships/image" Target="../media/image11.png"/><Relationship Id="rId5" Type="http://schemas.openxmlformats.org/officeDocument/2006/relationships/image" Target="../media/image78.pn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7.xml"/><Relationship Id="rId6" Type="http://schemas.openxmlformats.org/officeDocument/2006/relationships/image" Target="../media/image11.png"/><Relationship Id="rId5" Type="http://schemas.openxmlformats.org/officeDocument/2006/relationships/image" Target="../media/image78.pn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7" Type="http://schemas.openxmlformats.org/officeDocument/2006/relationships/image" Target="../media/image56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8.xml"/><Relationship Id="rId6" Type="http://schemas.openxmlformats.org/officeDocument/2006/relationships/image" Target="../media/image11.png"/><Relationship Id="rId5" Type="http://schemas.openxmlformats.org/officeDocument/2006/relationships/image" Target="../media/image78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51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9.xml"/><Relationship Id="rId5" Type="http://schemas.openxmlformats.org/officeDocument/2006/relationships/image" Target="../media/image80.jpeg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oleObject" Target="../embeddings/oleObject69.bin"/><Relationship Id="rId7" Type="http://schemas.openxmlformats.org/officeDocument/2006/relationships/image" Target="../media/image83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70.xml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4" Type="http://schemas.openxmlformats.org/officeDocument/2006/relationships/image" Target="../media/image1.emf"/><Relationship Id="rId9" Type="http://schemas.openxmlformats.org/officeDocument/2006/relationships/image" Target="../media/image4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slideLayout" Target="../slideLayouts/slideLayout18.xml"/><Relationship Id="rId18" Type="http://schemas.openxmlformats.org/officeDocument/2006/relationships/image" Target="../media/image87.png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12" Type="http://schemas.openxmlformats.org/officeDocument/2006/relationships/tags" Target="../tags/tag82.xml"/><Relationship Id="rId17" Type="http://schemas.openxmlformats.org/officeDocument/2006/relationships/image" Target="../media/image86.png"/><Relationship Id="rId2" Type="http://schemas.openxmlformats.org/officeDocument/2006/relationships/tags" Target="../tags/tag72.xml"/><Relationship Id="rId16" Type="http://schemas.openxmlformats.org/officeDocument/2006/relationships/image" Target="../media/image85.png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11" Type="http://schemas.openxmlformats.org/officeDocument/2006/relationships/tags" Target="../tags/tag81.xml"/><Relationship Id="rId5" Type="http://schemas.openxmlformats.org/officeDocument/2006/relationships/tags" Target="../tags/tag75.xml"/><Relationship Id="rId15" Type="http://schemas.openxmlformats.org/officeDocument/2006/relationships/image" Target="../media/image1.emf"/><Relationship Id="rId10" Type="http://schemas.openxmlformats.org/officeDocument/2006/relationships/tags" Target="../tags/tag80.xml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oleObject" Target="../embeddings/oleObject70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tags" Target="../tags/tag95.xml"/><Relationship Id="rId18" Type="http://schemas.openxmlformats.org/officeDocument/2006/relationships/slideLayout" Target="../slideLayouts/slideLayout18.xml"/><Relationship Id="rId3" Type="http://schemas.openxmlformats.org/officeDocument/2006/relationships/tags" Target="../tags/tag85.xml"/><Relationship Id="rId21" Type="http://schemas.openxmlformats.org/officeDocument/2006/relationships/image" Target="../media/image1.emf"/><Relationship Id="rId7" Type="http://schemas.openxmlformats.org/officeDocument/2006/relationships/tags" Target="../tags/tag89.xml"/><Relationship Id="rId12" Type="http://schemas.openxmlformats.org/officeDocument/2006/relationships/tags" Target="../tags/tag94.xml"/><Relationship Id="rId17" Type="http://schemas.openxmlformats.org/officeDocument/2006/relationships/tags" Target="../tags/tag99.xml"/><Relationship Id="rId2" Type="http://schemas.openxmlformats.org/officeDocument/2006/relationships/tags" Target="../tags/tag84.xml"/><Relationship Id="rId16" Type="http://schemas.openxmlformats.org/officeDocument/2006/relationships/tags" Target="../tags/tag98.xml"/><Relationship Id="rId20" Type="http://schemas.openxmlformats.org/officeDocument/2006/relationships/oleObject" Target="../embeddings/oleObject71.bin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tags" Target="../tags/tag93.xml"/><Relationship Id="rId24" Type="http://schemas.openxmlformats.org/officeDocument/2006/relationships/image" Target="../media/image90.png"/><Relationship Id="rId5" Type="http://schemas.openxmlformats.org/officeDocument/2006/relationships/tags" Target="../tags/tag87.xml"/><Relationship Id="rId15" Type="http://schemas.openxmlformats.org/officeDocument/2006/relationships/tags" Target="../tags/tag97.xml"/><Relationship Id="rId23" Type="http://schemas.openxmlformats.org/officeDocument/2006/relationships/image" Target="../media/image89.png"/><Relationship Id="rId10" Type="http://schemas.openxmlformats.org/officeDocument/2006/relationships/tags" Target="../tags/tag92.xml"/><Relationship Id="rId19" Type="http://schemas.openxmlformats.org/officeDocument/2006/relationships/notesSlide" Target="../notesSlides/notesSlide11.xml"/><Relationship Id="rId4" Type="http://schemas.openxmlformats.org/officeDocument/2006/relationships/tags" Target="../tags/tag86.xml"/><Relationship Id="rId9" Type="http://schemas.openxmlformats.org/officeDocument/2006/relationships/tags" Target="../tags/tag91.xml"/><Relationship Id="rId14" Type="http://schemas.openxmlformats.org/officeDocument/2006/relationships/tags" Target="../tags/tag96.xml"/><Relationship Id="rId22" Type="http://schemas.openxmlformats.org/officeDocument/2006/relationships/image" Target="../media/image88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jpe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93.emf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92.emf"/><Relationship Id="rId11" Type="http://schemas.openxmlformats.org/officeDocument/2006/relationships/image" Target="../media/image97.png"/><Relationship Id="rId5" Type="http://schemas.openxmlformats.org/officeDocument/2006/relationships/image" Target="../media/image91.emf"/><Relationship Id="rId10" Type="http://schemas.openxmlformats.org/officeDocument/2006/relationships/image" Target="../media/image96.svg"/><Relationship Id="rId4" Type="http://schemas.openxmlformats.org/officeDocument/2006/relationships/oleObject" Target="../embeddings/oleObject72.bin"/><Relationship Id="rId9" Type="http://schemas.openxmlformats.org/officeDocument/2006/relationships/image" Target="../media/image95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3.bin"/><Relationship Id="rId3" Type="http://schemas.openxmlformats.org/officeDocument/2006/relationships/tags" Target="../tags/tag104.xml"/><Relationship Id="rId7" Type="http://schemas.openxmlformats.org/officeDocument/2006/relationships/notesSlide" Target="../notesSlides/notesSlide12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106.xml"/><Relationship Id="rId4" Type="http://schemas.openxmlformats.org/officeDocument/2006/relationships/tags" Target="../tags/tag105.xml"/><Relationship Id="rId9" Type="http://schemas.openxmlformats.org/officeDocument/2006/relationships/image" Target="../media/image98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7" Type="http://schemas.openxmlformats.org/officeDocument/2006/relationships/image" Target="../media/image99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07.xml"/><Relationship Id="rId6" Type="http://schemas.openxmlformats.org/officeDocument/2006/relationships/image" Target="../media/image14.png"/><Relationship Id="rId5" Type="http://schemas.openxmlformats.org/officeDocument/2006/relationships/image" Target="../media/image79.png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oleObject" Target="../embeddings/oleObject75.bin"/><Relationship Id="rId7" Type="http://schemas.openxmlformats.org/officeDocument/2006/relationships/image" Target="../media/image100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08.xml"/><Relationship Id="rId6" Type="http://schemas.openxmlformats.org/officeDocument/2006/relationships/hyperlink" Target="https://www.siemens-healthineers.com/de/digital-health-solutions/teamplay-digital-health-platform" TargetMode="External"/><Relationship Id="rId5" Type="http://schemas.openxmlformats.org/officeDocument/2006/relationships/hyperlink" Target="http://www.siemens-healthineers.com/" TargetMode="External"/><Relationship Id="rId4" Type="http://schemas.openxmlformats.org/officeDocument/2006/relationships/image" Target="../media/image1.emf"/><Relationship Id="rId9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3.sv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2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3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4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3" Type="http://schemas.openxmlformats.org/officeDocument/2006/relationships/oleObject" Target="../embeddings/oleObject54.bin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slideLayout" Target="../slideLayouts/slideLayout41.xml"/><Relationship Id="rId16" Type="http://schemas.openxmlformats.org/officeDocument/2006/relationships/image" Target="../media/image26.png"/><Relationship Id="rId1" Type="http://schemas.openxmlformats.org/officeDocument/2006/relationships/tags" Target="../tags/tag55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jpeg"/><Relationship Id="rId15" Type="http://schemas.openxmlformats.org/officeDocument/2006/relationships/image" Target="../media/image25.png"/><Relationship Id="rId10" Type="http://schemas.openxmlformats.org/officeDocument/2006/relationships/image" Target="../media/image20.png"/><Relationship Id="rId4" Type="http://schemas.openxmlformats.org/officeDocument/2006/relationships/image" Target="../media/image1.emf"/><Relationship Id="rId9" Type="http://schemas.openxmlformats.org/officeDocument/2006/relationships/image" Target="../media/image19.png"/><Relationship Id="rId14" Type="http://schemas.openxmlformats.org/officeDocument/2006/relationships/image" Target="../media/image24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13" Type="http://schemas.openxmlformats.org/officeDocument/2006/relationships/image" Target="../media/image32.jpeg"/><Relationship Id="rId3" Type="http://schemas.openxmlformats.org/officeDocument/2006/relationships/oleObject" Target="../embeddings/oleObject55.bin"/><Relationship Id="rId7" Type="http://schemas.openxmlformats.org/officeDocument/2006/relationships/image" Target="../media/image28.png"/><Relationship Id="rId12" Type="http://schemas.openxmlformats.org/officeDocument/2006/relationships/image" Target="../media/image24.sv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6.xml"/><Relationship Id="rId6" Type="http://schemas.openxmlformats.org/officeDocument/2006/relationships/image" Target="../media/image27.png"/><Relationship Id="rId11" Type="http://schemas.openxmlformats.org/officeDocument/2006/relationships/image" Target="../media/image23.png"/><Relationship Id="rId5" Type="http://schemas.openxmlformats.org/officeDocument/2006/relationships/image" Target="../media/image25.png"/><Relationship Id="rId15" Type="http://schemas.openxmlformats.org/officeDocument/2006/relationships/image" Target="../media/image34.png"/><Relationship Id="rId10" Type="http://schemas.openxmlformats.org/officeDocument/2006/relationships/image" Target="../media/image31.png"/><Relationship Id="rId4" Type="http://schemas.openxmlformats.org/officeDocument/2006/relationships/image" Target="../media/image1.emf"/><Relationship Id="rId9" Type="http://schemas.openxmlformats.org/officeDocument/2006/relationships/image" Target="../media/image30.png"/><Relationship Id="rId14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2.png"/><Relationship Id="rId18" Type="http://schemas.openxmlformats.org/officeDocument/2006/relationships/image" Target="../media/image47.jpeg"/><Relationship Id="rId3" Type="http://schemas.openxmlformats.org/officeDocument/2006/relationships/oleObject" Target="../embeddings/oleObject56.bin"/><Relationship Id="rId7" Type="http://schemas.openxmlformats.org/officeDocument/2006/relationships/image" Target="../media/image37.svg"/><Relationship Id="rId12" Type="http://schemas.openxmlformats.org/officeDocument/2006/relationships/image" Target="../media/image41.png"/><Relationship Id="rId17" Type="http://schemas.openxmlformats.org/officeDocument/2006/relationships/image" Target="../media/image46.jpeg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45.png"/><Relationship Id="rId1" Type="http://schemas.openxmlformats.org/officeDocument/2006/relationships/tags" Target="../tags/tag57.xml"/><Relationship Id="rId6" Type="http://schemas.openxmlformats.org/officeDocument/2006/relationships/image" Target="../media/image36.svg"/><Relationship Id="rId11" Type="http://schemas.openxmlformats.org/officeDocument/2006/relationships/image" Target="../media/image18.png"/><Relationship Id="rId5" Type="http://schemas.openxmlformats.org/officeDocument/2006/relationships/image" Target="../media/image35.png"/><Relationship Id="rId15" Type="http://schemas.openxmlformats.org/officeDocument/2006/relationships/image" Target="../media/image44.png"/><Relationship Id="rId10" Type="http://schemas.openxmlformats.org/officeDocument/2006/relationships/image" Target="../media/image40.png"/><Relationship Id="rId4" Type="http://schemas.openxmlformats.org/officeDocument/2006/relationships/image" Target="../media/image1.emf"/><Relationship Id="rId9" Type="http://schemas.openxmlformats.org/officeDocument/2006/relationships/image" Target="../media/image39.svg"/><Relationship Id="rId14" Type="http://schemas.openxmlformats.org/officeDocument/2006/relationships/image" Target="../media/image4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tiff"/><Relationship Id="rId13" Type="http://schemas.openxmlformats.org/officeDocument/2006/relationships/image" Target="../media/image56.png"/><Relationship Id="rId3" Type="http://schemas.openxmlformats.org/officeDocument/2006/relationships/oleObject" Target="../embeddings/oleObject57.bin"/><Relationship Id="rId7" Type="http://schemas.openxmlformats.org/officeDocument/2006/relationships/image" Target="../media/image50.tiff"/><Relationship Id="rId12" Type="http://schemas.openxmlformats.org/officeDocument/2006/relationships/image" Target="../media/image55.emf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8.xml"/><Relationship Id="rId6" Type="http://schemas.openxmlformats.org/officeDocument/2006/relationships/image" Target="../media/image49.tiff"/><Relationship Id="rId11" Type="http://schemas.openxmlformats.org/officeDocument/2006/relationships/image" Target="../media/image54.png"/><Relationship Id="rId5" Type="http://schemas.openxmlformats.org/officeDocument/2006/relationships/image" Target="../media/image48.png"/><Relationship Id="rId10" Type="http://schemas.openxmlformats.org/officeDocument/2006/relationships/image" Target="../media/image53.png"/><Relationship Id="rId4" Type="http://schemas.openxmlformats.org/officeDocument/2006/relationships/image" Target="../media/image1.emf"/><Relationship Id="rId9" Type="http://schemas.openxmlformats.org/officeDocument/2006/relationships/image" Target="../media/image52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4DAE958-BFE7-6828-0EB6-4514CCEC04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6848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4DAE958-BFE7-6828-0EB6-4514CCEC04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3A6C69E-D0B8-6728-005D-86630AC139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9999" y="4360703"/>
            <a:ext cx="4765927" cy="360000"/>
          </a:xfrm>
        </p:spPr>
        <p:txBody>
          <a:bodyPr vert="horz"/>
          <a:lstStyle/>
          <a:p>
            <a:r>
              <a:rPr lang="de-DE" sz="2400" err="1"/>
              <a:t>Midia</a:t>
            </a:r>
            <a:r>
              <a:rPr lang="de-DE" sz="2400"/>
              <a:t>-Hub Symposium Münch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C0C6088-05C5-2751-4715-65C9B83124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0000" y="1915073"/>
            <a:ext cx="5726793" cy="2400452"/>
          </a:xfrm>
        </p:spPr>
        <p:txBody>
          <a:bodyPr/>
          <a:lstStyle/>
          <a:p>
            <a:r>
              <a:rPr lang="de-DE" sz="3200">
                <a:latin typeface="+mj-lt"/>
                <a:ea typeface="+mj-ea"/>
                <a:cs typeface="+mj-cs"/>
              </a:rPr>
              <a:t>Die </a:t>
            </a:r>
            <a:r>
              <a:rPr lang="de-DE" sz="3200" err="1">
                <a:latin typeface="+mj-lt"/>
                <a:ea typeface="+mj-ea"/>
                <a:cs typeface="+mj-cs"/>
              </a:rPr>
              <a:t>tdhp</a:t>
            </a:r>
            <a:r>
              <a:rPr lang="de-DE" sz="3200">
                <a:latin typeface="+mj-lt"/>
                <a:ea typeface="+mj-ea"/>
                <a:cs typeface="+mj-cs"/>
              </a:rPr>
              <a:t> connect als Basis </a:t>
            </a:r>
          </a:p>
          <a:p>
            <a:r>
              <a:rPr lang="de-DE" sz="3200">
                <a:latin typeface="+mj-lt"/>
                <a:ea typeface="+mj-ea"/>
                <a:cs typeface="+mj-cs"/>
              </a:rPr>
              <a:t>für digital vernetzte Gesundheitsversorgu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0B37447-1921-7285-8A66-E074C46903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/>
              <a:t>Dr. Stefan Resch</a:t>
            </a:r>
          </a:p>
          <a:p>
            <a:r>
              <a:rPr lang="de-DE"/>
              <a:t>München | Mai 2024</a:t>
            </a:r>
          </a:p>
        </p:txBody>
      </p:sp>
    </p:spTree>
    <p:extLst>
      <p:ext uri="{BB962C8B-B14F-4D97-AF65-F5344CB8AC3E}">
        <p14:creationId xmlns:p14="http://schemas.microsoft.com/office/powerpoint/2010/main" val="13291708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CCAE77A-0EFA-1BB7-727F-C68D0388AF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CCAE77A-0EFA-1BB7-727F-C68D0388AF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32" name="Gruppieren 531">
            <a:extLst>
              <a:ext uri="{FF2B5EF4-FFF2-40B4-BE49-F238E27FC236}">
                <a16:creationId xmlns:a16="http://schemas.microsoft.com/office/drawing/2014/main" id="{B6E400C4-3E47-DB25-CAF6-CB5EBF199B77}"/>
              </a:ext>
            </a:extLst>
          </p:cNvPr>
          <p:cNvGrpSpPr>
            <a:grpSpLocks/>
          </p:cNvGrpSpPr>
          <p:nvPr/>
        </p:nvGrpSpPr>
        <p:grpSpPr>
          <a:xfrm>
            <a:off x="543055" y="1619250"/>
            <a:ext cx="4203519" cy="2560819"/>
            <a:chOff x="543055" y="1619250"/>
            <a:chExt cx="5153310" cy="3139440"/>
          </a:xfrm>
        </p:grpSpPr>
        <p:grpSp>
          <p:nvGrpSpPr>
            <p:cNvPr id="526" name="Gruppieren 525">
              <a:extLst>
                <a:ext uri="{FF2B5EF4-FFF2-40B4-BE49-F238E27FC236}">
                  <a16:creationId xmlns:a16="http://schemas.microsoft.com/office/drawing/2014/main" id="{7AD2DF6B-AB65-EED4-AE74-D04421367E48}"/>
                </a:ext>
              </a:extLst>
            </p:cNvPr>
            <p:cNvGrpSpPr>
              <a:grpSpLocks/>
            </p:cNvGrpSpPr>
            <p:nvPr/>
          </p:nvGrpSpPr>
          <p:grpSpPr>
            <a:xfrm>
              <a:off x="543055" y="1619250"/>
              <a:ext cx="5153310" cy="3139440"/>
              <a:chOff x="3185160" y="3688080"/>
              <a:chExt cx="5153310" cy="3139440"/>
            </a:xfrm>
          </p:grpSpPr>
          <p:sp>
            <p:nvSpPr>
              <p:cNvPr id="527" name="Rechteck 526">
                <a:extLst>
                  <a:ext uri="{FF2B5EF4-FFF2-40B4-BE49-F238E27FC236}">
                    <a16:creationId xmlns:a16="http://schemas.microsoft.com/office/drawing/2014/main" id="{EEBBFF5A-13B7-470E-6EA6-C4FE9C1767A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185160" y="3688080"/>
                <a:ext cx="5153310" cy="25908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8" name="Rechteck 527">
                <a:extLst>
                  <a:ext uri="{FF2B5EF4-FFF2-40B4-BE49-F238E27FC236}">
                    <a16:creationId xmlns:a16="http://schemas.microsoft.com/office/drawing/2014/main" id="{A9B09489-D65C-30D7-309F-58163152DB2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45380" y="6271260"/>
                <a:ext cx="1632870" cy="47244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9" name="Rechteck 528">
                <a:extLst>
                  <a:ext uri="{FF2B5EF4-FFF2-40B4-BE49-F238E27FC236}">
                    <a16:creationId xmlns:a16="http://schemas.microsoft.com/office/drawing/2014/main" id="{0EA01491-4591-2524-A25A-CCD4C1B77EE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482750" y="6736080"/>
                <a:ext cx="2558130" cy="9144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0" name="Rechtwinkliges Dreieck 529">
                <a:extLst>
                  <a:ext uri="{FF2B5EF4-FFF2-40B4-BE49-F238E27FC236}">
                    <a16:creationId xmlns:a16="http://schemas.microsoft.com/office/drawing/2014/main" id="{8E7176EC-B95D-BFD9-6EEA-3FC974D4CDFD}"/>
                  </a:ext>
                </a:extLst>
              </p:cNvPr>
              <p:cNvSpPr/>
              <p:nvPr/>
            </p:nvSpPr>
            <p:spPr>
              <a:xfrm flipH="1" flipV="1">
                <a:off x="4945379" y="6278880"/>
                <a:ext cx="1632870" cy="457200"/>
              </a:xfrm>
              <a:prstGeom prst="rtTriangle">
                <a:avLst/>
              </a:prstGeom>
              <a:solidFill>
                <a:schemeClr val="tx1">
                  <a:alpha val="3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E903F403-F8E2-78D6-FB80-714CD02B3B6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27085" y="1688914"/>
              <a:ext cx="4986371" cy="2437086"/>
            </a:xfrm>
            <a:prstGeom prst="rect">
              <a:avLst/>
            </a:prstGeom>
            <a:ln w="15875">
              <a:solidFill>
                <a:srgbClr val="1B1B1B"/>
              </a:solidFill>
              <a:miter lim="800000"/>
            </a:ln>
          </p:spPr>
        </p:pic>
      </p:grpSp>
      <p:grpSp>
        <p:nvGrpSpPr>
          <p:cNvPr id="531" name="Gruppieren 530">
            <a:extLst>
              <a:ext uri="{FF2B5EF4-FFF2-40B4-BE49-F238E27FC236}">
                <a16:creationId xmlns:a16="http://schemas.microsoft.com/office/drawing/2014/main" id="{36641FC3-2F34-4296-A13E-7EDAFBB9C134}"/>
              </a:ext>
            </a:extLst>
          </p:cNvPr>
          <p:cNvGrpSpPr>
            <a:grpSpLocks/>
          </p:cNvGrpSpPr>
          <p:nvPr/>
        </p:nvGrpSpPr>
        <p:grpSpPr>
          <a:xfrm>
            <a:off x="2431526" y="2626154"/>
            <a:ext cx="4203519" cy="2560819"/>
            <a:chOff x="1805396" y="2630442"/>
            <a:chExt cx="5153310" cy="3139440"/>
          </a:xfrm>
        </p:grpSpPr>
        <p:grpSp>
          <p:nvGrpSpPr>
            <p:cNvPr id="521" name="Gruppieren 520">
              <a:extLst>
                <a:ext uri="{FF2B5EF4-FFF2-40B4-BE49-F238E27FC236}">
                  <a16:creationId xmlns:a16="http://schemas.microsoft.com/office/drawing/2014/main" id="{5A05FF3B-69A1-C4E5-C7EB-F192E138EDEE}"/>
                </a:ext>
              </a:extLst>
            </p:cNvPr>
            <p:cNvGrpSpPr/>
            <p:nvPr/>
          </p:nvGrpSpPr>
          <p:grpSpPr>
            <a:xfrm>
              <a:off x="1805396" y="2630442"/>
              <a:ext cx="5153310" cy="3139440"/>
              <a:chOff x="3185160" y="3688080"/>
              <a:chExt cx="5153310" cy="3139440"/>
            </a:xfrm>
          </p:grpSpPr>
          <p:sp>
            <p:nvSpPr>
              <p:cNvPr id="522" name="Rechteck 521">
                <a:extLst>
                  <a:ext uri="{FF2B5EF4-FFF2-40B4-BE49-F238E27FC236}">
                    <a16:creationId xmlns:a16="http://schemas.microsoft.com/office/drawing/2014/main" id="{4ED21239-A136-8F86-4DEC-F433CB307C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185160" y="3688080"/>
                <a:ext cx="5153310" cy="25908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3" name="Rechteck 522">
                <a:extLst>
                  <a:ext uri="{FF2B5EF4-FFF2-40B4-BE49-F238E27FC236}">
                    <a16:creationId xmlns:a16="http://schemas.microsoft.com/office/drawing/2014/main" id="{1FA07F6F-EC5F-AE4A-1316-9BF57EEC7B8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45380" y="6271260"/>
                <a:ext cx="1632870" cy="47244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4" name="Rechteck 523">
                <a:extLst>
                  <a:ext uri="{FF2B5EF4-FFF2-40B4-BE49-F238E27FC236}">
                    <a16:creationId xmlns:a16="http://schemas.microsoft.com/office/drawing/2014/main" id="{D777F178-53C5-2C9A-6172-7DD9D32D7DA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482750" y="6736080"/>
                <a:ext cx="2558130" cy="9144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5" name="Rechtwinkliges Dreieck 524">
                <a:extLst>
                  <a:ext uri="{FF2B5EF4-FFF2-40B4-BE49-F238E27FC236}">
                    <a16:creationId xmlns:a16="http://schemas.microsoft.com/office/drawing/2014/main" id="{86DD6B61-8A60-443D-EA09-18801D97308E}"/>
                  </a:ext>
                </a:extLst>
              </p:cNvPr>
              <p:cNvSpPr/>
              <p:nvPr/>
            </p:nvSpPr>
            <p:spPr>
              <a:xfrm flipH="1" flipV="1">
                <a:off x="4945379" y="6278880"/>
                <a:ext cx="1632870" cy="457200"/>
              </a:xfrm>
              <a:prstGeom prst="rtTriangle">
                <a:avLst/>
              </a:prstGeom>
              <a:solidFill>
                <a:schemeClr val="tx1">
                  <a:alpha val="3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788E12B9-394D-DFF6-586D-C045C88F782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904315" y="2691057"/>
              <a:ext cx="4986371" cy="2437086"/>
            </a:xfrm>
            <a:prstGeom prst="rect">
              <a:avLst/>
            </a:prstGeom>
            <a:ln w="15875">
              <a:solidFill>
                <a:srgbClr val="1B1B1B"/>
              </a:solidFill>
              <a:miter lim="800000"/>
            </a:ln>
          </p:spPr>
        </p:pic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E697D4C5-95CA-F09F-FABF-6F4E26B68AC0}"/>
              </a:ext>
            </a:extLst>
          </p:cNvPr>
          <p:cNvGrpSpPr>
            <a:grpSpLocks/>
          </p:cNvGrpSpPr>
          <p:nvPr/>
        </p:nvGrpSpPr>
        <p:grpSpPr>
          <a:xfrm>
            <a:off x="8994773" y="1619250"/>
            <a:ext cx="3175003" cy="5238751"/>
            <a:chOff x="8994773" y="1619250"/>
            <a:chExt cx="3175003" cy="5238751"/>
          </a:xfrm>
        </p:grpSpPr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647D6AC3-ED16-C9A2-3588-E6B20562EC05}"/>
                </a:ext>
              </a:extLst>
            </p:cNvPr>
            <p:cNvSpPr/>
            <p:nvPr/>
          </p:nvSpPr>
          <p:spPr>
            <a:xfrm>
              <a:off x="8994773" y="1619250"/>
              <a:ext cx="3175003" cy="5238751"/>
            </a:xfrm>
            <a:custGeom>
              <a:avLst/>
              <a:gdLst>
                <a:gd name="connsiteX0" fmla="*/ 2641103 w 3175003"/>
                <a:gd name="connsiteY0" fmla="*/ 0 h 5238751"/>
                <a:gd name="connsiteX1" fmla="*/ 3175003 w 3175003"/>
                <a:gd name="connsiteY1" fmla="*/ 1401789 h 5238751"/>
                <a:gd name="connsiteX2" fmla="*/ 3175003 w 3175003"/>
                <a:gd name="connsiteY2" fmla="*/ 5238751 h 5238751"/>
                <a:gd name="connsiteX3" fmla="*/ 252737 w 3175003"/>
                <a:gd name="connsiteY3" fmla="*/ 5238751 h 5238751"/>
                <a:gd name="connsiteX4" fmla="*/ 0 w 3175003"/>
                <a:gd name="connsiteY4" fmla="*/ 4575174 h 5238751"/>
                <a:gd name="connsiteX5" fmla="*/ 2641103 w 3175003"/>
                <a:gd name="connsiteY5" fmla="*/ 4575174 h 5238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5003" h="5238751">
                  <a:moveTo>
                    <a:pt x="2641103" y="0"/>
                  </a:moveTo>
                  <a:lnTo>
                    <a:pt x="3175003" y="1401789"/>
                  </a:lnTo>
                  <a:lnTo>
                    <a:pt x="3175003" y="5238751"/>
                  </a:lnTo>
                  <a:lnTo>
                    <a:pt x="252737" y="5238751"/>
                  </a:lnTo>
                  <a:lnTo>
                    <a:pt x="0" y="4575174"/>
                  </a:lnTo>
                  <a:lnTo>
                    <a:pt x="2641103" y="4575174"/>
                  </a:lnTo>
                  <a:close/>
                </a:path>
              </a:pathLst>
            </a:custGeom>
            <a:pattFill prst="wdDnDiag">
              <a:fgClr>
                <a:srgbClr val="ECECEC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B3CB6A98-B5C3-8D77-68E5-00837CBE2790}"/>
                </a:ext>
              </a:extLst>
            </p:cNvPr>
            <p:cNvSpPr txBox="1">
              <a:spLocks/>
            </p:cNvSpPr>
            <p:nvPr/>
          </p:nvSpPr>
          <p:spPr>
            <a:xfrm>
              <a:off x="8994774" y="1619250"/>
              <a:ext cx="2633663" cy="4575175"/>
            </a:xfrm>
            <a:prstGeom prst="rect">
              <a:avLst/>
            </a:prstGeom>
            <a:solidFill>
              <a:srgbClr val="ECECEC"/>
            </a:solidFill>
            <a:effectLst>
              <a:outerShdw blurRad="50800" dist="38100" dir="2700000" algn="tl" rotWithShape="0">
                <a:prstClr val="black">
                  <a:alpha val="8000"/>
                </a:prstClr>
              </a:outerShdw>
            </a:effectLst>
          </p:spPr>
          <p:txBody>
            <a:bodyPr wrap="square" lIns="180000" tIns="144000" rIns="180000" bIns="0" rtlCol="0" anchor="t">
              <a:noAutofit/>
            </a:bodyPr>
            <a:lstStyle/>
            <a:p>
              <a:pPr>
                <a:spcAft>
                  <a:spcPts val="300"/>
                </a:spcAft>
              </a:pPr>
              <a:endParaRPr lang="de-DE" sz="44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0CF6A715-0F2A-5B18-60BE-FB41B9D72B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noProof="0"/>
              <a:t>Ärzteportal – </a:t>
            </a:r>
            <a:r>
              <a:rPr lang="de-DE"/>
              <a:t>Sicherer und zentraler Zugriff</a:t>
            </a:r>
            <a:br>
              <a:rPr lang="de-DE"/>
            </a:br>
            <a:r>
              <a:rPr lang="de-DE"/>
              <a:t>auf alle relevanten Daten</a:t>
            </a:r>
            <a:br>
              <a:rPr lang="de-DE" noProof="0"/>
            </a:b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A91C973-50E8-323E-E8D5-73D8CF7C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238AD6-11E9-3EB9-935A-B1A9F6684AE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pt-BR"/>
              <a:t>A91GER-H-001672-E4</a:t>
            </a:r>
            <a:endParaRPr lang="de-DE"/>
          </a:p>
        </p:txBody>
      </p:sp>
      <p:grpSp>
        <p:nvGrpSpPr>
          <p:cNvPr id="533" name="Gruppieren 532">
            <a:extLst>
              <a:ext uri="{FF2B5EF4-FFF2-40B4-BE49-F238E27FC236}">
                <a16:creationId xmlns:a16="http://schemas.microsoft.com/office/drawing/2014/main" id="{7F02CA11-6D52-B9CA-72B6-EA54DAD640DB}"/>
              </a:ext>
            </a:extLst>
          </p:cNvPr>
          <p:cNvGrpSpPr/>
          <p:nvPr/>
        </p:nvGrpSpPr>
        <p:grpSpPr>
          <a:xfrm>
            <a:off x="4319996" y="3633058"/>
            <a:ext cx="4203519" cy="2560819"/>
            <a:chOff x="3470910" y="3054985"/>
            <a:chExt cx="5153310" cy="3139440"/>
          </a:xfrm>
        </p:grpSpPr>
        <p:grpSp>
          <p:nvGrpSpPr>
            <p:cNvPr id="520" name="Gruppieren 519">
              <a:extLst>
                <a:ext uri="{FF2B5EF4-FFF2-40B4-BE49-F238E27FC236}">
                  <a16:creationId xmlns:a16="http://schemas.microsoft.com/office/drawing/2014/main" id="{29D3CDC0-BC3E-1BB3-0441-A192EAE68911}"/>
                </a:ext>
              </a:extLst>
            </p:cNvPr>
            <p:cNvGrpSpPr/>
            <p:nvPr/>
          </p:nvGrpSpPr>
          <p:grpSpPr>
            <a:xfrm>
              <a:off x="3470910" y="3054985"/>
              <a:ext cx="5153310" cy="3139440"/>
              <a:chOff x="3185160" y="3688080"/>
              <a:chExt cx="5153310" cy="3139440"/>
            </a:xfrm>
          </p:grpSpPr>
          <p:sp>
            <p:nvSpPr>
              <p:cNvPr id="516" name="Rechteck 515">
                <a:extLst>
                  <a:ext uri="{FF2B5EF4-FFF2-40B4-BE49-F238E27FC236}">
                    <a16:creationId xmlns:a16="http://schemas.microsoft.com/office/drawing/2014/main" id="{DAAFF312-DACC-B030-E60F-16142270B37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185160" y="3688080"/>
                <a:ext cx="5153310" cy="25908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7" name="Rechteck 516">
                <a:extLst>
                  <a:ext uri="{FF2B5EF4-FFF2-40B4-BE49-F238E27FC236}">
                    <a16:creationId xmlns:a16="http://schemas.microsoft.com/office/drawing/2014/main" id="{F577AC1E-F3E4-4210-7D83-C763C24D84F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45380" y="6271260"/>
                <a:ext cx="1632870" cy="47244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8" name="Rechteck 517">
                <a:extLst>
                  <a:ext uri="{FF2B5EF4-FFF2-40B4-BE49-F238E27FC236}">
                    <a16:creationId xmlns:a16="http://schemas.microsoft.com/office/drawing/2014/main" id="{36F7D23D-E500-C4FD-580D-4D6E8499B09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482750" y="6736080"/>
                <a:ext cx="2558130" cy="9144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9" name="Rechtwinkliges Dreieck 518">
                <a:extLst>
                  <a:ext uri="{FF2B5EF4-FFF2-40B4-BE49-F238E27FC236}">
                    <a16:creationId xmlns:a16="http://schemas.microsoft.com/office/drawing/2014/main" id="{2682F799-6A43-967F-D8E7-D541A87EA492}"/>
                  </a:ext>
                </a:extLst>
              </p:cNvPr>
              <p:cNvSpPr/>
              <p:nvPr/>
            </p:nvSpPr>
            <p:spPr>
              <a:xfrm flipH="1" flipV="1">
                <a:off x="4945379" y="6278880"/>
                <a:ext cx="1632870" cy="457200"/>
              </a:xfrm>
              <a:prstGeom prst="rtTriangle">
                <a:avLst/>
              </a:prstGeom>
              <a:solidFill>
                <a:schemeClr val="tx1">
                  <a:alpha val="3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9DC1979D-9347-10DF-FB25-FA70376FFE8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554379" y="3125419"/>
              <a:ext cx="4986371" cy="2437086"/>
            </a:xfrm>
            <a:prstGeom prst="rect">
              <a:avLst/>
            </a:prstGeom>
            <a:ln w="15875">
              <a:solidFill>
                <a:srgbClr val="1B1B1B"/>
              </a:solidFill>
              <a:miter lim="800000"/>
            </a:ln>
          </p:spPr>
        </p:pic>
      </p:grpSp>
      <p:cxnSp>
        <p:nvCxnSpPr>
          <p:cNvPr id="540" name="Gerader Verbinder 539">
            <a:extLst>
              <a:ext uri="{FF2B5EF4-FFF2-40B4-BE49-F238E27FC236}">
                <a16:creationId xmlns:a16="http://schemas.microsoft.com/office/drawing/2014/main" id="{9F7ABFFD-B0A9-2076-DABB-E652D8B779FF}"/>
              </a:ext>
            </a:extLst>
          </p:cNvPr>
          <p:cNvCxnSpPr>
            <a:cxnSpLocks/>
          </p:cNvCxnSpPr>
          <p:nvPr/>
        </p:nvCxnSpPr>
        <p:spPr>
          <a:xfrm>
            <a:off x="3176" y="6193877"/>
            <a:ext cx="8759824" cy="0"/>
          </a:xfrm>
          <a:prstGeom prst="line">
            <a:avLst/>
          </a:prstGeom>
          <a:ln w="12700" cap="rnd">
            <a:gradFill flip="none" rotWithShape="1">
              <a:gsLst>
                <a:gs pos="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0" scaled="1"/>
              <a:tileRect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B15F2E4-317D-E02E-7695-710CF52540E7}"/>
              </a:ext>
            </a:extLst>
          </p:cNvPr>
          <p:cNvGrpSpPr/>
          <p:nvPr/>
        </p:nvGrpSpPr>
        <p:grpSpPr>
          <a:xfrm>
            <a:off x="9210675" y="5084932"/>
            <a:ext cx="2201842" cy="906229"/>
            <a:chOff x="9210675" y="5084932"/>
            <a:chExt cx="2201842" cy="906229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81B012BE-1689-05BD-23B8-2082959BD7F9}"/>
                </a:ext>
              </a:extLst>
            </p:cNvPr>
            <p:cNvSpPr>
              <a:spLocks/>
            </p:cNvSpPr>
            <p:nvPr/>
          </p:nvSpPr>
          <p:spPr>
            <a:xfrm>
              <a:off x="9210675" y="5084932"/>
              <a:ext cx="2201842" cy="90622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ctr"/>
              <a:r>
                <a:rPr lang="en-US" sz="1000" b="1" i="1">
                  <a:solidFill>
                    <a:schemeClr val="accent5"/>
                  </a:solidFill>
                </a:rPr>
                <a:t>Ein </a:t>
              </a:r>
              <a:r>
                <a:rPr lang="en-US" sz="1000" b="1" i="1" err="1">
                  <a:solidFill>
                    <a:schemeClr val="accent5"/>
                  </a:solidFill>
                </a:rPr>
                <a:t>Mehrwertdienst</a:t>
              </a:r>
              <a:r>
                <a:rPr lang="en-US" sz="1000" b="1" i="1">
                  <a:solidFill>
                    <a:schemeClr val="accent5"/>
                  </a:solidFill>
                </a:rPr>
                <a:t> der</a:t>
              </a:r>
            </a:p>
          </p:txBody>
        </p:sp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1D3632B6-F23F-98FD-02E1-2FF27BA6232A}"/>
                </a:ext>
              </a:extLst>
            </p:cNvPr>
            <p:cNvGrpSpPr>
              <a:grpSpLocks/>
            </p:cNvGrpSpPr>
            <p:nvPr/>
          </p:nvGrpSpPr>
          <p:grpSpPr>
            <a:xfrm>
              <a:off x="9544327" y="5359400"/>
              <a:ext cx="1617999" cy="593332"/>
              <a:chOff x="-334159" y="2351127"/>
              <a:chExt cx="7277485" cy="2668705"/>
            </a:xfrm>
          </p:grpSpPr>
          <p:pic>
            <p:nvPicPr>
              <p:cNvPr id="8" name="Grafik 7">
                <a:extLst>
                  <a:ext uri="{FF2B5EF4-FFF2-40B4-BE49-F238E27FC236}">
                    <a16:creationId xmlns:a16="http://schemas.microsoft.com/office/drawing/2014/main" id="{F400CAE8-947E-1C63-5BF5-84375BA529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b="30378"/>
              <a:stretch/>
            </p:blipFill>
            <p:spPr>
              <a:xfrm>
                <a:off x="1250157" y="2351127"/>
                <a:ext cx="3440463" cy="1620442"/>
              </a:xfrm>
              <a:prstGeom prst="rect">
                <a:avLst/>
              </a:prstGeom>
            </p:spPr>
          </p:pic>
          <p:pic>
            <p:nvPicPr>
              <p:cNvPr id="13" name="Grafik 12">
                <a:extLst>
                  <a:ext uri="{FF2B5EF4-FFF2-40B4-BE49-F238E27FC236}">
                    <a16:creationId xmlns:a16="http://schemas.microsoft.com/office/drawing/2014/main" id="{13E9EEB0-A77F-FA6D-3A6A-3849A1CC9E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-334159" y="4038532"/>
                <a:ext cx="7277485" cy="981300"/>
              </a:xfrm>
              <a:prstGeom prst="rect">
                <a:avLst/>
              </a:prstGeom>
            </p:spPr>
          </p:pic>
        </p:grp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6AA9EC82-2AB8-2775-BDDE-78C8D6A10435}"/>
              </a:ext>
            </a:extLst>
          </p:cNvPr>
          <p:cNvGrpSpPr/>
          <p:nvPr/>
        </p:nvGrpSpPr>
        <p:grpSpPr>
          <a:xfrm>
            <a:off x="9210675" y="1826246"/>
            <a:ext cx="2201842" cy="906229"/>
            <a:chOff x="9210675" y="1826246"/>
            <a:chExt cx="2201842" cy="906229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7A62A457-DF10-EBA6-2F25-3ABFB73F1B0F}"/>
                </a:ext>
              </a:extLst>
            </p:cNvPr>
            <p:cNvSpPr>
              <a:spLocks/>
            </p:cNvSpPr>
            <p:nvPr/>
          </p:nvSpPr>
          <p:spPr>
            <a:xfrm>
              <a:off x="9210675" y="1826246"/>
              <a:ext cx="2201842" cy="90622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tlCol="0" anchor="t"/>
            <a:lstStyle/>
            <a:p>
              <a:pPr algn="l"/>
              <a:r>
                <a:rPr lang="en-US" sz="1200" b="1" err="1">
                  <a:solidFill>
                    <a:schemeClr val="tx1"/>
                  </a:solidFill>
                </a:rPr>
                <a:t>Medizinische</a:t>
              </a:r>
              <a:r>
                <a:rPr lang="en-US" sz="1200" b="1">
                  <a:solidFill>
                    <a:schemeClr val="tx1"/>
                  </a:solidFill>
                </a:rPr>
                <a:t> </a:t>
              </a:r>
              <a:br>
                <a:rPr lang="en-US" sz="1200" b="1">
                  <a:solidFill>
                    <a:schemeClr val="tx1"/>
                  </a:solidFill>
                </a:rPr>
              </a:br>
              <a:r>
                <a:rPr lang="en-US" sz="1200" b="1">
                  <a:solidFill>
                    <a:schemeClr val="tx1"/>
                  </a:solidFill>
                </a:rPr>
                <a:t>Partner</a:t>
              </a:r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A49FFA6-DE33-E7A5-E0A0-B65D474E0E1D}"/>
                </a:ext>
              </a:extLst>
            </p:cNvPr>
            <p:cNvGrpSpPr/>
            <p:nvPr/>
          </p:nvGrpSpPr>
          <p:grpSpPr>
            <a:xfrm>
              <a:off x="10463363" y="1936376"/>
              <a:ext cx="788837" cy="693056"/>
              <a:chOff x="9291637" y="1854304"/>
              <a:chExt cx="950913" cy="835453"/>
            </a:xfrm>
          </p:grpSpPr>
          <p:grpSp>
            <p:nvGrpSpPr>
              <p:cNvPr id="24" name="Gruppieren 23">
                <a:extLst>
                  <a:ext uri="{FF2B5EF4-FFF2-40B4-BE49-F238E27FC236}">
                    <a16:creationId xmlns:a16="http://schemas.microsoft.com/office/drawing/2014/main" id="{296405CF-F1C2-D3AA-DEB9-380316F2020E}"/>
                  </a:ext>
                </a:extLst>
              </p:cNvPr>
              <p:cNvGrpSpPr/>
              <p:nvPr/>
            </p:nvGrpSpPr>
            <p:grpSpPr>
              <a:xfrm>
                <a:off x="9956732" y="1880092"/>
                <a:ext cx="285818" cy="809665"/>
                <a:chOff x="8386350" y="7360423"/>
                <a:chExt cx="1906395" cy="5400434"/>
              </a:xfrm>
            </p:grpSpPr>
            <p:grpSp>
              <p:nvGrpSpPr>
                <p:cNvPr id="632" name="Grafik 23">
                  <a:extLst>
                    <a:ext uri="{FF2B5EF4-FFF2-40B4-BE49-F238E27FC236}">
                      <a16:creationId xmlns:a16="http://schemas.microsoft.com/office/drawing/2014/main" id="{83508F38-B62A-A8BE-3925-A29381DC47A7}"/>
                    </a:ext>
                  </a:extLst>
                </p:cNvPr>
                <p:cNvGrpSpPr/>
                <p:nvPr/>
              </p:nvGrpSpPr>
              <p:grpSpPr>
                <a:xfrm>
                  <a:off x="8386350" y="7360423"/>
                  <a:ext cx="1583022" cy="5400434"/>
                  <a:chOff x="8386350" y="781823"/>
                  <a:chExt cx="1583022" cy="5400434"/>
                </a:xfrm>
              </p:grpSpPr>
              <p:sp>
                <p:nvSpPr>
                  <p:cNvPr id="722" name="Freihandform: Form 721">
                    <a:extLst>
                      <a:ext uri="{FF2B5EF4-FFF2-40B4-BE49-F238E27FC236}">
                        <a16:creationId xmlns:a16="http://schemas.microsoft.com/office/drawing/2014/main" id="{07122FA3-C559-9ACD-339A-3FD0F9152FF5}"/>
                      </a:ext>
                    </a:extLst>
                  </p:cNvPr>
                  <p:cNvSpPr/>
                  <p:nvPr/>
                </p:nvSpPr>
                <p:spPr>
                  <a:xfrm>
                    <a:off x="9182798" y="5806059"/>
                    <a:ext cx="145732" cy="145732"/>
                  </a:xfrm>
                  <a:custGeom>
                    <a:avLst/>
                    <a:gdLst>
                      <a:gd name="connsiteX0" fmla="*/ 145732 w 145732"/>
                      <a:gd name="connsiteY0" fmla="*/ 72866 h 145732"/>
                      <a:gd name="connsiteX1" fmla="*/ 72866 w 145732"/>
                      <a:gd name="connsiteY1" fmla="*/ 145733 h 145732"/>
                      <a:gd name="connsiteX2" fmla="*/ -1 w 145732"/>
                      <a:gd name="connsiteY2" fmla="*/ 72866 h 145732"/>
                      <a:gd name="connsiteX3" fmla="*/ 72866 w 145732"/>
                      <a:gd name="connsiteY3" fmla="*/ 0 h 145732"/>
                      <a:gd name="connsiteX4" fmla="*/ 145732 w 145732"/>
                      <a:gd name="connsiteY4" fmla="*/ 72866 h 1457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5732" h="145732">
                        <a:moveTo>
                          <a:pt x="145732" y="72866"/>
                        </a:moveTo>
                        <a:cubicBezTo>
                          <a:pt x="145732" y="113109"/>
                          <a:pt x="113109" y="145733"/>
                          <a:pt x="72866" y="145733"/>
                        </a:cubicBezTo>
                        <a:cubicBezTo>
                          <a:pt x="32623" y="145733"/>
                          <a:pt x="-1" y="113109"/>
                          <a:pt x="-1" y="72866"/>
                        </a:cubicBezTo>
                        <a:cubicBezTo>
                          <a:pt x="-1" y="32624"/>
                          <a:pt x="32623" y="0"/>
                          <a:pt x="72866" y="0"/>
                        </a:cubicBezTo>
                        <a:cubicBezTo>
                          <a:pt x="113109" y="0"/>
                          <a:pt x="145732" y="32624"/>
                          <a:pt x="145732" y="7286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3" name="Freihandform: Form 722">
                    <a:extLst>
                      <a:ext uri="{FF2B5EF4-FFF2-40B4-BE49-F238E27FC236}">
                        <a16:creationId xmlns:a16="http://schemas.microsoft.com/office/drawing/2014/main" id="{F5E0762C-E6EA-6F22-03FB-AE8A3C12E45A}"/>
                      </a:ext>
                    </a:extLst>
                  </p:cNvPr>
                  <p:cNvSpPr/>
                  <p:nvPr/>
                </p:nvSpPr>
                <p:spPr>
                  <a:xfrm>
                    <a:off x="9365963" y="5825680"/>
                    <a:ext cx="145732" cy="145732"/>
                  </a:xfrm>
                  <a:custGeom>
                    <a:avLst/>
                    <a:gdLst>
                      <a:gd name="connsiteX0" fmla="*/ 145733 w 145732"/>
                      <a:gd name="connsiteY0" fmla="*/ 72866 h 145732"/>
                      <a:gd name="connsiteX1" fmla="*/ 72866 w 145732"/>
                      <a:gd name="connsiteY1" fmla="*/ 145733 h 145732"/>
                      <a:gd name="connsiteX2" fmla="*/ 0 w 145732"/>
                      <a:gd name="connsiteY2" fmla="*/ 72866 h 145732"/>
                      <a:gd name="connsiteX3" fmla="*/ 72866 w 145732"/>
                      <a:gd name="connsiteY3" fmla="*/ 0 h 145732"/>
                      <a:gd name="connsiteX4" fmla="*/ 145733 w 145732"/>
                      <a:gd name="connsiteY4" fmla="*/ 72866 h 1457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5732" h="145732">
                        <a:moveTo>
                          <a:pt x="145733" y="72866"/>
                        </a:moveTo>
                        <a:cubicBezTo>
                          <a:pt x="145733" y="113109"/>
                          <a:pt x="113109" y="145733"/>
                          <a:pt x="72866" y="145733"/>
                        </a:cubicBezTo>
                        <a:cubicBezTo>
                          <a:pt x="32623" y="145733"/>
                          <a:pt x="0" y="113109"/>
                          <a:pt x="0" y="72866"/>
                        </a:cubicBezTo>
                        <a:cubicBezTo>
                          <a:pt x="0" y="32624"/>
                          <a:pt x="32623" y="0"/>
                          <a:pt x="72866" y="0"/>
                        </a:cubicBezTo>
                        <a:cubicBezTo>
                          <a:pt x="113109" y="0"/>
                          <a:pt x="145733" y="32624"/>
                          <a:pt x="145733" y="7286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4" name="Freihandform: Form 723">
                    <a:extLst>
                      <a:ext uri="{FF2B5EF4-FFF2-40B4-BE49-F238E27FC236}">
                        <a16:creationId xmlns:a16="http://schemas.microsoft.com/office/drawing/2014/main" id="{7DB608F8-F69D-532E-30FB-53C6978B0503}"/>
                      </a:ext>
                    </a:extLst>
                  </p:cNvPr>
                  <p:cNvSpPr/>
                  <p:nvPr/>
                </p:nvSpPr>
                <p:spPr>
                  <a:xfrm>
                    <a:off x="8938672" y="4682013"/>
                    <a:ext cx="389953" cy="1217787"/>
                  </a:xfrm>
                  <a:custGeom>
                    <a:avLst/>
                    <a:gdLst>
                      <a:gd name="connsiteX0" fmla="*/ 389954 w 389953"/>
                      <a:gd name="connsiteY0" fmla="*/ 1196054 h 1217787"/>
                      <a:gd name="connsiteX1" fmla="*/ 245079 w 389953"/>
                      <a:gd name="connsiteY1" fmla="*/ 1208532 h 1217787"/>
                      <a:gd name="connsiteX2" fmla="*/ 52388 w 389953"/>
                      <a:gd name="connsiteY2" fmla="*/ 579406 h 1217787"/>
                      <a:gd name="connsiteX3" fmla="*/ 0 w 389953"/>
                      <a:gd name="connsiteY3" fmla="*/ 44863 h 1217787"/>
                      <a:gd name="connsiteX4" fmla="*/ 306705 w 389953"/>
                      <a:gd name="connsiteY4" fmla="*/ 0 h 1217787"/>
                      <a:gd name="connsiteX5" fmla="*/ 316039 w 389953"/>
                      <a:gd name="connsiteY5" fmla="*/ 166878 h 1217787"/>
                      <a:gd name="connsiteX6" fmla="*/ 351091 w 389953"/>
                      <a:gd name="connsiteY6" fmla="*/ 480251 h 1217787"/>
                      <a:gd name="connsiteX7" fmla="*/ 361760 w 389953"/>
                      <a:gd name="connsiteY7" fmla="*/ 876681 h 1217787"/>
                      <a:gd name="connsiteX8" fmla="*/ 389858 w 389953"/>
                      <a:gd name="connsiteY8" fmla="*/ 1195959 h 12177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89953" h="1217787">
                        <a:moveTo>
                          <a:pt x="389954" y="1196054"/>
                        </a:moveTo>
                        <a:cubicBezTo>
                          <a:pt x="339471" y="1220438"/>
                          <a:pt x="293561" y="1223867"/>
                          <a:pt x="245079" y="1208532"/>
                        </a:cubicBezTo>
                        <a:cubicBezTo>
                          <a:pt x="209550" y="1038987"/>
                          <a:pt x="96964" y="734759"/>
                          <a:pt x="52388" y="579406"/>
                        </a:cubicBezTo>
                        <a:cubicBezTo>
                          <a:pt x="7715" y="423767"/>
                          <a:pt x="0" y="44863"/>
                          <a:pt x="0" y="44863"/>
                        </a:cubicBezTo>
                        <a:lnTo>
                          <a:pt x="306705" y="0"/>
                        </a:lnTo>
                        <a:lnTo>
                          <a:pt x="316039" y="166878"/>
                        </a:lnTo>
                        <a:cubicBezTo>
                          <a:pt x="316039" y="166878"/>
                          <a:pt x="347472" y="345662"/>
                          <a:pt x="351091" y="480251"/>
                        </a:cubicBezTo>
                        <a:cubicBezTo>
                          <a:pt x="354711" y="614839"/>
                          <a:pt x="361760" y="876681"/>
                          <a:pt x="361760" y="876681"/>
                        </a:cubicBezTo>
                        <a:lnTo>
                          <a:pt x="389858" y="1195959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5" name="Freihandform: Form 724">
                    <a:extLst>
                      <a:ext uri="{FF2B5EF4-FFF2-40B4-BE49-F238E27FC236}">
                        <a16:creationId xmlns:a16="http://schemas.microsoft.com/office/drawing/2014/main" id="{1100E3F8-013F-AF87-7AEC-051976D02728}"/>
                      </a:ext>
                    </a:extLst>
                  </p:cNvPr>
                  <p:cNvSpPr/>
                  <p:nvPr/>
                </p:nvSpPr>
                <p:spPr>
                  <a:xfrm>
                    <a:off x="8936291" y="4539329"/>
                    <a:ext cx="309943" cy="318515"/>
                  </a:xfrm>
                  <a:custGeom>
                    <a:avLst/>
                    <a:gdLst>
                      <a:gd name="connsiteX0" fmla="*/ 309944 w 309943"/>
                      <a:gd name="connsiteY0" fmla="*/ 159258 h 318515"/>
                      <a:gd name="connsiteX1" fmla="*/ 154972 w 309943"/>
                      <a:gd name="connsiteY1" fmla="*/ 318516 h 318515"/>
                      <a:gd name="connsiteX2" fmla="*/ 0 w 309943"/>
                      <a:gd name="connsiteY2" fmla="*/ 159258 h 318515"/>
                      <a:gd name="connsiteX3" fmla="*/ 154972 w 309943"/>
                      <a:gd name="connsiteY3" fmla="*/ 0 h 318515"/>
                      <a:gd name="connsiteX4" fmla="*/ 309944 w 309943"/>
                      <a:gd name="connsiteY4" fmla="*/ 159258 h 3185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9943" h="318515">
                        <a:moveTo>
                          <a:pt x="309944" y="159258"/>
                        </a:moveTo>
                        <a:cubicBezTo>
                          <a:pt x="309944" y="247214"/>
                          <a:pt x="240561" y="318516"/>
                          <a:pt x="154972" y="318516"/>
                        </a:cubicBezTo>
                        <a:cubicBezTo>
                          <a:pt x="69383" y="318516"/>
                          <a:pt x="0" y="247214"/>
                          <a:pt x="0" y="159258"/>
                        </a:cubicBezTo>
                        <a:cubicBezTo>
                          <a:pt x="0" y="71302"/>
                          <a:pt x="69383" y="0"/>
                          <a:pt x="154972" y="0"/>
                        </a:cubicBezTo>
                        <a:cubicBezTo>
                          <a:pt x="240560" y="0"/>
                          <a:pt x="309944" y="71302"/>
                          <a:pt x="309944" y="159258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6" name="Freihandform: Form 725">
                    <a:extLst>
                      <a:ext uri="{FF2B5EF4-FFF2-40B4-BE49-F238E27FC236}">
                        <a16:creationId xmlns:a16="http://schemas.microsoft.com/office/drawing/2014/main" id="{0C9F3253-20EC-A2DF-8E37-6CCB1E7AC284}"/>
                      </a:ext>
                    </a:extLst>
                  </p:cNvPr>
                  <p:cNvSpPr/>
                  <p:nvPr/>
                </p:nvSpPr>
                <p:spPr>
                  <a:xfrm>
                    <a:off x="9325196" y="4544758"/>
                    <a:ext cx="311086" cy="311086"/>
                  </a:xfrm>
                  <a:custGeom>
                    <a:avLst/>
                    <a:gdLst>
                      <a:gd name="connsiteX0" fmla="*/ 311086 w 311086"/>
                      <a:gd name="connsiteY0" fmla="*/ 155543 h 311086"/>
                      <a:gd name="connsiteX1" fmla="*/ 155543 w 311086"/>
                      <a:gd name="connsiteY1" fmla="*/ 311086 h 311086"/>
                      <a:gd name="connsiteX2" fmla="*/ -1 w 311086"/>
                      <a:gd name="connsiteY2" fmla="*/ 155543 h 311086"/>
                      <a:gd name="connsiteX3" fmla="*/ 155543 w 311086"/>
                      <a:gd name="connsiteY3" fmla="*/ 0 h 311086"/>
                      <a:gd name="connsiteX4" fmla="*/ 311086 w 311086"/>
                      <a:gd name="connsiteY4" fmla="*/ 155543 h 3110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1086" h="311086">
                        <a:moveTo>
                          <a:pt x="311086" y="155543"/>
                        </a:moveTo>
                        <a:cubicBezTo>
                          <a:pt x="311086" y="241447"/>
                          <a:pt x="241447" y="311086"/>
                          <a:pt x="155543" y="311086"/>
                        </a:cubicBezTo>
                        <a:cubicBezTo>
                          <a:pt x="69639" y="311086"/>
                          <a:pt x="-1" y="241447"/>
                          <a:pt x="-1" y="155543"/>
                        </a:cubicBezTo>
                        <a:cubicBezTo>
                          <a:pt x="-1" y="69639"/>
                          <a:pt x="69639" y="0"/>
                          <a:pt x="155543" y="0"/>
                        </a:cubicBezTo>
                        <a:cubicBezTo>
                          <a:pt x="241447" y="0"/>
                          <a:pt x="311086" y="69639"/>
                          <a:pt x="311086" y="155543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7" name="Freihandform: Form 726">
                    <a:extLst>
                      <a:ext uri="{FF2B5EF4-FFF2-40B4-BE49-F238E27FC236}">
                        <a16:creationId xmlns:a16="http://schemas.microsoft.com/office/drawing/2014/main" id="{A44E183B-CE47-93C4-53A7-5DF8B3513D66}"/>
                      </a:ext>
                    </a:extLst>
                  </p:cNvPr>
                  <p:cNvSpPr/>
                  <p:nvPr/>
                </p:nvSpPr>
                <p:spPr>
                  <a:xfrm>
                    <a:off x="9111551" y="5873591"/>
                    <a:ext cx="251269" cy="207930"/>
                  </a:xfrm>
                  <a:custGeom>
                    <a:avLst/>
                    <a:gdLst>
                      <a:gd name="connsiteX0" fmla="*/ 72294 w 251269"/>
                      <a:gd name="connsiteY0" fmla="*/ 0 h 207930"/>
                      <a:gd name="connsiteX1" fmla="*/ 0 w 251269"/>
                      <a:gd name="connsiteY1" fmla="*/ 201549 h 207930"/>
                      <a:gd name="connsiteX2" fmla="*/ 251270 w 251269"/>
                      <a:gd name="connsiteY2" fmla="*/ 207930 h 207930"/>
                      <a:gd name="connsiteX3" fmla="*/ 216789 w 251269"/>
                      <a:gd name="connsiteY3" fmla="*/ 3334 h 207930"/>
                      <a:gd name="connsiteX4" fmla="*/ 72294 w 251269"/>
                      <a:gd name="connsiteY4" fmla="*/ 95 h 207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51269" h="207930">
                        <a:moveTo>
                          <a:pt x="72294" y="0"/>
                        </a:moveTo>
                        <a:cubicBezTo>
                          <a:pt x="56579" y="148399"/>
                          <a:pt x="952" y="162496"/>
                          <a:pt x="0" y="201549"/>
                        </a:cubicBezTo>
                        <a:lnTo>
                          <a:pt x="251270" y="207930"/>
                        </a:lnTo>
                        <a:cubicBezTo>
                          <a:pt x="246126" y="145922"/>
                          <a:pt x="216789" y="118300"/>
                          <a:pt x="216789" y="3334"/>
                        </a:cubicBezTo>
                        <a:lnTo>
                          <a:pt x="72294" y="95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8" name="Freihandform: Form 727">
                    <a:extLst>
                      <a:ext uri="{FF2B5EF4-FFF2-40B4-BE49-F238E27FC236}">
                        <a16:creationId xmlns:a16="http://schemas.microsoft.com/office/drawing/2014/main" id="{05DF0494-A3CC-7A9C-385F-950ECDF10242}"/>
                      </a:ext>
                    </a:extLst>
                  </p:cNvPr>
                  <p:cNvSpPr/>
                  <p:nvPr/>
                </p:nvSpPr>
                <p:spPr>
                  <a:xfrm>
                    <a:off x="9040208" y="6087713"/>
                    <a:ext cx="343280" cy="94544"/>
                  </a:xfrm>
                  <a:custGeom>
                    <a:avLst/>
                    <a:gdLst>
                      <a:gd name="connsiteX0" fmla="*/ 322326 w 343280"/>
                      <a:gd name="connsiteY0" fmla="*/ 89821 h 94544"/>
                      <a:gd name="connsiteX1" fmla="*/ 21145 w 343280"/>
                      <a:gd name="connsiteY1" fmla="*/ 89630 h 94544"/>
                      <a:gd name="connsiteX2" fmla="*/ 0 w 343280"/>
                      <a:gd name="connsiteY2" fmla="*/ 60960 h 94544"/>
                      <a:gd name="connsiteX3" fmla="*/ 0 w 343280"/>
                      <a:gd name="connsiteY3" fmla="*/ 0 h 94544"/>
                      <a:gd name="connsiteX4" fmla="*/ 343281 w 343280"/>
                      <a:gd name="connsiteY4" fmla="*/ 0 h 94544"/>
                      <a:gd name="connsiteX5" fmla="*/ 343281 w 343280"/>
                      <a:gd name="connsiteY5" fmla="*/ 61150 h 94544"/>
                      <a:gd name="connsiteX6" fmla="*/ 322326 w 343280"/>
                      <a:gd name="connsiteY6" fmla="*/ 89821 h 945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43280" h="94544">
                        <a:moveTo>
                          <a:pt x="322326" y="89821"/>
                        </a:moveTo>
                        <a:cubicBezTo>
                          <a:pt x="218218" y="97822"/>
                          <a:pt x="135160" y="94202"/>
                          <a:pt x="21145" y="89630"/>
                        </a:cubicBezTo>
                        <a:cubicBezTo>
                          <a:pt x="8954" y="89154"/>
                          <a:pt x="0" y="75533"/>
                          <a:pt x="0" y="60960"/>
                        </a:cubicBezTo>
                        <a:lnTo>
                          <a:pt x="0" y="0"/>
                        </a:lnTo>
                        <a:cubicBezTo>
                          <a:pt x="0" y="0"/>
                          <a:pt x="343281" y="0"/>
                          <a:pt x="343281" y="0"/>
                        </a:cubicBezTo>
                        <a:lnTo>
                          <a:pt x="343281" y="61150"/>
                        </a:lnTo>
                        <a:cubicBezTo>
                          <a:pt x="343281" y="75629"/>
                          <a:pt x="334423" y="88868"/>
                          <a:pt x="322326" y="89821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9" name="Freihandform: Form 728">
                    <a:extLst>
                      <a:ext uri="{FF2B5EF4-FFF2-40B4-BE49-F238E27FC236}">
                        <a16:creationId xmlns:a16="http://schemas.microsoft.com/office/drawing/2014/main" id="{08927D24-EE8F-A04A-842A-50397B5D46EB}"/>
                      </a:ext>
                    </a:extLst>
                  </p:cNvPr>
                  <p:cNvSpPr/>
                  <p:nvPr/>
                </p:nvSpPr>
                <p:spPr>
                  <a:xfrm>
                    <a:off x="9040208" y="5934550"/>
                    <a:ext cx="343280" cy="181734"/>
                  </a:xfrm>
                  <a:custGeom>
                    <a:avLst/>
                    <a:gdLst>
                      <a:gd name="connsiteX0" fmla="*/ 343281 w 343280"/>
                      <a:gd name="connsiteY0" fmla="*/ 153163 h 181734"/>
                      <a:gd name="connsiteX1" fmla="*/ 294227 w 343280"/>
                      <a:gd name="connsiteY1" fmla="*/ 23147 h 181734"/>
                      <a:gd name="connsiteX2" fmla="*/ 279273 w 343280"/>
                      <a:gd name="connsiteY2" fmla="*/ 64199 h 181734"/>
                      <a:gd name="connsiteX3" fmla="*/ 98964 w 343280"/>
                      <a:gd name="connsiteY3" fmla="*/ 59628 h 181734"/>
                      <a:gd name="connsiteX4" fmla="*/ 0 w 343280"/>
                      <a:gd name="connsiteY4" fmla="*/ 153163 h 181734"/>
                      <a:gd name="connsiteX5" fmla="*/ 343281 w 343280"/>
                      <a:gd name="connsiteY5" fmla="*/ 153163 h 1817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43280" h="181734">
                        <a:moveTo>
                          <a:pt x="343281" y="153163"/>
                        </a:moveTo>
                        <a:cubicBezTo>
                          <a:pt x="303847" y="73344"/>
                          <a:pt x="306133" y="10193"/>
                          <a:pt x="294227" y="23147"/>
                        </a:cubicBezTo>
                        <a:cubicBezTo>
                          <a:pt x="301276" y="53055"/>
                          <a:pt x="295656" y="65914"/>
                          <a:pt x="279273" y="64199"/>
                        </a:cubicBezTo>
                        <a:cubicBezTo>
                          <a:pt x="279273" y="64199"/>
                          <a:pt x="167544" y="-77151"/>
                          <a:pt x="98964" y="59628"/>
                        </a:cubicBezTo>
                        <a:cubicBezTo>
                          <a:pt x="57340" y="142591"/>
                          <a:pt x="4096" y="120397"/>
                          <a:pt x="0" y="153163"/>
                        </a:cubicBezTo>
                        <a:cubicBezTo>
                          <a:pt x="16478" y="185738"/>
                          <a:pt x="323945" y="196406"/>
                          <a:pt x="343281" y="15316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0" name="Freihandform: Form 729">
                    <a:extLst>
                      <a:ext uri="{FF2B5EF4-FFF2-40B4-BE49-F238E27FC236}">
                        <a16:creationId xmlns:a16="http://schemas.microsoft.com/office/drawing/2014/main" id="{0C662CF8-7042-245F-1259-7AA7CA494F50}"/>
                      </a:ext>
                    </a:extLst>
                  </p:cNvPr>
                  <p:cNvSpPr/>
                  <p:nvPr/>
                </p:nvSpPr>
                <p:spPr>
                  <a:xfrm>
                    <a:off x="9324879" y="4677727"/>
                    <a:ext cx="326797" cy="1236394"/>
                  </a:xfrm>
                  <a:custGeom>
                    <a:avLst/>
                    <a:gdLst>
                      <a:gd name="connsiteX0" fmla="*/ 41084 w 326797"/>
                      <a:gd name="connsiteY0" fmla="*/ 1218819 h 1236394"/>
                      <a:gd name="connsiteX1" fmla="*/ 186626 w 326797"/>
                      <a:gd name="connsiteY1" fmla="*/ 1215199 h 1236394"/>
                      <a:gd name="connsiteX2" fmla="*/ 315405 w 326797"/>
                      <a:gd name="connsiteY2" fmla="*/ 571024 h 1236394"/>
                      <a:gd name="connsiteX3" fmla="*/ 309594 w 326797"/>
                      <a:gd name="connsiteY3" fmla="*/ 0 h 1236394"/>
                      <a:gd name="connsiteX4" fmla="*/ 222 w 326797"/>
                      <a:gd name="connsiteY4" fmla="*/ 286 h 1236394"/>
                      <a:gd name="connsiteX5" fmla="*/ 8033 w 326797"/>
                      <a:gd name="connsiteY5" fmla="*/ 502825 h 1236394"/>
                      <a:gd name="connsiteX6" fmla="*/ 37655 w 326797"/>
                      <a:gd name="connsiteY6" fmla="*/ 898302 h 1236394"/>
                      <a:gd name="connsiteX7" fmla="*/ 40989 w 326797"/>
                      <a:gd name="connsiteY7" fmla="*/ 1218819 h 12363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797" h="1236394">
                        <a:moveTo>
                          <a:pt x="41084" y="1218819"/>
                        </a:moveTo>
                        <a:cubicBezTo>
                          <a:pt x="93853" y="1243870"/>
                          <a:pt x="140049" y="1241679"/>
                          <a:pt x="186626" y="1215199"/>
                        </a:cubicBezTo>
                        <a:cubicBezTo>
                          <a:pt x="204724" y="1042892"/>
                          <a:pt x="286830" y="730091"/>
                          <a:pt x="315405" y="571024"/>
                        </a:cubicBezTo>
                        <a:cubicBezTo>
                          <a:pt x="344075" y="411575"/>
                          <a:pt x="309594" y="0"/>
                          <a:pt x="309594" y="0"/>
                        </a:cubicBezTo>
                        <a:lnTo>
                          <a:pt x="222" y="286"/>
                        </a:lnTo>
                        <a:cubicBezTo>
                          <a:pt x="222" y="286"/>
                          <a:pt x="-2064" y="368617"/>
                          <a:pt x="8033" y="502825"/>
                        </a:cubicBezTo>
                        <a:cubicBezTo>
                          <a:pt x="18129" y="637032"/>
                          <a:pt x="37655" y="898302"/>
                          <a:pt x="37655" y="898302"/>
                        </a:cubicBezTo>
                        <a:lnTo>
                          <a:pt x="40989" y="1218819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1" name="Freihandform: Form 730">
                    <a:extLst>
                      <a:ext uri="{FF2B5EF4-FFF2-40B4-BE49-F238E27FC236}">
                        <a16:creationId xmlns:a16="http://schemas.microsoft.com/office/drawing/2014/main" id="{AAB70099-6A9C-F5FD-09AF-14FD754698F7}"/>
                      </a:ext>
                    </a:extLst>
                  </p:cNvPr>
                  <p:cNvSpPr/>
                  <p:nvPr/>
                </p:nvSpPr>
                <p:spPr>
                  <a:xfrm>
                    <a:off x="9333007" y="5892926"/>
                    <a:ext cx="284035" cy="215074"/>
                  </a:xfrm>
                  <a:custGeom>
                    <a:avLst/>
                    <a:gdLst>
                      <a:gd name="connsiteX0" fmla="*/ 178498 w 284035"/>
                      <a:gd name="connsiteY0" fmla="*/ 0 h 215074"/>
                      <a:gd name="connsiteX1" fmla="*/ 284036 w 284035"/>
                      <a:gd name="connsiteY1" fmla="*/ 215075 h 215074"/>
                      <a:gd name="connsiteX2" fmla="*/ 0 w 284035"/>
                      <a:gd name="connsiteY2" fmla="*/ 215075 h 215074"/>
                      <a:gd name="connsiteX3" fmla="*/ 32956 w 284035"/>
                      <a:gd name="connsiteY3" fmla="*/ 4477 h 215074"/>
                      <a:gd name="connsiteX4" fmla="*/ 178594 w 284035"/>
                      <a:gd name="connsiteY4" fmla="*/ 0 h 2150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84035" h="215074">
                        <a:moveTo>
                          <a:pt x="178498" y="0"/>
                        </a:moveTo>
                        <a:cubicBezTo>
                          <a:pt x="199549" y="148685"/>
                          <a:pt x="284036" y="176022"/>
                          <a:pt x="284036" y="215075"/>
                        </a:cubicBezTo>
                        <a:lnTo>
                          <a:pt x="0" y="215075"/>
                        </a:lnTo>
                        <a:cubicBezTo>
                          <a:pt x="0" y="139637"/>
                          <a:pt x="37529" y="86963"/>
                          <a:pt x="32956" y="4477"/>
                        </a:cubicBezTo>
                        <a:lnTo>
                          <a:pt x="178594" y="0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2" name="Freihandform: Form 731">
                    <a:extLst>
                      <a:ext uri="{FF2B5EF4-FFF2-40B4-BE49-F238E27FC236}">
                        <a16:creationId xmlns:a16="http://schemas.microsoft.com/office/drawing/2014/main" id="{F0D74A02-812B-0154-C564-9A861FEFE583}"/>
                      </a:ext>
                    </a:extLst>
                  </p:cNvPr>
                  <p:cNvSpPr/>
                  <p:nvPr/>
                </p:nvSpPr>
                <p:spPr>
                  <a:xfrm>
                    <a:off x="9312909" y="6089332"/>
                    <a:ext cx="343280" cy="92916"/>
                  </a:xfrm>
                  <a:custGeom>
                    <a:avLst/>
                    <a:gdLst>
                      <a:gd name="connsiteX0" fmla="*/ 20955 w 343280"/>
                      <a:gd name="connsiteY0" fmla="*/ 89821 h 92916"/>
                      <a:gd name="connsiteX1" fmla="*/ 322135 w 343280"/>
                      <a:gd name="connsiteY1" fmla="*/ 89631 h 92916"/>
                      <a:gd name="connsiteX2" fmla="*/ 343281 w 343280"/>
                      <a:gd name="connsiteY2" fmla="*/ 60960 h 92916"/>
                      <a:gd name="connsiteX3" fmla="*/ 343281 w 343280"/>
                      <a:gd name="connsiteY3" fmla="*/ 0 h 92916"/>
                      <a:gd name="connsiteX4" fmla="*/ 0 w 343280"/>
                      <a:gd name="connsiteY4" fmla="*/ 0 h 92916"/>
                      <a:gd name="connsiteX5" fmla="*/ 0 w 343280"/>
                      <a:gd name="connsiteY5" fmla="*/ 61150 h 92916"/>
                      <a:gd name="connsiteX6" fmla="*/ 20955 w 343280"/>
                      <a:gd name="connsiteY6" fmla="*/ 89821 h 929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43280" h="92916">
                        <a:moveTo>
                          <a:pt x="20955" y="89821"/>
                        </a:moveTo>
                        <a:cubicBezTo>
                          <a:pt x="138969" y="93345"/>
                          <a:pt x="221932" y="94583"/>
                          <a:pt x="322135" y="89631"/>
                        </a:cubicBezTo>
                        <a:cubicBezTo>
                          <a:pt x="334327" y="89059"/>
                          <a:pt x="343281" y="75533"/>
                          <a:pt x="343281" y="60960"/>
                        </a:cubicBezTo>
                        <a:lnTo>
                          <a:pt x="343281" y="0"/>
                        </a:lnTo>
                        <a:cubicBezTo>
                          <a:pt x="343281" y="0"/>
                          <a:pt x="0" y="0"/>
                          <a:pt x="0" y="0"/>
                        </a:cubicBezTo>
                        <a:lnTo>
                          <a:pt x="0" y="61150"/>
                        </a:lnTo>
                        <a:cubicBezTo>
                          <a:pt x="0" y="75629"/>
                          <a:pt x="8858" y="89440"/>
                          <a:pt x="20955" y="89821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3" name="Freihandform: Form 732">
                    <a:extLst>
                      <a:ext uri="{FF2B5EF4-FFF2-40B4-BE49-F238E27FC236}">
                        <a16:creationId xmlns:a16="http://schemas.microsoft.com/office/drawing/2014/main" id="{7491BD7F-6BAA-4F28-62B4-C2D214AFD905}"/>
                      </a:ext>
                    </a:extLst>
                  </p:cNvPr>
                  <p:cNvSpPr/>
                  <p:nvPr/>
                </p:nvSpPr>
                <p:spPr>
                  <a:xfrm>
                    <a:off x="9312909" y="5936264"/>
                    <a:ext cx="343280" cy="181734"/>
                  </a:xfrm>
                  <a:custGeom>
                    <a:avLst/>
                    <a:gdLst>
                      <a:gd name="connsiteX0" fmla="*/ 0 w 343280"/>
                      <a:gd name="connsiteY0" fmla="*/ 153163 h 181734"/>
                      <a:gd name="connsiteX1" fmla="*/ 49053 w 343280"/>
                      <a:gd name="connsiteY1" fmla="*/ 23147 h 181734"/>
                      <a:gd name="connsiteX2" fmla="*/ 64008 w 343280"/>
                      <a:gd name="connsiteY2" fmla="*/ 64199 h 181734"/>
                      <a:gd name="connsiteX3" fmla="*/ 244316 w 343280"/>
                      <a:gd name="connsiteY3" fmla="*/ 59628 h 181734"/>
                      <a:gd name="connsiteX4" fmla="*/ 343281 w 343280"/>
                      <a:gd name="connsiteY4" fmla="*/ 153163 h 181734"/>
                      <a:gd name="connsiteX5" fmla="*/ 0 w 343280"/>
                      <a:gd name="connsiteY5" fmla="*/ 153163 h 1817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43280" h="181734">
                        <a:moveTo>
                          <a:pt x="0" y="153163"/>
                        </a:moveTo>
                        <a:cubicBezTo>
                          <a:pt x="39433" y="73344"/>
                          <a:pt x="37147" y="10193"/>
                          <a:pt x="49053" y="23147"/>
                        </a:cubicBezTo>
                        <a:cubicBezTo>
                          <a:pt x="42005" y="53055"/>
                          <a:pt x="47625" y="65914"/>
                          <a:pt x="64008" y="64199"/>
                        </a:cubicBezTo>
                        <a:cubicBezTo>
                          <a:pt x="64008" y="64199"/>
                          <a:pt x="175736" y="-77151"/>
                          <a:pt x="244316" y="59628"/>
                        </a:cubicBezTo>
                        <a:cubicBezTo>
                          <a:pt x="285940" y="142591"/>
                          <a:pt x="339185" y="120397"/>
                          <a:pt x="343281" y="153163"/>
                        </a:cubicBezTo>
                        <a:cubicBezTo>
                          <a:pt x="326803" y="185738"/>
                          <a:pt x="19335" y="196406"/>
                          <a:pt x="0" y="15316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4" name="Freihandform: Form 733">
                    <a:extLst>
                      <a:ext uri="{FF2B5EF4-FFF2-40B4-BE49-F238E27FC236}">
                        <a16:creationId xmlns:a16="http://schemas.microsoft.com/office/drawing/2014/main" id="{47DE01F6-ACE9-5A58-4880-5636D5FF5ED6}"/>
                      </a:ext>
                    </a:extLst>
                  </p:cNvPr>
                  <p:cNvSpPr/>
                  <p:nvPr/>
                </p:nvSpPr>
                <p:spPr>
                  <a:xfrm>
                    <a:off x="8692641" y="2714148"/>
                    <a:ext cx="1197659" cy="1963864"/>
                  </a:xfrm>
                  <a:custGeom>
                    <a:avLst/>
                    <a:gdLst>
                      <a:gd name="connsiteX0" fmla="*/ 1130998 w 1197659"/>
                      <a:gd name="connsiteY0" fmla="*/ 302133 h 1963864"/>
                      <a:gd name="connsiteX1" fmla="*/ 919353 w 1197659"/>
                      <a:gd name="connsiteY1" fmla="*/ 1429 h 1963864"/>
                      <a:gd name="connsiteX2" fmla="*/ 598075 w 1197659"/>
                      <a:gd name="connsiteY2" fmla="*/ 0 h 1963864"/>
                      <a:gd name="connsiteX3" fmla="*/ 598075 w 1197659"/>
                      <a:gd name="connsiteY3" fmla="*/ 0 h 1963864"/>
                      <a:gd name="connsiteX4" fmla="*/ 594646 w 1197659"/>
                      <a:gd name="connsiteY4" fmla="*/ 0 h 1963864"/>
                      <a:gd name="connsiteX5" fmla="*/ 591216 w 1197659"/>
                      <a:gd name="connsiteY5" fmla="*/ 0 h 1963864"/>
                      <a:gd name="connsiteX6" fmla="*/ 591216 w 1197659"/>
                      <a:gd name="connsiteY6" fmla="*/ 0 h 1963864"/>
                      <a:gd name="connsiteX7" fmla="*/ 269938 w 1197659"/>
                      <a:gd name="connsiteY7" fmla="*/ 1429 h 1963864"/>
                      <a:gd name="connsiteX8" fmla="*/ 65531 w 1197659"/>
                      <a:gd name="connsiteY8" fmla="*/ 316421 h 1963864"/>
                      <a:gd name="connsiteX9" fmla="*/ 0 w 1197659"/>
                      <a:gd name="connsiteY9" fmla="*/ 635127 h 1963864"/>
                      <a:gd name="connsiteX10" fmla="*/ 24384 w 1197659"/>
                      <a:gd name="connsiteY10" fmla="*/ 1062895 h 1963864"/>
                      <a:gd name="connsiteX11" fmla="*/ 117634 w 1197659"/>
                      <a:gd name="connsiteY11" fmla="*/ 1567434 h 1963864"/>
                      <a:gd name="connsiteX12" fmla="*/ 209264 w 1197659"/>
                      <a:gd name="connsiteY12" fmla="*/ 1963865 h 1963864"/>
                      <a:gd name="connsiteX13" fmla="*/ 978217 w 1197659"/>
                      <a:gd name="connsiteY13" fmla="*/ 1963865 h 1963864"/>
                      <a:gd name="connsiteX14" fmla="*/ 1069848 w 1197659"/>
                      <a:gd name="connsiteY14" fmla="*/ 1567434 h 1963864"/>
                      <a:gd name="connsiteX15" fmla="*/ 1163098 w 1197659"/>
                      <a:gd name="connsiteY15" fmla="*/ 1062895 h 1963864"/>
                      <a:gd name="connsiteX16" fmla="*/ 1131189 w 1197659"/>
                      <a:gd name="connsiteY16" fmla="*/ 302133 h 19638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1197659" h="1963864">
                        <a:moveTo>
                          <a:pt x="1130998" y="302133"/>
                        </a:moveTo>
                        <a:cubicBezTo>
                          <a:pt x="1066895" y="164021"/>
                          <a:pt x="919353" y="1429"/>
                          <a:pt x="919353" y="1429"/>
                        </a:cubicBezTo>
                        <a:lnTo>
                          <a:pt x="598075" y="0"/>
                        </a:lnTo>
                        <a:lnTo>
                          <a:pt x="598075" y="0"/>
                        </a:lnTo>
                        <a:cubicBezTo>
                          <a:pt x="598075" y="0"/>
                          <a:pt x="594646" y="0"/>
                          <a:pt x="594646" y="0"/>
                        </a:cubicBezTo>
                        <a:lnTo>
                          <a:pt x="591216" y="0"/>
                        </a:lnTo>
                        <a:cubicBezTo>
                          <a:pt x="591216" y="0"/>
                          <a:pt x="591216" y="0"/>
                          <a:pt x="591216" y="0"/>
                        </a:cubicBezTo>
                        <a:lnTo>
                          <a:pt x="269938" y="1429"/>
                        </a:lnTo>
                        <a:cubicBezTo>
                          <a:pt x="269938" y="1429"/>
                          <a:pt x="120205" y="174308"/>
                          <a:pt x="65531" y="316421"/>
                        </a:cubicBezTo>
                        <a:cubicBezTo>
                          <a:pt x="10953" y="458534"/>
                          <a:pt x="0" y="635127"/>
                          <a:pt x="0" y="635127"/>
                        </a:cubicBezTo>
                        <a:cubicBezTo>
                          <a:pt x="0" y="635127"/>
                          <a:pt x="6477" y="908114"/>
                          <a:pt x="24384" y="1062895"/>
                        </a:cubicBezTo>
                        <a:cubicBezTo>
                          <a:pt x="42196" y="1217676"/>
                          <a:pt x="82677" y="1449991"/>
                          <a:pt x="117634" y="1567434"/>
                        </a:cubicBezTo>
                        <a:cubicBezTo>
                          <a:pt x="152590" y="1684877"/>
                          <a:pt x="209264" y="1963865"/>
                          <a:pt x="209264" y="1963865"/>
                        </a:cubicBezTo>
                        <a:lnTo>
                          <a:pt x="978217" y="1963865"/>
                        </a:lnTo>
                        <a:cubicBezTo>
                          <a:pt x="978217" y="1963865"/>
                          <a:pt x="1034891" y="1684973"/>
                          <a:pt x="1069848" y="1567434"/>
                        </a:cubicBezTo>
                        <a:cubicBezTo>
                          <a:pt x="1104805" y="1449991"/>
                          <a:pt x="1134999" y="1216152"/>
                          <a:pt x="1163098" y="1062895"/>
                        </a:cubicBezTo>
                        <a:cubicBezTo>
                          <a:pt x="1214818" y="780859"/>
                          <a:pt x="1211866" y="476059"/>
                          <a:pt x="1131189" y="302133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5" name="Freihandform: Form 734">
                    <a:extLst>
                      <a:ext uri="{FF2B5EF4-FFF2-40B4-BE49-F238E27FC236}">
                        <a16:creationId xmlns:a16="http://schemas.microsoft.com/office/drawing/2014/main" id="{BB3B78B5-E407-6EEF-9159-117506C41B30}"/>
                      </a:ext>
                    </a:extLst>
                  </p:cNvPr>
                  <p:cNvSpPr/>
                  <p:nvPr/>
                </p:nvSpPr>
                <p:spPr>
                  <a:xfrm>
                    <a:off x="8910483" y="810018"/>
                    <a:ext cx="817969" cy="1046717"/>
                  </a:xfrm>
                  <a:custGeom>
                    <a:avLst/>
                    <a:gdLst>
                      <a:gd name="connsiteX0" fmla="*/ 720465 w 817969"/>
                      <a:gd name="connsiteY0" fmla="*/ 892765 h 1046717"/>
                      <a:gd name="connsiteX1" fmla="*/ 679603 w 817969"/>
                      <a:gd name="connsiteY1" fmla="*/ 349364 h 1046717"/>
                      <a:gd name="connsiteX2" fmla="*/ 351467 w 817969"/>
                      <a:gd name="connsiteY2" fmla="*/ 1321 h 1046717"/>
                      <a:gd name="connsiteX3" fmla="*/ 212974 w 817969"/>
                      <a:gd name="connsiteY3" fmla="*/ 66472 h 1046717"/>
                      <a:gd name="connsiteX4" fmla="*/ 25522 w 817969"/>
                      <a:gd name="connsiteY4" fmla="*/ 310312 h 1046717"/>
                      <a:gd name="connsiteX5" fmla="*/ 68956 w 817969"/>
                      <a:gd name="connsiteY5" fmla="*/ 866857 h 1046717"/>
                      <a:gd name="connsiteX6" fmla="*/ 720465 w 817969"/>
                      <a:gd name="connsiteY6" fmla="*/ 892765 h 10467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17969" h="1046717">
                        <a:moveTo>
                          <a:pt x="720465" y="892765"/>
                        </a:moveTo>
                        <a:cubicBezTo>
                          <a:pt x="720465" y="892765"/>
                          <a:pt x="964972" y="672262"/>
                          <a:pt x="679603" y="349364"/>
                        </a:cubicBezTo>
                        <a:cubicBezTo>
                          <a:pt x="593307" y="251733"/>
                          <a:pt x="546444" y="-21254"/>
                          <a:pt x="351467" y="1321"/>
                        </a:cubicBezTo>
                        <a:cubicBezTo>
                          <a:pt x="299555" y="8560"/>
                          <a:pt x="250502" y="23038"/>
                          <a:pt x="212974" y="66472"/>
                        </a:cubicBezTo>
                        <a:cubicBezTo>
                          <a:pt x="212974" y="66472"/>
                          <a:pt x="81243" y="74568"/>
                          <a:pt x="25522" y="310312"/>
                        </a:cubicBezTo>
                        <a:cubicBezTo>
                          <a:pt x="-22008" y="511480"/>
                          <a:pt x="-672" y="769036"/>
                          <a:pt x="68956" y="866857"/>
                        </a:cubicBezTo>
                        <a:cubicBezTo>
                          <a:pt x="228975" y="1099363"/>
                          <a:pt x="446907" y="1104792"/>
                          <a:pt x="720465" y="89276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6" name="Freihandform: Form 735">
                    <a:extLst>
                      <a:ext uri="{FF2B5EF4-FFF2-40B4-BE49-F238E27FC236}">
                        <a16:creationId xmlns:a16="http://schemas.microsoft.com/office/drawing/2014/main" id="{353392E1-657A-7FBC-110F-FDA76DFC6C4C}"/>
                      </a:ext>
                    </a:extLst>
                  </p:cNvPr>
                  <p:cNvSpPr/>
                  <p:nvPr/>
                </p:nvSpPr>
                <p:spPr>
                  <a:xfrm>
                    <a:off x="9143174" y="1311973"/>
                    <a:ext cx="298227" cy="463654"/>
                  </a:xfrm>
                  <a:custGeom>
                    <a:avLst/>
                    <a:gdLst>
                      <a:gd name="connsiteX0" fmla="*/ 0 w 298227"/>
                      <a:gd name="connsiteY0" fmla="*/ 385001 h 463654"/>
                      <a:gd name="connsiteX1" fmla="*/ 298228 w 298227"/>
                      <a:gd name="connsiteY1" fmla="*/ 385001 h 463654"/>
                      <a:gd name="connsiteX2" fmla="*/ 298228 w 298227"/>
                      <a:gd name="connsiteY2" fmla="*/ 0 h 463654"/>
                      <a:gd name="connsiteX3" fmla="*/ 0 w 298227"/>
                      <a:gd name="connsiteY3" fmla="*/ 0 h 463654"/>
                      <a:gd name="connsiteX4" fmla="*/ 0 w 298227"/>
                      <a:gd name="connsiteY4" fmla="*/ 385001 h 4636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8227" h="463654">
                        <a:moveTo>
                          <a:pt x="0" y="385001"/>
                        </a:moveTo>
                        <a:cubicBezTo>
                          <a:pt x="51816" y="489109"/>
                          <a:pt x="237172" y="490633"/>
                          <a:pt x="298228" y="385001"/>
                        </a:cubicBezTo>
                        <a:lnTo>
                          <a:pt x="298228" y="0"/>
                        </a:lnTo>
                        <a:lnTo>
                          <a:pt x="0" y="0"/>
                        </a:lnTo>
                        <a:cubicBezTo>
                          <a:pt x="0" y="0"/>
                          <a:pt x="0" y="385001"/>
                          <a:pt x="0" y="385001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7" name="Freihandform: Form 736">
                    <a:extLst>
                      <a:ext uri="{FF2B5EF4-FFF2-40B4-BE49-F238E27FC236}">
                        <a16:creationId xmlns:a16="http://schemas.microsoft.com/office/drawing/2014/main" id="{2AE5485D-6BE0-C5BD-3747-79ECF168E854}"/>
                      </a:ext>
                    </a:extLst>
                  </p:cNvPr>
                  <p:cNvSpPr/>
                  <p:nvPr/>
                </p:nvSpPr>
                <p:spPr>
                  <a:xfrm>
                    <a:off x="9054877" y="1366837"/>
                    <a:ext cx="361378" cy="476350"/>
                  </a:xfrm>
                  <a:custGeom>
                    <a:avLst/>
                    <a:gdLst>
                      <a:gd name="connsiteX0" fmla="*/ 361379 w 361378"/>
                      <a:gd name="connsiteY0" fmla="*/ 0 h 476350"/>
                      <a:gd name="connsiteX1" fmla="*/ 347186 w 361378"/>
                      <a:gd name="connsiteY1" fmla="*/ 72295 h 476350"/>
                      <a:gd name="connsiteX2" fmla="*/ 224790 w 361378"/>
                      <a:gd name="connsiteY2" fmla="*/ 204121 h 476350"/>
                      <a:gd name="connsiteX3" fmla="*/ 143542 w 361378"/>
                      <a:gd name="connsiteY3" fmla="*/ 260890 h 476350"/>
                      <a:gd name="connsiteX4" fmla="*/ 220313 w 361378"/>
                      <a:gd name="connsiteY4" fmla="*/ 473012 h 476350"/>
                      <a:gd name="connsiteX5" fmla="*/ 0 w 361378"/>
                      <a:gd name="connsiteY5" fmla="*/ 278987 h 476350"/>
                      <a:gd name="connsiteX6" fmla="*/ 88106 w 361378"/>
                      <a:gd name="connsiteY6" fmla="*/ 244888 h 476350"/>
                      <a:gd name="connsiteX7" fmla="*/ 88106 w 361378"/>
                      <a:gd name="connsiteY7" fmla="*/ 0 h 476350"/>
                      <a:gd name="connsiteX8" fmla="*/ 361379 w 361378"/>
                      <a:gd name="connsiteY8" fmla="*/ 0 h 476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61378" h="476350">
                        <a:moveTo>
                          <a:pt x="361379" y="0"/>
                        </a:moveTo>
                        <a:lnTo>
                          <a:pt x="347186" y="72295"/>
                        </a:lnTo>
                        <a:cubicBezTo>
                          <a:pt x="347186" y="72295"/>
                          <a:pt x="321945" y="199168"/>
                          <a:pt x="224790" y="204121"/>
                        </a:cubicBezTo>
                        <a:cubicBezTo>
                          <a:pt x="166688" y="207073"/>
                          <a:pt x="143827" y="229362"/>
                          <a:pt x="143542" y="260890"/>
                        </a:cubicBezTo>
                        <a:cubicBezTo>
                          <a:pt x="142590" y="384810"/>
                          <a:pt x="240030" y="440627"/>
                          <a:pt x="220313" y="473012"/>
                        </a:cubicBezTo>
                        <a:cubicBezTo>
                          <a:pt x="147733" y="501110"/>
                          <a:pt x="34100" y="344519"/>
                          <a:pt x="0" y="278987"/>
                        </a:cubicBezTo>
                        <a:lnTo>
                          <a:pt x="88106" y="244888"/>
                        </a:lnTo>
                        <a:lnTo>
                          <a:pt x="88106" y="0"/>
                        </a:lnTo>
                        <a:lnTo>
                          <a:pt x="361379" y="0"/>
                        </a:ln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8" name="Freihandform: Form 737">
                    <a:extLst>
                      <a:ext uri="{FF2B5EF4-FFF2-40B4-BE49-F238E27FC236}">
                        <a16:creationId xmlns:a16="http://schemas.microsoft.com/office/drawing/2014/main" id="{440D87A8-4DEA-35FE-A08D-82E1B17E4012}"/>
                      </a:ext>
                    </a:extLst>
                  </p:cNvPr>
                  <p:cNvSpPr/>
                  <p:nvPr/>
                </p:nvSpPr>
                <p:spPr>
                  <a:xfrm>
                    <a:off x="9092333" y="984096"/>
                    <a:ext cx="400153" cy="557524"/>
                  </a:xfrm>
                  <a:custGeom>
                    <a:avLst/>
                    <a:gdLst>
                      <a:gd name="connsiteX0" fmla="*/ 398979 w 400153"/>
                      <a:gd name="connsiteY0" fmla="*/ 188336 h 557524"/>
                      <a:gd name="connsiteX1" fmla="*/ 346687 w 400153"/>
                      <a:gd name="connsiteY1" fmla="*/ 49080 h 557524"/>
                      <a:gd name="connsiteX2" fmla="*/ 200097 w 400153"/>
                      <a:gd name="connsiteY2" fmla="*/ 26 h 557524"/>
                      <a:gd name="connsiteX3" fmla="*/ 53507 w 400153"/>
                      <a:gd name="connsiteY3" fmla="*/ 49080 h 557524"/>
                      <a:gd name="connsiteX4" fmla="*/ 1215 w 400153"/>
                      <a:gd name="connsiteY4" fmla="*/ 188336 h 557524"/>
                      <a:gd name="connsiteX5" fmla="*/ 2073 w 400153"/>
                      <a:gd name="connsiteY5" fmla="*/ 321400 h 557524"/>
                      <a:gd name="connsiteX6" fmla="*/ 61604 w 400153"/>
                      <a:gd name="connsiteY6" fmla="*/ 469704 h 557524"/>
                      <a:gd name="connsiteX7" fmla="*/ 200097 w 400153"/>
                      <a:gd name="connsiteY7" fmla="*/ 557525 h 557524"/>
                      <a:gd name="connsiteX8" fmla="*/ 338591 w 400153"/>
                      <a:gd name="connsiteY8" fmla="*/ 469704 h 557524"/>
                      <a:gd name="connsiteX9" fmla="*/ 398122 w 400153"/>
                      <a:gd name="connsiteY9" fmla="*/ 321400 h 557524"/>
                      <a:gd name="connsiteX10" fmla="*/ 398979 w 400153"/>
                      <a:gd name="connsiteY10" fmla="*/ 188336 h 5575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400153" h="557524">
                        <a:moveTo>
                          <a:pt x="398979" y="188336"/>
                        </a:moveTo>
                        <a:cubicBezTo>
                          <a:pt x="398979" y="188336"/>
                          <a:pt x="394217" y="105278"/>
                          <a:pt x="346687" y="49080"/>
                        </a:cubicBezTo>
                        <a:cubicBezTo>
                          <a:pt x="307540" y="2789"/>
                          <a:pt x="227148" y="-355"/>
                          <a:pt x="200097" y="26"/>
                        </a:cubicBezTo>
                        <a:cubicBezTo>
                          <a:pt x="173046" y="-355"/>
                          <a:pt x="92655" y="2789"/>
                          <a:pt x="53507" y="49080"/>
                        </a:cubicBezTo>
                        <a:cubicBezTo>
                          <a:pt x="5978" y="105278"/>
                          <a:pt x="1215" y="188336"/>
                          <a:pt x="1215" y="188336"/>
                        </a:cubicBezTo>
                        <a:cubicBezTo>
                          <a:pt x="1215" y="188336"/>
                          <a:pt x="-2023" y="284252"/>
                          <a:pt x="2073" y="321400"/>
                        </a:cubicBezTo>
                        <a:cubicBezTo>
                          <a:pt x="6073" y="358452"/>
                          <a:pt x="1882" y="409316"/>
                          <a:pt x="61604" y="469704"/>
                        </a:cubicBezTo>
                        <a:cubicBezTo>
                          <a:pt x="119802" y="528664"/>
                          <a:pt x="159711" y="556191"/>
                          <a:pt x="200097" y="557525"/>
                        </a:cubicBezTo>
                        <a:cubicBezTo>
                          <a:pt x="240483" y="556191"/>
                          <a:pt x="280393" y="528664"/>
                          <a:pt x="338591" y="469704"/>
                        </a:cubicBezTo>
                        <a:cubicBezTo>
                          <a:pt x="398217" y="409316"/>
                          <a:pt x="394026" y="358452"/>
                          <a:pt x="398122" y="321400"/>
                        </a:cubicBezTo>
                        <a:cubicBezTo>
                          <a:pt x="402123" y="284348"/>
                          <a:pt x="398979" y="188336"/>
                          <a:pt x="398979" y="18833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9" name="Freihandform: Form 738">
                    <a:extLst>
                      <a:ext uri="{FF2B5EF4-FFF2-40B4-BE49-F238E27FC236}">
                        <a16:creationId xmlns:a16="http://schemas.microsoft.com/office/drawing/2014/main" id="{1F183725-963F-D846-213A-312B52C4CFD3}"/>
                      </a:ext>
                    </a:extLst>
                  </p:cNvPr>
                  <p:cNvSpPr/>
                  <p:nvPr/>
                </p:nvSpPr>
                <p:spPr>
                  <a:xfrm rot="-3581400">
                    <a:off x="9397508" y="1182954"/>
                    <a:ext cx="196214" cy="136778"/>
                  </a:xfrm>
                  <a:custGeom>
                    <a:avLst/>
                    <a:gdLst>
                      <a:gd name="connsiteX0" fmla="*/ 196215 w 196214"/>
                      <a:gd name="connsiteY0" fmla="*/ 68389 h 136778"/>
                      <a:gd name="connsiteX1" fmla="*/ 98107 w 196214"/>
                      <a:gd name="connsiteY1" fmla="*/ 136779 h 136778"/>
                      <a:gd name="connsiteX2" fmla="*/ 0 w 196214"/>
                      <a:gd name="connsiteY2" fmla="*/ 68389 h 136778"/>
                      <a:gd name="connsiteX3" fmla="*/ 98107 w 196214"/>
                      <a:gd name="connsiteY3" fmla="*/ 0 h 136778"/>
                      <a:gd name="connsiteX4" fmla="*/ 196215 w 196214"/>
                      <a:gd name="connsiteY4" fmla="*/ 68389 h 1367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6214" h="136778">
                        <a:moveTo>
                          <a:pt x="196215" y="68389"/>
                        </a:moveTo>
                        <a:cubicBezTo>
                          <a:pt x="196215" y="106160"/>
                          <a:pt x="152291" y="136779"/>
                          <a:pt x="98107" y="136779"/>
                        </a:cubicBezTo>
                        <a:cubicBezTo>
                          <a:pt x="43924" y="136779"/>
                          <a:pt x="0" y="106160"/>
                          <a:pt x="0" y="68389"/>
                        </a:cubicBezTo>
                        <a:cubicBezTo>
                          <a:pt x="0" y="30619"/>
                          <a:pt x="43924" y="0"/>
                          <a:pt x="98107" y="0"/>
                        </a:cubicBezTo>
                        <a:cubicBezTo>
                          <a:pt x="152291" y="0"/>
                          <a:pt x="196215" y="30619"/>
                          <a:pt x="196215" y="68389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40" name="Freihandform: Form 739">
                    <a:extLst>
                      <a:ext uri="{FF2B5EF4-FFF2-40B4-BE49-F238E27FC236}">
                        <a16:creationId xmlns:a16="http://schemas.microsoft.com/office/drawing/2014/main" id="{E2F1B1A8-AF7D-7935-433D-5566B89F67B6}"/>
                      </a:ext>
                    </a:extLst>
                  </p:cNvPr>
                  <p:cNvSpPr/>
                  <p:nvPr/>
                </p:nvSpPr>
                <p:spPr>
                  <a:xfrm rot="-1416000">
                    <a:off x="9013384" y="1154698"/>
                    <a:ext cx="138112" cy="194310"/>
                  </a:xfrm>
                  <a:custGeom>
                    <a:avLst/>
                    <a:gdLst>
                      <a:gd name="connsiteX0" fmla="*/ 138113 w 138112"/>
                      <a:gd name="connsiteY0" fmla="*/ 97155 h 194310"/>
                      <a:gd name="connsiteX1" fmla="*/ 69056 w 138112"/>
                      <a:gd name="connsiteY1" fmla="*/ 194310 h 194310"/>
                      <a:gd name="connsiteX2" fmla="*/ 0 w 138112"/>
                      <a:gd name="connsiteY2" fmla="*/ 97155 h 194310"/>
                      <a:gd name="connsiteX3" fmla="*/ 69056 w 138112"/>
                      <a:gd name="connsiteY3" fmla="*/ 0 h 194310"/>
                      <a:gd name="connsiteX4" fmla="*/ 138113 w 138112"/>
                      <a:gd name="connsiteY4" fmla="*/ 97155 h 1943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8112" h="194310">
                        <a:moveTo>
                          <a:pt x="138113" y="97155"/>
                        </a:moveTo>
                        <a:cubicBezTo>
                          <a:pt x="138113" y="150812"/>
                          <a:pt x="107195" y="194310"/>
                          <a:pt x="69056" y="194310"/>
                        </a:cubicBezTo>
                        <a:cubicBezTo>
                          <a:pt x="30917" y="194310"/>
                          <a:pt x="0" y="150812"/>
                          <a:pt x="0" y="97155"/>
                        </a:cubicBezTo>
                        <a:cubicBezTo>
                          <a:pt x="0" y="43498"/>
                          <a:pt x="30917" y="0"/>
                          <a:pt x="69056" y="0"/>
                        </a:cubicBezTo>
                        <a:cubicBezTo>
                          <a:pt x="107195" y="0"/>
                          <a:pt x="138113" y="43498"/>
                          <a:pt x="138113" y="97155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41" name="Freihandform: Form 740">
                    <a:extLst>
                      <a:ext uri="{FF2B5EF4-FFF2-40B4-BE49-F238E27FC236}">
                        <a16:creationId xmlns:a16="http://schemas.microsoft.com/office/drawing/2014/main" id="{863E9FCA-559D-4A90-98CD-D41F38120214}"/>
                      </a:ext>
                    </a:extLst>
                  </p:cNvPr>
                  <p:cNvSpPr/>
                  <p:nvPr/>
                </p:nvSpPr>
                <p:spPr>
                  <a:xfrm>
                    <a:off x="9023349" y="818483"/>
                    <a:ext cx="538162" cy="562546"/>
                  </a:xfrm>
                  <a:custGeom>
                    <a:avLst/>
                    <a:gdLst>
                      <a:gd name="connsiteX0" fmla="*/ 538163 w 538162"/>
                      <a:gd name="connsiteY0" fmla="*/ 281273 h 562546"/>
                      <a:gd name="connsiteX1" fmla="*/ 269081 w 538162"/>
                      <a:gd name="connsiteY1" fmla="*/ 562547 h 562546"/>
                      <a:gd name="connsiteX2" fmla="*/ 0 w 538162"/>
                      <a:gd name="connsiteY2" fmla="*/ 281273 h 562546"/>
                      <a:gd name="connsiteX3" fmla="*/ 269081 w 538162"/>
                      <a:gd name="connsiteY3" fmla="*/ 0 h 562546"/>
                      <a:gd name="connsiteX4" fmla="*/ 538163 w 538162"/>
                      <a:gd name="connsiteY4" fmla="*/ 281273 h 5625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38162" h="562546">
                        <a:moveTo>
                          <a:pt x="538163" y="281273"/>
                        </a:moveTo>
                        <a:cubicBezTo>
                          <a:pt x="538163" y="436616"/>
                          <a:pt x="417691" y="562547"/>
                          <a:pt x="269081" y="562547"/>
                        </a:cubicBezTo>
                        <a:cubicBezTo>
                          <a:pt x="120472" y="562547"/>
                          <a:pt x="0" y="436616"/>
                          <a:pt x="0" y="281273"/>
                        </a:cubicBezTo>
                        <a:cubicBezTo>
                          <a:pt x="0" y="125930"/>
                          <a:pt x="120472" y="0"/>
                          <a:pt x="269081" y="0"/>
                        </a:cubicBezTo>
                        <a:cubicBezTo>
                          <a:pt x="417691" y="0"/>
                          <a:pt x="538163" y="125930"/>
                          <a:pt x="538163" y="281273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42" name="Freihandform: Form 741">
                    <a:extLst>
                      <a:ext uri="{FF2B5EF4-FFF2-40B4-BE49-F238E27FC236}">
                        <a16:creationId xmlns:a16="http://schemas.microsoft.com/office/drawing/2014/main" id="{79659D44-D830-E663-7863-A28F8B136104}"/>
                      </a:ext>
                    </a:extLst>
                  </p:cNvPr>
                  <p:cNvSpPr/>
                  <p:nvPr/>
                </p:nvSpPr>
                <p:spPr>
                  <a:xfrm>
                    <a:off x="9011639" y="823245"/>
                    <a:ext cx="530631" cy="404621"/>
                  </a:xfrm>
                  <a:custGeom>
                    <a:avLst/>
                    <a:gdLst>
                      <a:gd name="connsiteX0" fmla="*/ 267647 w 530631"/>
                      <a:gd name="connsiteY0" fmla="*/ 127540 h 404621"/>
                      <a:gd name="connsiteX1" fmla="*/ 491770 w 530631"/>
                      <a:gd name="connsiteY1" fmla="*/ 404622 h 404621"/>
                      <a:gd name="connsiteX2" fmla="*/ 530632 w 530631"/>
                      <a:gd name="connsiteY2" fmla="*/ 281273 h 404621"/>
                      <a:gd name="connsiteX3" fmla="*/ 266408 w 530631"/>
                      <a:gd name="connsiteY3" fmla="*/ 0 h 404621"/>
                      <a:gd name="connsiteX4" fmla="*/ 87814 w 530631"/>
                      <a:gd name="connsiteY4" fmla="*/ 74009 h 404621"/>
                      <a:gd name="connsiteX5" fmla="*/ 54382 w 530631"/>
                      <a:gd name="connsiteY5" fmla="*/ 389858 h 404621"/>
                      <a:gd name="connsiteX6" fmla="*/ 267647 w 530631"/>
                      <a:gd name="connsiteY6" fmla="*/ 127540 h 4046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30631" h="404621">
                        <a:moveTo>
                          <a:pt x="267647" y="127540"/>
                        </a:moveTo>
                        <a:cubicBezTo>
                          <a:pt x="459099" y="139637"/>
                          <a:pt x="435572" y="297085"/>
                          <a:pt x="491770" y="404622"/>
                        </a:cubicBezTo>
                        <a:cubicBezTo>
                          <a:pt x="502343" y="374142"/>
                          <a:pt x="530632" y="315659"/>
                          <a:pt x="530632" y="281273"/>
                        </a:cubicBezTo>
                        <a:cubicBezTo>
                          <a:pt x="530632" y="125920"/>
                          <a:pt x="412331" y="0"/>
                          <a:pt x="266408" y="0"/>
                        </a:cubicBezTo>
                        <a:cubicBezTo>
                          <a:pt x="197543" y="0"/>
                          <a:pt x="134773" y="28004"/>
                          <a:pt x="87814" y="74009"/>
                        </a:cubicBezTo>
                        <a:cubicBezTo>
                          <a:pt x="17520" y="108204"/>
                          <a:pt x="-51250" y="297085"/>
                          <a:pt x="54382" y="389858"/>
                        </a:cubicBezTo>
                        <a:cubicBezTo>
                          <a:pt x="94958" y="311753"/>
                          <a:pt x="95244" y="116681"/>
                          <a:pt x="267647" y="127540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43" name="Freihandform: Form 742">
                    <a:extLst>
                      <a:ext uri="{FF2B5EF4-FFF2-40B4-BE49-F238E27FC236}">
                        <a16:creationId xmlns:a16="http://schemas.microsoft.com/office/drawing/2014/main" id="{FCAFF1B1-193E-432F-EC80-1272992733FC}"/>
                      </a:ext>
                    </a:extLst>
                  </p:cNvPr>
                  <p:cNvSpPr/>
                  <p:nvPr/>
                </p:nvSpPr>
                <p:spPr>
                  <a:xfrm>
                    <a:off x="9240995" y="1305210"/>
                    <a:ext cx="78793" cy="32099"/>
                  </a:xfrm>
                  <a:custGeom>
                    <a:avLst/>
                    <a:gdLst>
                      <a:gd name="connsiteX0" fmla="*/ 1143 w 78793"/>
                      <a:gd name="connsiteY0" fmla="*/ 0 h 32099"/>
                      <a:gd name="connsiteX1" fmla="*/ 35814 w 78793"/>
                      <a:gd name="connsiteY1" fmla="*/ 10573 h 32099"/>
                      <a:gd name="connsiteX2" fmla="*/ 77820 w 78793"/>
                      <a:gd name="connsiteY2" fmla="*/ 0 h 32099"/>
                      <a:gd name="connsiteX3" fmla="*/ 77820 w 78793"/>
                      <a:gd name="connsiteY3" fmla="*/ 9239 h 32099"/>
                      <a:gd name="connsiteX4" fmla="*/ 37148 w 78793"/>
                      <a:gd name="connsiteY4" fmla="*/ 32099 h 32099"/>
                      <a:gd name="connsiteX5" fmla="*/ 1143 w 78793"/>
                      <a:gd name="connsiteY5" fmla="*/ 10192 h 32099"/>
                      <a:gd name="connsiteX6" fmla="*/ 1143 w 78793"/>
                      <a:gd name="connsiteY6" fmla="*/ 95 h 320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793" h="32099">
                        <a:moveTo>
                          <a:pt x="1143" y="0"/>
                        </a:moveTo>
                        <a:cubicBezTo>
                          <a:pt x="1143" y="0"/>
                          <a:pt x="11049" y="10573"/>
                          <a:pt x="35814" y="10573"/>
                        </a:cubicBezTo>
                        <a:cubicBezTo>
                          <a:pt x="67152" y="10573"/>
                          <a:pt x="77820" y="0"/>
                          <a:pt x="77820" y="0"/>
                        </a:cubicBezTo>
                        <a:cubicBezTo>
                          <a:pt x="77820" y="0"/>
                          <a:pt x="80010" y="3143"/>
                          <a:pt x="77820" y="9239"/>
                        </a:cubicBezTo>
                        <a:cubicBezTo>
                          <a:pt x="76295" y="13525"/>
                          <a:pt x="62675" y="32099"/>
                          <a:pt x="37148" y="32099"/>
                        </a:cubicBezTo>
                        <a:cubicBezTo>
                          <a:pt x="17240" y="32099"/>
                          <a:pt x="3715" y="16383"/>
                          <a:pt x="1143" y="10192"/>
                        </a:cubicBezTo>
                        <a:cubicBezTo>
                          <a:pt x="-1429" y="4000"/>
                          <a:pt x="1143" y="95"/>
                          <a:pt x="1143" y="95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44" name="Freihandform: Form 743">
                    <a:extLst>
                      <a:ext uri="{FF2B5EF4-FFF2-40B4-BE49-F238E27FC236}">
                        <a16:creationId xmlns:a16="http://schemas.microsoft.com/office/drawing/2014/main" id="{42A79C1D-8762-D19C-A549-13A2AD20E267}"/>
                      </a:ext>
                    </a:extLst>
                  </p:cNvPr>
                  <p:cNvSpPr/>
                  <p:nvPr/>
                </p:nvSpPr>
                <p:spPr>
                  <a:xfrm>
                    <a:off x="9312056" y="1120425"/>
                    <a:ext cx="140203" cy="47053"/>
                  </a:xfrm>
                  <a:custGeom>
                    <a:avLst/>
                    <a:gdLst>
                      <a:gd name="connsiteX0" fmla="*/ 109438 w 140203"/>
                      <a:gd name="connsiteY0" fmla="*/ 17716 h 47053"/>
                      <a:gd name="connsiteX1" fmla="*/ 55812 w 140203"/>
                      <a:gd name="connsiteY1" fmla="*/ 762 h 47053"/>
                      <a:gd name="connsiteX2" fmla="*/ 55812 w 140203"/>
                      <a:gd name="connsiteY2" fmla="*/ 762 h 47053"/>
                      <a:gd name="connsiteX3" fmla="*/ 7711 w 140203"/>
                      <a:gd name="connsiteY3" fmla="*/ 6191 h 47053"/>
                      <a:gd name="connsiteX4" fmla="*/ 4282 w 140203"/>
                      <a:gd name="connsiteY4" fmla="*/ 8858 h 47053"/>
                      <a:gd name="connsiteX5" fmla="*/ 13902 w 140203"/>
                      <a:gd name="connsiteY5" fmla="*/ 33242 h 47053"/>
                      <a:gd name="connsiteX6" fmla="*/ 41239 w 140203"/>
                      <a:gd name="connsiteY6" fmla="*/ 30766 h 47053"/>
                      <a:gd name="connsiteX7" fmla="*/ 105533 w 140203"/>
                      <a:gd name="connsiteY7" fmla="*/ 34480 h 47053"/>
                      <a:gd name="connsiteX8" fmla="*/ 140204 w 140203"/>
                      <a:gd name="connsiteY8" fmla="*/ 47053 h 47053"/>
                      <a:gd name="connsiteX9" fmla="*/ 109438 w 140203"/>
                      <a:gd name="connsiteY9" fmla="*/ 17716 h 470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40203" h="47053">
                        <a:moveTo>
                          <a:pt x="109438" y="17716"/>
                        </a:moveTo>
                        <a:cubicBezTo>
                          <a:pt x="90864" y="5905"/>
                          <a:pt x="70671" y="1429"/>
                          <a:pt x="55812" y="762"/>
                        </a:cubicBezTo>
                        <a:lnTo>
                          <a:pt x="55812" y="762"/>
                        </a:lnTo>
                        <a:cubicBezTo>
                          <a:pt x="30285" y="-1810"/>
                          <a:pt x="13236" y="2667"/>
                          <a:pt x="7711" y="6191"/>
                        </a:cubicBezTo>
                        <a:cubicBezTo>
                          <a:pt x="6377" y="7048"/>
                          <a:pt x="5234" y="7906"/>
                          <a:pt x="4282" y="8858"/>
                        </a:cubicBezTo>
                        <a:cubicBezTo>
                          <a:pt x="-4862" y="17526"/>
                          <a:pt x="1710" y="33623"/>
                          <a:pt x="13902" y="33242"/>
                        </a:cubicBezTo>
                        <a:cubicBezTo>
                          <a:pt x="19522" y="33147"/>
                          <a:pt x="33333" y="31528"/>
                          <a:pt x="41239" y="30766"/>
                        </a:cubicBezTo>
                        <a:cubicBezTo>
                          <a:pt x="55050" y="29337"/>
                          <a:pt x="94293" y="31432"/>
                          <a:pt x="105533" y="34480"/>
                        </a:cubicBezTo>
                        <a:cubicBezTo>
                          <a:pt x="127536" y="40481"/>
                          <a:pt x="140204" y="47053"/>
                          <a:pt x="140204" y="47053"/>
                        </a:cubicBezTo>
                        <a:cubicBezTo>
                          <a:pt x="140204" y="47053"/>
                          <a:pt x="134203" y="33528"/>
                          <a:pt x="109438" y="1771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45" name="Freihandform: Form 744">
                    <a:extLst>
                      <a:ext uri="{FF2B5EF4-FFF2-40B4-BE49-F238E27FC236}">
                        <a16:creationId xmlns:a16="http://schemas.microsoft.com/office/drawing/2014/main" id="{D73A39A9-7FF9-0FF1-D524-F65D3C295101}"/>
                      </a:ext>
                    </a:extLst>
                  </p:cNvPr>
                  <p:cNvSpPr/>
                  <p:nvPr/>
                </p:nvSpPr>
                <p:spPr>
                  <a:xfrm rot="-5166000">
                    <a:off x="9156216" y="1194137"/>
                    <a:ext cx="40385" cy="37909"/>
                  </a:xfrm>
                  <a:custGeom>
                    <a:avLst/>
                    <a:gdLst>
                      <a:gd name="connsiteX0" fmla="*/ 40386 w 40385"/>
                      <a:gd name="connsiteY0" fmla="*/ 18955 h 37909"/>
                      <a:gd name="connsiteX1" fmla="*/ 20193 w 40385"/>
                      <a:gd name="connsiteY1" fmla="*/ 37910 h 37909"/>
                      <a:gd name="connsiteX2" fmla="*/ 0 w 40385"/>
                      <a:gd name="connsiteY2" fmla="*/ 18955 h 37909"/>
                      <a:gd name="connsiteX3" fmla="*/ 20193 w 40385"/>
                      <a:gd name="connsiteY3" fmla="*/ 0 h 37909"/>
                      <a:gd name="connsiteX4" fmla="*/ 40386 w 40385"/>
                      <a:gd name="connsiteY4" fmla="*/ 18955 h 379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385" h="37909">
                        <a:moveTo>
                          <a:pt x="40386" y="18955"/>
                        </a:moveTo>
                        <a:cubicBezTo>
                          <a:pt x="40386" y="29423"/>
                          <a:pt x="31345" y="37910"/>
                          <a:pt x="20193" y="37910"/>
                        </a:cubicBezTo>
                        <a:cubicBezTo>
                          <a:pt x="9041" y="37910"/>
                          <a:pt x="0" y="29423"/>
                          <a:pt x="0" y="18955"/>
                        </a:cubicBezTo>
                        <a:cubicBezTo>
                          <a:pt x="0" y="8486"/>
                          <a:pt x="9041" y="0"/>
                          <a:pt x="20193" y="0"/>
                        </a:cubicBezTo>
                        <a:cubicBezTo>
                          <a:pt x="31345" y="0"/>
                          <a:pt x="40386" y="8486"/>
                          <a:pt x="40386" y="18955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46" name="Freihandform: Form 745">
                    <a:extLst>
                      <a:ext uri="{FF2B5EF4-FFF2-40B4-BE49-F238E27FC236}">
                        <a16:creationId xmlns:a16="http://schemas.microsoft.com/office/drawing/2014/main" id="{78781A0A-6A44-A0DF-7E53-B805A680FCDC}"/>
                      </a:ext>
                    </a:extLst>
                  </p:cNvPr>
                  <p:cNvSpPr/>
                  <p:nvPr/>
                </p:nvSpPr>
                <p:spPr>
                  <a:xfrm>
                    <a:off x="9106502" y="1122045"/>
                    <a:ext cx="140013" cy="47053"/>
                  </a:xfrm>
                  <a:custGeom>
                    <a:avLst/>
                    <a:gdLst>
                      <a:gd name="connsiteX0" fmla="*/ 30766 w 140013"/>
                      <a:gd name="connsiteY0" fmla="*/ 17716 h 47053"/>
                      <a:gd name="connsiteX1" fmla="*/ 84297 w 140013"/>
                      <a:gd name="connsiteY1" fmla="*/ 762 h 47053"/>
                      <a:gd name="connsiteX2" fmla="*/ 84297 w 140013"/>
                      <a:gd name="connsiteY2" fmla="*/ 762 h 47053"/>
                      <a:gd name="connsiteX3" fmla="*/ 132302 w 140013"/>
                      <a:gd name="connsiteY3" fmla="*/ 6191 h 47053"/>
                      <a:gd name="connsiteX4" fmla="*/ 135731 w 140013"/>
                      <a:gd name="connsiteY4" fmla="*/ 8858 h 47053"/>
                      <a:gd name="connsiteX5" fmla="*/ 126111 w 140013"/>
                      <a:gd name="connsiteY5" fmla="*/ 33242 h 47053"/>
                      <a:gd name="connsiteX6" fmla="*/ 98774 w 140013"/>
                      <a:gd name="connsiteY6" fmla="*/ 30766 h 47053"/>
                      <a:gd name="connsiteX7" fmla="*/ 34576 w 140013"/>
                      <a:gd name="connsiteY7" fmla="*/ 34480 h 47053"/>
                      <a:gd name="connsiteX8" fmla="*/ 0 w 140013"/>
                      <a:gd name="connsiteY8" fmla="*/ 47053 h 47053"/>
                      <a:gd name="connsiteX9" fmla="*/ 30766 w 140013"/>
                      <a:gd name="connsiteY9" fmla="*/ 17716 h 470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40013" h="47053">
                        <a:moveTo>
                          <a:pt x="30766" y="17716"/>
                        </a:moveTo>
                        <a:cubicBezTo>
                          <a:pt x="49339" y="5905"/>
                          <a:pt x="69438" y="1429"/>
                          <a:pt x="84297" y="762"/>
                        </a:cubicBezTo>
                        <a:lnTo>
                          <a:pt x="84297" y="762"/>
                        </a:lnTo>
                        <a:cubicBezTo>
                          <a:pt x="109824" y="-1810"/>
                          <a:pt x="126778" y="2667"/>
                          <a:pt x="132302" y="6191"/>
                        </a:cubicBezTo>
                        <a:cubicBezTo>
                          <a:pt x="133636" y="7048"/>
                          <a:pt x="134684" y="7906"/>
                          <a:pt x="135731" y="8858"/>
                        </a:cubicBezTo>
                        <a:cubicBezTo>
                          <a:pt x="144875" y="17526"/>
                          <a:pt x="138303" y="33623"/>
                          <a:pt x="126111" y="33242"/>
                        </a:cubicBezTo>
                        <a:cubicBezTo>
                          <a:pt x="120491" y="33147"/>
                          <a:pt x="106680" y="31528"/>
                          <a:pt x="98774" y="30766"/>
                        </a:cubicBezTo>
                        <a:cubicBezTo>
                          <a:pt x="84963" y="29337"/>
                          <a:pt x="45815" y="31432"/>
                          <a:pt x="34576" y="34480"/>
                        </a:cubicBezTo>
                        <a:cubicBezTo>
                          <a:pt x="12573" y="40481"/>
                          <a:pt x="0" y="47053"/>
                          <a:pt x="0" y="47053"/>
                        </a:cubicBezTo>
                        <a:cubicBezTo>
                          <a:pt x="0" y="47053"/>
                          <a:pt x="6001" y="33528"/>
                          <a:pt x="30766" y="1771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47" name="Freihandform: Form 746">
                    <a:extLst>
                      <a:ext uri="{FF2B5EF4-FFF2-40B4-BE49-F238E27FC236}">
                        <a16:creationId xmlns:a16="http://schemas.microsoft.com/office/drawing/2014/main" id="{BF862EAF-189C-59E9-F922-F43ADFF7AAE6}"/>
                      </a:ext>
                    </a:extLst>
                  </p:cNvPr>
                  <p:cNvSpPr/>
                  <p:nvPr/>
                </p:nvSpPr>
                <p:spPr>
                  <a:xfrm>
                    <a:off x="9123564" y="1183592"/>
                    <a:ext cx="103635" cy="27457"/>
                  </a:xfrm>
                  <a:custGeom>
                    <a:avLst/>
                    <a:gdLst>
                      <a:gd name="connsiteX0" fmla="*/ 3227 w 103635"/>
                      <a:gd name="connsiteY0" fmla="*/ 17795 h 27457"/>
                      <a:gd name="connsiteX1" fmla="*/ 46185 w 103635"/>
                      <a:gd name="connsiteY1" fmla="*/ 174 h 27457"/>
                      <a:gd name="connsiteX2" fmla="*/ 101239 w 103635"/>
                      <a:gd name="connsiteY2" fmla="*/ 17509 h 27457"/>
                      <a:gd name="connsiteX3" fmla="*/ 97905 w 103635"/>
                      <a:gd name="connsiteY3" fmla="*/ 26939 h 27457"/>
                      <a:gd name="connsiteX4" fmla="*/ 54281 w 103635"/>
                      <a:gd name="connsiteY4" fmla="*/ 11699 h 27457"/>
                      <a:gd name="connsiteX5" fmla="*/ 10847 w 103635"/>
                      <a:gd name="connsiteY5" fmla="*/ 21415 h 27457"/>
                      <a:gd name="connsiteX6" fmla="*/ 1322 w 103635"/>
                      <a:gd name="connsiteY6" fmla="*/ 25606 h 27457"/>
                      <a:gd name="connsiteX7" fmla="*/ 3417 w 103635"/>
                      <a:gd name="connsiteY7" fmla="*/ 17795 h 274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03635" h="27457">
                        <a:moveTo>
                          <a:pt x="3227" y="17795"/>
                        </a:moveTo>
                        <a:cubicBezTo>
                          <a:pt x="7989" y="12938"/>
                          <a:pt x="23896" y="1412"/>
                          <a:pt x="46185" y="174"/>
                        </a:cubicBezTo>
                        <a:cubicBezTo>
                          <a:pt x="76569" y="-1541"/>
                          <a:pt x="94000" y="9794"/>
                          <a:pt x="101239" y="17509"/>
                        </a:cubicBezTo>
                        <a:cubicBezTo>
                          <a:pt x="106478" y="23034"/>
                          <a:pt x="102096" y="29321"/>
                          <a:pt x="97905" y="26939"/>
                        </a:cubicBezTo>
                        <a:cubicBezTo>
                          <a:pt x="86952" y="20748"/>
                          <a:pt x="81046" y="14843"/>
                          <a:pt x="54281" y="11699"/>
                        </a:cubicBezTo>
                        <a:cubicBezTo>
                          <a:pt x="35517" y="9413"/>
                          <a:pt x="17705" y="17605"/>
                          <a:pt x="10847" y="21415"/>
                        </a:cubicBezTo>
                        <a:cubicBezTo>
                          <a:pt x="5608" y="24368"/>
                          <a:pt x="2941" y="26844"/>
                          <a:pt x="1322" y="25606"/>
                        </a:cubicBezTo>
                        <a:cubicBezTo>
                          <a:pt x="-1631" y="23415"/>
                          <a:pt x="941" y="20272"/>
                          <a:pt x="3417" y="17795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48" name="Freihandform: Form 747">
                    <a:extLst>
                      <a:ext uri="{FF2B5EF4-FFF2-40B4-BE49-F238E27FC236}">
                        <a16:creationId xmlns:a16="http://schemas.microsoft.com/office/drawing/2014/main" id="{59340258-BF7A-C4E6-FFCF-CBCB62314FD5}"/>
                      </a:ext>
                    </a:extLst>
                  </p:cNvPr>
                  <p:cNvSpPr/>
                  <p:nvPr/>
                </p:nvSpPr>
                <p:spPr>
                  <a:xfrm rot="-234000">
                    <a:off x="9358240" y="1193075"/>
                    <a:ext cx="37909" cy="40385"/>
                  </a:xfrm>
                  <a:custGeom>
                    <a:avLst/>
                    <a:gdLst>
                      <a:gd name="connsiteX0" fmla="*/ 37910 w 37909"/>
                      <a:gd name="connsiteY0" fmla="*/ 20193 h 40385"/>
                      <a:gd name="connsiteX1" fmla="*/ 18955 w 37909"/>
                      <a:gd name="connsiteY1" fmla="*/ 40386 h 40385"/>
                      <a:gd name="connsiteX2" fmla="*/ 0 w 37909"/>
                      <a:gd name="connsiteY2" fmla="*/ 20193 h 40385"/>
                      <a:gd name="connsiteX3" fmla="*/ 18955 w 37909"/>
                      <a:gd name="connsiteY3" fmla="*/ 0 h 40385"/>
                      <a:gd name="connsiteX4" fmla="*/ 37910 w 37909"/>
                      <a:gd name="connsiteY4" fmla="*/ 20193 h 403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7909" h="40385">
                        <a:moveTo>
                          <a:pt x="37910" y="20193"/>
                        </a:moveTo>
                        <a:cubicBezTo>
                          <a:pt x="37910" y="31345"/>
                          <a:pt x="29424" y="40386"/>
                          <a:pt x="18955" y="40386"/>
                        </a:cubicBezTo>
                        <a:cubicBezTo>
                          <a:pt x="8486" y="40386"/>
                          <a:pt x="0" y="31345"/>
                          <a:pt x="0" y="20193"/>
                        </a:cubicBezTo>
                        <a:cubicBezTo>
                          <a:pt x="0" y="9041"/>
                          <a:pt x="8486" y="0"/>
                          <a:pt x="18955" y="0"/>
                        </a:cubicBezTo>
                        <a:cubicBezTo>
                          <a:pt x="29424" y="0"/>
                          <a:pt x="37910" y="9041"/>
                          <a:pt x="37910" y="20193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49" name="Freihandform: Form 748">
                    <a:extLst>
                      <a:ext uri="{FF2B5EF4-FFF2-40B4-BE49-F238E27FC236}">
                        <a16:creationId xmlns:a16="http://schemas.microsoft.com/office/drawing/2014/main" id="{8C9F1786-207A-3D25-16C9-93A73EA21029}"/>
                      </a:ext>
                    </a:extLst>
                  </p:cNvPr>
                  <p:cNvSpPr/>
                  <p:nvPr/>
                </p:nvSpPr>
                <p:spPr>
                  <a:xfrm>
                    <a:off x="9326515" y="1183592"/>
                    <a:ext cx="103634" cy="27457"/>
                  </a:xfrm>
                  <a:custGeom>
                    <a:avLst/>
                    <a:gdLst>
                      <a:gd name="connsiteX0" fmla="*/ 100408 w 103634"/>
                      <a:gd name="connsiteY0" fmla="*/ 17795 h 27457"/>
                      <a:gd name="connsiteX1" fmla="*/ 57450 w 103634"/>
                      <a:gd name="connsiteY1" fmla="*/ 174 h 27457"/>
                      <a:gd name="connsiteX2" fmla="*/ 2396 w 103634"/>
                      <a:gd name="connsiteY2" fmla="*/ 17509 h 27457"/>
                      <a:gd name="connsiteX3" fmla="*/ 5730 w 103634"/>
                      <a:gd name="connsiteY3" fmla="*/ 26939 h 27457"/>
                      <a:gd name="connsiteX4" fmla="*/ 49354 w 103634"/>
                      <a:gd name="connsiteY4" fmla="*/ 11699 h 27457"/>
                      <a:gd name="connsiteX5" fmla="*/ 92788 w 103634"/>
                      <a:gd name="connsiteY5" fmla="*/ 21415 h 27457"/>
                      <a:gd name="connsiteX6" fmla="*/ 102313 w 103634"/>
                      <a:gd name="connsiteY6" fmla="*/ 25606 h 27457"/>
                      <a:gd name="connsiteX7" fmla="*/ 100218 w 103634"/>
                      <a:gd name="connsiteY7" fmla="*/ 17795 h 274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03634" h="27457">
                        <a:moveTo>
                          <a:pt x="100408" y="17795"/>
                        </a:moveTo>
                        <a:cubicBezTo>
                          <a:pt x="95646" y="12938"/>
                          <a:pt x="79739" y="1412"/>
                          <a:pt x="57450" y="174"/>
                        </a:cubicBezTo>
                        <a:cubicBezTo>
                          <a:pt x="27066" y="-1541"/>
                          <a:pt x="9635" y="9794"/>
                          <a:pt x="2396" y="17509"/>
                        </a:cubicBezTo>
                        <a:cubicBezTo>
                          <a:pt x="-2842" y="23034"/>
                          <a:pt x="1539" y="29321"/>
                          <a:pt x="5730" y="26939"/>
                        </a:cubicBezTo>
                        <a:cubicBezTo>
                          <a:pt x="16684" y="20748"/>
                          <a:pt x="22589" y="14843"/>
                          <a:pt x="49354" y="11699"/>
                        </a:cubicBezTo>
                        <a:cubicBezTo>
                          <a:pt x="68118" y="9413"/>
                          <a:pt x="85930" y="17605"/>
                          <a:pt x="92788" y="21415"/>
                        </a:cubicBezTo>
                        <a:cubicBezTo>
                          <a:pt x="98027" y="24368"/>
                          <a:pt x="100694" y="26844"/>
                          <a:pt x="102313" y="25606"/>
                        </a:cubicBezTo>
                        <a:cubicBezTo>
                          <a:pt x="105266" y="23415"/>
                          <a:pt x="102694" y="20272"/>
                          <a:pt x="100218" y="17795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50" name="Freihandform: Form 749">
                    <a:extLst>
                      <a:ext uri="{FF2B5EF4-FFF2-40B4-BE49-F238E27FC236}">
                        <a16:creationId xmlns:a16="http://schemas.microsoft.com/office/drawing/2014/main" id="{E6106BF0-0B83-A00F-3865-7DBC91CF4A5D}"/>
                      </a:ext>
                    </a:extLst>
                  </p:cNvPr>
                  <p:cNvSpPr/>
                  <p:nvPr/>
                </p:nvSpPr>
                <p:spPr>
                  <a:xfrm>
                    <a:off x="9123366" y="781823"/>
                    <a:ext cx="508630" cy="429280"/>
                  </a:xfrm>
                  <a:custGeom>
                    <a:avLst/>
                    <a:gdLst>
                      <a:gd name="connsiteX0" fmla="*/ 91 w 508630"/>
                      <a:gd name="connsiteY0" fmla="*/ 94667 h 429280"/>
                      <a:gd name="connsiteX1" fmla="*/ 318131 w 508630"/>
                      <a:gd name="connsiteY1" fmla="*/ 352223 h 429280"/>
                      <a:gd name="connsiteX2" fmla="*/ 508631 w 508630"/>
                      <a:gd name="connsiteY2" fmla="*/ 429281 h 429280"/>
                      <a:gd name="connsiteX3" fmla="*/ 449956 w 508630"/>
                      <a:gd name="connsiteY3" fmla="*/ 231446 h 429280"/>
                      <a:gd name="connsiteX4" fmla="*/ 91 w 508630"/>
                      <a:gd name="connsiteY4" fmla="*/ 94667 h 4292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8630" h="429280">
                        <a:moveTo>
                          <a:pt x="91" y="94667"/>
                        </a:moveTo>
                        <a:cubicBezTo>
                          <a:pt x="-4576" y="204586"/>
                          <a:pt x="171731" y="297931"/>
                          <a:pt x="318131" y="352223"/>
                        </a:cubicBezTo>
                        <a:cubicBezTo>
                          <a:pt x="464530" y="406516"/>
                          <a:pt x="508631" y="429281"/>
                          <a:pt x="508631" y="429281"/>
                        </a:cubicBezTo>
                        <a:cubicBezTo>
                          <a:pt x="508631" y="429281"/>
                          <a:pt x="454338" y="371464"/>
                          <a:pt x="449956" y="231446"/>
                        </a:cubicBezTo>
                        <a:cubicBezTo>
                          <a:pt x="445003" y="73236"/>
                          <a:pt x="191067" y="-118597"/>
                          <a:pt x="91" y="94667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751" name="Grafik 23">
                    <a:extLst>
                      <a:ext uri="{FF2B5EF4-FFF2-40B4-BE49-F238E27FC236}">
                        <a16:creationId xmlns:a16="http://schemas.microsoft.com/office/drawing/2014/main" id="{A7318942-78D1-BC59-4720-A40787ABD874}"/>
                      </a:ext>
                    </a:extLst>
                  </p:cNvPr>
                  <p:cNvGrpSpPr/>
                  <p:nvPr/>
                </p:nvGrpSpPr>
                <p:grpSpPr>
                  <a:xfrm>
                    <a:off x="8395080" y="3305841"/>
                    <a:ext cx="234464" cy="670178"/>
                    <a:chOff x="8395080" y="3305841"/>
                    <a:chExt cx="234464" cy="670178"/>
                  </a:xfrm>
                  <a:solidFill>
                    <a:srgbClr val="8A5942"/>
                  </a:solidFill>
                </p:grpSpPr>
                <p:sp>
                  <p:nvSpPr>
                    <p:cNvPr id="764" name="Freihandform: Form 763">
                      <a:extLst>
                        <a:ext uri="{FF2B5EF4-FFF2-40B4-BE49-F238E27FC236}">
                          <a16:creationId xmlns:a16="http://schemas.microsoft.com/office/drawing/2014/main" id="{B01BC2BD-52FA-0F94-A6C2-3D90FDAE355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33275" y="3305841"/>
                      <a:ext cx="191738" cy="211264"/>
                    </a:xfrm>
                    <a:custGeom>
                      <a:avLst/>
                      <a:gdLst>
                        <a:gd name="connsiteX0" fmla="*/ 95 w 191738"/>
                        <a:gd name="connsiteY0" fmla="*/ 0 h 211264"/>
                        <a:gd name="connsiteX1" fmla="*/ 21431 w 191738"/>
                        <a:gd name="connsiteY1" fmla="*/ 211264 h 211264"/>
                        <a:gd name="connsiteX2" fmla="*/ 156782 w 191738"/>
                        <a:gd name="connsiteY2" fmla="*/ 200406 h 211264"/>
                        <a:gd name="connsiteX3" fmla="*/ 191738 w 191738"/>
                        <a:gd name="connsiteY3" fmla="*/ 10763 h 211264"/>
                        <a:gd name="connsiteX4" fmla="*/ 0 w 191738"/>
                        <a:gd name="connsiteY4" fmla="*/ 0 h 2112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91738" h="211264">
                          <a:moveTo>
                            <a:pt x="95" y="0"/>
                          </a:moveTo>
                          <a:cubicBezTo>
                            <a:pt x="5239" y="79629"/>
                            <a:pt x="13525" y="148495"/>
                            <a:pt x="21431" y="211264"/>
                          </a:cubicBezTo>
                          <a:lnTo>
                            <a:pt x="156782" y="200406"/>
                          </a:lnTo>
                          <a:cubicBezTo>
                            <a:pt x="156782" y="200406"/>
                            <a:pt x="172212" y="119158"/>
                            <a:pt x="191738" y="10763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765" name="Grafik 23">
                      <a:extLst>
                        <a:ext uri="{FF2B5EF4-FFF2-40B4-BE49-F238E27FC236}">
                          <a16:creationId xmlns:a16="http://schemas.microsoft.com/office/drawing/2014/main" id="{CF7CE465-DFD2-0AD6-3C33-6645917BF93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395080" y="3436239"/>
                      <a:ext cx="234464" cy="539781"/>
                      <a:chOff x="8395080" y="3436239"/>
                      <a:chExt cx="234464" cy="539781"/>
                    </a:xfrm>
                    <a:solidFill>
                      <a:srgbClr val="8A5942"/>
                    </a:solidFill>
                  </p:grpSpPr>
                  <p:sp>
                    <p:nvSpPr>
                      <p:cNvPr id="766" name="Freihandform: Form 765">
                        <a:extLst>
                          <a:ext uri="{FF2B5EF4-FFF2-40B4-BE49-F238E27FC236}">
                            <a16:creationId xmlns:a16="http://schemas.microsoft.com/office/drawing/2014/main" id="{EAD1196D-4038-4A31-7D34-5FACA729D94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66681" y="3802691"/>
                        <a:ext cx="54546" cy="83127"/>
                      </a:xfrm>
                      <a:custGeom>
                        <a:avLst/>
                        <a:gdLst>
                          <a:gd name="connsiteX0" fmla="*/ 47557 w 54546"/>
                          <a:gd name="connsiteY0" fmla="*/ 83128 h 83127"/>
                          <a:gd name="connsiteX1" fmla="*/ 13648 w 54546"/>
                          <a:gd name="connsiteY1" fmla="*/ 55791 h 83127"/>
                          <a:gd name="connsiteX2" fmla="*/ 2885 w 54546"/>
                          <a:gd name="connsiteY2" fmla="*/ 9595 h 83127"/>
                          <a:gd name="connsiteX3" fmla="*/ 7838 w 54546"/>
                          <a:gd name="connsiteY3" fmla="*/ 70 h 83127"/>
                          <a:gd name="connsiteX4" fmla="*/ 43747 w 54546"/>
                          <a:gd name="connsiteY4" fmla="*/ 39694 h 83127"/>
                          <a:gd name="connsiteX5" fmla="*/ 47557 w 54546"/>
                          <a:gd name="connsiteY5" fmla="*/ 83128 h 83127"/>
                          <a:gd name="connsiteX6" fmla="*/ 47557 w 54546"/>
                          <a:gd name="connsiteY6" fmla="*/ 83128 h 831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4546" h="83127">
                            <a:moveTo>
                              <a:pt x="47557" y="83128"/>
                            </a:moveTo>
                            <a:lnTo>
                              <a:pt x="13648" y="55791"/>
                            </a:lnTo>
                            <a:cubicBezTo>
                              <a:pt x="979" y="45218"/>
                              <a:pt x="-3497" y="28264"/>
                              <a:pt x="2885" y="9595"/>
                            </a:cubicBezTo>
                            <a:cubicBezTo>
                              <a:pt x="4980" y="3594"/>
                              <a:pt x="6790" y="-597"/>
                              <a:pt x="7838" y="70"/>
                            </a:cubicBezTo>
                            <a:cubicBezTo>
                              <a:pt x="9743" y="1499"/>
                              <a:pt x="25173" y="18262"/>
                              <a:pt x="43747" y="39694"/>
                            </a:cubicBezTo>
                            <a:cubicBezTo>
                              <a:pt x="55463" y="53219"/>
                              <a:pt x="58987" y="64744"/>
                              <a:pt x="47557" y="83128"/>
                            </a:cubicBezTo>
                            <a:lnTo>
                              <a:pt x="47557" y="83128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67" name="Freihandform: Form 766">
                        <a:extLst>
                          <a:ext uri="{FF2B5EF4-FFF2-40B4-BE49-F238E27FC236}">
                            <a16:creationId xmlns:a16="http://schemas.microsoft.com/office/drawing/2014/main" id="{076442FB-E72E-08C4-0C1B-0A6D36E7C47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19369" y="3769457"/>
                        <a:ext cx="73352" cy="89024"/>
                      </a:xfrm>
                      <a:custGeom>
                        <a:avLst/>
                        <a:gdLst>
                          <a:gd name="connsiteX0" fmla="*/ 60960 w 73352"/>
                          <a:gd name="connsiteY0" fmla="*/ 89025 h 89024"/>
                          <a:gd name="connsiteX1" fmla="*/ 9525 w 73352"/>
                          <a:gd name="connsiteY1" fmla="*/ 44448 h 89024"/>
                          <a:gd name="connsiteX2" fmla="*/ 0 w 73352"/>
                          <a:gd name="connsiteY2" fmla="*/ 31494 h 89024"/>
                          <a:gd name="connsiteX3" fmla="*/ 40291 w 73352"/>
                          <a:gd name="connsiteY3" fmla="*/ 537 h 89024"/>
                          <a:gd name="connsiteX4" fmla="*/ 66675 w 73352"/>
                          <a:gd name="connsiteY4" fmla="*/ 44829 h 89024"/>
                          <a:gd name="connsiteX5" fmla="*/ 60864 w 73352"/>
                          <a:gd name="connsiteY5" fmla="*/ 89025 h 89024"/>
                          <a:gd name="connsiteX6" fmla="*/ 60864 w 73352"/>
                          <a:gd name="connsiteY6" fmla="*/ 89025 h 8902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3352" h="89024">
                            <a:moveTo>
                              <a:pt x="60960" y="89025"/>
                            </a:moveTo>
                            <a:lnTo>
                              <a:pt x="9525" y="44448"/>
                            </a:lnTo>
                            <a:cubicBezTo>
                              <a:pt x="3334" y="38637"/>
                              <a:pt x="1524" y="34446"/>
                              <a:pt x="0" y="31494"/>
                            </a:cubicBezTo>
                            <a:cubicBezTo>
                              <a:pt x="1048" y="12063"/>
                              <a:pt x="25432" y="-3082"/>
                              <a:pt x="40291" y="537"/>
                            </a:cubicBezTo>
                            <a:lnTo>
                              <a:pt x="66675" y="44829"/>
                            </a:lnTo>
                            <a:cubicBezTo>
                              <a:pt x="78105" y="57307"/>
                              <a:pt x="74009" y="72261"/>
                              <a:pt x="60864" y="89025"/>
                            </a:cubicBezTo>
                            <a:lnTo>
                              <a:pt x="60864" y="89025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68" name="Freihandform: Form 767">
                        <a:extLst>
                          <a:ext uri="{FF2B5EF4-FFF2-40B4-BE49-F238E27FC236}">
                            <a16:creationId xmlns:a16="http://schemas.microsoft.com/office/drawing/2014/main" id="{07A61C5C-A2C9-10F8-B40D-94F8A1F7D35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55898" y="3838165"/>
                        <a:ext cx="63906" cy="105660"/>
                      </a:xfrm>
                      <a:custGeom>
                        <a:avLst/>
                        <a:gdLst>
                          <a:gd name="connsiteX0" fmla="*/ 55673 w 63906"/>
                          <a:gd name="connsiteY0" fmla="*/ 105660 h 105660"/>
                          <a:gd name="connsiteX1" fmla="*/ 15954 w 63906"/>
                          <a:gd name="connsiteY1" fmla="*/ 67179 h 105660"/>
                          <a:gd name="connsiteX2" fmla="*/ 3476 w 63906"/>
                          <a:gd name="connsiteY2" fmla="*/ 10506 h 105660"/>
                          <a:gd name="connsiteX3" fmla="*/ 9287 w 63906"/>
                          <a:gd name="connsiteY3" fmla="*/ 123 h 105660"/>
                          <a:gd name="connsiteX4" fmla="*/ 51292 w 63906"/>
                          <a:gd name="connsiteY4" fmla="*/ 53559 h 105660"/>
                          <a:gd name="connsiteX5" fmla="*/ 55673 w 63906"/>
                          <a:gd name="connsiteY5" fmla="*/ 105565 h 105660"/>
                          <a:gd name="connsiteX6" fmla="*/ 55673 w 63906"/>
                          <a:gd name="connsiteY6" fmla="*/ 105565 h 1056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3906" h="105660">
                            <a:moveTo>
                              <a:pt x="55673" y="105660"/>
                            </a:moveTo>
                            <a:lnTo>
                              <a:pt x="15954" y="67179"/>
                            </a:lnTo>
                            <a:cubicBezTo>
                              <a:pt x="1095" y="52321"/>
                              <a:pt x="-4144" y="31556"/>
                              <a:pt x="3476" y="10506"/>
                            </a:cubicBezTo>
                            <a:cubicBezTo>
                              <a:pt x="5953" y="3838"/>
                              <a:pt x="8144" y="-829"/>
                              <a:pt x="9287" y="123"/>
                            </a:cubicBezTo>
                            <a:cubicBezTo>
                              <a:pt x="11573" y="2124"/>
                              <a:pt x="29575" y="24793"/>
                              <a:pt x="51292" y="53559"/>
                            </a:cubicBezTo>
                            <a:cubicBezTo>
                              <a:pt x="65008" y="71656"/>
                              <a:pt x="69103" y="85944"/>
                              <a:pt x="55673" y="105565"/>
                            </a:cubicBezTo>
                            <a:lnTo>
                              <a:pt x="55673" y="105565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69" name="Freihandform: Form 768">
                        <a:extLst>
                          <a:ext uri="{FF2B5EF4-FFF2-40B4-BE49-F238E27FC236}">
                            <a16:creationId xmlns:a16="http://schemas.microsoft.com/office/drawing/2014/main" id="{22616E88-842C-80DA-C29C-E5A06F15861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00115" y="3774757"/>
                        <a:ext cx="87440" cy="131349"/>
                      </a:xfrm>
                      <a:custGeom>
                        <a:avLst/>
                        <a:gdLst>
                          <a:gd name="connsiteX0" fmla="*/ 72689 w 87440"/>
                          <a:gd name="connsiteY0" fmla="*/ 131350 h 131349"/>
                          <a:gd name="connsiteX1" fmla="*/ 12205 w 87440"/>
                          <a:gd name="connsiteY1" fmla="*/ 71628 h 131349"/>
                          <a:gd name="connsiteX2" fmla="*/ 17349 w 87440"/>
                          <a:gd name="connsiteY2" fmla="*/ 4001 h 131349"/>
                          <a:gd name="connsiteX3" fmla="*/ 26112 w 87440"/>
                          <a:gd name="connsiteY3" fmla="*/ 0 h 131349"/>
                          <a:gd name="connsiteX4" fmla="*/ 79642 w 87440"/>
                          <a:gd name="connsiteY4" fmla="*/ 80010 h 131349"/>
                          <a:gd name="connsiteX5" fmla="*/ 72689 w 87440"/>
                          <a:gd name="connsiteY5" fmla="*/ 131254 h 131349"/>
                          <a:gd name="connsiteX6" fmla="*/ 72689 w 87440"/>
                          <a:gd name="connsiteY6" fmla="*/ 131254 h 13134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87440" h="131349">
                            <a:moveTo>
                              <a:pt x="72689" y="131350"/>
                            </a:moveTo>
                            <a:lnTo>
                              <a:pt x="12205" y="71628"/>
                            </a:lnTo>
                            <a:cubicBezTo>
                              <a:pt x="-5892" y="53340"/>
                              <a:pt x="-3606" y="22479"/>
                              <a:pt x="17349" y="4001"/>
                            </a:cubicBezTo>
                            <a:lnTo>
                              <a:pt x="26112" y="0"/>
                            </a:lnTo>
                            <a:lnTo>
                              <a:pt x="79642" y="80010"/>
                            </a:lnTo>
                            <a:cubicBezTo>
                              <a:pt x="93073" y="96869"/>
                              <a:pt x="88120" y="113729"/>
                              <a:pt x="72689" y="131254"/>
                            </a:cubicBezTo>
                            <a:lnTo>
                              <a:pt x="72689" y="131254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70" name="Freihandform: Form 769">
                        <a:extLst>
                          <a:ext uri="{FF2B5EF4-FFF2-40B4-BE49-F238E27FC236}">
                            <a16:creationId xmlns:a16="http://schemas.microsoft.com/office/drawing/2014/main" id="{41789256-0FF5-5D8B-1B95-CAECCA73CA6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395080" y="3720421"/>
                        <a:ext cx="62960" cy="111771"/>
                      </a:xfrm>
                      <a:custGeom>
                        <a:avLst/>
                        <a:gdLst>
                          <a:gd name="connsiteX0" fmla="*/ 0 w 62960"/>
                          <a:gd name="connsiteY0" fmla="*/ 9378 h 111771"/>
                          <a:gd name="connsiteX1" fmla="*/ 4191 w 62960"/>
                          <a:gd name="connsiteY1" fmla="*/ 100628 h 111771"/>
                          <a:gd name="connsiteX2" fmla="*/ 8287 w 62960"/>
                          <a:gd name="connsiteY2" fmla="*/ 111772 h 111771"/>
                          <a:gd name="connsiteX3" fmla="*/ 57150 w 62960"/>
                          <a:gd name="connsiteY3" fmla="*/ 67100 h 111771"/>
                          <a:gd name="connsiteX4" fmla="*/ 62961 w 62960"/>
                          <a:gd name="connsiteY4" fmla="*/ 18236 h 111771"/>
                          <a:gd name="connsiteX5" fmla="*/ 0 w 62960"/>
                          <a:gd name="connsiteY5" fmla="*/ 9378 h 11177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62960" h="111771">
                            <a:moveTo>
                              <a:pt x="0" y="9378"/>
                            </a:moveTo>
                            <a:cubicBezTo>
                              <a:pt x="477" y="28142"/>
                              <a:pt x="4191" y="100628"/>
                              <a:pt x="4191" y="100628"/>
                            </a:cubicBezTo>
                            <a:lnTo>
                              <a:pt x="8287" y="111772"/>
                            </a:lnTo>
                            <a:cubicBezTo>
                              <a:pt x="34957" y="111296"/>
                              <a:pt x="54674" y="91484"/>
                              <a:pt x="57150" y="67100"/>
                            </a:cubicBezTo>
                            <a:lnTo>
                              <a:pt x="62961" y="18236"/>
                            </a:lnTo>
                            <a:cubicBezTo>
                              <a:pt x="55436" y="1568"/>
                              <a:pt x="8192" y="-8338"/>
                              <a:pt x="0" y="9378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grpSp>
                    <p:nvGrpSpPr>
                      <p:cNvPr id="771" name="Grafik 23">
                        <a:extLst>
                          <a:ext uri="{FF2B5EF4-FFF2-40B4-BE49-F238E27FC236}">
                            <a16:creationId xmlns:a16="http://schemas.microsoft.com/office/drawing/2014/main" id="{E7CCAA45-9629-8118-E9F6-AF0F21AC6EB6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8415082" y="3708417"/>
                        <a:ext cx="91882" cy="267603"/>
                        <a:chOff x="8415082" y="3708417"/>
                        <a:chExt cx="91882" cy="267603"/>
                      </a:xfrm>
                      <a:solidFill>
                        <a:srgbClr val="8A5942"/>
                      </a:solidFill>
                    </p:grpSpPr>
                    <p:sp>
                      <p:nvSpPr>
                        <p:cNvPr id="781" name="Freihandform: Form 780">
                          <a:extLst>
                            <a:ext uri="{FF2B5EF4-FFF2-40B4-BE49-F238E27FC236}">
                              <a16:creationId xmlns:a16="http://schemas.microsoft.com/office/drawing/2014/main" id="{1A6DC991-FC91-6715-C5EA-8204B788133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56624" y="3848906"/>
                          <a:ext cx="50341" cy="127114"/>
                        </a:xfrm>
                        <a:custGeom>
                          <a:avLst/>
                          <a:gdLst>
                            <a:gd name="connsiteX0" fmla="*/ 30182 w 50341"/>
                            <a:gd name="connsiteY0" fmla="*/ 127114 h 127114"/>
                            <a:gd name="connsiteX1" fmla="*/ 5131 w 50341"/>
                            <a:gd name="connsiteY1" fmla="*/ 71584 h 127114"/>
                            <a:gd name="connsiteX2" fmla="*/ 15323 w 50341"/>
                            <a:gd name="connsiteY2" fmla="*/ 8528 h 127114"/>
                            <a:gd name="connsiteX3" fmla="*/ 25515 w 50341"/>
                            <a:gd name="connsiteY3" fmla="*/ 337 h 127114"/>
                            <a:gd name="connsiteX4" fmla="*/ 46851 w 50341"/>
                            <a:gd name="connsiteY4" fmla="*/ 72060 h 127114"/>
                            <a:gd name="connsiteX5" fmla="*/ 30182 w 50341"/>
                            <a:gd name="connsiteY5" fmla="*/ 127114 h 127114"/>
                            <a:gd name="connsiteX6" fmla="*/ 30182 w 50341"/>
                            <a:gd name="connsiteY6" fmla="*/ 127114 h 12711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50341" h="127114">
                              <a:moveTo>
                                <a:pt x="30182" y="127114"/>
                              </a:moveTo>
                              <a:lnTo>
                                <a:pt x="5131" y="71584"/>
                              </a:lnTo>
                              <a:cubicBezTo>
                                <a:pt x="-4108" y="50343"/>
                                <a:pt x="-964" y="26912"/>
                                <a:pt x="15323" y="8528"/>
                              </a:cubicBezTo>
                              <a:cubicBezTo>
                                <a:pt x="20562" y="2623"/>
                                <a:pt x="24658" y="-1187"/>
                                <a:pt x="25515" y="337"/>
                              </a:cubicBezTo>
                              <a:cubicBezTo>
                                <a:pt x="27039" y="3385"/>
                                <a:pt x="36278" y="33865"/>
                                <a:pt x="46851" y="72060"/>
                              </a:cubicBezTo>
                              <a:cubicBezTo>
                                <a:pt x="53518" y="96158"/>
                                <a:pt x="51995" y="112446"/>
                                <a:pt x="30182" y="127114"/>
                              </a:cubicBezTo>
                              <a:lnTo>
                                <a:pt x="30182" y="127114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82" name="Freihandform: Form 781">
                          <a:extLst>
                            <a:ext uri="{FF2B5EF4-FFF2-40B4-BE49-F238E27FC236}">
                              <a16:creationId xmlns:a16="http://schemas.microsoft.com/office/drawing/2014/main" id="{A89398D8-3D5A-F503-CD46-1FF0616AF18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22907" y="3799998"/>
                          <a:ext cx="71113" cy="124396"/>
                        </a:xfrm>
                        <a:custGeom>
                          <a:avLst/>
                          <a:gdLst>
                            <a:gd name="connsiteX0" fmla="*/ 40563 w 71113"/>
                            <a:gd name="connsiteY0" fmla="*/ 124396 h 124396"/>
                            <a:gd name="connsiteX1" fmla="*/ 3415 w 71113"/>
                            <a:gd name="connsiteY1" fmla="*/ 38290 h 124396"/>
                            <a:gd name="connsiteX2" fmla="*/ 41135 w 71113"/>
                            <a:gd name="connsiteY2" fmla="*/ 2000 h 124396"/>
                            <a:gd name="connsiteX3" fmla="*/ 45325 w 71113"/>
                            <a:gd name="connsiteY3" fmla="*/ 0 h 124396"/>
                            <a:gd name="connsiteX4" fmla="*/ 69043 w 71113"/>
                            <a:gd name="connsiteY4" fmla="*/ 74295 h 124396"/>
                            <a:gd name="connsiteX5" fmla="*/ 42087 w 71113"/>
                            <a:gd name="connsiteY5" fmla="*/ 123634 h 124396"/>
                            <a:gd name="connsiteX6" fmla="*/ 40563 w 71113"/>
                            <a:gd name="connsiteY6" fmla="*/ 124396 h 12439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71113" h="124396">
                              <a:moveTo>
                                <a:pt x="40563" y="124396"/>
                              </a:moveTo>
                              <a:lnTo>
                                <a:pt x="3415" y="38290"/>
                              </a:lnTo>
                              <a:cubicBezTo>
                                <a:pt x="-7729" y="12192"/>
                                <a:pt x="9321" y="3238"/>
                                <a:pt x="41135" y="2000"/>
                              </a:cubicBezTo>
                              <a:lnTo>
                                <a:pt x="45325" y="0"/>
                              </a:lnTo>
                              <a:lnTo>
                                <a:pt x="69043" y="74295"/>
                              </a:lnTo>
                              <a:cubicBezTo>
                                <a:pt x="75996" y="97060"/>
                                <a:pt x="65042" y="112014"/>
                                <a:pt x="42087" y="123634"/>
                              </a:cubicBezTo>
                              <a:lnTo>
                                <a:pt x="40563" y="124396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83" name="Freihandform: Form 782">
                          <a:extLst>
                            <a:ext uri="{FF2B5EF4-FFF2-40B4-BE49-F238E27FC236}">
                              <a16:creationId xmlns:a16="http://schemas.microsoft.com/office/drawing/2014/main" id="{0C0D3C3C-74BB-B0F6-EF96-3A1E1B44171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15082" y="3708417"/>
                          <a:ext cx="63532" cy="120728"/>
                        </a:xfrm>
                        <a:custGeom>
                          <a:avLst/>
                          <a:gdLst>
                            <a:gd name="connsiteX0" fmla="*/ 1 w 63532"/>
                            <a:gd name="connsiteY0" fmla="*/ 12715 h 120728"/>
                            <a:gd name="connsiteX1" fmla="*/ 8573 w 63532"/>
                            <a:gd name="connsiteY1" fmla="*/ 120728 h 120728"/>
                            <a:gd name="connsiteX2" fmla="*/ 54674 w 63532"/>
                            <a:gd name="connsiteY2" fmla="*/ 92629 h 120728"/>
                            <a:gd name="connsiteX3" fmla="*/ 63532 w 63532"/>
                            <a:gd name="connsiteY3" fmla="*/ 16048 h 120728"/>
                            <a:gd name="connsiteX4" fmla="*/ 1 w 63532"/>
                            <a:gd name="connsiteY4" fmla="*/ 12619 h 12072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63532" h="120728">
                              <a:moveTo>
                                <a:pt x="1" y="12715"/>
                              </a:moveTo>
                              <a:cubicBezTo>
                                <a:pt x="-95" y="14715"/>
                                <a:pt x="8573" y="120728"/>
                                <a:pt x="8573" y="120728"/>
                              </a:cubicBezTo>
                              <a:cubicBezTo>
                                <a:pt x="37910" y="120347"/>
                                <a:pt x="51817" y="119585"/>
                                <a:pt x="54674" y="92629"/>
                              </a:cubicBezTo>
                              <a:lnTo>
                                <a:pt x="63532" y="16048"/>
                              </a:lnTo>
                              <a:cubicBezTo>
                                <a:pt x="55341" y="-2335"/>
                                <a:pt x="9144" y="-6812"/>
                                <a:pt x="1" y="12619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sp>
                    <p:nvSpPr>
                      <p:cNvPr id="772" name="Freihandform: Form 771">
                        <a:extLst>
                          <a:ext uri="{FF2B5EF4-FFF2-40B4-BE49-F238E27FC236}">
                            <a16:creationId xmlns:a16="http://schemas.microsoft.com/office/drawing/2014/main" id="{27C6A7E0-BE40-1F08-23C2-36D67A7DA85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63914" y="3855038"/>
                        <a:ext cx="46483" cy="113934"/>
                      </a:xfrm>
                      <a:custGeom>
                        <a:avLst/>
                        <a:gdLst>
                          <a:gd name="connsiteX0" fmla="*/ 22320 w 46483"/>
                          <a:gd name="connsiteY0" fmla="*/ 113744 h 113934"/>
                          <a:gd name="connsiteX1" fmla="*/ 3366 w 46483"/>
                          <a:gd name="connsiteY1" fmla="*/ 60784 h 113934"/>
                          <a:gd name="connsiteX2" fmla="*/ 17844 w 46483"/>
                          <a:gd name="connsiteY2" fmla="*/ 6587 h 113934"/>
                          <a:gd name="connsiteX3" fmla="*/ 28893 w 46483"/>
                          <a:gd name="connsiteY3" fmla="*/ 396 h 113934"/>
                          <a:gd name="connsiteX4" fmla="*/ 44990 w 46483"/>
                          <a:gd name="connsiteY4" fmla="*/ 66214 h 113934"/>
                          <a:gd name="connsiteX5" fmla="*/ 22416 w 46483"/>
                          <a:gd name="connsiteY5" fmla="*/ 113934 h 113934"/>
                          <a:gd name="connsiteX6" fmla="*/ 22416 w 46483"/>
                          <a:gd name="connsiteY6" fmla="*/ 113934 h 11393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6483" h="113934">
                            <a:moveTo>
                              <a:pt x="22320" y="113744"/>
                            </a:moveTo>
                            <a:lnTo>
                              <a:pt x="3366" y="60784"/>
                            </a:lnTo>
                            <a:cubicBezTo>
                              <a:pt x="-3492" y="40591"/>
                              <a:pt x="-444" y="21161"/>
                              <a:pt x="17844" y="6587"/>
                            </a:cubicBezTo>
                            <a:cubicBezTo>
                              <a:pt x="23749" y="1920"/>
                              <a:pt x="28321" y="-1128"/>
                              <a:pt x="28893" y="396"/>
                            </a:cubicBezTo>
                            <a:cubicBezTo>
                              <a:pt x="30036" y="3254"/>
                              <a:pt x="38608" y="30495"/>
                              <a:pt x="44990" y="66214"/>
                            </a:cubicBezTo>
                            <a:cubicBezTo>
                              <a:pt x="49086" y="88788"/>
                              <a:pt x="45752" y="103171"/>
                              <a:pt x="22416" y="113934"/>
                            </a:cubicBezTo>
                            <a:lnTo>
                              <a:pt x="22416" y="113934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73" name="Freihandform: Form 772">
                        <a:extLst>
                          <a:ext uri="{FF2B5EF4-FFF2-40B4-BE49-F238E27FC236}">
                            <a16:creationId xmlns:a16="http://schemas.microsoft.com/office/drawing/2014/main" id="{E2CA58D9-9564-E6F5-4FA9-B12CAEBA703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36560" y="3794759"/>
                        <a:ext cx="62340" cy="120967"/>
                      </a:xfrm>
                      <a:custGeom>
                        <a:avLst/>
                        <a:gdLst>
                          <a:gd name="connsiteX0" fmla="*/ 30624 w 62340"/>
                          <a:gd name="connsiteY0" fmla="*/ 120968 h 120967"/>
                          <a:gd name="connsiteX1" fmla="*/ 2335 w 62340"/>
                          <a:gd name="connsiteY1" fmla="*/ 39338 h 120967"/>
                          <a:gd name="connsiteX2" fmla="*/ 38244 w 62340"/>
                          <a:gd name="connsiteY2" fmla="*/ 0 h 120967"/>
                          <a:gd name="connsiteX3" fmla="*/ 43864 w 62340"/>
                          <a:gd name="connsiteY3" fmla="*/ 9335 h 120967"/>
                          <a:gd name="connsiteX4" fmla="*/ 61390 w 62340"/>
                          <a:gd name="connsiteY4" fmla="*/ 80867 h 120967"/>
                          <a:gd name="connsiteX5" fmla="*/ 30719 w 62340"/>
                          <a:gd name="connsiteY5" fmla="*/ 120968 h 120967"/>
                          <a:gd name="connsiteX6" fmla="*/ 30719 w 62340"/>
                          <a:gd name="connsiteY6" fmla="*/ 120968 h 12096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2340" h="120967">
                            <a:moveTo>
                              <a:pt x="30624" y="120968"/>
                            </a:moveTo>
                            <a:lnTo>
                              <a:pt x="2335" y="39338"/>
                            </a:lnTo>
                            <a:cubicBezTo>
                              <a:pt x="-5952" y="14573"/>
                              <a:pt x="8240" y="6001"/>
                              <a:pt x="38244" y="0"/>
                            </a:cubicBezTo>
                            <a:lnTo>
                              <a:pt x="43864" y="9335"/>
                            </a:lnTo>
                            <a:lnTo>
                              <a:pt x="61390" y="80867"/>
                            </a:lnTo>
                            <a:cubicBezTo>
                              <a:pt x="65771" y="102203"/>
                              <a:pt x="54912" y="113157"/>
                              <a:pt x="30719" y="120968"/>
                            </a:cubicBezTo>
                            <a:lnTo>
                              <a:pt x="30719" y="120968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74" name="Freihandform: Form 773">
                        <a:extLst>
                          <a:ext uri="{FF2B5EF4-FFF2-40B4-BE49-F238E27FC236}">
                            <a16:creationId xmlns:a16="http://schemas.microsoft.com/office/drawing/2014/main" id="{54D59FC7-F788-8C93-C9C3-D155B306963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35054" y="3713098"/>
                        <a:ext cx="53751" cy="112434"/>
                      </a:xfrm>
                      <a:custGeom>
                        <a:avLst/>
                        <a:gdLst>
                          <a:gd name="connsiteX0" fmla="*/ 31 w 53751"/>
                          <a:gd name="connsiteY0" fmla="*/ 7176 h 112434"/>
                          <a:gd name="connsiteX1" fmla="*/ 1555 w 53751"/>
                          <a:gd name="connsiteY1" fmla="*/ 110046 h 112434"/>
                          <a:gd name="connsiteX2" fmla="*/ 44989 w 53751"/>
                          <a:gd name="connsiteY2" fmla="*/ 94806 h 112434"/>
                          <a:gd name="connsiteX3" fmla="*/ 53752 w 53751"/>
                          <a:gd name="connsiteY3" fmla="*/ 23654 h 112434"/>
                          <a:gd name="connsiteX4" fmla="*/ 31 w 53751"/>
                          <a:gd name="connsiteY4" fmla="*/ 7176 h 11243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53751" h="112434">
                            <a:moveTo>
                              <a:pt x="31" y="7176"/>
                            </a:moveTo>
                            <a:cubicBezTo>
                              <a:pt x="-255" y="8986"/>
                              <a:pt x="1555" y="110046"/>
                              <a:pt x="1555" y="110046"/>
                            </a:cubicBezTo>
                            <a:cubicBezTo>
                              <a:pt x="30987" y="111856"/>
                              <a:pt x="40512" y="119000"/>
                              <a:pt x="44989" y="94806"/>
                            </a:cubicBezTo>
                            <a:lnTo>
                              <a:pt x="53752" y="23654"/>
                            </a:lnTo>
                            <a:cubicBezTo>
                              <a:pt x="46703" y="6414"/>
                              <a:pt x="10318" y="-9778"/>
                              <a:pt x="31" y="7176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grpSp>
                    <p:nvGrpSpPr>
                      <p:cNvPr id="775" name="Grafik 23">
                        <a:extLst>
                          <a:ext uri="{FF2B5EF4-FFF2-40B4-BE49-F238E27FC236}">
                            <a16:creationId xmlns:a16="http://schemas.microsoft.com/office/drawing/2014/main" id="{8467DBF6-793F-5F4E-817F-C0C4C53CB258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8483816" y="3539440"/>
                        <a:ext cx="145001" cy="336662"/>
                        <a:chOff x="8483816" y="3539440"/>
                        <a:chExt cx="145001" cy="336662"/>
                      </a:xfrm>
                      <a:solidFill>
                        <a:srgbClr val="8A5942"/>
                      </a:solidFill>
                    </p:grpSpPr>
                    <p:sp>
                      <p:nvSpPr>
                        <p:cNvPr id="778" name="Freihandform: Form 777">
                          <a:extLst>
                            <a:ext uri="{FF2B5EF4-FFF2-40B4-BE49-F238E27FC236}">
                              <a16:creationId xmlns:a16="http://schemas.microsoft.com/office/drawing/2014/main" id="{0AD9C1EA-9CF6-A3CF-98AC-53354C24AD6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529038" y="3738176"/>
                          <a:ext cx="60495" cy="137927"/>
                        </a:xfrm>
                        <a:custGeom>
                          <a:avLst/>
                          <a:gdLst>
                            <a:gd name="connsiteX0" fmla="*/ 24158 w 60495"/>
                            <a:gd name="connsiteY0" fmla="*/ 137927 h 137927"/>
                            <a:gd name="connsiteX1" fmla="*/ 57685 w 60495"/>
                            <a:gd name="connsiteY1" fmla="*/ 75253 h 137927"/>
                            <a:gd name="connsiteX2" fmla="*/ 53304 w 60495"/>
                            <a:gd name="connsiteY2" fmla="*/ 5815 h 137927"/>
                            <a:gd name="connsiteX3" fmla="*/ 40350 w 60495"/>
                            <a:gd name="connsiteY3" fmla="*/ 958 h 137927"/>
                            <a:gd name="connsiteX4" fmla="*/ 4726 w 60495"/>
                            <a:gd name="connsiteY4" fmla="*/ 77824 h 137927"/>
                            <a:gd name="connsiteX5" fmla="*/ 24062 w 60495"/>
                            <a:gd name="connsiteY5" fmla="*/ 137832 h 137927"/>
                            <a:gd name="connsiteX6" fmla="*/ 24062 w 60495"/>
                            <a:gd name="connsiteY6" fmla="*/ 137832 h 13792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60495" h="137927">
                              <a:moveTo>
                                <a:pt x="24158" y="137927"/>
                              </a:moveTo>
                              <a:lnTo>
                                <a:pt x="57685" y="75253"/>
                              </a:lnTo>
                              <a:cubicBezTo>
                                <a:pt x="59876" y="52964"/>
                                <a:pt x="64448" y="18579"/>
                                <a:pt x="53304" y="5815"/>
                              </a:cubicBezTo>
                              <a:cubicBezTo>
                                <a:pt x="47017" y="-1424"/>
                                <a:pt x="41398" y="-376"/>
                                <a:pt x="40350" y="958"/>
                              </a:cubicBezTo>
                              <a:cubicBezTo>
                                <a:pt x="33111" y="11149"/>
                                <a:pt x="17204" y="44868"/>
                                <a:pt x="4726" y="77824"/>
                              </a:cubicBezTo>
                              <a:cubicBezTo>
                                <a:pt x="-3941" y="100780"/>
                                <a:pt x="-2417" y="117639"/>
                                <a:pt x="24062" y="137832"/>
                              </a:cubicBezTo>
                              <a:lnTo>
                                <a:pt x="24062" y="13783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79" name="Freihandform: Form 778">
                          <a:extLst>
                            <a:ext uri="{FF2B5EF4-FFF2-40B4-BE49-F238E27FC236}">
                              <a16:creationId xmlns:a16="http://schemas.microsoft.com/office/drawing/2014/main" id="{CFC39162-B968-CD4B-76F3-95147BA3018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548242" y="3697576"/>
                          <a:ext cx="80486" cy="117625"/>
                        </a:xfrm>
                        <a:custGeom>
                          <a:avLst/>
                          <a:gdLst>
                            <a:gd name="connsiteX0" fmla="*/ 80486 w 80486"/>
                            <a:gd name="connsiteY0" fmla="*/ 17269 h 117625"/>
                            <a:gd name="connsiteX1" fmla="*/ 0 w 80486"/>
                            <a:gd name="connsiteY1" fmla="*/ 10982 h 117625"/>
                            <a:gd name="connsiteX2" fmla="*/ 5810 w 80486"/>
                            <a:gd name="connsiteY2" fmla="*/ 70608 h 117625"/>
                            <a:gd name="connsiteX3" fmla="*/ 38481 w 80486"/>
                            <a:gd name="connsiteY3" fmla="*/ 115948 h 117625"/>
                            <a:gd name="connsiteX4" fmla="*/ 80486 w 80486"/>
                            <a:gd name="connsiteY4" fmla="*/ 17269 h 11762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80486" h="117625">
                              <a:moveTo>
                                <a:pt x="80486" y="17269"/>
                              </a:moveTo>
                              <a:cubicBezTo>
                                <a:pt x="61627" y="-17498"/>
                                <a:pt x="0" y="10982"/>
                                <a:pt x="0" y="10982"/>
                              </a:cubicBezTo>
                              <a:lnTo>
                                <a:pt x="5810" y="70608"/>
                              </a:lnTo>
                              <a:cubicBezTo>
                                <a:pt x="3429" y="95659"/>
                                <a:pt x="15907" y="124996"/>
                                <a:pt x="38481" y="115948"/>
                              </a:cubicBezTo>
                              <a:cubicBezTo>
                                <a:pt x="38481" y="115948"/>
                                <a:pt x="80582" y="16221"/>
                                <a:pt x="80486" y="17269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80" name="Freihandform: Form 779">
                          <a:extLst>
                            <a:ext uri="{FF2B5EF4-FFF2-40B4-BE49-F238E27FC236}">
                              <a16:creationId xmlns:a16="http://schemas.microsoft.com/office/drawing/2014/main" id="{23687FF3-A5F5-3DFB-8506-4E19E7EB86C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83816" y="3539440"/>
                          <a:ext cx="145001" cy="187300"/>
                        </a:xfrm>
                        <a:custGeom>
                          <a:avLst/>
                          <a:gdLst>
                            <a:gd name="connsiteX0" fmla="*/ 142151 w 145001"/>
                            <a:gd name="connsiteY0" fmla="*/ 88632 h 187300"/>
                            <a:gd name="connsiteX1" fmla="*/ 144913 w 145001"/>
                            <a:gd name="connsiteY1" fmla="*/ 175405 h 187300"/>
                            <a:gd name="connsiteX2" fmla="*/ 144913 w 145001"/>
                            <a:gd name="connsiteY2" fmla="*/ 175405 h 187300"/>
                            <a:gd name="connsiteX3" fmla="*/ 64712 w 145001"/>
                            <a:gd name="connsiteY3" fmla="*/ 170642 h 187300"/>
                            <a:gd name="connsiteX4" fmla="*/ 9848 w 145001"/>
                            <a:gd name="connsiteY4" fmla="*/ 67486 h 187300"/>
                            <a:gd name="connsiteX5" fmla="*/ 104717 w 145001"/>
                            <a:gd name="connsiteY5" fmla="*/ 431 h 187300"/>
                            <a:gd name="connsiteX6" fmla="*/ 142151 w 145001"/>
                            <a:gd name="connsiteY6" fmla="*/ 88632 h 18730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145001" h="187300">
                              <a:moveTo>
                                <a:pt x="142151" y="88632"/>
                              </a:moveTo>
                              <a:cubicBezTo>
                                <a:pt x="145770" y="113302"/>
                                <a:pt x="144913" y="175405"/>
                                <a:pt x="144913" y="175405"/>
                              </a:cubicBezTo>
                              <a:lnTo>
                                <a:pt x="144913" y="175405"/>
                              </a:lnTo>
                              <a:cubicBezTo>
                                <a:pt x="107289" y="175214"/>
                                <a:pt x="108813" y="205218"/>
                                <a:pt x="64712" y="170642"/>
                              </a:cubicBezTo>
                              <a:cubicBezTo>
                                <a:pt x="64712" y="170642"/>
                                <a:pt x="53472" y="104253"/>
                                <a:pt x="9848" y="67486"/>
                              </a:cubicBezTo>
                              <a:cubicBezTo>
                                <a:pt x="-27871" y="35768"/>
                                <a:pt x="51186" y="-4618"/>
                                <a:pt x="104717" y="431"/>
                              </a:cubicBezTo>
                              <a:cubicBezTo>
                                <a:pt x="128815" y="38244"/>
                                <a:pt x="142151" y="88632"/>
                                <a:pt x="142151" y="8863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sp>
                    <p:nvSpPr>
                      <p:cNvPr id="776" name="Freihandform: Form 775">
                        <a:extLst>
                          <a:ext uri="{FF2B5EF4-FFF2-40B4-BE49-F238E27FC236}">
                            <a16:creationId xmlns:a16="http://schemas.microsoft.com/office/drawing/2014/main" id="{77AF9D1A-4932-E272-079A-07C64CA7A0F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395080" y="3494722"/>
                        <a:ext cx="234464" cy="282987"/>
                      </a:xfrm>
                      <a:custGeom>
                        <a:avLst/>
                        <a:gdLst>
                          <a:gd name="connsiteX0" fmla="*/ 4382 w 234464"/>
                          <a:gd name="connsiteY0" fmla="*/ 195644 h 282987"/>
                          <a:gd name="connsiteX1" fmla="*/ 59341 w 234464"/>
                          <a:gd name="connsiteY1" fmla="*/ 0 h 282987"/>
                          <a:gd name="connsiteX2" fmla="*/ 194977 w 234464"/>
                          <a:gd name="connsiteY2" fmla="*/ 11430 h 282987"/>
                          <a:gd name="connsiteX3" fmla="*/ 200787 w 234464"/>
                          <a:gd name="connsiteY3" fmla="*/ 47625 h 282987"/>
                          <a:gd name="connsiteX4" fmla="*/ 232601 w 234464"/>
                          <a:gd name="connsiteY4" fmla="*/ 177832 h 282987"/>
                          <a:gd name="connsiteX5" fmla="*/ 152877 w 234464"/>
                          <a:gd name="connsiteY5" fmla="*/ 204883 h 282987"/>
                          <a:gd name="connsiteX6" fmla="*/ 88678 w 234464"/>
                          <a:gd name="connsiteY6" fmla="*/ 282988 h 282987"/>
                          <a:gd name="connsiteX7" fmla="*/ 0 w 234464"/>
                          <a:gd name="connsiteY7" fmla="*/ 234982 h 282987"/>
                          <a:gd name="connsiteX8" fmla="*/ 4382 w 234464"/>
                          <a:gd name="connsiteY8" fmla="*/ 195548 h 2829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234464" h="282987">
                            <a:moveTo>
                              <a:pt x="4382" y="195644"/>
                            </a:moveTo>
                            <a:cubicBezTo>
                              <a:pt x="21431" y="145828"/>
                              <a:pt x="40958" y="87154"/>
                              <a:pt x="59341" y="0"/>
                            </a:cubicBezTo>
                            <a:lnTo>
                              <a:pt x="194977" y="11430"/>
                            </a:lnTo>
                            <a:cubicBezTo>
                              <a:pt x="194977" y="32099"/>
                              <a:pt x="197739" y="44005"/>
                              <a:pt x="200787" y="47625"/>
                            </a:cubicBezTo>
                            <a:cubicBezTo>
                              <a:pt x="246031" y="101727"/>
                              <a:pt x="232601" y="177832"/>
                              <a:pt x="232601" y="177832"/>
                            </a:cubicBezTo>
                            <a:cubicBezTo>
                              <a:pt x="230981" y="184976"/>
                              <a:pt x="183261" y="168688"/>
                              <a:pt x="152877" y="204883"/>
                            </a:cubicBezTo>
                            <a:cubicBezTo>
                              <a:pt x="144304" y="215075"/>
                              <a:pt x="102394" y="222885"/>
                              <a:pt x="88678" y="282988"/>
                            </a:cubicBezTo>
                            <a:cubicBezTo>
                              <a:pt x="33909" y="215837"/>
                              <a:pt x="3048" y="234125"/>
                              <a:pt x="0" y="234982"/>
                            </a:cubicBezTo>
                            <a:cubicBezTo>
                              <a:pt x="2572" y="219551"/>
                              <a:pt x="2667" y="206026"/>
                              <a:pt x="4382" y="195548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77" name="Freihandform: Form 776">
                        <a:extLst>
                          <a:ext uri="{FF2B5EF4-FFF2-40B4-BE49-F238E27FC236}">
                            <a16:creationId xmlns:a16="http://schemas.microsoft.com/office/drawing/2014/main" id="{481A0D8A-28B2-A23D-79DB-B34A56E0C30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53659" y="3436239"/>
                        <a:ext cx="136397" cy="136398"/>
                      </a:xfrm>
                      <a:custGeom>
                        <a:avLst/>
                        <a:gdLst>
                          <a:gd name="connsiteX0" fmla="*/ 136398 w 136397"/>
                          <a:gd name="connsiteY0" fmla="*/ 68199 h 136398"/>
                          <a:gd name="connsiteX1" fmla="*/ 68199 w 136397"/>
                          <a:gd name="connsiteY1" fmla="*/ 136398 h 136398"/>
                          <a:gd name="connsiteX2" fmla="*/ 1 w 136397"/>
                          <a:gd name="connsiteY2" fmla="*/ 68199 h 136398"/>
                          <a:gd name="connsiteX3" fmla="*/ 68199 w 136397"/>
                          <a:gd name="connsiteY3" fmla="*/ 0 h 136398"/>
                          <a:gd name="connsiteX4" fmla="*/ 136398 w 136397"/>
                          <a:gd name="connsiteY4" fmla="*/ 68199 h 13639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36397" h="136398">
                            <a:moveTo>
                              <a:pt x="136398" y="68199"/>
                            </a:moveTo>
                            <a:cubicBezTo>
                              <a:pt x="136398" y="105864"/>
                              <a:pt x="105864" y="136398"/>
                              <a:pt x="68199" y="136398"/>
                            </a:cubicBezTo>
                            <a:cubicBezTo>
                              <a:pt x="30534" y="136398"/>
                              <a:pt x="1" y="105865"/>
                              <a:pt x="1" y="68199"/>
                            </a:cubicBezTo>
                            <a:cubicBezTo>
                              <a:pt x="1" y="30534"/>
                              <a:pt x="30534" y="0"/>
                              <a:pt x="68199" y="0"/>
                            </a:cubicBezTo>
                            <a:cubicBezTo>
                              <a:pt x="105864" y="0"/>
                              <a:pt x="136398" y="30534"/>
                              <a:pt x="136398" y="68199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</p:grpSp>
              <p:sp>
                <p:nvSpPr>
                  <p:cNvPr id="752" name="Freihandform: Form 751">
                    <a:extLst>
                      <a:ext uri="{FF2B5EF4-FFF2-40B4-BE49-F238E27FC236}">
                        <a16:creationId xmlns:a16="http://schemas.microsoft.com/office/drawing/2014/main" id="{8D4809D0-8D35-EC10-8A52-AD564933116C}"/>
                      </a:ext>
                    </a:extLst>
                  </p:cNvPr>
                  <p:cNvSpPr/>
                  <p:nvPr/>
                </p:nvSpPr>
                <p:spPr>
                  <a:xfrm>
                    <a:off x="8688572" y="1533884"/>
                    <a:ext cx="1208416" cy="1222459"/>
                  </a:xfrm>
                  <a:custGeom>
                    <a:avLst/>
                    <a:gdLst>
                      <a:gd name="connsiteX0" fmla="*/ 1189550 w 1208416"/>
                      <a:gd name="connsiteY0" fmla="*/ 262626 h 1222459"/>
                      <a:gd name="connsiteX1" fmla="*/ 821695 w 1208416"/>
                      <a:gd name="connsiteY1" fmla="*/ 114131 h 1222459"/>
                      <a:gd name="connsiteX2" fmla="*/ 766641 w 1208416"/>
                      <a:gd name="connsiteY2" fmla="*/ 15071 h 1222459"/>
                      <a:gd name="connsiteX3" fmla="*/ 747971 w 1208416"/>
                      <a:gd name="connsiteY3" fmla="*/ 6879 h 1222459"/>
                      <a:gd name="connsiteX4" fmla="*/ 454506 w 1208416"/>
                      <a:gd name="connsiteY4" fmla="*/ 1164 h 1222459"/>
                      <a:gd name="connsiteX5" fmla="*/ 438885 w 1208416"/>
                      <a:gd name="connsiteY5" fmla="*/ 8975 h 1222459"/>
                      <a:gd name="connsiteX6" fmla="*/ 424026 w 1208416"/>
                      <a:gd name="connsiteY6" fmla="*/ 67744 h 1222459"/>
                      <a:gd name="connsiteX7" fmla="*/ 390879 w 1208416"/>
                      <a:gd name="connsiteY7" fmla="*/ 96986 h 1222459"/>
                      <a:gd name="connsiteX8" fmla="*/ 17594 w 1208416"/>
                      <a:gd name="connsiteY8" fmla="*/ 279771 h 1222459"/>
                      <a:gd name="connsiteX9" fmla="*/ 143896 w 1208416"/>
                      <a:gd name="connsiteY9" fmla="*/ 680868 h 1222459"/>
                      <a:gd name="connsiteX10" fmla="*/ 240384 w 1208416"/>
                      <a:gd name="connsiteY10" fmla="*/ 1222460 h 1222459"/>
                      <a:gd name="connsiteX11" fmla="*/ 955235 w 1208416"/>
                      <a:gd name="connsiteY11" fmla="*/ 1220364 h 1222459"/>
                      <a:gd name="connsiteX12" fmla="*/ 1093729 w 1208416"/>
                      <a:gd name="connsiteY12" fmla="*/ 696870 h 1222459"/>
                      <a:gd name="connsiteX13" fmla="*/ 1189455 w 1208416"/>
                      <a:gd name="connsiteY13" fmla="*/ 262530 h 12224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208416" h="1222459">
                        <a:moveTo>
                          <a:pt x="1189550" y="262626"/>
                        </a:moveTo>
                        <a:cubicBezTo>
                          <a:pt x="1103921" y="179663"/>
                          <a:pt x="966475" y="205666"/>
                          <a:pt x="821695" y="114131"/>
                        </a:cubicBezTo>
                        <a:cubicBezTo>
                          <a:pt x="785500" y="80793"/>
                          <a:pt x="771689" y="38597"/>
                          <a:pt x="766641" y="15071"/>
                        </a:cubicBezTo>
                        <a:cubicBezTo>
                          <a:pt x="764831" y="6689"/>
                          <a:pt x="755401" y="2593"/>
                          <a:pt x="747971" y="6879"/>
                        </a:cubicBezTo>
                        <a:cubicBezTo>
                          <a:pt x="655769" y="60791"/>
                          <a:pt x="553947" y="49837"/>
                          <a:pt x="454506" y="1164"/>
                        </a:cubicBezTo>
                        <a:cubicBezTo>
                          <a:pt x="447934" y="-2074"/>
                          <a:pt x="440123" y="1736"/>
                          <a:pt x="438885" y="8975"/>
                        </a:cubicBezTo>
                        <a:cubicBezTo>
                          <a:pt x="436504" y="22500"/>
                          <a:pt x="431932" y="44122"/>
                          <a:pt x="424026" y="67744"/>
                        </a:cubicBezTo>
                        <a:cubicBezTo>
                          <a:pt x="421073" y="74316"/>
                          <a:pt x="412501" y="88223"/>
                          <a:pt x="390879" y="96986"/>
                        </a:cubicBezTo>
                        <a:cubicBezTo>
                          <a:pt x="225049" y="164137"/>
                          <a:pt x="111987" y="195188"/>
                          <a:pt x="17594" y="279771"/>
                        </a:cubicBezTo>
                        <a:cubicBezTo>
                          <a:pt x="-59939" y="349303"/>
                          <a:pt x="143896" y="680868"/>
                          <a:pt x="143896" y="680868"/>
                        </a:cubicBezTo>
                        <a:lnTo>
                          <a:pt x="240384" y="1222460"/>
                        </a:lnTo>
                        <a:lnTo>
                          <a:pt x="955235" y="1220364"/>
                        </a:lnTo>
                        <a:lnTo>
                          <a:pt x="1093729" y="696870"/>
                        </a:lnTo>
                        <a:cubicBezTo>
                          <a:pt x="1093729" y="696870"/>
                          <a:pt x="1264227" y="335016"/>
                          <a:pt x="1189455" y="262530"/>
                        </a:cubicBezTo>
                        <a:close/>
                      </a:path>
                    </a:pathLst>
                  </a:custGeom>
                  <a:solidFill>
                    <a:srgbClr val="FFE98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53" name="Freihandform: Form 752">
                    <a:extLst>
                      <a:ext uri="{FF2B5EF4-FFF2-40B4-BE49-F238E27FC236}">
                        <a16:creationId xmlns:a16="http://schemas.microsoft.com/office/drawing/2014/main" id="{DFB419ED-4560-1D81-4E28-276E6222AC63}"/>
                      </a:ext>
                    </a:extLst>
                  </p:cNvPr>
                  <p:cNvSpPr/>
                  <p:nvPr/>
                </p:nvSpPr>
                <p:spPr>
                  <a:xfrm>
                    <a:off x="9209944" y="1375027"/>
                    <a:ext cx="147256" cy="49531"/>
                  </a:xfrm>
                  <a:custGeom>
                    <a:avLst/>
                    <a:gdLst>
                      <a:gd name="connsiteX0" fmla="*/ 0 w 147256"/>
                      <a:gd name="connsiteY0" fmla="*/ 5431 h 49531"/>
                      <a:gd name="connsiteX1" fmla="*/ 55721 w 147256"/>
                      <a:gd name="connsiteY1" fmla="*/ 573 h 49531"/>
                      <a:gd name="connsiteX2" fmla="*/ 70294 w 147256"/>
                      <a:gd name="connsiteY2" fmla="*/ 4002 h 49531"/>
                      <a:gd name="connsiteX3" fmla="*/ 84010 w 147256"/>
                      <a:gd name="connsiteY3" fmla="*/ 2 h 49531"/>
                      <a:gd name="connsiteX4" fmla="*/ 147256 w 147256"/>
                      <a:gd name="connsiteY4" fmla="*/ 5812 h 49531"/>
                      <a:gd name="connsiteX5" fmla="*/ 68389 w 147256"/>
                      <a:gd name="connsiteY5" fmla="*/ 49532 h 49531"/>
                      <a:gd name="connsiteX6" fmla="*/ 0 w 147256"/>
                      <a:gd name="connsiteY6" fmla="*/ 5431 h 495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7256" h="49531">
                        <a:moveTo>
                          <a:pt x="0" y="5431"/>
                        </a:moveTo>
                        <a:cubicBezTo>
                          <a:pt x="0" y="5431"/>
                          <a:pt x="19050" y="2859"/>
                          <a:pt x="55721" y="573"/>
                        </a:cubicBezTo>
                        <a:cubicBezTo>
                          <a:pt x="58578" y="383"/>
                          <a:pt x="61817" y="4193"/>
                          <a:pt x="70294" y="4002"/>
                        </a:cubicBezTo>
                        <a:cubicBezTo>
                          <a:pt x="80296" y="3812"/>
                          <a:pt x="80676" y="-94"/>
                          <a:pt x="84010" y="2"/>
                        </a:cubicBezTo>
                        <a:cubicBezTo>
                          <a:pt x="123539" y="1049"/>
                          <a:pt x="147256" y="5812"/>
                          <a:pt x="147256" y="5812"/>
                        </a:cubicBezTo>
                        <a:cubicBezTo>
                          <a:pt x="147256" y="5812"/>
                          <a:pt x="127635" y="49532"/>
                          <a:pt x="68389" y="49532"/>
                        </a:cubicBezTo>
                        <a:cubicBezTo>
                          <a:pt x="15049" y="49532"/>
                          <a:pt x="0" y="5431"/>
                          <a:pt x="0" y="5431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54" name="Freihandform: Form 753">
                    <a:extLst>
                      <a:ext uri="{FF2B5EF4-FFF2-40B4-BE49-F238E27FC236}">
                        <a16:creationId xmlns:a16="http://schemas.microsoft.com/office/drawing/2014/main" id="{F21BCCB9-4EAC-1597-5638-1C83F00BB396}"/>
                      </a:ext>
                    </a:extLst>
                  </p:cNvPr>
                  <p:cNvSpPr/>
                  <p:nvPr/>
                </p:nvSpPr>
                <p:spPr>
                  <a:xfrm>
                    <a:off x="8620918" y="1760791"/>
                    <a:ext cx="314705" cy="314706"/>
                  </a:xfrm>
                  <a:custGeom>
                    <a:avLst/>
                    <a:gdLst>
                      <a:gd name="connsiteX0" fmla="*/ 314706 w 314705"/>
                      <a:gd name="connsiteY0" fmla="*/ 157353 h 314706"/>
                      <a:gd name="connsiteX1" fmla="*/ 157353 w 314705"/>
                      <a:gd name="connsiteY1" fmla="*/ 314706 h 314706"/>
                      <a:gd name="connsiteX2" fmla="*/ -1 w 314705"/>
                      <a:gd name="connsiteY2" fmla="*/ 157353 h 314706"/>
                      <a:gd name="connsiteX3" fmla="*/ 157353 w 314705"/>
                      <a:gd name="connsiteY3" fmla="*/ 0 h 314706"/>
                      <a:gd name="connsiteX4" fmla="*/ 314706 w 314705"/>
                      <a:gd name="connsiteY4" fmla="*/ 157353 h 3147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4705" h="314706">
                        <a:moveTo>
                          <a:pt x="314706" y="157353"/>
                        </a:moveTo>
                        <a:cubicBezTo>
                          <a:pt x="314706" y="244257"/>
                          <a:pt x="244257" y="314706"/>
                          <a:pt x="157353" y="314706"/>
                        </a:cubicBezTo>
                        <a:cubicBezTo>
                          <a:pt x="70449" y="314706"/>
                          <a:pt x="-1" y="244257"/>
                          <a:pt x="-1" y="157353"/>
                        </a:cubicBezTo>
                        <a:cubicBezTo>
                          <a:pt x="-1" y="70449"/>
                          <a:pt x="70449" y="0"/>
                          <a:pt x="157353" y="0"/>
                        </a:cubicBezTo>
                        <a:cubicBezTo>
                          <a:pt x="244256" y="0"/>
                          <a:pt x="314706" y="70449"/>
                          <a:pt x="314706" y="15735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55" name="Freihandform: Form 754">
                    <a:extLst>
                      <a:ext uri="{FF2B5EF4-FFF2-40B4-BE49-F238E27FC236}">
                        <a16:creationId xmlns:a16="http://schemas.microsoft.com/office/drawing/2014/main" id="{3C2AE492-8A8F-C0CE-0B5A-D6D2B9CA470C}"/>
                      </a:ext>
                    </a:extLst>
                  </p:cNvPr>
                  <p:cNvSpPr/>
                  <p:nvPr/>
                </p:nvSpPr>
                <p:spPr>
                  <a:xfrm>
                    <a:off x="8398795" y="1816227"/>
                    <a:ext cx="523018" cy="989647"/>
                  </a:xfrm>
                  <a:custGeom>
                    <a:avLst/>
                    <a:gdLst>
                      <a:gd name="connsiteX0" fmla="*/ 0 w 523018"/>
                      <a:gd name="connsiteY0" fmla="*/ 947261 h 989647"/>
                      <a:gd name="connsiteX1" fmla="*/ 307467 w 523018"/>
                      <a:gd name="connsiteY1" fmla="*/ 989648 h 989647"/>
                      <a:gd name="connsiteX2" fmla="*/ 523018 w 523018"/>
                      <a:gd name="connsiteY2" fmla="*/ 167259 h 989647"/>
                      <a:gd name="connsiteX3" fmla="*/ 259747 w 523018"/>
                      <a:gd name="connsiteY3" fmla="*/ 0 h 989647"/>
                      <a:gd name="connsiteX4" fmla="*/ 0 w 523018"/>
                      <a:gd name="connsiteY4" fmla="*/ 947261 h 9896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23018" h="989647">
                        <a:moveTo>
                          <a:pt x="0" y="947261"/>
                        </a:moveTo>
                        <a:lnTo>
                          <a:pt x="307467" y="989648"/>
                        </a:lnTo>
                        <a:lnTo>
                          <a:pt x="523018" y="167259"/>
                        </a:lnTo>
                        <a:lnTo>
                          <a:pt x="259747" y="0"/>
                        </a:lnTo>
                        <a:cubicBezTo>
                          <a:pt x="171069" y="80486"/>
                          <a:pt x="0" y="947261"/>
                          <a:pt x="0" y="94726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56" name="Freihandform: Form 755">
                    <a:extLst>
                      <a:ext uri="{FF2B5EF4-FFF2-40B4-BE49-F238E27FC236}">
                        <a16:creationId xmlns:a16="http://schemas.microsoft.com/office/drawing/2014/main" id="{47D79C05-118E-76F6-1B76-275A58D53728}"/>
                      </a:ext>
                    </a:extLst>
                  </p:cNvPr>
                  <p:cNvSpPr/>
                  <p:nvPr/>
                </p:nvSpPr>
                <p:spPr>
                  <a:xfrm>
                    <a:off x="8398128" y="2625471"/>
                    <a:ext cx="310133" cy="310134"/>
                  </a:xfrm>
                  <a:custGeom>
                    <a:avLst/>
                    <a:gdLst>
                      <a:gd name="connsiteX0" fmla="*/ 310134 w 310133"/>
                      <a:gd name="connsiteY0" fmla="*/ 155067 h 310134"/>
                      <a:gd name="connsiteX1" fmla="*/ 155067 w 310133"/>
                      <a:gd name="connsiteY1" fmla="*/ 310134 h 310134"/>
                      <a:gd name="connsiteX2" fmla="*/ -1 w 310133"/>
                      <a:gd name="connsiteY2" fmla="*/ 155067 h 310134"/>
                      <a:gd name="connsiteX3" fmla="*/ 155067 w 310133"/>
                      <a:gd name="connsiteY3" fmla="*/ 0 h 310134"/>
                      <a:gd name="connsiteX4" fmla="*/ 310134 w 310133"/>
                      <a:gd name="connsiteY4" fmla="*/ 155067 h 3101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0133" h="310134">
                        <a:moveTo>
                          <a:pt x="310134" y="155067"/>
                        </a:moveTo>
                        <a:cubicBezTo>
                          <a:pt x="310134" y="240708"/>
                          <a:pt x="240708" y="310134"/>
                          <a:pt x="155067" y="310134"/>
                        </a:cubicBezTo>
                        <a:cubicBezTo>
                          <a:pt x="69425" y="310134"/>
                          <a:pt x="-1" y="240708"/>
                          <a:pt x="-1" y="155067"/>
                        </a:cubicBezTo>
                        <a:cubicBezTo>
                          <a:pt x="-1" y="69426"/>
                          <a:pt x="69425" y="0"/>
                          <a:pt x="155067" y="0"/>
                        </a:cubicBezTo>
                        <a:cubicBezTo>
                          <a:pt x="240708" y="0"/>
                          <a:pt x="310134" y="69426"/>
                          <a:pt x="310134" y="15506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57" name="Freihandform: Form 756">
                    <a:extLst>
                      <a:ext uri="{FF2B5EF4-FFF2-40B4-BE49-F238E27FC236}">
                        <a16:creationId xmlns:a16="http://schemas.microsoft.com/office/drawing/2014/main" id="{1181B91D-6509-A1A3-51D6-3D8A37B64737}"/>
                      </a:ext>
                    </a:extLst>
                  </p:cNvPr>
                  <p:cNvSpPr/>
                  <p:nvPr/>
                </p:nvSpPr>
                <p:spPr>
                  <a:xfrm>
                    <a:off x="8616251" y="1610010"/>
                    <a:ext cx="575214" cy="3144202"/>
                  </a:xfrm>
                  <a:custGeom>
                    <a:avLst/>
                    <a:gdLst>
                      <a:gd name="connsiteX0" fmla="*/ 197358 w 575214"/>
                      <a:gd name="connsiteY0" fmla="*/ 1136999 h 3144202"/>
                      <a:gd name="connsiteX1" fmla="*/ 0 w 575214"/>
                      <a:gd name="connsiteY1" fmla="*/ 3144203 h 3144202"/>
                      <a:gd name="connsiteX2" fmla="*/ 527590 w 575214"/>
                      <a:gd name="connsiteY2" fmla="*/ 3144203 h 3144202"/>
                      <a:gd name="connsiteX3" fmla="*/ 575215 w 575214"/>
                      <a:gd name="connsiteY3" fmla="*/ 576167 h 3144202"/>
                      <a:gd name="connsiteX4" fmla="*/ 467868 w 575214"/>
                      <a:gd name="connsiteY4" fmla="*/ 0 h 3144202"/>
                      <a:gd name="connsiteX5" fmla="*/ 28194 w 575214"/>
                      <a:gd name="connsiteY5" fmla="*/ 225647 h 3144202"/>
                      <a:gd name="connsiteX6" fmla="*/ 216312 w 575214"/>
                      <a:gd name="connsiteY6" fmla="*/ 604838 h 3144202"/>
                      <a:gd name="connsiteX7" fmla="*/ 197453 w 575214"/>
                      <a:gd name="connsiteY7" fmla="*/ 1137095 h 31442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75214" h="3144202">
                        <a:moveTo>
                          <a:pt x="197358" y="1136999"/>
                        </a:moveTo>
                        <a:cubicBezTo>
                          <a:pt x="-28861" y="1726597"/>
                          <a:pt x="51340" y="2820543"/>
                          <a:pt x="0" y="3144203"/>
                        </a:cubicBezTo>
                        <a:lnTo>
                          <a:pt x="527590" y="3144203"/>
                        </a:lnTo>
                        <a:lnTo>
                          <a:pt x="575215" y="576167"/>
                        </a:lnTo>
                        <a:lnTo>
                          <a:pt x="467868" y="0"/>
                        </a:lnTo>
                        <a:cubicBezTo>
                          <a:pt x="302037" y="67151"/>
                          <a:pt x="69437" y="144590"/>
                          <a:pt x="28194" y="225647"/>
                        </a:cubicBezTo>
                        <a:cubicBezTo>
                          <a:pt x="120682" y="378047"/>
                          <a:pt x="216312" y="604838"/>
                          <a:pt x="216312" y="604838"/>
                        </a:cubicBezTo>
                        <a:cubicBezTo>
                          <a:pt x="216312" y="604838"/>
                          <a:pt x="200406" y="745903"/>
                          <a:pt x="197453" y="113709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58" name="Freihandform: Form 757">
                    <a:extLst>
                      <a:ext uri="{FF2B5EF4-FFF2-40B4-BE49-F238E27FC236}">
                        <a16:creationId xmlns:a16="http://schemas.microsoft.com/office/drawing/2014/main" id="{E6D66A52-94E7-443E-59FA-536435B26B76}"/>
                      </a:ext>
                    </a:extLst>
                  </p:cNvPr>
                  <p:cNvSpPr/>
                  <p:nvPr/>
                </p:nvSpPr>
                <p:spPr>
                  <a:xfrm>
                    <a:off x="8923527" y="1659159"/>
                    <a:ext cx="199834" cy="706945"/>
                  </a:xfrm>
                  <a:custGeom>
                    <a:avLst/>
                    <a:gdLst>
                      <a:gd name="connsiteX0" fmla="*/ 35528 w 199834"/>
                      <a:gd name="connsiteY0" fmla="*/ 0 h 706945"/>
                      <a:gd name="connsiteX1" fmla="*/ 0 w 199834"/>
                      <a:gd name="connsiteY1" fmla="*/ 13906 h 706945"/>
                      <a:gd name="connsiteX2" fmla="*/ 88106 w 199834"/>
                      <a:gd name="connsiteY2" fmla="*/ 352234 h 706945"/>
                      <a:gd name="connsiteX3" fmla="*/ 199834 w 199834"/>
                      <a:gd name="connsiteY3" fmla="*/ 706946 h 706945"/>
                      <a:gd name="connsiteX4" fmla="*/ 123539 w 199834"/>
                      <a:gd name="connsiteY4" fmla="*/ 352234 h 706945"/>
                      <a:gd name="connsiteX5" fmla="*/ 35623 w 199834"/>
                      <a:gd name="connsiteY5" fmla="*/ 0 h 7069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99834" h="706945">
                        <a:moveTo>
                          <a:pt x="35528" y="0"/>
                        </a:moveTo>
                        <a:lnTo>
                          <a:pt x="0" y="13906"/>
                        </a:lnTo>
                        <a:cubicBezTo>
                          <a:pt x="0" y="13906"/>
                          <a:pt x="76009" y="206692"/>
                          <a:pt x="88106" y="352234"/>
                        </a:cubicBezTo>
                        <a:cubicBezTo>
                          <a:pt x="100108" y="497776"/>
                          <a:pt x="199834" y="706946"/>
                          <a:pt x="199834" y="706946"/>
                        </a:cubicBezTo>
                        <a:cubicBezTo>
                          <a:pt x="199834" y="706946"/>
                          <a:pt x="128968" y="398050"/>
                          <a:pt x="123539" y="352234"/>
                        </a:cubicBezTo>
                        <a:cubicBezTo>
                          <a:pt x="118110" y="306419"/>
                          <a:pt x="35623" y="0"/>
                          <a:pt x="35623" y="0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59" name="Freihandform: Form 758">
                    <a:extLst>
                      <a:ext uri="{FF2B5EF4-FFF2-40B4-BE49-F238E27FC236}">
                        <a16:creationId xmlns:a16="http://schemas.microsoft.com/office/drawing/2014/main" id="{CACCA9A8-4EE5-F54D-CAF0-617291398B7E}"/>
                      </a:ext>
                    </a:extLst>
                  </p:cNvPr>
                  <p:cNvSpPr/>
                  <p:nvPr/>
                </p:nvSpPr>
                <p:spPr>
                  <a:xfrm>
                    <a:off x="8664457" y="2198655"/>
                    <a:ext cx="159748" cy="575881"/>
                  </a:xfrm>
                  <a:custGeom>
                    <a:avLst/>
                    <a:gdLst>
                      <a:gd name="connsiteX0" fmla="*/ 132483 w 159748"/>
                      <a:gd name="connsiteY0" fmla="*/ 0 h 575881"/>
                      <a:gd name="connsiteX1" fmla="*/ 6753 w 159748"/>
                      <a:gd name="connsiteY1" fmla="*/ 303467 h 575881"/>
                      <a:gd name="connsiteX2" fmla="*/ 50568 w 159748"/>
                      <a:gd name="connsiteY2" fmla="*/ 575881 h 575881"/>
                      <a:gd name="connsiteX3" fmla="*/ 50568 w 159748"/>
                      <a:gd name="connsiteY3" fmla="*/ 575881 h 575881"/>
                      <a:gd name="connsiteX4" fmla="*/ 157343 w 159748"/>
                      <a:gd name="connsiteY4" fmla="*/ 197834 h 575881"/>
                      <a:gd name="connsiteX5" fmla="*/ 132387 w 159748"/>
                      <a:gd name="connsiteY5" fmla="*/ 0 h 5758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59748" h="575881">
                        <a:moveTo>
                          <a:pt x="132483" y="0"/>
                        </a:moveTo>
                        <a:cubicBezTo>
                          <a:pt x="80191" y="30004"/>
                          <a:pt x="-28013" y="139351"/>
                          <a:pt x="6753" y="303467"/>
                        </a:cubicBezTo>
                        <a:cubicBezTo>
                          <a:pt x="41614" y="467582"/>
                          <a:pt x="50568" y="575881"/>
                          <a:pt x="50568" y="575881"/>
                        </a:cubicBezTo>
                        <a:lnTo>
                          <a:pt x="50568" y="575881"/>
                        </a:lnTo>
                        <a:lnTo>
                          <a:pt x="157343" y="197834"/>
                        </a:lnTo>
                        <a:cubicBezTo>
                          <a:pt x="160201" y="166592"/>
                          <a:pt x="166582" y="73057"/>
                          <a:pt x="132387" y="0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60" name="Freihandform: Form 759">
                    <a:extLst>
                      <a:ext uri="{FF2B5EF4-FFF2-40B4-BE49-F238E27FC236}">
                        <a16:creationId xmlns:a16="http://schemas.microsoft.com/office/drawing/2014/main" id="{79918308-44AC-C9BF-D3BC-37D0A0A50594}"/>
                      </a:ext>
                    </a:extLst>
                  </p:cNvPr>
                  <p:cNvSpPr/>
                  <p:nvPr/>
                </p:nvSpPr>
                <p:spPr>
                  <a:xfrm>
                    <a:off x="8695689" y="3364706"/>
                    <a:ext cx="330837" cy="409959"/>
                  </a:xfrm>
                  <a:custGeom>
                    <a:avLst/>
                    <a:gdLst>
                      <a:gd name="connsiteX0" fmla="*/ 49911 w 330837"/>
                      <a:gd name="connsiteY0" fmla="*/ 0 h 409959"/>
                      <a:gd name="connsiteX1" fmla="*/ 37338 w 330837"/>
                      <a:gd name="connsiteY1" fmla="*/ 351377 h 409959"/>
                      <a:gd name="connsiteX2" fmla="*/ 330804 w 330837"/>
                      <a:gd name="connsiteY2" fmla="*/ 359093 h 409959"/>
                      <a:gd name="connsiteX3" fmla="*/ 0 w 330837"/>
                      <a:gd name="connsiteY3" fmla="*/ 388715 h 409959"/>
                      <a:gd name="connsiteX4" fmla="*/ 25146 w 330837"/>
                      <a:gd name="connsiteY4" fmla="*/ 81724 h 409959"/>
                      <a:gd name="connsiteX5" fmla="*/ 49911 w 330837"/>
                      <a:gd name="connsiteY5" fmla="*/ 0 h 409959"/>
                      <a:gd name="connsiteX6" fmla="*/ 49911 w 330837"/>
                      <a:gd name="connsiteY6" fmla="*/ 0 h 4099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30837" h="409959">
                        <a:moveTo>
                          <a:pt x="49911" y="0"/>
                        </a:moveTo>
                        <a:cubicBezTo>
                          <a:pt x="49911" y="0"/>
                          <a:pt x="33909" y="310229"/>
                          <a:pt x="37338" y="351377"/>
                        </a:cubicBezTo>
                        <a:cubicBezTo>
                          <a:pt x="43149" y="368713"/>
                          <a:pt x="307372" y="358616"/>
                          <a:pt x="330804" y="359093"/>
                        </a:cubicBezTo>
                        <a:cubicBezTo>
                          <a:pt x="334709" y="393859"/>
                          <a:pt x="0" y="436340"/>
                          <a:pt x="0" y="388715"/>
                        </a:cubicBezTo>
                        <a:cubicBezTo>
                          <a:pt x="0" y="341090"/>
                          <a:pt x="20193" y="122015"/>
                          <a:pt x="25146" y="81724"/>
                        </a:cubicBezTo>
                        <a:cubicBezTo>
                          <a:pt x="31909" y="25813"/>
                          <a:pt x="32861" y="8572"/>
                          <a:pt x="49911" y="0"/>
                        </a:cubicBezTo>
                        <a:lnTo>
                          <a:pt x="49911" y="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61" name="Freihandform: Form 760">
                    <a:extLst>
                      <a:ext uri="{FF2B5EF4-FFF2-40B4-BE49-F238E27FC236}">
                        <a16:creationId xmlns:a16="http://schemas.microsoft.com/office/drawing/2014/main" id="{0BDFAA1E-54E0-D3FF-726A-6DFF3A7A4256}"/>
                      </a:ext>
                    </a:extLst>
                  </p:cNvPr>
                  <p:cNvSpPr/>
                  <p:nvPr/>
                </p:nvSpPr>
                <p:spPr>
                  <a:xfrm>
                    <a:off x="9393395" y="1633156"/>
                    <a:ext cx="575977" cy="3121056"/>
                  </a:xfrm>
                  <a:custGeom>
                    <a:avLst/>
                    <a:gdLst>
                      <a:gd name="connsiteX0" fmla="*/ 575977 w 575977"/>
                      <a:gd name="connsiteY0" fmla="*/ 3121057 h 3121056"/>
                      <a:gd name="connsiteX1" fmla="*/ 377857 w 575977"/>
                      <a:gd name="connsiteY1" fmla="*/ 1113854 h 3121056"/>
                      <a:gd name="connsiteX2" fmla="*/ 358997 w 575977"/>
                      <a:gd name="connsiteY2" fmla="*/ 581597 h 3121056"/>
                      <a:gd name="connsiteX3" fmla="*/ 540925 w 575977"/>
                      <a:gd name="connsiteY3" fmla="*/ 220123 h 3121056"/>
                      <a:gd name="connsiteX4" fmla="*/ 102680 w 575977"/>
                      <a:gd name="connsiteY4" fmla="*/ 0 h 3121056"/>
                      <a:gd name="connsiteX5" fmla="*/ 0 w 575977"/>
                      <a:gd name="connsiteY5" fmla="*/ 552926 h 3121056"/>
                      <a:gd name="connsiteX6" fmla="*/ 47816 w 575977"/>
                      <a:gd name="connsiteY6" fmla="*/ 3120962 h 3121056"/>
                      <a:gd name="connsiteX7" fmla="*/ 575977 w 575977"/>
                      <a:gd name="connsiteY7" fmla="*/ 3120962 h 31210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75977" h="3121056">
                        <a:moveTo>
                          <a:pt x="575977" y="3121057"/>
                        </a:moveTo>
                        <a:cubicBezTo>
                          <a:pt x="522923" y="2803493"/>
                          <a:pt x="605219" y="1706594"/>
                          <a:pt x="377857" y="1113854"/>
                        </a:cubicBezTo>
                        <a:cubicBezTo>
                          <a:pt x="374904" y="722757"/>
                          <a:pt x="358997" y="581597"/>
                          <a:pt x="358997" y="581597"/>
                        </a:cubicBezTo>
                        <a:cubicBezTo>
                          <a:pt x="358997" y="581597"/>
                          <a:pt x="448437" y="372523"/>
                          <a:pt x="540925" y="220123"/>
                        </a:cubicBezTo>
                        <a:cubicBezTo>
                          <a:pt x="496729" y="112681"/>
                          <a:pt x="254889" y="58102"/>
                          <a:pt x="102680" y="0"/>
                        </a:cubicBezTo>
                        <a:lnTo>
                          <a:pt x="0" y="552926"/>
                        </a:lnTo>
                        <a:lnTo>
                          <a:pt x="47816" y="3120962"/>
                        </a:lnTo>
                        <a:lnTo>
                          <a:pt x="575977" y="312096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62" name="Freihandform: Form 761">
                    <a:extLst>
                      <a:ext uri="{FF2B5EF4-FFF2-40B4-BE49-F238E27FC236}">
                        <a16:creationId xmlns:a16="http://schemas.microsoft.com/office/drawing/2014/main" id="{3F13E503-03A3-A55E-9D30-AAF8BD983073}"/>
                      </a:ext>
                    </a:extLst>
                  </p:cNvPr>
                  <p:cNvSpPr/>
                  <p:nvPr/>
                </p:nvSpPr>
                <p:spPr>
                  <a:xfrm>
                    <a:off x="9346962" y="1469469"/>
                    <a:ext cx="321998" cy="541925"/>
                  </a:xfrm>
                  <a:custGeom>
                    <a:avLst/>
                    <a:gdLst>
                      <a:gd name="connsiteX0" fmla="*/ 108251 w 321998"/>
                      <a:gd name="connsiteY0" fmla="*/ 79486 h 541925"/>
                      <a:gd name="connsiteX1" fmla="*/ 300084 w 321998"/>
                      <a:gd name="connsiteY1" fmla="*/ 216265 h 541925"/>
                      <a:gd name="connsiteX2" fmla="*/ 180641 w 321998"/>
                      <a:gd name="connsiteY2" fmla="*/ 354378 h 541925"/>
                      <a:gd name="connsiteX3" fmla="*/ 149113 w 321998"/>
                      <a:gd name="connsiteY3" fmla="*/ 541925 h 541925"/>
                      <a:gd name="connsiteX4" fmla="*/ 35289 w 321998"/>
                      <a:gd name="connsiteY4" fmla="*/ 264176 h 541925"/>
                      <a:gd name="connsiteX5" fmla="*/ 108251 w 321998"/>
                      <a:gd name="connsiteY5" fmla="*/ 79486 h 5419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21998" h="541925">
                        <a:moveTo>
                          <a:pt x="108251" y="79486"/>
                        </a:moveTo>
                        <a:cubicBezTo>
                          <a:pt x="82534" y="-113585"/>
                          <a:pt x="407717" y="89964"/>
                          <a:pt x="300084" y="216265"/>
                        </a:cubicBezTo>
                        <a:cubicBezTo>
                          <a:pt x="300084" y="216265"/>
                          <a:pt x="221217" y="286750"/>
                          <a:pt x="180641" y="354378"/>
                        </a:cubicBezTo>
                        <a:cubicBezTo>
                          <a:pt x="140064" y="422005"/>
                          <a:pt x="146256" y="484870"/>
                          <a:pt x="149113" y="541925"/>
                        </a:cubicBezTo>
                        <a:cubicBezTo>
                          <a:pt x="-20336" y="527161"/>
                          <a:pt x="-25194" y="321612"/>
                          <a:pt x="35289" y="264176"/>
                        </a:cubicBezTo>
                        <a:cubicBezTo>
                          <a:pt x="133968" y="170450"/>
                          <a:pt x="123015" y="126635"/>
                          <a:pt x="108251" y="7948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63" name="Freihandform: Form 762">
                    <a:extLst>
                      <a:ext uri="{FF2B5EF4-FFF2-40B4-BE49-F238E27FC236}">
                        <a16:creationId xmlns:a16="http://schemas.microsoft.com/office/drawing/2014/main" id="{9C3173FC-A964-DF2F-2887-C8F347FAE664}"/>
                      </a:ext>
                    </a:extLst>
                  </p:cNvPr>
                  <p:cNvSpPr/>
                  <p:nvPr/>
                </p:nvSpPr>
                <p:spPr>
                  <a:xfrm>
                    <a:off x="8386350" y="2763488"/>
                    <a:ext cx="319816" cy="722471"/>
                  </a:xfrm>
                  <a:custGeom>
                    <a:avLst/>
                    <a:gdLst>
                      <a:gd name="connsiteX0" fmla="*/ 11778 w 319816"/>
                      <a:gd name="connsiteY0" fmla="*/ 722471 h 722471"/>
                      <a:gd name="connsiteX1" fmla="*/ 243998 w 319816"/>
                      <a:gd name="connsiteY1" fmla="*/ 722471 h 722471"/>
                      <a:gd name="connsiteX2" fmla="*/ 319817 w 319816"/>
                      <a:gd name="connsiteY2" fmla="*/ 42386 h 722471"/>
                      <a:gd name="connsiteX3" fmla="*/ 12350 w 319816"/>
                      <a:gd name="connsiteY3" fmla="*/ 0 h 722471"/>
                      <a:gd name="connsiteX4" fmla="*/ 11683 w 319816"/>
                      <a:gd name="connsiteY4" fmla="*/ 722471 h 7224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9816" h="722471">
                        <a:moveTo>
                          <a:pt x="11778" y="722471"/>
                        </a:moveTo>
                        <a:lnTo>
                          <a:pt x="243998" y="722471"/>
                        </a:lnTo>
                        <a:cubicBezTo>
                          <a:pt x="243998" y="722471"/>
                          <a:pt x="304100" y="215360"/>
                          <a:pt x="319817" y="42386"/>
                        </a:cubicBezTo>
                        <a:lnTo>
                          <a:pt x="12350" y="0"/>
                        </a:lnTo>
                        <a:cubicBezTo>
                          <a:pt x="12350" y="339566"/>
                          <a:pt x="-14987" y="531781"/>
                          <a:pt x="11683" y="72247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633" name="Grafik 23">
                  <a:extLst>
                    <a:ext uri="{FF2B5EF4-FFF2-40B4-BE49-F238E27FC236}">
                      <a16:creationId xmlns:a16="http://schemas.microsoft.com/office/drawing/2014/main" id="{D1E6D313-B489-EE56-3A99-59C2AD567B49}"/>
                    </a:ext>
                  </a:extLst>
                </p:cNvPr>
                <p:cNvGrpSpPr/>
                <p:nvPr/>
              </p:nvGrpSpPr>
              <p:grpSpPr>
                <a:xfrm>
                  <a:off x="9633235" y="8339391"/>
                  <a:ext cx="650747" cy="968216"/>
                  <a:chOff x="9633235" y="1760791"/>
                  <a:chExt cx="650747" cy="968216"/>
                </a:xfrm>
                <a:solidFill>
                  <a:srgbClr val="FFFFFF"/>
                </a:solidFill>
              </p:grpSpPr>
              <p:sp>
                <p:nvSpPr>
                  <p:cNvPr id="720" name="Freihandform: Form 719">
                    <a:extLst>
                      <a:ext uri="{FF2B5EF4-FFF2-40B4-BE49-F238E27FC236}">
                        <a16:creationId xmlns:a16="http://schemas.microsoft.com/office/drawing/2014/main" id="{030CC049-B991-C0AE-BCAF-BDD586616E88}"/>
                      </a:ext>
                    </a:extLst>
                  </p:cNvPr>
                  <p:cNvSpPr/>
                  <p:nvPr/>
                </p:nvSpPr>
                <p:spPr>
                  <a:xfrm>
                    <a:off x="9633235" y="1760791"/>
                    <a:ext cx="314705" cy="314706"/>
                  </a:xfrm>
                  <a:custGeom>
                    <a:avLst/>
                    <a:gdLst>
                      <a:gd name="connsiteX0" fmla="*/ 314706 w 314705"/>
                      <a:gd name="connsiteY0" fmla="*/ 157353 h 314706"/>
                      <a:gd name="connsiteX1" fmla="*/ 157353 w 314705"/>
                      <a:gd name="connsiteY1" fmla="*/ 314706 h 314706"/>
                      <a:gd name="connsiteX2" fmla="*/ 0 w 314705"/>
                      <a:gd name="connsiteY2" fmla="*/ 157353 h 314706"/>
                      <a:gd name="connsiteX3" fmla="*/ 157353 w 314705"/>
                      <a:gd name="connsiteY3" fmla="*/ 0 h 314706"/>
                      <a:gd name="connsiteX4" fmla="*/ 314706 w 314705"/>
                      <a:gd name="connsiteY4" fmla="*/ 157353 h 3147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4705" h="314706">
                        <a:moveTo>
                          <a:pt x="314706" y="157353"/>
                        </a:moveTo>
                        <a:cubicBezTo>
                          <a:pt x="314706" y="244257"/>
                          <a:pt x="244257" y="314706"/>
                          <a:pt x="157353" y="314706"/>
                        </a:cubicBezTo>
                        <a:cubicBezTo>
                          <a:pt x="70449" y="314706"/>
                          <a:pt x="0" y="244257"/>
                          <a:pt x="0" y="157353"/>
                        </a:cubicBezTo>
                        <a:cubicBezTo>
                          <a:pt x="0" y="70449"/>
                          <a:pt x="70449" y="0"/>
                          <a:pt x="157353" y="0"/>
                        </a:cubicBezTo>
                        <a:cubicBezTo>
                          <a:pt x="244256" y="0"/>
                          <a:pt x="314706" y="70449"/>
                          <a:pt x="314706" y="15735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1" name="Freihandform: Form 720">
                    <a:extLst>
                      <a:ext uri="{FF2B5EF4-FFF2-40B4-BE49-F238E27FC236}">
                        <a16:creationId xmlns:a16="http://schemas.microsoft.com/office/drawing/2014/main" id="{CEFBAAB6-FADA-D97C-E2BF-5B871E4ACFC8}"/>
                      </a:ext>
                    </a:extLst>
                  </p:cNvPr>
                  <p:cNvSpPr/>
                  <p:nvPr/>
                </p:nvSpPr>
                <p:spPr>
                  <a:xfrm>
                    <a:off x="9658000" y="1838991"/>
                    <a:ext cx="625982" cy="890015"/>
                  </a:xfrm>
                  <a:custGeom>
                    <a:avLst/>
                    <a:gdLst>
                      <a:gd name="connsiteX0" fmla="*/ 625888 w 625982"/>
                      <a:gd name="connsiteY0" fmla="*/ 774287 h 890015"/>
                      <a:gd name="connsiteX1" fmla="*/ 334518 w 625982"/>
                      <a:gd name="connsiteY1" fmla="*/ 890016 h 890015"/>
                      <a:gd name="connsiteX2" fmla="*/ 135064 w 625982"/>
                      <a:gd name="connsiteY2" fmla="*/ 426720 h 890015"/>
                      <a:gd name="connsiteX3" fmla="*/ 0 w 625982"/>
                      <a:gd name="connsiteY3" fmla="*/ 163163 h 890015"/>
                      <a:gd name="connsiteX4" fmla="*/ 268986 w 625982"/>
                      <a:gd name="connsiteY4" fmla="*/ 0 h 890015"/>
                      <a:gd name="connsiteX5" fmla="*/ 430339 w 625982"/>
                      <a:gd name="connsiteY5" fmla="*/ 315373 h 890015"/>
                      <a:gd name="connsiteX6" fmla="*/ 625983 w 625982"/>
                      <a:gd name="connsiteY6" fmla="*/ 774287 h 8900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25982" h="890015">
                        <a:moveTo>
                          <a:pt x="625888" y="774287"/>
                        </a:moveTo>
                        <a:lnTo>
                          <a:pt x="334518" y="890016"/>
                        </a:lnTo>
                        <a:lnTo>
                          <a:pt x="135064" y="426720"/>
                        </a:lnTo>
                        <a:lnTo>
                          <a:pt x="0" y="163163"/>
                        </a:lnTo>
                        <a:lnTo>
                          <a:pt x="268986" y="0"/>
                        </a:lnTo>
                        <a:cubicBezTo>
                          <a:pt x="311182" y="74009"/>
                          <a:pt x="367665" y="187928"/>
                          <a:pt x="430339" y="315373"/>
                        </a:cubicBezTo>
                        <a:cubicBezTo>
                          <a:pt x="529780" y="517589"/>
                          <a:pt x="625983" y="774287"/>
                          <a:pt x="625983" y="77428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634" name="Grafik 23">
                  <a:extLst>
                    <a:ext uri="{FF2B5EF4-FFF2-40B4-BE49-F238E27FC236}">
                      <a16:creationId xmlns:a16="http://schemas.microsoft.com/office/drawing/2014/main" id="{9EFAD92C-50AD-A97F-AC3B-997CC79515D6}"/>
                    </a:ext>
                  </a:extLst>
                </p:cNvPr>
                <p:cNvGrpSpPr/>
                <p:nvPr/>
              </p:nvGrpSpPr>
              <p:grpSpPr>
                <a:xfrm>
                  <a:off x="9348914" y="8729059"/>
                  <a:ext cx="629316" cy="785241"/>
                  <a:chOff x="9348914" y="2150459"/>
                  <a:chExt cx="629316" cy="785241"/>
                </a:xfrm>
              </p:grpSpPr>
              <p:sp>
                <p:nvSpPr>
                  <p:cNvPr id="716" name="Freihandform: Form 715">
                    <a:extLst>
                      <a:ext uri="{FF2B5EF4-FFF2-40B4-BE49-F238E27FC236}">
                        <a16:creationId xmlns:a16="http://schemas.microsoft.com/office/drawing/2014/main" id="{B7023282-16BC-BB94-048B-2D1157D0DE0F}"/>
                      </a:ext>
                    </a:extLst>
                  </p:cNvPr>
                  <p:cNvSpPr/>
                  <p:nvPr/>
                </p:nvSpPr>
                <p:spPr>
                  <a:xfrm>
                    <a:off x="9381870" y="2150459"/>
                    <a:ext cx="596360" cy="785241"/>
                  </a:xfrm>
                  <a:custGeom>
                    <a:avLst/>
                    <a:gdLst>
                      <a:gd name="connsiteX0" fmla="*/ 572548 w 596360"/>
                      <a:gd name="connsiteY0" fmla="*/ 0 h 785241"/>
                      <a:gd name="connsiteX1" fmla="*/ 596360 w 596360"/>
                      <a:gd name="connsiteY1" fmla="*/ 23813 h 785241"/>
                      <a:gd name="connsiteX2" fmla="*/ 596360 w 596360"/>
                      <a:gd name="connsiteY2" fmla="*/ 761429 h 785241"/>
                      <a:gd name="connsiteX3" fmla="*/ 572548 w 596360"/>
                      <a:gd name="connsiteY3" fmla="*/ 785241 h 785241"/>
                      <a:gd name="connsiteX4" fmla="*/ 23813 w 596360"/>
                      <a:gd name="connsiteY4" fmla="*/ 785241 h 785241"/>
                      <a:gd name="connsiteX5" fmla="*/ 0 w 596360"/>
                      <a:gd name="connsiteY5" fmla="*/ 761429 h 785241"/>
                      <a:gd name="connsiteX6" fmla="*/ 0 w 596360"/>
                      <a:gd name="connsiteY6" fmla="*/ 23813 h 785241"/>
                      <a:gd name="connsiteX7" fmla="*/ 23813 w 596360"/>
                      <a:gd name="connsiteY7" fmla="*/ 0 h 785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96360" h="785241">
                        <a:moveTo>
                          <a:pt x="572548" y="0"/>
                        </a:moveTo>
                        <a:cubicBezTo>
                          <a:pt x="585699" y="0"/>
                          <a:pt x="596360" y="10661"/>
                          <a:pt x="596360" y="23813"/>
                        </a:cubicBezTo>
                        <a:lnTo>
                          <a:pt x="596360" y="761429"/>
                        </a:lnTo>
                        <a:cubicBezTo>
                          <a:pt x="596360" y="774580"/>
                          <a:pt x="585699" y="785241"/>
                          <a:pt x="572548" y="785241"/>
                        </a:cubicBezTo>
                        <a:lnTo>
                          <a:pt x="23813" y="785241"/>
                        </a:lnTo>
                        <a:cubicBezTo>
                          <a:pt x="10661" y="785241"/>
                          <a:pt x="0" y="774580"/>
                          <a:pt x="0" y="761429"/>
                        </a:cubicBezTo>
                        <a:lnTo>
                          <a:pt x="0" y="23813"/>
                        </a:lnTo>
                        <a:cubicBezTo>
                          <a:pt x="0" y="10661"/>
                          <a:pt x="10661" y="0"/>
                          <a:pt x="23813" y="0"/>
                        </a:cubicBezTo>
                        <a:close/>
                      </a:path>
                    </a:pathLst>
                  </a:custGeom>
                  <a:solidFill>
                    <a:srgbClr val="EDEDE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17" name="Freihandform: Form 716">
                    <a:extLst>
                      <a:ext uri="{FF2B5EF4-FFF2-40B4-BE49-F238E27FC236}">
                        <a16:creationId xmlns:a16="http://schemas.microsoft.com/office/drawing/2014/main" id="{FC9E25CA-8406-D718-FE98-06D31D7D4057}"/>
                      </a:ext>
                    </a:extLst>
                  </p:cNvPr>
                  <p:cNvSpPr/>
                  <p:nvPr/>
                </p:nvSpPr>
                <p:spPr>
                  <a:xfrm>
                    <a:off x="9348914" y="2150459"/>
                    <a:ext cx="596360" cy="785241"/>
                  </a:xfrm>
                  <a:custGeom>
                    <a:avLst/>
                    <a:gdLst>
                      <a:gd name="connsiteX0" fmla="*/ 0 w 596360"/>
                      <a:gd name="connsiteY0" fmla="*/ 0 h 785241"/>
                      <a:gd name="connsiteX1" fmla="*/ 596360 w 596360"/>
                      <a:gd name="connsiteY1" fmla="*/ 0 h 785241"/>
                      <a:gd name="connsiteX2" fmla="*/ 596360 w 596360"/>
                      <a:gd name="connsiteY2" fmla="*/ 785241 h 785241"/>
                      <a:gd name="connsiteX3" fmla="*/ 0 w 596360"/>
                      <a:gd name="connsiteY3" fmla="*/ 785241 h 785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96360" h="785241">
                        <a:moveTo>
                          <a:pt x="0" y="0"/>
                        </a:moveTo>
                        <a:lnTo>
                          <a:pt x="596360" y="0"/>
                        </a:lnTo>
                        <a:lnTo>
                          <a:pt x="596360" y="785241"/>
                        </a:lnTo>
                        <a:lnTo>
                          <a:pt x="0" y="785241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18" name="Freihandform: Form 717">
                    <a:extLst>
                      <a:ext uri="{FF2B5EF4-FFF2-40B4-BE49-F238E27FC236}">
                        <a16:creationId xmlns:a16="http://schemas.microsoft.com/office/drawing/2014/main" id="{D492A7E8-4586-7683-F7E3-D1A4EF79CA70}"/>
                      </a:ext>
                    </a:extLst>
                  </p:cNvPr>
                  <p:cNvSpPr/>
                  <p:nvPr/>
                </p:nvSpPr>
                <p:spPr>
                  <a:xfrm>
                    <a:off x="9578942" y="2272093"/>
                    <a:ext cx="123253" cy="123253"/>
                  </a:xfrm>
                  <a:custGeom>
                    <a:avLst/>
                    <a:gdLst>
                      <a:gd name="connsiteX0" fmla="*/ 123254 w 123253"/>
                      <a:gd name="connsiteY0" fmla="*/ 61627 h 123253"/>
                      <a:gd name="connsiteX1" fmla="*/ 61627 w 123253"/>
                      <a:gd name="connsiteY1" fmla="*/ 123253 h 123253"/>
                      <a:gd name="connsiteX2" fmla="*/ 1 w 123253"/>
                      <a:gd name="connsiteY2" fmla="*/ 61627 h 123253"/>
                      <a:gd name="connsiteX3" fmla="*/ 61627 w 123253"/>
                      <a:gd name="connsiteY3" fmla="*/ 0 h 123253"/>
                      <a:gd name="connsiteX4" fmla="*/ 123254 w 123253"/>
                      <a:gd name="connsiteY4" fmla="*/ 61627 h 1232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3253" h="123253">
                        <a:moveTo>
                          <a:pt x="123254" y="61627"/>
                        </a:moveTo>
                        <a:cubicBezTo>
                          <a:pt x="123254" y="95662"/>
                          <a:pt x="95662" y="123253"/>
                          <a:pt x="61627" y="123253"/>
                        </a:cubicBezTo>
                        <a:cubicBezTo>
                          <a:pt x="27592" y="123253"/>
                          <a:pt x="1" y="95662"/>
                          <a:pt x="1" y="61627"/>
                        </a:cubicBezTo>
                        <a:cubicBezTo>
                          <a:pt x="1" y="27591"/>
                          <a:pt x="27592" y="0"/>
                          <a:pt x="61627" y="0"/>
                        </a:cubicBezTo>
                        <a:cubicBezTo>
                          <a:pt x="95663" y="0"/>
                          <a:pt x="123254" y="27591"/>
                          <a:pt x="123254" y="61627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19" name="Freihandform: Form 718">
                    <a:extLst>
                      <a:ext uri="{FF2B5EF4-FFF2-40B4-BE49-F238E27FC236}">
                        <a16:creationId xmlns:a16="http://schemas.microsoft.com/office/drawing/2014/main" id="{EF1A1786-DD47-BB4B-707C-2EDDA33B91E1}"/>
                      </a:ext>
                    </a:extLst>
                  </p:cNvPr>
                  <p:cNvSpPr/>
                  <p:nvPr/>
                </p:nvSpPr>
                <p:spPr>
                  <a:xfrm>
                    <a:off x="9852024" y="2186178"/>
                    <a:ext cx="24955" cy="24955"/>
                  </a:xfrm>
                  <a:custGeom>
                    <a:avLst/>
                    <a:gdLst>
                      <a:gd name="connsiteX0" fmla="*/ 24955 w 24955"/>
                      <a:gd name="connsiteY0" fmla="*/ 12478 h 24955"/>
                      <a:gd name="connsiteX1" fmla="*/ 12478 w 24955"/>
                      <a:gd name="connsiteY1" fmla="*/ 24955 h 24955"/>
                      <a:gd name="connsiteX2" fmla="*/ 0 w 24955"/>
                      <a:gd name="connsiteY2" fmla="*/ 12478 h 24955"/>
                      <a:gd name="connsiteX3" fmla="*/ 12478 w 24955"/>
                      <a:gd name="connsiteY3" fmla="*/ 0 h 24955"/>
                      <a:gd name="connsiteX4" fmla="*/ 24955 w 24955"/>
                      <a:gd name="connsiteY4" fmla="*/ 12478 h 249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955" h="24955">
                        <a:moveTo>
                          <a:pt x="24955" y="12478"/>
                        </a:moveTo>
                        <a:cubicBezTo>
                          <a:pt x="24955" y="19369"/>
                          <a:pt x="19369" y="24955"/>
                          <a:pt x="12478" y="24955"/>
                        </a:cubicBezTo>
                        <a:cubicBezTo>
                          <a:pt x="5586" y="24955"/>
                          <a:pt x="0" y="19369"/>
                          <a:pt x="0" y="12478"/>
                        </a:cubicBezTo>
                        <a:cubicBezTo>
                          <a:pt x="0" y="5586"/>
                          <a:pt x="5586" y="0"/>
                          <a:pt x="12478" y="0"/>
                        </a:cubicBezTo>
                        <a:cubicBezTo>
                          <a:pt x="19369" y="0"/>
                          <a:pt x="24955" y="5586"/>
                          <a:pt x="24955" y="12478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635" name="Grafik 23">
                  <a:extLst>
                    <a:ext uri="{FF2B5EF4-FFF2-40B4-BE49-F238E27FC236}">
                      <a16:creationId xmlns:a16="http://schemas.microsoft.com/office/drawing/2014/main" id="{9E92A361-7788-9FA5-81D4-A92061871A75}"/>
                    </a:ext>
                  </a:extLst>
                </p:cNvPr>
                <p:cNvGrpSpPr/>
                <p:nvPr/>
              </p:nvGrpSpPr>
              <p:grpSpPr>
                <a:xfrm>
                  <a:off x="9261970" y="8864885"/>
                  <a:ext cx="346213" cy="324535"/>
                  <a:chOff x="9261970" y="2286285"/>
                  <a:chExt cx="346213" cy="324535"/>
                </a:xfrm>
                <a:solidFill>
                  <a:srgbClr val="8A5942"/>
                </a:solidFill>
              </p:grpSpPr>
              <p:sp>
                <p:nvSpPr>
                  <p:cNvPr id="713" name="Freihandform: Form 712">
                    <a:extLst>
                      <a:ext uri="{FF2B5EF4-FFF2-40B4-BE49-F238E27FC236}">
                        <a16:creationId xmlns:a16="http://schemas.microsoft.com/office/drawing/2014/main" id="{A0B1077B-5E9D-E066-199C-627442304B1A}"/>
                      </a:ext>
                    </a:extLst>
                  </p:cNvPr>
                  <p:cNvSpPr/>
                  <p:nvPr/>
                </p:nvSpPr>
                <p:spPr>
                  <a:xfrm>
                    <a:off x="9472929" y="2452497"/>
                    <a:ext cx="135255" cy="135254"/>
                  </a:xfrm>
                  <a:custGeom>
                    <a:avLst/>
                    <a:gdLst>
                      <a:gd name="connsiteX0" fmla="*/ 135255 w 135255"/>
                      <a:gd name="connsiteY0" fmla="*/ 67628 h 135254"/>
                      <a:gd name="connsiteX1" fmla="*/ 67628 w 135255"/>
                      <a:gd name="connsiteY1" fmla="*/ 135255 h 135254"/>
                      <a:gd name="connsiteX2" fmla="*/ 1 w 135255"/>
                      <a:gd name="connsiteY2" fmla="*/ 67628 h 135254"/>
                      <a:gd name="connsiteX3" fmla="*/ 67628 w 135255"/>
                      <a:gd name="connsiteY3" fmla="*/ 0 h 135254"/>
                      <a:gd name="connsiteX4" fmla="*/ 135255 w 135255"/>
                      <a:gd name="connsiteY4" fmla="*/ 67628 h 1352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5255" h="135254">
                        <a:moveTo>
                          <a:pt x="135255" y="67628"/>
                        </a:moveTo>
                        <a:cubicBezTo>
                          <a:pt x="135255" y="104977"/>
                          <a:pt x="104977" y="135255"/>
                          <a:pt x="67628" y="135255"/>
                        </a:cubicBezTo>
                        <a:cubicBezTo>
                          <a:pt x="30279" y="135255"/>
                          <a:pt x="1" y="104977"/>
                          <a:pt x="1" y="67628"/>
                        </a:cubicBezTo>
                        <a:cubicBezTo>
                          <a:pt x="1" y="30278"/>
                          <a:pt x="30279" y="0"/>
                          <a:pt x="67628" y="0"/>
                        </a:cubicBezTo>
                        <a:cubicBezTo>
                          <a:pt x="104977" y="0"/>
                          <a:pt x="135255" y="30278"/>
                          <a:pt x="135255" y="67628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14" name="Freihandform: Form 713">
                    <a:extLst>
                      <a:ext uri="{FF2B5EF4-FFF2-40B4-BE49-F238E27FC236}">
                        <a16:creationId xmlns:a16="http://schemas.microsoft.com/office/drawing/2014/main" id="{44D922A4-D4C8-222D-525C-2782C440A046}"/>
                      </a:ext>
                    </a:extLst>
                  </p:cNvPr>
                  <p:cNvSpPr/>
                  <p:nvPr/>
                </p:nvSpPr>
                <p:spPr>
                  <a:xfrm>
                    <a:off x="9261970" y="2286285"/>
                    <a:ext cx="308150" cy="265148"/>
                  </a:xfrm>
                  <a:custGeom>
                    <a:avLst/>
                    <a:gdLst>
                      <a:gd name="connsiteX0" fmla="*/ 167049 w 308150"/>
                      <a:gd name="connsiteY0" fmla="*/ 59246 h 265148"/>
                      <a:gd name="connsiteX1" fmla="*/ 245725 w 308150"/>
                      <a:gd name="connsiteY1" fmla="*/ 106299 h 265148"/>
                      <a:gd name="connsiteX2" fmla="*/ 306685 w 308150"/>
                      <a:gd name="connsiteY2" fmla="*/ 206788 h 265148"/>
                      <a:gd name="connsiteX3" fmla="*/ 197338 w 308150"/>
                      <a:gd name="connsiteY3" fmla="*/ 239173 h 265148"/>
                      <a:gd name="connsiteX4" fmla="*/ 131520 w 308150"/>
                      <a:gd name="connsiteY4" fmla="*/ 136588 h 265148"/>
                      <a:gd name="connsiteX5" fmla="*/ 67322 w 308150"/>
                      <a:gd name="connsiteY5" fmla="*/ 96012 h 265148"/>
                      <a:gd name="connsiteX6" fmla="*/ 67322 w 308150"/>
                      <a:gd name="connsiteY6" fmla="*/ 96012 h 265148"/>
                      <a:gd name="connsiteX7" fmla="*/ 22269 w 308150"/>
                      <a:gd name="connsiteY7" fmla="*/ 64579 h 265148"/>
                      <a:gd name="connsiteX8" fmla="*/ 5790 w 308150"/>
                      <a:gd name="connsiteY8" fmla="*/ 0 h 265148"/>
                      <a:gd name="connsiteX9" fmla="*/ 71036 w 308150"/>
                      <a:gd name="connsiteY9" fmla="*/ 37147 h 265148"/>
                      <a:gd name="connsiteX10" fmla="*/ 166000 w 308150"/>
                      <a:gd name="connsiteY10" fmla="*/ 58674 h 265148"/>
                      <a:gd name="connsiteX11" fmla="*/ 166572 w 308150"/>
                      <a:gd name="connsiteY11" fmla="*/ 59912 h 265148"/>
                      <a:gd name="connsiteX12" fmla="*/ 167049 w 308150"/>
                      <a:gd name="connsiteY12" fmla="*/ 59150 h 2651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308150" h="265148">
                        <a:moveTo>
                          <a:pt x="167049" y="59246"/>
                        </a:moveTo>
                        <a:cubicBezTo>
                          <a:pt x="167049" y="59246"/>
                          <a:pt x="224770" y="90297"/>
                          <a:pt x="245725" y="106299"/>
                        </a:cubicBezTo>
                        <a:cubicBezTo>
                          <a:pt x="245725" y="106299"/>
                          <a:pt x="319353" y="177927"/>
                          <a:pt x="306685" y="206788"/>
                        </a:cubicBezTo>
                        <a:cubicBezTo>
                          <a:pt x="283920" y="258699"/>
                          <a:pt x="207244" y="290322"/>
                          <a:pt x="197338" y="239173"/>
                        </a:cubicBezTo>
                        <a:cubicBezTo>
                          <a:pt x="186765" y="184975"/>
                          <a:pt x="139331" y="143256"/>
                          <a:pt x="131520" y="136588"/>
                        </a:cubicBezTo>
                        <a:lnTo>
                          <a:pt x="67322" y="96012"/>
                        </a:lnTo>
                        <a:cubicBezTo>
                          <a:pt x="67322" y="96012"/>
                          <a:pt x="67322" y="96012"/>
                          <a:pt x="67322" y="96012"/>
                        </a:cubicBezTo>
                        <a:cubicBezTo>
                          <a:pt x="53606" y="87154"/>
                          <a:pt x="37508" y="76009"/>
                          <a:pt x="22269" y="64579"/>
                        </a:cubicBezTo>
                        <a:cubicBezTo>
                          <a:pt x="1599" y="48958"/>
                          <a:pt x="-6497" y="32957"/>
                          <a:pt x="5790" y="0"/>
                        </a:cubicBezTo>
                        <a:lnTo>
                          <a:pt x="71036" y="37147"/>
                        </a:lnTo>
                        <a:cubicBezTo>
                          <a:pt x="71036" y="37147"/>
                          <a:pt x="167049" y="59150"/>
                          <a:pt x="166000" y="58674"/>
                        </a:cubicBezTo>
                        <a:cubicBezTo>
                          <a:pt x="166286" y="59055"/>
                          <a:pt x="166382" y="59531"/>
                          <a:pt x="166572" y="59912"/>
                        </a:cubicBezTo>
                        <a:cubicBezTo>
                          <a:pt x="166763" y="59626"/>
                          <a:pt x="166858" y="59436"/>
                          <a:pt x="167049" y="59150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15" name="Freihandform: Form 714">
                    <a:extLst>
                      <a:ext uri="{FF2B5EF4-FFF2-40B4-BE49-F238E27FC236}">
                        <a16:creationId xmlns:a16="http://schemas.microsoft.com/office/drawing/2014/main" id="{6DB0A484-BE56-FCAC-877C-EB6449BA98CC}"/>
                      </a:ext>
                    </a:extLst>
                  </p:cNvPr>
                  <p:cNvSpPr/>
                  <p:nvPr/>
                </p:nvSpPr>
                <p:spPr>
                  <a:xfrm>
                    <a:off x="9265221" y="2389083"/>
                    <a:ext cx="295814" cy="221737"/>
                  </a:xfrm>
                  <a:custGeom>
                    <a:avLst/>
                    <a:gdLst>
                      <a:gd name="connsiteX0" fmla="*/ 209422 w 295814"/>
                      <a:gd name="connsiteY0" fmla="*/ 11026 h 221737"/>
                      <a:gd name="connsiteX1" fmla="*/ 68357 w 295814"/>
                      <a:gd name="connsiteY1" fmla="*/ 15598 h 221737"/>
                      <a:gd name="connsiteX2" fmla="*/ 6158 w 295814"/>
                      <a:gd name="connsiteY2" fmla="*/ 29790 h 221737"/>
                      <a:gd name="connsiteX3" fmla="*/ 63785 w 295814"/>
                      <a:gd name="connsiteY3" fmla="*/ 220290 h 221737"/>
                      <a:gd name="connsiteX4" fmla="*/ 268382 w 295814"/>
                      <a:gd name="connsiteY4" fmla="*/ 198573 h 221737"/>
                      <a:gd name="connsiteX5" fmla="*/ 295814 w 295814"/>
                      <a:gd name="connsiteY5" fmla="*/ 73034 h 221737"/>
                      <a:gd name="connsiteX6" fmla="*/ 209422 w 295814"/>
                      <a:gd name="connsiteY6" fmla="*/ 11026 h 2217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95814" h="221737">
                        <a:moveTo>
                          <a:pt x="209422" y="11026"/>
                        </a:moveTo>
                        <a:cubicBezTo>
                          <a:pt x="153224" y="-16216"/>
                          <a:pt x="68357" y="15598"/>
                          <a:pt x="68357" y="15598"/>
                        </a:cubicBezTo>
                        <a:lnTo>
                          <a:pt x="6158" y="29790"/>
                        </a:lnTo>
                        <a:cubicBezTo>
                          <a:pt x="-10986" y="83416"/>
                          <a:pt x="7492" y="164188"/>
                          <a:pt x="63785" y="220290"/>
                        </a:cubicBezTo>
                        <a:cubicBezTo>
                          <a:pt x="156559" y="228577"/>
                          <a:pt x="268382" y="198573"/>
                          <a:pt x="268382" y="198573"/>
                        </a:cubicBezTo>
                        <a:lnTo>
                          <a:pt x="295814" y="73034"/>
                        </a:lnTo>
                        <a:cubicBezTo>
                          <a:pt x="295814" y="73034"/>
                          <a:pt x="265620" y="38172"/>
                          <a:pt x="209422" y="1102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636" name="Freihandform: Form 635">
                  <a:extLst>
                    <a:ext uri="{FF2B5EF4-FFF2-40B4-BE49-F238E27FC236}">
                      <a16:creationId xmlns:a16="http://schemas.microsoft.com/office/drawing/2014/main" id="{94FEA508-F970-FB52-67F0-A0E9E7AD0811}"/>
                    </a:ext>
                  </a:extLst>
                </p:cNvPr>
                <p:cNvSpPr/>
                <p:nvPr/>
              </p:nvSpPr>
              <p:spPr>
                <a:xfrm>
                  <a:off x="9182798" y="12384659"/>
                  <a:ext cx="145732" cy="145732"/>
                </a:xfrm>
                <a:custGeom>
                  <a:avLst/>
                  <a:gdLst>
                    <a:gd name="connsiteX0" fmla="*/ 145732 w 145732"/>
                    <a:gd name="connsiteY0" fmla="*/ 72866 h 145732"/>
                    <a:gd name="connsiteX1" fmla="*/ 72866 w 145732"/>
                    <a:gd name="connsiteY1" fmla="*/ 145733 h 145732"/>
                    <a:gd name="connsiteX2" fmla="*/ -1 w 145732"/>
                    <a:gd name="connsiteY2" fmla="*/ 72866 h 145732"/>
                    <a:gd name="connsiteX3" fmla="*/ 72866 w 145732"/>
                    <a:gd name="connsiteY3" fmla="*/ 0 h 145732"/>
                    <a:gd name="connsiteX4" fmla="*/ 145732 w 145732"/>
                    <a:gd name="connsiteY4" fmla="*/ 72866 h 145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5732" h="145732">
                      <a:moveTo>
                        <a:pt x="145732" y="72866"/>
                      </a:moveTo>
                      <a:cubicBezTo>
                        <a:pt x="145732" y="113109"/>
                        <a:pt x="113109" y="145733"/>
                        <a:pt x="72866" y="145733"/>
                      </a:cubicBezTo>
                      <a:cubicBezTo>
                        <a:pt x="32623" y="145733"/>
                        <a:pt x="-1" y="113109"/>
                        <a:pt x="-1" y="72866"/>
                      </a:cubicBezTo>
                      <a:cubicBezTo>
                        <a:pt x="-1" y="32624"/>
                        <a:pt x="32623" y="0"/>
                        <a:pt x="72866" y="0"/>
                      </a:cubicBezTo>
                      <a:cubicBezTo>
                        <a:pt x="113109" y="0"/>
                        <a:pt x="145732" y="32624"/>
                        <a:pt x="145732" y="7286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37" name="Freihandform: Form 636">
                  <a:extLst>
                    <a:ext uri="{FF2B5EF4-FFF2-40B4-BE49-F238E27FC236}">
                      <a16:creationId xmlns:a16="http://schemas.microsoft.com/office/drawing/2014/main" id="{7C344E32-A47B-29B2-A092-4664DB952776}"/>
                    </a:ext>
                  </a:extLst>
                </p:cNvPr>
                <p:cNvSpPr/>
                <p:nvPr/>
              </p:nvSpPr>
              <p:spPr>
                <a:xfrm>
                  <a:off x="9365963" y="12404280"/>
                  <a:ext cx="145732" cy="145732"/>
                </a:xfrm>
                <a:custGeom>
                  <a:avLst/>
                  <a:gdLst>
                    <a:gd name="connsiteX0" fmla="*/ 145733 w 145732"/>
                    <a:gd name="connsiteY0" fmla="*/ 72866 h 145732"/>
                    <a:gd name="connsiteX1" fmla="*/ 72866 w 145732"/>
                    <a:gd name="connsiteY1" fmla="*/ 145733 h 145732"/>
                    <a:gd name="connsiteX2" fmla="*/ 0 w 145732"/>
                    <a:gd name="connsiteY2" fmla="*/ 72866 h 145732"/>
                    <a:gd name="connsiteX3" fmla="*/ 72866 w 145732"/>
                    <a:gd name="connsiteY3" fmla="*/ 0 h 145732"/>
                    <a:gd name="connsiteX4" fmla="*/ 145733 w 145732"/>
                    <a:gd name="connsiteY4" fmla="*/ 72866 h 145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5732" h="145732">
                      <a:moveTo>
                        <a:pt x="145733" y="72866"/>
                      </a:moveTo>
                      <a:cubicBezTo>
                        <a:pt x="145733" y="113109"/>
                        <a:pt x="113109" y="145733"/>
                        <a:pt x="72866" y="145733"/>
                      </a:cubicBezTo>
                      <a:cubicBezTo>
                        <a:pt x="32623" y="145733"/>
                        <a:pt x="0" y="113109"/>
                        <a:pt x="0" y="72866"/>
                      </a:cubicBezTo>
                      <a:cubicBezTo>
                        <a:pt x="0" y="32624"/>
                        <a:pt x="32623" y="0"/>
                        <a:pt x="72866" y="0"/>
                      </a:cubicBezTo>
                      <a:cubicBezTo>
                        <a:pt x="113109" y="0"/>
                        <a:pt x="145733" y="32624"/>
                        <a:pt x="145733" y="7286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38" name="Freihandform: Form 637">
                  <a:extLst>
                    <a:ext uri="{FF2B5EF4-FFF2-40B4-BE49-F238E27FC236}">
                      <a16:creationId xmlns:a16="http://schemas.microsoft.com/office/drawing/2014/main" id="{C86B1EFA-0EC9-46C6-25A8-EFC7F3B27FAD}"/>
                    </a:ext>
                  </a:extLst>
                </p:cNvPr>
                <p:cNvSpPr/>
                <p:nvPr/>
              </p:nvSpPr>
              <p:spPr>
                <a:xfrm>
                  <a:off x="8938672" y="11260613"/>
                  <a:ext cx="389953" cy="1217787"/>
                </a:xfrm>
                <a:custGeom>
                  <a:avLst/>
                  <a:gdLst>
                    <a:gd name="connsiteX0" fmla="*/ 389954 w 389953"/>
                    <a:gd name="connsiteY0" fmla="*/ 1196054 h 1217787"/>
                    <a:gd name="connsiteX1" fmla="*/ 245079 w 389953"/>
                    <a:gd name="connsiteY1" fmla="*/ 1208532 h 1217787"/>
                    <a:gd name="connsiteX2" fmla="*/ 52388 w 389953"/>
                    <a:gd name="connsiteY2" fmla="*/ 579406 h 1217787"/>
                    <a:gd name="connsiteX3" fmla="*/ 0 w 389953"/>
                    <a:gd name="connsiteY3" fmla="*/ 44863 h 1217787"/>
                    <a:gd name="connsiteX4" fmla="*/ 306705 w 389953"/>
                    <a:gd name="connsiteY4" fmla="*/ 0 h 1217787"/>
                    <a:gd name="connsiteX5" fmla="*/ 316039 w 389953"/>
                    <a:gd name="connsiteY5" fmla="*/ 166878 h 1217787"/>
                    <a:gd name="connsiteX6" fmla="*/ 351091 w 389953"/>
                    <a:gd name="connsiteY6" fmla="*/ 480251 h 1217787"/>
                    <a:gd name="connsiteX7" fmla="*/ 361760 w 389953"/>
                    <a:gd name="connsiteY7" fmla="*/ 876681 h 1217787"/>
                    <a:gd name="connsiteX8" fmla="*/ 389858 w 389953"/>
                    <a:gd name="connsiteY8" fmla="*/ 1195959 h 12177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89953" h="1217787">
                      <a:moveTo>
                        <a:pt x="389954" y="1196054"/>
                      </a:moveTo>
                      <a:cubicBezTo>
                        <a:pt x="339471" y="1220438"/>
                        <a:pt x="293561" y="1223867"/>
                        <a:pt x="245079" y="1208532"/>
                      </a:cubicBezTo>
                      <a:cubicBezTo>
                        <a:pt x="209550" y="1038987"/>
                        <a:pt x="96964" y="734759"/>
                        <a:pt x="52388" y="579406"/>
                      </a:cubicBezTo>
                      <a:cubicBezTo>
                        <a:pt x="7715" y="423767"/>
                        <a:pt x="0" y="44863"/>
                        <a:pt x="0" y="44863"/>
                      </a:cubicBezTo>
                      <a:lnTo>
                        <a:pt x="306705" y="0"/>
                      </a:lnTo>
                      <a:lnTo>
                        <a:pt x="316039" y="166878"/>
                      </a:lnTo>
                      <a:cubicBezTo>
                        <a:pt x="316039" y="166878"/>
                        <a:pt x="347472" y="345662"/>
                        <a:pt x="351091" y="480251"/>
                      </a:cubicBezTo>
                      <a:cubicBezTo>
                        <a:pt x="354711" y="614839"/>
                        <a:pt x="361760" y="876681"/>
                        <a:pt x="361760" y="876681"/>
                      </a:cubicBezTo>
                      <a:lnTo>
                        <a:pt x="389858" y="1195959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39" name="Freihandform: Form 638">
                  <a:extLst>
                    <a:ext uri="{FF2B5EF4-FFF2-40B4-BE49-F238E27FC236}">
                      <a16:creationId xmlns:a16="http://schemas.microsoft.com/office/drawing/2014/main" id="{3117FAD7-DF8A-13F2-B0E1-487CDCA361BA}"/>
                    </a:ext>
                  </a:extLst>
                </p:cNvPr>
                <p:cNvSpPr/>
                <p:nvPr/>
              </p:nvSpPr>
              <p:spPr>
                <a:xfrm>
                  <a:off x="8936291" y="11117929"/>
                  <a:ext cx="309943" cy="318515"/>
                </a:xfrm>
                <a:custGeom>
                  <a:avLst/>
                  <a:gdLst>
                    <a:gd name="connsiteX0" fmla="*/ 309944 w 309943"/>
                    <a:gd name="connsiteY0" fmla="*/ 159258 h 318515"/>
                    <a:gd name="connsiteX1" fmla="*/ 154972 w 309943"/>
                    <a:gd name="connsiteY1" fmla="*/ 318516 h 318515"/>
                    <a:gd name="connsiteX2" fmla="*/ 0 w 309943"/>
                    <a:gd name="connsiteY2" fmla="*/ 159258 h 318515"/>
                    <a:gd name="connsiteX3" fmla="*/ 154972 w 309943"/>
                    <a:gd name="connsiteY3" fmla="*/ 0 h 318515"/>
                    <a:gd name="connsiteX4" fmla="*/ 309944 w 309943"/>
                    <a:gd name="connsiteY4" fmla="*/ 159258 h 3185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9943" h="318515">
                      <a:moveTo>
                        <a:pt x="309944" y="159258"/>
                      </a:moveTo>
                      <a:cubicBezTo>
                        <a:pt x="309944" y="247214"/>
                        <a:pt x="240561" y="318516"/>
                        <a:pt x="154972" y="318516"/>
                      </a:cubicBezTo>
                      <a:cubicBezTo>
                        <a:pt x="69383" y="318516"/>
                        <a:pt x="0" y="247214"/>
                        <a:pt x="0" y="159258"/>
                      </a:cubicBezTo>
                      <a:cubicBezTo>
                        <a:pt x="0" y="71302"/>
                        <a:pt x="69383" y="0"/>
                        <a:pt x="154972" y="0"/>
                      </a:cubicBezTo>
                      <a:cubicBezTo>
                        <a:pt x="240560" y="0"/>
                        <a:pt x="309944" y="71302"/>
                        <a:pt x="309944" y="15925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40" name="Freihandform: Form 639">
                  <a:extLst>
                    <a:ext uri="{FF2B5EF4-FFF2-40B4-BE49-F238E27FC236}">
                      <a16:creationId xmlns:a16="http://schemas.microsoft.com/office/drawing/2014/main" id="{55080CE7-1FB2-DE9A-3869-6D09B17C2562}"/>
                    </a:ext>
                  </a:extLst>
                </p:cNvPr>
                <p:cNvSpPr/>
                <p:nvPr/>
              </p:nvSpPr>
              <p:spPr>
                <a:xfrm>
                  <a:off x="9325196" y="11123358"/>
                  <a:ext cx="311086" cy="311086"/>
                </a:xfrm>
                <a:custGeom>
                  <a:avLst/>
                  <a:gdLst>
                    <a:gd name="connsiteX0" fmla="*/ 311086 w 311086"/>
                    <a:gd name="connsiteY0" fmla="*/ 155543 h 311086"/>
                    <a:gd name="connsiteX1" fmla="*/ 155543 w 311086"/>
                    <a:gd name="connsiteY1" fmla="*/ 311086 h 311086"/>
                    <a:gd name="connsiteX2" fmla="*/ -1 w 311086"/>
                    <a:gd name="connsiteY2" fmla="*/ 155543 h 311086"/>
                    <a:gd name="connsiteX3" fmla="*/ 155543 w 311086"/>
                    <a:gd name="connsiteY3" fmla="*/ 0 h 311086"/>
                    <a:gd name="connsiteX4" fmla="*/ 311086 w 311086"/>
                    <a:gd name="connsiteY4" fmla="*/ 155543 h 3110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1086" h="311086">
                      <a:moveTo>
                        <a:pt x="311086" y="155543"/>
                      </a:moveTo>
                      <a:cubicBezTo>
                        <a:pt x="311086" y="241447"/>
                        <a:pt x="241447" y="311086"/>
                        <a:pt x="155543" y="311086"/>
                      </a:cubicBezTo>
                      <a:cubicBezTo>
                        <a:pt x="69639" y="311086"/>
                        <a:pt x="-1" y="241447"/>
                        <a:pt x="-1" y="155543"/>
                      </a:cubicBezTo>
                      <a:cubicBezTo>
                        <a:pt x="-1" y="69639"/>
                        <a:pt x="69639" y="0"/>
                        <a:pt x="155543" y="0"/>
                      </a:cubicBezTo>
                      <a:cubicBezTo>
                        <a:pt x="241447" y="0"/>
                        <a:pt x="311086" y="69639"/>
                        <a:pt x="311086" y="155543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41" name="Freihandform: Form 640">
                  <a:extLst>
                    <a:ext uri="{FF2B5EF4-FFF2-40B4-BE49-F238E27FC236}">
                      <a16:creationId xmlns:a16="http://schemas.microsoft.com/office/drawing/2014/main" id="{DEBF41F7-C971-C6C0-7DDF-3F8BBC601A82}"/>
                    </a:ext>
                  </a:extLst>
                </p:cNvPr>
                <p:cNvSpPr/>
                <p:nvPr/>
              </p:nvSpPr>
              <p:spPr>
                <a:xfrm>
                  <a:off x="9111551" y="12452191"/>
                  <a:ext cx="251269" cy="207930"/>
                </a:xfrm>
                <a:custGeom>
                  <a:avLst/>
                  <a:gdLst>
                    <a:gd name="connsiteX0" fmla="*/ 72294 w 251269"/>
                    <a:gd name="connsiteY0" fmla="*/ 0 h 207930"/>
                    <a:gd name="connsiteX1" fmla="*/ 0 w 251269"/>
                    <a:gd name="connsiteY1" fmla="*/ 201549 h 207930"/>
                    <a:gd name="connsiteX2" fmla="*/ 251270 w 251269"/>
                    <a:gd name="connsiteY2" fmla="*/ 207930 h 207930"/>
                    <a:gd name="connsiteX3" fmla="*/ 216789 w 251269"/>
                    <a:gd name="connsiteY3" fmla="*/ 3334 h 207930"/>
                    <a:gd name="connsiteX4" fmla="*/ 72294 w 251269"/>
                    <a:gd name="connsiteY4" fmla="*/ 95 h 2079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1269" h="207930">
                      <a:moveTo>
                        <a:pt x="72294" y="0"/>
                      </a:moveTo>
                      <a:cubicBezTo>
                        <a:pt x="56579" y="148399"/>
                        <a:pt x="952" y="162496"/>
                        <a:pt x="0" y="201549"/>
                      </a:cubicBezTo>
                      <a:lnTo>
                        <a:pt x="251270" y="207930"/>
                      </a:lnTo>
                      <a:cubicBezTo>
                        <a:pt x="246126" y="145922"/>
                        <a:pt x="216789" y="118300"/>
                        <a:pt x="216789" y="3334"/>
                      </a:cubicBezTo>
                      <a:lnTo>
                        <a:pt x="72294" y="95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42" name="Freihandform: Form 641">
                  <a:extLst>
                    <a:ext uri="{FF2B5EF4-FFF2-40B4-BE49-F238E27FC236}">
                      <a16:creationId xmlns:a16="http://schemas.microsoft.com/office/drawing/2014/main" id="{0D7E1872-5ACE-CF55-D601-94FF330541F3}"/>
                    </a:ext>
                  </a:extLst>
                </p:cNvPr>
                <p:cNvSpPr/>
                <p:nvPr/>
              </p:nvSpPr>
              <p:spPr>
                <a:xfrm>
                  <a:off x="9040208" y="12666313"/>
                  <a:ext cx="343280" cy="94544"/>
                </a:xfrm>
                <a:custGeom>
                  <a:avLst/>
                  <a:gdLst>
                    <a:gd name="connsiteX0" fmla="*/ 322326 w 343280"/>
                    <a:gd name="connsiteY0" fmla="*/ 89821 h 94544"/>
                    <a:gd name="connsiteX1" fmla="*/ 21145 w 343280"/>
                    <a:gd name="connsiteY1" fmla="*/ 89630 h 94544"/>
                    <a:gd name="connsiteX2" fmla="*/ 0 w 343280"/>
                    <a:gd name="connsiteY2" fmla="*/ 60960 h 94544"/>
                    <a:gd name="connsiteX3" fmla="*/ 0 w 343280"/>
                    <a:gd name="connsiteY3" fmla="*/ 0 h 94544"/>
                    <a:gd name="connsiteX4" fmla="*/ 343281 w 343280"/>
                    <a:gd name="connsiteY4" fmla="*/ 0 h 94544"/>
                    <a:gd name="connsiteX5" fmla="*/ 343281 w 343280"/>
                    <a:gd name="connsiteY5" fmla="*/ 61150 h 94544"/>
                    <a:gd name="connsiteX6" fmla="*/ 322326 w 343280"/>
                    <a:gd name="connsiteY6" fmla="*/ 89821 h 945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43280" h="94544">
                      <a:moveTo>
                        <a:pt x="322326" y="89821"/>
                      </a:moveTo>
                      <a:cubicBezTo>
                        <a:pt x="218218" y="97822"/>
                        <a:pt x="135160" y="94202"/>
                        <a:pt x="21145" y="89630"/>
                      </a:cubicBezTo>
                      <a:cubicBezTo>
                        <a:pt x="8954" y="89154"/>
                        <a:pt x="0" y="75533"/>
                        <a:pt x="0" y="60960"/>
                      </a:cubicBezTo>
                      <a:lnTo>
                        <a:pt x="0" y="0"/>
                      </a:lnTo>
                      <a:cubicBezTo>
                        <a:pt x="0" y="0"/>
                        <a:pt x="343281" y="0"/>
                        <a:pt x="343281" y="0"/>
                      </a:cubicBezTo>
                      <a:lnTo>
                        <a:pt x="343281" y="61150"/>
                      </a:lnTo>
                      <a:cubicBezTo>
                        <a:pt x="343281" y="75629"/>
                        <a:pt x="334423" y="88868"/>
                        <a:pt x="322326" y="89821"/>
                      </a:cubicBezTo>
                      <a:close/>
                    </a:path>
                  </a:pathLst>
                </a:custGeom>
                <a:solidFill>
                  <a:srgbClr val="40404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43" name="Freihandform: Form 642">
                  <a:extLst>
                    <a:ext uri="{FF2B5EF4-FFF2-40B4-BE49-F238E27FC236}">
                      <a16:creationId xmlns:a16="http://schemas.microsoft.com/office/drawing/2014/main" id="{CBC9B284-01E9-361E-76B8-C7FC836188FF}"/>
                    </a:ext>
                  </a:extLst>
                </p:cNvPr>
                <p:cNvSpPr/>
                <p:nvPr/>
              </p:nvSpPr>
              <p:spPr>
                <a:xfrm>
                  <a:off x="9040208" y="12513150"/>
                  <a:ext cx="343280" cy="181734"/>
                </a:xfrm>
                <a:custGeom>
                  <a:avLst/>
                  <a:gdLst>
                    <a:gd name="connsiteX0" fmla="*/ 343281 w 343280"/>
                    <a:gd name="connsiteY0" fmla="*/ 153163 h 181734"/>
                    <a:gd name="connsiteX1" fmla="*/ 294227 w 343280"/>
                    <a:gd name="connsiteY1" fmla="*/ 23147 h 181734"/>
                    <a:gd name="connsiteX2" fmla="*/ 279273 w 343280"/>
                    <a:gd name="connsiteY2" fmla="*/ 64199 h 181734"/>
                    <a:gd name="connsiteX3" fmla="*/ 98964 w 343280"/>
                    <a:gd name="connsiteY3" fmla="*/ 59628 h 181734"/>
                    <a:gd name="connsiteX4" fmla="*/ 0 w 343280"/>
                    <a:gd name="connsiteY4" fmla="*/ 153163 h 181734"/>
                    <a:gd name="connsiteX5" fmla="*/ 343281 w 343280"/>
                    <a:gd name="connsiteY5" fmla="*/ 153163 h 181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3280" h="181734">
                      <a:moveTo>
                        <a:pt x="343281" y="153163"/>
                      </a:moveTo>
                      <a:cubicBezTo>
                        <a:pt x="303847" y="73344"/>
                        <a:pt x="306133" y="10193"/>
                        <a:pt x="294227" y="23147"/>
                      </a:cubicBezTo>
                      <a:cubicBezTo>
                        <a:pt x="301276" y="53055"/>
                        <a:pt x="295656" y="65914"/>
                        <a:pt x="279273" y="64199"/>
                      </a:cubicBezTo>
                      <a:cubicBezTo>
                        <a:pt x="279273" y="64199"/>
                        <a:pt x="167544" y="-77151"/>
                        <a:pt x="98964" y="59628"/>
                      </a:cubicBezTo>
                      <a:cubicBezTo>
                        <a:pt x="57340" y="142591"/>
                        <a:pt x="4096" y="120397"/>
                        <a:pt x="0" y="153163"/>
                      </a:cubicBezTo>
                      <a:cubicBezTo>
                        <a:pt x="16478" y="185738"/>
                        <a:pt x="323945" y="196406"/>
                        <a:pt x="343281" y="15316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44" name="Freihandform: Form 643">
                  <a:extLst>
                    <a:ext uri="{FF2B5EF4-FFF2-40B4-BE49-F238E27FC236}">
                      <a16:creationId xmlns:a16="http://schemas.microsoft.com/office/drawing/2014/main" id="{CA995BD2-2575-E5D4-8C0C-41F9068F67E7}"/>
                    </a:ext>
                  </a:extLst>
                </p:cNvPr>
                <p:cNvSpPr/>
                <p:nvPr/>
              </p:nvSpPr>
              <p:spPr>
                <a:xfrm>
                  <a:off x="9324879" y="11256327"/>
                  <a:ext cx="326797" cy="1236394"/>
                </a:xfrm>
                <a:custGeom>
                  <a:avLst/>
                  <a:gdLst>
                    <a:gd name="connsiteX0" fmla="*/ 41084 w 326797"/>
                    <a:gd name="connsiteY0" fmla="*/ 1218819 h 1236394"/>
                    <a:gd name="connsiteX1" fmla="*/ 186626 w 326797"/>
                    <a:gd name="connsiteY1" fmla="*/ 1215199 h 1236394"/>
                    <a:gd name="connsiteX2" fmla="*/ 315405 w 326797"/>
                    <a:gd name="connsiteY2" fmla="*/ 571024 h 1236394"/>
                    <a:gd name="connsiteX3" fmla="*/ 309594 w 326797"/>
                    <a:gd name="connsiteY3" fmla="*/ 0 h 1236394"/>
                    <a:gd name="connsiteX4" fmla="*/ 222 w 326797"/>
                    <a:gd name="connsiteY4" fmla="*/ 286 h 1236394"/>
                    <a:gd name="connsiteX5" fmla="*/ 8033 w 326797"/>
                    <a:gd name="connsiteY5" fmla="*/ 502825 h 1236394"/>
                    <a:gd name="connsiteX6" fmla="*/ 37655 w 326797"/>
                    <a:gd name="connsiteY6" fmla="*/ 898302 h 1236394"/>
                    <a:gd name="connsiteX7" fmla="*/ 40989 w 326797"/>
                    <a:gd name="connsiteY7" fmla="*/ 1218819 h 12363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797" h="1236394">
                      <a:moveTo>
                        <a:pt x="41084" y="1218819"/>
                      </a:moveTo>
                      <a:cubicBezTo>
                        <a:pt x="93853" y="1243870"/>
                        <a:pt x="140049" y="1241679"/>
                        <a:pt x="186626" y="1215199"/>
                      </a:cubicBezTo>
                      <a:cubicBezTo>
                        <a:pt x="204724" y="1042892"/>
                        <a:pt x="286830" y="730091"/>
                        <a:pt x="315405" y="571024"/>
                      </a:cubicBezTo>
                      <a:cubicBezTo>
                        <a:pt x="344075" y="411575"/>
                        <a:pt x="309594" y="0"/>
                        <a:pt x="309594" y="0"/>
                      </a:cubicBezTo>
                      <a:lnTo>
                        <a:pt x="222" y="286"/>
                      </a:lnTo>
                      <a:cubicBezTo>
                        <a:pt x="222" y="286"/>
                        <a:pt x="-2064" y="368617"/>
                        <a:pt x="8033" y="502825"/>
                      </a:cubicBezTo>
                      <a:cubicBezTo>
                        <a:pt x="18129" y="637032"/>
                        <a:pt x="37655" y="898302"/>
                        <a:pt x="37655" y="898302"/>
                      </a:cubicBezTo>
                      <a:lnTo>
                        <a:pt x="40989" y="1218819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45" name="Freihandform: Form 644">
                  <a:extLst>
                    <a:ext uri="{FF2B5EF4-FFF2-40B4-BE49-F238E27FC236}">
                      <a16:creationId xmlns:a16="http://schemas.microsoft.com/office/drawing/2014/main" id="{06EEF9A4-6ABA-AD1A-D9F1-5D845E4CE2AA}"/>
                    </a:ext>
                  </a:extLst>
                </p:cNvPr>
                <p:cNvSpPr/>
                <p:nvPr/>
              </p:nvSpPr>
              <p:spPr>
                <a:xfrm>
                  <a:off x="9333007" y="12471526"/>
                  <a:ext cx="284035" cy="215074"/>
                </a:xfrm>
                <a:custGeom>
                  <a:avLst/>
                  <a:gdLst>
                    <a:gd name="connsiteX0" fmla="*/ 178498 w 284035"/>
                    <a:gd name="connsiteY0" fmla="*/ 0 h 215074"/>
                    <a:gd name="connsiteX1" fmla="*/ 284036 w 284035"/>
                    <a:gd name="connsiteY1" fmla="*/ 215075 h 215074"/>
                    <a:gd name="connsiteX2" fmla="*/ 0 w 284035"/>
                    <a:gd name="connsiteY2" fmla="*/ 215075 h 215074"/>
                    <a:gd name="connsiteX3" fmla="*/ 32956 w 284035"/>
                    <a:gd name="connsiteY3" fmla="*/ 4477 h 215074"/>
                    <a:gd name="connsiteX4" fmla="*/ 178594 w 284035"/>
                    <a:gd name="connsiteY4" fmla="*/ 0 h 2150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84035" h="215074">
                      <a:moveTo>
                        <a:pt x="178498" y="0"/>
                      </a:moveTo>
                      <a:cubicBezTo>
                        <a:pt x="199549" y="148685"/>
                        <a:pt x="284036" y="176022"/>
                        <a:pt x="284036" y="215075"/>
                      </a:cubicBezTo>
                      <a:lnTo>
                        <a:pt x="0" y="215075"/>
                      </a:lnTo>
                      <a:cubicBezTo>
                        <a:pt x="0" y="139637"/>
                        <a:pt x="37529" y="86963"/>
                        <a:pt x="32956" y="4477"/>
                      </a:cubicBezTo>
                      <a:lnTo>
                        <a:pt x="178594" y="0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46" name="Freihandform: Form 645">
                  <a:extLst>
                    <a:ext uri="{FF2B5EF4-FFF2-40B4-BE49-F238E27FC236}">
                      <a16:creationId xmlns:a16="http://schemas.microsoft.com/office/drawing/2014/main" id="{EA02B86D-E87F-4003-A6F0-AE9318C5B160}"/>
                    </a:ext>
                  </a:extLst>
                </p:cNvPr>
                <p:cNvSpPr/>
                <p:nvPr/>
              </p:nvSpPr>
              <p:spPr>
                <a:xfrm>
                  <a:off x="9312909" y="12667932"/>
                  <a:ext cx="343280" cy="92916"/>
                </a:xfrm>
                <a:custGeom>
                  <a:avLst/>
                  <a:gdLst>
                    <a:gd name="connsiteX0" fmla="*/ 20955 w 343280"/>
                    <a:gd name="connsiteY0" fmla="*/ 89821 h 92916"/>
                    <a:gd name="connsiteX1" fmla="*/ 322135 w 343280"/>
                    <a:gd name="connsiteY1" fmla="*/ 89631 h 92916"/>
                    <a:gd name="connsiteX2" fmla="*/ 343281 w 343280"/>
                    <a:gd name="connsiteY2" fmla="*/ 60960 h 92916"/>
                    <a:gd name="connsiteX3" fmla="*/ 343281 w 343280"/>
                    <a:gd name="connsiteY3" fmla="*/ 0 h 92916"/>
                    <a:gd name="connsiteX4" fmla="*/ 0 w 343280"/>
                    <a:gd name="connsiteY4" fmla="*/ 0 h 92916"/>
                    <a:gd name="connsiteX5" fmla="*/ 0 w 343280"/>
                    <a:gd name="connsiteY5" fmla="*/ 61150 h 92916"/>
                    <a:gd name="connsiteX6" fmla="*/ 20955 w 343280"/>
                    <a:gd name="connsiteY6" fmla="*/ 89821 h 929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43280" h="92916">
                      <a:moveTo>
                        <a:pt x="20955" y="89821"/>
                      </a:moveTo>
                      <a:cubicBezTo>
                        <a:pt x="138969" y="93345"/>
                        <a:pt x="221932" y="94583"/>
                        <a:pt x="322135" y="89631"/>
                      </a:cubicBezTo>
                      <a:cubicBezTo>
                        <a:pt x="334327" y="89059"/>
                        <a:pt x="343281" y="75533"/>
                        <a:pt x="343281" y="60960"/>
                      </a:cubicBezTo>
                      <a:lnTo>
                        <a:pt x="343281" y="0"/>
                      </a:lnTo>
                      <a:cubicBezTo>
                        <a:pt x="343281" y="0"/>
                        <a:pt x="0" y="0"/>
                        <a:pt x="0" y="0"/>
                      </a:cubicBezTo>
                      <a:lnTo>
                        <a:pt x="0" y="61150"/>
                      </a:lnTo>
                      <a:cubicBezTo>
                        <a:pt x="0" y="75629"/>
                        <a:pt x="8858" y="89440"/>
                        <a:pt x="20955" y="89821"/>
                      </a:cubicBezTo>
                      <a:close/>
                    </a:path>
                  </a:pathLst>
                </a:custGeom>
                <a:solidFill>
                  <a:srgbClr val="40404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47" name="Freihandform: Form 646">
                  <a:extLst>
                    <a:ext uri="{FF2B5EF4-FFF2-40B4-BE49-F238E27FC236}">
                      <a16:creationId xmlns:a16="http://schemas.microsoft.com/office/drawing/2014/main" id="{6A135684-A2F8-290C-2419-E026430DCF38}"/>
                    </a:ext>
                  </a:extLst>
                </p:cNvPr>
                <p:cNvSpPr/>
                <p:nvPr/>
              </p:nvSpPr>
              <p:spPr>
                <a:xfrm>
                  <a:off x="9312909" y="12514864"/>
                  <a:ext cx="343280" cy="181734"/>
                </a:xfrm>
                <a:custGeom>
                  <a:avLst/>
                  <a:gdLst>
                    <a:gd name="connsiteX0" fmla="*/ 0 w 343280"/>
                    <a:gd name="connsiteY0" fmla="*/ 153163 h 181734"/>
                    <a:gd name="connsiteX1" fmla="*/ 49053 w 343280"/>
                    <a:gd name="connsiteY1" fmla="*/ 23147 h 181734"/>
                    <a:gd name="connsiteX2" fmla="*/ 64008 w 343280"/>
                    <a:gd name="connsiteY2" fmla="*/ 64199 h 181734"/>
                    <a:gd name="connsiteX3" fmla="*/ 244316 w 343280"/>
                    <a:gd name="connsiteY3" fmla="*/ 59628 h 181734"/>
                    <a:gd name="connsiteX4" fmla="*/ 343281 w 343280"/>
                    <a:gd name="connsiteY4" fmla="*/ 153163 h 181734"/>
                    <a:gd name="connsiteX5" fmla="*/ 0 w 343280"/>
                    <a:gd name="connsiteY5" fmla="*/ 153163 h 181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3280" h="181734">
                      <a:moveTo>
                        <a:pt x="0" y="153163"/>
                      </a:moveTo>
                      <a:cubicBezTo>
                        <a:pt x="39433" y="73344"/>
                        <a:pt x="37147" y="10193"/>
                        <a:pt x="49053" y="23147"/>
                      </a:cubicBezTo>
                      <a:cubicBezTo>
                        <a:pt x="42005" y="53055"/>
                        <a:pt x="47625" y="65914"/>
                        <a:pt x="64008" y="64199"/>
                      </a:cubicBezTo>
                      <a:cubicBezTo>
                        <a:pt x="64008" y="64199"/>
                        <a:pt x="175736" y="-77151"/>
                        <a:pt x="244316" y="59628"/>
                      </a:cubicBezTo>
                      <a:cubicBezTo>
                        <a:pt x="285940" y="142591"/>
                        <a:pt x="339185" y="120397"/>
                        <a:pt x="343281" y="153163"/>
                      </a:cubicBezTo>
                      <a:cubicBezTo>
                        <a:pt x="326803" y="185738"/>
                        <a:pt x="19335" y="196406"/>
                        <a:pt x="0" y="15316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48" name="Freihandform: Form 647">
                  <a:extLst>
                    <a:ext uri="{FF2B5EF4-FFF2-40B4-BE49-F238E27FC236}">
                      <a16:creationId xmlns:a16="http://schemas.microsoft.com/office/drawing/2014/main" id="{8EDA3893-479B-B04B-B708-2D008EBF6FDB}"/>
                    </a:ext>
                  </a:extLst>
                </p:cNvPr>
                <p:cNvSpPr/>
                <p:nvPr/>
              </p:nvSpPr>
              <p:spPr>
                <a:xfrm>
                  <a:off x="8692641" y="9292748"/>
                  <a:ext cx="1197659" cy="1963864"/>
                </a:xfrm>
                <a:custGeom>
                  <a:avLst/>
                  <a:gdLst>
                    <a:gd name="connsiteX0" fmla="*/ 1130998 w 1197659"/>
                    <a:gd name="connsiteY0" fmla="*/ 302133 h 1963864"/>
                    <a:gd name="connsiteX1" fmla="*/ 919353 w 1197659"/>
                    <a:gd name="connsiteY1" fmla="*/ 1429 h 1963864"/>
                    <a:gd name="connsiteX2" fmla="*/ 598075 w 1197659"/>
                    <a:gd name="connsiteY2" fmla="*/ 0 h 1963864"/>
                    <a:gd name="connsiteX3" fmla="*/ 598075 w 1197659"/>
                    <a:gd name="connsiteY3" fmla="*/ 0 h 1963864"/>
                    <a:gd name="connsiteX4" fmla="*/ 594646 w 1197659"/>
                    <a:gd name="connsiteY4" fmla="*/ 0 h 1963864"/>
                    <a:gd name="connsiteX5" fmla="*/ 591216 w 1197659"/>
                    <a:gd name="connsiteY5" fmla="*/ 0 h 1963864"/>
                    <a:gd name="connsiteX6" fmla="*/ 591216 w 1197659"/>
                    <a:gd name="connsiteY6" fmla="*/ 0 h 1963864"/>
                    <a:gd name="connsiteX7" fmla="*/ 269938 w 1197659"/>
                    <a:gd name="connsiteY7" fmla="*/ 1429 h 1963864"/>
                    <a:gd name="connsiteX8" fmla="*/ 65531 w 1197659"/>
                    <a:gd name="connsiteY8" fmla="*/ 316421 h 1963864"/>
                    <a:gd name="connsiteX9" fmla="*/ 0 w 1197659"/>
                    <a:gd name="connsiteY9" fmla="*/ 635127 h 1963864"/>
                    <a:gd name="connsiteX10" fmla="*/ 24384 w 1197659"/>
                    <a:gd name="connsiteY10" fmla="*/ 1062895 h 1963864"/>
                    <a:gd name="connsiteX11" fmla="*/ 117634 w 1197659"/>
                    <a:gd name="connsiteY11" fmla="*/ 1567434 h 1963864"/>
                    <a:gd name="connsiteX12" fmla="*/ 209264 w 1197659"/>
                    <a:gd name="connsiteY12" fmla="*/ 1963865 h 1963864"/>
                    <a:gd name="connsiteX13" fmla="*/ 978217 w 1197659"/>
                    <a:gd name="connsiteY13" fmla="*/ 1963865 h 1963864"/>
                    <a:gd name="connsiteX14" fmla="*/ 1069848 w 1197659"/>
                    <a:gd name="connsiteY14" fmla="*/ 1567434 h 1963864"/>
                    <a:gd name="connsiteX15" fmla="*/ 1163098 w 1197659"/>
                    <a:gd name="connsiteY15" fmla="*/ 1062895 h 1963864"/>
                    <a:gd name="connsiteX16" fmla="*/ 1131189 w 1197659"/>
                    <a:gd name="connsiteY16" fmla="*/ 302133 h 1963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197659" h="1963864">
                      <a:moveTo>
                        <a:pt x="1130998" y="302133"/>
                      </a:moveTo>
                      <a:cubicBezTo>
                        <a:pt x="1066895" y="164021"/>
                        <a:pt x="919353" y="1429"/>
                        <a:pt x="919353" y="1429"/>
                      </a:cubicBezTo>
                      <a:lnTo>
                        <a:pt x="598075" y="0"/>
                      </a:lnTo>
                      <a:lnTo>
                        <a:pt x="598075" y="0"/>
                      </a:lnTo>
                      <a:cubicBezTo>
                        <a:pt x="598075" y="0"/>
                        <a:pt x="594646" y="0"/>
                        <a:pt x="594646" y="0"/>
                      </a:cubicBezTo>
                      <a:lnTo>
                        <a:pt x="591216" y="0"/>
                      </a:lnTo>
                      <a:cubicBezTo>
                        <a:pt x="591216" y="0"/>
                        <a:pt x="591216" y="0"/>
                        <a:pt x="591216" y="0"/>
                      </a:cubicBezTo>
                      <a:lnTo>
                        <a:pt x="269938" y="1429"/>
                      </a:lnTo>
                      <a:cubicBezTo>
                        <a:pt x="269938" y="1429"/>
                        <a:pt x="120205" y="174308"/>
                        <a:pt x="65531" y="316421"/>
                      </a:cubicBezTo>
                      <a:cubicBezTo>
                        <a:pt x="10953" y="458534"/>
                        <a:pt x="0" y="635127"/>
                        <a:pt x="0" y="635127"/>
                      </a:cubicBezTo>
                      <a:cubicBezTo>
                        <a:pt x="0" y="635127"/>
                        <a:pt x="6477" y="908114"/>
                        <a:pt x="24384" y="1062895"/>
                      </a:cubicBezTo>
                      <a:cubicBezTo>
                        <a:pt x="42196" y="1217676"/>
                        <a:pt x="82677" y="1449991"/>
                        <a:pt x="117634" y="1567434"/>
                      </a:cubicBezTo>
                      <a:cubicBezTo>
                        <a:pt x="152590" y="1684877"/>
                        <a:pt x="209264" y="1963865"/>
                        <a:pt x="209264" y="1963865"/>
                      </a:cubicBezTo>
                      <a:lnTo>
                        <a:pt x="978217" y="1963865"/>
                      </a:lnTo>
                      <a:cubicBezTo>
                        <a:pt x="978217" y="1963865"/>
                        <a:pt x="1034891" y="1684973"/>
                        <a:pt x="1069848" y="1567434"/>
                      </a:cubicBezTo>
                      <a:cubicBezTo>
                        <a:pt x="1104805" y="1449991"/>
                        <a:pt x="1134999" y="1216152"/>
                        <a:pt x="1163098" y="1062895"/>
                      </a:cubicBezTo>
                      <a:cubicBezTo>
                        <a:pt x="1214818" y="780859"/>
                        <a:pt x="1211866" y="476059"/>
                        <a:pt x="1131189" y="302133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49" name="Freihandform: Form 648">
                  <a:extLst>
                    <a:ext uri="{FF2B5EF4-FFF2-40B4-BE49-F238E27FC236}">
                      <a16:creationId xmlns:a16="http://schemas.microsoft.com/office/drawing/2014/main" id="{A8760A4B-376F-927D-6E00-AD5093173F1A}"/>
                    </a:ext>
                  </a:extLst>
                </p:cNvPr>
                <p:cNvSpPr/>
                <p:nvPr/>
              </p:nvSpPr>
              <p:spPr>
                <a:xfrm>
                  <a:off x="8910483" y="7388618"/>
                  <a:ext cx="817969" cy="1046717"/>
                </a:xfrm>
                <a:custGeom>
                  <a:avLst/>
                  <a:gdLst>
                    <a:gd name="connsiteX0" fmla="*/ 720465 w 817969"/>
                    <a:gd name="connsiteY0" fmla="*/ 892765 h 1046717"/>
                    <a:gd name="connsiteX1" fmla="*/ 679603 w 817969"/>
                    <a:gd name="connsiteY1" fmla="*/ 349364 h 1046717"/>
                    <a:gd name="connsiteX2" fmla="*/ 351467 w 817969"/>
                    <a:gd name="connsiteY2" fmla="*/ 1321 h 1046717"/>
                    <a:gd name="connsiteX3" fmla="*/ 212974 w 817969"/>
                    <a:gd name="connsiteY3" fmla="*/ 66472 h 1046717"/>
                    <a:gd name="connsiteX4" fmla="*/ 25522 w 817969"/>
                    <a:gd name="connsiteY4" fmla="*/ 310312 h 1046717"/>
                    <a:gd name="connsiteX5" fmla="*/ 68956 w 817969"/>
                    <a:gd name="connsiteY5" fmla="*/ 866857 h 1046717"/>
                    <a:gd name="connsiteX6" fmla="*/ 720465 w 817969"/>
                    <a:gd name="connsiteY6" fmla="*/ 892765 h 1046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7969" h="1046717">
                      <a:moveTo>
                        <a:pt x="720465" y="892765"/>
                      </a:moveTo>
                      <a:cubicBezTo>
                        <a:pt x="720465" y="892765"/>
                        <a:pt x="964972" y="672262"/>
                        <a:pt x="679603" y="349364"/>
                      </a:cubicBezTo>
                      <a:cubicBezTo>
                        <a:pt x="593307" y="251733"/>
                        <a:pt x="546444" y="-21254"/>
                        <a:pt x="351467" y="1321"/>
                      </a:cubicBezTo>
                      <a:cubicBezTo>
                        <a:pt x="299555" y="8560"/>
                        <a:pt x="250502" y="23038"/>
                        <a:pt x="212974" y="66472"/>
                      </a:cubicBezTo>
                      <a:cubicBezTo>
                        <a:pt x="212974" y="66472"/>
                        <a:pt x="81243" y="74568"/>
                        <a:pt x="25522" y="310312"/>
                      </a:cubicBezTo>
                      <a:cubicBezTo>
                        <a:pt x="-22008" y="511480"/>
                        <a:pt x="-672" y="769036"/>
                        <a:pt x="68956" y="866857"/>
                      </a:cubicBezTo>
                      <a:cubicBezTo>
                        <a:pt x="228975" y="1099363"/>
                        <a:pt x="446907" y="1104792"/>
                        <a:pt x="720465" y="89276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50" name="Freihandform: Form 649">
                  <a:extLst>
                    <a:ext uri="{FF2B5EF4-FFF2-40B4-BE49-F238E27FC236}">
                      <a16:creationId xmlns:a16="http://schemas.microsoft.com/office/drawing/2014/main" id="{5AB42C3A-6752-79C6-89E0-17E7B40DA8EC}"/>
                    </a:ext>
                  </a:extLst>
                </p:cNvPr>
                <p:cNvSpPr/>
                <p:nvPr/>
              </p:nvSpPr>
              <p:spPr>
                <a:xfrm>
                  <a:off x="9143174" y="7890573"/>
                  <a:ext cx="298227" cy="463654"/>
                </a:xfrm>
                <a:custGeom>
                  <a:avLst/>
                  <a:gdLst>
                    <a:gd name="connsiteX0" fmla="*/ 0 w 298227"/>
                    <a:gd name="connsiteY0" fmla="*/ 385001 h 463654"/>
                    <a:gd name="connsiteX1" fmla="*/ 298228 w 298227"/>
                    <a:gd name="connsiteY1" fmla="*/ 385001 h 463654"/>
                    <a:gd name="connsiteX2" fmla="*/ 298228 w 298227"/>
                    <a:gd name="connsiteY2" fmla="*/ 0 h 463654"/>
                    <a:gd name="connsiteX3" fmla="*/ 0 w 298227"/>
                    <a:gd name="connsiteY3" fmla="*/ 0 h 463654"/>
                    <a:gd name="connsiteX4" fmla="*/ 0 w 298227"/>
                    <a:gd name="connsiteY4" fmla="*/ 385001 h 4636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8227" h="463654">
                      <a:moveTo>
                        <a:pt x="0" y="385001"/>
                      </a:moveTo>
                      <a:cubicBezTo>
                        <a:pt x="51816" y="489109"/>
                        <a:pt x="237172" y="490633"/>
                        <a:pt x="298228" y="385001"/>
                      </a:cubicBezTo>
                      <a:lnTo>
                        <a:pt x="298228" y="0"/>
                      </a:lnTo>
                      <a:lnTo>
                        <a:pt x="0" y="0"/>
                      </a:lnTo>
                      <a:cubicBezTo>
                        <a:pt x="0" y="0"/>
                        <a:pt x="0" y="385001"/>
                        <a:pt x="0" y="385001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51" name="Freihandform: Form 650">
                  <a:extLst>
                    <a:ext uri="{FF2B5EF4-FFF2-40B4-BE49-F238E27FC236}">
                      <a16:creationId xmlns:a16="http://schemas.microsoft.com/office/drawing/2014/main" id="{83A67AF4-1082-9FD6-B6D3-EC38855A2A28}"/>
                    </a:ext>
                  </a:extLst>
                </p:cNvPr>
                <p:cNvSpPr/>
                <p:nvPr/>
              </p:nvSpPr>
              <p:spPr>
                <a:xfrm>
                  <a:off x="9054877" y="7945437"/>
                  <a:ext cx="361378" cy="476350"/>
                </a:xfrm>
                <a:custGeom>
                  <a:avLst/>
                  <a:gdLst>
                    <a:gd name="connsiteX0" fmla="*/ 361379 w 361378"/>
                    <a:gd name="connsiteY0" fmla="*/ 0 h 476350"/>
                    <a:gd name="connsiteX1" fmla="*/ 347186 w 361378"/>
                    <a:gd name="connsiteY1" fmla="*/ 72295 h 476350"/>
                    <a:gd name="connsiteX2" fmla="*/ 224790 w 361378"/>
                    <a:gd name="connsiteY2" fmla="*/ 204121 h 476350"/>
                    <a:gd name="connsiteX3" fmla="*/ 143542 w 361378"/>
                    <a:gd name="connsiteY3" fmla="*/ 260890 h 476350"/>
                    <a:gd name="connsiteX4" fmla="*/ 220313 w 361378"/>
                    <a:gd name="connsiteY4" fmla="*/ 473012 h 476350"/>
                    <a:gd name="connsiteX5" fmla="*/ 0 w 361378"/>
                    <a:gd name="connsiteY5" fmla="*/ 278987 h 476350"/>
                    <a:gd name="connsiteX6" fmla="*/ 88106 w 361378"/>
                    <a:gd name="connsiteY6" fmla="*/ 244888 h 476350"/>
                    <a:gd name="connsiteX7" fmla="*/ 88106 w 361378"/>
                    <a:gd name="connsiteY7" fmla="*/ 0 h 476350"/>
                    <a:gd name="connsiteX8" fmla="*/ 361379 w 361378"/>
                    <a:gd name="connsiteY8" fmla="*/ 0 h 476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61378" h="476350">
                      <a:moveTo>
                        <a:pt x="361379" y="0"/>
                      </a:moveTo>
                      <a:lnTo>
                        <a:pt x="347186" y="72295"/>
                      </a:lnTo>
                      <a:cubicBezTo>
                        <a:pt x="347186" y="72295"/>
                        <a:pt x="321945" y="199168"/>
                        <a:pt x="224790" y="204121"/>
                      </a:cubicBezTo>
                      <a:cubicBezTo>
                        <a:pt x="166688" y="207073"/>
                        <a:pt x="143827" y="229362"/>
                        <a:pt x="143542" y="260890"/>
                      </a:cubicBezTo>
                      <a:cubicBezTo>
                        <a:pt x="142590" y="384810"/>
                        <a:pt x="240030" y="440627"/>
                        <a:pt x="220313" y="473012"/>
                      </a:cubicBezTo>
                      <a:cubicBezTo>
                        <a:pt x="147733" y="501110"/>
                        <a:pt x="34100" y="344519"/>
                        <a:pt x="0" y="278987"/>
                      </a:cubicBezTo>
                      <a:lnTo>
                        <a:pt x="88106" y="244888"/>
                      </a:lnTo>
                      <a:lnTo>
                        <a:pt x="88106" y="0"/>
                      </a:lnTo>
                      <a:lnTo>
                        <a:pt x="361379" y="0"/>
                      </a:lnTo>
                      <a:close/>
                    </a:path>
                  </a:pathLst>
                </a:custGeom>
                <a:solidFill>
                  <a:srgbClr val="4B2E1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52" name="Freihandform: Form 651">
                  <a:extLst>
                    <a:ext uri="{FF2B5EF4-FFF2-40B4-BE49-F238E27FC236}">
                      <a16:creationId xmlns:a16="http://schemas.microsoft.com/office/drawing/2014/main" id="{6586A781-4009-FB99-666C-6ED40CAC754F}"/>
                    </a:ext>
                  </a:extLst>
                </p:cNvPr>
                <p:cNvSpPr/>
                <p:nvPr/>
              </p:nvSpPr>
              <p:spPr>
                <a:xfrm>
                  <a:off x="9092333" y="7562696"/>
                  <a:ext cx="400153" cy="557524"/>
                </a:xfrm>
                <a:custGeom>
                  <a:avLst/>
                  <a:gdLst>
                    <a:gd name="connsiteX0" fmla="*/ 398979 w 400153"/>
                    <a:gd name="connsiteY0" fmla="*/ 188336 h 557524"/>
                    <a:gd name="connsiteX1" fmla="*/ 346687 w 400153"/>
                    <a:gd name="connsiteY1" fmla="*/ 49080 h 557524"/>
                    <a:gd name="connsiteX2" fmla="*/ 200097 w 400153"/>
                    <a:gd name="connsiteY2" fmla="*/ 26 h 557524"/>
                    <a:gd name="connsiteX3" fmla="*/ 53507 w 400153"/>
                    <a:gd name="connsiteY3" fmla="*/ 49080 h 557524"/>
                    <a:gd name="connsiteX4" fmla="*/ 1215 w 400153"/>
                    <a:gd name="connsiteY4" fmla="*/ 188336 h 557524"/>
                    <a:gd name="connsiteX5" fmla="*/ 2073 w 400153"/>
                    <a:gd name="connsiteY5" fmla="*/ 321400 h 557524"/>
                    <a:gd name="connsiteX6" fmla="*/ 61604 w 400153"/>
                    <a:gd name="connsiteY6" fmla="*/ 469704 h 557524"/>
                    <a:gd name="connsiteX7" fmla="*/ 200097 w 400153"/>
                    <a:gd name="connsiteY7" fmla="*/ 557525 h 557524"/>
                    <a:gd name="connsiteX8" fmla="*/ 338591 w 400153"/>
                    <a:gd name="connsiteY8" fmla="*/ 469704 h 557524"/>
                    <a:gd name="connsiteX9" fmla="*/ 398122 w 400153"/>
                    <a:gd name="connsiteY9" fmla="*/ 321400 h 557524"/>
                    <a:gd name="connsiteX10" fmla="*/ 398979 w 400153"/>
                    <a:gd name="connsiteY10" fmla="*/ 188336 h 5575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00153" h="557524">
                      <a:moveTo>
                        <a:pt x="398979" y="188336"/>
                      </a:moveTo>
                      <a:cubicBezTo>
                        <a:pt x="398979" y="188336"/>
                        <a:pt x="394217" y="105278"/>
                        <a:pt x="346687" y="49080"/>
                      </a:cubicBezTo>
                      <a:cubicBezTo>
                        <a:pt x="307540" y="2789"/>
                        <a:pt x="227148" y="-355"/>
                        <a:pt x="200097" y="26"/>
                      </a:cubicBezTo>
                      <a:cubicBezTo>
                        <a:pt x="173046" y="-355"/>
                        <a:pt x="92655" y="2789"/>
                        <a:pt x="53507" y="49080"/>
                      </a:cubicBezTo>
                      <a:cubicBezTo>
                        <a:pt x="5978" y="105278"/>
                        <a:pt x="1215" y="188336"/>
                        <a:pt x="1215" y="188336"/>
                      </a:cubicBezTo>
                      <a:cubicBezTo>
                        <a:pt x="1215" y="188336"/>
                        <a:pt x="-2023" y="284252"/>
                        <a:pt x="2073" y="321400"/>
                      </a:cubicBezTo>
                      <a:cubicBezTo>
                        <a:pt x="6073" y="358452"/>
                        <a:pt x="1882" y="409316"/>
                        <a:pt x="61604" y="469704"/>
                      </a:cubicBezTo>
                      <a:cubicBezTo>
                        <a:pt x="119802" y="528664"/>
                        <a:pt x="159711" y="556191"/>
                        <a:pt x="200097" y="557525"/>
                      </a:cubicBezTo>
                      <a:cubicBezTo>
                        <a:pt x="240483" y="556191"/>
                        <a:pt x="280393" y="528664"/>
                        <a:pt x="338591" y="469704"/>
                      </a:cubicBezTo>
                      <a:cubicBezTo>
                        <a:pt x="398217" y="409316"/>
                        <a:pt x="394026" y="358452"/>
                        <a:pt x="398122" y="321400"/>
                      </a:cubicBezTo>
                      <a:cubicBezTo>
                        <a:pt x="402123" y="284348"/>
                        <a:pt x="398979" y="188336"/>
                        <a:pt x="398979" y="18833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53" name="Freihandform: Form 652">
                  <a:extLst>
                    <a:ext uri="{FF2B5EF4-FFF2-40B4-BE49-F238E27FC236}">
                      <a16:creationId xmlns:a16="http://schemas.microsoft.com/office/drawing/2014/main" id="{E4B75342-3F02-7376-D294-4650625918F9}"/>
                    </a:ext>
                  </a:extLst>
                </p:cNvPr>
                <p:cNvSpPr/>
                <p:nvPr/>
              </p:nvSpPr>
              <p:spPr>
                <a:xfrm rot="18018600">
                  <a:off x="9397508" y="7761554"/>
                  <a:ext cx="196214" cy="136778"/>
                </a:xfrm>
                <a:custGeom>
                  <a:avLst/>
                  <a:gdLst>
                    <a:gd name="connsiteX0" fmla="*/ 196215 w 196214"/>
                    <a:gd name="connsiteY0" fmla="*/ 68389 h 136778"/>
                    <a:gd name="connsiteX1" fmla="*/ 98107 w 196214"/>
                    <a:gd name="connsiteY1" fmla="*/ 136779 h 136778"/>
                    <a:gd name="connsiteX2" fmla="*/ 0 w 196214"/>
                    <a:gd name="connsiteY2" fmla="*/ 68389 h 136778"/>
                    <a:gd name="connsiteX3" fmla="*/ 98107 w 196214"/>
                    <a:gd name="connsiteY3" fmla="*/ 0 h 136778"/>
                    <a:gd name="connsiteX4" fmla="*/ 196215 w 196214"/>
                    <a:gd name="connsiteY4" fmla="*/ 68389 h 136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6214" h="136778">
                      <a:moveTo>
                        <a:pt x="196215" y="68389"/>
                      </a:moveTo>
                      <a:cubicBezTo>
                        <a:pt x="196215" y="106160"/>
                        <a:pt x="152291" y="136779"/>
                        <a:pt x="98107" y="136779"/>
                      </a:cubicBezTo>
                      <a:cubicBezTo>
                        <a:pt x="43924" y="136779"/>
                        <a:pt x="0" y="106160"/>
                        <a:pt x="0" y="68389"/>
                      </a:cubicBezTo>
                      <a:cubicBezTo>
                        <a:pt x="0" y="30619"/>
                        <a:pt x="43924" y="0"/>
                        <a:pt x="98107" y="0"/>
                      </a:cubicBezTo>
                      <a:cubicBezTo>
                        <a:pt x="152291" y="0"/>
                        <a:pt x="196215" y="30619"/>
                        <a:pt x="196215" y="68389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54" name="Freihandform: Form 653">
                  <a:extLst>
                    <a:ext uri="{FF2B5EF4-FFF2-40B4-BE49-F238E27FC236}">
                      <a16:creationId xmlns:a16="http://schemas.microsoft.com/office/drawing/2014/main" id="{886EC52A-DD01-3A3E-C581-7ADC8B45BFE2}"/>
                    </a:ext>
                  </a:extLst>
                </p:cNvPr>
                <p:cNvSpPr/>
                <p:nvPr/>
              </p:nvSpPr>
              <p:spPr>
                <a:xfrm rot="20184000">
                  <a:off x="9013384" y="7733298"/>
                  <a:ext cx="138112" cy="194310"/>
                </a:xfrm>
                <a:custGeom>
                  <a:avLst/>
                  <a:gdLst>
                    <a:gd name="connsiteX0" fmla="*/ 138113 w 138112"/>
                    <a:gd name="connsiteY0" fmla="*/ 97155 h 194310"/>
                    <a:gd name="connsiteX1" fmla="*/ 69056 w 138112"/>
                    <a:gd name="connsiteY1" fmla="*/ 194310 h 194310"/>
                    <a:gd name="connsiteX2" fmla="*/ 0 w 138112"/>
                    <a:gd name="connsiteY2" fmla="*/ 97155 h 194310"/>
                    <a:gd name="connsiteX3" fmla="*/ 69056 w 138112"/>
                    <a:gd name="connsiteY3" fmla="*/ 0 h 194310"/>
                    <a:gd name="connsiteX4" fmla="*/ 138113 w 138112"/>
                    <a:gd name="connsiteY4" fmla="*/ 97155 h 1943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8112" h="194310">
                      <a:moveTo>
                        <a:pt x="138113" y="97155"/>
                      </a:moveTo>
                      <a:cubicBezTo>
                        <a:pt x="138113" y="150812"/>
                        <a:pt x="107195" y="194310"/>
                        <a:pt x="69056" y="194310"/>
                      </a:cubicBezTo>
                      <a:cubicBezTo>
                        <a:pt x="30917" y="194310"/>
                        <a:pt x="0" y="150812"/>
                        <a:pt x="0" y="97155"/>
                      </a:cubicBezTo>
                      <a:cubicBezTo>
                        <a:pt x="0" y="43498"/>
                        <a:pt x="30917" y="0"/>
                        <a:pt x="69056" y="0"/>
                      </a:cubicBezTo>
                      <a:cubicBezTo>
                        <a:pt x="107195" y="0"/>
                        <a:pt x="138113" y="43498"/>
                        <a:pt x="138113" y="97155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55" name="Freihandform: Form 654">
                  <a:extLst>
                    <a:ext uri="{FF2B5EF4-FFF2-40B4-BE49-F238E27FC236}">
                      <a16:creationId xmlns:a16="http://schemas.microsoft.com/office/drawing/2014/main" id="{3FDE724A-0EA3-6079-8F4C-21BFECF71760}"/>
                    </a:ext>
                  </a:extLst>
                </p:cNvPr>
                <p:cNvSpPr/>
                <p:nvPr/>
              </p:nvSpPr>
              <p:spPr>
                <a:xfrm>
                  <a:off x="9023349" y="7397083"/>
                  <a:ext cx="538162" cy="562546"/>
                </a:xfrm>
                <a:custGeom>
                  <a:avLst/>
                  <a:gdLst>
                    <a:gd name="connsiteX0" fmla="*/ 538163 w 538162"/>
                    <a:gd name="connsiteY0" fmla="*/ 281273 h 562546"/>
                    <a:gd name="connsiteX1" fmla="*/ 269081 w 538162"/>
                    <a:gd name="connsiteY1" fmla="*/ 562547 h 562546"/>
                    <a:gd name="connsiteX2" fmla="*/ 0 w 538162"/>
                    <a:gd name="connsiteY2" fmla="*/ 281273 h 562546"/>
                    <a:gd name="connsiteX3" fmla="*/ 269081 w 538162"/>
                    <a:gd name="connsiteY3" fmla="*/ 0 h 562546"/>
                    <a:gd name="connsiteX4" fmla="*/ 538163 w 538162"/>
                    <a:gd name="connsiteY4" fmla="*/ 281273 h 562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8162" h="562546">
                      <a:moveTo>
                        <a:pt x="538163" y="281273"/>
                      </a:moveTo>
                      <a:cubicBezTo>
                        <a:pt x="538163" y="436616"/>
                        <a:pt x="417691" y="562547"/>
                        <a:pt x="269081" y="562547"/>
                      </a:cubicBezTo>
                      <a:cubicBezTo>
                        <a:pt x="120472" y="562547"/>
                        <a:pt x="0" y="436616"/>
                        <a:pt x="0" y="281273"/>
                      </a:cubicBezTo>
                      <a:cubicBezTo>
                        <a:pt x="0" y="125930"/>
                        <a:pt x="120472" y="0"/>
                        <a:pt x="269081" y="0"/>
                      </a:cubicBezTo>
                      <a:cubicBezTo>
                        <a:pt x="417691" y="0"/>
                        <a:pt x="538163" y="125930"/>
                        <a:pt x="538163" y="281273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56" name="Freihandform: Form 655">
                  <a:extLst>
                    <a:ext uri="{FF2B5EF4-FFF2-40B4-BE49-F238E27FC236}">
                      <a16:creationId xmlns:a16="http://schemas.microsoft.com/office/drawing/2014/main" id="{0F8EFF3F-E326-3B3E-9648-44450544FC65}"/>
                    </a:ext>
                  </a:extLst>
                </p:cNvPr>
                <p:cNvSpPr/>
                <p:nvPr/>
              </p:nvSpPr>
              <p:spPr>
                <a:xfrm>
                  <a:off x="9011639" y="7401845"/>
                  <a:ext cx="530631" cy="404621"/>
                </a:xfrm>
                <a:custGeom>
                  <a:avLst/>
                  <a:gdLst>
                    <a:gd name="connsiteX0" fmla="*/ 267647 w 530631"/>
                    <a:gd name="connsiteY0" fmla="*/ 127540 h 404621"/>
                    <a:gd name="connsiteX1" fmla="*/ 491770 w 530631"/>
                    <a:gd name="connsiteY1" fmla="*/ 404622 h 404621"/>
                    <a:gd name="connsiteX2" fmla="*/ 530632 w 530631"/>
                    <a:gd name="connsiteY2" fmla="*/ 281273 h 404621"/>
                    <a:gd name="connsiteX3" fmla="*/ 266408 w 530631"/>
                    <a:gd name="connsiteY3" fmla="*/ 0 h 404621"/>
                    <a:gd name="connsiteX4" fmla="*/ 87814 w 530631"/>
                    <a:gd name="connsiteY4" fmla="*/ 74009 h 404621"/>
                    <a:gd name="connsiteX5" fmla="*/ 54382 w 530631"/>
                    <a:gd name="connsiteY5" fmla="*/ 389858 h 404621"/>
                    <a:gd name="connsiteX6" fmla="*/ 267647 w 530631"/>
                    <a:gd name="connsiteY6" fmla="*/ 127540 h 4046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0631" h="404621">
                      <a:moveTo>
                        <a:pt x="267647" y="127540"/>
                      </a:moveTo>
                      <a:cubicBezTo>
                        <a:pt x="459099" y="139637"/>
                        <a:pt x="435572" y="297085"/>
                        <a:pt x="491770" y="404622"/>
                      </a:cubicBezTo>
                      <a:cubicBezTo>
                        <a:pt x="502343" y="374142"/>
                        <a:pt x="530632" y="315659"/>
                        <a:pt x="530632" y="281273"/>
                      </a:cubicBezTo>
                      <a:cubicBezTo>
                        <a:pt x="530632" y="125920"/>
                        <a:pt x="412331" y="0"/>
                        <a:pt x="266408" y="0"/>
                      </a:cubicBezTo>
                      <a:cubicBezTo>
                        <a:pt x="197543" y="0"/>
                        <a:pt x="134773" y="28004"/>
                        <a:pt x="87814" y="74009"/>
                      </a:cubicBezTo>
                      <a:cubicBezTo>
                        <a:pt x="17520" y="108204"/>
                        <a:pt x="-51250" y="297085"/>
                        <a:pt x="54382" y="389858"/>
                      </a:cubicBezTo>
                      <a:cubicBezTo>
                        <a:pt x="94958" y="311753"/>
                        <a:pt x="95244" y="116681"/>
                        <a:pt x="267647" y="12754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57" name="Freihandform: Form 656">
                  <a:extLst>
                    <a:ext uri="{FF2B5EF4-FFF2-40B4-BE49-F238E27FC236}">
                      <a16:creationId xmlns:a16="http://schemas.microsoft.com/office/drawing/2014/main" id="{49A7C0CE-E22B-52D8-5B9B-B66DC44BF8AB}"/>
                    </a:ext>
                  </a:extLst>
                </p:cNvPr>
                <p:cNvSpPr/>
                <p:nvPr/>
              </p:nvSpPr>
              <p:spPr>
                <a:xfrm>
                  <a:off x="9240995" y="7883810"/>
                  <a:ext cx="78793" cy="32099"/>
                </a:xfrm>
                <a:custGeom>
                  <a:avLst/>
                  <a:gdLst>
                    <a:gd name="connsiteX0" fmla="*/ 1143 w 78793"/>
                    <a:gd name="connsiteY0" fmla="*/ 0 h 32099"/>
                    <a:gd name="connsiteX1" fmla="*/ 35814 w 78793"/>
                    <a:gd name="connsiteY1" fmla="*/ 10573 h 32099"/>
                    <a:gd name="connsiteX2" fmla="*/ 77820 w 78793"/>
                    <a:gd name="connsiteY2" fmla="*/ 0 h 32099"/>
                    <a:gd name="connsiteX3" fmla="*/ 77820 w 78793"/>
                    <a:gd name="connsiteY3" fmla="*/ 9239 h 32099"/>
                    <a:gd name="connsiteX4" fmla="*/ 37148 w 78793"/>
                    <a:gd name="connsiteY4" fmla="*/ 32099 h 32099"/>
                    <a:gd name="connsiteX5" fmla="*/ 1143 w 78793"/>
                    <a:gd name="connsiteY5" fmla="*/ 10192 h 32099"/>
                    <a:gd name="connsiteX6" fmla="*/ 1143 w 78793"/>
                    <a:gd name="connsiteY6" fmla="*/ 95 h 32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8793" h="32099">
                      <a:moveTo>
                        <a:pt x="1143" y="0"/>
                      </a:moveTo>
                      <a:cubicBezTo>
                        <a:pt x="1143" y="0"/>
                        <a:pt x="11049" y="10573"/>
                        <a:pt x="35814" y="10573"/>
                      </a:cubicBezTo>
                      <a:cubicBezTo>
                        <a:pt x="67152" y="10573"/>
                        <a:pt x="77820" y="0"/>
                        <a:pt x="77820" y="0"/>
                      </a:cubicBezTo>
                      <a:cubicBezTo>
                        <a:pt x="77820" y="0"/>
                        <a:pt x="80010" y="3143"/>
                        <a:pt x="77820" y="9239"/>
                      </a:cubicBezTo>
                      <a:cubicBezTo>
                        <a:pt x="76295" y="13525"/>
                        <a:pt x="62675" y="32099"/>
                        <a:pt x="37148" y="32099"/>
                      </a:cubicBezTo>
                      <a:cubicBezTo>
                        <a:pt x="17240" y="32099"/>
                        <a:pt x="3715" y="16383"/>
                        <a:pt x="1143" y="10192"/>
                      </a:cubicBezTo>
                      <a:cubicBezTo>
                        <a:pt x="-1429" y="4000"/>
                        <a:pt x="1143" y="95"/>
                        <a:pt x="1143" y="95"/>
                      </a:cubicBezTo>
                      <a:close/>
                    </a:path>
                  </a:pathLst>
                </a:custGeom>
                <a:solidFill>
                  <a:srgbClr val="4B2E1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58" name="Freihandform: Form 657">
                  <a:extLst>
                    <a:ext uri="{FF2B5EF4-FFF2-40B4-BE49-F238E27FC236}">
                      <a16:creationId xmlns:a16="http://schemas.microsoft.com/office/drawing/2014/main" id="{987E2DA3-276A-C903-D335-DBEDE04AEA31}"/>
                    </a:ext>
                  </a:extLst>
                </p:cNvPr>
                <p:cNvSpPr/>
                <p:nvPr/>
              </p:nvSpPr>
              <p:spPr>
                <a:xfrm>
                  <a:off x="9312056" y="7699025"/>
                  <a:ext cx="140203" cy="47053"/>
                </a:xfrm>
                <a:custGeom>
                  <a:avLst/>
                  <a:gdLst>
                    <a:gd name="connsiteX0" fmla="*/ 109438 w 140203"/>
                    <a:gd name="connsiteY0" fmla="*/ 17716 h 47053"/>
                    <a:gd name="connsiteX1" fmla="*/ 55812 w 140203"/>
                    <a:gd name="connsiteY1" fmla="*/ 762 h 47053"/>
                    <a:gd name="connsiteX2" fmla="*/ 55812 w 140203"/>
                    <a:gd name="connsiteY2" fmla="*/ 762 h 47053"/>
                    <a:gd name="connsiteX3" fmla="*/ 7711 w 140203"/>
                    <a:gd name="connsiteY3" fmla="*/ 6191 h 47053"/>
                    <a:gd name="connsiteX4" fmla="*/ 4282 w 140203"/>
                    <a:gd name="connsiteY4" fmla="*/ 8858 h 47053"/>
                    <a:gd name="connsiteX5" fmla="*/ 13902 w 140203"/>
                    <a:gd name="connsiteY5" fmla="*/ 33242 h 47053"/>
                    <a:gd name="connsiteX6" fmla="*/ 41239 w 140203"/>
                    <a:gd name="connsiteY6" fmla="*/ 30766 h 47053"/>
                    <a:gd name="connsiteX7" fmla="*/ 105533 w 140203"/>
                    <a:gd name="connsiteY7" fmla="*/ 34480 h 47053"/>
                    <a:gd name="connsiteX8" fmla="*/ 140204 w 140203"/>
                    <a:gd name="connsiteY8" fmla="*/ 47053 h 47053"/>
                    <a:gd name="connsiteX9" fmla="*/ 109438 w 140203"/>
                    <a:gd name="connsiteY9" fmla="*/ 17716 h 4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0203" h="47053">
                      <a:moveTo>
                        <a:pt x="109438" y="17716"/>
                      </a:moveTo>
                      <a:cubicBezTo>
                        <a:pt x="90864" y="5905"/>
                        <a:pt x="70671" y="1429"/>
                        <a:pt x="55812" y="762"/>
                      </a:cubicBezTo>
                      <a:lnTo>
                        <a:pt x="55812" y="762"/>
                      </a:lnTo>
                      <a:cubicBezTo>
                        <a:pt x="30285" y="-1810"/>
                        <a:pt x="13236" y="2667"/>
                        <a:pt x="7711" y="6191"/>
                      </a:cubicBezTo>
                      <a:cubicBezTo>
                        <a:pt x="6377" y="7048"/>
                        <a:pt x="5234" y="7906"/>
                        <a:pt x="4282" y="8858"/>
                      </a:cubicBezTo>
                      <a:cubicBezTo>
                        <a:pt x="-4862" y="17526"/>
                        <a:pt x="1710" y="33623"/>
                        <a:pt x="13902" y="33242"/>
                      </a:cubicBezTo>
                      <a:cubicBezTo>
                        <a:pt x="19522" y="33147"/>
                        <a:pt x="33333" y="31528"/>
                        <a:pt x="41239" y="30766"/>
                      </a:cubicBezTo>
                      <a:cubicBezTo>
                        <a:pt x="55050" y="29337"/>
                        <a:pt x="94293" y="31432"/>
                        <a:pt x="105533" y="34480"/>
                      </a:cubicBezTo>
                      <a:cubicBezTo>
                        <a:pt x="127536" y="40481"/>
                        <a:pt x="140204" y="47053"/>
                        <a:pt x="140204" y="47053"/>
                      </a:cubicBezTo>
                      <a:cubicBezTo>
                        <a:pt x="140204" y="47053"/>
                        <a:pt x="134203" y="33528"/>
                        <a:pt x="109438" y="1771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59" name="Freihandform: Form 658">
                  <a:extLst>
                    <a:ext uri="{FF2B5EF4-FFF2-40B4-BE49-F238E27FC236}">
                      <a16:creationId xmlns:a16="http://schemas.microsoft.com/office/drawing/2014/main" id="{A1A271BF-81DA-C015-2BB5-C97C245FB194}"/>
                    </a:ext>
                  </a:extLst>
                </p:cNvPr>
                <p:cNvSpPr/>
                <p:nvPr/>
              </p:nvSpPr>
              <p:spPr>
                <a:xfrm rot="16434000">
                  <a:off x="9156216" y="7772737"/>
                  <a:ext cx="40385" cy="37909"/>
                </a:xfrm>
                <a:custGeom>
                  <a:avLst/>
                  <a:gdLst>
                    <a:gd name="connsiteX0" fmla="*/ 40386 w 40385"/>
                    <a:gd name="connsiteY0" fmla="*/ 18955 h 37909"/>
                    <a:gd name="connsiteX1" fmla="*/ 20193 w 40385"/>
                    <a:gd name="connsiteY1" fmla="*/ 37910 h 37909"/>
                    <a:gd name="connsiteX2" fmla="*/ 0 w 40385"/>
                    <a:gd name="connsiteY2" fmla="*/ 18955 h 37909"/>
                    <a:gd name="connsiteX3" fmla="*/ 20193 w 40385"/>
                    <a:gd name="connsiteY3" fmla="*/ 0 h 37909"/>
                    <a:gd name="connsiteX4" fmla="*/ 40386 w 40385"/>
                    <a:gd name="connsiteY4" fmla="*/ 18955 h 37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385" h="37909">
                      <a:moveTo>
                        <a:pt x="40386" y="18955"/>
                      </a:moveTo>
                      <a:cubicBezTo>
                        <a:pt x="40386" y="29423"/>
                        <a:pt x="31345" y="37910"/>
                        <a:pt x="20193" y="37910"/>
                      </a:cubicBezTo>
                      <a:cubicBezTo>
                        <a:pt x="9041" y="37910"/>
                        <a:pt x="0" y="29423"/>
                        <a:pt x="0" y="18955"/>
                      </a:cubicBezTo>
                      <a:cubicBezTo>
                        <a:pt x="0" y="8486"/>
                        <a:pt x="9041" y="0"/>
                        <a:pt x="20193" y="0"/>
                      </a:cubicBezTo>
                      <a:cubicBezTo>
                        <a:pt x="31345" y="0"/>
                        <a:pt x="40386" y="8486"/>
                        <a:pt x="40386" y="18955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60" name="Freihandform: Form 659">
                  <a:extLst>
                    <a:ext uri="{FF2B5EF4-FFF2-40B4-BE49-F238E27FC236}">
                      <a16:creationId xmlns:a16="http://schemas.microsoft.com/office/drawing/2014/main" id="{5677B595-40E5-025B-4A40-E6DD69D8511D}"/>
                    </a:ext>
                  </a:extLst>
                </p:cNvPr>
                <p:cNvSpPr/>
                <p:nvPr/>
              </p:nvSpPr>
              <p:spPr>
                <a:xfrm>
                  <a:off x="9106502" y="7700645"/>
                  <a:ext cx="140013" cy="47053"/>
                </a:xfrm>
                <a:custGeom>
                  <a:avLst/>
                  <a:gdLst>
                    <a:gd name="connsiteX0" fmla="*/ 30766 w 140013"/>
                    <a:gd name="connsiteY0" fmla="*/ 17716 h 47053"/>
                    <a:gd name="connsiteX1" fmla="*/ 84297 w 140013"/>
                    <a:gd name="connsiteY1" fmla="*/ 762 h 47053"/>
                    <a:gd name="connsiteX2" fmla="*/ 84297 w 140013"/>
                    <a:gd name="connsiteY2" fmla="*/ 762 h 47053"/>
                    <a:gd name="connsiteX3" fmla="*/ 132302 w 140013"/>
                    <a:gd name="connsiteY3" fmla="*/ 6191 h 47053"/>
                    <a:gd name="connsiteX4" fmla="*/ 135731 w 140013"/>
                    <a:gd name="connsiteY4" fmla="*/ 8858 h 47053"/>
                    <a:gd name="connsiteX5" fmla="*/ 126111 w 140013"/>
                    <a:gd name="connsiteY5" fmla="*/ 33242 h 47053"/>
                    <a:gd name="connsiteX6" fmla="*/ 98774 w 140013"/>
                    <a:gd name="connsiteY6" fmla="*/ 30766 h 47053"/>
                    <a:gd name="connsiteX7" fmla="*/ 34576 w 140013"/>
                    <a:gd name="connsiteY7" fmla="*/ 34480 h 47053"/>
                    <a:gd name="connsiteX8" fmla="*/ 0 w 140013"/>
                    <a:gd name="connsiteY8" fmla="*/ 47053 h 47053"/>
                    <a:gd name="connsiteX9" fmla="*/ 30766 w 140013"/>
                    <a:gd name="connsiteY9" fmla="*/ 17716 h 4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0013" h="47053">
                      <a:moveTo>
                        <a:pt x="30766" y="17716"/>
                      </a:moveTo>
                      <a:cubicBezTo>
                        <a:pt x="49339" y="5905"/>
                        <a:pt x="69438" y="1429"/>
                        <a:pt x="84297" y="762"/>
                      </a:cubicBezTo>
                      <a:lnTo>
                        <a:pt x="84297" y="762"/>
                      </a:lnTo>
                      <a:cubicBezTo>
                        <a:pt x="109824" y="-1810"/>
                        <a:pt x="126778" y="2667"/>
                        <a:pt x="132302" y="6191"/>
                      </a:cubicBezTo>
                      <a:cubicBezTo>
                        <a:pt x="133636" y="7048"/>
                        <a:pt x="134684" y="7906"/>
                        <a:pt x="135731" y="8858"/>
                      </a:cubicBezTo>
                      <a:cubicBezTo>
                        <a:pt x="144875" y="17526"/>
                        <a:pt x="138303" y="33623"/>
                        <a:pt x="126111" y="33242"/>
                      </a:cubicBezTo>
                      <a:cubicBezTo>
                        <a:pt x="120491" y="33147"/>
                        <a:pt x="106680" y="31528"/>
                        <a:pt x="98774" y="30766"/>
                      </a:cubicBezTo>
                      <a:cubicBezTo>
                        <a:pt x="84963" y="29337"/>
                        <a:pt x="45815" y="31432"/>
                        <a:pt x="34576" y="34480"/>
                      </a:cubicBezTo>
                      <a:cubicBezTo>
                        <a:pt x="12573" y="40481"/>
                        <a:pt x="0" y="47053"/>
                        <a:pt x="0" y="47053"/>
                      </a:cubicBezTo>
                      <a:cubicBezTo>
                        <a:pt x="0" y="47053"/>
                        <a:pt x="6001" y="33528"/>
                        <a:pt x="30766" y="1771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61" name="Freihandform: Form 660">
                  <a:extLst>
                    <a:ext uri="{FF2B5EF4-FFF2-40B4-BE49-F238E27FC236}">
                      <a16:creationId xmlns:a16="http://schemas.microsoft.com/office/drawing/2014/main" id="{7A41EA48-B10A-7C0F-3276-63AA15E8C25A}"/>
                    </a:ext>
                  </a:extLst>
                </p:cNvPr>
                <p:cNvSpPr/>
                <p:nvPr/>
              </p:nvSpPr>
              <p:spPr>
                <a:xfrm>
                  <a:off x="9123564" y="7762192"/>
                  <a:ext cx="103635" cy="27457"/>
                </a:xfrm>
                <a:custGeom>
                  <a:avLst/>
                  <a:gdLst>
                    <a:gd name="connsiteX0" fmla="*/ 3227 w 103635"/>
                    <a:gd name="connsiteY0" fmla="*/ 17795 h 27457"/>
                    <a:gd name="connsiteX1" fmla="*/ 46185 w 103635"/>
                    <a:gd name="connsiteY1" fmla="*/ 174 h 27457"/>
                    <a:gd name="connsiteX2" fmla="*/ 101239 w 103635"/>
                    <a:gd name="connsiteY2" fmla="*/ 17509 h 27457"/>
                    <a:gd name="connsiteX3" fmla="*/ 97905 w 103635"/>
                    <a:gd name="connsiteY3" fmla="*/ 26939 h 27457"/>
                    <a:gd name="connsiteX4" fmla="*/ 54281 w 103635"/>
                    <a:gd name="connsiteY4" fmla="*/ 11699 h 27457"/>
                    <a:gd name="connsiteX5" fmla="*/ 10847 w 103635"/>
                    <a:gd name="connsiteY5" fmla="*/ 21415 h 27457"/>
                    <a:gd name="connsiteX6" fmla="*/ 1322 w 103635"/>
                    <a:gd name="connsiteY6" fmla="*/ 25606 h 27457"/>
                    <a:gd name="connsiteX7" fmla="*/ 3417 w 103635"/>
                    <a:gd name="connsiteY7" fmla="*/ 17795 h 274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3635" h="27457">
                      <a:moveTo>
                        <a:pt x="3227" y="17795"/>
                      </a:moveTo>
                      <a:cubicBezTo>
                        <a:pt x="7989" y="12938"/>
                        <a:pt x="23896" y="1412"/>
                        <a:pt x="46185" y="174"/>
                      </a:cubicBezTo>
                      <a:cubicBezTo>
                        <a:pt x="76569" y="-1541"/>
                        <a:pt x="94000" y="9794"/>
                        <a:pt x="101239" y="17509"/>
                      </a:cubicBezTo>
                      <a:cubicBezTo>
                        <a:pt x="106478" y="23034"/>
                        <a:pt x="102096" y="29321"/>
                        <a:pt x="97905" y="26939"/>
                      </a:cubicBezTo>
                      <a:cubicBezTo>
                        <a:pt x="86952" y="20748"/>
                        <a:pt x="81046" y="14843"/>
                        <a:pt x="54281" y="11699"/>
                      </a:cubicBezTo>
                      <a:cubicBezTo>
                        <a:pt x="35517" y="9413"/>
                        <a:pt x="17705" y="17605"/>
                        <a:pt x="10847" y="21415"/>
                      </a:cubicBezTo>
                      <a:cubicBezTo>
                        <a:pt x="5608" y="24368"/>
                        <a:pt x="2941" y="26844"/>
                        <a:pt x="1322" y="25606"/>
                      </a:cubicBezTo>
                      <a:cubicBezTo>
                        <a:pt x="-1631" y="23415"/>
                        <a:pt x="941" y="20272"/>
                        <a:pt x="3417" y="17795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62" name="Freihandform: Form 661">
                  <a:extLst>
                    <a:ext uri="{FF2B5EF4-FFF2-40B4-BE49-F238E27FC236}">
                      <a16:creationId xmlns:a16="http://schemas.microsoft.com/office/drawing/2014/main" id="{67BA64AD-0F5A-E1A1-065F-D689276AE7FC}"/>
                    </a:ext>
                  </a:extLst>
                </p:cNvPr>
                <p:cNvSpPr/>
                <p:nvPr/>
              </p:nvSpPr>
              <p:spPr>
                <a:xfrm rot="21366000">
                  <a:off x="9358240" y="7771675"/>
                  <a:ext cx="37909" cy="40385"/>
                </a:xfrm>
                <a:custGeom>
                  <a:avLst/>
                  <a:gdLst>
                    <a:gd name="connsiteX0" fmla="*/ 37910 w 37909"/>
                    <a:gd name="connsiteY0" fmla="*/ 20193 h 40385"/>
                    <a:gd name="connsiteX1" fmla="*/ 18955 w 37909"/>
                    <a:gd name="connsiteY1" fmla="*/ 40386 h 40385"/>
                    <a:gd name="connsiteX2" fmla="*/ 0 w 37909"/>
                    <a:gd name="connsiteY2" fmla="*/ 20193 h 40385"/>
                    <a:gd name="connsiteX3" fmla="*/ 18955 w 37909"/>
                    <a:gd name="connsiteY3" fmla="*/ 0 h 40385"/>
                    <a:gd name="connsiteX4" fmla="*/ 37910 w 37909"/>
                    <a:gd name="connsiteY4" fmla="*/ 20193 h 40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7909" h="40385">
                      <a:moveTo>
                        <a:pt x="37910" y="20193"/>
                      </a:moveTo>
                      <a:cubicBezTo>
                        <a:pt x="37910" y="31345"/>
                        <a:pt x="29424" y="40386"/>
                        <a:pt x="18955" y="40386"/>
                      </a:cubicBezTo>
                      <a:cubicBezTo>
                        <a:pt x="8486" y="40386"/>
                        <a:pt x="0" y="31345"/>
                        <a:pt x="0" y="20193"/>
                      </a:cubicBezTo>
                      <a:cubicBezTo>
                        <a:pt x="0" y="9041"/>
                        <a:pt x="8486" y="0"/>
                        <a:pt x="18955" y="0"/>
                      </a:cubicBezTo>
                      <a:cubicBezTo>
                        <a:pt x="29424" y="0"/>
                        <a:pt x="37910" y="9041"/>
                        <a:pt x="37910" y="20193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63" name="Freihandform: Form 662">
                  <a:extLst>
                    <a:ext uri="{FF2B5EF4-FFF2-40B4-BE49-F238E27FC236}">
                      <a16:creationId xmlns:a16="http://schemas.microsoft.com/office/drawing/2014/main" id="{E2AFC292-D2C0-123E-9FE9-D96D09730778}"/>
                    </a:ext>
                  </a:extLst>
                </p:cNvPr>
                <p:cNvSpPr/>
                <p:nvPr/>
              </p:nvSpPr>
              <p:spPr>
                <a:xfrm>
                  <a:off x="9326515" y="7762192"/>
                  <a:ext cx="103634" cy="27457"/>
                </a:xfrm>
                <a:custGeom>
                  <a:avLst/>
                  <a:gdLst>
                    <a:gd name="connsiteX0" fmla="*/ 100408 w 103634"/>
                    <a:gd name="connsiteY0" fmla="*/ 17795 h 27457"/>
                    <a:gd name="connsiteX1" fmla="*/ 57450 w 103634"/>
                    <a:gd name="connsiteY1" fmla="*/ 174 h 27457"/>
                    <a:gd name="connsiteX2" fmla="*/ 2396 w 103634"/>
                    <a:gd name="connsiteY2" fmla="*/ 17509 h 27457"/>
                    <a:gd name="connsiteX3" fmla="*/ 5730 w 103634"/>
                    <a:gd name="connsiteY3" fmla="*/ 26939 h 27457"/>
                    <a:gd name="connsiteX4" fmla="*/ 49354 w 103634"/>
                    <a:gd name="connsiteY4" fmla="*/ 11699 h 27457"/>
                    <a:gd name="connsiteX5" fmla="*/ 92788 w 103634"/>
                    <a:gd name="connsiteY5" fmla="*/ 21415 h 27457"/>
                    <a:gd name="connsiteX6" fmla="*/ 102313 w 103634"/>
                    <a:gd name="connsiteY6" fmla="*/ 25606 h 27457"/>
                    <a:gd name="connsiteX7" fmla="*/ 100218 w 103634"/>
                    <a:gd name="connsiteY7" fmla="*/ 17795 h 274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3634" h="27457">
                      <a:moveTo>
                        <a:pt x="100408" y="17795"/>
                      </a:moveTo>
                      <a:cubicBezTo>
                        <a:pt x="95646" y="12938"/>
                        <a:pt x="79739" y="1412"/>
                        <a:pt x="57450" y="174"/>
                      </a:cubicBezTo>
                      <a:cubicBezTo>
                        <a:pt x="27066" y="-1541"/>
                        <a:pt x="9635" y="9794"/>
                        <a:pt x="2396" y="17509"/>
                      </a:cubicBezTo>
                      <a:cubicBezTo>
                        <a:pt x="-2842" y="23034"/>
                        <a:pt x="1539" y="29321"/>
                        <a:pt x="5730" y="26939"/>
                      </a:cubicBezTo>
                      <a:cubicBezTo>
                        <a:pt x="16684" y="20748"/>
                        <a:pt x="22589" y="14843"/>
                        <a:pt x="49354" y="11699"/>
                      </a:cubicBezTo>
                      <a:cubicBezTo>
                        <a:pt x="68118" y="9413"/>
                        <a:pt x="85930" y="17605"/>
                        <a:pt x="92788" y="21415"/>
                      </a:cubicBezTo>
                      <a:cubicBezTo>
                        <a:pt x="98027" y="24368"/>
                        <a:pt x="100694" y="26844"/>
                        <a:pt x="102313" y="25606"/>
                      </a:cubicBezTo>
                      <a:cubicBezTo>
                        <a:pt x="105266" y="23415"/>
                        <a:pt x="102694" y="20272"/>
                        <a:pt x="100218" y="17795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64" name="Freihandform: Form 663">
                  <a:extLst>
                    <a:ext uri="{FF2B5EF4-FFF2-40B4-BE49-F238E27FC236}">
                      <a16:creationId xmlns:a16="http://schemas.microsoft.com/office/drawing/2014/main" id="{0F85DC33-9B47-94A1-037D-022019E59B0B}"/>
                    </a:ext>
                  </a:extLst>
                </p:cNvPr>
                <p:cNvSpPr/>
                <p:nvPr/>
              </p:nvSpPr>
              <p:spPr>
                <a:xfrm>
                  <a:off x="9123366" y="7360423"/>
                  <a:ext cx="508630" cy="429280"/>
                </a:xfrm>
                <a:custGeom>
                  <a:avLst/>
                  <a:gdLst>
                    <a:gd name="connsiteX0" fmla="*/ 91 w 508630"/>
                    <a:gd name="connsiteY0" fmla="*/ 94667 h 429280"/>
                    <a:gd name="connsiteX1" fmla="*/ 318131 w 508630"/>
                    <a:gd name="connsiteY1" fmla="*/ 352223 h 429280"/>
                    <a:gd name="connsiteX2" fmla="*/ 508631 w 508630"/>
                    <a:gd name="connsiteY2" fmla="*/ 429281 h 429280"/>
                    <a:gd name="connsiteX3" fmla="*/ 449956 w 508630"/>
                    <a:gd name="connsiteY3" fmla="*/ 231446 h 429280"/>
                    <a:gd name="connsiteX4" fmla="*/ 91 w 508630"/>
                    <a:gd name="connsiteY4" fmla="*/ 94667 h 429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8630" h="429280">
                      <a:moveTo>
                        <a:pt x="91" y="94667"/>
                      </a:moveTo>
                      <a:cubicBezTo>
                        <a:pt x="-4576" y="204586"/>
                        <a:pt x="171731" y="297931"/>
                        <a:pt x="318131" y="352223"/>
                      </a:cubicBezTo>
                      <a:cubicBezTo>
                        <a:pt x="464530" y="406516"/>
                        <a:pt x="508631" y="429281"/>
                        <a:pt x="508631" y="429281"/>
                      </a:cubicBezTo>
                      <a:cubicBezTo>
                        <a:pt x="508631" y="429281"/>
                        <a:pt x="454338" y="371464"/>
                        <a:pt x="449956" y="231446"/>
                      </a:cubicBezTo>
                      <a:cubicBezTo>
                        <a:pt x="445003" y="73236"/>
                        <a:pt x="191067" y="-118597"/>
                        <a:pt x="91" y="94667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665" name="Grafik 23">
                  <a:extLst>
                    <a:ext uri="{FF2B5EF4-FFF2-40B4-BE49-F238E27FC236}">
                      <a16:creationId xmlns:a16="http://schemas.microsoft.com/office/drawing/2014/main" id="{6191D4BB-4063-7BD7-8FD3-D05F2537BA75}"/>
                    </a:ext>
                  </a:extLst>
                </p:cNvPr>
                <p:cNvGrpSpPr/>
                <p:nvPr/>
              </p:nvGrpSpPr>
              <p:grpSpPr>
                <a:xfrm>
                  <a:off x="8395080" y="9884441"/>
                  <a:ext cx="234464" cy="670178"/>
                  <a:chOff x="8395080" y="3305841"/>
                  <a:chExt cx="234464" cy="670178"/>
                </a:xfrm>
                <a:solidFill>
                  <a:srgbClr val="8A5942"/>
                </a:solidFill>
              </p:grpSpPr>
              <p:sp>
                <p:nvSpPr>
                  <p:cNvPr id="693" name="Freihandform: Form 692">
                    <a:extLst>
                      <a:ext uri="{FF2B5EF4-FFF2-40B4-BE49-F238E27FC236}">
                        <a16:creationId xmlns:a16="http://schemas.microsoft.com/office/drawing/2014/main" id="{ED7E745C-4A2E-0892-0D4F-29FC35C42E6E}"/>
                      </a:ext>
                    </a:extLst>
                  </p:cNvPr>
                  <p:cNvSpPr/>
                  <p:nvPr/>
                </p:nvSpPr>
                <p:spPr>
                  <a:xfrm>
                    <a:off x="8433275" y="3305841"/>
                    <a:ext cx="191738" cy="211264"/>
                  </a:xfrm>
                  <a:custGeom>
                    <a:avLst/>
                    <a:gdLst>
                      <a:gd name="connsiteX0" fmla="*/ 95 w 191738"/>
                      <a:gd name="connsiteY0" fmla="*/ 0 h 211264"/>
                      <a:gd name="connsiteX1" fmla="*/ 21431 w 191738"/>
                      <a:gd name="connsiteY1" fmla="*/ 211264 h 211264"/>
                      <a:gd name="connsiteX2" fmla="*/ 156782 w 191738"/>
                      <a:gd name="connsiteY2" fmla="*/ 200406 h 211264"/>
                      <a:gd name="connsiteX3" fmla="*/ 191738 w 191738"/>
                      <a:gd name="connsiteY3" fmla="*/ 10763 h 211264"/>
                      <a:gd name="connsiteX4" fmla="*/ 0 w 191738"/>
                      <a:gd name="connsiteY4" fmla="*/ 0 h 2112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1738" h="211264">
                        <a:moveTo>
                          <a:pt x="95" y="0"/>
                        </a:moveTo>
                        <a:cubicBezTo>
                          <a:pt x="5239" y="79629"/>
                          <a:pt x="13525" y="148495"/>
                          <a:pt x="21431" y="211264"/>
                        </a:cubicBezTo>
                        <a:lnTo>
                          <a:pt x="156782" y="200406"/>
                        </a:lnTo>
                        <a:cubicBezTo>
                          <a:pt x="156782" y="200406"/>
                          <a:pt x="172212" y="119158"/>
                          <a:pt x="191738" y="10763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694" name="Grafik 23">
                    <a:extLst>
                      <a:ext uri="{FF2B5EF4-FFF2-40B4-BE49-F238E27FC236}">
                        <a16:creationId xmlns:a16="http://schemas.microsoft.com/office/drawing/2014/main" id="{89C1F386-2AD8-D41C-237B-866F92FA3A9F}"/>
                      </a:ext>
                    </a:extLst>
                  </p:cNvPr>
                  <p:cNvGrpSpPr/>
                  <p:nvPr/>
                </p:nvGrpSpPr>
                <p:grpSpPr>
                  <a:xfrm>
                    <a:off x="8395080" y="3436239"/>
                    <a:ext cx="234464" cy="539781"/>
                    <a:chOff x="8395080" y="3436239"/>
                    <a:chExt cx="234464" cy="539781"/>
                  </a:xfrm>
                  <a:solidFill>
                    <a:srgbClr val="8A5942"/>
                  </a:solidFill>
                </p:grpSpPr>
                <p:sp>
                  <p:nvSpPr>
                    <p:cNvPr id="695" name="Freihandform: Form 694">
                      <a:extLst>
                        <a:ext uri="{FF2B5EF4-FFF2-40B4-BE49-F238E27FC236}">
                          <a16:creationId xmlns:a16="http://schemas.microsoft.com/office/drawing/2014/main" id="{56B9421F-2E92-DE3A-DFD6-08443909D05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66681" y="3802691"/>
                      <a:ext cx="54546" cy="83127"/>
                    </a:xfrm>
                    <a:custGeom>
                      <a:avLst/>
                      <a:gdLst>
                        <a:gd name="connsiteX0" fmla="*/ 47557 w 54546"/>
                        <a:gd name="connsiteY0" fmla="*/ 83128 h 83127"/>
                        <a:gd name="connsiteX1" fmla="*/ 13648 w 54546"/>
                        <a:gd name="connsiteY1" fmla="*/ 55791 h 83127"/>
                        <a:gd name="connsiteX2" fmla="*/ 2885 w 54546"/>
                        <a:gd name="connsiteY2" fmla="*/ 9595 h 83127"/>
                        <a:gd name="connsiteX3" fmla="*/ 7838 w 54546"/>
                        <a:gd name="connsiteY3" fmla="*/ 70 h 83127"/>
                        <a:gd name="connsiteX4" fmla="*/ 43747 w 54546"/>
                        <a:gd name="connsiteY4" fmla="*/ 39694 h 83127"/>
                        <a:gd name="connsiteX5" fmla="*/ 47557 w 54546"/>
                        <a:gd name="connsiteY5" fmla="*/ 83128 h 83127"/>
                        <a:gd name="connsiteX6" fmla="*/ 47557 w 54546"/>
                        <a:gd name="connsiteY6" fmla="*/ 83128 h 831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54546" h="83127">
                          <a:moveTo>
                            <a:pt x="47557" y="83128"/>
                          </a:moveTo>
                          <a:lnTo>
                            <a:pt x="13648" y="55791"/>
                          </a:lnTo>
                          <a:cubicBezTo>
                            <a:pt x="979" y="45218"/>
                            <a:pt x="-3497" y="28264"/>
                            <a:pt x="2885" y="9595"/>
                          </a:cubicBezTo>
                          <a:cubicBezTo>
                            <a:pt x="4980" y="3594"/>
                            <a:pt x="6790" y="-597"/>
                            <a:pt x="7838" y="70"/>
                          </a:cubicBezTo>
                          <a:cubicBezTo>
                            <a:pt x="9743" y="1499"/>
                            <a:pt x="25173" y="18262"/>
                            <a:pt x="43747" y="39694"/>
                          </a:cubicBezTo>
                          <a:cubicBezTo>
                            <a:pt x="55463" y="53219"/>
                            <a:pt x="58987" y="64744"/>
                            <a:pt x="47557" y="83128"/>
                          </a:cubicBezTo>
                          <a:lnTo>
                            <a:pt x="47557" y="83128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96" name="Freihandform: Form 695">
                      <a:extLst>
                        <a:ext uri="{FF2B5EF4-FFF2-40B4-BE49-F238E27FC236}">
                          <a16:creationId xmlns:a16="http://schemas.microsoft.com/office/drawing/2014/main" id="{CCF01AAA-8D80-A10F-C516-C07CFB74571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19369" y="3769457"/>
                      <a:ext cx="73352" cy="89024"/>
                    </a:xfrm>
                    <a:custGeom>
                      <a:avLst/>
                      <a:gdLst>
                        <a:gd name="connsiteX0" fmla="*/ 60960 w 73352"/>
                        <a:gd name="connsiteY0" fmla="*/ 89025 h 89024"/>
                        <a:gd name="connsiteX1" fmla="*/ 9525 w 73352"/>
                        <a:gd name="connsiteY1" fmla="*/ 44448 h 89024"/>
                        <a:gd name="connsiteX2" fmla="*/ 0 w 73352"/>
                        <a:gd name="connsiteY2" fmla="*/ 31494 h 89024"/>
                        <a:gd name="connsiteX3" fmla="*/ 40291 w 73352"/>
                        <a:gd name="connsiteY3" fmla="*/ 537 h 89024"/>
                        <a:gd name="connsiteX4" fmla="*/ 66675 w 73352"/>
                        <a:gd name="connsiteY4" fmla="*/ 44829 h 89024"/>
                        <a:gd name="connsiteX5" fmla="*/ 60864 w 73352"/>
                        <a:gd name="connsiteY5" fmla="*/ 89025 h 89024"/>
                        <a:gd name="connsiteX6" fmla="*/ 60864 w 73352"/>
                        <a:gd name="connsiteY6" fmla="*/ 89025 h 8902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73352" h="89024">
                          <a:moveTo>
                            <a:pt x="60960" y="89025"/>
                          </a:moveTo>
                          <a:lnTo>
                            <a:pt x="9525" y="44448"/>
                          </a:lnTo>
                          <a:cubicBezTo>
                            <a:pt x="3334" y="38637"/>
                            <a:pt x="1524" y="34446"/>
                            <a:pt x="0" y="31494"/>
                          </a:cubicBezTo>
                          <a:cubicBezTo>
                            <a:pt x="1048" y="12063"/>
                            <a:pt x="25432" y="-3082"/>
                            <a:pt x="40291" y="537"/>
                          </a:cubicBezTo>
                          <a:lnTo>
                            <a:pt x="66675" y="44829"/>
                          </a:lnTo>
                          <a:cubicBezTo>
                            <a:pt x="78105" y="57307"/>
                            <a:pt x="74009" y="72261"/>
                            <a:pt x="60864" y="89025"/>
                          </a:cubicBezTo>
                          <a:lnTo>
                            <a:pt x="60864" y="89025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97" name="Freihandform: Form 696">
                      <a:extLst>
                        <a:ext uri="{FF2B5EF4-FFF2-40B4-BE49-F238E27FC236}">
                          <a16:creationId xmlns:a16="http://schemas.microsoft.com/office/drawing/2014/main" id="{D541F341-90FA-C035-F796-FD3391C4070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55898" y="3838165"/>
                      <a:ext cx="63906" cy="105660"/>
                    </a:xfrm>
                    <a:custGeom>
                      <a:avLst/>
                      <a:gdLst>
                        <a:gd name="connsiteX0" fmla="*/ 55673 w 63906"/>
                        <a:gd name="connsiteY0" fmla="*/ 105660 h 105660"/>
                        <a:gd name="connsiteX1" fmla="*/ 15954 w 63906"/>
                        <a:gd name="connsiteY1" fmla="*/ 67179 h 105660"/>
                        <a:gd name="connsiteX2" fmla="*/ 3476 w 63906"/>
                        <a:gd name="connsiteY2" fmla="*/ 10506 h 105660"/>
                        <a:gd name="connsiteX3" fmla="*/ 9287 w 63906"/>
                        <a:gd name="connsiteY3" fmla="*/ 123 h 105660"/>
                        <a:gd name="connsiteX4" fmla="*/ 51292 w 63906"/>
                        <a:gd name="connsiteY4" fmla="*/ 53559 h 105660"/>
                        <a:gd name="connsiteX5" fmla="*/ 55673 w 63906"/>
                        <a:gd name="connsiteY5" fmla="*/ 105565 h 105660"/>
                        <a:gd name="connsiteX6" fmla="*/ 55673 w 63906"/>
                        <a:gd name="connsiteY6" fmla="*/ 105565 h 10566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63906" h="105660">
                          <a:moveTo>
                            <a:pt x="55673" y="105660"/>
                          </a:moveTo>
                          <a:lnTo>
                            <a:pt x="15954" y="67179"/>
                          </a:lnTo>
                          <a:cubicBezTo>
                            <a:pt x="1095" y="52321"/>
                            <a:pt x="-4144" y="31556"/>
                            <a:pt x="3476" y="10506"/>
                          </a:cubicBezTo>
                          <a:cubicBezTo>
                            <a:pt x="5953" y="3838"/>
                            <a:pt x="8144" y="-829"/>
                            <a:pt x="9287" y="123"/>
                          </a:cubicBezTo>
                          <a:cubicBezTo>
                            <a:pt x="11573" y="2124"/>
                            <a:pt x="29575" y="24793"/>
                            <a:pt x="51292" y="53559"/>
                          </a:cubicBezTo>
                          <a:cubicBezTo>
                            <a:pt x="65008" y="71656"/>
                            <a:pt x="69103" y="85944"/>
                            <a:pt x="55673" y="105565"/>
                          </a:cubicBezTo>
                          <a:lnTo>
                            <a:pt x="55673" y="105565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98" name="Freihandform: Form 697">
                      <a:extLst>
                        <a:ext uri="{FF2B5EF4-FFF2-40B4-BE49-F238E27FC236}">
                          <a16:creationId xmlns:a16="http://schemas.microsoft.com/office/drawing/2014/main" id="{7D424002-6A95-F8EB-8C2E-F3219D1DE4F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00115" y="3774757"/>
                      <a:ext cx="87440" cy="131349"/>
                    </a:xfrm>
                    <a:custGeom>
                      <a:avLst/>
                      <a:gdLst>
                        <a:gd name="connsiteX0" fmla="*/ 72689 w 87440"/>
                        <a:gd name="connsiteY0" fmla="*/ 131350 h 131349"/>
                        <a:gd name="connsiteX1" fmla="*/ 12205 w 87440"/>
                        <a:gd name="connsiteY1" fmla="*/ 71628 h 131349"/>
                        <a:gd name="connsiteX2" fmla="*/ 17349 w 87440"/>
                        <a:gd name="connsiteY2" fmla="*/ 4001 h 131349"/>
                        <a:gd name="connsiteX3" fmla="*/ 26112 w 87440"/>
                        <a:gd name="connsiteY3" fmla="*/ 0 h 131349"/>
                        <a:gd name="connsiteX4" fmla="*/ 79642 w 87440"/>
                        <a:gd name="connsiteY4" fmla="*/ 80010 h 131349"/>
                        <a:gd name="connsiteX5" fmla="*/ 72689 w 87440"/>
                        <a:gd name="connsiteY5" fmla="*/ 131254 h 131349"/>
                        <a:gd name="connsiteX6" fmla="*/ 72689 w 87440"/>
                        <a:gd name="connsiteY6" fmla="*/ 131254 h 1313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87440" h="131349">
                          <a:moveTo>
                            <a:pt x="72689" y="131350"/>
                          </a:moveTo>
                          <a:lnTo>
                            <a:pt x="12205" y="71628"/>
                          </a:lnTo>
                          <a:cubicBezTo>
                            <a:pt x="-5892" y="53340"/>
                            <a:pt x="-3606" y="22479"/>
                            <a:pt x="17349" y="4001"/>
                          </a:cubicBezTo>
                          <a:lnTo>
                            <a:pt x="26112" y="0"/>
                          </a:lnTo>
                          <a:lnTo>
                            <a:pt x="79642" y="80010"/>
                          </a:lnTo>
                          <a:cubicBezTo>
                            <a:pt x="93073" y="96869"/>
                            <a:pt x="88120" y="113729"/>
                            <a:pt x="72689" y="131254"/>
                          </a:cubicBezTo>
                          <a:lnTo>
                            <a:pt x="72689" y="131254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99" name="Freihandform: Form 698">
                      <a:extLst>
                        <a:ext uri="{FF2B5EF4-FFF2-40B4-BE49-F238E27FC236}">
                          <a16:creationId xmlns:a16="http://schemas.microsoft.com/office/drawing/2014/main" id="{DA4A2BFE-A17A-9FC7-1BE4-8C808AE4231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95080" y="3720421"/>
                      <a:ext cx="62960" cy="111771"/>
                    </a:xfrm>
                    <a:custGeom>
                      <a:avLst/>
                      <a:gdLst>
                        <a:gd name="connsiteX0" fmla="*/ 0 w 62960"/>
                        <a:gd name="connsiteY0" fmla="*/ 9378 h 111771"/>
                        <a:gd name="connsiteX1" fmla="*/ 4191 w 62960"/>
                        <a:gd name="connsiteY1" fmla="*/ 100628 h 111771"/>
                        <a:gd name="connsiteX2" fmla="*/ 8287 w 62960"/>
                        <a:gd name="connsiteY2" fmla="*/ 111772 h 111771"/>
                        <a:gd name="connsiteX3" fmla="*/ 57150 w 62960"/>
                        <a:gd name="connsiteY3" fmla="*/ 67100 h 111771"/>
                        <a:gd name="connsiteX4" fmla="*/ 62961 w 62960"/>
                        <a:gd name="connsiteY4" fmla="*/ 18236 h 111771"/>
                        <a:gd name="connsiteX5" fmla="*/ 0 w 62960"/>
                        <a:gd name="connsiteY5" fmla="*/ 9378 h 1117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62960" h="111771">
                          <a:moveTo>
                            <a:pt x="0" y="9378"/>
                          </a:moveTo>
                          <a:cubicBezTo>
                            <a:pt x="477" y="28142"/>
                            <a:pt x="4191" y="100628"/>
                            <a:pt x="4191" y="100628"/>
                          </a:cubicBezTo>
                          <a:lnTo>
                            <a:pt x="8287" y="111772"/>
                          </a:lnTo>
                          <a:cubicBezTo>
                            <a:pt x="34957" y="111296"/>
                            <a:pt x="54674" y="91484"/>
                            <a:pt x="57150" y="67100"/>
                          </a:cubicBezTo>
                          <a:lnTo>
                            <a:pt x="62961" y="18236"/>
                          </a:lnTo>
                          <a:cubicBezTo>
                            <a:pt x="55436" y="1568"/>
                            <a:pt x="8192" y="-8338"/>
                            <a:pt x="0" y="9378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700" name="Grafik 23">
                      <a:extLst>
                        <a:ext uri="{FF2B5EF4-FFF2-40B4-BE49-F238E27FC236}">
                          <a16:creationId xmlns:a16="http://schemas.microsoft.com/office/drawing/2014/main" id="{9FFFD3C5-F5B3-D874-8559-3347CFD7A0F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415082" y="3708417"/>
                      <a:ext cx="91882" cy="267603"/>
                      <a:chOff x="8415082" y="3708417"/>
                      <a:chExt cx="91882" cy="267603"/>
                    </a:xfrm>
                    <a:solidFill>
                      <a:srgbClr val="8A5942"/>
                    </a:solidFill>
                  </p:grpSpPr>
                  <p:sp>
                    <p:nvSpPr>
                      <p:cNvPr id="710" name="Freihandform: Form 709">
                        <a:extLst>
                          <a:ext uri="{FF2B5EF4-FFF2-40B4-BE49-F238E27FC236}">
                            <a16:creationId xmlns:a16="http://schemas.microsoft.com/office/drawing/2014/main" id="{17D4E0DC-AB57-B9D5-EDA7-9301DEA93D6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56624" y="3848906"/>
                        <a:ext cx="50341" cy="127114"/>
                      </a:xfrm>
                      <a:custGeom>
                        <a:avLst/>
                        <a:gdLst>
                          <a:gd name="connsiteX0" fmla="*/ 30182 w 50341"/>
                          <a:gd name="connsiteY0" fmla="*/ 127114 h 127114"/>
                          <a:gd name="connsiteX1" fmla="*/ 5131 w 50341"/>
                          <a:gd name="connsiteY1" fmla="*/ 71584 h 127114"/>
                          <a:gd name="connsiteX2" fmla="*/ 15323 w 50341"/>
                          <a:gd name="connsiteY2" fmla="*/ 8528 h 127114"/>
                          <a:gd name="connsiteX3" fmla="*/ 25515 w 50341"/>
                          <a:gd name="connsiteY3" fmla="*/ 337 h 127114"/>
                          <a:gd name="connsiteX4" fmla="*/ 46851 w 50341"/>
                          <a:gd name="connsiteY4" fmla="*/ 72060 h 127114"/>
                          <a:gd name="connsiteX5" fmla="*/ 30182 w 50341"/>
                          <a:gd name="connsiteY5" fmla="*/ 127114 h 127114"/>
                          <a:gd name="connsiteX6" fmla="*/ 30182 w 50341"/>
                          <a:gd name="connsiteY6" fmla="*/ 127114 h 12711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0341" h="127114">
                            <a:moveTo>
                              <a:pt x="30182" y="127114"/>
                            </a:moveTo>
                            <a:lnTo>
                              <a:pt x="5131" y="71584"/>
                            </a:lnTo>
                            <a:cubicBezTo>
                              <a:pt x="-4108" y="50343"/>
                              <a:pt x="-964" y="26912"/>
                              <a:pt x="15323" y="8528"/>
                            </a:cubicBezTo>
                            <a:cubicBezTo>
                              <a:pt x="20562" y="2623"/>
                              <a:pt x="24658" y="-1187"/>
                              <a:pt x="25515" y="337"/>
                            </a:cubicBezTo>
                            <a:cubicBezTo>
                              <a:pt x="27039" y="3385"/>
                              <a:pt x="36278" y="33865"/>
                              <a:pt x="46851" y="72060"/>
                            </a:cubicBezTo>
                            <a:cubicBezTo>
                              <a:pt x="53518" y="96158"/>
                              <a:pt x="51995" y="112446"/>
                              <a:pt x="30182" y="127114"/>
                            </a:cubicBezTo>
                            <a:lnTo>
                              <a:pt x="30182" y="127114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11" name="Freihandform: Form 710">
                        <a:extLst>
                          <a:ext uri="{FF2B5EF4-FFF2-40B4-BE49-F238E27FC236}">
                            <a16:creationId xmlns:a16="http://schemas.microsoft.com/office/drawing/2014/main" id="{5A8EE6CD-D292-D31B-F7C4-B482BA82EB6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22907" y="3799998"/>
                        <a:ext cx="71113" cy="124396"/>
                      </a:xfrm>
                      <a:custGeom>
                        <a:avLst/>
                        <a:gdLst>
                          <a:gd name="connsiteX0" fmla="*/ 40563 w 71113"/>
                          <a:gd name="connsiteY0" fmla="*/ 124396 h 124396"/>
                          <a:gd name="connsiteX1" fmla="*/ 3415 w 71113"/>
                          <a:gd name="connsiteY1" fmla="*/ 38290 h 124396"/>
                          <a:gd name="connsiteX2" fmla="*/ 41135 w 71113"/>
                          <a:gd name="connsiteY2" fmla="*/ 2000 h 124396"/>
                          <a:gd name="connsiteX3" fmla="*/ 45325 w 71113"/>
                          <a:gd name="connsiteY3" fmla="*/ 0 h 124396"/>
                          <a:gd name="connsiteX4" fmla="*/ 69043 w 71113"/>
                          <a:gd name="connsiteY4" fmla="*/ 74295 h 124396"/>
                          <a:gd name="connsiteX5" fmla="*/ 42087 w 71113"/>
                          <a:gd name="connsiteY5" fmla="*/ 123634 h 124396"/>
                          <a:gd name="connsiteX6" fmla="*/ 40563 w 71113"/>
                          <a:gd name="connsiteY6" fmla="*/ 124396 h 12439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1113" h="124396">
                            <a:moveTo>
                              <a:pt x="40563" y="124396"/>
                            </a:moveTo>
                            <a:lnTo>
                              <a:pt x="3415" y="38290"/>
                            </a:lnTo>
                            <a:cubicBezTo>
                              <a:pt x="-7729" y="12192"/>
                              <a:pt x="9321" y="3238"/>
                              <a:pt x="41135" y="2000"/>
                            </a:cubicBezTo>
                            <a:lnTo>
                              <a:pt x="45325" y="0"/>
                            </a:lnTo>
                            <a:lnTo>
                              <a:pt x="69043" y="74295"/>
                            </a:lnTo>
                            <a:cubicBezTo>
                              <a:pt x="75996" y="97060"/>
                              <a:pt x="65042" y="112014"/>
                              <a:pt x="42087" y="123634"/>
                            </a:cubicBezTo>
                            <a:lnTo>
                              <a:pt x="40563" y="124396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12" name="Freihandform: Form 711">
                        <a:extLst>
                          <a:ext uri="{FF2B5EF4-FFF2-40B4-BE49-F238E27FC236}">
                            <a16:creationId xmlns:a16="http://schemas.microsoft.com/office/drawing/2014/main" id="{89ED4B53-2422-693A-3392-21A468D2A08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15082" y="3708417"/>
                        <a:ext cx="63532" cy="120728"/>
                      </a:xfrm>
                      <a:custGeom>
                        <a:avLst/>
                        <a:gdLst>
                          <a:gd name="connsiteX0" fmla="*/ 1 w 63532"/>
                          <a:gd name="connsiteY0" fmla="*/ 12715 h 120728"/>
                          <a:gd name="connsiteX1" fmla="*/ 8573 w 63532"/>
                          <a:gd name="connsiteY1" fmla="*/ 120728 h 120728"/>
                          <a:gd name="connsiteX2" fmla="*/ 54674 w 63532"/>
                          <a:gd name="connsiteY2" fmla="*/ 92629 h 120728"/>
                          <a:gd name="connsiteX3" fmla="*/ 63532 w 63532"/>
                          <a:gd name="connsiteY3" fmla="*/ 16048 h 120728"/>
                          <a:gd name="connsiteX4" fmla="*/ 1 w 63532"/>
                          <a:gd name="connsiteY4" fmla="*/ 12619 h 12072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63532" h="120728">
                            <a:moveTo>
                              <a:pt x="1" y="12715"/>
                            </a:moveTo>
                            <a:cubicBezTo>
                              <a:pt x="-95" y="14715"/>
                              <a:pt x="8573" y="120728"/>
                              <a:pt x="8573" y="120728"/>
                            </a:cubicBezTo>
                            <a:cubicBezTo>
                              <a:pt x="37910" y="120347"/>
                              <a:pt x="51817" y="119585"/>
                              <a:pt x="54674" y="92629"/>
                            </a:cubicBezTo>
                            <a:lnTo>
                              <a:pt x="63532" y="16048"/>
                            </a:lnTo>
                            <a:cubicBezTo>
                              <a:pt x="55341" y="-2335"/>
                              <a:pt x="9144" y="-6812"/>
                              <a:pt x="1" y="12619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701" name="Freihandform: Form 700">
                      <a:extLst>
                        <a:ext uri="{FF2B5EF4-FFF2-40B4-BE49-F238E27FC236}">
                          <a16:creationId xmlns:a16="http://schemas.microsoft.com/office/drawing/2014/main" id="{D825E92A-17EC-FA7A-EEAC-A0A3FCDB1C4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63914" y="3855038"/>
                      <a:ext cx="46483" cy="113934"/>
                    </a:xfrm>
                    <a:custGeom>
                      <a:avLst/>
                      <a:gdLst>
                        <a:gd name="connsiteX0" fmla="*/ 22320 w 46483"/>
                        <a:gd name="connsiteY0" fmla="*/ 113744 h 113934"/>
                        <a:gd name="connsiteX1" fmla="*/ 3366 w 46483"/>
                        <a:gd name="connsiteY1" fmla="*/ 60784 h 113934"/>
                        <a:gd name="connsiteX2" fmla="*/ 17844 w 46483"/>
                        <a:gd name="connsiteY2" fmla="*/ 6587 h 113934"/>
                        <a:gd name="connsiteX3" fmla="*/ 28893 w 46483"/>
                        <a:gd name="connsiteY3" fmla="*/ 396 h 113934"/>
                        <a:gd name="connsiteX4" fmla="*/ 44990 w 46483"/>
                        <a:gd name="connsiteY4" fmla="*/ 66214 h 113934"/>
                        <a:gd name="connsiteX5" fmla="*/ 22416 w 46483"/>
                        <a:gd name="connsiteY5" fmla="*/ 113934 h 113934"/>
                        <a:gd name="connsiteX6" fmla="*/ 22416 w 46483"/>
                        <a:gd name="connsiteY6" fmla="*/ 113934 h 1139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6483" h="113934">
                          <a:moveTo>
                            <a:pt x="22320" y="113744"/>
                          </a:moveTo>
                          <a:lnTo>
                            <a:pt x="3366" y="60784"/>
                          </a:lnTo>
                          <a:cubicBezTo>
                            <a:pt x="-3492" y="40591"/>
                            <a:pt x="-444" y="21161"/>
                            <a:pt x="17844" y="6587"/>
                          </a:cubicBezTo>
                          <a:cubicBezTo>
                            <a:pt x="23749" y="1920"/>
                            <a:pt x="28321" y="-1128"/>
                            <a:pt x="28893" y="396"/>
                          </a:cubicBezTo>
                          <a:cubicBezTo>
                            <a:pt x="30036" y="3254"/>
                            <a:pt x="38608" y="30495"/>
                            <a:pt x="44990" y="66214"/>
                          </a:cubicBezTo>
                          <a:cubicBezTo>
                            <a:pt x="49086" y="88788"/>
                            <a:pt x="45752" y="103171"/>
                            <a:pt x="22416" y="113934"/>
                          </a:cubicBezTo>
                          <a:lnTo>
                            <a:pt x="22416" y="113934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02" name="Freihandform: Form 701">
                      <a:extLst>
                        <a:ext uri="{FF2B5EF4-FFF2-40B4-BE49-F238E27FC236}">
                          <a16:creationId xmlns:a16="http://schemas.microsoft.com/office/drawing/2014/main" id="{918EBD13-63E5-603B-759F-D296D15EFB9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36560" y="3794759"/>
                      <a:ext cx="62340" cy="120967"/>
                    </a:xfrm>
                    <a:custGeom>
                      <a:avLst/>
                      <a:gdLst>
                        <a:gd name="connsiteX0" fmla="*/ 30624 w 62340"/>
                        <a:gd name="connsiteY0" fmla="*/ 120968 h 120967"/>
                        <a:gd name="connsiteX1" fmla="*/ 2335 w 62340"/>
                        <a:gd name="connsiteY1" fmla="*/ 39338 h 120967"/>
                        <a:gd name="connsiteX2" fmla="*/ 38244 w 62340"/>
                        <a:gd name="connsiteY2" fmla="*/ 0 h 120967"/>
                        <a:gd name="connsiteX3" fmla="*/ 43864 w 62340"/>
                        <a:gd name="connsiteY3" fmla="*/ 9335 h 120967"/>
                        <a:gd name="connsiteX4" fmla="*/ 61390 w 62340"/>
                        <a:gd name="connsiteY4" fmla="*/ 80867 h 120967"/>
                        <a:gd name="connsiteX5" fmla="*/ 30719 w 62340"/>
                        <a:gd name="connsiteY5" fmla="*/ 120968 h 120967"/>
                        <a:gd name="connsiteX6" fmla="*/ 30719 w 62340"/>
                        <a:gd name="connsiteY6" fmla="*/ 120968 h 12096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62340" h="120967">
                          <a:moveTo>
                            <a:pt x="30624" y="120968"/>
                          </a:moveTo>
                          <a:lnTo>
                            <a:pt x="2335" y="39338"/>
                          </a:lnTo>
                          <a:cubicBezTo>
                            <a:pt x="-5952" y="14573"/>
                            <a:pt x="8240" y="6001"/>
                            <a:pt x="38244" y="0"/>
                          </a:cubicBezTo>
                          <a:lnTo>
                            <a:pt x="43864" y="9335"/>
                          </a:lnTo>
                          <a:lnTo>
                            <a:pt x="61390" y="80867"/>
                          </a:lnTo>
                          <a:cubicBezTo>
                            <a:pt x="65771" y="102203"/>
                            <a:pt x="54912" y="113157"/>
                            <a:pt x="30719" y="120968"/>
                          </a:cubicBezTo>
                          <a:lnTo>
                            <a:pt x="30719" y="120968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03" name="Freihandform: Form 702">
                      <a:extLst>
                        <a:ext uri="{FF2B5EF4-FFF2-40B4-BE49-F238E27FC236}">
                          <a16:creationId xmlns:a16="http://schemas.microsoft.com/office/drawing/2014/main" id="{5A506A54-5546-147E-9934-533324C073A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35054" y="3713098"/>
                      <a:ext cx="53751" cy="112434"/>
                    </a:xfrm>
                    <a:custGeom>
                      <a:avLst/>
                      <a:gdLst>
                        <a:gd name="connsiteX0" fmla="*/ 31 w 53751"/>
                        <a:gd name="connsiteY0" fmla="*/ 7176 h 112434"/>
                        <a:gd name="connsiteX1" fmla="*/ 1555 w 53751"/>
                        <a:gd name="connsiteY1" fmla="*/ 110046 h 112434"/>
                        <a:gd name="connsiteX2" fmla="*/ 44989 w 53751"/>
                        <a:gd name="connsiteY2" fmla="*/ 94806 h 112434"/>
                        <a:gd name="connsiteX3" fmla="*/ 53752 w 53751"/>
                        <a:gd name="connsiteY3" fmla="*/ 23654 h 112434"/>
                        <a:gd name="connsiteX4" fmla="*/ 31 w 53751"/>
                        <a:gd name="connsiteY4" fmla="*/ 7176 h 1124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3751" h="112434">
                          <a:moveTo>
                            <a:pt x="31" y="7176"/>
                          </a:moveTo>
                          <a:cubicBezTo>
                            <a:pt x="-255" y="8986"/>
                            <a:pt x="1555" y="110046"/>
                            <a:pt x="1555" y="110046"/>
                          </a:cubicBezTo>
                          <a:cubicBezTo>
                            <a:pt x="30987" y="111856"/>
                            <a:pt x="40512" y="119000"/>
                            <a:pt x="44989" y="94806"/>
                          </a:cubicBezTo>
                          <a:lnTo>
                            <a:pt x="53752" y="23654"/>
                          </a:lnTo>
                          <a:cubicBezTo>
                            <a:pt x="46703" y="6414"/>
                            <a:pt x="10318" y="-9778"/>
                            <a:pt x="31" y="7176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704" name="Grafik 23">
                      <a:extLst>
                        <a:ext uri="{FF2B5EF4-FFF2-40B4-BE49-F238E27FC236}">
                          <a16:creationId xmlns:a16="http://schemas.microsoft.com/office/drawing/2014/main" id="{39C600C7-38F9-D0CC-230B-D23E3DCFF98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483816" y="3539440"/>
                      <a:ext cx="145001" cy="336662"/>
                      <a:chOff x="8483816" y="3539440"/>
                      <a:chExt cx="145001" cy="336662"/>
                    </a:xfrm>
                    <a:solidFill>
                      <a:srgbClr val="8A5942"/>
                    </a:solidFill>
                  </p:grpSpPr>
                  <p:sp>
                    <p:nvSpPr>
                      <p:cNvPr id="707" name="Freihandform: Form 706">
                        <a:extLst>
                          <a:ext uri="{FF2B5EF4-FFF2-40B4-BE49-F238E27FC236}">
                            <a16:creationId xmlns:a16="http://schemas.microsoft.com/office/drawing/2014/main" id="{30602577-2411-0ACE-C040-E964F069E38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529038" y="3738176"/>
                        <a:ext cx="60495" cy="137927"/>
                      </a:xfrm>
                      <a:custGeom>
                        <a:avLst/>
                        <a:gdLst>
                          <a:gd name="connsiteX0" fmla="*/ 24158 w 60495"/>
                          <a:gd name="connsiteY0" fmla="*/ 137927 h 137927"/>
                          <a:gd name="connsiteX1" fmla="*/ 57685 w 60495"/>
                          <a:gd name="connsiteY1" fmla="*/ 75253 h 137927"/>
                          <a:gd name="connsiteX2" fmla="*/ 53304 w 60495"/>
                          <a:gd name="connsiteY2" fmla="*/ 5815 h 137927"/>
                          <a:gd name="connsiteX3" fmla="*/ 40350 w 60495"/>
                          <a:gd name="connsiteY3" fmla="*/ 958 h 137927"/>
                          <a:gd name="connsiteX4" fmla="*/ 4726 w 60495"/>
                          <a:gd name="connsiteY4" fmla="*/ 77824 h 137927"/>
                          <a:gd name="connsiteX5" fmla="*/ 24062 w 60495"/>
                          <a:gd name="connsiteY5" fmla="*/ 137832 h 137927"/>
                          <a:gd name="connsiteX6" fmla="*/ 24062 w 60495"/>
                          <a:gd name="connsiteY6" fmla="*/ 137832 h 1379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0495" h="137927">
                            <a:moveTo>
                              <a:pt x="24158" y="137927"/>
                            </a:moveTo>
                            <a:lnTo>
                              <a:pt x="57685" y="75253"/>
                            </a:lnTo>
                            <a:cubicBezTo>
                              <a:pt x="59876" y="52964"/>
                              <a:pt x="64448" y="18579"/>
                              <a:pt x="53304" y="5815"/>
                            </a:cubicBezTo>
                            <a:cubicBezTo>
                              <a:pt x="47017" y="-1424"/>
                              <a:pt x="41398" y="-376"/>
                              <a:pt x="40350" y="958"/>
                            </a:cubicBezTo>
                            <a:cubicBezTo>
                              <a:pt x="33111" y="11149"/>
                              <a:pt x="17204" y="44868"/>
                              <a:pt x="4726" y="77824"/>
                            </a:cubicBezTo>
                            <a:cubicBezTo>
                              <a:pt x="-3941" y="100780"/>
                              <a:pt x="-2417" y="117639"/>
                              <a:pt x="24062" y="137832"/>
                            </a:cubicBezTo>
                            <a:lnTo>
                              <a:pt x="24062" y="137832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08" name="Freihandform: Form 707">
                        <a:extLst>
                          <a:ext uri="{FF2B5EF4-FFF2-40B4-BE49-F238E27FC236}">
                            <a16:creationId xmlns:a16="http://schemas.microsoft.com/office/drawing/2014/main" id="{BC03D8C6-8B6C-10E8-50F1-16FF80414C5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548242" y="3697576"/>
                        <a:ext cx="80486" cy="117625"/>
                      </a:xfrm>
                      <a:custGeom>
                        <a:avLst/>
                        <a:gdLst>
                          <a:gd name="connsiteX0" fmla="*/ 80486 w 80486"/>
                          <a:gd name="connsiteY0" fmla="*/ 17269 h 117625"/>
                          <a:gd name="connsiteX1" fmla="*/ 0 w 80486"/>
                          <a:gd name="connsiteY1" fmla="*/ 10982 h 117625"/>
                          <a:gd name="connsiteX2" fmla="*/ 5810 w 80486"/>
                          <a:gd name="connsiteY2" fmla="*/ 70608 h 117625"/>
                          <a:gd name="connsiteX3" fmla="*/ 38481 w 80486"/>
                          <a:gd name="connsiteY3" fmla="*/ 115948 h 117625"/>
                          <a:gd name="connsiteX4" fmla="*/ 80486 w 80486"/>
                          <a:gd name="connsiteY4" fmla="*/ 17269 h 11762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80486" h="117625">
                            <a:moveTo>
                              <a:pt x="80486" y="17269"/>
                            </a:moveTo>
                            <a:cubicBezTo>
                              <a:pt x="61627" y="-17498"/>
                              <a:pt x="0" y="10982"/>
                              <a:pt x="0" y="10982"/>
                            </a:cubicBezTo>
                            <a:lnTo>
                              <a:pt x="5810" y="70608"/>
                            </a:lnTo>
                            <a:cubicBezTo>
                              <a:pt x="3429" y="95659"/>
                              <a:pt x="15907" y="124996"/>
                              <a:pt x="38481" y="115948"/>
                            </a:cubicBezTo>
                            <a:cubicBezTo>
                              <a:pt x="38481" y="115948"/>
                              <a:pt x="80582" y="16221"/>
                              <a:pt x="80486" y="17269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09" name="Freihandform: Form 708">
                        <a:extLst>
                          <a:ext uri="{FF2B5EF4-FFF2-40B4-BE49-F238E27FC236}">
                            <a16:creationId xmlns:a16="http://schemas.microsoft.com/office/drawing/2014/main" id="{2BB3B1D2-1490-62EE-1760-70C1439332E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83816" y="3539440"/>
                        <a:ext cx="145001" cy="187300"/>
                      </a:xfrm>
                      <a:custGeom>
                        <a:avLst/>
                        <a:gdLst>
                          <a:gd name="connsiteX0" fmla="*/ 142151 w 145001"/>
                          <a:gd name="connsiteY0" fmla="*/ 88632 h 187300"/>
                          <a:gd name="connsiteX1" fmla="*/ 144913 w 145001"/>
                          <a:gd name="connsiteY1" fmla="*/ 175405 h 187300"/>
                          <a:gd name="connsiteX2" fmla="*/ 144913 w 145001"/>
                          <a:gd name="connsiteY2" fmla="*/ 175405 h 187300"/>
                          <a:gd name="connsiteX3" fmla="*/ 64712 w 145001"/>
                          <a:gd name="connsiteY3" fmla="*/ 170642 h 187300"/>
                          <a:gd name="connsiteX4" fmla="*/ 9848 w 145001"/>
                          <a:gd name="connsiteY4" fmla="*/ 67486 h 187300"/>
                          <a:gd name="connsiteX5" fmla="*/ 104717 w 145001"/>
                          <a:gd name="connsiteY5" fmla="*/ 431 h 187300"/>
                          <a:gd name="connsiteX6" fmla="*/ 142151 w 145001"/>
                          <a:gd name="connsiteY6" fmla="*/ 88632 h 1873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145001" h="187300">
                            <a:moveTo>
                              <a:pt x="142151" y="88632"/>
                            </a:moveTo>
                            <a:cubicBezTo>
                              <a:pt x="145770" y="113302"/>
                              <a:pt x="144913" y="175405"/>
                              <a:pt x="144913" y="175405"/>
                            </a:cubicBezTo>
                            <a:lnTo>
                              <a:pt x="144913" y="175405"/>
                            </a:lnTo>
                            <a:cubicBezTo>
                              <a:pt x="107289" y="175214"/>
                              <a:pt x="108813" y="205218"/>
                              <a:pt x="64712" y="170642"/>
                            </a:cubicBezTo>
                            <a:cubicBezTo>
                              <a:pt x="64712" y="170642"/>
                              <a:pt x="53472" y="104253"/>
                              <a:pt x="9848" y="67486"/>
                            </a:cubicBezTo>
                            <a:cubicBezTo>
                              <a:pt x="-27871" y="35768"/>
                              <a:pt x="51186" y="-4618"/>
                              <a:pt x="104717" y="431"/>
                            </a:cubicBezTo>
                            <a:cubicBezTo>
                              <a:pt x="128815" y="38244"/>
                              <a:pt x="142151" y="88632"/>
                              <a:pt x="142151" y="88632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705" name="Freihandform: Form 704">
                      <a:extLst>
                        <a:ext uri="{FF2B5EF4-FFF2-40B4-BE49-F238E27FC236}">
                          <a16:creationId xmlns:a16="http://schemas.microsoft.com/office/drawing/2014/main" id="{78139806-114C-3A19-D1D1-1BDBD2C4EF1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95080" y="3494722"/>
                      <a:ext cx="234464" cy="282987"/>
                    </a:xfrm>
                    <a:custGeom>
                      <a:avLst/>
                      <a:gdLst>
                        <a:gd name="connsiteX0" fmla="*/ 4382 w 234464"/>
                        <a:gd name="connsiteY0" fmla="*/ 195644 h 282987"/>
                        <a:gd name="connsiteX1" fmla="*/ 59341 w 234464"/>
                        <a:gd name="connsiteY1" fmla="*/ 0 h 282987"/>
                        <a:gd name="connsiteX2" fmla="*/ 194977 w 234464"/>
                        <a:gd name="connsiteY2" fmla="*/ 11430 h 282987"/>
                        <a:gd name="connsiteX3" fmla="*/ 200787 w 234464"/>
                        <a:gd name="connsiteY3" fmla="*/ 47625 h 282987"/>
                        <a:gd name="connsiteX4" fmla="*/ 232601 w 234464"/>
                        <a:gd name="connsiteY4" fmla="*/ 177832 h 282987"/>
                        <a:gd name="connsiteX5" fmla="*/ 152877 w 234464"/>
                        <a:gd name="connsiteY5" fmla="*/ 204883 h 282987"/>
                        <a:gd name="connsiteX6" fmla="*/ 88678 w 234464"/>
                        <a:gd name="connsiteY6" fmla="*/ 282988 h 282987"/>
                        <a:gd name="connsiteX7" fmla="*/ 0 w 234464"/>
                        <a:gd name="connsiteY7" fmla="*/ 234982 h 282987"/>
                        <a:gd name="connsiteX8" fmla="*/ 4382 w 234464"/>
                        <a:gd name="connsiteY8" fmla="*/ 195548 h 28298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234464" h="282987">
                          <a:moveTo>
                            <a:pt x="4382" y="195644"/>
                          </a:moveTo>
                          <a:cubicBezTo>
                            <a:pt x="21431" y="145828"/>
                            <a:pt x="40958" y="87154"/>
                            <a:pt x="59341" y="0"/>
                          </a:cubicBezTo>
                          <a:lnTo>
                            <a:pt x="194977" y="11430"/>
                          </a:lnTo>
                          <a:cubicBezTo>
                            <a:pt x="194977" y="32099"/>
                            <a:pt x="197739" y="44005"/>
                            <a:pt x="200787" y="47625"/>
                          </a:cubicBezTo>
                          <a:cubicBezTo>
                            <a:pt x="246031" y="101727"/>
                            <a:pt x="232601" y="177832"/>
                            <a:pt x="232601" y="177832"/>
                          </a:cubicBezTo>
                          <a:cubicBezTo>
                            <a:pt x="230981" y="184976"/>
                            <a:pt x="183261" y="168688"/>
                            <a:pt x="152877" y="204883"/>
                          </a:cubicBezTo>
                          <a:cubicBezTo>
                            <a:pt x="144304" y="215075"/>
                            <a:pt x="102394" y="222885"/>
                            <a:pt x="88678" y="282988"/>
                          </a:cubicBezTo>
                          <a:cubicBezTo>
                            <a:pt x="33909" y="215837"/>
                            <a:pt x="3048" y="234125"/>
                            <a:pt x="0" y="234982"/>
                          </a:cubicBezTo>
                          <a:cubicBezTo>
                            <a:pt x="2572" y="219551"/>
                            <a:pt x="2667" y="206026"/>
                            <a:pt x="4382" y="195548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06" name="Freihandform: Form 705">
                      <a:extLst>
                        <a:ext uri="{FF2B5EF4-FFF2-40B4-BE49-F238E27FC236}">
                          <a16:creationId xmlns:a16="http://schemas.microsoft.com/office/drawing/2014/main" id="{8298CC89-614B-1240-67F3-29C23760F82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53659" y="3436239"/>
                      <a:ext cx="136397" cy="136398"/>
                    </a:xfrm>
                    <a:custGeom>
                      <a:avLst/>
                      <a:gdLst>
                        <a:gd name="connsiteX0" fmla="*/ 136398 w 136397"/>
                        <a:gd name="connsiteY0" fmla="*/ 68199 h 136398"/>
                        <a:gd name="connsiteX1" fmla="*/ 68199 w 136397"/>
                        <a:gd name="connsiteY1" fmla="*/ 136398 h 136398"/>
                        <a:gd name="connsiteX2" fmla="*/ 1 w 136397"/>
                        <a:gd name="connsiteY2" fmla="*/ 68199 h 136398"/>
                        <a:gd name="connsiteX3" fmla="*/ 68199 w 136397"/>
                        <a:gd name="connsiteY3" fmla="*/ 0 h 136398"/>
                        <a:gd name="connsiteX4" fmla="*/ 136398 w 136397"/>
                        <a:gd name="connsiteY4" fmla="*/ 68199 h 1363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36397" h="136398">
                          <a:moveTo>
                            <a:pt x="136398" y="68199"/>
                          </a:moveTo>
                          <a:cubicBezTo>
                            <a:pt x="136398" y="105864"/>
                            <a:pt x="105864" y="136398"/>
                            <a:pt x="68199" y="136398"/>
                          </a:cubicBezTo>
                          <a:cubicBezTo>
                            <a:pt x="30534" y="136398"/>
                            <a:pt x="1" y="105865"/>
                            <a:pt x="1" y="68199"/>
                          </a:cubicBezTo>
                          <a:cubicBezTo>
                            <a:pt x="1" y="30534"/>
                            <a:pt x="30534" y="0"/>
                            <a:pt x="68199" y="0"/>
                          </a:cubicBezTo>
                          <a:cubicBezTo>
                            <a:pt x="105864" y="0"/>
                            <a:pt x="136398" y="30534"/>
                            <a:pt x="136398" y="68199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sp>
              <p:nvSpPr>
                <p:cNvPr id="666" name="Freihandform: Form 665">
                  <a:extLst>
                    <a:ext uri="{FF2B5EF4-FFF2-40B4-BE49-F238E27FC236}">
                      <a16:creationId xmlns:a16="http://schemas.microsoft.com/office/drawing/2014/main" id="{4D7EB7F3-376F-F99B-8550-E156477FC50D}"/>
                    </a:ext>
                  </a:extLst>
                </p:cNvPr>
                <p:cNvSpPr/>
                <p:nvPr/>
              </p:nvSpPr>
              <p:spPr>
                <a:xfrm>
                  <a:off x="8688572" y="8112484"/>
                  <a:ext cx="1208416" cy="1222459"/>
                </a:xfrm>
                <a:custGeom>
                  <a:avLst/>
                  <a:gdLst>
                    <a:gd name="connsiteX0" fmla="*/ 1189550 w 1208416"/>
                    <a:gd name="connsiteY0" fmla="*/ 262626 h 1222459"/>
                    <a:gd name="connsiteX1" fmla="*/ 821695 w 1208416"/>
                    <a:gd name="connsiteY1" fmla="*/ 114131 h 1222459"/>
                    <a:gd name="connsiteX2" fmla="*/ 766641 w 1208416"/>
                    <a:gd name="connsiteY2" fmla="*/ 15071 h 1222459"/>
                    <a:gd name="connsiteX3" fmla="*/ 747971 w 1208416"/>
                    <a:gd name="connsiteY3" fmla="*/ 6879 h 1222459"/>
                    <a:gd name="connsiteX4" fmla="*/ 454506 w 1208416"/>
                    <a:gd name="connsiteY4" fmla="*/ 1164 h 1222459"/>
                    <a:gd name="connsiteX5" fmla="*/ 438885 w 1208416"/>
                    <a:gd name="connsiteY5" fmla="*/ 8975 h 1222459"/>
                    <a:gd name="connsiteX6" fmla="*/ 424026 w 1208416"/>
                    <a:gd name="connsiteY6" fmla="*/ 67744 h 1222459"/>
                    <a:gd name="connsiteX7" fmla="*/ 390879 w 1208416"/>
                    <a:gd name="connsiteY7" fmla="*/ 96986 h 1222459"/>
                    <a:gd name="connsiteX8" fmla="*/ 17594 w 1208416"/>
                    <a:gd name="connsiteY8" fmla="*/ 279771 h 1222459"/>
                    <a:gd name="connsiteX9" fmla="*/ 143896 w 1208416"/>
                    <a:gd name="connsiteY9" fmla="*/ 680868 h 1222459"/>
                    <a:gd name="connsiteX10" fmla="*/ 240384 w 1208416"/>
                    <a:gd name="connsiteY10" fmla="*/ 1222460 h 1222459"/>
                    <a:gd name="connsiteX11" fmla="*/ 955235 w 1208416"/>
                    <a:gd name="connsiteY11" fmla="*/ 1220364 h 1222459"/>
                    <a:gd name="connsiteX12" fmla="*/ 1093729 w 1208416"/>
                    <a:gd name="connsiteY12" fmla="*/ 696870 h 1222459"/>
                    <a:gd name="connsiteX13" fmla="*/ 1189455 w 1208416"/>
                    <a:gd name="connsiteY13" fmla="*/ 262530 h 1222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208416" h="1222459">
                      <a:moveTo>
                        <a:pt x="1189550" y="262626"/>
                      </a:moveTo>
                      <a:cubicBezTo>
                        <a:pt x="1103921" y="179663"/>
                        <a:pt x="966475" y="205666"/>
                        <a:pt x="821695" y="114131"/>
                      </a:cubicBezTo>
                      <a:cubicBezTo>
                        <a:pt x="785500" y="80793"/>
                        <a:pt x="771689" y="38597"/>
                        <a:pt x="766641" y="15071"/>
                      </a:cubicBezTo>
                      <a:cubicBezTo>
                        <a:pt x="764831" y="6689"/>
                        <a:pt x="755401" y="2593"/>
                        <a:pt x="747971" y="6879"/>
                      </a:cubicBezTo>
                      <a:cubicBezTo>
                        <a:pt x="655769" y="60791"/>
                        <a:pt x="553947" y="49837"/>
                        <a:pt x="454506" y="1164"/>
                      </a:cubicBezTo>
                      <a:cubicBezTo>
                        <a:pt x="447934" y="-2074"/>
                        <a:pt x="440123" y="1736"/>
                        <a:pt x="438885" y="8975"/>
                      </a:cubicBezTo>
                      <a:cubicBezTo>
                        <a:pt x="436504" y="22500"/>
                        <a:pt x="431932" y="44122"/>
                        <a:pt x="424026" y="67744"/>
                      </a:cubicBezTo>
                      <a:cubicBezTo>
                        <a:pt x="421073" y="74316"/>
                        <a:pt x="412501" y="88223"/>
                        <a:pt x="390879" y="96986"/>
                      </a:cubicBezTo>
                      <a:cubicBezTo>
                        <a:pt x="225049" y="164137"/>
                        <a:pt x="111987" y="195188"/>
                        <a:pt x="17594" y="279771"/>
                      </a:cubicBezTo>
                      <a:cubicBezTo>
                        <a:pt x="-59939" y="349303"/>
                        <a:pt x="143896" y="680868"/>
                        <a:pt x="143896" y="680868"/>
                      </a:cubicBezTo>
                      <a:lnTo>
                        <a:pt x="240384" y="1222460"/>
                      </a:lnTo>
                      <a:lnTo>
                        <a:pt x="955235" y="1220364"/>
                      </a:lnTo>
                      <a:lnTo>
                        <a:pt x="1093729" y="696870"/>
                      </a:lnTo>
                      <a:cubicBezTo>
                        <a:pt x="1093729" y="696870"/>
                        <a:pt x="1264227" y="335016"/>
                        <a:pt x="1189455" y="262530"/>
                      </a:cubicBezTo>
                      <a:close/>
                    </a:path>
                  </a:pathLst>
                </a:custGeom>
                <a:solidFill>
                  <a:srgbClr val="FFE98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67" name="Freihandform: Form 666">
                  <a:extLst>
                    <a:ext uri="{FF2B5EF4-FFF2-40B4-BE49-F238E27FC236}">
                      <a16:creationId xmlns:a16="http://schemas.microsoft.com/office/drawing/2014/main" id="{E129F21A-5DFA-7B86-2A8A-08C75C29A566}"/>
                    </a:ext>
                  </a:extLst>
                </p:cNvPr>
                <p:cNvSpPr/>
                <p:nvPr/>
              </p:nvSpPr>
              <p:spPr>
                <a:xfrm>
                  <a:off x="9209944" y="7953627"/>
                  <a:ext cx="147256" cy="49531"/>
                </a:xfrm>
                <a:custGeom>
                  <a:avLst/>
                  <a:gdLst>
                    <a:gd name="connsiteX0" fmla="*/ 0 w 147256"/>
                    <a:gd name="connsiteY0" fmla="*/ 5431 h 49531"/>
                    <a:gd name="connsiteX1" fmla="*/ 55721 w 147256"/>
                    <a:gd name="connsiteY1" fmla="*/ 573 h 49531"/>
                    <a:gd name="connsiteX2" fmla="*/ 70294 w 147256"/>
                    <a:gd name="connsiteY2" fmla="*/ 4002 h 49531"/>
                    <a:gd name="connsiteX3" fmla="*/ 84010 w 147256"/>
                    <a:gd name="connsiteY3" fmla="*/ 2 h 49531"/>
                    <a:gd name="connsiteX4" fmla="*/ 147256 w 147256"/>
                    <a:gd name="connsiteY4" fmla="*/ 5812 h 49531"/>
                    <a:gd name="connsiteX5" fmla="*/ 68389 w 147256"/>
                    <a:gd name="connsiteY5" fmla="*/ 49532 h 49531"/>
                    <a:gd name="connsiteX6" fmla="*/ 0 w 147256"/>
                    <a:gd name="connsiteY6" fmla="*/ 5431 h 49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7256" h="49531">
                      <a:moveTo>
                        <a:pt x="0" y="5431"/>
                      </a:moveTo>
                      <a:cubicBezTo>
                        <a:pt x="0" y="5431"/>
                        <a:pt x="19050" y="2859"/>
                        <a:pt x="55721" y="573"/>
                      </a:cubicBezTo>
                      <a:cubicBezTo>
                        <a:pt x="58578" y="383"/>
                        <a:pt x="61817" y="4193"/>
                        <a:pt x="70294" y="4002"/>
                      </a:cubicBezTo>
                      <a:cubicBezTo>
                        <a:pt x="80296" y="3812"/>
                        <a:pt x="80676" y="-94"/>
                        <a:pt x="84010" y="2"/>
                      </a:cubicBezTo>
                      <a:cubicBezTo>
                        <a:pt x="123539" y="1049"/>
                        <a:pt x="147256" y="5812"/>
                        <a:pt x="147256" y="5812"/>
                      </a:cubicBezTo>
                      <a:cubicBezTo>
                        <a:pt x="147256" y="5812"/>
                        <a:pt x="127635" y="49532"/>
                        <a:pt x="68389" y="49532"/>
                      </a:cubicBezTo>
                      <a:cubicBezTo>
                        <a:pt x="15049" y="49532"/>
                        <a:pt x="0" y="5431"/>
                        <a:pt x="0" y="5431"/>
                      </a:cubicBezTo>
                      <a:close/>
                    </a:path>
                  </a:pathLst>
                </a:custGeom>
                <a:solidFill>
                  <a:srgbClr val="4B2E1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68" name="Freihandform: Form 667">
                  <a:extLst>
                    <a:ext uri="{FF2B5EF4-FFF2-40B4-BE49-F238E27FC236}">
                      <a16:creationId xmlns:a16="http://schemas.microsoft.com/office/drawing/2014/main" id="{83468546-3B97-B0CA-234C-EB93CFFCF2C5}"/>
                    </a:ext>
                  </a:extLst>
                </p:cNvPr>
                <p:cNvSpPr/>
                <p:nvPr/>
              </p:nvSpPr>
              <p:spPr>
                <a:xfrm>
                  <a:off x="8620918" y="8339391"/>
                  <a:ext cx="314705" cy="314706"/>
                </a:xfrm>
                <a:custGeom>
                  <a:avLst/>
                  <a:gdLst>
                    <a:gd name="connsiteX0" fmla="*/ 314706 w 314705"/>
                    <a:gd name="connsiteY0" fmla="*/ 157353 h 314706"/>
                    <a:gd name="connsiteX1" fmla="*/ 157353 w 314705"/>
                    <a:gd name="connsiteY1" fmla="*/ 314706 h 314706"/>
                    <a:gd name="connsiteX2" fmla="*/ -1 w 314705"/>
                    <a:gd name="connsiteY2" fmla="*/ 157353 h 314706"/>
                    <a:gd name="connsiteX3" fmla="*/ 157353 w 314705"/>
                    <a:gd name="connsiteY3" fmla="*/ 0 h 314706"/>
                    <a:gd name="connsiteX4" fmla="*/ 314706 w 314705"/>
                    <a:gd name="connsiteY4" fmla="*/ 157353 h 314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4705" h="314706">
                      <a:moveTo>
                        <a:pt x="314706" y="157353"/>
                      </a:moveTo>
                      <a:cubicBezTo>
                        <a:pt x="314706" y="244257"/>
                        <a:pt x="244257" y="314706"/>
                        <a:pt x="157353" y="314706"/>
                      </a:cubicBezTo>
                      <a:cubicBezTo>
                        <a:pt x="70449" y="314706"/>
                        <a:pt x="-1" y="244257"/>
                        <a:pt x="-1" y="157353"/>
                      </a:cubicBezTo>
                      <a:cubicBezTo>
                        <a:pt x="-1" y="70449"/>
                        <a:pt x="70449" y="0"/>
                        <a:pt x="157353" y="0"/>
                      </a:cubicBezTo>
                      <a:cubicBezTo>
                        <a:pt x="244256" y="0"/>
                        <a:pt x="314706" y="70449"/>
                        <a:pt x="314706" y="15735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69" name="Freihandform: Form 668">
                  <a:extLst>
                    <a:ext uri="{FF2B5EF4-FFF2-40B4-BE49-F238E27FC236}">
                      <a16:creationId xmlns:a16="http://schemas.microsoft.com/office/drawing/2014/main" id="{E2CF8869-0F2F-BFBD-C738-B9FBC5348B8B}"/>
                    </a:ext>
                  </a:extLst>
                </p:cNvPr>
                <p:cNvSpPr/>
                <p:nvPr/>
              </p:nvSpPr>
              <p:spPr>
                <a:xfrm>
                  <a:off x="8398795" y="8394827"/>
                  <a:ext cx="523018" cy="989647"/>
                </a:xfrm>
                <a:custGeom>
                  <a:avLst/>
                  <a:gdLst>
                    <a:gd name="connsiteX0" fmla="*/ 0 w 523018"/>
                    <a:gd name="connsiteY0" fmla="*/ 947261 h 989647"/>
                    <a:gd name="connsiteX1" fmla="*/ 307467 w 523018"/>
                    <a:gd name="connsiteY1" fmla="*/ 989648 h 989647"/>
                    <a:gd name="connsiteX2" fmla="*/ 523018 w 523018"/>
                    <a:gd name="connsiteY2" fmla="*/ 167259 h 989647"/>
                    <a:gd name="connsiteX3" fmla="*/ 259747 w 523018"/>
                    <a:gd name="connsiteY3" fmla="*/ 0 h 989647"/>
                    <a:gd name="connsiteX4" fmla="*/ 0 w 523018"/>
                    <a:gd name="connsiteY4" fmla="*/ 947261 h 9896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3018" h="989647">
                      <a:moveTo>
                        <a:pt x="0" y="947261"/>
                      </a:moveTo>
                      <a:lnTo>
                        <a:pt x="307467" y="989648"/>
                      </a:lnTo>
                      <a:lnTo>
                        <a:pt x="523018" y="167259"/>
                      </a:lnTo>
                      <a:lnTo>
                        <a:pt x="259747" y="0"/>
                      </a:lnTo>
                      <a:cubicBezTo>
                        <a:pt x="171069" y="80486"/>
                        <a:pt x="0" y="947261"/>
                        <a:pt x="0" y="94726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70" name="Freihandform: Form 669">
                  <a:extLst>
                    <a:ext uri="{FF2B5EF4-FFF2-40B4-BE49-F238E27FC236}">
                      <a16:creationId xmlns:a16="http://schemas.microsoft.com/office/drawing/2014/main" id="{F3AC1754-E95C-632B-5A13-138002D7E562}"/>
                    </a:ext>
                  </a:extLst>
                </p:cNvPr>
                <p:cNvSpPr/>
                <p:nvPr/>
              </p:nvSpPr>
              <p:spPr>
                <a:xfrm>
                  <a:off x="8398128" y="9204071"/>
                  <a:ext cx="310133" cy="310134"/>
                </a:xfrm>
                <a:custGeom>
                  <a:avLst/>
                  <a:gdLst>
                    <a:gd name="connsiteX0" fmla="*/ 310134 w 310133"/>
                    <a:gd name="connsiteY0" fmla="*/ 155067 h 310134"/>
                    <a:gd name="connsiteX1" fmla="*/ 155067 w 310133"/>
                    <a:gd name="connsiteY1" fmla="*/ 310134 h 310134"/>
                    <a:gd name="connsiteX2" fmla="*/ -1 w 310133"/>
                    <a:gd name="connsiteY2" fmla="*/ 155067 h 310134"/>
                    <a:gd name="connsiteX3" fmla="*/ 155067 w 310133"/>
                    <a:gd name="connsiteY3" fmla="*/ 0 h 310134"/>
                    <a:gd name="connsiteX4" fmla="*/ 310134 w 310133"/>
                    <a:gd name="connsiteY4" fmla="*/ 155067 h 3101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0133" h="310134">
                      <a:moveTo>
                        <a:pt x="310134" y="155067"/>
                      </a:moveTo>
                      <a:cubicBezTo>
                        <a:pt x="310134" y="240708"/>
                        <a:pt x="240708" y="310134"/>
                        <a:pt x="155067" y="310134"/>
                      </a:cubicBezTo>
                      <a:cubicBezTo>
                        <a:pt x="69425" y="310134"/>
                        <a:pt x="-1" y="240708"/>
                        <a:pt x="-1" y="155067"/>
                      </a:cubicBezTo>
                      <a:cubicBezTo>
                        <a:pt x="-1" y="69426"/>
                        <a:pt x="69425" y="0"/>
                        <a:pt x="155067" y="0"/>
                      </a:cubicBezTo>
                      <a:cubicBezTo>
                        <a:pt x="240708" y="0"/>
                        <a:pt x="310134" y="69426"/>
                        <a:pt x="310134" y="15506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71" name="Freihandform: Form 670">
                  <a:extLst>
                    <a:ext uri="{FF2B5EF4-FFF2-40B4-BE49-F238E27FC236}">
                      <a16:creationId xmlns:a16="http://schemas.microsoft.com/office/drawing/2014/main" id="{F364D505-FA5D-5BA0-5000-6C0CA9702D82}"/>
                    </a:ext>
                  </a:extLst>
                </p:cNvPr>
                <p:cNvSpPr/>
                <p:nvPr/>
              </p:nvSpPr>
              <p:spPr>
                <a:xfrm>
                  <a:off x="8616251" y="8188610"/>
                  <a:ext cx="575214" cy="3144202"/>
                </a:xfrm>
                <a:custGeom>
                  <a:avLst/>
                  <a:gdLst>
                    <a:gd name="connsiteX0" fmla="*/ 197358 w 575214"/>
                    <a:gd name="connsiteY0" fmla="*/ 1136999 h 3144202"/>
                    <a:gd name="connsiteX1" fmla="*/ 0 w 575214"/>
                    <a:gd name="connsiteY1" fmla="*/ 3144203 h 3144202"/>
                    <a:gd name="connsiteX2" fmla="*/ 527590 w 575214"/>
                    <a:gd name="connsiteY2" fmla="*/ 3144203 h 3144202"/>
                    <a:gd name="connsiteX3" fmla="*/ 575215 w 575214"/>
                    <a:gd name="connsiteY3" fmla="*/ 576167 h 3144202"/>
                    <a:gd name="connsiteX4" fmla="*/ 467868 w 575214"/>
                    <a:gd name="connsiteY4" fmla="*/ 0 h 3144202"/>
                    <a:gd name="connsiteX5" fmla="*/ 28194 w 575214"/>
                    <a:gd name="connsiteY5" fmla="*/ 225647 h 3144202"/>
                    <a:gd name="connsiteX6" fmla="*/ 216312 w 575214"/>
                    <a:gd name="connsiteY6" fmla="*/ 604838 h 3144202"/>
                    <a:gd name="connsiteX7" fmla="*/ 197453 w 575214"/>
                    <a:gd name="connsiteY7" fmla="*/ 1137095 h 3144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75214" h="3144202">
                      <a:moveTo>
                        <a:pt x="197358" y="1136999"/>
                      </a:moveTo>
                      <a:cubicBezTo>
                        <a:pt x="-28861" y="1726597"/>
                        <a:pt x="51340" y="2820543"/>
                        <a:pt x="0" y="3144203"/>
                      </a:cubicBezTo>
                      <a:lnTo>
                        <a:pt x="527590" y="3144203"/>
                      </a:lnTo>
                      <a:lnTo>
                        <a:pt x="575215" y="576167"/>
                      </a:lnTo>
                      <a:lnTo>
                        <a:pt x="467868" y="0"/>
                      </a:lnTo>
                      <a:cubicBezTo>
                        <a:pt x="302037" y="67151"/>
                        <a:pt x="69437" y="144590"/>
                        <a:pt x="28194" y="225647"/>
                      </a:cubicBezTo>
                      <a:cubicBezTo>
                        <a:pt x="120682" y="378047"/>
                        <a:pt x="216312" y="604838"/>
                        <a:pt x="216312" y="604838"/>
                      </a:cubicBezTo>
                      <a:cubicBezTo>
                        <a:pt x="216312" y="604838"/>
                        <a:pt x="200406" y="745903"/>
                        <a:pt x="197453" y="113709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72" name="Freihandform: Form 671">
                  <a:extLst>
                    <a:ext uri="{FF2B5EF4-FFF2-40B4-BE49-F238E27FC236}">
                      <a16:creationId xmlns:a16="http://schemas.microsoft.com/office/drawing/2014/main" id="{5B9D2844-1DD0-652C-4D91-81E2D878A56D}"/>
                    </a:ext>
                  </a:extLst>
                </p:cNvPr>
                <p:cNvSpPr/>
                <p:nvPr/>
              </p:nvSpPr>
              <p:spPr>
                <a:xfrm>
                  <a:off x="8923527" y="8237759"/>
                  <a:ext cx="199834" cy="706945"/>
                </a:xfrm>
                <a:custGeom>
                  <a:avLst/>
                  <a:gdLst>
                    <a:gd name="connsiteX0" fmla="*/ 35528 w 199834"/>
                    <a:gd name="connsiteY0" fmla="*/ 0 h 706945"/>
                    <a:gd name="connsiteX1" fmla="*/ 0 w 199834"/>
                    <a:gd name="connsiteY1" fmla="*/ 13906 h 706945"/>
                    <a:gd name="connsiteX2" fmla="*/ 88106 w 199834"/>
                    <a:gd name="connsiteY2" fmla="*/ 352234 h 706945"/>
                    <a:gd name="connsiteX3" fmla="*/ 199834 w 199834"/>
                    <a:gd name="connsiteY3" fmla="*/ 706946 h 706945"/>
                    <a:gd name="connsiteX4" fmla="*/ 123539 w 199834"/>
                    <a:gd name="connsiteY4" fmla="*/ 352234 h 706945"/>
                    <a:gd name="connsiteX5" fmla="*/ 35623 w 199834"/>
                    <a:gd name="connsiteY5" fmla="*/ 0 h 706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99834" h="706945">
                      <a:moveTo>
                        <a:pt x="35528" y="0"/>
                      </a:moveTo>
                      <a:lnTo>
                        <a:pt x="0" y="13906"/>
                      </a:lnTo>
                      <a:cubicBezTo>
                        <a:pt x="0" y="13906"/>
                        <a:pt x="76009" y="206692"/>
                        <a:pt x="88106" y="352234"/>
                      </a:cubicBezTo>
                      <a:cubicBezTo>
                        <a:pt x="100108" y="497776"/>
                        <a:pt x="199834" y="706946"/>
                        <a:pt x="199834" y="706946"/>
                      </a:cubicBezTo>
                      <a:cubicBezTo>
                        <a:pt x="199834" y="706946"/>
                        <a:pt x="128968" y="398050"/>
                        <a:pt x="123539" y="352234"/>
                      </a:cubicBezTo>
                      <a:cubicBezTo>
                        <a:pt x="118110" y="306419"/>
                        <a:pt x="35623" y="0"/>
                        <a:pt x="35623" y="0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73" name="Freihandform: Form 672">
                  <a:extLst>
                    <a:ext uri="{FF2B5EF4-FFF2-40B4-BE49-F238E27FC236}">
                      <a16:creationId xmlns:a16="http://schemas.microsoft.com/office/drawing/2014/main" id="{BC171011-8AE5-C0D6-5DF0-F67AAD4D67C8}"/>
                    </a:ext>
                  </a:extLst>
                </p:cNvPr>
                <p:cNvSpPr/>
                <p:nvPr/>
              </p:nvSpPr>
              <p:spPr>
                <a:xfrm>
                  <a:off x="8664457" y="8777255"/>
                  <a:ext cx="159748" cy="575881"/>
                </a:xfrm>
                <a:custGeom>
                  <a:avLst/>
                  <a:gdLst>
                    <a:gd name="connsiteX0" fmla="*/ 132483 w 159748"/>
                    <a:gd name="connsiteY0" fmla="*/ 0 h 575881"/>
                    <a:gd name="connsiteX1" fmla="*/ 6753 w 159748"/>
                    <a:gd name="connsiteY1" fmla="*/ 303467 h 575881"/>
                    <a:gd name="connsiteX2" fmla="*/ 50568 w 159748"/>
                    <a:gd name="connsiteY2" fmla="*/ 575881 h 575881"/>
                    <a:gd name="connsiteX3" fmla="*/ 50568 w 159748"/>
                    <a:gd name="connsiteY3" fmla="*/ 575881 h 575881"/>
                    <a:gd name="connsiteX4" fmla="*/ 157343 w 159748"/>
                    <a:gd name="connsiteY4" fmla="*/ 197834 h 575881"/>
                    <a:gd name="connsiteX5" fmla="*/ 132387 w 159748"/>
                    <a:gd name="connsiteY5" fmla="*/ 0 h 575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59748" h="575881">
                      <a:moveTo>
                        <a:pt x="132483" y="0"/>
                      </a:moveTo>
                      <a:cubicBezTo>
                        <a:pt x="80191" y="30004"/>
                        <a:pt x="-28013" y="139351"/>
                        <a:pt x="6753" y="303467"/>
                      </a:cubicBezTo>
                      <a:cubicBezTo>
                        <a:pt x="41614" y="467582"/>
                        <a:pt x="50568" y="575881"/>
                        <a:pt x="50568" y="575881"/>
                      </a:cubicBezTo>
                      <a:lnTo>
                        <a:pt x="50568" y="575881"/>
                      </a:lnTo>
                      <a:lnTo>
                        <a:pt x="157343" y="197834"/>
                      </a:lnTo>
                      <a:cubicBezTo>
                        <a:pt x="160201" y="166592"/>
                        <a:pt x="166582" y="73057"/>
                        <a:pt x="132387" y="0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74" name="Freihandform: Form 673">
                  <a:extLst>
                    <a:ext uri="{FF2B5EF4-FFF2-40B4-BE49-F238E27FC236}">
                      <a16:creationId xmlns:a16="http://schemas.microsoft.com/office/drawing/2014/main" id="{C3C6A192-C217-53EE-D85E-FAFBFE42F267}"/>
                    </a:ext>
                  </a:extLst>
                </p:cNvPr>
                <p:cNvSpPr/>
                <p:nvPr/>
              </p:nvSpPr>
              <p:spPr>
                <a:xfrm>
                  <a:off x="8695689" y="9943306"/>
                  <a:ext cx="330837" cy="409959"/>
                </a:xfrm>
                <a:custGeom>
                  <a:avLst/>
                  <a:gdLst>
                    <a:gd name="connsiteX0" fmla="*/ 49911 w 330837"/>
                    <a:gd name="connsiteY0" fmla="*/ 0 h 409959"/>
                    <a:gd name="connsiteX1" fmla="*/ 37338 w 330837"/>
                    <a:gd name="connsiteY1" fmla="*/ 351377 h 409959"/>
                    <a:gd name="connsiteX2" fmla="*/ 330804 w 330837"/>
                    <a:gd name="connsiteY2" fmla="*/ 359093 h 409959"/>
                    <a:gd name="connsiteX3" fmla="*/ 0 w 330837"/>
                    <a:gd name="connsiteY3" fmla="*/ 388715 h 409959"/>
                    <a:gd name="connsiteX4" fmla="*/ 25146 w 330837"/>
                    <a:gd name="connsiteY4" fmla="*/ 81724 h 409959"/>
                    <a:gd name="connsiteX5" fmla="*/ 49911 w 330837"/>
                    <a:gd name="connsiteY5" fmla="*/ 0 h 409959"/>
                    <a:gd name="connsiteX6" fmla="*/ 49911 w 330837"/>
                    <a:gd name="connsiteY6" fmla="*/ 0 h 409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30837" h="409959">
                      <a:moveTo>
                        <a:pt x="49911" y="0"/>
                      </a:moveTo>
                      <a:cubicBezTo>
                        <a:pt x="49911" y="0"/>
                        <a:pt x="33909" y="310229"/>
                        <a:pt x="37338" y="351377"/>
                      </a:cubicBezTo>
                      <a:cubicBezTo>
                        <a:pt x="43149" y="368713"/>
                        <a:pt x="307372" y="358616"/>
                        <a:pt x="330804" y="359093"/>
                      </a:cubicBezTo>
                      <a:cubicBezTo>
                        <a:pt x="334709" y="393859"/>
                        <a:pt x="0" y="436340"/>
                        <a:pt x="0" y="388715"/>
                      </a:cubicBezTo>
                      <a:cubicBezTo>
                        <a:pt x="0" y="341090"/>
                        <a:pt x="20193" y="122015"/>
                        <a:pt x="25146" y="81724"/>
                      </a:cubicBezTo>
                      <a:cubicBezTo>
                        <a:pt x="31909" y="25813"/>
                        <a:pt x="32861" y="8572"/>
                        <a:pt x="49911" y="0"/>
                      </a:cubicBezTo>
                      <a:lnTo>
                        <a:pt x="49911" y="0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75" name="Freihandform: Form 674">
                  <a:extLst>
                    <a:ext uri="{FF2B5EF4-FFF2-40B4-BE49-F238E27FC236}">
                      <a16:creationId xmlns:a16="http://schemas.microsoft.com/office/drawing/2014/main" id="{3C0411B1-9B21-649B-552E-356EE21889C8}"/>
                    </a:ext>
                  </a:extLst>
                </p:cNvPr>
                <p:cNvSpPr/>
                <p:nvPr/>
              </p:nvSpPr>
              <p:spPr>
                <a:xfrm>
                  <a:off x="9393395" y="8211756"/>
                  <a:ext cx="575977" cy="3121056"/>
                </a:xfrm>
                <a:custGeom>
                  <a:avLst/>
                  <a:gdLst>
                    <a:gd name="connsiteX0" fmla="*/ 575977 w 575977"/>
                    <a:gd name="connsiteY0" fmla="*/ 3121057 h 3121056"/>
                    <a:gd name="connsiteX1" fmla="*/ 377857 w 575977"/>
                    <a:gd name="connsiteY1" fmla="*/ 1113854 h 3121056"/>
                    <a:gd name="connsiteX2" fmla="*/ 358997 w 575977"/>
                    <a:gd name="connsiteY2" fmla="*/ 581597 h 3121056"/>
                    <a:gd name="connsiteX3" fmla="*/ 540925 w 575977"/>
                    <a:gd name="connsiteY3" fmla="*/ 220123 h 3121056"/>
                    <a:gd name="connsiteX4" fmla="*/ 102680 w 575977"/>
                    <a:gd name="connsiteY4" fmla="*/ 0 h 3121056"/>
                    <a:gd name="connsiteX5" fmla="*/ 0 w 575977"/>
                    <a:gd name="connsiteY5" fmla="*/ 552926 h 3121056"/>
                    <a:gd name="connsiteX6" fmla="*/ 47816 w 575977"/>
                    <a:gd name="connsiteY6" fmla="*/ 3120962 h 3121056"/>
                    <a:gd name="connsiteX7" fmla="*/ 575977 w 575977"/>
                    <a:gd name="connsiteY7" fmla="*/ 3120962 h 3121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75977" h="3121056">
                      <a:moveTo>
                        <a:pt x="575977" y="3121057"/>
                      </a:moveTo>
                      <a:cubicBezTo>
                        <a:pt x="522923" y="2803493"/>
                        <a:pt x="605219" y="1706594"/>
                        <a:pt x="377857" y="1113854"/>
                      </a:cubicBezTo>
                      <a:cubicBezTo>
                        <a:pt x="374904" y="722757"/>
                        <a:pt x="358997" y="581597"/>
                        <a:pt x="358997" y="581597"/>
                      </a:cubicBezTo>
                      <a:cubicBezTo>
                        <a:pt x="358997" y="581597"/>
                        <a:pt x="448437" y="372523"/>
                        <a:pt x="540925" y="220123"/>
                      </a:cubicBezTo>
                      <a:cubicBezTo>
                        <a:pt x="496729" y="112681"/>
                        <a:pt x="254889" y="58102"/>
                        <a:pt x="102680" y="0"/>
                      </a:cubicBezTo>
                      <a:lnTo>
                        <a:pt x="0" y="552926"/>
                      </a:lnTo>
                      <a:lnTo>
                        <a:pt x="47816" y="3120962"/>
                      </a:lnTo>
                      <a:lnTo>
                        <a:pt x="575977" y="312096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76" name="Freihandform: Form 675">
                  <a:extLst>
                    <a:ext uri="{FF2B5EF4-FFF2-40B4-BE49-F238E27FC236}">
                      <a16:creationId xmlns:a16="http://schemas.microsoft.com/office/drawing/2014/main" id="{EF8DADA0-47FA-B764-3F72-0272BF169991}"/>
                    </a:ext>
                  </a:extLst>
                </p:cNvPr>
                <p:cNvSpPr/>
                <p:nvPr/>
              </p:nvSpPr>
              <p:spPr>
                <a:xfrm>
                  <a:off x="9346962" y="8048069"/>
                  <a:ext cx="321998" cy="541925"/>
                </a:xfrm>
                <a:custGeom>
                  <a:avLst/>
                  <a:gdLst>
                    <a:gd name="connsiteX0" fmla="*/ 108251 w 321998"/>
                    <a:gd name="connsiteY0" fmla="*/ 79486 h 541925"/>
                    <a:gd name="connsiteX1" fmla="*/ 300084 w 321998"/>
                    <a:gd name="connsiteY1" fmla="*/ 216265 h 541925"/>
                    <a:gd name="connsiteX2" fmla="*/ 180641 w 321998"/>
                    <a:gd name="connsiteY2" fmla="*/ 354378 h 541925"/>
                    <a:gd name="connsiteX3" fmla="*/ 149113 w 321998"/>
                    <a:gd name="connsiteY3" fmla="*/ 541925 h 541925"/>
                    <a:gd name="connsiteX4" fmla="*/ 35289 w 321998"/>
                    <a:gd name="connsiteY4" fmla="*/ 264176 h 541925"/>
                    <a:gd name="connsiteX5" fmla="*/ 108251 w 321998"/>
                    <a:gd name="connsiteY5" fmla="*/ 79486 h 541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1998" h="541925">
                      <a:moveTo>
                        <a:pt x="108251" y="79486"/>
                      </a:moveTo>
                      <a:cubicBezTo>
                        <a:pt x="82534" y="-113585"/>
                        <a:pt x="407717" y="89964"/>
                        <a:pt x="300084" y="216265"/>
                      </a:cubicBezTo>
                      <a:cubicBezTo>
                        <a:pt x="300084" y="216265"/>
                        <a:pt x="221217" y="286750"/>
                        <a:pt x="180641" y="354378"/>
                      </a:cubicBezTo>
                      <a:cubicBezTo>
                        <a:pt x="140064" y="422005"/>
                        <a:pt x="146256" y="484870"/>
                        <a:pt x="149113" y="541925"/>
                      </a:cubicBezTo>
                      <a:cubicBezTo>
                        <a:pt x="-20336" y="527161"/>
                        <a:pt x="-25194" y="321612"/>
                        <a:pt x="35289" y="264176"/>
                      </a:cubicBezTo>
                      <a:cubicBezTo>
                        <a:pt x="133968" y="170450"/>
                        <a:pt x="123015" y="126635"/>
                        <a:pt x="108251" y="7948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77" name="Freihandform: Form 676">
                  <a:extLst>
                    <a:ext uri="{FF2B5EF4-FFF2-40B4-BE49-F238E27FC236}">
                      <a16:creationId xmlns:a16="http://schemas.microsoft.com/office/drawing/2014/main" id="{1FE7F2B8-5F87-279F-E25E-C648194A987F}"/>
                    </a:ext>
                  </a:extLst>
                </p:cNvPr>
                <p:cNvSpPr/>
                <p:nvPr/>
              </p:nvSpPr>
              <p:spPr>
                <a:xfrm>
                  <a:off x="8386350" y="9342088"/>
                  <a:ext cx="319816" cy="722471"/>
                </a:xfrm>
                <a:custGeom>
                  <a:avLst/>
                  <a:gdLst>
                    <a:gd name="connsiteX0" fmla="*/ 11778 w 319816"/>
                    <a:gd name="connsiteY0" fmla="*/ 722471 h 722471"/>
                    <a:gd name="connsiteX1" fmla="*/ 243998 w 319816"/>
                    <a:gd name="connsiteY1" fmla="*/ 722471 h 722471"/>
                    <a:gd name="connsiteX2" fmla="*/ 319817 w 319816"/>
                    <a:gd name="connsiteY2" fmla="*/ 42386 h 722471"/>
                    <a:gd name="connsiteX3" fmla="*/ 12350 w 319816"/>
                    <a:gd name="connsiteY3" fmla="*/ 0 h 722471"/>
                    <a:gd name="connsiteX4" fmla="*/ 11683 w 319816"/>
                    <a:gd name="connsiteY4" fmla="*/ 722471 h 7224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9816" h="722471">
                      <a:moveTo>
                        <a:pt x="11778" y="722471"/>
                      </a:moveTo>
                      <a:lnTo>
                        <a:pt x="243998" y="722471"/>
                      </a:lnTo>
                      <a:cubicBezTo>
                        <a:pt x="243998" y="722471"/>
                        <a:pt x="304100" y="215360"/>
                        <a:pt x="319817" y="42386"/>
                      </a:cubicBezTo>
                      <a:lnTo>
                        <a:pt x="12350" y="0"/>
                      </a:lnTo>
                      <a:cubicBezTo>
                        <a:pt x="12350" y="339566"/>
                        <a:pt x="-14987" y="531781"/>
                        <a:pt x="11683" y="72247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78" name="Freihandform: Form 677">
                  <a:extLst>
                    <a:ext uri="{FF2B5EF4-FFF2-40B4-BE49-F238E27FC236}">
                      <a16:creationId xmlns:a16="http://schemas.microsoft.com/office/drawing/2014/main" id="{9CA545DF-AF6E-E137-A1F6-37EFB919E5BB}"/>
                    </a:ext>
                  </a:extLst>
                </p:cNvPr>
                <p:cNvSpPr/>
                <p:nvPr/>
              </p:nvSpPr>
              <p:spPr>
                <a:xfrm>
                  <a:off x="9633235" y="8339391"/>
                  <a:ext cx="314705" cy="314706"/>
                </a:xfrm>
                <a:custGeom>
                  <a:avLst/>
                  <a:gdLst>
                    <a:gd name="connsiteX0" fmla="*/ 314706 w 314705"/>
                    <a:gd name="connsiteY0" fmla="*/ 157353 h 314706"/>
                    <a:gd name="connsiteX1" fmla="*/ 157353 w 314705"/>
                    <a:gd name="connsiteY1" fmla="*/ 314706 h 314706"/>
                    <a:gd name="connsiteX2" fmla="*/ 0 w 314705"/>
                    <a:gd name="connsiteY2" fmla="*/ 157353 h 314706"/>
                    <a:gd name="connsiteX3" fmla="*/ 157353 w 314705"/>
                    <a:gd name="connsiteY3" fmla="*/ 0 h 314706"/>
                    <a:gd name="connsiteX4" fmla="*/ 314706 w 314705"/>
                    <a:gd name="connsiteY4" fmla="*/ 157353 h 314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4705" h="314706">
                      <a:moveTo>
                        <a:pt x="314706" y="157353"/>
                      </a:moveTo>
                      <a:cubicBezTo>
                        <a:pt x="314706" y="244257"/>
                        <a:pt x="244257" y="314706"/>
                        <a:pt x="157353" y="314706"/>
                      </a:cubicBezTo>
                      <a:cubicBezTo>
                        <a:pt x="70449" y="314706"/>
                        <a:pt x="0" y="244257"/>
                        <a:pt x="0" y="157353"/>
                      </a:cubicBezTo>
                      <a:cubicBezTo>
                        <a:pt x="0" y="70449"/>
                        <a:pt x="70449" y="0"/>
                        <a:pt x="157353" y="0"/>
                      </a:cubicBezTo>
                      <a:cubicBezTo>
                        <a:pt x="244256" y="0"/>
                        <a:pt x="314706" y="70449"/>
                        <a:pt x="314706" y="15735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79" name="Freihandform: Form 678">
                  <a:extLst>
                    <a:ext uri="{FF2B5EF4-FFF2-40B4-BE49-F238E27FC236}">
                      <a16:creationId xmlns:a16="http://schemas.microsoft.com/office/drawing/2014/main" id="{042427F4-FCF2-0F39-1096-AC3825631F97}"/>
                    </a:ext>
                  </a:extLst>
                </p:cNvPr>
                <p:cNvSpPr/>
                <p:nvPr/>
              </p:nvSpPr>
              <p:spPr>
                <a:xfrm>
                  <a:off x="9658000" y="8417591"/>
                  <a:ext cx="625982" cy="890015"/>
                </a:xfrm>
                <a:custGeom>
                  <a:avLst/>
                  <a:gdLst>
                    <a:gd name="connsiteX0" fmla="*/ 625888 w 625982"/>
                    <a:gd name="connsiteY0" fmla="*/ 774287 h 890015"/>
                    <a:gd name="connsiteX1" fmla="*/ 334518 w 625982"/>
                    <a:gd name="connsiteY1" fmla="*/ 890016 h 890015"/>
                    <a:gd name="connsiteX2" fmla="*/ 135064 w 625982"/>
                    <a:gd name="connsiteY2" fmla="*/ 426720 h 890015"/>
                    <a:gd name="connsiteX3" fmla="*/ 0 w 625982"/>
                    <a:gd name="connsiteY3" fmla="*/ 163163 h 890015"/>
                    <a:gd name="connsiteX4" fmla="*/ 268986 w 625982"/>
                    <a:gd name="connsiteY4" fmla="*/ 0 h 890015"/>
                    <a:gd name="connsiteX5" fmla="*/ 430339 w 625982"/>
                    <a:gd name="connsiteY5" fmla="*/ 315373 h 890015"/>
                    <a:gd name="connsiteX6" fmla="*/ 625983 w 625982"/>
                    <a:gd name="connsiteY6" fmla="*/ 774287 h 890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5982" h="890015">
                      <a:moveTo>
                        <a:pt x="625888" y="774287"/>
                      </a:moveTo>
                      <a:lnTo>
                        <a:pt x="334518" y="890016"/>
                      </a:lnTo>
                      <a:lnTo>
                        <a:pt x="135064" y="426720"/>
                      </a:lnTo>
                      <a:lnTo>
                        <a:pt x="0" y="163163"/>
                      </a:lnTo>
                      <a:lnTo>
                        <a:pt x="268986" y="0"/>
                      </a:lnTo>
                      <a:cubicBezTo>
                        <a:pt x="311182" y="74009"/>
                        <a:pt x="367665" y="187928"/>
                        <a:pt x="430339" y="315373"/>
                      </a:cubicBezTo>
                      <a:cubicBezTo>
                        <a:pt x="529780" y="517589"/>
                        <a:pt x="625983" y="774287"/>
                        <a:pt x="625983" y="77428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80" name="Freihandform: Form 679">
                  <a:extLst>
                    <a:ext uri="{FF2B5EF4-FFF2-40B4-BE49-F238E27FC236}">
                      <a16:creationId xmlns:a16="http://schemas.microsoft.com/office/drawing/2014/main" id="{7BFE1B38-3B38-B034-1756-55581EA17A33}"/>
                    </a:ext>
                  </a:extLst>
                </p:cNvPr>
                <p:cNvSpPr/>
                <p:nvPr/>
              </p:nvSpPr>
              <p:spPr>
                <a:xfrm>
                  <a:off x="9381870" y="8729059"/>
                  <a:ext cx="596360" cy="785241"/>
                </a:xfrm>
                <a:custGeom>
                  <a:avLst/>
                  <a:gdLst>
                    <a:gd name="connsiteX0" fmla="*/ 572548 w 596360"/>
                    <a:gd name="connsiteY0" fmla="*/ 0 h 785241"/>
                    <a:gd name="connsiteX1" fmla="*/ 596360 w 596360"/>
                    <a:gd name="connsiteY1" fmla="*/ 23813 h 785241"/>
                    <a:gd name="connsiteX2" fmla="*/ 596360 w 596360"/>
                    <a:gd name="connsiteY2" fmla="*/ 761429 h 785241"/>
                    <a:gd name="connsiteX3" fmla="*/ 572548 w 596360"/>
                    <a:gd name="connsiteY3" fmla="*/ 785241 h 785241"/>
                    <a:gd name="connsiteX4" fmla="*/ 23813 w 596360"/>
                    <a:gd name="connsiteY4" fmla="*/ 785241 h 785241"/>
                    <a:gd name="connsiteX5" fmla="*/ 0 w 596360"/>
                    <a:gd name="connsiteY5" fmla="*/ 761429 h 785241"/>
                    <a:gd name="connsiteX6" fmla="*/ 0 w 596360"/>
                    <a:gd name="connsiteY6" fmla="*/ 23813 h 785241"/>
                    <a:gd name="connsiteX7" fmla="*/ 23813 w 596360"/>
                    <a:gd name="connsiteY7" fmla="*/ 0 h 785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96360" h="785241">
                      <a:moveTo>
                        <a:pt x="572548" y="0"/>
                      </a:moveTo>
                      <a:cubicBezTo>
                        <a:pt x="585699" y="0"/>
                        <a:pt x="596360" y="10661"/>
                        <a:pt x="596360" y="23813"/>
                      </a:cubicBezTo>
                      <a:lnTo>
                        <a:pt x="596360" y="761429"/>
                      </a:lnTo>
                      <a:cubicBezTo>
                        <a:pt x="596360" y="774580"/>
                        <a:pt x="585699" y="785241"/>
                        <a:pt x="572548" y="785241"/>
                      </a:cubicBezTo>
                      <a:lnTo>
                        <a:pt x="23813" y="785241"/>
                      </a:lnTo>
                      <a:cubicBezTo>
                        <a:pt x="10661" y="785241"/>
                        <a:pt x="0" y="774580"/>
                        <a:pt x="0" y="761429"/>
                      </a:cubicBezTo>
                      <a:lnTo>
                        <a:pt x="0" y="23813"/>
                      </a:lnTo>
                      <a:cubicBezTo>
                        <a:pt x="0" y="10661"/>
                        <a:pt x="10661" y="0"/>
                        <a:pt x="23813" y="0"/>
                      </a:cubicBezTo>
                      <a:close/>
                    </a:path>
                  </a:pathLst>
                </a:custGeom>
                <a:solidFill>
                  <a:srgbClr val="EDEDE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81" name="Freihandform: Form 680">
                  <a:extLst>
                    <a:ext uri="{FF2B5EF4-FFF2-40B4-BE49-F238E27FC236}">
                      <a16:creationId xmlns:a16="http://schemas.microsoft.com/office/drawing/2014/main" id="{B534DF9B-2A77-DF9B-944E-C90AE5230EC0}"/>
                    </a:ext>
                  </a:extLst>
                </p:cNvPr>
                <p:cNvSpPr/>
                <p:nvPr/>
              </p:nvSpPr>
              <p:spPr>
                <a:xfrm>
                  <a:off x="9348914" y="8729059"/>
                  <a:ext cx="596360" cy="785241"/>
                </a:xfrm>
                <a:custGeom>
                  <a:avLst/>
                  <a:gdLst>
                    <a:gd name="connsiteX0" fmla="*/ 0 w 596360"/>
                    <a:gd name="connsiteY0" fmla="*/ 0 h 785241"/>
                    <a:gd name="connsiteX1" fmla="*/ 596360 w 596360"/>
                    <a:gd name="connsiteY1" fmla="*/ 0 h 785241"/>
                    <a:gd name="connsiteX2" fmla="*/ 596360 w 596360"/>
                    <a:gd name="connsiteY2" fmla="*/ 785241 h 785241"/>
                    <a:gd name="connsiteX3" fmla="*/ 0 w 596360"/>
                    <a:gd name="connsiteY3" fmla="*/ 785241 h 785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96360" h="785241">
                      <a:moveTo>
                        <a:pt x="0" y="0"/>
                      </a:moveTo>
                      <a:lnTo>
                        <a:pt x="596360" y="0"/>
                      </a:lnTo>
                      <a:lnTo>
                        <a:pt x="596360" y="785241"/>
                      </a:lnTo>
                      <a:lnTo>
                        <a:pt x="0" y="785241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82" name="Freihandform: Form 681">
                  <a:extLst>
                    <a:ext uri="{FF2B5EF4-FFF2-40B4-BE49-F238E27FC236}">
                      <a16:creationId xmlns:a16="http://schemas.microsoft.com/office/drawing/2014/main" id="{AED6357C-54F3-8D49-2E23-5FD6FEB31DCB}"/>
                    </a:ext>
                  </a:extLst>
                </p:cNvPr>
                <p:cNvSpPr/>
                <p:nvPr/>
              </p:nvSpPr>
              <p:spPr>
                <a:xfrm>
                  <a:off x="9578942" y="8850693"/>
                  <a:ext cx="123253" cy="123253"/>
                </a:xfrm>
                <a:custGeom>
                  <a:avLst/>
                  <a:gdLst>
                    <a:gd name="connsiteX0" fmla="*/ 123254 w 123253"/>
                    <a:gd name="connsiteY0" fmla="*/ 61627 h 123253"/>
                    <a:gd name="connsiteX1" fmla="*/ 61627 w 123253"/>
                    <a:gd name="connsiteY1" fmla="*/ 123253 h 123253"/>
                    <a:gd name="connsiteX2" fmla="*/ 1 w 123253"/>
                    <a:gd name="connsiteY2" fmla="*/ 61627 h 123253"/>
                    <a:gd name="connsiteX3" fmla="*/ 61627 w 123253"/>
                    <a:gd name="connsiteY3" fmla="*/ 0 h 123253"/>
                    <a:gd name="connsiteX4" fmla="*/ 123254 w 123253"/>
                    <a:gd name="connsiteY4" fmla="*/ 61627 h 1232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3253" h="123253">
                      <a:moveTo>
                        <a:pt x="123254" y="61627"/>
                      </a:moveTo>
                      <a:cubicBezTo>
                        <a:pt x="123254" y="95662"/>
                        <a:pt x="95662" y="123253"/>
                        <a:pt x="61627" y="123253"/>
                      </a:cubicBezTo>
                      <a:cubicBezTo>
                        <a:pt x="27592" y="123253"/>
                        <a:pt x="1" y="95662"/>
                        <a:pt x="1" y="61627"/>
                      </a:cubicBezTo>
                      <a:cubicBezTo>
                        <a:pt x="1" y="27591"/>
                        <a:pt x="27592" y="0"/>
                        <a:pt x="61627" y="0"/>
                      </a:cubicBezTo>
                      <a:cubicBezTo>
                        <a:pt x="95663" y="0"/>
                        <a:pt x="123254" y="27591"/>
                        <a:pt x="123254" y="61627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83" name="Freihandform: Form 682">
                  <a:extLst>
                    <a:ext uri="{FF2B5EF4-FFF2-40B4-BE49-F238E27FC236}">
                      <a16:creationId xmlns:a16="http://schemas.microsoft.com/office/drawing/2014/main" id="{B45FD80F-261C-A8D7-30B0-9978161E9686}"/>
                    </a:ext>
                  </a:extLst>
                </p:cNvPr>
                <p:cNvSpPr/>
                <p:nvPr/>
              </p:nvSpPr>
              <p:spPr>
                <a:xfrm>
                  <a:off x="9852024" y="8764778"/>
                  <a:ext cx="24955" cy="24955"/>
                </a:xfrm>
                <a:custGeom>
                  <a:avLst/>
                  <a:gdLst>
                    <a:gd name="connsiteX0" fmla="*/ 24955 w 24955"/>
                    <a:gd name="connsiteY0" fmla="*/ 12478 h 24955"/>
                    <a:gd name="connsiteX1" fmla="*/ 12478 w 24955"/>
                    <a:gd name="connsiteY1" fmla="*/ 24955 h 24955"/>
                    <a:gd name="connsiteX2" fmla="*/ 0 w 24955"/>
                    <a:gd name="connsiteY2" fmla="*/ 12478 h 24955"/>
                    <a:gd name="connsiteX3" fmla="*/ 12478 w 24955"/>
                    <a:gd name="connsiteY3" fmla="*/ 0 h 24955"/>
                    <a:gd name="connsiteX4" fmla="*/ 24955 w 24955"/>
                    <a:gd name="connsiteY4" fmla="*/ 12478 h 24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955" h="24955">
                      <a:moveTo>
                        <a:pt x="24955" y="12478"/>
                      </a:moveTo>
                      <a:cubicBezTo>
                        <a:pt x="24955" y="19369"/>
                        <a:pt x="19369" y="24955"/>
                        <a:pt x="12478" y="24955"/>
                      </a:cubicBezTo>
                      <a:cubicBezTo>
                        <a:pt x="5586" y="24955"/>
                        <a:pt x="0" y="19369"/>
                        <a:pt x="0" y="12478"/>
                      </a:cubicBezTo>
                      <a:cubicBezTo>
                        <a:pt x="0" y="5586"/>
                        <a:pt x="5586" y="0"/>
                        <a:pt x="12478" y="0"/>
                      </a:cubicBezTo>
                      <a:cubicBezTo>
                        <a:pt x="19369" y="0"/>
                        <a:pt x="24955" y="5586"/>
                        <a:pt x="24955" y="12478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84" name="Freihandform: Form 683">
                  <a:extLst>
                    <a:ext uri="{FF2B5EF4-FFF2-40B4-BE49-F238E27FC236}">
                      <a16:creationId xmlns:a16="http://schemas.microsoft.com/office/drawing/2014/main" id="{CBEBD391-2E34-DC59-7D89-9209F82CDFCE}"/>
                    </a:ext>
                  </a:extLst>
                </p:cNvPr>
                <p:cNvSpPr/>
                <p:nvPr/>
              </p:nvSpPr>
              <p:spPr>
                <a:xfrm>
                  <a:off x="9472929" y="9031097"/>
                  <a:ext cx="135255" cy="135254"/>
                </a:xfrm>
                <a:custGeom>
                  <a:avLst/>
                  <a:gdLst>
                    <a:gd name="connsiteX0" fmla="*/ 135255 w 135255"/>
                    <a:gd name="connsiteY0" fmla="*/ 67628 h 135254"/>
                    <a:gd name="connsiteX1" fmla="*/ 67628 w 135255"/>
                    <a:gd name="connsiteY1" fmla="*/ 135255 h 135254"/>
                    <a:gd name="connsiteX2" fmla="*/ 1 w 135255"/>
                    <a:gd name="connsiteY2" fmla="*/ 67628 h 135254"/>
                    <a:gd name="connsiteX3" fmla="*/ 67628 w 135255"/>
                    <a:gd name="connsiteY3" fmla="*/ 0 h 135254"/>
                    <a:gd name="connsiteX4" fmla="*/ 135255 w 135255"/>
                    <a:gd name="connsiteY4" fmla="*/ 67628 h 1352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255" h="135254">
                      <a:moveTo>
                        <a:pt x="135255" y="67628"/>
                      </a:moveTo>
                      <a:cubicBezTo>
                        <a:pt x="135255" y="104977"/>
                        <a:pt x="104977" y="135255"/>
                        <a:pt x="67628" y="135255"/>
                      </a:cubicBezTo>
                      <a:cubicBezTo>
                        <a:pt x="30279" y="135255"/>
                        <a:pt x="1" y="104977"/>
                        <a:pt x="1" y="67628"/>
                      </a:cubicBezTo>
                      <a:cubicBezTo>
                        <a:pt x="1" y="30278"/>
                        <a:pt x="30279" y="0"/>
                        <a:pt x="67628" y="0"/>
                      </a:cubicBezTo>
                      <a:cubicBezTo>
                        <a:pt x="104977" y="0"/>
                        <a:pt x="135255" y="30278"/>
                        <a:pt x="135255" y="6762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85" name="Freihandform: Form 684">
                  <a:extLst>
                    <a:ext uri="{FF2B5EF4-FFF2-40B4-BE49-F238E27FC236}">
                      <a16:creationId xmlns:a16="http://schemas.microsoft.com/office/drawing/2014/main" id="{07E98A5B-DC36-4271-666C-7683EBEC7183}"/>
                    </a:ext>
                  </a:extLst>
                </p:cNvPr>
                <p:cNvSpPr/>
                <p:nvPr/>
              </p:nvSpPr>
              <p:spPr>
                <a:xfrm>
                  <a:off x="9261970" y="8864885"/>
                  <a:ext cx="308150" cy="265148"/>
                </a:xfrm>
                <a:custGeom>
                  <a:avLst/>
                  <a:gdLst>
                    <a:gd name="connsiteX0" fmla="*/ 167049 w 308150"/>
                    <a:gd name="connsiteY0" fmla="*/ 59246 h 265148"/>
                    <a:gd name="connsiteX1" fmla="*/ 245725 w 308150"/>
                    <a:gd name="connsiteY1" fmla="*/ 106299 h 265148"/>
                    <a:gd name="connsiteX2" fmla="*/ 306685 w 308150"/>
                    <a:gd name="connsiteY2" fmla="*/ 206788 h 265148"/>
                    <a:gd name="connsiteX3" fmla="*/ 197338 w 308150"/>
                    <a:gd name="connsiteY3" fmla="*/ 239173 h 265148"/>
                    <a:gd name="connsiteX4" fmla="*/ 131520 w 308150"/>
                    <a:gd name="connsiteY4" fmla="*/ 136588 h 265148"/>
                    <a:gd name="connsiteX5" fmla="*/ 67322 w 308150"/>
                    <a:gd name="connsiteY5" fmla="*/ 96012 h 265148"/>
                    <a:gd name="connsiteX6" fmla="*/ 67322 w 308150"/>
                    <a:gd name="connsiteY6" fmla="*/ 96012 h 265148"/>
                    <a:gd name="connsiteX7" fmla="*/ 22269 w 308150"/>
                    <a:gd name="connsiteY7" fmla="*/ 64579 h 265148"/>
                    <a:gd name="connsiteX8" fmla="*/ 5790 w 308150"/>
                    <a:gd name="connsiteY8" fmla="*/ 0 h 265148"/>
                    <a:gd name="connsiteX9" fmla="*/ 71036 w 308150"/>
                    <a:gd name="connsiteY9" fmla="*/ 37147 h 265148"/>
                    <a:gd name="connsiteX10" fmla="*/ 166000 w 308150"/>
                    <a:gd name="connsiteY10" fmla="*/ 58674 h 265148"/>
                    <a:gd name="connsiteX11" fmla="*/ 166572 w 308150"/>
                    <a:gd name="connsiteY11" fmla="*/ 59912 h 265148"/>
                    <a:gd name="connsiteX12" fmla="*/ 167049 w 308150"/>
                    <a:gd name="connsiteY12" fmla="*/ 59150 h 265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08150" h="265148">
                      <a:moveTo>
                        <a:pt x="167049" y="59246"/>
                      </a:moveTo>
                      <a:cubicBezTo>
                        <a:pt x="167049" y="59246"/>
                        <a:pt x="224770" y="90297"/>
                        <a:pt x="245725" y="106299"/>
                      </a:cubicBezTo>
                      <a:cubicBezTo>
                        <a:pt x="245725" y="106299"/>
                        <a:pt x="319353" y="177927"/>
                        <a:pt x="306685" y="206788"/>
                      </a:cubicBezTo>
                      <a:cubicBezTo>
                        <a:pt x="283920" y="258699"/>
                        <a:pt x="207244" y="290322"/>
                        <a:pt x="197338" y="239173"/>
                      </a:cubicBezTo>
                      <a:cubicBezTo>
                        <a:pt x="186765" y="184975"/>
                        <a:pt x="139331" y="143256"/>
                        <a:pt x="131520" y="136588"/>
                      </a:cubicBezTo>
                      <a:lnTo>
                        <a:pt x="67322" y="96012"/>
                      </a:lnTo>
                      <a:cubicBezTo>
                        <a:pt x="67322" y="96012"/>
                        <a:pt x="67322" y="96012"/>
                        <a:pt x="67322" y="96012"/>
                      </a:cubicBezTo>
                      <a:cubicBezTo>
                        <a:pt x="53606" y="87154"/>
                        <a:pt x="37508" y="76009"/>
                        <a:pt x="22269" y="64579"/>
                      </a:cubicBezTo>
                      <a:cubicBezTo>
                        <a:pt x="1599" y="48958"/>
                        <a:pt x="-6497" y="32957"/>
                        <a:pt x="5790" y="0"/>
                      </a:cubicBezTo>
                      <a:lnTo>
                        <a:pt x="71036" y="37147"/>
                      </a:lnTo>
                      <a:cubicBezTo>
                        <a:pt x="71036" y="37147"/>
                        <a:pt x="167049" y="59150"/>
                        <a:pt x="166000" y="58674"/>
                      </a:cubicBezTo>
                      <a:cubicBezTo>
                        <a:pt x="166286" y="59055"/>
                        <a:pt x="166382" y="59531"/>
                        <a:pt x="166572" y="59912"/>
                      </a:cubicBezTo>
                      <a:cubicBezTo>
                        <a:pt x="166763" y="59626"/>
                        <a:pt x="166858" y="59436"/>
                        <a:pt x="167049" y="59150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86" name="Freihandform: Form 685">
                  <a:extLst>
                    <a:ext uri="{FF2B5EF4-FFF2-40B4-BE49-F238E27FC236}">
                      <a16:creationId xmlns:a16="http://schemas.microsoft.com/office/drawing/2014/main" id="{1D336782-8E83-43F8-C1F6-1DF0B3D9F061}"/>
                    </a:ext>
                  </a:extLst>
                </p:cNvPr>
                <p:cNvSpPr/>
                <p:nvPr/>
              </p:nvSpPr>
              <p:spPr>
                <a:xfrm>
                  <a:off x="9265221" y="8967683"/>
                  <a:ext cx="295814" cy="221737"/>
                </a:xfrm>
                <a:custGeom>
                  <a:avLst/>
                  <a:gdLst>
                    <a:gd name="connsiteX0" fmla="*/ 209422 w 295814"/>
                    <a:gd name="connsiteY0" fmla="*/ 11026 h 221737"/>
                    <a:gd name="connsiteX1" fmla="*/ 68357 w 295814"/>
                    <a:gd name="connsiteY1" fmla="*/ 15598 h 221737"/>
                    <a:gd name="connsiteX2" fmla="*/ 6158 w 295814"/>
                    <a:gd name="connsiteY2" fmla="*/ 29790 h 221737"/>
                    <a:gd name="connsiteX3" fmla="*/ 63785 w 295814"/>
                    <a:gd name="connsiteY3" fmla="*/ 220290 h 221737"/>
                    <a:gd name="connsiteX4" fmla="*/ 268382 w 295814"/>
                    <a:gd name="connsiteY4" fmla="*/ 198573 h 221737"/>
                    <a:gd name="connsiteX5" fmla="*/ 295814 w 295814"/>
                    <a:gd name="connsiteY5" fmla="*/ 73034 h 221737"/>
                    <a:gd name="connsiteX6" fmla="*/ 209422 w 295814"/>
                    <a:gd name="connsiteY6" fmla="*/ 11026 h 2217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95814" h="221737">
                      <a:moveTo>
                        <a:pt x="209422" y="11026"/>
                      </a:moveTo>
                      <a:cubicBezTo>
                        <a:pt x="153224" y="-16216"/>
                        <a:pt x="68357" y="15598"/>
                        <a:pt x="68357" y="15598"/>
                      </a:cubicBezTo>
                      <a:lnTo>
                        <a:pt x="6158" y="29790"/>
                      </a:lnTo>
                      <a:cubicBezTo>
                        <a:pt x="-10986" y="83416"/>
                        <a:pt x="7492" y="164188"/>
                        <a:pt x="63785" y="220290"/>
                      </a:cubicBezTo>
                      <a:cubicBezTo>
                        <a:pt x="156559" y="228577"/>
                        <a:pt x="268382" y="198573"/>
                        <a:pt x="268382" y="198573"/>
                      </a:cubicBezTo>
                      <a:lnTo>
                        <a:pt x="295814" y="73034"/>
                      </a:lnTo>
                      <a:cubicBezTo>
                        <a:pt x="295814" y="73034"/>
                        <a:pt x="265620" y="38172"/>
                        <a:pt x="209422" y="1102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87" name="Freihandform: Form 686">
                  <a:extLst>
                    <a:ext uri="{FF2B5EF4-FFF2-40B4-BE49-F238E27FC236}">
                      <a16:creationId xmlns:a16="http://schemas.microsoft.com/office/drawing/2014/main" id="{7DF6771B-53D0-F5E9-1B79-09E9829F449A}"/>
                    </a:ext>
                  </a:extLst>
                </p:cNvPr>
                <p:cNvSpPr/>
                <p:nvPr/>
              </p:nvSpPr>
              <p:spPr>
                <a:xfrm>
                  <a:off x="9533603" y="9032430"/>
                  <a:ext cx="239553" cy="198405"/>
                </a:xfrm>
                <a:custGeom>
                  <a:avLst/>
                  <a:gdLst>
                    <a:gd name="connsiteX0" fmla="*/ 0 w 239553"/>
                    <a:gd name="connsiteY0" fmla="*/ 133826 h 198405"/>
                    <a:gd name="connsiteX1" fmla="*/ 20478 w 239553"/>
                    <a:gd name="connsiteY1" fmla="*/ 0 h 198405"/>
                    <a:gd name="connsiteX2" fmla="*/ 239553 w 239553"/>
                    <a:gd name="connsiteY2" fmla="*/ 49721 h 198405"/>
                    <a:gd name="connsiteX3" fmla="*/ 200406 w 239553"/>
                    <a:gd name="connsiteY3" fmla="*/ 198406 h 198405"/>
                    <a:gd name="connsiteX4" fmla="*/ 0 w 239553"/>
                    <a:gd name="connsiteY4" fmla="*/ 133826 h 198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9553" h="198405">
                      <a:moveTo>
                        <a:pt x="0" y="133826"/>
                      </a:moveTo>
                      <a:lnTo>
                        <a:pt x="20478" y="0"/>
                      </a:lnTo>
                      <a:lnTo>
                        <a:pt x="239553" y="49721"/>
                      </a:lnTo>
                      <a:lnTo>
                        <a:pt x="200406" y="198406"/>
                      </a:lnTo>
                      <a:lnTo>
                        <a:pt x="0" y="133826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88" name="Freihandform: Form 687">
                  <a:extLst>
                    <a:ext uri="{FF2B5EF4-FFF2-40B4-BE49-F238E27FC236}">
                      <a16:creationId xmlns:a16="http://schemas.microsoft.com/office/drawing/2014/main" id="{CB9E6CD6-462D-6895-3638-1BD08F02A9CF}"/>
                    </a:ext>
                  </a:extLst>
                </p:cNvPr>
                <p:cNvSpPr/>
                <p:nvPr/>
              </p:nvSpPr>
              <p:spPr>
                <a:xfrm>
                  <a:off x="9549034" y="9025226"/>
                  <a:ext cx="631316" cy="372202"/>
                </a:xfrm>
                <a:custGeom>
                  <a:avLst/>
                  <a:gdLst>
                    <a:gd name="connsiteX0" fmla="*/ 0 w 631316"/>
                    <a:gd name="connsiteY0" fmla="*/ 261998 h 372202"/>
                    <a:gd name="connsiteX1" fmla="*/ 59912 w 631316"/>
                    <a:gd name="connsiteY1" fmla="*/ 5776 h 372202"/>
                    <a:gd name="connsiteX2" fmla="*/ 173831 w 631316"/>
                    <a:gd name="connsiteY2" fmla="*/ 1585 h 372202"/>
                    <a:gd name="connsiteX3" fmla="*/ 631317 w 631316"/>
                    <a:gd name="connsiteY3" fmla="*/ 68069 h 372202"/>
                    <a:gd name="connsiteX4" fmla="*/ 555403 w 631316"/>
                    <a:gd name="connsiteY4" fmla="*/ 372202 h 372202"/>
                    <a:gd name="connsiteX5" fmla="*/ 0 w 631316"/>
                    <a:gd name="connsiteY5" fmla="*/ 261998 h 372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31316" h="372202">
                      <a:moveTo>
                        <a:pt x="0" y="261998"/>
                      </a:moveTo>
                      <a:lnTo>
                        <a:pt x="59912" y="5776"/>
                      </a:lnTo>
                      <a:cubicBezTo>
                        <a:pt x="59912" y="5776"/>
                        <a:pt x="102203" y="-3654"/>
                        <a:pt x="173831" y="1585"/>
                      </a:cubicBezTo>
                      <a:cubicBezTo>
                        <a:pt x="414051" y="19015"/>
                        <a:pt x="495585" y="31588"/>
                        <a:pt x="631317" y="68069"/>
                      </a:cubicBezTo>
                      <a:lnTo>
                        <a:pt x="555403" y="372202"/>
                      </a:lnTo>
                      <a:cubicBezTo>
                        <a:pt x="227171" y="313719"/>
                        <a:pt x="191929" y="311623"/>
                        <a:pt x="0" y="26199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89" name="Freihandform: Form 688">
                  <a:extLst>
                    <a:ext uri="{FF2B5EF4-FFF2-40B4-BE49-F238E27FC236}">
                      <a16:creationId xmlns:a16="http://schemas.microsoft.com/office/drawing/2014/main" id="{46863045-AE76-D2A0-69F7-BD203EF63E5E}"/>
                    </a:ext>
                  </a:extLst>
                </p:cNvPr>
                <p:cNvSpPr/>
                <p:nvPr/>
              </p:nvSpPr>
              <p:spPr>
                <a:xfrm>
                  <a:off x="9978992" y="9086913"/>
                  <a:ext cx="313753" cy="313753"/>
                </a:xfrm>
                <a:custGeom>
                  <a:avLst/>
                  <a:gdLst>
                    <a:gd name="connsiteX0" fmla="*/ 313754 w 313753"/>
                    <a:gd name="connsiteY0" fmla="*/ 156877 h 313753"/>
                    <a:gd name="connsiteX1" fmla="*/ 156877 w 313753"/>
                    <a:gd name="connsiteY1" fmla="*/ 313754 h 313753"/>
                    <a:gd name="connsiteX2" fmla="*/ 1 w 313753"/>
                    <a:gd name="connsiteY2" fmla="*/ 156877 h 313753"/>
                    <a:gd name="connsiteX3" fmla="*/ 156877 w 313753"/>
                    <a:gd name="connsiteY3" fmla="*/ 0 h 313753"/>
                    <a:gd name="connsiteX4" fmla="*/ 313754 w 313753"/>
                    <a:gd name="connsiteY4" fmla="*/ 156877 h 313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3753" h="313753">
                      <a:moveTo>
                        <a:pt x="313754" y="156877"/>
                      </a:moveTo>
                      <a:cubicBezTo>
                        <a:pt x="313754" y="243517"/>
                        <a:pt x="243518" y="313754"/>
                        <a:pt x="156877" y="313754"/>
                      </a:cubicBezTo>
                      <a:cubicBezTo>
                        <a:pt x="70237" y="313754"/>
                        <a:pt x="1" y="243517"/>
                        <a:pt x="1" y="156877"/>
                      </a:cubicBezTo>
                      <a:cubicBezTo>
                        <a:pt x="1" y="70236"/>
                        <a:pt x="70237" y="0"/>
                        <a:pt x="156877" y="0"/>
                      </a:cubicBezTo>
                      <a:cubicBezTo>
                        <a:pt x="243518" y="0"/>
                        <a:pt x="313754" y="70236"/>
                        <a:pt x="313754" y="15687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90" name="Freihandform: Form 689">
                  <a:extLst>
                    <a:ext uri="{FF2B5EF4-FFF2-40B4-BE49-F238E27FC236}">
                      <a16:creationId xmlns:a16="http://schemas.microsoft.com/office/drawing/2014/main" id="{373AA4B3-F1E6-050E-3F81-DEC2A3921163}"/>
                    </a:ext>
                  </a:extLst>
                </p:cNvPr>
                <p:cNvSpPr/>
                <p:nvPr/>
              </p:nvSpPr>
              <p:spPr>
                <a:xfrm>
                  <a:off x="9533603" y="9032430"/>
                  <a:ext cx="239553" cy="198405"/>
                </a:xfrm>
                <a:custGeom>
                  <a:avLst/>
                  <a:gdLst>
                    <a:gd name="connsiteX0" fmla="*/ 0 w 239553"/>
                    <a:gd name="connsiteY0" fmla="*/ 133826 h 198405"/>
                    <a:gd name="connsiteX1" fmla="*/ 20478 w 239553"/>
                    <a:gd name="connsiteY1" fmla="*/ 0 h 198405"/>
                    <a:gd name="connsiteX2" fmla="*/ 239553 w 239553"/>
                    <a:gd name="connsiteY2" fmla="*/ 49721 h 198405"/>
                    <a:gd name="connsiteX3" fmla="*/ 200406 w 239553"/>
                    <a:gd name="connsiteY3" fmla="*/ 198406 h 198405"/>
                    <a:gd name="connsiteX4" fmla="*/ 0 w 239553"/>
                    <a:gd name="connsiteY4" fmla="*/ 133826 h 198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9553" h="198405">
                      <a:moveTo>
                        <a:pt x="0" y="133826"/>
                      </a:moveTo>
                      <a:lnTo>
                        <a:pt x="20478" y="0"/>
                      </a:lnTo>
                      <a:lnTo>
                        <a:pt x="239553" y="49721"/>
                      </a:lnTo>
                      <a:lnTo>
                        <a:pt x="200406" y="198406"/>
                      </a:lnTo>
                      <a:lnTo>
                        <a:pt x="0" y="133826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91" name="Freihandform: Form 690">
                  <a:extLst>
                    <a:ext uri="{FF2B5EF4-FFF2-40B4-BE49-F238E27FC236}">
                      <a16:creationId xmlns:a16="http://schemas.microsoft.com/office/drawing/2014/main" id="{9744640E-6B4C-2669-E682-CA7C54F93C33}"/>
                    </a:ext>
                  </a:extLst>
                </p:cNvPr>
                <p:cNvSpPr/>
                <p:nvPr/>
              </p:nvSpPr>
              <p:spPr>
                <a:xfrm>
                  <a:off x="9549034" y="9025226"/>
                  <a:ext cx="631316" cy="372202"/>
                </a:xfrm>
                <a:custGeom>
                  <a:avLst/>
                  <a:gdLst>
                    <a:gd name="connsiteX0" fmla="*/ 0 w 631316"/>
                    <a:gd name="connsiteY0" fmla="*/ 261998 h 372202"/>
                    <a:gd name="connsiteX1" fmla="*/ 59912 w 631316"/>
                    <a:gd name="connsiteY1" fmla="*/ 5776 h 372202"/>
                    <a:gd name="connsiteX2" fmla="*/ 173831 w 631316"/>
                    <a:gd name="connsiteY2" fmla="*/ 1585 h 372202"/>
                    <a:gd name="connsiteX3" fmla="*/ 631317 w 631316"/>
                    <a:gd name="connsiteY3" fmla="*/ 68069 h 372202"/>
                    <a:gd name="connsiteX4" fmla="*/ 555403 w 631316"/>
                    <a:gd name="connsiteY4" fmla="*/ 372202 h 372202"/>
                    <a:gd name="connsiteX5" fmla="*/ 0 w 631316"/>
                    <a:gd name="connsiteY5" fmla="*/ 261998 h 372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31316" h="372202">
                      <a:moveTo>
                        <a:pt x="0" y="261998"/>
                      </a:moveTo>
                      <a:lnTo>
                        <a:pt x="59912" y="5776"/>
                      </a:lnTo>
                      <a:cubicBezTo>
                        <a:pt x="59912" y="5776"/>
                        <a:pt x="102203" y="-3654"/>
                        <a:pt x="173831" y="1585"/>
                      </a:cubicBezTo>
                      <a:cubicBezTo>
                        <a:pt x="414051" y="19015"/>
                        <a:pt x="495585" y="31588"/>
                        <a:pt x="631317" y="68069"/>
                      </a:cubicBezTo>
                      <a:lnTo>
                        <a:pt x="555403" y="372202"/>
                      </a:lnTo>
                      <a:cubicBezTo>
                        <a:pt x="227171" y="313719"/>
                        <a:pt x="191929" y="311623"/>
                        <a:pt x="0" y="26199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92" name="Freihandform: Form 691">
                  <a:extLst>
                    <a:ext uri="{FF2B5EF4-FFF2-40B4-BE49-F238E27FC236}">
                      <a16:creationId xmlns:a16="http://schemas.microsoft.com/office/drawing/2014/main" id="{491C6EA2-9AAE-0450-D59A-B7C3A8FF762F}"/>
                    </a:ext>
                  </a:extLst>
                </p:cNvPr>
                <p:cNvSpPr/>
                <p:nvPr/>
              </p:nvSpPr>
              <p:spPr>
                <a:xfrm>
                  <a:off x="9978992" y="9086913"/>
                  <a:ext cx="313753" cy="313753"/>
                </a:xfrm>
                <a:custGeom>
                  <a:avLst/>
                  <a:gdLst>
                    <a:gd name="connsiteX0" fmla="*/ 313754 w 313753"/>
                    <a:gd name="connsiteY0" fmla="*/ 156877 h 313753"/>
                    <a:gd name="connsiteX1" fmla="*/ 156877 w 313753"/>
                    <a:gd name="connsiteY1" fmla="*/ 313754 h 313753"/>
                    <a:gd name="connsiteX2" fmla="*/ 1 w 313753"/>
                    <a:gd name="connsiteY2" fmla="*/ 156877 h 313753"/>
                    <a:gd name="connsiteX3" fmla="*/ 156877 w 313753"/>
                    <a:gd name="connsiteY3" fmla="*/ 0 h 313753"/>
                    <a:gd name="connsiteX4" fmla="*/ 313754 w 313753"/>
                    <a:gd name="connsiteY4" fmla="*/ 156877 h 313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3753" h="313753">
                      <a:moveTo>
                        <a:pt x="313754" y="156877"/>
                      </a:moveTo>
                      <a:cubicBezTo>
                        <a:pt x="313754" y="243517"/>
                        <a:pt x="243518" y="313754"/>
                        <a:pt x="156877" y="313754"/>
                      </a:cubicBezTo>
                      <a:cubicBezTo>
                        <a:pt x="70237" y="313754"/>
                        <a:pt x="1" y="243517"/>
                        <a:pt x="1" y="156877"/>
                      </a:cubicBezTo>
                      <a:cubicBezTo>
                        <a:pt x="1" y="70236"/>
                        <a:pt x="70237" y="0"/>
                        <a:pt x="156877" y="0"/>
                      </a:cubicBezTo>
                      <a:cubicBezTo>
                        <a:pt x="243518" y="0"/>
                        <a:pt x="313754" y="70236"/>
                        <a:pt x="313754" y="15687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25" name="Grafik 23">
                <a:extLst>
                  <a:ext uri="{FF2B5EF4-FFF2-40B4-BE49-F238E27FC236}">
                    <a16:creationId xmlns:a16="http://schemas.microsoft.com/office/drawing/2014/main" id="{A027C860-3D1B-645D-3F37-BF3EB8B4EAD7}"/>
                  </a:ext>
                </a:extLst>
              </p:cNvPr>
              <p:cNvGrpSpPr/>
              <p:nvPr/>
            </p:nvGrpSpPr>
            <p:grpSpPr>
              <a:xfrm>
                <a:off x="9633988" y="1862812"/>
                <a:ext cx="257205" cy="824026"/>
                <a:chOff x="5217159" y="666564"/>
                <a:chExt cx="1715547" cy="5496224"/>
              </a:xfrm>
            </p:grpSpPr>
            <p:grpSp>
              <p:nvGrpSpPr>
                <p:cNvPr id="581" name="Grafik 23">
                  <a:extLst>
                    <a:ext uri="{FF2B5EF4-FFF2-40B4-BE49-F238E27FC236}">
                      <a16:creationId xmlns:a16="http://schemas.microsoft.com/office/drawing/2014/main" id="{8C6252BC-B40D-F6BC-C93D-EFA8A99E4896}"/>
                    </a:ext>
                  </a:extLst>
                </p:cNvPr>
                <p:cNvGrpSpPr/>
                <p:nvPr/>
              </p:nvGrpSpPr>
              <p:grpSpPr>
                <a:xfrm>
                  <a:off x="5934296" y="1562671"/>
                  <a:ext cx="563308" cy="1157858"/>
                  <a:chOff x="5934296" y="1562671"/>
                  <a:chExt cx="563308" cy="1157858"/>
                </a:xfrm>
                <a:solidFill>
                  <a:srgbClr val="E6E6E6"/>
                </a:solidFill>
              </p:grpSpPr>
              <p:sp>
                <p:nvSpPr>
                  <p:cNvPr id="630" name="Freihandform: Form 629">
                    <a:extLst>
                      <a:ext uri="{FF2B5EF4-FFF2-40B4-BE49-F238E27FC236}">
                        <a16:creationId xmlns:a16="http://schemas.microsoft.com/office/drawing/2014/main" id="{E6D6A37C-9722-9A3D-45BA-9FA822208642}"/>
                      </a:ext>
                    </a:extLst>
                  </p:cNvPr>
                  <p:cNvSpPr/>
                  <p:nvPr/>
                </p:nvSpPr>
                <p:spPr>
                  <a:xfrm>
                    <a:off x="6100984" y="1562671"/>
                    <a:ext cx="396620" cy="396620"/>
                  </a:xfrm>
                  <a:custGeom>
                    <a:avLst/>
                    <a:gdLst>
                      <a:gd name="connsiteX0" fmla="*/ 396621 w 396620"/>
                      <a:gd name="connsiteY0" fmla="*/ 198310 h 396620"/>
                      <a:gd name="connsiteX1" fmla="*/ 198310 w 396620"/>
                      <a:gd name="connsiteY1" fmla="*/ 396621 h 396620"/>
                      <a:gd name="connsiteX2" fmla="*/ 0 w 396620"/>
                      <a:gd name="connsiteY2" fmla="*/ 198310 h 396620"/>
                      <a:gd name="connsiteX3" fmla="*/ 198310 w 396620"/>
                      <a:gd name="connsiteY3" fmla="*/ 0 h 396620"/>
                      <a:gd name="connsiteX4" fmla="*/ 396621 w 396620"/>
                      <a:gd name="connsiteY4" fmla="*/ 198310 h 396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6620" h="396620">
                        <a:moveTo>
                          <a:pt x="396621" y="198310"/>
                        </a:moveTo>
                        <a:cubicBezTo>
                          <a:pt x="396621" y="307834"/>
                          <a:pt x="307834" y="396621"/>
                          <a:pt x="198310" y="396621"/>
                        </a:cubicBezTo>
                        <a:cubicBezTo>
                          <a:pt x="88786" y="396621"/>
                          <a:pt x="0" y="307834"/>
                          <a:pt x="0" y="198310"/>
                        </a:cubicBezTo>
                        <a:cubicBezTo>
                          <a:pt x="0" y="88787"/>
                          <a:pt x="88786" y="0"/>
                          <a:pt x="198310" y="0"/>
                        </a:cubicBezTo>
                        <a:cubicBezTo>
                          <a:pt x="307834" y="0"/>
                          <a:pt x="396621" y="88787"/>
                          <a:pt x="396621" y="198310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31" name="Freihandform: Form 630">
                    <a:extLst>
                      <a:ext uri="{FF2B5EF4-FFF2-40B4-BE49-F238E27FC236}">
                        <a16:creationId xmlns:a16="http://schemas.microsoft.com/office/drawing/2014/main" id="{4015F06C-5042-4311-BC34-C1BE72C05E9E}"/>
                      </a:ext>
                    </a:extLst>
                  </p:cNvPr>
                  <p:cNvSpPr/>
                  <p:nvPr/>
                </p:nvSpPr>
                <p:spPr>
                  <a:xfrm>
                    <a:off x="5934296" y="1725453"/>
                    <a:ext cx="558736" cy="995076"/>
                  </a:xfrm>
                  <a:custGeom>
                    <a:avLst/>
                    <a:gdLst>
                      <a:gd name="connsiteX0" fmla="*/ 339566 w 558736"/>
                      <a:gd name="connsiteY0" fmla="*/ 995077 h 995076"/>
                      <a:gd name="connsiteX1" fmla="*/ 0 w 558736"/>
                      <a:gd name="connsiteY1" fmla="*/ 930211 h 995076"/>
                      <a:gd name="connsiteX2" fmla="*/ 110204 w 558736"/>
                      <a:gd name="connsiteY2" fmla="*/ 327184 h 995076"/>
                      <a:gd name="connsiteX3" fmla="*/ 169926 w 558736"/>
                      <a:gd name="connsiteY3" fmla="*/ 0 h 995076"/>
                      <a:gd name="connsiteX4" fmla="*/ 558737 w 558736"/>
                      <a:gd name="connsiteY4" fmla="*/ 78010 h 995076"/>
                      <a:gd name="connsiteX5" fmla="*/ 478441 w 558736"/>
                      <a:gd name="connsiteY5" fmla="*/ 413194 h 995076"/>
                      <a:gd name="connsiteX6" fmla="*/ 339566 w 558736"/>
                      <a:gd name="connsiteY6" fmla="*/ 995077 h 9950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58736" h="995076">
                        <a:moveTo>
                          <a:pt x="339566" y="995077"/>
                        </a:moveTo>
                        <a:lnTo>
                          <a:pt x="0" y="930211"/>
                        </a:lnTo>
                        <a:lnTo>
                          <a:pt x="110204" y="327184"/>
                        </a:lnTo>
                        <a:lnTo>
                          <a:pt x="169926" y="0"/>
                        </a:lnTo>
                        <a:lnTo>
                          <a:pt x="558737" y="78010"/>
                        </a:lnTo>
                        <a:lnTo>
                          <a:pt x="478441" y="413194"/>
                        </a:lnTo>
                        <a:lnTo>
                          <a:pt x="339566" y="995077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582" name="Grafik 23">
                  <a:extLst>
                    <a:ext uri="{FF2B5EF4-FFF2-40B4-BE49-F238E27FC236}">
                      <a16:creationId xmlns:a16="http://schemas.microsoft.com/office/drawing/2014/main" id="{90480F66-B6F8-4633-4E33-7E2B53F53FF1}"/>
                    </a:ext>
                  </a:extLst>
                </p:cNvPr>
                <p:cNvGrpSpPr/>
                <p:nvPr/>
              </p:nvGrpSpPr>
              <p:grpSpPr>
                <a:xfrm>
                  <a:off x="5435186" y="2434208"/>
                  <a:ext cx="841914" cy="425196"/>
                  <a:chOff x="5435186" y="2434208"/>
                  <a:chExt cx="841914" cy="425196"/>
                </a:xfrm>
                <a:solidFill>
                  <a:srgbClr val="E6E6E6"/>
                </a:solidFill>
              </p:grpSpPr>
              <p:sp>
                <p:nvSpPr>
                  <p:cNvPr id="628" name="Freihandform: Form 627">
                    <a:extLst>
                      <a:ext uri="{FF2B5EF4-FFF2-40B4-BE49-F238E27FC236}">
                        <a16:creationId xmlns:a16="http://schemas.microsoft.com/office/drawing/2014/main" id="{6371858F-DCAB-CCCC-8AB4-EADCF9D81708}"/>
                      </a:ext>
                    </a:extLst>
                  </p:cNvPr>
                  <p:cNvSpPr/>
                  <p:nvPr/>
                </p:nvSpPr>
                <p:spPr>
                  <a:xfrm>
                    <a:off x="5435186" y="2434208"/>
                    <a:ext cx="703611" cy="423481"/>
                  </a:xfrm>
                  <a:custGeom>
                    <a:avLst/>
                    <a:gdLst>
                      <a:gd name="connsiteX0" fmla="*/ 0 w 703611"/>
                      <a:gd name="connsiteY0" fmla="*/ 329946 h 423481"/>
                      <a:gd name="connsiteX1" fmla="*/ 52483 w 703611"/>
                      <a:gd name="connsiteY1" fmla="*/ 0 h 423481"/>
                      <a:gd name="connsiteX2" fmla="*/ 703612 w 703611"/>
                      <a:gd name="connsiteY2" fmla="*/ 83058 h 423481"/>
                      <a:gd name="connsiteX3" fmla="*/ 644462 w 703611"/>
                      <a:gd name="connsiteY3" fmla="*/ 423482 h 423481"/>
                      <a:gd name="connsiteX4" fmla="*/ 0 w 703611"/>
                      <a:gd name="connsiteY4" fmla="*/ 329946 h 4234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03611" h="423481">
                        <a:moveTo>
                          <a:pt x="0" y="329946"/>
                        </a:moveTo>
                        <a:lnTo>
                          <a:pt x="52483" y="0"/>
                        </a:lnTo>
                        <a:lnTo>
                          <a:pt x="703612" y="83058"/>
                        </a:lnTo>
                        <a:lnTo>
                          <a:pt x="644462" y="423482"/>
                        </a:lnTo>
                        <a:lnTo>
                          <a:pt x="0" y="329946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29" name="Freihandform: Form 628">
                    <a:extLst>
                      <a:ext uri="{FF2B5EF4-FFF2-40B4-BE49-F238E27FC236}">
                        <a16:creationId xmlns:a16="http://schemas.microsoft.com/office/drawing/2014/main" id="{7AE1359C-CF86-50CD-094B-E68D415C77C9}"/>
                      </a:ext>
                    </a:extLst>
                  </p:cNvPr>
                  <p:cNvSpPr/>
                  <p:nvPr/>
                </p:nvSpPr>
                <p:spPr>
                  <a:xfrm>
                    <a:off x="5931534" y="2513838"/>
                    <a:ext cx="345566" cy="345566"/>
                  </a:xfrm>
                  <a:custGeom>
                    <a:avLst/>
                    <a:gdLst>
                      <a:gd name="connsiteX0" fmla="*/ 345567 w 345566"/>
                      <a:gd name="connsiteY0" fmla="*/ 172783 h 345566"/>
                      <a:gd name="connsiteX1" fmla="*/ 172783 w 345566"/>
                      <a:gd name="connsiteY1" fmla="*/ 345567 h 345566"/>
                      <a:gd name="connsiteX2" fmla="*/ 0 w 345566"/>
                      <a:gd name="connsiteY2" fmla="*/ 172783 h 345566"/>
                      <a:gd name="connsiteX3" fmla="*/ 172783 w 345566"/>
                      <a:gd name="connsiteY3" fmla="*/ 0 h 345566"/>
                      <a:gd name="connsiteX4" fmla="*/ 345567 w 345566"/>
                      <a:gd name="connsiteY4" fmla="*/ 172783 h 3455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45566" h="345566">
                        <a:moveTo>
                          <a:pt x="345567" y="172783"/>
                        </a:moveTo>
                        <a:cubicBezTo>
                          <a:pt x="345567" y="268209"/>
                          <a:pt x="268209" y="345567"/>
                          <a:pt x="172783" y="345567"/>
                        </a:cubicBezTo>
                        <a:cubicBezTo>
                          <a:pt x="77358" y="345567"/>
                          <a:pt x="0" y="268209"/>
                          <a:pt x="0" y="172783"/>
                        </a:cubicBezTo>
                        <a:cubicBezTo>
                          <a:pt x="0" y="77358"/>
                          <a:pt x="77357" y="0"/>
                          <a:pt x="172783" y="0"/>
                        </a:cubicBezTo>
                        <a:cubicBezTo>
                          <a:pt x="268209" y="0"/>
                          <a:pt x="345567" y="77358"/>
                          <a:pt x="345567" y="172783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583" name="Grafik 23">
                  <a:extLst>
                    <a:ext uri="{FF2B5EF4-FFF2-40B4-BE49-F238E27FC236}">
                      <a16:creationId xmlns:a16="http://schemas.microsoft.com/office/drawing/2014/main" id="{4DE3A138-ED4F-5551-3988-B9F2D6F29BD0}"/>
                    </a:ext>
                  </a:extLst>
                </p:cNvPr>
                <p:cNvGrpSpPr/>
                <p:nvPr/>
              </p:nvGrpSpPr>
              <p:grpSpPr>
                <a:xfrm>
                  <a:off x="5217159" y="2156745"/>
                  <a:ext cx="790670" cy="894492"/>
                  <a:chOff x="5217159" y="2156745"/>
                  <a:chExt cx="790670" cy="894492"/>
                </a:xfrm>
              </p:grpSpPr>
              <p:grpSp>
                <p:nvGrpSpPr>
                  <p:cNvPr id="623" name="Grafik 23">
                    <a:extLst>
                      <a:ext uri="{FF2B5EF4-FFF2-40B4-BE49-F238E27FC236}">
                        <a16:creationId xmlns:a16="http://schemas.microsoft.com/office/drawing/2014/main" id="{D7890A10-4C83-184C-BA8E-A242C60E8C3F}"/>
                      </a:ext>
                    </a:extLst>
                  </p:cNvPr>
                  <p:cNvGrpSpPr/>
                  <p:nvPr/>
                </p:nvGrpSpPr>
                <p:grpSpPr>
                  <a:xfrm>
                    <a:off x="5247163" y="2156745"/>
                    <a:ext cx="760666" cy="894492"/>
                    <a:chOff x="5247163" y="2156745"/>
                    <a:chExt cx="760666" cy="894492"/>
                  </a:xfrm>
                </p:grpSpPr>
                <p:sp>
                  <p:nvSpPr>
                    <p:cNvPr id="626" name="Freihandform: Form 625">
                      <a:extLst>
                        <a:ext uri="{FF2B5EF4-FFF2-40B4-BE49-F238E27FC236}">
                          <a16:creationId xmlns:a16="http://schemas.microsoft.com/office/drawing/2014/main" id="{8ACC480B-9A40-85A3-07FF-3D84221B518A}"/>
                        </a:ext>
                      </a:extLst>
                    </p:cNvPr>
                    <p:cNvSpPr/>
                    <p:nvPr/>
                  </p:nvSpPr>
                  <p:spPr>
                    <a:xfrm rot="-864001">
                      <a:off x="5348448" y="2231745"/>
                      <a:ext cx="558069" cy="743997"/>
                    </a:xfrm>
                    <a:custGeom>
                      <a:avLst/>
                      <a:gdLst>
                        <a:gd name="connsiteX0" fmla="*/ 0 w 558069"/>
                        <a:gd name="connsiteY0" fmla="*/ 0 h 743997"/>
                        <a:gd name="connsiteX1" fmla="*/ 558070 w 558069"/>
                        <a:gd name="connsiteY1" fmla="*/ 0 h 743997"/>
                        <a:gd name="connsiteX2" fmla="*/ 558070 w 558069"/>
                        <a:gd name="connsiteY2" fmla="*/ 743998 h 743997"/>
                        <a:gd name="connsiteX3" fmla="*/ 0 w 558069"/>
                        <a:gd name="connsiteY3" fmla="*/ 743998 h 7439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558069" h="743997">
                          <a:moveTo>
                            <a:pt x="0" y="0"/>
                          </a:moveTo>
                          <a:lnTo>
                            <a:pt x="558070" y="0"/>
                          </a:lnTo>
                          <a:lnTo>
                            <a:pt x="558070" y="743998"/>
                          </a:lnTo>
                          <a:lnTo>
                            <a:pt x="0" y="743998"/>
                          </a:lnTo>
                          <a:close/>
                        </a:path>
                      </a:pathLst>
                    </a:custGeom>
                    <a:solidFill>
                      <a:srgbClr val="EC660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27" name="Freihandform: Form 626">
                      <a:extLst>
                        <a:ext uri="{FF2B5EF4-FFF2-40B4-BE49-F238E27FC236}">
                          <a16:creationId xmlns:a16="http://schemas.microsoft.com/office/drawing/2014/main" id="{2A550616-7F3F-9713-DEB8-E16CF4B8A5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47163" y="2156745"/>
                      <a:ext cx="760666" cy="894492"/>
                    </a:xfrm>
                    <a:custGeom>
                      <a:avLst/>
                      <a:gdLst>
                        <a:gd name="connsiteX0" fmla="*/ 547688 w 760666"/>
                        <a:gd name="connsiteY0" fmla="*/ 35147 h 894492"/>
                        <a:gd name="connsiteX1" fmla="*/ 725519 w 760666"/>
                        <a:gd name="connsiteY1" fmla="*/ 727805 h 894492"/>
                        <a:gd name="connsiteX2" fmla="*/ 212979 w 760666"/>
                        <a:gd name="connsiteY2" fmla="*/ 859346 h 894492"/>
                        <a:gd name="connsiteX3" fmla="*/ 35147 w 760666"/>
                        <a:gd name="connsiteY3" fmla="*/ 166688 h 894492"/>
                        <a:gd name="connsiteX4" fmla="*/ 547688 w 760666"/>
                        <a:gd name="connsiteY4" fmla="*/ 35147 h 894492"/>
                        <a:gd name="connsiteX5" fmla="*/ 568452 w 760666"/>
                        <a:gd name="connsiteY5" fmla="*/ 0 h 894492"/>
                        <a:gd name="connsiteX6" fmla="*/ 0 w 760666"/>
                        <a:gd name="connsiteY6" fmla="*/ 145923 h 894492"/>
                        <a:gd name="connsiteX7" fmla="*/ 192119 w 760666"/>
                        <a:gd name="connsiteY7" fmla="*/ 894493 h 894492"/>
                        <a:gd name="connsiteX8" fmla="*/ 760667 w 760666"/>
                        <a:gd name="connsiteY8" fmla="*/ 748570 h 894492"/>
                        <a:gd name="connsiteX9" fmla="*/ 568547 w 760666"/>
                        <a:gd name="connsiteY9" fmla="*/ 0 h 894492"/>
                        <a:gd name="connsiteX10" fmla="*/ 568547 w 760666"/>
                        <a:gd name="connsiteY10" fmla="*/ 0 h 8944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760666" h="894492">
                          <a:moveTo>
                            <a:pt x="547688" y="35147"/>
                          </a:moveTo>
                          <a:lnTo>
                            <a:pt x="725519" y="727805"/>
                          </a:lnTo>
                          <a:lnTo>
                            <a:pt x="212979" y="859346"/>
                          </a:lnTo>
                          <a:lnTo>
                            <a:pt x="35147" y="166688"/>
                          </a:lnTo>
                          <a:lnTo>
                            <a:pt x="547688" y="35147"/>
                          </a:lnTo>
                          <a:moveTo>
                            <a:pt x="568452" y="0"/>
                          </a:moveTo>
                          <a:lnTo>
                            <a:pt x="0" y="145923"/>
                          </a:lnTo>
                          <a:lnTo>
                            <a:pt x="192119" y="894493"/>
                          </a:lnTo>
                          <a:lnTo>
                            <a:pt x="760667" y="748570"/>
                          </a:lnTo>
                          <a:lnTo>
                            <a:pt x="568547" y="0"/>
                          </a:lnTo>
                          <a:lnTo>
                            <a:pt x="568547" y="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624" name="Freihandform: Form 623">
                    <a:extLst>
                      <a:ext uri="{FF2B5EF4-FFF2-40B4-BE49-F238E27FC236}">
                        <a16:creationId xmlns:a16="http://schemas.microsoft.com/office/drawing/2014/main" id="{3011BA18-7C79-4407-8193-B73130810498}"/>
                      </a:ext>
                    </a:extLst>
                  </p:cNvPr>
                  <p:cNvSpPr/>
                  <p:nvPr/>
                </p:nvSpPr>
                <p:spPr>
                  <a:xfrm>
                    <a:off x="5217159" y="2487929"/>
                    <a:ext cx="280518" cy="319373"/>
                  </a:xfrm>
                  <a:custGeom>
                    <a:avLst/>
                    <a:gdLst>
                      <a:gd name="connsiteX0" fmla="*/ 197168 w 280518"/>
                      <a:gd name="connsiteY0" fmla="*/ 99632 h 319373"/>
                      <a:gd name="connsiteX1" fmla="*/ 103727 w 280518"/>
                      <a:gd name="connsiteY1" fmla="*/ 102108 h 319373"/>
                      <a:gd name="connsiteX2" fmla="*/ 77534 w 280518"/>
                      <a:gd name="connsiteY2" fmla="*/ 0 h 319373"/>
                      <a:gd name="connsiteX3" fmla="*/ 0 w 280518"/>
                      <a:gd name="connsiteY3" fmla="*/ 109728 h 319373"/>
                      <a:gd name="connsiteX4" fmla="*/ 71152 w 280518"/>
                      <a:gd name="connsiteY4" fmla="*/ 315278 h 319373"/>
                      <a:gd name="connsiteX5" fmla="*/ 186785 w 280518"/>
                      <a:gd name="connsiteY5" fmla="*/ 319373 h 319373"/>
                      <a:gd name="connsiteX6" fmla="*/ 280226 w 280518"/>
                      <a:gd name="connsiteY6" fmla="*/ 239649 h 319373"/>
                      <a:gd name="connsiteX7" fmla="*/ 280511 w 280518"/>
                      <a:gd name="connsiteY7" fmla="*/ 130778 h 319373"/>
                      <a:gd name="connsiteX8" fmla="*/ 197263 w 280518"/>
                      <a:gd name="connsiteY8" fmla="*/ 99727 h 319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0518" h="319373">
                        <a:moveTo>
                          <a:pt x="197168" y="99632"/>
                        </a:moveTo>
                        <a:cubicBezTo>
                          <a:pt x="183547" y="102013"/>
                          <a:pt x="103727" y="102108"/>
                          <a:pt x="103727" y="102108"/>
                        </a:cubicBezTo>
                        <a:lnTo>
                          <a:pt x="77534" y="0"/>
                        </a:lnTo>
                        <a:lnTo>
                          <a:pt x="0" y="109728"/>
                        </a:lnTo>
                        <a:lnTo>
                          <a:pt x="71152" y="315278"/>
                        </a:lnTo>
                        <a:lnTo>
                          <a:pt x="186785" y="319373"/>
                        </a:lnTo>
                        <a:lnTo>
                          <a:pt x="280226" y="239649"/>
                        </a:lnTo>
                        <a:lnTo>
                          <a:pt x="280511" y="130778"/>
                        </a:lnTo>
                        <a:cubicBezTo>
                          <a:pt x="280511" y="130778"/>
                          <a:pt x="282988" y="84773"/>
                          <a:pt x="197263" y="99727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25" name="Freihandform: Form 624">
                    <a:extLst>
                      <a:ext uri="{FF2B5EF4-FFF2-40B4-BE49-F238E27FC236}">
                        <a16:creationId xmlns:a16="http://schemas.microsoft.com/office/drawing/2014/main" id="{23D6440C-5C13-3074-4512-D0D16064B0F2}"/>
                      </a:ext>
                    </a:extLst>
                  </p:cNvPr>
                  <p:cNvSpPr/>
                  <p:nvPr/>
                </p:nvSpPr>
                <p:spPr>
                  <a:xfrm rot="-326400">
                    <a:off x="5311589" y="2643866"/>
                    <a:ext cx="186594" cy="19240"/>
                  </a:xfrm>
                  <a:custGeom>
                    <a:avLst/>
                    <a:gdLst>
                      <a:gd name="connsiteX0" fmla="*/ 0 w 186594"/>
                      <a:gd name="connsiteY0" fmla="*/ 0 h 19240"/>
                      <a:gd name="connsiteX1" fmla="*/ 186595 w 186594"/>
                      <a:gd name="connsiteY1" fmla="*/ 0 h 19240"/>
                      <a:gd name="connsiteX2" fmla="*/ 186595 w 186594"/>
                      <a:gd name="connsiteY2" fmla="*/ 19241 h 19240"/>
                      <a:gd name="connsiteX3" fmla="*/ 0 w 186594"/>
                      <a:gd name="connsiteY3" fmla="*/ 19241 h 192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86594" h="19240">
                        <a:moveTo>
                          <a:pt x="0" y="0"/>
                        </a:moveTo>
                        <a:lnTo>
                          <a:pt x="186595" y="0"/>
                        </a:lnTo>
                        <a:lnTo>
                          <a:pt x="186595" y="19241"/>
                        </a:lnTo>
                        <a:lnTo>
                          <a:pt x="0" y="19241"/>
                        </a:lnTo>
                        <a:close/>
                      </a:path>
                    </a:pathLst>
                  </a:custGeom>
                  <a:solidFill>
                    <a:srgbClr val="F2BBB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584" name="Grafik 23">
                  <a:extLst>
                    <a:ext uri="{FF2B5EF4-FFF2-40B4-BE49-F238E27FC236}">
                      <a16:creationId xmlns:a16="http://schemas.microsoft.com/office/drawing/2014/main" id="{DF99E964-803F-BFA6-2EE9-929852F1DBEA}"/>
                    </a:ext>
                  </a:extLst>
                </p:cNvPr>
                <p:cNvGrpSpPr/>
                <p:nvPr/>
              </p:nvGrpSpPr>
              <p:grpSpPr>
                <a:xfrm>
                  <a:off x="6113093" y="1063436"/>
                  <a:ext cx="443757" cy="556066"/>
                  <a:chOff x="6113093" y="1063436"/>
                  <a:chExt cx="443757" cy="556066"/>
                </a:xfrm>
              </p:grpSpPr>
              <p:sp>
                <p:nvSpPr>
                  <p:cNvPr id="621" name="Freihandform: Form 620">
                    <a:extLst>
                      <a:ext uri="{FF2B5EF4-FFF2-40B4-BE49-F238E27FC236}">
                        <a16:creationId xmlns:a16="http://schemas.microsoft.com/office/drawing/2014/main" id="{62D145FD-6858-3E70-F7EC-DD4BF9A6D0E2}"/>
                      </a:ext>
                    </a:extLst>
                  </p:cNvPr>
                  <p:cNvSpPr/>
                  <p:nvPr/>
                </p:nvSpPr>
                <p:spPr>
                  <a:xfrm>
                    <a:off x="6113093" y="1063436"/>
                    <a:ext cx="443757" cy="556055"/>
                  </a:xfrm>
                  <a:custGeom>
                    <a:avLst/>
                    <a:gdLst>
                      <a:gd name="connsiteX0" fmla="*/ 443757 w 443757"/>
                      <a:gd name="connsiteY0" fmla="*/ 405604 h 556055"/>
                      <a:gd name="connsiteX1" fmla="*/ 129813 w 443757"/>
                      <a:gd name="connsiteY1" fmla="*/ 526953 h 556055"/>
                      <a:gd name="connsiteX2" fmla="*/ 1321 w 443757"/>
                      <a:gd name="connsiteY2" fmla="*/ 166717 h 556055"/>
                      <a:gd name="connsiteX3" fmla="*/ 315170 w 443757"/>
                      <a:gd name="connsiteY3" fmla="*/ 45369 h 556055"/>
                      <a:gd name="connsiteX4" fmla="*/ 443662 w 443757"/>
                      <a:gd name="connsiteY4" fmla="*/ 405604 h 5560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43757" h="556055">
                        <a:moveTo>
                          <a:pt x="443757" y="405604"/>
                        </a:moveTo>
                        <a:cubicBezTo>
                          <a:pt x="419373" y="524095"/>
                          <a:pt x="234779" y="600962"/>
                          <a:pt x="129813" y="526953"/>
                        </a:cubicBezTo>
                        <a:lnTo>
                          <a:pt x="1321" y="166717"/>
                        </a:lnTo>
                        <a:cubicBezTo>
                          <a:pt x="-21825" y="60323"/>
                          <a:pt x="266211" y="-70741"/>
                          <a:pt x="315170" y="45369"/>
                        </a:cubicBezTo>
                        <a:lnTo>
                          <a:pt x="443662" y="405604"/>
                        </a:ln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22" name="Freihandform: Form 621">
                    <a:extLst>
                      <a:ext uri="{FF2B5EF4-FFF2-40B4-BE49-F238E27FC236}">
                        <a16:creationId xmlns:a16="http://schemas.microsoft.com/office/drawing/2014/main" id="{F926FFEB-86E9-E4BF-8895-B4D78D029184}"/>
                      </a:ext>
                    </a:extLst>
                  </p:cNvPr>
                  <p:cNvSpPr/>
                  <p:nvPr/>
                </p:nvSpPr>
                <p:spPr>
                  <a:xfrm>
                    <a:off x="6228307" y="1200626"/>
                    <a:ext cx="328542" cy="418877"/>
                  </a:xfrm>
                  <a:custGeom>
                    <a:avLst/>
                    <a:gdLst>
                      <a:gd name="connsiteX0" fmla="*/ 232817 w 328542"/>
                      <a:gd name="connsiteY0" fmla="*/ 95 h 418877"/>
                      <a:gd name="connsiteX1" fmla="*/ 328543 w 328542"/>
                      <a:gd name="connsiteY1" fmla="*/ 268415 h 418877"/>
                      <a:gd name="connsiteX2" fmla="*/ 14599 w 328542"/>
                      <a:gd name="connsiteY2" fmla="*/ 389763 h 418877"/>
                      <a:gd name="connsiteX3" fmla="*/ 44222 w 328542"/>
                      <a:gd name="connsiteY3" fmla="*/ 223647 h 418877"/>
                      <a:gd name="connsiteX4" fmla="*/ 232817 w 328542"/>
                      <a:gd name="connsiteY4" fmla="*/ 0 h 4188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8542" h="418877">
                        <a:moveTo>
                          <a:pt x="232817" y="95"/>
                        </a:moveTo>
                        <a:lnTo>
                          <a:pt x="328543" y="268415"/>
                        </a:lnTo>
                        <a:cubicBezTo>
                          <a:pt x="304445" y="389001"/>
                          <a:pt x="117850" y="463010"/>
                          <a:pt x="14599" y="389763"/>
                        </a:cubicBezTo>
                        <a:cubicBezTo>
                          <a:pt x="14599" y="389763"/>
                          <a:pt x="-33216" y="270605"/>
                          <a:pt x="44222" y="223647"/>
                        </a:cubicBezTo>
                        <a:cubicBezTo>
                          <a:pt x="235579" y="107728"/>
                          <a:pt x="232817" y="0"/>
                          <a:pt x="232817" y="0"/>
                        </a:cubicBezTo>
                        <a:close/>
                      </a:path>
                    </a:pathLst>
                  </a:custGeom>
                  <a:solidFill>
                    <a:srgbClr val="F2BBB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585" name="Grafik 23">
                  <a:extLst>
                    <a:ext uri="{FF2B5EF4-FFF2-40B4-BE49-F238E27FC236}">
                      <a16:creationId xmlns:a16="http://schemas.microsoft.com/office/drawing/2014/main" id="{F6EA6087-F4CC-BC1E-A6F1-9B4978DA275D}"/>
                    </a:ext>
                  </a:extLst>
                </p:cNvPr>
                <p:cNvGrpSpPr/>
                <p:nvPr/>
              </p:nvGrpSpPr>
              <p:grpSpPr>
                <a:xfrm>
                  <a:off x="5641758" y="1283398"/>
                  <a:ext cx="1290948" cy="4879390"/>
                  <a:chOff x="5641758" y="1283398"/>
                  <a:chExt cx="1290948" cy="4879390"/>
                </a:xfrm>
              </p:grpSpPr>
              <p:grpSp>
                <p:nvGrpSpPr>
                  <p:cNvPr id="596" name="Grafik 23">
                    <a:extLst>
                      <a:ext uri="{FF2B5EF4-FFF2-40B4-BE49-F238E27FC236}">
                        <a16:creationId xmlns:a16="http://schemas.microsoft.com/office/drawing/2014/main" id="{842732B6-CCFC-CF41-7929-59CF8803437A}"/>
                      </a:ext>
                    </a:extLst>
                  </p:cNvPr>
                  <p:cNvGrpSpPr/>
                  <p:nvPr/>
                </p:nvGrpSpPr>
                <p:grpSpPr>
                  <a:xfrm>
                    <a:off x="5641758" y="5790657"/>
                    <a:ext cx="867562" cy="295550"/>
                    <a:chOff x="5641758" y="5790657"/>
                    <a:chExt cx="867562" cy="295550"/>
                  </a:xfrm>
                </p:grpSpPr>
                <p:sp>
                  <p:nvSpPr>
                    <p:cNvPr id="619" name="Freihandform: Form 618">
                      <a:extLst>
                        <a:ext uri="{FF2B5EF4-FFF2-40B4-BE49-F238E27FC236}">
                          <a16:creationId xmlns:a16="http://schemas.microsoft.com/office/drawing/2014/main" id="{ED3E86E3-6E1B-1ED8-273D-C202244E5F3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643447" y="5790657"/>
                      <a:ext cx="865764" cy="289407"/>
                    </a:xfrm>
                    <a:custGeom>
                      <a:avLst/>
                      <a:gdLst>
                        <a:gd name="connsiteX0" fmla="*/ 804913 w 865764"/>
                        <a:gd name="connsiteY0" fmla="*/ 28546 h 289407"/>
                        <a:gd name="connsiteX1" fmla="*/ 865683 w 865764"/>
                        <a:gd name="connsiteY1" fmla="*/ 170088 h 289407"/>
                        <a:gd name="connsiteX2" fmla="*/ 860063 w 865764"/>
                        <a:gd name="connsiteY2" fmla="*/ 253907 h 289407"/>
                        <a:gd name="connsiteX3" fmla="*/ 835393 w 865764"/>
                        <a:gd name="connsiteY3" fmla="*/ 276863 h 289407"/>
                        <a:gd name="connsiteX4" fmla="*/ 54629 w 865764"/>
                        <a:gd name="connsiteY4" fmla="*/ 249716 h 289407"/>
                        <a:gd name="connsiteX5" fmla="*/ 41865 w 865764"/>
                        <a:gd name="connsiteY5" fmla="*/ 132750 h 289407"/>
                        <a:gd name="connsiteX6" fmla="*/ 331140 w 865764"/>
                        <a:gd name="connsiteY6" fmla="*/ 83696 h 289407"/>
                        <a:gd name="connsiteX7" fmla="*/ 535927 w 865764"/>
                        <a:gd name="connsiteY7" fmla="*/ 829 h 289407"/>
                        <a:gd name="connsiteX8" fmla="*/ 592696 w 865764"/>
                        <a:gd name="connsiteY8" fmla="*/ 56931 h 289407"/>
                        <a:gd name="connsiteX9" fmla="*/ 725570 w 865764"/>
                        <a:gd name="connsiteY9" fmla="*/ 56931 h 289407"/>
                        <a:gd name="connsiteX10" fmla="*/ 805009 w 865764"/>
                        <a:gd name="connsiteY10" fmla="*/ 28546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804913" y="28546"/>
                          </a:moveTo>
                          <a:cubicBezTo>
                            <a:pt x="804913" y="28546"/>
                            <a:pt x="868350" y="92078"/>
                            <a:pt x="865683" y="170088"/>
                          </a:cubicBezTo>
                          <a:cubicBezTo>
                            <a:pt x="864254" y="210474"/>
                            <a:pt x="861968" y="237334"/>
                            <a:pt x="860063" y="253907"/>
                          </a:cubicBezTo>
                          <a:cubicBezTo>
                            <a:pt x="858634" y="266576"/>
                            <a:pt x="848157" y="276292"/>
                            <a:pt x="835393" y="276863"/>
                          </a:cubicBezTo>
                          <a:cubicBezTo>
                            <a:pt x="726808" y="281626"/>
                            <a:pt x="175025" y="314487"/>
                            <a:pt x="54629" y="249716"/>
                          </a:cubicBezTo>
                          <a:cubicBezTo>
                            <a:pt x="-60338" y="187899"/>
                            <a:pt x="41865" y="132750"/>
                            <a:pt x="41865" y="132750"/>
                          </a:cubicBezTo>
                          <a:cubicBezTo>
                            <a:pt x="41865" y="132750"/>
                            <a:pt x="216840" y="152752"/>
                            <a:pt x="331140" y="83696"/>
                          </a:cubicBezTo>
                          <a:cubicBezTo>
                            <a:pt x="432867" y="22260"/>
                            <a:pt x="517735" y="-5267"/>
                            <a:pt x="535927" y="829"/>
                          </a:cubicBezTo>
                          <a:cubicBezTo>
                            <a:pt x="554120" y="6924"/>
                            <a:pt x="560502" y="35499"/>
                            <a:pt x="592696" y="56931"/>
                          </a:cubicBezTo>
                          <a:cubicBezTo>
                            <a:pt x="624986" y="78457"/>
                            <a:pt x="663753" y="78457"/>
                            <a:pt x="725570" y="56931"/>
                          </a:cubicBezTo>
                          <a:cubicBezTo>
                            <a:pt x="787387" y="35404"/>
                            <a:pt x="786149" y="20450"/>
                            <a:pt x="805009" y="28546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20" name="Freihandform: Form 619">
                      <a:extLst>
                        <a:ext uri="{FF2B5EF4-FFF2-40B4-BE49-F238E27FC236}">
                          <a16:creationId xmlns:a16="http://schemas.microsoft.com/office/drawing/2014/main" id="{B08DC8C7-5F69-DF11-E3D0-3690B668BF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641758" y="5933027"/>
                      <a:ext cx="867562" cy="153180"/>
                    </a:xfrm>
                    <a:custGeom>
                      <a:avLst/>
                      <a:gdLst>
                        <a:gd name="connsiteX0" fmla="*/ 837463 w 867562"/>
                        <a:gd name="connsiteY0" fmla="*/ 153162 h 153180"/>
                        <a:gd name="connsiteX1" fmla="*/ 174904 w 867562"/>
                        <a:gd name="connsiteY1" fmla="*/ 152781 h 153180"/>
                        <a:gd name="connsiteX2" fmla="*/ 55746 w 867562"/>
                        <a:gd name="connsiteY2" fmla="*/ 116395 h 153180"/>
                        <a:gd name="connsiteX3" fmla="*/ 28600 w 867562"/>
                        <a:gd name="connsiteY3" fmla="*/ 0 h 153180"/>
                        <a:gd name="connsiteX4" fmla="*/ 68700 w 867562"/>
                        <a:gd name="connsiteY4" fmla="*/ 42291 h 153180"/>
                        <a:gd name="connsiteX5" fmla="*/ 867562 w 867562"/>
                        <a:gd name="connsiteY5" fmla="*/ 51245 h 153180"/>
                        <a:gd name="connsiteX6" fmla="*/ 862324 w 867562"/>
                        <a:gd name="connsiteY6" fmla="*/ 130016 h 153180"/>
                        <a:gd name="connsiteX7" fmla="*/ 837559 w 867562"/>
                        <a:gd name="connsiteY7" fmla="*/ 153162 h 15318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0">
                          <a:moveTo>
                            <a:pt x="837463" y="153162"/>
                          </a:moveTo>
                          <a:cubicBezTo>
                            <a:pt x="834987" y="153257"/>
                            <a:pt x="177000" y="152971"/>
                            <a:pt x="174904" y="152781"/>
                          </a:cubicBezTo>
                          <a:cubicBezTo>
                            <a:pt x="116325" y="147066"/>
                            <a:pt x="79750" y="129349"/>
                            <a:pt x="55746" y="116395"/>
                          </a:cubicBezTo>
                          <a:cubicBezTo>
                            <a:pt x="-30359" y="70104"/>
                            <a:pt x="2311" y="15907"/>
                            <a:pt x="28600" y="0"/>
                          </a:cubicBezTo>
                          <a:cubicBezTo>
                            <a:pt x="37173" y="9430"/>
                            <a:pt x="50032" y="32290"/>
                            <a:pt x="68700" y="42291"/>
                          </a:cubicBezTo>
                          <a:cubicBezTo>
                            <a:pt x="195859" y="110680"/>
                            <a:pt x="799173" y="56483"/>
                            <a:pt x="867562" y="51245"/>
                          </a:cubicBezTo>
                          <a:cubicBezTo>
                            <a:pt x="866134" y="85630"/>
                            <a:pt x="864133" y="114871"/>
                            <a:pt x="862324" y="130016"/>
                          </a:cubicBezTo>
                          <a:cubicBezTo>
                            <a:pt x="860895" y="142780"/>
                            <a:pt x="850417" y="152590"/>
                            <a:pt x="837559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97" name="Freihandform: Form 596">
                    <a:extLst>
                      <a:ext uri="{FF2B5EF4-FFF2-40B4-BE49-F238E27FC236}">
                        <a16:creationId xmlns:a16="http://schemas.microsoft.com/office/drawing/2014/main" id="{E31FF268-FCDF-AB2A-F023-62377DCEDC03}"/>
                      </a:ext>
                    </a:extLst>
                  </p:cNvPr>
                  <p:cNvSpPr/>
                  <p:nvPr/>
                </p:nvSpPr>
                <p:spPr>
                  <a:xfrm>
                    <a:off x="5928417" y="2855975"/>
                    <a:ext cx="818567" cy="1866913"/>
                  </a:xfrm>
                  <a:custGeom>
                    <a:avLst/>
                    <a:gdLst>
                      <a:gd name="connsiteX0" fmla="*/ 781595 w 818567"/>
                      <a:gd name="connsiteY0" fmla="*/ 78581 h 1866913"/>
                      <a:gd name="connsiteX1" fmla="*/ 114750 w 818567"/>
                      <a:gd name="connsiteY1" fmla="*/ 0 h 1866913"/>
                      <a:gd name="connsiteX2" fmla="*/ 16166 w 818567"/>
                      <a:gd name="connsiteY2" fmla="*/ 936117 h 1866913"/>
                      <a:gd name="connsiteX3" fmla="*/ 9308 w 818567"/>
                      <a:gd name="connsiteY3" fmla="*/ 1796606 h 1866913"/>
                      <a:gd name="connsiteX4" fmla="*/ 521182 w 818567"/>
                      <a:gd name="connsiteY4" fmla="*/ 1815084 h 1866913"/>
                      <a:gd name="connsiteX5" fmla="*/ 781595 w 818567"/>
                      <a:gd name="connsiteY5" fmla="*/ 78486 h 18669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8567" h="1866913">
                        <a:moveTo>
                          <a:pt x="781595" y="78581"/>
                        </a:moveTo>
                        <a:cubicBezTo>
                          <a:pt x="772165" y="79820"/>
                          <a:pt x="114750" y="0"/>
                          <a:pt x="114750" y="0"/>
                        </a:cubicBezTo>
                        <a:cubicBezTo>
                          <a:pt x="114750" y="0"/>
                          <a:pt x="24453" y="770858"/>
                          <a:pt x="16166" y="936117"/>
                        </a:cubicBezTo>
                        <a:cubicBezTo>
                          <a:pt x="-15648" y="1569434"/>
                          <a:pt x="9308" y="1796606"/>
                          <a:pt x="9308" y="1796606"/>
                        </a:cubicBezTo>
                        <a:cubicBezTo>
                          <a:pt x="156184" y="1903952"/>
                          <a:pt x="356018" y="1870234"/>
                          <a:pt x="521182" y="1815084"/>
                        </a:cubicBezTo>
                        <a:cubicBezTo>
                          <a:pt x="633767" y="1093470"/>
                          <a:pt x="919898" y="808196"/>
                          <a:pt x="781595" y="78486"/>
                        </a:cubicBezTo>
                        <a:close/>
                      </a:path>
                    </a:pathLst>
                  </a:custGeom>
                  <a:solidFill>
                    <a:srgbClr val="004F4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98" name="Freihandform: Form 597">
                    <a:extLst>
                      <a:ext uri="{FF2B5EF4-FFF2-40B4-BE49-F238E27FC236}">
                        <a16:creationId xmlns:a16="http://schemas.microsoft.com/office/drawing/2014/main" id="{0CC4153A-596E-95AD-76BF-E020B4D89FF0}"/>
                      </a:ext>
                    </a:extLst>
                  </p:cNvPr>
                  <p:cNvSpPr/>
                  <p:nvPr/>
                </p:nvSpPr>
                <p:spPr>
                  <a:xfrm>
                    <a:off x="5936678" y="4541924"/>
                    <a:ext cx="619474" cy="1380816"/>
                  </a:xfrm>
                  <a:custGeom>
                    <a:avLst/>
                    <a:gdLst>
                      <a:gd name="connsiteX0" fmla="*/ 517588 w 619474"/>
                      <a:gd name="connsiteY0" fmla="*/ 67509 h 1380816"/>
                      <a:gd name="connsiteX1" fmla="*/ 599980 w 619474"/>
                      <a:gd name="connsiteY1" fmla="*/ 1058014 h 1380816"/>
                      <a:gd name="connsiteX2" fmla="*/ 567309 w 619474"/>
                      <a:gd name="connsiteY2" fmla="*/ 1380435 h 1380816"/>
                      <a:gd name="connsiteX3" fmla="*/ 263462 w 619474"/>
                      <a:gd name="connsiteY3" fmla="*/ 1347288 h 1380816"/>
                      <a:gd name="connsiteX4" fmla="*/ 50292 w 619474"/>
                      <a:gd name="connsiteY4" fmla="*/ 1324809 h 1380816"/>
                      <a:gd name="connsiteX5" fmla="*/ 62008 w 619474"/>
                      <a:gd name="connsiteY5" fmla="*/ 870086 h 1380816"/>
                      <a:gd name="connsiteX6" fmla="*/ 0 w 619474"/>
                      <a:gd name="connsiteY6" fmla="*/ 98275 h 1380816"/>
                      <a:gd name="connsiteX7" fmla="*/ 517588 w 619474"/>
                      <a:gd name="connsiteY7" fmla="*/ 67414 h 13808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19474" h="1380816">
                        <a:moveTo>
                          <a:pt x="517588" y="67509"/>
                        </a:moveTo>
                        <a:cubicBezTo>
                          <a:pt x="608171" y="426887"/>
                          <a:pt x="582644" y="878944"/>
                          <a:pt x="599980" y="1058014"/>
                        </a:cubicBezTo>
                        <a:cubicBezTo>
                          <a:pt x="610553" y="1167361"/>
                          <a:pt x="652081" y="1391293"/>
                          <a:pt x="567309" y="1380435"/>
                        </a:cubicBezTo>
                        <a:cubicBezTo>
                          <a:pt x="503491" y="1366910"/>
                          <a:pt x="391287" y="1357956"/>
                          <a:pt x="263462" y="1347288"/>
                        </a:cubicBezTo>
                        <a:cubicBezTo>
                          <a:pt x="135636" y="1336525"/>
                          <a:pt x="50292" y="1324809"/>
                          <a:pt x="50292" y="1324809"/>
                        </a:cubicBezTo>
                        <a:cubicBezTo>
                          <a:pt x="50292" y="1324809"/>
                          <a:pt x="63722" y="926093"/>
                          <a:pt x="62008" y="870086"/>
                        </a:cubicBezTo>
                        <a:cubicBezTo>
                          <a:pt x="60293" y="814079"/>
                          <a:pt x="0" y="98275"/>
                          <a:pt x="0" y="98275"/>
                        </a:cubicBezTo>
                        <a:cubicBezTo>
                          <a:pt x="154305" y="-12501"/>
                          <a:pt x="355473" y="-38980"/>
                          <a:pt x="517588" y="67414"/>
                        </a:cubicBezTo>
                        <a:close/>
                      </a:path>
                    </a:pathLst>
                  </a:custGeom>
                  <a:solidFill>
                    <a:srgbClr val="004F4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99" name="Freihandform: Form 598">
                    <a:extLst>
                      <a:ext uri="{FF2B5EF4-FFF2-40B4-BE49-F238E27FC236}">
                        <a16:creationId xmlns:a16="http://schemas.microsoft.com/office/drawing/2014/main" id="{8DE163A3-9973-D402-07A3-6DD20780187E}"/>
                      </a:ext>
                    </a:extLst>
                  </p:cNvPr>
                  <p:cNvSpPr/>
                  <p:nvPr/>
                </p:nvSpPr>
                <p:spPr>
                  <a:xfrm>
                    <a:off x="5935820" y="4361211"/>
                    <a:ext cx="518731" cy="518731"/>
                  </a:xfrm>
                  <a:custGeom>
                    <a:avLst/>
                    <a:gdLst>
                      <a:gd name="connsiteX0" fmla="*/ 518731 w 518731"/>
                      <a:gd name="connsiteY0" fmla="*/ 259366 h 518731"/>
                      <a:gd name="connsiteX1" fmla="*/ 259366 w 518731"/>
                      <a:gd name="connsiteY1" fmla="*/ 518732 h 518731"/>
                      <a:gd name="connsiteX2" fmla="*/ 0 w 518731"/>
                      <a:gd name="connsiteY2" fmla="*/ 259366 h 518731"/>
                      <a:gd name="connsiteX3" fmla="*/ 259366 w 518731"/>
                      <a:gd name="connsiteY3" fmla="*/ 0 h 518731"/>
                      <a:gd name="connsiteX4" fmla="*/ 518731 w 518731"/>
                      <a:gd name="connsiteY4" fmla="*/ 259366 h 5187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8731" h="518731">
                        <a:moveTo>
                          <a:pt x="518731" y="259366"/>
                        </a:moveTo>
                        <a:cubicBezTo>
                          <a:pt x="518731" y="402610"/>
                          <a:pt x="402610" y="518732"/>
                          <a:pt x="259366" y="518732"/>
                        </a:cubicBezTo>
                        <a:cubicBezTo>
                          <a:pt x="116122" y="518732"/>
                          <a:pt x="0" y="402610"/>
                          <a:pt x="0" y="259366"/>
                        </a:cubicBezTo>
                        <a:cubicBezTo>
                          <a:pt x="0" y="116122"/>
                          <a:pt x="116122" y="0"/>
                          <a:pt x="259366" y="0"/>
                        </a:cubicBezTo>
                        <a:cubicBezTo>
                          <a:pt x="402610" y="0"/>
                          <a:pt x="518731" y="116122"/>
                          <a:pt x="518731" y="259366"/>
                        </a:cubicBezTo>
                        <a:close/>
                      </a:path>
                    </a:pathLst>
                  </a:custGeom>
                  <a:solidFill>
                    <a:srgbClr val="004F4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00" name="Freihandform: Form 599">
                    <a:extLst>
                      <a:ext uri="{FF2B5EF4-FFF2-40B4-BE49-F238E27FC236}">
                        <a16:creationId xmlns:a16="http://schemas.microsoft.com/office/drawing/2014/main" id="{8B349D21-D91F-42B0-CA81-7D9D220B0D77}"/>
                      </a:ext>
                    </a:extLst>
                  </p:cNvPr>
                  <p:cNvSpPr/>
                  <p:nvPr/>
                </p:nvSpPr>
                <p:spPr>
                  <a:xfrm>
                    <a:off x="5919437" y="2908934"/>
                    <a:ext cx="808810" cy="1901431"/>
                  </a:xfrm>
                  <a:custGeom>
                    <a:avLst/>
                    <a:gdLst>
                      <a:gd name="connsiteX0" fmla="*/ 669798 w 808810"/>
                      <a:gd name="connsiteY0" fmla="*/ 0 h 1901431"/>
                      <a:gd name="connsiteX1" fmla="*/ 0 w 808810"/>
                      <a:gd name="connsiteY1" fmla="*/ 48197 h 1901431"/>
                      <a:gd name="connsiteX2" fmla="*/ 79248 w 808810"/>
                      <a:gd name="connsiteY2" fmla="*/ 986219 h 1901431"/>
                      <a:gd name="connsiteX3" fmla="*/ 239078 w 808810"/>
                      <a:gd name="connsiteY3" fmla="*/ 1844231 h 1901431"/>
                      <a:gd name="connsiteX4" fmla="*/ 750094 w 808810"/>
                      <a:gd name="connsiteY4" fmla="*/ 1836325 h 1901431"/>
                      <a:gd name="connsiteX5" fmla="*/ 669798 w 808810"/>
                      <a:gd name="connsiteY5" fmla="*/ 0 h 19014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08810" h="1901431">
                        <a:moveTo>
                          <a:pt x="669798" y="0"/>
                        </a:moveTo>
                        <a:cubicBezTo>
                          <a:pt x="660749" y="3048"/>
                          <a:pt x="0" y="48197"/>
                          <a:pt x="0" y="48197"/>
                        </a:cubicBezTo>
                        <a:cubicBezTo>
                          <a:pt x="0" y="48197"/>
                          <a:pt x="56293" y="822293"/>
                          <a:pt x="79248" y="986219"/>
                        </a:cubicBezTo>
                        <a:cubicBezTo>
                          <a:pt x="167069" y="1614202"/>
                          <a:pt x="239078" y="1844231"/>
                          <a:pt x="239078" y="1844231"/>
                        </a:cubicBezTo>
                        <a:cubicBezTo>
                          <a:pt x="403574" y="1921955"/>
                          <a:pt x="598265" y="1921574"/>
                          <a:pt x="750094" y="1836325"/>
                        </a:cubicBezTo>
                        <a:cubicBezTo>
                          <a:pt x="724948" y="1106329"/>
                          <a:pt x="942880" y="690658"/>
                          <a:pt x="669798" y="0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601" name="Grafik 23">
                    <a:extLst>
                      <a:ext uri="{FF2B5EF4-FFF2-40B4-BE49-F238E27FC236}">
                        <a16:creationId xmlns:a16="http://schemas.microsoft.com/office/drawing/2014/main" id="{0EB00EFA-E5BB-6723-018E-E8915F5E6078}"/>
                      </a:ext>
                    </a:extLst>
                  </p:cNvPr>
                  <p:cNvGrpSpPr/>
                  <p:nvPr/>
                </p:nvGrpSpPr>
                <p:grpSpPr>
                  <a:xfrm>
                    <a:off x="5802540" y="5867238"/>
                    <a:ext cx="867562" cy="295551"/>
                    <a:chOff x="5802540" y="5867238"/>
                    <a:chExt cx="867562" cy="295551"/>
                  </a:xfrm>
                </p:grpSpPr>
                <p:sp>
                  <p:nvSpPr>
                    <p:cNvPr id="617" name="Freihandform: Form 616">
                      <a:extLst>
                        <a:ext uri="{FF2B5EF4-FFF2-40B4-BE49-F238E27FC236}">
                          <a16:creationId xmlns:a16="http://schemas.microsoft.com/office/drawing/2014/main" id="{B38B809F-DABB-B5F1-CEA7-D0A23C37671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04134" y="5867238"/>
                      <a:ext cx="865764" cy="289407"/>
                    </a:xfrm>
                    <a:custGeom>
                      <a:avLst/>
                      <a:gdLst>
                        <a:gd name="connsiteX0" fmla="*/ 804913 w 865764"/>
                        <a:gd name="connsiteY0" fmla="*/ 28546 h 289407"/>
                        <a:gd name="connsiteX1" fmla="*/ 865683 w 865764"/>
                        <a:gd name="connsiteY1" fmla="*/ 170088 h 289407"/>
                        <a:gd name="connsiteX2" fmla="*/ 860063 w 865764"/>
                        <a:gd name="connsiteY2" fmla="*/ 253908 h 289407"/>
                        <a:gd name="connsiteX3" fmla="*/ 835393 w 865764"/>
                        <a:gd name="connsiteY3" fmla="*/ 276863 h 289407"/>
                        <a:gd name="connsiteX4" fmla="*/ 54629 w 865764"/>
                        <a:gd name="connsiteY4" fmla="*/ 249717 h 289407"/>
                        <a:gd name="connsiteX5" fmla="*/ 41866 w 865764"/>
                        <a:gd name="connsiteY5" fmla="*/ 132750 h 289407"/>
                        <a:gd name="connsiteX6" fmla="*/ 331140 w 865764"/>
                        <a:gd name="connsiteY6" fmla="*/ 83696 h 289407"/>
                        <a:gd name="connsiteX7" fmla="*/ 535927 w 865764"/>
                        <a:gd name="connsiteY7" fmla="*/ 829 h 289407"/>
                        <a:gd name="connsiteX8" fmla="*/ 592696 w 865764"/>
                        <a:gd name="connsiteY8" fmla="*/ 56931 h 289407"/>
                        <a:gd name="connsiteX9" fmla="*/ 725570 w 865764"/>
                        <a:gd name="connsiteY9" fmla="*/ 56931 h 289407"/>
                        <a:gd name="connsiteX10" fmla="*/ 805009 w 865764"/>
                        <a:gd name="connsiteY10" fmla="*/ 28546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804913" y="28546"/>
                          </a:moveTo>
                          <a:cubicBezTo>
                            <a:pt x="804913" y="28546"/>
                            <a:pt x="868350" y="92078"/>
                            <a:pt x="865683" y="170088"/>
                          </a:cubicBezTo>
                          <a:cubicBezTo>
                            <a:pt x="864254" y="210474"/>
                            <a:pt x="861968" y="237335"/>
                            <a:pt x="860063" y="253908"/>
                          </a:cubicBezTo>
                          <a:cubicBezTo>
                            <a:pt x="858634" y="266576"/>
                            <a:pt x="848157" y="276292"/>
                            <a:pt x="835393" y="276863"/>
                          </a:cubicBezTo>
                          <a:cubicBezTo>
                            <a:pt x="726808" y="281626"/>
                            <a:pt x="175025" y="314487"/>
                            <a:pt x="54629" y="249717"/>
                          </a:cubicBezTo>
                          <a:cubicBezTo>
                            <a:pt x="-60338" y="187900"/>
                            <a:pt x="41866" y="132750"/>
                            <a:pt x="41866" y="132750"/>
                          </a:cubicBezTo>
                          <a:cubicBezTo>
                            <a:pt x="41866" y="132750"/>
                            <a:pt x="216840" y="152753"/>
                            <a:pt x="331140" y="83696"/>
                          </a:cubicBezTo>
                          <a:cubicBezTo>
                            <a:pt x="432867" y="22260"/>
                            <a:pt x="517735" y="-5267"/>
                            <a:pt x="535927" y="829"/>
                          </a:cubicBezTo>
                          <a:cubicBezTo>
                            <a:pt x="554120" y="6925"/>
                            <a:pt x="560502" y="35500"/>
                            <a:pt x="592696" y="56931"/>
                          </a:cubicBezTo>
                          <a:cubicBezTo>
                            <a:pt x="624986" y="78457"/>
                            <a:pt x="663753" y="78457"/>
                            <a:pt x="725570" y="56931"/>
                          </a:cubicBezTo>
                          <a:cubicBezTo>
                            <a:pt x="787387" y="35405"/>
                            <a:pt x="786149" y="20450"/>
                            <a:pt x="805009" y="28546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8" name="Freihandform: Form 617">
                      <a:extLst>
                        <a:ext uri="{FF2B5EF4-FFF2-40B4-BE49-F238E27FC236}">
                          <a16:creationId xmlns:a16="http://schemas.microsoft.com/office/drawing/2014/main" id="{03941593-299C-AF82-67C2-F6BD03DBD1C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02540" y="6009608"/>
                      <a:ext cx="867562" cy="153181"/>
                    </a:xfrm>
                    <a:custGeom>
                      <a:avLst/>
                      <a:gdLst>
                        <a:gd name="connsiteX0" fmla="*/ 837463 w 867562"/>
                        <a:gd name="connsiteY0" fmla="*/ 153162 h 153181"/>
                        <a:gd name="connsiteX1" fmla="*/ 174904 w 867562"/>
                        <a:gd name="connsiteY1" fmla="*/ 152781 h 153181"/>
                        <a:gd name="connsiteX2" fmla="*/ 55746 w 867562"/>
                        <a:gd name="connsiteY2" fmla="*/ 116396 h 153181"/>
                        <a:gd name="connsiteX3" fmla="*/ 28600 w 867562"/>
                        <a:gd name="connsiteY3" fmla="*/ 0 h 153181"/>
                        <a:gd name="connsiteX4" fmla="*/ 68701 w 867562"/>
                        <a:gd name="connsiteY4" fmla="*/ 42291 h 153181"/>
                        <a:gd name="connsiteX5" fmla="*/ 867562 w 867562"/>
                        <a:gd name="connsiteY5" fmla="*/ 51245 h 153181"/>
                        <a:gd name="connsiteX6" fmla="*/ 862324 w 867562"/>
                        <a:gd name="connsiteY6" fmla="*/ 130016 h 153181"/>
                        <a:gd name="connsiteX7" fmla="*/ 837559 w 867562"/>
                        <a:gd name="connsiteY7" fmla="*/ 153162 h 1531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1">
                          <a:moveTo>
                            <a:pt x="837463" y="153162"/>
                          </a:moveTo>
                          <a:cubicBezTo>
                            <a:pt x="834987" y="153258"/>
                            <a:pt x="177000" y="152971"/>
                            <a:pt x="174904" y="152781"/>
                          </a:cubicBezTo>
                          <a:cubicBezTo>
                            <a:pt x="116326" y="147066"/>
                            <a:pt x="79750" y="129350"/>
                            <a:pt x="55746" y="116396"/>
                          </a:cubicBezTo>
                          <a:cubicBezTo>
                            <a:pt x="-30359" y="70104"/>
                            <a:pt x="2311" y="15907"/>
                            <a:pt x="28600" y="0"/>
                          </a:cubicBezTo>
                          <a:cubicBezTo>
                            <a:pt x="37173" y="9430"/>
                            <a:pt x="50031" y="32290"/>
                            <a:pt x="68701" y="42291"/>
                          </a:cubicBezTo>
                          <a:cubicBezTo>
                            <a:pt x="195859" y="110680"/>
                            <a:pt x="799173" y="56483"/>
                            <a:pt x="867562" y="51245"/>
                          </a:cubicBezTo>
                          <a:cubicBezTo>
                            <a:pt x="866134" y="85630"/>
                            <a:pt x="864133" y="114871"/>
                            <a:pt x="862324" y="130016"/>
                          </a:cubicBezTo>
                          <a:cubicBezTo>
                            <a:pt x="860895" y="142780"/>
                            <a:pt x="850417" y="152591"/>
                            <a:pt x="837559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602" name="Freihandform: Form 601">
                    <a:extLst>
                      <a:ext uri="{FF2B5EF4-FFF2-40B4-BE49-F238E27FC236}">
                        <a16:creationId xmlns:a16="http://schemas.microsoft.com/office/drawing/2014/main" id="{4B24C4F4-8555-5AF8-57A1-5D5A634BA0DA}"/>
                      </a:ext>
                    </a:extLst>
                  </p:cNvPr>
                  <p:cNvSpPr/>
                  <p:nvPr/>
                </p:nvSpPr>
                <p:spPr>
                  <a:xfrm>
                    <a:off x="6158610" y="4661673"/>
                    <a:ext cx="568148" cy="1321932"/>
                  </a:xfrm>
                  <a:custGeom>
                    <a:avLst/>
                    <a:gdLst>
                      <a:gd name="connsiteX0" fmla="*/ 503015 w 568148"/>
                      <a:gd name="connsiteY0" fmla="*/ 1321932 h 1321932"/>
                      <a:gd name="connsiteX1" fmla="*/ 12763 w 568148"/>
                      <a:gd name="connsiteY1" fmla="*/ 1268402 h 1321932"/>
                      <a:gd name="connsiteX2" fmla="*/ 0 w 568148"/>
                      <a:gd name="connsiteY2" fmla="*/ 91492 h 1321932"/>
                      <a:gd name="connsiteX3" fmla="*/ 510254 w 568148"/>
                      <a:gd name="connsiteY3" fmla="*/ 73109 h 1321932"/>
                      <a:gd name="connsiteX4" fmla="*/ 566547 w 568148"/>
                      <a:gd name="connsiteY4" fmla="*/ 1067710 h 1321932"/>
                      <a:gd name="connsiteX5" fmla="*/ 503015 w 568148"/>
                      <a:gd name="connsiteY5" fmla="*/ 1321932 h 13219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68148" h="1321932">
                        <a:moveTo>
                          <a:pt x="503015" y="1321932"/>
                        </a:moveTo>
                        <a:lnTo>
                          <a:pt x="12763" y="1268402"/>
                        </a:lnTo>
                        <a:cubicBezTo>
                          <a:pt x="13526" y="1249828"/>
                          <a:pt x="0" y="91492"/>
                          <a:pt x="0" y="91492"/>
                        </a:cubicBezTo>
                        <a:cubicBezTo>
                          <a:pt x="157544" y="-14616"/>
                          <a:pt x="351473" y="-38238"/>
                          <a:pt x="510254" y="73109"/>
                        </a:cubicBezTo>
                        <a:cubicBezTo>
                          <a:pt x="589884" y="435059"/>
                          <a:pt x="554641" y="888164"/>
                          <a:pt x="566547" y="1067710"/>
                        </a:cubicBezTo>
                        <a:cubicBezTo>
                          <a:pt x="573596" y="1174295"/>
                          <a:pt x="558260" y="1277069"/>
                          <a:pt x="503015" y="1321932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03" name="Freihandform: Form 602">
                    <a:extLst>
                      <a:ext uri="{FF2B5EF4-FFF2-40B4-BE49-F238E27FC236}">
                        <a16:creationId xmlns:a16="http://schemas.microsoft.com/office/drawing/2014/main" id="{122DC233-B286-E74A-4FB2-45F1F8ED1FEC}"/>
                      </a:ext>
                    </a:extLst>
                  </p:cNvPr>
                  <p:cNvSpPr/>
                  <p:nvPr/>
                </p:nvSpPr>
                <p:spPr>
                  <a:xfrm>
                    <a:off x="5826187" y="1414081"/>
                    <a:ext cx="1017222" cy="2754820"/>
                  </a:xfrm>
                  <a:custGeom>
                    <a:avLst/>
                    <a:gdLst>
                      <a:gd name="connsiteX0" fmla="*/ 970979 w 1017222"/>
                      <a:gd name="connsiteY0" fmla="*/ 2051971 h 2754820"/>
                      <a:gd name="connsiteX1" fmla="*/ 920591 w 1017222"/>
                      <a:gd name="connsiteY1" fmla="*/ 1125093 h 2754820"/>
                      <a:gd name="connsiteX2" fmla="*/ 1016603 w 1017222"/>
                      <a:gd name="connsiteY2" fmla="*/ 413575 h 2754820"/>
                      <a:gd name="connsiteX3" fmla="*/ 730663 w 1017222"/>
                      <a:gd name="connsiteY3" fmla="*/ 0 h 2754820"/>
                      <a:gd name="connsiteX4" fmla="*/ 304990 w 1017222"/>
                      <a:gd name="connsiteY4" fmla="*/ 152210 h 2754820"/>
                      <a:gd name="connsiteX5" fmla="*/ 89821 w 1017222"/>
                      <a:gd name="connsiteY5" fmla="*/ 676370 h 2754820"/>
                      <a:gd name="connsiteX6" fmla="*/ 47149 w 1017222"/>
                      <a:gd name="connsiteY6" fmla="*/ 1569911 h 2754820"/>
                      <a:gd name="connsiteX7" fmla="*/ 0 w 1017222"/>
                      <a:gd name="connsiteY7" fmla="*/ 2754821 h 2754820"/>
                      <a:gd name="connsiteX8" fmla="*/ 971931 w 1017222"/>
                      <a:gd name="connsiteY8" fmla="*/ 2754821 h 2754820"/>
                      <a:gd name="connsiteX9" fmla="*/ 971074 w 1017222"/>
                      <a:gd name="connsiteY9" fmla="*/ 2051971 h 27548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17222" h="2754820">
                        <a:moveTo>
                          <a:pt x="970979" y="2051971"/>
                        </a:moveTo>
                        <a:cubicBezTo>
                          <a:pt x="955738" y="1788604"/>
                          <a:pt x="920591" y="1125093"/>
                          <a:pt x="920591" y="1125093"/>
                        </a:cubicBezTo>
                        <a:cubicBezTo>
                          <a:pt x="920591" y="1125093"/>
                          <a:pt x="1026224" y="587693"/>
                          <a:pt x="1016603" y="413575"/>
                        </a:cubicBezTo>
                        <a:cubicBezTo>
                          <a:pt x="1004792" y="198882"/>
                          <a:pt x="730663" y="0"/>
                          <a:pt x="730663" y="0"/>
                        </a:cubicBezTo>
                        <a:lnTo>
                          <a:pt x="304990" y="152210"/>
                        </a:lnTo>
                        <a:cubicBezTo>
                          <a:pt x="304990" y="152210"/>
                          <a:pt x="117920" y="422339"/>
                          <a:pt x="89821" y="676370"/>
                        </a:cubicBezTo>
                        <a:cubicBezTo>
                          <a:pt x="79438" y="770477"/>
                          <a:pt x="47149" y="1569911"/>
                          <a:pt x="47149" y="1569911"/>
                        </a:cubicBezTo>
                        <a:lnTo>
                          <a:pt x="0" y="2754821"/>
                        </a:lnTo>
                        <a:lnTo>
                          <a:pt x="971931" y="2754821"/>
                        </a:lnTo>
                        <a:cubicBezTo>
                          <a:pt x="974979" y="2647188"/>
                          <a:pt x="983933" y="2275332"/>
                          <a:pt x="971074" y="205197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04" name="Freihandform: Form 603">
                    <a:extLst>
                      <a:ext uri="{FF2B5EF4-FFF2-40B4-BE49-F238E27FC236}">
                        <a16:creationId xmlns:a16="http://schemas.microsoft.com/office/drawing/2014/main" id="{F3A3AEC7-022A-CC19-C6D1-348C3368ED51}"/>
                      </a:ext>
                    </a:extLst>
                  </p:cNvPr>
                  <p:cNvSpPr/>
                  <p:nvPr/>
                </p:nvSpPr>
                <p:spPr>
                  <a:xfrm>
                    <a:off x="6305112" y="1691910"/>
                    <a:ext cx="526126" cy="1486891"/>
                  </a:xfrm>
                  <a:custGeom>
                    <a:avLst/>
                    <a:gdLst>
                      <a:gd name="connsiteX0" fmla="*/ 19614 w 526126"/>
                      <a:gd name="connsiteY0" fmla="*/ 1445148 h 1486891"/>
                      <a:gd name="connsiteX1" fmla="*/ 137248 w 526126"/>
                      <a:gd name="connsiteY1" fmla="*/ 933084 h 1486891"/>
                      <a:gd name="connsiteX2" fmla="*/ 138772 w 526126"/>
                      <a:gd name="connsiteY2" fmla="*/ 280431 h 1486891"/>
                      <a:gd name="connsiteX3" fmla="*/ 303745 w 526126"/>
                      <a:gd name="connsiteY3" fmla="*/ 2301 h 1486891"/>
                      <a:gd name="connsiteX4" fmla="*/ 495483 w 526126"/>
                      <a:gd name="connsiteY4" fmla="*/ 907081 h 1486891"/>
                      <a:gd name="connsiteX5" fmla="*/ 19709 w 526126"/>
                      <a:gd name="connsiteY5" fmla="*/ 1445148 h 14868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26126" h="1486891">
                        <a:moveTo>
                          <a:pt x="19614" y="1445148"/>
                        </a:moveTo>
                        <a:cubicBezTo>
                          <a:pt x="-18676" y="1405715"/>
                          <a:pt x="-11342" y="1230740"/>
                          <a:pt x="137248" y="933084"/>
                        </a:cubicBezTo>
                        <a:cubicBezTo>
                          <a:pt x="221640" y="764015"/>
                          <a:pt x="80479" y="592661"/>
                          <a:pt x="138772" y="280431"/>
                        </a:cubicBezTo>
                        <a:cubicBezTo>
                          <a:pt x="187921" y="17160"/>
                          <a:pt x="303745" y="2301"/>
                          <a:pt x="303745" y="2301"/>
                        </a:cubicBezTo>
                        <a:cubicBezTo>
                          <a:pt x="587971" y="-37609"/>
                          <a:pt x="532726" y="448738"/>
                          <a:pt x="495483" y="907081"/>
                        </a:cubicBezTo>
                        <a:cubicBezTo>
                          <a:pt x="458622" y="1164161"/>
                          <a:pt x="197446" y="1628409"/>
                          <a:pt x="19709" y="1445148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05" name="Freihandform: Form 604">
                    <a:extLst>
                      <a:ext uri="{FF2B5EF4-FFF2-40B4-BE49-F238E27FC236}">
                        <a16:creationId xmlns:a16="http://schemas.microsoft.com/office/drawing/2014/main" id="{222EE33D-3D4C-7E58-D61E-9B05067064AA}"/>
                      </a:ext>
                    </a:extLst>
                  </p:cNvPr>
                  <p:cNvSpPr/>
                  <p:nvPr/>
                </p:nvSpPr>
                <p:spPr>
                  <a:xfrm>
                    <a:off x="5978873" y="3209639"/>
                    <a:ext cx="629697" cy="576707"/>
                  </a:xfrm>
                  <a:custGeom>
                    <a:avLst/>
                    <a:gdLst>
                      <a:gd name="connsiteX0" fmla="*/ 95 w 629697"/>
                      <a:gd name="connsiteY0" fmla="*/ 504635 h 576707"/>
                      <a:gd name="connsiteX1" fmla="*/ 629698 w 629697"/>
                      <a:gd name="connsiteY1" fmla="*/ 546068 h 576707"/>
                      <a:gd name="connsiteX2" fmla="*/ 581787 w 629697"/>
                      <a:gd name="connsiteY2" fmla="*/ 0 h 576707"/>
                      <a:gd name="connsiteX3" fmla="*/ 176784 w 629697"/>
                      <a:gd name="connsiteY3" fmla="*/ 3143 h 576707"/>
                      <a:gd name="connsiteX4" fmla="*/ 0 w 629697"/>
                      <a:gd name="connsiteY4" fmla="*/ 504635 h 5767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29697" h="576707">
                        <a:moveTo>
                          <a:pt x="95" y="504635"/>
                        </a:moveTo>
                        <a:cubicBezTo>
                          <a:pt x="33719" y="584645"/>
                          <a:pt x="487013" y="597408"/>
                          <a:pt x="629698" y="546068"/>
                        </a:cubicBezTo>
                        <a:lnTo>
                          <a:pt x="581787" y="0"/>
                        </a:lnTo>
                        <a:lnTo>
                          <a:pt x="176784" y="3143"/>
                        </a:lnTo>
                        <a:lnTo>
                          <a:pt x="0" y="504635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06" name="Freihandform: Form 605">
                    <a:extLst>
                      <a:ext uri="{FF2B5EF4-FFF2-40B4-BE49-F238E27FC236}">
                        <a16:creationId xmlns:a16="http://schemas.microsoft.com/office/drawing/2014/main" id="{C01722F5-EC9C-9F26-A3D4-9F19F36E6EFA}"/>
                      </a:ext>
                    </a:extLst>
                  </p:cNvPr>
                  <p:cNvSpPr/>
                  <p:nvPr/>
                </p:nvSpPr>
                <p:spPr>
                  <a:xfrm>
                    <a:off x="6099654" y="1283398"/>
                    <a:ext cx="466244" cy="530066"/>
                  </a:xfrm>
                  <a:custGeom>
                    <a:avLst/>
                    <a:gdLst>
                      <a:gd name="connsiteX0" fmla="*/ 466245 w 466244"/>
                      <a:gd name="connsiteY0" fmla="*/ 179546 h 530066"/>
                      <a:gd name="connsiteX1" fmla="*/ 449481 w 466244"/>
                      <a:gd name="connsiteY1" fmla="*/ 0 h 530066"/>
                      <a:gd name="connsiteX2" fmla="*/ 5711 w 466244"/>
                      <a:gd name="connsiteY2" fmla="*/ 288417 h 530066"/>
                      <a:gd name="connsiteX3" fmla="*/ 38096 w 466244"/>
                      <a:gd name="connsiteY3" fmla="*/ 530066 h 530066"/>
                      <a:gd name="connsiteX4" fmla="*/ 466245 w 466244"/>
                      <a:gd name="connsiteY4" fmla="*/ 179546 h 5300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66244" h="530066">
                        <a:moveTo>
                          <a:pt x="466245" y="179546"/>
                        </a:moveTo>
                        <a:lnTo>
                          <a:pt x="449481" y="0"/>
                        </a:lnTo>
                        <a:cubicBezTo>
                          <a:pt x="449481" y="0"/>
                          <a:pt x="94579" y="177165"/>
                          <a:pt x="5711" y="288417"/>
                        </a:cubicBezTo>
                        <a:cubicBezTo>
                          <a:pt x="-17625" y="317659"/>
                          <a:pt x="38096" y="530066"/>
                          <a:pt x="38096" y="530066"/>
                        </a:cubicBezTo>
                        <a:lnTo>
                          <a:pt x="466245" y="17954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07" name="Freihandform: Form 606">
                    <a:extLst>
                      <a:ext uri="{FF2B5EF4-FFF2-40B4-BE49-F238E27FC236}">
                        <a16:creationId xmlns:a16="http://schemas.microsoft.com/office/drawing/2014/main" id="{B8AD4C7B-CF88-9ED2-AD4D-7965214CE535}"/>
                      </a:ext>
                    </a:extLst>
                  </p:cNvPr>
                  <p:cNvSpPr/>
                  <p:nvPr/>
                </p:nvSpPr>
                <p:spPr>
                  <a:xfrm>
                    <a:off x="6263099" y="2990564"/>
                    <a:ext cx="335184" cy="292893"/>
                  </a:xfrm>
                  <a:custGeom>
                    <a:avLst/>
                    <a:gdLst>
                      <a:gd name="connsiteX0" fmla="*/ 145447 w 335184"/>
                      <a:gd name="connsiteY0" fmla="*/ 0 h 292893"/>
                      <a:gd name="connsiteX1" fmla="*/ 0 w 335184"/>
                      <a:gd name="connsiteY1" fmla="*/ 284131 h 292893"/>
                      <a:gd name="connsiteX2" fmla="*/ 207169 w 335184"/>
                      <a:gd name="connsiteY2" fmla="*/ 292894 h 292893"/>
                      <a:gd name="connsiteX3" fmla="*/ 335185 w 335184"/>
                      <a:gd name="connsiteY3" fmla="*/ 101537 h 292893"/>
                      <a:gd name="connsiteX4" fmla="*/ 145447 w 335184"/>
                      <a:gd name="connsiteY4" fmla="*/ 0 h 2928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35184" h="292893">
                        <a:moveTo>
                          <a:pt x="145447" y="0"/>
                        </a:moveTo>
                        <a:lnTo>
                          <a:pt x="0" y="284131"/>
                        </a:lnTo>
                        <a:lnTo>
                          <a:pt x="207169" y="292894"/>
                        </a:lnTo>
                        <a:lnTo>
                          <a:pt x="335185" y="101537"/>
                        </a:lnTo>
                        <a:lnTo>
                          <a:pt x="145447" y="0"/>
                        </a:ln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608" name="Grafik 23">
                    <a:extLst>
                      <a:ext uri="{FF2B5EF4-FFF2-40B4-BE49-F238E27FC236}">
                        <a16:creationId xmlns:a16="http://schemas.microsoft.com/office/drawing/2014/main" id="{0C052C56-F454-18D9-B4CC-BC227077C05B}"/>
                      </a:ext>
                    </a:extLst>
                  </p:cNvPr>
                  <p:cNvGrpSpPr/>
                  <p:nvPr/>
                </p:nvGrpSpPr>
                <p:grpSpPr>
                  <a:xfrm>
                    <a:off x="6324726" y="1764506"/>
                    <a:ext cx="607980" cy="1445133"/>
                    <a:chOff x="6324726" y="1764506"/>
                    <a:chExt cx="607980" cy="1445133"/>
                  </a:xfrm>
                  <a:solidFill>
                    <a:srgbClr val="FFFFFF"/>
                  </a:solidFill>
                </p:grpSpPr>
                <p:sp>
                  <p:nvSpPr>
                    <p:cNvPr id="614" name="Freihandform: Form 613">
                      <a:extLst>
                        <a:ext uri="{FF2B5EF4-FFF2-40B4-BE49-F238E27FC236}">
                          <a16:creationId xmlns:a16="http://schemas.microsoft.com/office/drawing/2014/main" id="{23529D34-6D03-2FD9-8FF7-8FC49656399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0361" y="1764506"/>
                      <a:ext cx="482346" cy="878681"/>
                    </a:xfrm>
                    <a:custGeom>
                      <a:avLst/>
                      <a:gdLst>
                        <a:gd name="connsiteX0" fmla="*/ 383667 w 482346"/>
                        <a:gd name="connsiteY0" fmla="*/ 0 h 878681"/>
                        <a:gd name="connsiteX1" fmla="*/ 482346 w 482346"/>
                        <a:gd name="connsiteY1" fmla="*/ 839438 h 878681"/>
                        <a:gd name="connsiteX2" fmla="*/ 141256 w 482346"/>
                        <a:gd name="connsiteY2" fmla="*/ 878681 h 878681"/>
                        <a:gd name="connsiteX3" fmla="*/ 0 w 482346"/>
                        <a:gd name="connsiteY3" fmla="*/ 85725 h 878681"/>
                        <a:gd name="connsiteX4" fmla="*/ 383667 w 482346"/>
                        <a:gd name="connsiteY4" fmla="*/ 0 h 8786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82346" h="878681">
                          <a:moveTo>
                            <a:pt x="383667" y="0"/>
                          </a:moveTo>
                          <a:cubicBezTo>
                            <a:pt x="451485" y="213170"/>
                            <a:pt x="482346" y="839438"/>
                            <a:pt x="482346" y="839438"/>
                          </a:cubicBezTo>
                          <a:lnTo>
                            <a:pt x="141256" y="878681"/>
                          </a:lnTo>
                          <a:cubicBezTo>
                            <a:pt x="29909" y="639128"/>
                            <a:pt x="0" y="85725"/>
                            <a:pt x="0" y="85725"/>
                          </a:cubicBezTo>
                          <a:lnTo>
                            <a:pt x="383667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5" name="Freihandform: Form 614">
                      <a:extLst>
                        <a:ext uri="{FF2B5EF4-FFF2-40B4-BE49-F238E27FC236}">
                          <a16:creationId xmlns:a16="http://schemas.microsoft.com/office/drawing/2014/main" id="{9F1E04EB-0E68-5BB8-E1C5-1773C3F9952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87140" y="2431161"/>
                      <a:ext cx="345566" cy="345566"/>
                    </a:xfrm>
                    <a:custGeom>
                      <a:avLst/>
                      <a:gdLst>
                        <a:gd name="connsiteX0" fmla="*/ 345567 w 345566"/>
                        <a:gd name="connsiteY0" fmla="*/ 172784 h 345566"/>
                        <a:gd name="connsiteX1" fmla="*/ 172783 w 345566"/>
                        <a:gd name="connsiteY1" fmla="*/ 345567 h 345566"/>
                        <a:gd name="connsiteX2" fmla="*/ 0 w 345566"/>
                        <a:gd name="connsiteY2" fmla="*/ 172784 h 345566"/>
                        <a:gd name="connsiteX3" fmla="*/ 172783 w 345566"/>
                        <a:gd name="connsiteY3" fmla="*/ 0 h 345566"/>
                        <a:gd name="connsiteX4" fmla="*/ 345567 w 345566"/>
                        <a:gd name="connsiteY4" fmla="*/ 172784 h 34556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45566" h="345566">
                          <a:moveTo>
                            <a:pt x="345567" y="172784"/>
                          </a:moveTo>
                          <a:cubicBezTo>
                            <a:pt x="345567" y="268209"/>
                            <a:pt x="268209" y="345567"/>
                            <a:pt x="172783" y="345567"/>
                          </a:cubicBezTo>
                          <a:cubicBezTo>
                            <a:pt x="77358" y="345567"/>
                            <a:pt x="0" y="268209"/>
                            <a:pt x="0" y="172784"/>
                          </a:cubicBezTo>
                          <a:cubicBezTo>
                            <a:pt x="0" y="77358"/>
                            <a:pt x="77358" y="0"/>
                            <a:pt x="172783" y="0"/>
                          </a:cubicBezTo>
                          <a:cubicBezTo>
                            <a:pt x="268209" y="0"/>
                            <a:pt x="345567" y="77358"/>
                            <a:pt x="345567" y="172784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6" name="Freihandform: Form 615">
                      <a:extLst>
                        <a:ext uri="{FF2B5EF4-FFF2-40B4-BE49-F238E27FC236}">
                          <a16:creationId xmlns:a16="http://schemas.microsoft.com/office/drawing/2014/main" id="{A4A24C3F-7A6E-AF0E-029C-83BD3F84460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24726" y="2522886"/>
                      <a:ext cx="580739" cy="686752"/>
                    </a:xfrm>
                    <a:custGeom>
                      <a:avLst/>
                      <a:gdLst>
                        <a:gd name="connsiteX0" fmla="*/ 580740 w 580739"/>
                        <a:gd name="connsiteY0" fmla="*/ 174308 h 686752"/>
                        <a:gd name="connsiteX1" fmla="*/ 249269 w 580739"/>
                        <a:gd name="connsiteY1" fmla="*/ 686753 h 686752"/>
                        <a:gd name="connsiteX2" fmla="*/ 0 w 580739"/>
                        <a:gd name="connsiteY2" fmla="*/ 520637 h 686752"/>
                        <a:gd name="connsiteX3" fmla="*/ 282607 w 580739"/>
                        <a:gd name="connsiteY3" fmla="*/ 0 h 686752"/>
                        <a:gd name="connsiteX4" fmla="*/ 580740 w 580739"/>
                        <a:gd name="connsiteY4" fmla="*/ 174308 h 6867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80739" h="686752">
                          <a:moveTo>
                            <a:pt x="580740" y="174308"/>
                          </a:moveTo>
                          <a:lnTo>
                            <a:pt x="249269" y="686753"/>
                          </a:lnTo>
                          <a:lnTo>
                            <a:pt x="0" y="520637"/>
                          </a:lnTo>
                          <a:lnTo>
                            <a:pt x="282607" y="0"/>
                          </a:lnTo>
                          <a:lnTo>
                            <a:pt x="580740" y="174308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609" name="Freihandform: Form 608">
                    <a:extLst>
                      <a:ext uri="{FF2B5EF4-FFF2-40B4-BE49-F238E27FC236}">
                        <a16:creationId xmlns:a16="http://schemas.microsoft.com/office/drawing/2014/main" id="{0349FF0C-5C01-0F32-979B-C9E28AD55323}"/>
                      </a:ext>
                    </a:extLst>
                  </p:cNvPr>
                  <p:cNvSpPr/>
                  <p:nvPr/>
                </p:nvSpPr>
                <p:spPr>
                  <a:xfrm>
                    <a:off x="6006686" y="2053970"/>
                    <a:ext cx="262032" cy="259856"/>
                  </a:xfrm>
                  <a:custGeom>
                    <a:avLst/>
                    <a:gdLst>
                      <a:gd name="connsiteX0" fmla="*/ 0 w 262032"/>
                      <a:gd name="connsiteY0" fmla="*/ 225266 h 259856"/>
                      <a:gd name="connsiteX1" fmla="*/ 262033 w 262032"/>
                      <a:gd name="connsiteY1" fmla="*/ 252032 h 259856"/>
                      <a:gd name="connsiteX2" fmla="*/ 236887 w 262032"/>
                      <a:gd name="connsiteY2" fmla="*/ 0 h 259856"/>
                      <a:gd name="connsiteX3" fmla="*/ 56483 w 262032"/>
                      <a:gd name="connsiteY3" fmla="*/ 1429 h 259856"/>
                      <a:gd name="connsiteX4" fmla="*/ 0 w 262032"/>
                      <a:gd name="connsiteY4" fmla="*/ 225266 h 2598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2032" h="259856">
                        <a:moveTo>
                          <a:pt x="0" y="225266"/>
                        </a:moveTo>
                        <a:cubicBezTo>
                          <a:pt x="22574" y="242030"/>
                          <a:pt x="198501" y="274892"/>
                          <a:pt x="262033" y="252032"/>
                        </a:cubicBezTo>
                        <a:lnTo>
                          <a:pt x="236887" y="0"/>
                        </a:lnTo>
                        <a:lnTo>
                          <a:pt x="56483" y="1429"/>
                        </a:lnTo>
                        <a:lnTo>
                          <a:pt x="0" y="225266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10" name="Freihandform: Form 609">
                    <a:extLst>
                      <a:ext uri="{FF2B5EF4-FFF2-40B4-BE49-F238E27FC236}">
                        <a16:creationId xmlns:a16="http://schemas.microsoft.com/office/drawing/2014/main" id="{2270E37E-1ECC-4AA5-56AF-14735A84BC75}"/>
                      </a:ext>
                    </a:extLst>
                  </p:cNvPr>
                  <p:cNvSpPr/>
                  <p:nvPr/>
                </p:nvSpPr>
                <p:spPr>
                  <a:xfrm>
                    <a:off x="6006686" y="2053970"/>
                    <a:ext cx="230885" cy="229076"/>
                  </a:xfrm>
                  <a:custGeom>
                    <a:avLst/>
                    <a:gdLst>
                      <a:gd name="connsiteX0" fmla="*/ 4096 w 230885"/>
                      <a:gd name="connsiteY0" fmla="*/ 0 h 229076"/>
                      <a:gd name="connsiteX1" fmla="*/ 0 w 230885"/>
                      <a:gd name="connsiteY1" fmla="*/ 225266 h 229076"/>
                      <a:gd name="connsiteX2" fmla="*/ 230886 w 230885"/>
                      <a:gd name="connsiteY2" fmla="*/ 229076 h 229076"/>
                      <a:gd name="connsiteX3" fmla="*/ 230886 w 230885"/>
                      <a:gd name="connsiteY3" fmla="*/ 0 h 229076"/>
                      <a:gd name="connsiteX4" fmla="*/ 4096 w 230885"/>
                      <a:gd name="connsiteY4" fmla="*/ 0 h 2290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0885" h="229076">
                        <a:moveTo>
                          <a:pt x="4096" y="0"/>
                        </a:moveTo>
                        <a:lnTo>
                          <a:pt x="0" y="225266"/>
                        </a:lnTo>
                        <a:lnTo>
                          <a:pt x="230886" y="229076"/>
                        </a:lnTo>
                        <a:lnTo>
                          <a:pt x="230886" y="0"/>
                        </a:lnTo>
                        <a:lnTo>
                          <a:pt x="409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11" name="Freihandform: Form 610">
                    <a:extLst>
                      <a:ext uri="{FF2B5EF4-FFF2-40B4-BE49-F238E27FC236}">
                        <a16:creationId xmlns:a16="http://schemas.microsoft.com/office/drawing/2014/main" id="{9881285A-254F-2013-EA5B-E5F5455EC465}"/>
                      </a:ext>
                    </a:extLst>
                  </p:cNvPr>
                  <p:cNvSpPr/>
                  <p:nvPr/>
                </p:nvSpPr>
                <p:spPr>
                  <a:xfrm>
                    <a:off x="5978969" y="3209639"/>
                    <a:ext cx="568261" cy="539262"/>
                  </a:xfrm>
                  <a:custGeom>
                    <a:avLst/>
                    <a:gdLst>
                      <a:gd name="connsiteX0" fmla="*/ 59055 w 568261"/>
                      <a:gd name="connsiteY0" fmla="*/ 0 h 539262"/>
                      <a:gd name="connsiteX1" fmla="*/ 0 w 568261"/>
                      <a:gd name="connsiteY1" fmla="*/ 504635 h 539262"/>
                      <a:gd name="connsiteX2" fmla="*/ 568262 w 568261"/>
                      <a:gd name="connsiteY2" fmla="*/ 514064 h 539262"/>
                      <a:gd name="connsiteX3" fmla="*/ 568262 w 568261"/>
                      <a:gd name="connsiteY3" fmla="*/ 0 h 539262"/>
                      <a:gd name="connsiteX4" fmla="*/ 59150 w 568261"/>
                      <a:gd name="connsiteY4" fmla="*/ 0 h 5392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68261" h="539262">
                        <a:moveTo>
                          <a:pt x="59055" y="0"/>
                        </a:moveTo>
                        <a:cubicBezTo>
                          <a:pt x="59055" y="37624"/>
                          <a:pt x="0" y="504635"/>
                          <a:pt x="0" y="504635"/>
                        </a:cubicBezTo>
                        <a:cubicBezTo>
                          <a:pt x="174403" y="550545"/>
                          <a:pt x="365855" y="547783"/>
                          <a:pt x="568262" y="514064"/>
                        </a:cubicBezTo>
                        <a:lnTo>
                          <a:pt x="568262" y="0"/>
                        </a:lnTo>
                        <a:cubicBezTo>
                          <a:pt x="568262" y="0"/>
                          <a:pt x="59150" y="0"/>
                          <a:pt x="59150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12" name="Freihandform: Form 611">
                    <a:extLst>
                      <a:ext uri="{FF2B5EF4-FFF2-40B4-BE49-F238E27FC236}">
                        <a16:creationId xmlns:a16="http://schemas.microsoft.com/office/drawing/2014/main" id="{F142F7DA-31A1-4125-48FA-C79CB2FBC8BF}"/>
                      </a:ext>
                    </a:extLst>
                  </p:cNvPr>
                  <p:cNvSpPr/>
                  <p:nvPr/>
                </p:nvSpPr>
                <p:spPr>
                  <a:xfrm>
                    <a:off x="6158610" y="4503134"/>
                    <a:ext cx="511301" cy="511301"/>
                  </a:xfrm>
                  <a:custGeom>
                    <a:avLst/>
                    <a:gdLst>
                      <a:gd name="connsiteX0" fmla="*/ 511302 w 511301"/>
                      <a:gd name="connsiteY0" fmla="*/ 255651 h 511301"/>
                      <a:gd name="connsiteX1" fmla="*/ 255651 w 511301"/>
                      <a:gd name="connsiteY1" fmla="*/ 511302 h 511301"/>
                      <a:gd name="connsiteX2" fmla="*/ 0 w 511301"/>
                      <a:gd name="connsiteY2" fmla="*/ 255651 h 511301"/>
                      <a:gd name="connsiteX3" fmla="*/ 255651 w 511301"/>
                      <a:gd name="connsiteY3" fmla="*/ 0 h 511301"/>
                      <a:gd name="connsiteX4" fmla="*/ 511302 w 511301"/>
                      <a:gd name="connsiteY4" fmla="*/ 255651 h 5113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1301" h="511301">
                        <a:moveTo>
                          <a:pt x="511302" y="255651"/>
                        </a:moveTo>
                        <a:cubicBezTo>
                          <a:pt x="511302" y="396843"/>
                          <a:pt x="396843" y="511302"/>
                          <a:pt x="255651" y="511302"/>
                        </a:cubicBezTo>
                        <a:cubicBezTo>
                          <a:pt x="114459" y="511302"/>
                          <a:pt x="0" y="396843"/>
                          <a:pt x="0" y="255651"/>
                        </a:cubicBezTo>
                        <a:cubicBezTo>
                          <a:pt x="0" y="114459"/>
                          <a:pt x="114459" y="0"/>
                          <a:pt x="255651" y="0"/>
                        </a:cubicBezTo>
                        <a:cubicBezTo>
                          <a:pt x="396843" y="0"/>
                          <a:pt x="511302" y="114459"/>
                          <a:pt x="511302" y="255651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13" name="Freihandform: Form 612">
                    <a:extLst>
                      <a:ext uri="{FF2B5EF4-FFF2-40B4-BE49-F238E27FC236}">
                        <a16:creationId xmlns:a16="http://schemas.microsoft.com/office/drawing/2014/main" id="{D0F4EAE8-0639-B498-A050-86FDD043BE97}"/>
                      </a:ext>
                    </a:extLst>
                  </p:cNvPr>
                  <p:cNvSpPr/>
                  <p:nvPr/>
                </p:nvSpPr>
                <p:spPr>
                  <a:xfrm>
                    <a:off x="6449504" y="1634490"/>
                    <a:ext cx="396621" cy="396621"/>
                  </a:xfrm>
                  <a:custGeom>
                    <a:avLst/>
                    <a:gdLst>
                      <a:gd name="connsiteX0" fmla="*/ 396621 w 396621"/>
                      <a:gd name="connsiteY0" fmla="*/ 198310 h 396621"/>
                      <a:gd name="connsiteX1" fmla="*/ 198310 w 396621"/>
                      <a:gd name="connsiteY1" fmla="*/ 396621 h 396621"/>
                      <a:gd name="connsiteX2" fmla="*/ 0 w 396621"/>
                      <a:gd name="connsiteY2" fmla="*/ 198311 h 396621"/>
                      <a:gd name="connsiteX3" fmla="*/ 198310 w 396621"/>
                      <a:gd name="connsiteY3" fmla="*/ 0 h 396621"/>
                      <a:gd name="connsiteX4" fmla="*/ 396621 w 396621"/>
                      <a:gd name="connsiteY4" fmla="*/ 198310 h 3966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6621" h="396621">
                        <a:moveTo>
                          <a:pt x="396621" y="198310"/>
                        </a:moveTo>
                        <a:cubicBezTo>
                          <a:pt x="396621" y="307834"/>
                          <a:pt x="307834" y="396621"/>
                          <a:pt x="198310" y="396621"/>
                        </a:cubicBezTo>
                        <a:cubicBezTo>
                          <a:pt x="88786" y="396621"/>
                          <a:pt x="0" y="307834"/>
                          <a:pt x="0" y="198311"/>
                        </a:cubicBezTo>
                        <a:cubicBezTo>
                          <a:pt x="0" y="88787"/>
                          <a:pt x="88786" y="0"/>
                          <a:pt x="198310" y="0"/>
                        </a:cubicBezTo>
                        <a:cubicBezTo>
                          <a:pt x="307834" y="0"/>
                          <a:pt x="396621" y="88787"/>
                          <a:pt x="396621" y="19831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586" name="Grafik 23">
                  <a:extLst>
                    <a:ext uri="{FF2B5EF4-FFF2-40B4-BE49-F238E27FC236}">
                      <a16:creationId xmlns:a16="http://schemas.microsoft.com/office/drawing/2014/main" id="{6C291546-C787-119B-A4BF-6ADD7F019FA7}"/>
                    </a:ext>
                  </a:extLst>
                </p:cNvPr>
                <p:cNvGrpSpPr/>
                <p:nvPr/>
              </p:nvGrpSpPr>
              <p:grpSpPr>
                <a:xfrm>
                  <a:off x="5884415" y="666564"/>
                  <a:ext cx="678757" cy="747232"/>
                  <a:chOff x="5884415" y="666564"/>
                  <a:chExt cx="678757" cy="747232"/>
                </a:xfrm>
              </p:grpSpPr>
              <p:grpSp>
                <p:nvGrpSpPr>
                  <p:cNvPr id="587" name="Grafik 23">
                    <a:extLst>
                      <a:ext uri="{FF2B5EF4-FFF2-40B4-BE49-F238E27FC236}">
                        <a16:creationId xmlns:a16="http://schemas.microsoft.com/office/drawing/2014/main" id="{74A61FA6-5033-5DE4-5EB4-EF52F6A9A597}"/>
                      </a:ext>
                    </a:extLst>
                  </p:cNvPr>
                  <p:cNvGrpSpPr/>
                  <p:nvPr/>
                </p:nvGrpSpPr>
                <p:grpSpPr>
                  <a:xfrm>
                    <a:off x="5890916" y="666564"/>
                    <a:ext cx="672255" cy="747232"/>
                    <a:chOff x="5890916" y="666564"/>
                    <a:chExt cx="672255" cy="747232"/>
                  </a:xfrm>
                </p:grpSpPr>
                <p:sp>
                  <p:nvSpPr>
                    <p:cNvPr id="590" name="Freihandform: Form 589">
                      <a:extLst>
                        <a:ext uri="{FF2B5EF4-FFF2-40B4-BE49-F238E27FC236}">
                          <a16:creationId xmlns:a16="http://schemas.microsoft.com/office/drawing/2014/main" id="{49AC3AA5-9471-233C-8003-509F6AAA7A6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90916" y="928649"/>
                      <a:ext cx="397931" cy="485147"/>
                    </a:xfrm>
                    <a:custGeom>
                      <a:avLst/>
                      <a:gdLst>
                        <a:gd name="connsiteX0" fmla="*/ 391233 w 397931"/>
                        <a:gd name="connsiteY0" fmla="*/ 125006 h 485147"/>
                        <a:gd name="connsiteX1" fmla="*/ 110722 w 397931"/>
                        <a:gd name="connsiteY1" fmla="*/ 26041 h 485147"/>
                        <a:gd name="connsiteX2" fmla="*/ 63001 w 397931"/>
                        <a:gd name="connsiteY2" fmla="*/ 126339 h 485147"/>
                        <a:gd name="connsiteX3" fmla="*/ 2803 w 397931"/>
                        <a:gd name="connsiteY3" fmla="*/ 242639 h 485147"/>
                        <a:gd name="connsiteX4" fmla="*/ 53000 w 397931"/>
                        <a:gd name="connsiteY4" fmla="*/ 284359 h 485147"/>
                        <a:gd name="connsiteX5" fmla="*/ 63954 w 397931"/>
                        <a:gd name="connsiteY5" fmla="*/ 327888 h 485147"/>
                        <a:gd name="connsiteX6" fmla="*/ 84147 w 397931"/>
                        <a:gd name="connsiteY6" fmla="*/ 342557 h 485147"/>
                        <a:gd name="connsiteX7" fmla="*/ 84623 w 397931"/>
                        <a:gd name="connsiteY7" fmla="*/ 351986 h 485147"/>
                        <a:gd name="connsiteX8" fmla="*/ 81194 w 397931"/>
                        <a:gd name="connsiteY8" fmla="*/ 381323 h 485147"/>
                        <a:gd name="connsiteX9" fmla="*/ 93672 w 397931"/>
                        <a:gd name="connsiteY9" fmla="*/ 398564 h 485147"/>
                        <a:gd name="connsiteX10" fmla="*/ 100435 w 397931"/>
                        <a:gd name="connsiteY10" fmla="*/ 433235 h 485147"/>
                        <a:gd name="connsiteX11" fmla="*/ 150917 w 397931"/>
                        <a:gd name="connsiteY11" fmla="*/ 484955 h 485147"/>
                        <a:gd name="connsiteX12" fmla="*/ 297983 w 397931"/>
                        <a:gd name="connsiteY12" fmla="*/ 460571 h 485147"/>
                        <a:gd name="connsiteX13" fmla="*/ 395805 w 397931"/>
                        <a:gd name="connsiteY13" fmla="*/ 321602 h 485147"/>
                        <a:gd name="connsiteX14" fmla="*/ 391328 w 397931"/>
                        <a:gd name="connsiteY14" fmla="*/ 124815 h 48514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</a:cxnLst>
                      <a:rect l="l" t="t" r="r" b="b"/>
                      <a:pathLst>
                        <a:path w="397931" h="485147">
                          <a:moveTo>
                            <a:pt x="391233" y="125006"/>
                          </a:moveTo>
                          <a:cubicBezTo>
                            <a:pt x="328844" y="-46349"/>
                            <a:pt x="152251" y="-248"/>
                            <a:pt x="110722" y="26041"/>
                          </a:cubicBezTo>
                          <a:cubicBezTo>
                            <a:pt x="69193" y="52330"/>
                            <a:pt x="58143" y="85191"/>
                            <a:pt x="63001" y="126339"/>
                          </a:cubicBezTo>
                          <a:cubicBezTo>
                            <a:pt x="52333" y="145961"/>
                            <a:pt x="21853" y="195300"/>
                            <a:pt x="2803" y="242639"/>
                          </a:cubicBezTo>
                          <a:cubicBezTo>
                            <a:pt x="-10913" y="276644"/>
                            <a:pt x="28902" y="281406"/>
                            <a:pt x="53000" y="284359"/>
                          </a:cubicBezTo>
                          <a:cubicBezTo>
                            <a:pt x="74336" y="287026"/>
                            <a:pt x="58429" y="316268"/>
                            <a:pt x="63954" y="327888"/>
                          </a:cubicBezTo>
                          <a:cubicBezTo>
                            <a:pt x="68145" y="336556"/>
                            <a:pt x="75955" y="338842"/>
                            <a:pt x="84147" y="342557"/>
                          </a:cubicBezTo>
                          <a:cubicBezTo>
                            <a:pt x="84814" y="342842"/>
                            <a:pt x="85290" y="351701"/>
                            <a:pt x="84623" y="351986"/>
                          </a:cubicBezTo>
                          <a:cubicBezTo>
                            <a:pt x="67383" y="359892"/>
                            <a:pt x="68050" y="376751"/>
                            <a:pt x="81194" y="381323"/>
                          </a:cubicBezTo>
                          <a:cubicBezTo>
                            <a:pt x="91957" y="385133"/>
                            <a:pt x="93672" y="398564"/>
                            <a:pt x="93672" y="398564"/>
                          </a:cubicBezTo>
                          <a:cubicBezTo>
                            <a:pt x="93672" y="398564"/>
                            <a:pt x="98720" y="423900"/>
                            <a:pt x="100435" y="433235"/>
                          </a:cubicBezTo>
                          <a:cubicBezTo>
                            <a:pt x="110817" y="491147"/>
                            <a:pt x="150917" y="484955"/>
                            <a:pt x="150917" y="484955"/>
                          </a:cubicBezTo>
                          <a:cubicBezTo>
                            <a:pt x="150917" y="484955"/>
                            <a:pt x="245786" y="473240"/>
                            <a:pt x="297983" y="460571"/>
                          </a:cubicBezTo>
                          <a:cubicBezTo>
                            <a:pt x="358943" y="445617"/>
                            <a:pt x="392757" y="345986"/>
                            <a:pt x="395805" y="321602"/>
                          </a:cubicBezTo>
                          <a:cubicBezTo>
                            <a:pt x="402472" y="267785"/>
                            <a:pt x="391328" y="124815"/>
                            <a:pt x="391328" y="124815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1" name="Freihandform: Form 590">
                      <a:extLst>
                        <a:ext uri="{FF2B5EF4-FFF2-40B4-BE49-F238E27FC236}">
                          <a16:creationId xmlns:a16="http://schemas.microsoft.com/office/drawing/2014/main" id="{FD132D82-AC53-21EA-BCF4-22BE9026425A}"/>
                        </a:ext>
                      </a:extLst>
                    </p:cNvPr>
                    <p:cNvSpPr/>
                    <p:nvPr/>
                  </p:nvSpPr>
                  <p:spPr>
                    <a:xfrm rot="-445201">
                      <a:off x="5939430" y="702581"/>
                      <a:ext cx="592073" cy="528827"/>
                    </a:xfrm>
                    <a:custGeom>
                      <a:avLst/>
                      <a:gdLst>
                        <a:gd name="connsiteX0" fmla="*/ 592074 w 592073"/>
                        <a:gd name="connsiteY0" fmla="*/ 264414 h 528827"/>
                        <a:gd name="connsiteX1" fmla="*/ 296037 w 592073"/>
                        <a:gd name="connsiteY1" fmla="*/ 528828 h 528827"/>
                        <a:gd name="connsiteX2" fmla="*/ 0 w 592073"/>
                        <a:gd name="connsiteY2" fmla="*/ 264414 h 528827"/>
                        <a:gd name="connsiteX3" fmla="*/ 296037 w 592073"/>
                        <a:gd name="connsiteY3" fmla="*/ 0 h 528827"/>
                        <a:gd name="connsiteX4" fmla="*/ 592074 w 592073"/>
                        <a:gd name="connsiteY4" fmla="*/ 264414 h 5288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92073" h="528827">
                          <a:moveTo>
                            <a:pt x="592074" y="264414"/>
                          </a:moveTo>
                          <a:cubicBezTo>
                            <a:pt x="592074" y="410446"/>
                            <a:pt x="459534" y="528828"/>
                            <a:pt x="296037" y="528828"/>
                          </a:cubicBezTo>
                          <a:cubicBezTo>
                            <a:pt x="132541" y="528828"/>
                            <a:pt x="0" y="410446"/>
                            <a:pt x="0" y="264414"/>
                          </a:cubicBezTo>
                          <a:cubicBezTo>
                            <a:pt x="0" y="118382"/>
                            <a:pt x="132541" y="0"/>
                            <a:pt x="296037" y="0"/>
                          </a:cubicBezTo>
                          <a:cubicBezTo>
                            <a:pt x="459534" y="0"/>
                            <a:pt x="592074" y="118382"/>
                            <a:pt x="592074" y="264414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2" name="Freihandform: Form 591">
                      <a:extLst>
                        <a:ext uri="{FF2B5EF4-FFF2-40B4-BE49-F238E27FC236}">
                          <a16:creationId xmlns:a16="http://schemas.microsoft.com/office/drawing/2014/main" id="{B3F513AF-3935-3460-9BE9-E61D3BFC283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75063" y="1260919"/>
                      <a:ext cx="37147" cy="19811"/>
                    </a:xfrm>
                    <a:custGeom>
                      <a:avLst/>
                      <a:gdLst>
                        <a:gd name="connsiteX0" fmla="*/ 476 w 37147"/>
                        <a:gd name="connsiteY0" fmla="*/ 19812 h 19811"/>
                        <a:gd name="connsiteX1" fmla="*/ 0 w 37147"/>
                        <a:gd name="connsiteY1" fmla="*/ 10382 h 19811"/>
                        <a:gd name="connsiteX2" fmla="*/ 32385 w 37147"/>
                        <a:gd name="connsiteY2" fmla="*/ 0 h 19811"/>
                        <a:gd name="connsiteX3" fmla="*/ 37147 w 37147"/>
                        <a:gd name="connsiteY3" fmla="*/ 8192 h 19811"/>
                        <a:gd name="connsiteX4" fmla="*/ 571 w 37147"/>
                        <a:gd name="connsiteY4" fmla="*/ 19812 h 1981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7147" h="19811">
                          <a:moveTo>
                            <a:pt x="476" y="19812"/>
                          </a:moveTo>
                          <a:lnTo>
                            <a:pt x="0" y="10382"/>
                          </a:lnTo>
                          <a:cubicBezTo>
                            <a:pt x="0" y="10382"/>
                            <a:pt x="16002" y="9430"/>
                            <a:pt x="32385" y="0"/>
                          </a:cubicBezTo>
                          <a:lnTo>
                            <a:pt x="37147" y="8192"/>
                          </a:lnTo>
                          <a:cubicBezTo>
                            <a:pt x="18764" y="18764"/>
                            <a:pt x="1238" y="19812"/>
                            <a:pt x="571" y="19812"/>
                          </a:cubicBezTo>
                          <a:close/>
                        </a:path>
                      </a:pathLst>
                    </a:custGeom>
                    <a:solidFill>
                      <a:srgbClr val="F2BBB3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3" name="Freihandform: Form 592">
                      <a:extLst>
                        <a:ext uri="{FF2B5EF4-FFF2-40B4-BE49-F238E27FC236}">
                          <a16:creationId xmlns:a16="http://schemas.microsoft.com/office/drawing/2014/main" id="{2BCC4943-8593-4A60-FA97-ACA37748E43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60067" y="1011264"/>
                      <a:ext cx="129553" cy="32025"/>
                    </a:xfrm>
                    <a:custGeom>
                      <a:avLst/>
                      <a:gdLst>
                        <a:gd name="connsiteX0" fmla="*/ 98911 w 129553"/>
                        <a:gd name="connsiteY0" fmla="*/ 2672 h 32025"/>
                        <a:gd name="connsiteX1" fmla="*/ 5947 w 129553"/>
                        <a:gd name="connsiteY1" fmla="*/ 10292 h 32025"/>
                        <a:gd name="connsiteX2" fmla="*/ 3090 w 129553"/>
                        <a:gd name="connsiteY2" fmla="*/ 12768 h 32025"/>
                        <a:gd name="connsiteX3" fmla="*/ 13853 w 129553"/>
                        <a:gd name="connsiteY3" fmla="*/ 31913 h 32025"/>
                        <a:gd name="connsiteX4" fmla="*/ 38332 w 129553"/>
                        <a:gd name="connsiteY4" fmla="*/ 27341 h 32025"/>
                        <a:gd name="connsiteX5" fmla="*/ 96720 w 129553"/>
                        <a:gd name="connsiteY5" fmla="*/ 24389 h 32025"/>
                        <a:gd name="connsiteX6" fmla="*/ 129106 w 129553"/>
                        <a:gd name="connsiteY6" fmla="*/ 31532 h 32025"/>
                        <a:gd name="connsiteX7" fmla="*/ 98816 w 129553"/>
                        <a:gd name="connsiteY7" fmla="*/ 2767 h 320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29553" h="32025">
                          <a:moveTo>
                            <a:pt x="98911" y="2672"/>
                          </a:moveTo>
                          <a:cubicBezTo>
                            <a:pt x="81099" y="-5329"/>
                            <a:pt x="10615" y="6863"/>
                            <a:pt x="5947" y="10292"/>
                          </a:cubicBezTo>
                          <a:cubicBezTo>
                            <a:pt x="4804" y="11149"/>
                            <a:pt x="3852" y="11911"/>
                            <a:pt x="3090" y="12768"/>
                          </a:cubicBezTo>
                          <a:cubicBezTo>
                            <a:pt x="-4435" y="20769"/>
                            <a:pt x="2804" y="33342"/>
                            <a:pt x="13853" y="31913"/>
                          </a:cubicBezTo>
                          <a:cubicBezTo>
                            <a:pt x="18901" y="31247"/>
                            <a:pt x="31284" y="28675"/>
                            <a:pt x="38332" y="27341"/>
                          </a:cubicBezTo>
                          <a:cubicBezTo>
                            <a:pt x="50715" y="24865"/>
                            <a:pt x="86338" y="22865"/>
                            <a:pt x="96720" y="24389"/>
                          </a:cubicBezTo>
                          <a:cubicBezTo>
                            <a:pt x="117104" y="27246"/>
                            <a:pt x="126439" y="33628"/>
                            <a:pt x="129106" y="31532"/>
                          </a:cubicBezTo>
                          <a:cubicBezTo>
                            <a:pt x="131773" y="29437"/>
                            <a:pt x="122628" y="13435"/>
                            <a:pt x="98816" y="2767"/>
                          </a:cubicBezTo>
                          <a:close/>
                        </a:path>
                      </a:pathLst>
                    </a:custGeom>
                    <a:solidFill>
                      <a:srgbClr val="4B2E1A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4" name="Freihandform: Form 593">
                      <a:extLst>
                        <a:ext uri="{FF2B5EF4-FFF2-40B4-BE49-F238E27FC236}">
                          <a16:creationId xmlns:a16="http://schemas.microsoft.com/office/drawing/2014/main" id="{35DA8764-13AD-5E67-7656-4E5FE422683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01638" y="1062418"/>
                      <a:ext cx="25336" cy="32003"/>
                    </a:xfrm>
                    <a:custGeom>
                      <a:avLst/>
                      <a:gdLst>
                        <a:gd name="connsiteX0" fmla="*/ 25337 w 25336"/>
                        <a:gd name="connsiteY0" fmla="*/ 16002 h 32003"/>
                        <a:gd name="connsiteX1" fmla="*/ 12669 w 25336"/>
                        <a:gd name="connsiteY1" fmla="*/ 32004 h 32003"/>
                        <a:gd name="connsiteX2" fmla="*/ 0 w 25336"/>
                        <a:gd name="connsiteY2" fmla="*/ 16002 h 32003"/>
                        <a:gd name="connsiteX3" fmla="*/ 12669 w 25336"/>
                        <a:gd name="connsiteY3" fmla="*/ 0 h 32003"/>
                        <a:gd name="connsiteX4" fmla="*/ 25337 w 25336"/>
                        <a:gd name="connsiteY4" fmla="*/ 16002 h 320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5336" h="32003">
                          <a:moveTo>
                            <a:pt x="25337" y="16002"/>
                          </a:moveTo>
                          <a:cubicBezTo>
                            <a:pt x="25337" y="24840"/>
                            <a:pt x="19665" y="32004"/>
                            <a:pt x="12669" y="32004"/>
                          </a:cubicBezTo>
                          <a:cubicBezTo>
                            <a:pt x="5672" y="32004"/>
                            <a:pt x="0" y="24840"/>
                            <a:pt x="0" y="16002"/>
                          </a:cubicBezTo>
                          <a:cubicBezTo>
                            <a:pt x="0" y="7164"/>
                            <a:pt x="5672" y="0"/>
                            <a:pt x="12669" y="0"/>
                          </a:cubicBezTo>
                          <a:cubicBezTo>
                            <a:pt x="19665" y="0"/>
                            <a:pt x="25337" y="7164"/>
                            <a:pt x="25337" y="16002"/>
                          </a:cubicBezTo>
                          <a:close/>
                        </a:path>
                      </a:pathLst>
                    </a:custGeom>
                    <a:solidFill>
                      <a:srgbClr val="4B2E1A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5" name="Freihandform: Form 594">
                      <a:extLst>
                        <a:ext uri="{FF2B5EF4-FFF2-40B4-BE49-F238E27FC236}">
                          <a16:creationId xmlns:a16="http://schemas.microsoft.com/office/drawing/2014/main" id="{6A944AF0-F033-6C1B-7089-844249A622E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93256" y="1058562"/>
                      <a:ext cx="66606" cy="16779"/>
                    </a:xfrm>
                    <a:custGeom>
                      <a:avLst/>
                      <a:gdLst>
                        <a:gd name="connsiteX0" fmla="*/ 66104 w 66606"/>
                        <a:gd name="connsiteY0" fmla="*/ 12048 h 16779"/>
                        <a:gd name="connsiteX1" fmla="*/ 15336 w 66606"/>
                        <a:gd name="connsiteY1" fmla="*/ 427 h 16779"/>
                        <a:gd name="connsiteX2" fmla="*/ 4668 w 66606"/>
                        <a:gd name="connsiteY2" fmla="*/ 11857 h 16779"/>
                        <a:gd name="connsiteX3" fmla="*/ 54769 w 66606"/>
                        <a:gd name="connsiteY3" fmla="*/ 16048 h 16779"/>
                        <a:gd name="connsiteX4" fmla="*/ 66199 w 66606"/>
                        <a:gd name="connsiteY4" fmla="*/ 12048 h 167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66606" h="16779">
                          <a:moveTo>
                            <a:pt x="66104" y="12048"/>
                          </a:moveTo>
                          <a:cubicBezTo>
                            <a:pt x="64103" y="9095"/>
                            <a:pt x="36195" y="-2335"/>
                            <a:pt x="15336" y="427"/>
                          </a:cubicBezTo>
                          <a:cubicBezTo>
                            <a:pt x="1905" y="2142"/>
                            <a:pt x="-5334" y="14048"/>
                            <a:pt x="4668" y="11857"/>
                          </a:cubicBezTo>
                          <a:cubicBezTo>
                            <a:pt x="23051" y="7952"/>
                            <a:pt x="46959" y="13762"/>
                            <a:pt x="54769" y="16048"/>
                          </a:cubicBezTo>
                          <a:cubicBezTo>
                            <a:pt x="62580" y="18239"/>
                            <a:pt x="68199" y="15096"/>
                            <a:pt x="66199" y="12048"/>
                          </a:cubicBezTo>
                          <a:close/>
                        </a:path>
                      </a:pathLst>
                    </a:custGeom>
                    <a:solidFill>
                      <a:srgbClr val="4B2E1A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88" name="Freihandform: Form 587">
                    <a:extLst>
                      <a:ext uri="{FF2B5EF4-FFF2-40B4-BE49-F238E27FC236}">
                        <a16:creationId xmlns:a16="http://schemas.microsoft.com/office/drawing/2014/main" id="{3641DDBE-C668-B771-334D-DD611D375C3C}"/>
                      </a:ext>
                    </a:extLst>
                  </p:cNvPr>
                  <p:cNvSpPr/>
                  <p:nvPr/>
                </p:nvSpPr>
                <p:spPr>
                  <a:xfrm>
                    <a:off x="5884415" y="693547"/>
                    <a:ext cx="678407" cy="560989"/>
                  </a:xfrm>
                  <a:custGeom>
                    <a:avLst/>
                    <a:gdLst>
                      <a:gd name="connsiteX0" fmla="*/ 92744 w 678407"/>
                      <a:gd name="connsiteY0" fmla="*/ 45116 h 560989"/>
                      <a:gd name="connsiteX1" fmla="*/ 370588 w 678407"/>
                      <a:gd name="connsiteY1" fmla="*/ 1301 h 560989"/>
                      <a:gd name="connsiteX2" fmla="*/ 671387 w 678407"/>
                      <a:gd name="connsiteY2" fmla="*/ 177894 h 560989"/>
                      <a:gd name="connsiteX3" fmla="*/ 605379 w 678407"/>
                      <a:gd name="connsiteY3" fmla="*/ 492315 h 560989"/>
                      <a:gd name="connsiteX4" fmla="*/ 595854 w 678407"/>
                      <a:gd name="connsiteY4" fmla="*/ 560990 h 560989"/>
                      <a:gd name="connsiteX5" fmla="*/ 534704 w 678407"/>
                      <a:gd name="connsiteY5" fmla="*/ 541083 h 560989"/>
                      <a:gd name="connsiteX6" fmla="*/ 471553 w 678407"/>
                      <a:gd name="connsiteY6" fmla="*/ 434688 h 560989"/>
                      <a:gd name="connsiteX7" fmla="*/ 359253 w 678407"/>
                      <a:gd name="connsiteY7" fmla="*/ 466692 h 560989"/>
                      <a:gd name="connsiteX8" fmla="*/ 324963 w 678407"/>
                      <a:gd name="connsiteY8" fmla="*/ 344106 h 560989"/>
                      <a:gd name="connsiteX9" fmla="*/ 229904 w 678407"/>
                      <a:gd name="connsiteY9" fmla="*/ 185229 h 560989"/>
                      <a:gd name="connsiteX10" fmla="*/ 53310 w 678407"/>
                      <a:gd name="connsiteY10" fmla="*/ 212375 h 560989"/>
                      <a:gd name="connsiteX11" fmla="*/ 92553 w 678407"/>
                      <a:gd name="connsiteY11" fmla="*/ 45306 h 5609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678407" h="560989">
                        <a:moveTo>
                          <a:pt x="92744" y="45116"/>
                        </a:moveTo>
                        <a:cubicBezTo>
                          <a:pt x="92744" y="45116"/>
                          <a:pt x="183993" y="-8986"/>
                          <a:pt x="370588" y="1301"/>
                        </a:cubicBezTo>
                        <a:cubicBezTo>
                          <a:pt x="461647" y="6349"/>
                          <a:pt x="643860" y="48450"/>
                          <a:pt x="671387" y="177894"/>
                        </a:cubicBezTo>
                        <a:cubicBezTo>
                          <a:pt x="705773" y="339915"/>
                          <a:pt x="602522" y="437832"/>
                          <a:pt x="605379" y="492315"/>
                        </a:cubicBezTo>
                        <a:cubicBezTo>
                          <a:pt x="608141" y="546798"/>
                          <a:pt x="595854" y="560990"/>
                          <a:pt x="595854" y="560990"/>
                        </a:cubicBezTo>
                        <a:cubicBezTo>
                          <a:pt x="595854" y="560990"/>
                          <a:pt x="556325" y="553275"/>
                          <a:pt x="534704" y="541083"/>
                        </a:cubicBezTo>
                        <a:cubicBezTo>
                          <a:pt x="506319" y="525081"/>
                          <a:pt x="470315" y="485361"/>
                          <a:pt x="471553" y="434688"/>
                        </a:cubicBezTo>
                        <a:cubicBezTo>
                          <a:pt x="472887" y="384015"/>
                          <a:pt x="359253" y="466692"/>
                          <a:pt x="359253" y="466692"/>
                        </a:cubicBezTo>
                        <a:cubicBezTo>
                          <a:pt x="359253" y="466692"/>
                          <a:pt x="274481" y="456405"/>
                          <a:pt x="324963" y="344106"/>
                        </a:cubicBezTo>
                        <a:cubicBezTo>
                          <a:pt x="353348" y="281050"/>
                          <a:pt x="356110" y="128555"/>
                          <a:pt x="229904" y="185229"/>
                        </a:cubicBezTo>
                        <a:cubicBezTo>
                          <a:pt x="132844" y="228758"/>
                          <a:pt x="86838" y="240950"/>
                          <a:pt x="53310" y="212375"/>
                        </a:cubicBezTo>
                        <a:cubicBezTo>
                          <a:pt x="-33177" y="107219"/>
                          <a:pt x="-10412" y="47021"/>
                          <a:pt x="92553" y="45306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89" name="Freihandform: Form 588">
                    <a:extLst>
                      <a:ext uri="{FF2B5EF4-FFF2-40B4-BE49-F238E27FC236}">
                        <a16:creationId xmlns:a16="http://schemas.microsoft.com/office/drawing/2014/main" id="{4143BE98-CBA1-2FB9-901A-DB2943EC2C46}"/>
                      </a:ext>
                    </a:extLst>
                  </p:cNvPr>
                  <p:cNvSpPr/>
                  <p:nvPr/>
                </p:nvSpPr>
                <p:spPr>
                  <a:xfrm rot="-4891201">
                    <a:off x="6209424" y="1060687"/>
                    <a:ext cx="197357" cy="131254"/>
                  </a:xfrm>
                  <a:custGeom>
                    <a:avLst/>
                    <a:gdLst>
                      <a:gd name="connsiteX0" fmla="*/ 197358 w 197357"/>
                      <a:gd name="connsiteY0" fmla="*/ 65627 h 131254"/>
                      <a:gd name="connsiteX1" fmla="*/ 98679 w 197357"/>
                      <a:gd name="connsiteY1" fmla="*/ 131254 h 131254"/>
                      <a:gd name="connsiteX2" fmla="*/ 0 w 197357"/>
                      <a:gd name="connsiteY2" fmla="*/ 65627 h 131254"/>
                      <a:gd name="connsiteX3" fmla="*/ 98679 w 197357"/>
                      <a:gd name="connsiteY3" fmla="*/ 0 h 131254"/>
                      <a:gd name="connsiteX4" fmla="*/ 197358 w 197357"/>
                      <a:gd name="connsiteY4" fmla="*/ 65627 h 1312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7357" h="131254">
                        <a:moveTo>
                          <a:pt x="197358" y="65627"/>
                        </a:moveTo>
                        <a:cubicBezTo>
                          <a:pt x="197358" y="101872"/>
                          <a:pt x="153178" y="131254"/>
                          <a:pt x="98679" y="131254"/>
                        </a:cubicBezTo>
                        <a:cubicBezTo>
                          <a:pt x="44180" y="131254"/>
                          <a:pt x="0" y="101872"/>
                          <a:pt x="0" y="65627"/>
                        </a:cubicBezTo>
                        <a:cubicBezTo>
                          <a:pt x="0" y="29382"/>
                          <a:pt x="44180" y="0"/>
                          <a:pt x="98679" y="0"/>
                        </a:cubicBezTo>
                        <a:cubicBezTo>
                          <a:pt x="153178" y="0"/>
                          <a:pt x="197358" y="29382"/>
                          <a:pt x="197358" y="65627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290" name="Grafik 23">
                <a:extLst>
                  <a:ext uri="{FF2B5EF4-FFF2-40B4-BE49-F238E27FC236}">
                    <a16:creationId xmlns:a16="http://schemas.microsoft.com/office/drawing/2014/main" id="{976B9439-5213-2BF5-D752-DD558D5B3E6A}"/>
                  </a:ext>
                </a:extLst>
              </p:cNvPr>
              <p:cNvGrpSpPr/>
              <p:nvPr/>
            </p:nvGrpSpPr>
            <p:grpSpPr>
              <a:xfrm>
                <a:off x="9291637" y="1854304"/>
                <a:ext cx="351095" cy="833562"/>
                <a:chOff x="1874837" y="609818"/>
                <a:chExt cx="2341791" cy="5559828"/>
              </a:xfrm>
            </p:grpSpPr>
            <p:grpSp>
              <p:nvGrpSpPr>
                <p:cNvPr id="292" name="Grafik 23">
                  <a:extLst>
                    <a:ext uri="{FF2B5EF4-FFF2-40B4-BE49-F238E27FC236}">
                      <a16:creationId xmlns:a16="http://schemas.microsoft.com/office/drawing/2014/main" id="{0A13B20A-2044-9D03-C486-62D8E5D3C777}"/>
                    </a:ext>
                  </a:extLst>
                </p:cNvPr>
                <p:cNvGrpSpPr/>
                <p:nvPr/>
              </p:nvGrpSpPr>
              <p:grpSpPr>
                <a:xfrm>
                  <a:off x="3461130" y="1931860"/>
                  <a:ext cx="755497" cy="464438"/>
                  <a:chOff x="3461130" y="1931860"/>
                  <a:chExt cx="755497" cy="464438"/>
                </a:xfrm>
              </p:grpSpPr>
              <p:grpSp>
                <p:nvGrpSpPr>
                  <p:cNvPr id="575" name="Grafik 23">
                    <a:extLst>
                      <a:ext uri="{FF2B5EF4-FFF2-40B4-BE49-F238E27FC236}">
                        <a16:creationId xmlns:a16="http://schemas.microsoft.com/office/drawing/2014/main" id="{03794113-A535-AEAB-6F58-DAE35791A115}"/>
                      </a:ext>
                    </a:extLst>
                  </p:cNvPr>
                  <p:cNvGrpSpPr/>
                  <p:nvPr/>
                </p:nvGrpSpPr>
                <p:grpSpPr>
                  <a:xfrm>
                    <a:off x="3600659" y="1931860"/>
                    <a:ext cx="615968" cy="410541"/>
                    <a:chOff x="3600659" y="1931860"/>
                    <a:chExt cx="615968" cy="410541"/>
                  </a:xfrm>
                </p:grpSpPr>
                <p:sp>
                  <p:nvSpPr>
                    <p:cNvPr id="578" name="Freihandform: Form 577">
                      <a:extLst>
                        <a:ext uri="{FF2B5EF4-FFF2-40B4-BE49-F238E27FC236}">
                          <a16:creationId xmlns:a16="http://schemas.microsoft.com/office/drawing/2014/main" id="{548D93E3-302C-DCE3-B588-9C68C9138DC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600659" y="1931860"/>
                      <a:ext cx="613044" cy="410541"/>
                    </a:xfrm>
                    <a:custGeom>
                      <a:avLst/>
                      <a:gdLst>
                        <a:gd name="connsiteX0" fmla="*/ 1060 w 613044"/>
                        <a:gd name="connsiteY0" fmla="*/ 243173 h 410541"/>
                        <a:gd name="connsiteX1" fmla="*/ 99453 w 613044"/>
                        <a:gd name="connsiteY1" fmla="*/ 135445 h 410541"/>
                        <a:gd name="connsiteX2" fmla="*/ 267474 w 613044"/>
                        <a:gd name="connsiteY2" fmla="*/ 0 h 410541"/>
                        <a:gd name="connsiteX3" fmla="*/ 284143 w 613044"/>
                        <a:gd name="connsiteY3" fmla="*/ 69342 h 410541"/>
                        <a:gd name="connsiteX4" fmla="*/ 220516 w 613044"/>
                        <a:gd name="connsiteY4" fmla="*/ 151543 h 410541"/>
                        <a:gd name="connsiteX5" fmla="*/ 334244 w 613044"/>
                        <a:gd name="connsiteY5" fmla="*/ 194977 h 410541"/>
                        <a:gd name="connsiteX6" fmla="*/ 585133 w 613044"/>
                        <a:gd name="connsiteY6" fmla="*/ 201454 h 410541"/>
                        <a:gd name="connsiteX7" fmla="*/ 612470 w 613044"/>
                        <a:gd name="connsiteY7" fmla="*/ 240601 h 410541"/>
                        <a:gd name="connsiteX8" fmla="*/ 441877 w 613044"/>
                        <a:gd name="connsiteY8" fmla="*/ 266509 h 410541"/>
                        <a:gd name="connsiteX9" fmla="*/ 220421 w 613044"/>
                        <a:gd name="connsiteY9" fmla="*/ 407289 h 410541"/>
                        <a:gd name="connsiteX10" fmla="*/ 63353 w 613044"/>
                        <a:gd name="connsiteY10" fmla="*/ 406908 h 410541"/>
                        <a:gd name="connsiteX11" fmla="*/ 965 w 613044"/>
                        <a:gd name="connsiteY11" fmla="*/ 243173 h 41054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</a:cxnLst>
                      <a:rect l="l" t="t" r="r" b="b"/>
                      <a:pathLst>
                        <a:path w="613044" h="410541">
                          <a:moveTo>
                            <a:pt x="1060" y="243173"/>
                          </a:moveTo>
                          <a:cubicBezTo>
                            <a:pt x="1060" y="243173"/>
                            <a:pt x="28778" y="169259"/>
                            <a:pt x="99453" y="135445"/>
                          </a:cubicBezTo>
                          <a:cubicBezTo>
                            <a:pt x="138506" y="116776"/>
                            <a:pt x="236613" y="43720"/>
                            <a:pt x="267474" y="0"/>
                          </a:cubicBezTo>
                          <a:cubicBezTo>
                            <a:pt x="267474" y="0"/>
                            <a:pt x="310146" y="30861"/>
                            <a:pt x="284143" y="69342"/>
                          </a:cubicBezTo>
                          <a:cubicBezTo>
                            <a:pt x="256235" y="110490"/>
                            <a:pt x="220897" y="137446"/>
                            <a:pt x="220516" y="151543"/>
                          </a:cubicBezTo>
                          <a:cubicBezTo>
                            <a:pt x="220135" y="165640"/>
                            <a:pt x="261093" y="184309"/>
                            <a:pt x="334244" y="194977"/>
                          </a:cubicBezTo>
                          <a:cubicBezTo>
                            <a:pt x="407397" y="205645"/>
                            <a:pt x="568845" y="201073"/>
                            <a:pt x="585133" y="201454"/>
                          </a:cubicBezTo>
                          <a:cubicBezTo>
                            <a:pt x="611612" y="205168"/>
                            <a:pt x="614661" y="222599"/>
                            <a:pt x="612470" y="240601"/>
                          </a:cubicBezTo>
                          <a:cubicBezTo>
                            <a:pt x="605040" y="242792"/>
                            <a:pt x="500551" y="256032"/>
                            <a:pt x="441877" y="266509"/>
                          </a:cubicBezTo>
                          <a:cubicBezTo>
                            <a:pt x="441877" y="266509"/>
                            <a:pt x="247567" y="407956"/>
                            <a:pt x="220421" y="407289"/>
                          </a:cubicBezTo>
                          <a:cubicBezTo>
                            <a:pt x="193274" y="406622"/>
                            <a:pt x="98501" y="415195"/>
                            <a:pt x="63353" y="406908"/>
                          </a:cubicBezTo>
                          <a:cubicBezTo>
                            <a:pt x="63353" y="406908"/>
                            <a:pt x="-9132" y="354711"/>
                            <a:pt x="965" y="243173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79" name="Freihandform: Form 578">
                      <a:extLst>
                        <a:ext uri="{FF2B5EF4-FFF2-40B4-BE49-F238E27FC236}">
                          <a16:creationId xmlns:a16="http://schemas.microsoft.com/office/drawing/2014/main" id="{38DB6B70-AB37-6E0D-937F-A0500DAE191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46131" y="2104548"/>
                      <a:ext cx="370497" cy="93725"/>
                    </a:xfrm>
                    <a:custGeom>
                      <a:avLst/>
                      <a:gdLst>
                        <a:gd name="connsiteX0" fmla="*/ 0 w 370497"/>
                        <a:gd name="connsiteY0" fmla="*/ 0 h 93725"/>
                        <a:gd name="connsiteX1" fmla="*/ 331946 w 370497"/>
                        <a:gd name="connsiteY1" fmla="*/ 28766 h 93725"/>
                        <a:gd name="connsiteX2" fmla="*/ 369665 w 370497"/>
                        <a:gd name="connsiteY2" fmla="*/ 67246 h 93725"/>
                        <a:gd name="connsiteX3" fmla="*/ 196405 w 370497"/>
                        <a:gd name="connsiteY3" fmla="*/ 93726 h 93725"/>
                        <a:gd name="connsiteX4" fmla="*/ 0 w 370497"/>
                        <a:gd name="connsiteY4" fmla="*/ 0 h 937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70497" h="93725">
                          <a:moveTo>
                            <a:pt x="0" y="0"/>
                          </a:moveTo>
                          <a:cubicBezTo>
                            <a:pt x="99631" y="41815"/>
                            <a:pt x="292798" y="27146"/>
                            <a:pt x="331946" y="28766"/>
                          </a:cubicBezTo>
                          <a:cubicBezTo>
                            <a:pt x="367951" y="27051"/>
                            <a:pt x="372904" y="52102"/>
                            <a:pt x="369665" y="67246"/>
                          </a:cubicBezTo>
                          <a:cubicBezTo>
                            <a:pt x="362236" y="69437"/>
                            <a:pt x="255079" y="83249"/>
                            <a:pt x="196405" y="93726"/>
                          </a:cubicBezTo>
                          <a:cubicBezTo>
                            <a:pt x="113538" y="82677"/>
                            <a:pt x="22669" y="33528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0" name="Freihandform: Form 579">
                      <a:extLst>
                        <a:ext uri="{FF2B5EF4-FFF2-40B4-BE49-F238E27FC236}">
                          <a16:creationId xmlns:a16="http://schemas.microsoft.com/office/drawing/2014/main" id="{E42FCBA3-999C-0413-6937-A2D180E14F8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38012" y="2099981"/>
                      <a:ext cx="336064" cy="133901"/>
                    </a:xfrm>
                    <a:custGeom>
                      <a:avLst/>
                      <a:gdLst>
                        <a:gd name="connsiteX0" fmla="*/ 38503 w 336064"/>
                        <a:gd name="connsiteY0" fmla="*/ 53621 h 133901"/>
                        <a:gd name="connsiteX1" fmla="*/ 204143 w 336064"/>
                        <a:gd name="connsiteY1" fmla="*/ 33428 h 133901"/>
                        <a:gd name="connsiteX2" fmla="*/ 266151 w 336064"/>
                        <a:gd name="connsiteY2" fmla="*/ 8663 h 133901"/>
                        <a:gd name="connsiteX3" fmla="*/ 336064 w 336064"/>
                        <a:gd name="connsiteY3" fmla="*/ 25236 h 133901"/>
                        <a:gd name="connsiteX4" fmla="*/ 169186 w 336064"/>
                        <a:gd name="connsiteY4" fmla="*/ 118677 h 133901"/>
                        <a:gd name="connsiteX5" fmla="*/ 38503 w 336064"/>
                        <a:gd name="connsiteY5" fmla="*/ 53621 h 1339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336064" h="133901">
                          <a:moveTo>
                            <a:pt x="38503" y="53621"/>
                          </a:moveTo>
                          <a:cubicBezTo>
                            <a:pt x="130610" y="74195"/>
                            <a:pt x="204143" y="33428"/>
                            <a:pt x="204143" y="33428"/>
                          </a:cubicBezTo>
                          <a:cubicBezTo>
                            <a:pt x="204143" y="33428"/>
                            <a:pt x="251959" y="13140"/>
                            <a:pt x="266151" y="8663"/>
                          </a:cubicBezTo>
                          <a:cubicBezTo>
                            <a:pt x="280343" y="4186"/>
                            <a:pt x="318443" y="-15435"/>
                            <a:pt x="336064" y="25236"/>
                          </a:cubicBezTo>
                          <a:cubicBezTo>
                            <a:pt x="320539" y="35523"/>
                            <a:pt x="169186" y="118677"/>
                            <a:pt x="169186" y="118677"/>
                          </a:cubicBezTo>
                          <a:cubicBezTo>
                            <a:pt x="44790" y="180303"/>
                            <a:pt x="-58937" y="33618"/>
                            <a:pt x="38503" y="53621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76" name="Freihandform: Form 575">
                    <a:extLst>
                      <a:ext uri="{FF2B5EF4-FFF2-40B4-BE49-F238E27FC236}">
                        <a16:creationId xmlns:a16="http://schemas.microsoft.com/office/drawing/2014/main" id="{34C7C959-4668-3111-4BF5-8BDDC26B8BBD}"/>
                      </a:ext>
                    </a:extLst>
                  </p:cNvPr>
                  <p:cNvSpPr/>
                  <p:nvPr/>
                </p:nvSpPr>
                <p:spPr>
                  <a:xfrm rot="-4549200">
                    <a:off x="3542217" y="2170610"/>
                    <a:ext cx="175069" cy="175069"/>
                  </a:xfrm>
                  <a:custGeom>
                    <a:avLst/>
                    <a:gdLst>
                      <a:gd name="connsiteX0" fmla="*/ 175069 w 175069"/>
                      <a:gd name="connsiteY0" fmla="*/ 87535 h 175069"/>
                      <a:gd name="connsiteX1" fmla="*/ 87535 w 175069"/>
                      <a:gd name="connsiteY1" fmla="*/ 175070 h 175069"/>
                      <a:gd name="connsiteX2" fmla="*/ 0 w 175069"/>
                      <a:gd name="connsiteY2" fmla="*/ 87535 h 175069"/>
                      <a:gd name="connsiteX3" fmla="*/ 87535 w 175069"/>
                      <a:gd name="connsiteY3" fmla="*/ 0 h 175069"/>
                      <a:gd name="connsiteX4" fmla="*/ 175069 w 175069"/>
                      <a:gd name="connsiteY4" fmla="*/ 87535 h 1750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75069" h="175069">
                        <a:moveTo>
                          <a:pt x="175069" y="87535"/>
                        </a:moveTo>
                        <a:cubicBezTo>
                          <a:pt x="175069" y="135879"/>
                          <a:pt x="135879" y="175070"/>
                          <a:pt x="87535" y="175070"/>
                        </a:cubicBezTo>
                        <a:cubicBezTo>
                          <a:pt x="39191" y="175070"/>
                          <a:pt x="0" y="135879"/>
                          <a:pt x="0" y="87535"/>
                        </a:cubicBezTo>
                        <a:cubicBezTo>
                          <a:pt x="0" y="39191"/>
                          <a:pt x="39191" y="0"/>
                          <a:pt x="87535" y="0"/>
                        </a:cubicBezTo>
                        <a:cubicBezTo>
                          <a:pt x="135879" y="0"/>
                          <a:pt x="175069" y="39191"/>
                          <a:pt x="175069" y="87535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77" name="Freihandform: Form 576">
                    <a:extLst>
                      <a:ext uri="{FF2B5EF4-FFF2-40B4-BE49-F238E27FC236}">
                        <a16:creationId xmlns:a16="http://schemas.microsoft.com/office/drawing/2014/main" id="{009752BC-D70C-C807-398C-E20253BD57F7}"/>
                      </a:ext>
                    </a:extLst>
                  </p:cNvPr>
                  <p:cNvSpPr/>
                  <p:nvPr/>
                </p:nvSpPr>
                <p:spPr>
                  <a:xfrm>
                    <a:off x="3461130" y="2175033"/>
                    <a:ext cx="202977" cy="221265"/>
                  </a:xfrm>
                  <a:custGeom>
                    <a:avLst/>
                    <a:gdLst>
                      <a:gd name="connsiteX0" fmla="*/ 202978 w 202977"/>
                      <a:gd name="connsiteY0" fmla="*/ 163735 h 221265"/>
                      <a:gd name="connsiteX1" fmla="*/ 140589 w 202977"/>
                      <a:gd name="connsiteY1" fmla="*/ 0 h 221265"/>
                      <a:gd name="connsiteX2" fmla="*/ 0 w 202977"/>
                      <a:gd name="connsiteY2" fmla="*/ 51435 h 221265"/>
                      <a:gd name="connsiteX3" fmla="*/ 60770 w 202977"/>
                      <a:gd name="connsiteY3" fmla="*/ 221266 h 221265"/>
                      <a:gd name="connsiteX4" fmla="*/ 202978 w 202977"/>
                      <a:gd name="connsiteY4" fmla="*/ 163735 h 2212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02977" h="221265">
                        <a:moveTo>
                          <a:pt x="202978" y="163735"/>
                        </a:moveTo>
                        <a:lnTo>
                          <a:pt x="140589" y="0"/>
                        </a:lnTo>
                        <a:lnTo>
                          <a:pt x="0" y="51435"/>
                        </a:lnTo>
                        <a:lnTo>
                          <a:pt x="60770" y="221266"/>
                        </a:lnTo>
                        <a:lnTo>
                          <a:pt x="202978" y="163735"/>
                        </a:ln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93" name="Grafik 23">
                  <a:extLst>
                    <a:ext uri="{FF2B5EF4-FFF2-40B4-BE49-F238E27FC236}">
                      <a16:creationId xmlns:a16="http://schemas.microsoft.com/office/drawing/2014/main" id="{F9C977CF-2011-9CEC-0387-27D8B5009647}"/>
                    </a:ext>
                  </a:extLst>
                </p:cNvPr>
                <p:cNvGrpSpPr/>
                <p:nvPr/>
              </p:nvGrpSpPr>
              <p:grpSpPr>
                <a:xfrm>
                  <a:off x="2901155" y="2174271"/>
                  <a:ext cx="790003" cy="520064"/>
                  <a:chOff x="2901155" y="2174271"/>
                  <a:chExt cx="790003" cy="520064"/>
                </a:xfrm>
                <a:solidFill>
                  <a:srgbClr val="FFFFFF"/>
                </a:solidFill>
              </p:grpSpPr>
              <p:sp>
                <p:nvSpPr>
                  <p:cNvPr id="573" name="Freihandform: Form 572">
                    <a:extLst>
                      <a:ext uri="{FF2B5EF4-FFF2-40B4-BE49-F238E27FC236}">
                        <a16:creationId xmlns:a16="http://schemas.microsoft.com/office/drawing/2014/main" id="{79AC8F2C-E89B-E3EC-0BB3-073C3AFEF212}"/>
                      </a:ext>
                    </a:extLst>
                  </p:cNvPr>
                  <p:cNvSpPr/>
                  <p:nvPr/>
                </p:nvSpPr>
                <p:spPr>
                  <a:xfrm>
                    <a:off x="3013169" y="2174271"/>
                    <a:ext cx="677989" cy="511587"/>
                  </a:xfrm>
                  <a:custGeom>
                    <a:avLst/>
                    <a:gdLst>
                      <a:gd name="connsiteX0" fmla="*/ 677990 w 677989"/>
                      <a:gd name="connsiteY0" fmla="*/ 313277 h 511587"/>
                      <a:gd name="connsiteX1" fmla="*/ 561975 w 677989"/>
                      <a:gd name="connsiteY1" fmla="*/ 0 h 511587"/>
                      <a:gd name="connsiteX2" fmla="*/ 0 w 677989"/>
                      <a:gd name="connsiteY2" fmla="*/ 185547 h 511587"/>
                      <a:gd name="connsiteX3" fmla="*/ 114490 w 677989"/>
                      <a:gd name="connsiteY3" fmla="*/ 511588 h 511587"/>
                      <a:gd name="connsiteX4" fmla="*/ 677990 w 677989"/>
                      <a:gd name="connsiteY4" fmla="*/ 313277 h 5115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77989" h="511587">
                        <a:moveTo>
                          <a:pt x="677990" y="313277"/>
                        </a:moveTo>
                        <a:lnTo>
                          <a:pt x="561975" y="0"/>
                        </a:lnTo>
                        <a:lnTo>
                          <a:pt x="0" y="185547"/>
                        </a:lnTo>
                        <a:lnTo>
                          <a:pt x="114490" y="511588"/>
                        </a:lnTo>
                        <a:lnTo>
                          <a:pt x="677990" y="31327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74" name="Freihandform: Form 573">
                    <a:extLst>
                      <a:ext uri="{FF2B5EF4-FFF2-40B4-BE49-F238E27FC236}">
                        <a16:creationId xmlns:a16="http://schemas.microsoft.com/office/drawing/2014/main" id="{F37B7D82-2FBE-5C40-ED8D-13759DB62B6C}"/>
                      </a:ext>
                    </a:extLst>
                  </p:cNvPr>
                  <p:cNvSpPr/>
                  <p:nvPr/>
                </p:nvSpPr>
                <p:spPr>
                  <a:xfrm>
                    <a:off x="2901155" y="2348769"/>
                    <a:ext cx="345567" cy="345567"/>
                  </a:xfrm>
                  <a:custGeom>
                    <a:avLst/>
                    <a:gdLst>
                      <a:gd name="connsiteX0" fmla="*/ 345567 w 345567"/>
                      <a:gd name="connsiteY0" fmla="*/ 172783 h 345567"/>
                      <a:gd name="connsiteX1" fmla="*/ 172784 w 345567"/>
                      <a:gd name="connsiteY1" fmla="*/ 345567 h 345567"/>
                      <a:gd name="connsiteX2" fmla="*/ 0 w 345567"/>
                      <a:gd name="connsiteY2" fmla="*/ 172783 h 345567"/>
                      <a:gd name="connsiteX3" fmla="*/ 172784 w 345567"/>
                      <a:gd name="connsiteY3" fmla="*/ 0 h 345567"/>
                      <a:gd name="connsiteX4" fmla="*/ 345567 w 345567"/>
                      <a:gd name="connsiteY4" fmla="*/ 172783 h 3455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45567" h="345567">
                        <a:moveTo>
                          <a:pt x="345567" y="172783"/>
                        </a:moveTo>
                        <a:cubicBezTo>
                          <a:pt x="345567" y="268209"/>
                          <a:pt x="268209" y="345567"/>
                          <a:pt x="172784" y="345567"/>
                        </a:cubicBezTo>
                        <a:cubicBezTo>
                          <a:pt x="77358" y="345567"/>
                          <a:pt x="0" y="268209"/>
                          <a:pt x="0" y="172783"/>
                        </a:cubicBezTo>
                        <a:cubicBezTo>
                          <a:pt x="0" y="77358"/>
                          <a:pt x="77358" y="0"/>
                          <a:pt x="172784" y="0"/>
                        </a:cubicBezTo>
                        <a:cubicBezTo>
                          <a:pt x="268209" y="0"/>
                          <a:pt x="345567" y="77358"/>
                          <a:pt x="345567" y="17278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94" name="Grafik 23">
                  <a:extLst>
                    <a:ext uri="{FF2B5EF4-FFF2-40B4-BE49-F238E27FC236}">
                      <a16:creationId xmlns:a16="http://schemas.microsoft.com/office/drawing/2014/main" id="{A232719C-EE40-40B9-9820-E398A83B0593}"/>
                    </a:ext>
                  </a:extLst>
                </p:cNvPr>
                <p:cNvGrpSpPr/>
                <p:nvPr/>
              </p:nvGrpSpPr>
              <p:grpSpPr>
                <a:xfrm>
                  <a:off x="2358897" y="1530286"/>
                  <a:ext cx="861536" cy="1080516"/>
                  <a:chOff x="2358897" y="1530286"/>
                  <a:chExt cx="861536" cy="1080516"/>
                </a:xfrm>
                <a:solidFill>
                  <a:srgbClr val="FFFFFF"/>
                </a:solidFill>
              </p:grpSpPr>
              <p:sp>
                <p:nvSpPr>
                  <p:cNvPr id="571" name="Freihandform: Form 570">
                    <a:extLst>
                      <a:ext uri="{FF2B5EF4-FFF2-40B4-BE49-F238E27FC236}">
                        <a16:creationId xmlns:a16="http://schemas.microsoft.com/office/drawing/2014/main" id="{B6F8694E-AA5C-8326-2B41-4D75BD190C7A}"/>
                      </a:ext>
                    </a:extLst>
                  </p:cNvPr>
                  <p:cNvSpPr/>
                  <p:nvPr/>
                </p:nvSpPr>
                <p:spPr>
                  <a:xfrm>
                    <a:off x="2358897" y="1530286"/>
                    <a:ext cx="396621" cy="396621"/>
                  </a:xfrm>
                  <a:custGeom>
                    <a:avLst/>
                    <a:gdLst>
                      <a:gd name="connsiteX0" fmla="*/ 396621 w 396621"/>
                      <a:gd name="connsiteY0" fmla="*/ 198311 h 396621"/>
                      <a:gd name="connsiteX1" fmla="*/ 198311 w 396621"/>
                      <a:gd name="connsiteY1" fmla="*/ 396621 h 396621"/>
                      <a:gd name="connsiteX2" fmla="*/ 0 w 396621"/>
                      <a:gd name="connsiteY2" fmla="*/ 198311 h 396621"/>
                      <a:gd name="connsiteX3" fmla="*/ 198311 w 396621"/>
                      <a:gd name="connsiteY3" fmla="*/ 0 h 396621"/>
                      <a:gd name="connsiteX4" fmla="*/ 396621 w 396621"/>
                      <a:gd name="connsiteY4" fmla="*/ 198311 h 3966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6621" h="396621">
                        <a:moveTo>
                          <a:pt x="396621" y="198311"/>
                        </a:moveTo>
                        <a:cubicBezTo>
                          <a:pt x="396621" y="307834"/>
                          <a:pt x="307834" y="396621"/>
                          <a:pt x="198311" y="396621"/>
                        </a:cubicBezTo>
                        <a:cubicBezTo>
                          <a:pt x="88787" y="396621"/>
                          <a:pt x="0" y="307834"/>
                          <a:pt x="0" y="198311"/>
                        </a:cubicBezTo>
                        <a:cubicBezTo>
                          <a:pt x="0" y="88787"/>
                          <a:pt x="88787" y="0"/>
                          <a:pt x="198311" y="0"/>
                        </a:cubicBezTo>
                        <a:cubicBezTo>
                          <a:pt x="307834" y="0"/>
                          <a:pt x="396621" y="88787"/>
                          <a:pt x="396621" y="19831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72" name="Freihandform: Form 571">
                    <a:extLst>
                      <a:ext uri="{FF2B5EF4-FFF2-40B4-BE49-F238E27FC236}">
                        <a16:creationId xmlns:a16="http://schemas.microsoft.com/office/drawing/2014/main" id="{67F07A48-CC17-E9A2-18F7-39B6F6B9B4E3}"/>
                      </a:ext>
                    </a:extLst>
                  </p:cNvPr>
                  <p:cNvSpPr/>
                  <p:nvPr/>
                </p:nvSpPr>
                <p:spPr>
                  <a:xfrm>
                    <a:off x="2388139" y="1624869"/>
                    <a:ext cx="832294" cy="985932"/>
                  </a:xfrm>
                  <a:custGeom>
                    <a:avLst/>
                    <a:gdLst>
                      <a:gd name="connsiteX0" fmla="*/ 537591 w 832294"/>
                      <a:gd name="connsiteY0" fmla="*/ 985933 h 985932"/>
                      <a:gd name="connsiteX1" fmla="*/ 832295 w 832294"/>
                      <a:gd name="connsiteY1" fmla="*/ 805053 h 985932"/>
                      <a:gd name="connsiteX2" fmla="*/ 512064 w 832294"/>
                      <a:gd name="connsiteY2" fmla="*/ 283464 h 985932"/>
                      <a:gd name="connsiteX3" fmla="*/ 338042 w 832294"/>
                      <a:gd name="connsiteY3" fmla="*/ 0 h 985932"/>
                      <a:gd name="connsiteX4" fmla="*/ 0 w 832294"/>
                      <a:gd name="connsiteY4" fmla="*/ 207455 h 985932"/>
                      <a:gd name="connsiteX5" fmla="*/ 199835 w 832294"/>
                      <a:gd name="connsiteY5" fmla="*/ 496824 h 985932"/>
                      <a:gd name="connsiteX6" fmla="*/ 537591 w 832294"/>
                      <a:gd name="connsiteY6" fmla="*/ 985933 h 9859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32294" h="985932">
                        <a:moveTo>
                          <a:pt x="537591" y="985933"/>
                        </a:moveTo>
                        <a:lnTo>
                          <a:pt x="832295" y="805053"/>
                        </a:lnTo>
                        <a:lnTo>
                          <a:pt x="512064" y="283464"/>
                        </a:lnTo>
                        <a:lnTo>
                          <a:pt x="338042" y="0"/>
                        </a:lnTo>
                        <a:lnTo>
                          <a:pt x="0" y="207455"/>
                        </a:lnTo>
                        <a:lnTo>
                          <a:pt x="199835" y="496824"/>
                        </a:lnTo>
                        <a:lnTo>
                          <a:pt x="537591" y="98593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95" name="Grafik 23">
                  <a:extLst>
                    <a:ext uri="{FF2B5EF4-FFF2-40B4-BE49-F238E27FC236}">
                      <a16:creationId xmlns:a16="http://schemas.microsoft.com/office/drawing/2014/main" id="{99844853-A14D-B2D2-74DD-F09098C13A5B}"/>
                    </a:ext>
                  </a:extLst>
                </p:cNvPr>
                <p:cNvGrpSpPr/>
                <p:nvPr/>
              </p:nvGrpSpPr>
              <p:grpSpPr>
                <a:xfrm>
                  <a:off x="2248407" y="995518"/>
                  <a:ext cx="483174" cy="622983"/>
                  <a:chOff x="2248407" y="995518"/>
                  <a:chExt cx="483174" cy="622983"/>
                </a:xfrm>
              </p:grpSpPr>
              <p:sp>
                <p:nvSpPr>
                  <p:cNvPr id="569" name="Freihandform: Form 568">
                    <a:extLst>
                      <a:ext uri="{FF2B5EF4-FFF2-40B4-BE49-F238E27FC236}">
                        <a16:creationId xmlns:a16="http://schemas.microsoft.com/office/drawing/2014/main" id="{7EDAFFA9-BC0A-EC90-16BD-0C8BDBE876BA}"/>
                      </a:ext>
                    </a:extLst>
                  </p:cNvPr>
                  <p:cNvSpPr/>
                  <p:nvPr/>
                </p:nvSpPr>
                <p:spPr>
                  <a:xfrm>
                    <a:off x="2248407" y="995518"/>
                    <a:ext cx="483174" cy="622432"/>
                  </a:xfrm>
                  <a:custGeom>
                    <a:avLst/>
                    <a:gdLst>
                      <a:gd name="connsiteX0" fmla="*/ 0 w 483174"/>
                      <a:gd name="connsiteY0" fmla="*/ 470760 h 622432"/>
                      <a:gd name="connsiteX1" fmla="*/ 342995 w 483174"/>
                      <a:gd name="connsiteY1" fmla="*/ 593061 h 622432"/>
                      <a:gd name="connsiteX2" fmla="*/ 472535 w 483174"/>
                      <a:gd name="connsiteY2" fmla="*/ 229873 h 622432"/>
                      <a:gd name="connsiteX3" fmla="*/ 129540 w 483174"/>
                      <a:gd name="connsiteY3" fmla="*/ 107572 h 622432"/>
                      <a:gd name="connsiteX4" fmla="*/ 0 w 483174"/>
                      <a:gd name="connsiteY4" fmla="*/ 470760 h 6224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83174" h="622432">
                        <a:moveTo>
                          <a:pt x="0" y="470760"/>
                        </a:moveTo>
                        <a:cubicBezTo>
                          <a:pt x="24574" y="590203"/>
                          <a:pt x="237268" y="667737"/>
                          <a:pt x="342995" y="593061"/>
                        </a:cubicBezTo>
                        <a:lnTo>
                          <a:pt x="472535" y="229873"/>
                        </a:lnTo>
                        <a:cubicBezTo>
                          <a:pt x="547021" y="7083"/>
                          <a:pt x="208788" y="-91596"/>
                          <a:pt x="129540" y="107572"/>
                        </a:cubicBezTo>
                        <a:lnTo>
                          <a:pt x="0" y="470760"/>
                        </a:ln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70" name="Freihandform: Form 569">
                    <a:extLst>
                      <a:ext uri="{FF2B5EF4-FFF2-40B4-BE49-F238E27FC236}">
                        <a16:creationId xmlns:a16="http://schemas.microsoft.com/office/drawing/2014/main" id="{DA1F72DA-E43C-9C46-3499-D5CBC439C9DA}"/>
                      </a:ext>
                    </a:extLst>
                  </p:cNvPr>
                  <p:cNvSpPr/>
                  <p:nvPr/>
                </p:nvSpPr>
                <p:spPr>
                  <a:xfrm>
                    <a:off x="2248407" y="1181100"/>
                    <a:ext cx="351219" cy="437402"/>
                  </a:xfrm>
                  <a:custGeom>
                    <a:avLst/>
                    <a:gdLst>
                      <a:gd name="connsiteX0" fmla="*/ 101727 w 351219"/>
                      <a:gd name="connsiteY0" fmla="*/ 0 h 437402"/>
                      <a:gd name="connsiteX1" fmla="*/ 0 w 351219"/>
                      <a:gd name="connsiteY1" fmla="*/ 285274 h 437402"/>
                      <a:gd name="connsiteX2" fmla="*/ 342995 w 351219"/>
                      <a:gd name="connsiteY2" fmla="*/ 407575 h 437402"/>
                      <a:gd name="connsiteX3" fmla="*/ 293942 w 351219"/>
                      <a:gd name="connsiteY3" fmla="*/ 224409 h 437402"/>
                      <a:gd name="connsiteX4" fmla="*/ 101822 w 351219"/>
                      <a:gd name="connsiteY4" fmla="*/ 95 h 4374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1219" h="437402">
                        <a:moveTo>
                          <a:pt x="101727" y="0"/>
                        </a:moveTo>
                        <a:lnTo>
                          <a:pt x="0" y="285274"/>
                        </a:lnTo>
                        <a:cubicBezTo>
                          <a:pt x="27432" y="400621"/>
                          <a:pt x="236220" y="484823"/>
                          <a:pt x="342995" y="407575"/>
                        </a:cubicBezTo>
                        <a:cubicBezTo>
                          <a:pt x="342995" y="407575"/>
                          <a:pt x="380905" y="277368"/>
                          <a:pt x="293942" y="224409"/>
                        </a:cubicBezTo>
                        <a:cubicBezTo>
                          <a:pt x="101346" y="107156"/>
                          <a:pt x="101822" y="95"/>
                          <a:pt x="101822" y="95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96" name="Grafik 23">
                  <a:extLst>
                    <a:ext uri="{FF2B5EF4-FFF2-40B4-BE49-F238E27FC236}">
                      <a16:creationId xmlns:a16="http://schemas.microsoft.com/office/drawing/2014/main" id="{19987969-312C-0400-18E1-38A2B44039FA}"/>
                    </a:ext>
                  </a:extLst>
                </p:cNvPr>
                <p:cNvGrpSpPr/>
                <p:nvPr/>
              </p:nvGrpSpPr>
              <p:grpSpPr>
                <a:xfrm>
                  <a:off x="2228899" y="609818"/>
                  <a:ext cx="706899" cy="824398"/>
                  <a:chOff x="2228899" y="609818"/>
                  <a:chExt cx="706899" cy="824398"/>
                </a:xfrm>
              </p:grpSpPr>
              <p:sp>
                <p:nvSpPr>
                  <p:cNvPr id="562" name="Freihandform: Form 561">
                    <a:extLst>
                      <a:ext uri="{FF2B5EF4-FFF2-40B4-BE49-F238E27FC236}">
                        <a16:creationId xmlns:a16="http://schemas.microsoft.com/office/drawing/2014/main" id="{0BF3354F-D890-CBF7-1DD6-BD4FED52013B}"/>
                      </a:ext>
                    </a:extLst>
                  </p:cNvPr>
                  <p:cNvSpPr/>
                  <p:nvPr/>
                </p:nvSpPr>
                <p:spPr>
                  <a:xfrm rot="-4474199">
                    <a:off x="2319554" y="647266"/>
                    <a:ext cx="525589" cy="588263"/>
                  </a:xfrm>
                  <a:custGeom>
                    <a:avLst/>
                    <a:gdLst>
                      <a:gd name="connsiteX0" fmla="*/ 525589 w 525589"/>
                      <a:gd name="connsiteY0" fmla="*/ 294132 h 588263"/>
                      <a:gd name="connsiteX1" fmla="*/ 262795 w 525589"/>
                      <a:gd name="connsiteY1" fmla="*/ 588264 h 588263"/>
                      <a:gd name="connsiteX2" fmla="*/ 0 w 525589"/>
                      <a:gd name="connsiteY2" fmla="*/ 294132 h 588263"/>
                      <a:gd name="connsiteX3" fmla="*/ 262795 w 525589"/>
                      <a:gd name="connsiteY3" fmla="*/ 0 h 588263"/>
                      <a:gd name="connsiteX4" fmla="*/ 525589 w 525589"/>
                      <a:gd name="connsiteY4" fmla="*/ 294132 h 5882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25589" h="588263">
                        <a:moveTo>
                          <a:pt x="525589" y="294132"/>
                        </a:moveTo>
                        <a:cubicBezTo>
                          <a:pt x="525589" y="456577"/>
                          <a:pt x="407932" y="588264"/>
                          <a:pt x="262795" y="588264"/>
                        </a:cubicBezTo>
                        <a:cubicBezTo>
                          <a:pt x="117657" y="588264"/>
                          <a:pt x="0" y="456577"/>
                          <a:pt x="0" y="294132"/>
                        </a:cubicBezTo>
                        <a:cubicBezTo>
                          <a:pt x="0" y="131687"/>
                          <a:pt x="117657" y="0"/>
                          <a:pt x="262795" y="0"/>
                        </a:cubicBezTo>
                        <a:cubicBezTo>
                          <a:pt x="407932" y="0"/>
                          <a:pt x="525589" y="131687"/>
                          <a:pt x="525589" y="294132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63" name="Freihandform: Form 562">
                    <a:extLst>
                      <a:ext uri="{FF2B5EF4-FFF2-40B4-BE49-F238E27FC236}">
                        <a16:creationId xmlns:a16="http://schemas.microsoft.com/office/drawing/2014/main" id="{6619AA4B-5A83-6FF9-82A3-98D51DB2C1DC}"/>
                      </a:ext>
                    </a:extLst>
                  </p:cNvPr>
                  <p:cNvSpPr/>
                  <p:nvPr/>
                </p:nvSpPr>
                <p:spPr>
                  <a:xfrm>
                    <a:off x="2498816" y="902159"/>
                    <a:ext cx="410138" cy="507459"/>
                  </a:xfrm>
                  <a:custGeom>
                    <a:avLst/>
                    <a:gdLst>
                      <a:gd name="connsiteX0" fmla="*/ 393672 w 410138"/>
                      <a:gd name="connsiteY0" fmla="*/ 224553 h 507459"/>
                      <a:gd name="connsiteX1" fmla="*/ 365573 w 410138"/>
                      <a:gd name="connsiteY1" fmla="*/ 125684 h 507459"/>
                      <a:gd name="connsiteX2" fmla="*/ 31722 w 410138"/>
                      <a:gd name="connsiteY2" fmla="*/ 119778 h 507459"/>
                      <a:gd name="connsiteX3" fmla="*/ 4 w 410138"/>
                      <a:gd name="connsiteY3" fmla="*/ 312755 h 507459"/>
                      <a:gd name="connsiteX4" fmla="*/ 87538 w 410138"/>
                      <a:gd name="connsiteY4" fmla="*/ 470489 h 507459"/>
                      <a:gd name="connsiteX5" fmla="*/ 218317 w 410138"/>
                      <a:gd name="connsiteY5" fmla="*/ 507350 h 507459"/>
                      <a:gd name="connsiteX6" fmla="*/ 280039 w 410138"/>
                      <a:gd name="connsiteY6" fmla="*/ 460297 h 507459"/>
                      <a:gd name="connsiteX7" fmla="*/ 288516 w 410138"/>
                      <a:gd name="connsiteY7" fmla="*/ 430579 h 507459"/>
                      <a:gd name="connsiteX8" fmla="*/ 288516 w 410138"/>
                      <a:gd name="connsiteY8" fmla="*/ 430865 h 507459"/>
                      <a:gd name="connsiteX9" fmla="*/ 300994 w 410138"/>
                      <a:gd name="connsiteY9" fmla="*/ 411243 h 507459"/>
                      <a:gd name="connsiteX10" fmla="*/ 302041 w 410138"/>
                      <a:gd name="connsiteY10" fmla="*/ 378953 h 507459"/>
                      <a:gd name="connsiteX11" fmla="*/ 302041 w 410138"/>
                      <a:gd name="connsiteY11" fmla="*/ 378953 h 507459"/>
                      <a:gd name="connsiteX12" fmla="*/ 321091 w 410138"/>
                      <a:gd name="connsiteY12" fmla="*/ 359427 h 507459"/>
                      <a:gd name="connsiteX13" fmla="*/ 332807 w 410138"/>
                      <a:gd name="connsiteY13" fmla="*/ 315326 h 507459"/>
                      <a:gd name="connsiteX14" fmla="*/ 409579 w 410138"/>
                      <a:gd name="connsiteY14" fmla="*/ 285894 h 507459"/>
                      <a:gd name="connsiteX15" fmla="*/ 393672 w 410138"/>
                      <a:gd name="connsiteY15" fmla="*/ 224648 h 5074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410138" h="507459">
                        <a:moveTo>
                          <a:pt x="393672" y="224553"/>
                        </a:moveTo>
                        <a:cubicBezTo>
                          <a:pt x="383956" y="191787"/>
                          <a:pt x="364144" y="163593"/>
                          <a:pt x="365573" y="125684"/>
                        </a:cubicBezTo>
                        <a:cubicBezTo>
                          <a:pt x="390624" y="-427"/>
                          <a:pt x="83538" y="-76342"/>
                          <a:pt x="31722" y="119778"/>
                        </a:cubicBezTo>
                        <a:cubicBezTo>
                          <a:pt x="31722" y="119778"/>
                          <a:pt x="861" y="258843"/>
                          <a:pt x="4" y="312755"/>
                        </a:cubicBezTo>
                        <a:cubicBezTo>
                          <a:pt x="-377" y="337139"/>
                          <a:pt x="29531" y="447343"/>
                          <a:pt x="87538" y="470489"/>
                        </a:cubicBezTo>
                        <a:cubicBezTo>
                          <a:pt x="137068" y="490205"/>
                          <a:pt x="218317" y="507350"/>
                          <a:pt x="218317" y="507350"/>
                        </a:cubicBezTo>
                        <a:cubicBezTo>
                          <a:pt x="218317" y="507350"/>
                          <a:pt x="261560" y="512018"/>
                          <a:pt x="280039" y="460297"/>
                        </a:cubicBezTo>
                        <a:cubicBezTo>
                          <a:pt x="281467" y="456296"/>
                          <a:pt x="284515" y="445628"/>
                          <a:pt x="288516" y="430579"/>
                        </a:cubicBezTo>
                        <a:lnTo>
                          <a:pt x="288516" y="430865"/>
                        </a:lnTo>
                        <a:cubicBezTo>
                          <a:pt x="288516" y="430865"/>
                          <a:pt x="291469" y="422292"/>
                          <a:pt x="300994" y="411243"/>
                        </a:cubicBezTo>
                        <a:cubicBezTo>
                          <a:pt x="312519" y="397718"/>
                          <a:pt x="318901" y="384287"/>
                          <a:pt x="302041" y="378953"/>
                        </a:cubicBezTo>
                        <a:lnTo>
                          <a:pt x="302041" y="378953"/>
                        </a:lnTo>
                        <a:cubicBezTo>
                          <a:pt x="314805" y="378287"/>
                          <a:pt x="321663" y="365523"/>
                          <a:pt x="321091" y="359427"/>
                        </a:cubicBezTo>
                        <a:cubicBezTo>
                          <a:pt x="319663" y="341806"/>
                          <a:pt x="327949" y="315041"/>
                          <a:pt x="332807" y="315326"/>
                        </a:cubicBezTo>
                        <a:cubicBezTo>
                          <a:pt x="351762" y="316565"/>
                          <a:pt x="416818" y="324185"/>
                          <a:pt x="409579" y="285894"/>
                        </a:cubicBezTo>
                        <a:cubicBezTo>
                          <a:pt x="403864" y="255224"/>
                          <a:pt x="402244" y="253509"/>
                          <a:pt x="393672" y="224648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64" name="Freihandform: Form 563">
                    <a:extLst>
                      <a:ext uri="{FF2B5EF4-FFF2-40B4-BE49-F238E27FC236}">
                        <a16:creationId xmlns:a16="http://schemas.microsoft.com/office/drawing/2014/main" id="{731FC9BF-8EDA-C320-B677-C280B86A8951}"/>
                      </a:ext>
                    </a:extLst>
                  </p:cNvPr>
                  <p:cNvSpPr/>
                  <p:nvPr/>
                </p:nvSpPr>
                <p:spPr>
                  <a:xfrm>
                    <a:off x="2692166" y="978624"/>
                    <a:ext cx="158167" cy="48133"/>
                  </a:xfrm>
                  <a:custGeom>
                    <a:avLst/>
                    <a:gdLst>
                      <a:gd name="connsiteX0" fmla="*/ 140218 w 158167"/>
                      <a:gd name="connsiteY0" fmla="*/ 48075 h 48133"/>
                      <a:gd name="connsiteX1" fmla="*/ 79639 w 158167"/>
                      <a:gd name="connsiteY1" fmla="*/ 28549 h 48133"/>
                      <a:gd name="connsiteX2" fmla="*/ 4963 w 158167"/>
                      <a:gd name="connsiteY2" fmla="*/ 25501 h 48133"/>
                      <a:gd name="connsiteX3" fmla="*/ 1439 w 158167"/>
                      <a:gd name="connsiteY3" fmla="*/ 17405 h 48133"/>
                      <a:gd name="connsiteX4" fmla="*/ 71353 w 158167"/>
                      <a:gd name="connsiteY4" fmla="*/ 260 h 48133"/>
                      <a:gd name="connsiteX5" fmla="*/ 154792 w 158167"/>
                      <a:gd name="connsiteY5" fmla="*/ 19691 h 48133"/>
                      <a:gd name="connsiteX6" fmla="*/ 140218 w 158167"/>
                      <a:gd name="connsiteY6" fmla="*/ 48075 h 481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58167" h="48133">
                        <a:moveTo>
                          <a:pt x="140218" y="48075"/>
                        </a:moveTo>
                        <a:cubicBezTo>
                          <a:pt x="130693" y="46647"/>
                          <a:pt x="91831" y="30359"/>
                          <a:pt x="79639" y="28549"/>
                        </a:cubicBezTo>
                        <a:cubicBezTo>
                          <a:pt x="48207" y="23882"/>
                          <a:pt x="20013" y="25215"/>
                          <a:pt x="4963" y="25501"/>
                        </a:cubicBezTo>
                        <a:cubicBezTo>
                          <a:pt x="677" y="25501"/>
                          <a:pt x="-1704" y="20262"/>
                          <a:pt x="1439" y="17405"/>
                        </a:cubicBezTo>
                        <a:cubicBezTo>
                          <a:pt x="19251" y="1212"/>
                          <a:pt x="50398" y="-883"/>
                          <a:pt x="71353" y="260"/>
                        </a:cubicBezTo>
                        <a:cubicBezTo>
                          <a:pt x="104023" y="2070"/>
                          <a:pt x="144600" y="15309"/>
                          <a:pt x="154792" y="19691"/>
                        </a:cubicBezTo>
                        <a:cubicBezTo>
                          <a:pt x="164983" y="24072"/>
                          <a:pt x="149743" y="49504"/>
                          <a:pt x="140218" y="48075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65" name="Freihandform: Form 564">
                    <a:extLst>
                      <a:ext uri="{FF2B5EF4-FFF2-40B4-BE49-F238E27FC236}">
                        <a16:creationId xmlns:a16="http://schemas.microsoft.com/office/drawing/2014/main" id="{B4E15BC6-D607-A29D-8798-6725325F1B1D}"/>
                      </a:ext>
                    </a:extLst>
                  </p:cNvPr>
                  <p:cNvSpPr/>
                  <p:nvPr/>
                </p:nvSpPr>
                <p:spPr>
                  <a:xfrm rot="-4837802">
                    <a:off x="2748201" y="1039521"/>
                    <a:ext cx="50673" cy="26860"/>
                  </a:xfrm>
                  <a:custGeom>
                    <a:avLst/>
                    <a:gdLst>
                      <a:gd name="connsiteX0" fmla="*/ 50673 w 50673"/>
                      <a:gd name="connsiteY0" fmla="*/ 13430 h 26860"/>
                      <a:gd name="connsiteX1" fmla="*/ 25336 w 50673"/>
                      <a:gd name="connsiteY1" fmla="*/ 26861 h 26860"/>
                      <a:gd name="connsiteX2" fmla="*/ 0 w 50673"/>
                      <a:gd name="connsiteY2" fmla="*/ 13430 h 26860"/>
                      <a:gd name="connsiteX3" fmla="*/ 25336 w 50673"/>
                      <a:gd name="connsiteY3" fmla="*/ 0 h 26860"/>
                      <a:gd name="connsiteX4" fmla="*/ 50673 w 50673"/>
                      <a:gd name="connsiteY4" fmla="*/ 13430 h 268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673" h="26860">
                        <a:moveTo>
                          <a:pt x="50673" y="13430"/>
                        </a:moveTo>
                        <a:cubicBezTo>
                          <a:pt x="50673" y="20848"/>
                          <a:pt x="39329" y="26861"/>
                          <a:pt x="25336" y="26861"/>
                        </a:cubicBezTo>
                        <a:cubicBezTo>
                          <a:pt x="11344" y="26861"/>
                          <a:pt x="0" y="20848"/>
                          <a:pt x="0" y="13430"/>
                        </a:cubicBezTo>
                        <a:cubicBezTo>
                          <a:pt x="0" y="6013"/>
                          <a:pt x="11344" y="0"/>
                          <a:pt x="25336" y="0"/>
                        </a:cubicBezTo>
                        <a:cubicBezTo>
                          <a:pt x="39329" y="0"/>
                          <a:pt x="50673" y="6013"/>
                          <a:pt x="50673" y="1343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66" name="Freihandform: Form 565">
                    <a:extLst>
                      <a:ext uri="{FF2B5EF4-FFF2-40B4-BE49-F238E27FC236}">
                        <a16:creationId xmlns:a16="http://schemas.microsoft.com/office/drawing/2014/main" id="{D5104FCB-83CF-B658-CD16-95F0DF19F94A}"/>
                      </a:ext>
                    </a:extLst>
                  </p:cNvPr>
                  <p:cNvSpPr/>
                  <p:nvPr/>
                </p:nvSpPr>
                <p:spPr>
                  <a:xfrm>
                    <a:off x="2715592" y="1019859"/>
                    <a:ext cx="94079" cy="27890"/>
                  </a:xfrm>
                  <a:custGeom>
                    <a:avLst/>
                    <a:gdLst>
                      <a:gd name="connsiteX0" fmla="*/ 93552 w 94079"/>
                      <a:gd name="connsiteY0" fmla="*/ 27890 h 27890"/>
                      <a:gd name="connsiteX1" fmla="*/ 44022 w 94079"/>
                      <a:gd name="connsiteY1" fmla="*/ 14555 h 27890"/>
                      <a:gd name="connsiteX2" fmla="*/ 1636 w 94079"/>
                      <a:gd name="connsiteY2" fmla="*/ 13984 h 27890"/>
                      <a:gd name="connsiteX3" fmla="*/ 63072 w 94079"/>
                      <a:gd name="connsiteY3" fmla="*/ 1316 h 27890"/>
                      <a:gd name="connsiteX4" fmla="*/ 93552 w 94079"/>
                      <a:gd name="connsiteY4" fmla="*/ 27890 h 278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4079" h="27890">
                        <a:moveTo>
                          <a:pt x="93552" y="27890"/>
                        </a:moveTo>
                        <a:cubicBezTo>
                          <a:pt x="93552" y="27890"/>
                          <a:pt x="73550" y="11222"/>
                          <a:pt x="44022" y="14555"/>
                        </a:cubicBezTo>
                        <a:cubicBezTo>
                          <a:pt x="14399" y="17889"/>
                          <a:pt x="-6079" y="20651"/>
                          <a:pt x="1636" y="13984"/>
                        </a:cubicBezTo>
                        <a:cubicBezTo>
                          <a:pt x="9351" y="7316"/>
                          <a:pt x="31735" y="-3828"/>
                          <a:pt x="63072" y="1316"/>
                        </a:cubicBezTo>
                        <a:cubicBezTo>
                          <a:pt x="72788" y="2935"/>
                          <a:pt x="98029" y="9698"/>
                          <a:pt x="93552" y="2789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67" name="Freihandform: Form 566">
                    <a:extLst>
                      <a:ext uri="{FF2B5EF4-FFF2-40B4-BE49-F238E27FC236}">
                        <a16:creationId xmlns:a16="http://schemas.microsoft.com/office/drawing/2014/main" id="{E779D32C-4FB4-79FF-3A6B-4D3DCA72E44F}"/>
                      </a:ext>
                    </a:extLst>
                  </p:cNvPr>
                  <p:cNvSpPr/>
                  <p:nvPr/>
                </p:nvSpPr>
                <p:spPr>
                  <a:xfrm>
                    <a:off x="2260681" y="819150"/>
                    <a:ext cx="573773" cy="615066"/>
                  </a:xfrm>
                  <a:custGeom>
                    <a:avLst/>
                    <a:gdLst>
                      <a:gd name="connsiteX0" fmla="*/ 571037 w 573773"/>
                      <a:gd name="connsiteY0" fmla="*/ 411480 h 615066"/>
                      <a:gd name="connsiteX1" fmla="*/ 488931 w 573773"/>
                      <a:gd name="connsiteY1" fmla="*/ 422814 h 615066"/>
                      <a:gd name="connsiteX2" fmla="*/ 407302 w 573773"/>
                      <a:gd name="connsiteY2" fmla="*/ 347853 h 615066"/>
                      <a:gd name="connsiteX3" fmla="*/ 286811 w 573773"/>
                      <a:gd name="connsiteY3" fmla="*/ 136398 h 615066"/>
                      <a:gd name="connsiteX4" fmla="*/ 54306 w 573773"/>
                      <a:gd name="connsiteY4" fmla="*/ 1809 h 615066"/>
                      <a:gd name="connsiteX5" fmla="*/ 10586 w 573773"/>
                      <a:gd name="connsiteY5" fmla="*/ 164687 h 615066"/>
                      <a:gd name="connsiteX6" fmla="*/ 89548 w 573773"/>
                      <a:gd name="connsiteY6" fmla="*/ 361950 h 615066"/>
                      <a:gd name="connsiteX7" fmla="*/ 172987 w 573773"/>
                      <a:gd name="connsiteY7" fmla="*/ 246888 h 615066"/>
                      <a:gd name="connsiteX8" fmla="*/ 287001 w 573773"/>
                      <a:gd name="connsiteY8" fmla="*/ 294417 h 615066"/>
                      <a:gd name="connsiteX9" fmla="*/ 325768 w 573773"/>
                      <a:gd name="connsiteY9" fmla="*/ 553402 h 615066"/>
                      <a:gd name="connsiteX10" fmla="*/ 417399 w 573773"/>
                      <a:gd name="connsiteY10" fmla="*/ 602075 h 615066"/>
                      <a:gd name="connsiteX11" fmla="*/ 524460 w 573773"/>
                      <a:gd name="connsiteY11" fmla="*/ 577119 h 615066"/>
                      <a:gd name="connsiteX12" fmla="*/ 526650 w 573773"/>
                      <a:gd name="connsiteY12" fmla="*/ 513588 h 615066"/>
                      <a:gd name="connsiteX13" fmla="*/ 526650 w 573773"/>
                      <a:gd name="connsiteY13" fmla="*/ 513873 h 615066"/>
                      <a:gd name="connsiteX14" fmla="*/ 539128 w 573773"/>
                      <a:gd name="connsiteY14" fmla="*/ 494252 h 615066"/>
                      <a:gd name="connsiteX15" fmla="*/ 540176 w 573773"/>
                      <a:gd name="connsiteY15" fmla="*/ 461962 h 615066"/>
                      <a:gd name="connsiteX16" fmla="*/ 571132 w 573773"/>
                      <a:gd name="connsiteY16" fmla="*/ 411480 h 6150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573773" h="615066">
                        <a:moveTo>
                          <a:pt x="571037" y="411480"/>
                        </a:moveTo>
                        <a:cubicBezTo>
                          <a:pt x="570275" y="402717"/>
                          <a:pt x="553130" y="387000"/>
                          <a:pt x="488931" y="422814"/>
                        </a:cubicBezTo>
                        <a:cubicBezTo>
                          <a:pt x="471120" y="432720"/>
                          <a:pt x="451593" y="369951"/>
                          <a:pt x="407302" y="347853"/>
                        </a:cubicBezTo>
                        <a:cubicBezTo>
                          <a:pt x="286620" y="287750"/>
                          <a:pt x="395205" y="216979"/>
                          <a:pt x="286811" y="136398"/>
                        </a:cubicBezTo>
                        <a:cubicBezTo>
                          <a:pt x="218040" y="85344"/>
                          <a:pt x="135078" y="110109"/>
                          <a:pt x="54306" y="1809"/>
                        </a:cubicBezTo>
                        <a:cubicBezTo>
                          <a:pt x="40875" y="-16098"/>
                          <a:pt x="-25419" y="103346"/>
                          <a:pt x="10586" y="164687"/>
                        </a:cubicBezTo>
                        <a:cubicBezTo>
                          <a:pt x="96501" y="311086"/>
                          <a:pt x="89548" y="361950"/>
                          <a:pt x="89548" y="361950"/>
                        </a:cubicBezTo>
                        <a:cubicBezTo>
                          <a:pt x="89548" y="361950"/>
                          <a:pt x="190608" y="336899"/>
                          <a:pt x="172987" y="246888"/>
                        </a:cubicBezTo>
                        <a:cubicBezTo>
                          <a:pt x="170987" y="170592"/>
                          <a:pt x="296622" y="190023"/>
                          <a:pt x="287001" y="294417"/>
                        </a:cubicBezTo>
                        <a:cubicBezTo>
                          <a:pt x="287001" y="318801"/>
                          <a:pt x="174702" y="503967"/>
                          <a:pt x="325768" y="553402"/>
                        </a:cubicBezTo>
                        <a:cubicBezTo>
                          <a:pt x="349485" y="561117"/>
                          <a:pt x="385585" y="581977"/>
                          <a:pt x="417399" y="602075"/>
                        </a:cubicBezTo>
                        <a:cubicBezTo>
                          <a:pt x="456832" y="626840"/>
                          <a:pt x="511220" y="614934"/>
                          <a:pt x="524460" y="577119"/>
                        </a:cubicBezTo>
                        <a:cubicBezTo>
                          <a:pt x="537699" y="539305"/>
                          <a:pt x="522650" y="528637"/>
                          <a:pt x="526650" y="513588"/>
                        </a:cubicBezTo>
                        <a:lnTo>
                          <a:pt x="526650" y="513873"/>
                        </a:lnTo>
                        <a:cubicBezTo>
                          <a:pt x="526650" y="513873"/>
                          <a:pt x="529603" y="505301"/>
                          <a:pt x="539128" y="494252"/>
                        </a:cubicBezTo>
                        <a:cubicBezTo>
                          <a:pt x="550653" y="480726"/>
                          <a:pt x="557035" y="467296"/>
                          <a:pt x="540176" y="461962"/>
                        </a:cubicBezTo>
                        <a:cubicBezTo>
                          <a:pt x="586467" y="461962"/>
                          <a:pt x="571608" y="417671"/>
                          <a:pt x="571132" y="41148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68" name="Freihandform: Form 567">
                    <a:extLst>
                      <a:ext uri="{FF2B5EF4-FFF2-40B4-BE49-F238E27FC236}">
                        <a16:creationId xmlns:a16="http://schemas.microsoft.com/office/drawing/2014/main" id="{C2C304F0-B8E1-DEAF-DCEC-91115C0BF832}"/>
                      </a:ext>
                    </a:extLst>
                  </p:cNvPr>
                  <p:cNvSpPr/>
                  <p:nvPr/>
                </p:nvSpPr>
                <p:spPr>
                  <a:xfrm rot="-571800">
                    <a:off x="2433554" y="969703"/>
                    <a:ext cx="118871" cy="184403"/>
                  </a:xfrm>
                  <a:custGeom>
                    <a:avLst/>
                    <a:gdLst>
                      <a:gd name="connsiteX0" fmla="*/ 118872 w 118871"/>
                      <a:gd name="connsiteY0" fmla="*/ 92202 h 184403"/>
                      <a:gd name="connsiteX1" fmla="*/ 59436 w 118871"/>
                      <a:gd name="connsiteY1" fmla="*/ 184404 h 184403"/>
                      <a:gd name="connsiteX2" fmla="*/ 0 w 118871"/>
                      <a:gd name="connsiteY2" fmla="*/ 92202 h 184403"/>
                      <a:gd name="connsiteX3" fmla="*/ 59436 w 118871"/>
                      <a:gd name="connsiteY3" fmla="*/ 0 h 184403"/>
                      <a:gd name="connsiteX4" fmla="*/ 118872 w 118871"/>
                      <a:gd name="connsiteY4" fmla="*/ 92202 h 1844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8871" h="184403">
                        <a:moveTo>
                          <a:pt x="118872" y="92202"/>
                        </a:moveTo>
                        <a:cubicBezTo>
                          <a:pt x="118872" y="143124"/>
                          <a:pt x="92262" y="184404"/>
                          <a:pt x="59436" y="184404"/>
                        </a:cubicBezTo>
                        <a:cubicBezTo>
                          <a:pt x="26610" y="184404"/>
                          <a:pt x="0" y="143124"/>
                          <a:pt x="0" y="92202"/>
                        </a:cubicBezTo>
                        <a:cubicBezTo>
                          <a:pt x="0" y="41280"/>
                          <a:pt x="26610" y="0"/>
                          <a:pt x="59436" y="0"/>
                        </a:cubicBezTo>
                        <a:cubicBezTo>
                          <a:pt x="92262" y="0"/>
                          <a:pt x="118872" y="41280"/>
                          <a:pt x="118872" y="92202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97" name="Grafik 23">
                  <a:extLst>
                    <a:ext uri="{FF2B5EF4-FFF2-40B4-BE49-F238E27FC236}">
                      <a16:creationId xmlns:a16="http://schemas.microsoft.com/office/drawing/2014/main" id="{0772E15F-CC40-1509-1C36-1AB7ED14E27D}"/>
                    </a:ext>
                  </a:extLst>
                </p:cNvPr>
                <p:cNvGrpSpPr/>
                <p:nvPr/>
              </p:nvGrpSpPr>
              <p:grpSpPr>
                <a:xfrm>
                  <a:off x="1967227" y="1280636"/>
                  <a:ext cx="1281425" cy="4889010"/>
                  <a:chOff x="1967227" y="1280636"/>
                  <a:chExt cx="1281425" cy="4889010"/>
                </a:xfrm>
              </p:grpSpPr>
              <p:grpSp>
                <p:nvGrpSpPr>
                  <p:cNvPr id="543" name="Grafik 23">
                    <a:extLst>
                      <a:ext uri="{FF2B5EF4-FFF2-40B4-BE49-F238E27FC236}">
                        <a16:creationId xmlns:a16="http://schemas.microsoft.com/office/drawing/2014/main" id="{0344DEA3-367A-B006-2E61-1547DD78F8C7}"/>
                      </a:ext>
                    </a:extLst>
                  </p:cNvPr>
                  <p:cNvGrpSpPr/>
                  <p:nvPr/>
                </p:nvGrpSpPr>
                <p:grpSpPr>
                  <a:xfrm>
                    <a:off x="2381090" y="5797515"/>
                    <a:ext cx="867562" cy="295551"/>
                    <a:chOff x="2381090" y="5797515"/>
                    <a:chExt cx="867562" cy="295551"/>
                  </a:xfrm>
                </p:grpSpPr>
                <p:sp>
                  <p:nvSpPr>
                    <p:cNvPr id="560" name="Freihandform: Form 559">
                      <a:extLst>
                        <a:ext uri="{FF2B5EF4-FFF2-40B4-BE49-F238E27FC236}">
                          <a16:creationId xmlns:a16="http://schemas.microsoft.com/office/drawing/2014/main" id="{F536366F-068E-3CD6-D65B-35DF242724A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81199" y="5797515"/>
                      <a:ext cx="865764" cy="289407"/>
                    </a:xfrm>
                    <a:custGeom>
                      <a:avLst/>
                      <a:gdLst>
                        <a:gd name="connsiteX0" fmla="*/ 60851 w 865764"/>
                        <a:gd name="connsiteY0" fmla="*/ 28546 h 289407"/>
                        <a:gd name="connsiteX1" fmla="*/ 82 w 865764"/>
                        <a:gd name="connsiteY1" fmla="*/ 170088 h 289407"/>
                        <a:gd name="connsiteX2" fmla="*/ 5702 w 865764"/>
                        <a:gd name="connsiteY2" fmla="*/ 253908 h 289407"/>
                        <a:gd name="connsiteX3" fmla="*/ 30371 w 865764"/>
                        <a:gd name="connsiteY3" fmla="*/ 276863 h 289407"/>
                        <a:gd name="connsiteX4" fmla="*/ 811136 w 865764"/>
                        <a:gd name="connsiteY4" fmla="*/ 249717 h 289407"/>
                        <a:gd name="connsiteX5" fmla="*/ 823899 w 865764"/>
                        <a:gd name="connsiteY5" fmla="*/ 132750 h 289407"/>
                        <a:gd name="connsiteX6" fmla="*/ 534625 w 865764"/>
                        <a:gd name="connsiteY6" fmla="*/ 83696 h 289407"/>
                        <a:gd name="connsiteX7" fmla="*/ 329837 w 865764"/>
                        <a:gd name="connsiteY7" fmla="*/ 829 h 289407"/>
                        <a:gd name="connsiteX8" fmla="*/ 273068 w 865764"/>
                        <a:gd name="connsiteY8" fmla="*/ 56931 h 289407"/>
                        <a:gd name="connsiteX9" fmla="*/ 140195 w 865764"/>
                        <a:gd name="connsiteY9" fmla="*/ 56931 h 289407"/>
                        <a:gd name="connsiteX10" fmla="*/ 60756 w 865764"/>
                        <a:gd name="connsiteY10" fmla="*/ 28546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60851" y="28546"/>
                          </a:moveTo>
                          <a:cubicBezTo>
                            <a:pt x="60851" y="28546"/>
                            <a:pt x="-2585" y="92078"/>
                            <a:pt x="82" y="170088"/>
                          </a:cubicBezTo>
                          <a:cubicBezTo>
                            <a:pt x="1511" y="210474"/>
                            <a:pt x="3797" y="237335"/>
                            <a:pt x="5702" y="253908"/>
                          </a:cubicBezTo>
                          <a:cubicBezTo>
                            <a:pt x="7130" y="266576"/>
                            <a:pt x="17608" y="276292"/>
                            <a:pt x="30371" y="276863"/>
                          </a:cubicBezTo>
                          <a:cubicBezTo>
                            <a:pt x="138956" y="281626"/>
                            <a:pt x="690740" y="314487"/>
                            <a:pt x="811136" y="249717"/>
                          </a:cubicBezTo>
                          <a:cubicBezTo>
                            <a:pt x="926102" y="187900"/>
                            <a:pt x="823899" y="132750"/>
                            <a:pt x="823899" y="132750"/>
                          </a:cubicBezTo>
                          <a:cubicBezTo>
                            <a:pt x="823899" y="132750"/>
                            <a:pt x="648925" y="152753"/>
                            <a:pt x="534625" y="83696"/>
                          </a:cubicBezTo>
                          <a:cubicBezTo>
                            <a:pt x="432898" y="22260"/>
                            <a:pt x="348030" y="-5267"/>
                            <a:pt x="329837" y="829"/>
                          </a:cubicBezTo>
                          <a:cubicBezTo>
                            <a:pt x="311645" y="6925"/>
                            <a:pt x="305263" y="35500"/>
                            <a:pt x="273068" y="56931"/>
                          </a:cubicBezTo>
                          <a:cubicBezTo>
                            <a:pt x="240779" y="78458"/>
                            <a:pt x="202012" y="78458"/>
                            <a:pt x="140195" y="56931"/>
                          </a:cubicBezTo>
                          <a:cubicBezTo>
                            <a:pt x="78377" y="35405"/>
                            <a:pt x="79616" y="20450"/>
                            <a:pt x="60756" y="28546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61" name="Freihandform: Form 560">
                      <a:extLst>
                        <a:ext uri="{FF2B5EF4-FFF2-40B4-BE49-F238E27FC236}">
                          <a16:creationId xmlns:a16="http://schemas.microsoft.com/office/drawing/2014/main" id="{3BF8145F-AFD6-BA10-E72B-34AE8EFE1C4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81090" y="5939885"/>
                      <a:ext cx="867562" cy="153181"/>
                    </a:xfrm>
                    <a:custGeom>
                      <a:avLst/>
                      <a:gdLst>
                        <a:gd name="connsiteX0" fmla="*/ 30099 w 867562"/>
                        <a:gd name="connsiteY0" fmla="*/ 153162 h 153181"/>
                        <a:gd name="connsiteX1" fmla="*/ 692658 w 867562"/>
                        <a:gd name="connsiteY1" fmla="*/ 152781 h 153181"/>
                        <a:gd name="connsiteX2" fmla="*/ 811816 w 867562"/>
                        <a:gd name="connsiteY2" fmla="*/ 116396 h 153181"/>
                        <a:gd name="connsiteX3" fmla="*/ 838962 w 867562"/>
                        <a:gd name="connsiteY3" fmla="*/ 0 h 153181"/>
                        <a:gd name="connsiteX4" fmla="*/ 798862 w 867562"/>
                        <a:gd name="connsiteY4" fmla="*/ 42291 h 153181"/>
                        <a:gd name="connsiteX5" fmla="*/ 0 w 867562"/>
                        <a:gd name="connsiteY5" fmla="*/ 51245 h 153181"/>
                        <a:gd name="connsiteX6" fmla="*/ 5239 w 867562"/>
                        <a:gd name="connsiteY6" fmla="*/ 130016 h 153181"/>
                        <a:gd name="connsiteX7" fmla="*/ 30004 w 867562"/>
                        <a:gd name="connsiteY7" fmla="*/ 153162 h 1531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1">
                          <a:moveTo>
                            <a:pt x="30099" y="153162"/>
                          </a:moveTo>
                          <a:cubicBezTo>
                            <a:pt x="32575" y="153258"/>
                            <a:pt x="690563" y="152971"/>
                            <a:pt x="692658" y="152781"/>
                          </a:cubicBezTo>
                          <a:cubicBezTo>
                            <a:pt x="751237" y="147066"/>
                            <a:pt x="787813" y="129350"/>
                            <a:pt x="811816" y="116396"/>
                          </a:cubicBezTo>
                          <a:cubicBezTo>
                            <a:pt x="897922" y="70104"/>
                            <a:pt x="865251" y="15907"/>
                            <a:pt x="838962" y="0"/>
                          </a:cubicBezTo>
                          <a:cubicBezTo>
                            <a:pt x="830390" y="9430"/>
                            <a:pt x="817531" y="32290"/>
                            <a:pt x="798862" y="42291"/>
                          </a:cubicBezTo>
                          <a:cubicBezTo>
                            <a:pt x="671703" y="110680"/>
                            <a:pt x="68390" y="56483"/>
                            <a:pt x="0" y="51245"/>
                          </a:cubicBezTo>
                          <a:cubicBezTo>
                            <a:pt x="1429" y="85630"/>
                            <a:pt x="3429" y="114871"/>
                            <a:pt x="5239" y="130016"/>
                          </a:cubicBezTo>
                          <a:cubicBezTo>
                            <a:pt x="6667" y="142780"/>
                            <a:pt x="17145" y="152591"/>
                            <a:pt x="30004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544" name="Grafik 23">
                    <a:extLst>
                      <a:ext uri="{FF2B5EF4-FFF2-40B4-BE49-F238E27FC236}">
                        <a16:creationId xmlns:a16="http://schemas.microsoft.com/office/drawing/2014/main" id="{23A729C1-28E7-D976-9238-1BC5F4926B78}"/>
                      </a:ext>
                    </a:extLst>
                  </p:cNvPr>
                  <p:cNvGrpSpPr/>
                  <p:nvPr/>
                </p:nvGrpSpPr>
                <p:grpSpPr>
                  <a:xfrm>
                    <a:off x="2220308" y="5874095"/>
                    <a:ext cx="867562" cy="295551"/>
                    <a:chOff x="2220308" y="5874095"/>
                    <a:chExt cx="867562" cy="295551"/>
                  </a:xfrm>
                </p:grpSpPr>
                <p:sp>
                  <p:nvSpPr>
                    <p:cNvPr id="558" name="Freihandform: Form 557">
                      <a:extLst>
                        <a:ext uri="{FF2B5EF4-FFF2-40B4-BE49-F238E27FC236}">
                          <a16:creationId xmlns:a16="http://schemas.microsoft.com/office/drawing/2014/main" id="{84FC52F8-5F96-47E6-0F6F-6AF1621AF0A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20512" y="5874095"/>
                      <a:ext cx="865764" cy="289407"/>
                    </a:xfrm>
                    <a:custGeom>
                      <a:avLst/>
                      <a:gdLst>
                        <a:gd name="connsiteX0" fmla="*/ 60851 w 865764"/>
                        <a:gd name="connsiteY0" fmla="*/ 28547 h 289407"/>
                        <a:gd name="connsiteX1" fmla="*/ 82 w 865764"/>
                        <a:gd name="connsiteY1" fmla="*/ 170088 h 289407"/>
                        <a:gd name="connsiteX2" fmla="*/ 5702 w 865764"/>
                        <a:gd name="connsiteY2" fmla="*/ 253908 h 289407"/>
                        <a:gd name="connsiteX3" fmla="*/ 30371 w 865764"/>
                        <a:gd name="connsiteY3" fmla="*/ 276864 h 289407"/>
                        <a:gd name="connsiteX4" fmla="*/ 811136 w 865764"/>
                        <a:gd name="connsiteY4" fmla="*/ 249717 h 289407"/>
                        <a:gd name="connsiteX5" fmla="*/ 823899 w 865764"/>
                        <a:gd name="connsiteY5" fmla="*/ 132750 h 289407"/>
                        <a:gd name="connsiteX6" fmla="*/ 534625 w 865764"/>
                        <a:gd name="connsiteY6" fmla="*/ 83696 h 289407"/>
                        <a:gd name="connsiteX7" fmla="*/ 329837 w 865764"/>
                        <a:gd name="connsiteY7" fmla="*/ 829 h 289407"/>
                        <a:gd name="connsiteX8" fmla="*/ 273068 w 865764"/>
                        <a:gd name="connsiteY8" fmla="*/ 56931 h 289407"/>
                        <a:gd name="connsiteX9" fmla="*/ 140195 w 865764"/>
                        <a:gd name="connsiteY9" fmla="*/ 56931 h 289407"/>
                        <a:gd name="connsiteX10" fmla="*/ 60756 w 865764"/>
                        <a:gd name="connsiteY10" fmla="*/ 28547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60851" y="28547"/>
                          </a:moveTo>
                          <a:cubicBezTo>
                            <a:pt x="60851" y="28547"/>
                            <a:pt x="-2585" y="92078"/>
                            <a:pt x="82" y="170088"/>
                          </a:cubicBezTo>
                          <a:cubicBezTo>
                            <a:pt x="1511" y="210474"/>
                            <a:pt x="3797" y="237335"/>
                            <a:pt x="5702" y="253908"/>
                          </a:cubicBezTo>
                          <a:cubicBezTo>
                            <a:pt x="7130" y="266576"/>
                            <a:pt x="17608" y="276292"/>
                            <a:pt x="30371" y="276864"/>
                          </a:cubicBezTo>
                          <a:cubicBezTo>
                            <a:pt x="138956" y="281626"/>
                            <a:pt x="690740" y="314487"/>
                            <a:pt x="811136" y="249717"/>
                          </a:cubicBezTo>
                          <a:cubicBezTo>
                            <a:pt x="926102" y="187900"/>
                            <a:pt x="823899" y="132750"/>
                            <a:pt x="823899" y="132750"/>
                          </a:cubicBezTo>
                          <a:cubicBezTo>
                            <a:pt x="823899" y="132750"/>
                            <a:pt x="648925" y="152752"/>
                            <a:pt x="534625" y="83696"/>
                          </a:cubicBezTo>
                          <a:cubicBezTo>
                            <a:pt x="432898" y="22260"/>
                            <a:pt x="348030" y="-5267"/>
                            <a:pt x="329837" y="829"/>
                          </a:cubicBezTo>
                          <a:cubicBezTo>
                            <a:pt x="311645" y="6925"/>
                            <a:pt x="305263" y="35500"/>
                            <a:pt x="273068" y="56931"/>
                          </a:cubicBezTo>
                          <a:cubicBezTo>
                            <a:pt x="240779" y="78458"/>
                            <a:pt x="202012" y="78458"/>
                            <a:pt x="140195" y="56931"/>
                          </a:cubicBezTo>
                          <a:cubicBezTo>
                            <a:pt x="78377" y="35404"/>
                            <a:pt x="79616" y="20450"/>
                            <a:pt x="60756" y="28547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59" name="Freihandform: Form 558">
                      <a:extLst>
                        <a:ext uri="{FF2B5EF4-FFF2-40B4-BE49-F238E27FC236}">
                          <a16:creationId xmlns:a16="http://schemas.microsoft.com/office/drawing/2014/main" id="{61F934CF-C2D2-DB2A-3AED-2C2E3B6430C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20308" y="6016466"/>
                      <a:ext cx="867562" cy="153180"/>
                    </a:xfrm>
                    <a:custGeom>
                      <a:avLst/>
                      <a:gdLst>
                        <a:gd name="connsiteX0" fmla="*/ 30099 w 867562"/>
                        <a:gd name="connsiteY0" fmla="*/ 153162 h 153180"/>
                        <a:gd name="connsiteX1" fmla="*/ 692658 w 867562"/>
                        <a:gd name="connsiteY1" fmla="*/ 152781 h 153180"/>
                        <a:gd name="connsiteX2" fmla="*/ 811816 w 867562"/>
                        <a:gd name="connsiteY2" fmla="*/ 116395 h 153180"/>
                        <a:gd name="connsiteX3" fmla="*/ 838962 w 867562"/>
                        <a:gd name="connsiteY3" fmla="*/ 0 h 153180"/>
                        <a:gd name="connsiteX4" fmla="*/ 798862 w 867562"/>
                        <a:gd name="connsiteY4" fmla="*/ 42291 h 153180"/>
                        <a:gd name="connsiteX5" fmla="*/ 0 w 867562"/>
                        <a:gd name="connsiteY5" fmla="*/ 51245 h 153180"/>
                        <a:gd name="connsiteX6" fmla="*/ 5239 w 867562"/>
                        <a:gd name="connsiteY6" fmla="*/ 130016 h 153180"/>
                        <a:gd name="connsiteX7" fmla="*/ 30004 w 867562"/>
                        <a:gd name="connsiteY7" fmla="*/ 153162 h 15318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0">
                          <a:moveTo>
                            <a:pt x="30099" y="153162"/>
                          </a:moveTo>
                          <a:cubicBezTo>
                            <a:pt x="32575" y="153257"/>
                            <a:pt x="690562" y="152971"/>
                            <a:pt x="692658" y="152781"/>
                          </a:cubicBezTo>
                          <a:cubicBezTo>
                            <a:pt x="751237" y="147066"/>
                            <a:pt x="787813" y="129349"/>
                            <a:pt x="811816" y="116395"/>
                          </a:cubicBezTo>
                          <a:cubicBezTo>
                            <a:pt x="897922" y="70104"/>
                            <a:pt x="865251" y="15907"/>
                            <a:pt x="838962" y="0"/>
                          </a:cubicBezTo>
                          <a:cubicBezTo>
                            <a:pt x="830389" y="9430"/>
                            <a:pt x="817531" y="32289"/>
                            <a:pt x="798862" y="42291"/>
                          </a:cubicBezTo>
                          <a:cubicBezTo>
                            <a:pt x="671703" y="110680"/>
                            <a:pt x="68390" y="56483"/>
                            <a:pt x="0" y="51245"/>
                          </a:cubicBezTo>
                          <a:cubicBezTo>
                            <a:pt x="1429" y="85630"/>
                            <a:pt x="3429" y="114871"/>
                            <a:pt x="5239" y="130016"/>
                          </a:cubicBezTo>
                          <a:cubicBezTo>
                            <a:pt x="6668" y="142780"/>
                            <a:pt x="17145" y="152590"/>
                            <a:pt x="30004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45" name="Freihandform: Form 544">
                    <a:extLst>
                      <a:ext uri="{FF2B5EF4-FFF2-40B4-BE49-F238E27FC236}">
                        <a16:creationId xmlns:a16="http://schemas.microsoft.com/office/drawing/2014/main" id="{EA131989-5778-445A-42D9-56D2115179E3}"/>
                      </a:ext>
                    </a:extLst>
                  </p:cNvPr>
                  <p:cNvSpPr/>
                  <p:nvPr/>
                </p:nvSpPr>
                <p:spPr>
                  <a:xfrm>
                    <a:off x="2143233" y="2862833"/>
                    <a:ext cx="819357" cy="1885252"/>
                  </a:xfrm>
                  <a:custGeom>
                    <a:avLst/>
                    <a:gdLst>
                      <a:gd name="connsiteX0" fmla="*/ 37165 w 819357"/>
                      <a:gd name="connsiteY0" fmla="*/ 78581 h 1885252"/>
                      <a:gd name="connsiteX1" fmla="*/ 704010 w 819357"/>
                      <a:gd name="connsiteY1" fmla="*/ 0 h 1885252"/>
                      <a:gd name="connsiteX2" fmla="*/ 802594 w 819357"/>
                      <a:gd name="connsiteY2" fmla="*/ 936117 h 1885252"/>
                      <a:gd name="connsiteX3" fmla="*/ 811167 w 819357"/>
                      <a:gd name="connsiteY3" fmla="*/ 1804130 h 1885252"/>
                      <a:gd name="connsiteX4" fmla="*/ 296436 w 819357"/>
                      <a:gd name="connsiteY4" fmla="*/ 1843659 h 1885252"/>
                      <a:gd name="connsiteX5" fmla="*/ 37070 w 819357"/>
                      <a:gd name="connsiteY5" fmla="*/ 78677 h 1885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9357" h="1885252">
                        <a:moveTo>
                          <a:pt x="37165" y="78581"/>
                        </a:moveTo>
                        <a:cubicBezTo>
                          <a:pt x="46595" y="79820"/>
                          <a:pt x="704010" y="0"/>
                          <a:pt x="704010" y="0"/>
                        </a:cubicBezTo>
                        <a:cubicBezTo>
                          <a:pt x="704010" y="0"/>
                          <a:pt x="794307" y="770858"/>
                          <a:pt x="802594" y="936117"/>
                        </a:cubicBezTo>
                        <a:cubicBezTo>
                          <a:pt x="834408" y="1569434"/>
                          <a:pt x="811167" y="1804130"/>
                          <a:pt x="811167" y="1804130"/>
                        </a:cubicBezTo>
                        <a:cubicBezTo>
                          <a:pt x="664291" y="1911477"/>
                          <a:pt x="461599" y="1898809"/>
                          <a:pt x="296436" y="1843659"/>
                        </a:cubicBezTo>
                        <a:cubicBezTo>
                          <a:pt x="183850" y="1122045"/>
                          <a:pt x="-101233" y="808292"/>
                          <a:pt x="37070" y="78677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46" name="Freihandform: Form 545">
                    <a:extLst>
                      <a:ext uri="{FF2B5EF4-FFF2-40B4-BE49-F238E27FC236}">
                        <a16:creationId xmlns:a16="http://schemas.microsoft.com/office/drawing/2014/main" id="{24B28922-DCB6-4C49-2849-9E9BEA744A6F}"/>
                      </a:ext>
                    </a:extLst>
                  </p:cNvPr>
                  <p:cNvSpPr/>
                  <p:nvPr/>
                </p:nvSpPr>
                <p:spPr>
                  <a:xfrm>
                    <a:off x="2334164" y="4557019"/>
                    <a:ext cx="619855" cy="1372578"/>
                  </a:xfrm>
                  <a:custGeom>
                    <a:avLst/>
                    <a:gdLst>
                      <a:gd name="connsiteX0" fmla="*/ 104648 w 619855"/>
                      <a:gd name="connsiteY0" fmla="*/ 57557 h 1372578"/>
                      <a:gd name="connsiteX1" fmla="*/ 19494 w 619855"/>
                      <a:gd name="connsiteY1" fmla="*/ 1049776 h 1372578"/>
                      <a:gd name="connsiteX2" fmla="*/ 52165 w 619855"/>
                      <a:gd name="connsiteY2" fmla="*/ 1372197 h 1372578"/>
                      <a:gd name="connsiteX3" fmla="*/ 356013 w 619855"/>
                      <a:gd name="connsiteY3" fmla="*/ 1339050 h 1372578"/>
                      <a:gd name="connsiteX4" fmla="*/ 569182 w 619855"/>
                      <a:gd name="connsiteY4" fmla="*/ 1316572 h 1372578"/>
                      <a:gd name="connsiteX5" fmla="*/ 557466 w 619855"/>
                      <a:gd name="connsiteY5" fmla="*/ 861848 h 1372578"/>
                      <a:gd name="connsiteX6" fmla="*/ 619855 w 619855"/>
                      <a:gd name="connsiteY6" fmla="*/ 115945 h 1372578"/>
                      <a:gd name="connsiteX7" fmla="*/ 104553 w 619855"/>
                      <a:gd name="connsiteY7" fmla="*/ 57461 h 13725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19855" h="1372578">
                        <a:moveTo>
                          <a:pt x="104648" y="57557"/>
                        </a:moveTo>
                        <a:cubicBezTo>
                          <a:pt x="14065" y="416935"/>
                          <a:pt x="36830" y="870706"/>
                          <a:pt x="19494" y="1049776"/>
                        </a:cubicBezTo>
                        <a:cubicBezTo>
                          <a:pt x="8922" y="1159123"/>
                          <a:pt x="-32607" y="1383056"/>
                          <a:pt x="52165" y="1372197"/>
                        </a:cubicBezTo>
                        <a:cubicBezTo>
                          <a:pt x="115983" y="1358672"/>
                          <a:pt x="228187" y="1349718"/>
                          <a:pt x="356013" y="1339050"/>
                        </a:cubicBezTo>
                        <a:cubicBezTo>
                          <a:pt x="483838" y="1328287"/>
                          <a:pt x="569182" y="1316572"/>
                          <a:pt x="569182" y="1316572"/>
                        </a:cubicBezTo>
                        <a:cubicBezTo>
                          <a:pt x="569182" y="1316572"/>
                          <a:pt x="555752" y="917855"/>
                          <a:pt x="557466" y="861848"/>
                        </a:cubicBezTo>
                        <a:cubicBezTo>
                          <a:pt x="559181" y="805841"/>
                          <a:pt x="619855" y="115945"/>
                          <a:pt x="619855" y="115945"/>
                        </a:cubicBezTo>
                        <a:cubicBezTo>
                          <a:pt x="465550" y="5169"/>
                          <a:pt x="266668" y="-48933"/>
                          <a:pt x="104553" y="57461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47" name="Freihandform: Form 546">
                    <a:extLst>
                      <a:ext uri="{FF2B5EF4-FFF2-40B4-BE49-F238E27FC236}">
                        <a16:creationId xmlns:a16="http://schemas.microsoft.com/office/drawing/2014/main" id="{8B5588D6-E89F-27C5-7FE7-816E08BF9CAC}"/>
                      </a:ext>
                    </a:extLst>
                  </p:cNvPr>
                  <p:cNvSpPr/>
                  <p:nvPr/>
                </p:nvSpPr>
                <p:spPr>
                  <a:xfrm>
                    <a:off x="2435192" y="4398359"/>
                    <a:ext cx="519303" cy="519302"/>
                  </a:xfrm>
                  <a:custGeom>
                    <a:avLst/>
                    <a:gdLst>
                      <a:gd name="connsiteX0" fmla="*/ 519303 w 519303"/>
                      <a:gd name="connsiteY0" fmla="*/ 259651 h 519302"/>
                      <a:gd name="connsiteX1" fmla="*/ 259651 w 519303"/>
                      <a:gd name="connsiteY1" fmla="*/ 519303 h 519302"/>
                      <a:gd name="connsiteX2" fmla="*/ 0 w 519303"/>
                      <a:gd name="connsiteY2" fmla="*/ 259651 h 519302"/>
                      <a:gd name="connsiteX3" fmla="*/ 259651 w 519303"/>
                      <a:gd name="connsiteY3" fmla="*/ 0 h 519302"/>
                      <a:gd name="connsiteX4" fmla="*/ 519303 w 519303"/>
                      <a:gd name="connsiteY4" fmla="*/ 259651 h 519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9303" h="519302">
                        <a:moveTo>
                          <a:pt x="519303" y="259651"/>
                        </a:moveTo>
                        <a:cubicBezTo>
                          <a:pt x="519303" y="403053"/>
                          <a:pt x="403053" y="519303"/>
                          <a:pt x="259651" y="519303"/>
                        </a:cubicBezTo>
                        <a:cubicBezTo>
                          <a:pt x="116250" y="519303"/>
                          <a:pt x="0" y="403053"/>
                          <a:pt x="0" y="259651"/>
                        </a:cubicBezTo>
                        <a:cubicBezTo>
                          <a:pt x="0" y="116250"/>
                          <a:pt x="116250" y="0"/>
                          <a:pt x="259651" y="0"/>
                        </a:cubicBezTo>
                        <a:cubicBezTo>
                          <a:pt x="403053" y="0"/>
                          <a:pt x="519303" y="116250"/>
                          <a:pt x="519303" y="259651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48" name="Freihandform: Form 547">
                    <a:extLst>
                      <a:ext uri="{FF2B5EF4-FFF2-40B4-BE49-F238E27FC236}">
                        <a16:creationId xmlns:a16="http://schemas.microsoft.com/office/drawing/2014/main" id="{14111846-0C9A-A047-59B8-811B22130B90}"/>
                      </a:ext>
                    </a:extLst>
                  </p:cNvPr>
                  <p:cNvSpPr/>
                  <p:nvPr/>
                </p:nvSpPr>
                <p:spPr>
                  <a:xfrm>
                    <a:off x="2162261" y="2915792"/>
                    <a:ext cx="808712" cy="1916312"/>
                  </a:xfrm>
                  <a:custGeom>
                    <a:avLst/>
                    <a:gdLst>
                      <a:gd name="connsiteX0" fmla="*/ 138915 w 808712"/>
                      <a:gd name="connsiteY0" fmla="*/ 0 h 1916312"/>
                      <a:gd name="connsiteX1" fmla="*/ 808713 w 808712"/>
                      <a:gd name="connsiteY1" fmla="*/ 48196 h 1916312"/>
                      <a:gd name="connsiteX2" fmla="*/ 729465 w 808712"/>
                      <a:gd name="connsiteY2" fmla="*/ 986219 h 1916312"/>
                      <a:gd name="connsiteX3" fmla="*/ 567635 w 808712"/>
                      <a:gd name="connsiteY3" fmla="*/ 1871186 h 1916312"/>
                      <a:gd name="connsiteX4" fmla="*/ 58905 w 808712"/>
                      <a:gd name="connsiteY4" fmla="*/ 1834325 h 1916312"/>
                      <a:gd name="connsiteX5" fmla="*/ 138915 w 808712"/>
                      <a:gd name="connsiteY5" fmla="*/ 0 h 19163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08712" h="1916312">
                        <a:moveTo>
                          <a:pt x="138915" y="0"/>
                        </a:moveTo>
                        <a:cubicBezTo>
                          <a:pt x="147963" y="3048"/>
                          <a:pt x="808713" y="48196"/>
                          <a:pt x="808713" y="48196"/>
                        </a:cubicBezTo>
                        <a:cubicBezTo>
                          <a:pt x="808713" y="48196"/>
                          <a:pt x="752420" y="822293"/>
                          <a:pt x="729465" y="986219"/>
                        </a:cubicBezTo>
                        <a:cubicBezTo>
                          <a:pt x="641644" y="1614202"/>
                          <a:pt x="567635" y="1871186"/>
                          <a:pt x="567635" y="1871186"/>
                        </a:cubicBezTo>
                        <a:cubicBezTo>
                          <a:pt x="403138" y="1948910"/>
                          <a:pt x="210733" y="1919478"/>
                          <a:pt x="58905" y="1834325"/>
                        </a:cubicBezTo>
                        <a:cubicBezTo>
                          <a:pt x="84051" y="1104329"/>
                          <a:pt x="-134167" y="690658"/>
                          <a:pt x="138915" y="0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49" name="Freihandform: Form 548">
                    <a:extLst>
                      <a:ext uri="{FF2B5EF4-FFF2-40B4-BE49-F238E27FC236}">
                        <a16:creationId xmlns:a16="http://schemas.microsoft.com/office/drawing/2014/main" id="{ACA35A5A-D62A-3F05-E47C-569417BFB9A3}"/>
                      </a:ext>
                    </a:extLst>
                  </p:cNvPr>
                  <p:cNvSpPr/>
                  <p:nvPr/>
                </p:nvSpPr>
                <p:spPr>
                  <a:xfrm>
                    <a:off x="2163652" y="4675131"/>
                    <a:ext cx="566148" cy="1315331"/>
                  </a:xfrm>
                  <a:custGeom>
                    <a:avLst/>
                    <a:gdLst>
                      <a:gd name="connsiteX0" fmla="*/ 65134 w 566148"/>
                      <a:gd name="connsiteY0" fmla="*/ 1315332 h 1315331"/>
                      <a:gd name="connsiteX1" fmla="*/ 555385 w 566148"/>
                      <a:gd name="connsiteY1" fmla="*/ 1261801 h 1315331"/>
                      <a:gd name="connsiteX2" fmla="*/ 566149 w 566148"/>
                      <a:gd name="connsiteY2" fmla="*/ 104800 h 1315331"/>
                      <a:gd name="connsiteX3" fmla="*/ 59133 w 566148"/>
                      <a:gd name="connsiteY3" fmla="*/ 64414 h 1315331"/>
                      <a:gd name="connsiteX4" fmla="*/ 1602 w 566148"/>
                      <a:gd name="connsiteY4" fmla="*/ 1061014 h 1315331"/>
                      <a:gd name="connsiteX5" fmla="*/ 65134 w 566148"/>
                      <a:gd name="connsiteY5" fmla="*/ 1315236 h 13153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66148" h="1315331">
                        <a:moveTo>
                          <a:pt x="65134" y="1315332"/>
                        </a:moveTo>
                        <a:lnTo>
                          <a:pt x="555385" y="1261801"/>
                        </a:lnTo>
                        <a:cubicBezTo>
                          <a:pt x="554623" y="1243228"/>
                          <a:pt x="566149" y="104800"/>
                          <a:pt x="566149" y="104800"/>
                        </a:cubicBezTo>
                        <a:cubicBezTo>
                          <a:pt x="408605" y="-1309"/>
                          <a:pt x="217915" y="-46838"/>
                          <a:pt x="59133" y="64414"/>
                        </a:cubicBezTo>
                        <a:cubicBezTo>
                          <a:pt x="-20496" y="426364"/>
                          <a:pt x="13603" y="881468"/>
                          <a:pt x="1602" y="1061014"/>
                        </a:cubicBezTo>
                        <a:cubicBezTo>
                          <a:pt x="-5447" y="1167599"/>
                          <a:pt x="9889" y="1270374"/>
                          <a:pt x="65134" y="131523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50" name="Freihandform: Form 549">
                    <a:extLst>
                      <a:ext uri="{FF2B5EF4-FFF2-40B4-BE49-F238E27FC236}">
                        <a16:creationId xmlns:a16="http://schemas.microsoft.com/office/drawing/2014/main" id="{C386C947-F4C9-23D8-5E1D-D2D0599CB647}"/>
                      </a:ext>
                    </a:extLst>
                  </p:cNvPr>
                  <p:cNvSpPr/>
                  <p:nvPr/>
                </p:nvSpPr>
                <p:spPr>
                  <a:xfrm>
                    <a:off x="1967227" y="1412557"/>
                    <a:ext cx="1160432" cy="2831687"/>
                  </a:xfrm>
                  <a:custGeom>
                    <a:avLst/>
                    <a:gdLst>
                      <a:gd name="connsiteX0" fmla="*/ 66391 w 1160432"/>
                      <a:gd name="connsiteY0" fmla="*/ 2215706 h 2831687"/>
                      <a:gd name="connsiteX1" fmla="*/ 44102 w 1160432"/>
                      <a:gd name="connsiteY1" fmla="*/ 2831687 h 2831687"/>
                      <a:gd name="connsiteX2" fmla="*/ 1160432 w 1160432"/>
                      <a:gd name="connsiteY2" fmla="*/ 2831687 h 2831687"/>
                      <a:gd name="connsiteX3" fmla="*/ 1117189 w 1160432"/>
                      <a:gd name="connsiteY3" fmla="*/ 1805940 h 2831687"/>
                      <a:gd name="connsiteX4" fmla="*/ 988316 w 1160432"/>
                      <a:gd name="connsiteY4" fmla="*/ 539782 h 2831687"/>
                      <a:gd name="connsiteX5" fmla="*/ 717520 w 1160432"/>
                      <a:gd name="connsiteY5" fmla="*/ 135826 h 2831687"/>
                      <a:gd name="connsiteX6" fmla="*/ 256700 w 1160432"/>
                      <a:gd name="connsiteY6" fmla="*/ 0 h 2831687"/>
                      <a:gd name="connsiteX7" fmla="*/ 2 w 1160432"/>
                      <a:gd name="connsiteY7" fmla="*/ 399288 h 2831687"/>
                      <a:gd name="connsiteX8" fmla="*/ 99062 w 1160432"/>
                      <a:gd name="connsiteY8" fmla="*/ 1187863 h 2831687"/>
                      <a:gd name="connsiteX9" fmla="*/ 66296 w 1160432"/>
                      <a:gd name="connsiteY9" fmla="*/ 2215706 h 28316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160432" h="2831687">
                        <a:moveTo>
                          <a:pt x="66391" y="2215706"/>
                        </a:moveTo>
                        <a:cubicBezTo>
                          <a:pt x="54675" y="2418779"/>
                          <a:pt x="47055" y="2707386"/>
                          <a:pt x="44102" y="2831687"/>
                        </a:cubicBezTo>
                        <a:lnTo>
                          <a:pt x="1160432" y="2831687"/>
                        </a:lnTo>
                        <a:cubicBezTo>
                          <a:pt x="1152908" y="2688717"/>
                          <a:pt x="1132810" y="2286953"/>
                          <a:pt x="1117189" y="1805940"/>
                        </a:cubicBezTo>
                        <a:cubicBezTo>
                          <a:pt x="1097663" y="1202817"/>
                          <a:pt x="1001174" y="634460"/>
                          <a:pt x="988316" y="539782"/>
                        </a:cubicBezTo>
                        <a:cubicBezTo>
                          <a:pt x="970218" y="405860"/>
                          <a:pt x="717520" y="135826"/>
                          <a:pt x="717520" y="135826"/>
                        </a:cubicBezTo>
                        <a:lnTo>
                          <a:pt x="256700" y="0"/>
                        </a:lnTo>
                        <a:cubicBezTo>
                          <a:pt x="256700" y="0"/>
                          <a:pt x="-760" y="184499"/>
                          <a:pt x="2" y="399288"/>
                        </a:cubicBezTo>
                        <a:cubicBezTo>
                          <a:pt x="668" y="575119"/>
                          <a:pt x="99062" y="1187863"/>
                          <a:pt x="99062" y="1187863"/>
                        </a:cubicBezTo>
                        <a:cubicBezTo>
                          <a:pt x="99062" y="1187863"/>
                          <a:pt x="81631" y="1950244"/>
                          <a:pt x="66296" y="221570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51" name="Freihandform: Form 550">
                    <a:extLst>
                      <a:ext uri="{FF2B5EF4-FFF2-40B4-BE49-F238E27FC236}">
                        <a16:creationId xmlns:a16="http://schemas.microsoft.com/office/drawing/2014/main" id="{6B1CC1B3-BE75-6CD1-9CB8-D0823CB93310}"/>
                      </a:ext>
                    </a:extLst>
                  </p:cNvPr>
                  <p:cNvSpPr/>
                  <p:nvPr/>
                </p:nvSpPr>
                <p:spPr>
                  <a:xfrm>
                    <a:off x="2203544" y="3205162"/>
                    <a:ext cx="634746" cy="581406"/>
                  </a:xfrm>
                  <a:custGeom>
                    <a:avLst/>
                    <a:gdLst>
                      <a:gd name="connsiteX0" fmla="*/ 634651 w 634746"/>
                      <a:gd name="connsiteY0" fmla="*/ 508730 h 581406"/>
                      <a:gd name="connsiteX1" fmla="*/ 0 w 634746"/>
                      <a:gd name="connsiteY1" fmla="*/ 550545 h 581406"/>
                      <a:gd name="connsiteX2" fmla="*/ 48292 w 634746"/>
                      <a:gd name="connsiteY2" fmla="*/ 0 h 581406"/>
                      <a:gd name="connsiteX3" fmla="*/ 456533 w 634746"/>
                      <a:gd name="connsiteY3" fmla="*/ 3143 h 581406"/>
                      <a:gd name="connsiteX4" fmla="*/ 634746 w 634746"/>
                      <a:gd name="connsiteY4" fmla="*/ 508730 h 5814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34746" h="581406">
                        <a:moveTo>
                          <a:pt x="634651" y="508730"/>
                        </a:moveTo>
                        <a:cubicBezTo>
                          <a:pt x="600742" y="589407"/>
                          <a:pt x="143828" y="602266"/>
                          <a:pt x="0" y="550545"/>
                        </a:cubicBezTo>
                        <a:lnTo>
                          <a:pt x="48292" y="0"/>
                        </a:lnTo>
                        <a:lnTo>
                          <a:pt x="456533" y="3143"/>
                        </a:lnTo>
                        <a:lnTo>
                          <a:pt x="634746" y="50873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52" name="Freihandform: Form 551">
                    <a:extLst>
                      <a:ext uri="{FF2B5EF4-FFF2-40B4-BE49-F238E27FC236}">
                        <a16:creationId xmlns:a16="http://schemas.microsoft.com/office/drawing/2014/main" id="{362AB0E3-ED6D-11FB-6330-7E6D9F35CE30}"/>
                      </a:ext>
                    </a:extLst>
                  </p:cNvPr>
                  <p:cNvSpPr/>
                  <p:nvPr/>
                </p:nvSpPr>
                <p:spPr>
                  <a:xfrm>
                    <a:off x="2265362" y="3205162"/>
                    <a:ext cx="572833" cy="543657"/>
                  </a:xfrm>
                  <a:custGeom>
                    <a:avLst/>
                    <a:gdLst>
                      <a:gd name="connsiteX0" fmla="*/ 513302 w 572833"/>
                      <a:gd name="connsiteY0" fmla="*/ 0 h 543657"/>
                      <a:gd name="connsiteX1" fmla="*/ 572834 w 572833"/>
                      <a:gd name="connsiteY1" fmla="*/ 508730 h 543657"/>
                      <a:gd name="connsiteX2" fmla="*/ 0 w 572833"/>
                      <a:gd name="connsiteY2" fmla="*/ 518255 h 543657"/>
                      <a:gd name="connsiteX3" fmla="*/ 0 w 572833"/>
                      <a:gd name="connsiteY3" fmla="*/ 0 h 543657"/>
                      <a:gd name="connsiteX4" fmla="*/ 513302 w 572833"/>
                      <a:gd name="connsiteY4" fmla="*/ 0 h 5436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72833" h="543657">
                        <a:moveTo>
                          <a:pt x="513302" y="0"/>
                        </a:moveTo>
                        <a:cubicBezTo>
                          <a:pt x="513302" y="38005"/>
                          <a:pt x="572834" y="508730"/>
                          <a:pt x="572834" y="508730"/>
                        </a:cubicBezTo>
                        <a:cubicBezTo>
                          <a:pt x="397097" y="555022"/>
                          <a:pt x="204025" y="552260"/>
                          <a:pt x="0" y="518255"/>
                        </a:cubicBezTo>
                        <a:lnTo>
                          <a:pt x="0" y="0"/>
                        </a:lnTo>
                        <a:cubicBezTo>
                          <a:pt x="0" y="0"/>
                          <a:pt x="513302" y="0"/>
                          <a:pt x="513302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53" name="Freihandform: Form 552">
                    <a:extLst>
                      <a:ext uri="{FF2B5EF4-FFF2-40B4-BE49-F238E27FC236}">
                        <a16:creationId xmlns:a16="http://schemas.microsoft.com/office/drawing/2014/main" id="{3762EB9A-9D38-FD61-9CA8-8754E50359AB}"/>
                      </a:ext>
                    </a:extLst>
                  </p:cNvPr>
                  <p:cNvSpPr/>
                  <p:nvPr/>
                </p:nvSpPr>
                <p:spPr>
                  <a:xfrm>
                    <a:off x="2049737" y="1674208"/>
                    <a:ext cx="709549" cy="1346632"/>
                  </a:xfrm>
                  <a:custGeom>
                    <a:avLst/>
                    <a:gdLst>
                      <a:gd name="connsiteX0" fmla="*/ 110944 w 709549"/>
                      <a:gd name="connsiteY0" fmla="*/ 1154241 h 1346632"/>
                      <a:gd name="connsiteX1" fmla="*/ 556048 w 709549"/>
                      <a:gd name="connsiteY1" fmla="*/ 1339883 h 1346632"/>
                      <a:gd name="connsiteX2" fmla="*/ 707686 w 709549"/>
                      <a:gd name="connsiteY2" fmla="*/ 1232727 h 1346632"/>
                      <a:gd name="connsiteX3" fmla="*/ 430413 w 709549"/>
                      <a:gd name="connsiteY3" fmla="*/ 837249 h 1346632"/>
                      <a:gd name="connsiteX4" fmla="*/ 319732 w 709549"/>
                      <a:gd name="connsiteY4" fmla="*/ 283560 h 1346632"/>
                      <a:gd name="connsiteX5" fmla="*/ 153426 w 709549"/>
                      <a:gd name="connsiteY5" fmla="*/ 3144 h 1346632"/>
                      <a:gd name="connsiteX6" fmla="*/ 110944 w 709549"/>
                      <a:gd name="connsiteY6" fmla="*/ 1154241 h 13466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09549" h="1346632">
                        <a:moveTo>
                          <a:pt x="110944" y="1154241"/>
                        </a:moveTo>
                        <a:cubicBezTo>
                          <a:pt x="110944" y="1154241"/>
                          <a:pt x="179143" y="1226154"/>
                          <a:pt x="556048" y="1339883"/>
                        </a:cubicBezTo>
                        <a:cubicBezTo>
                          <a:pt x="668633" y="1373887"/>
                          <a:pt x="702447" y="1270255"/>
                          <a:pt x="707686" y="1232727"/>
                        </a:cubicBezTo>
                        <a:cubicBezTo>
                          <a:pt x="724831" y="1108521"/>
                          <a:pt x="623008" y="983934"/>
                          <a:pt x="430413" y="837249"/>
                        </a:cubicBezTo>
                        <a:cubicBezTo>
                          <a:pt x="278870" y="721806"/>
                          <a:pt x="311541" y="523781"/>
                          <a:pt x="319732" y="283560"/>
                        </a:cubicBezTo>
                        <a:cubicBezTo>
                          <a:pt x="327924" y="43340"/>
                          <a:pt x="153426" y="3144"/>
                          <a:pt x="153426" y="3144"/>
                        </a:cubicBezTo>
                        <a:cubicBezTo>
                          <a:pt x="-28025" y="-65531"/>
                          <a:pt x="-56505" y="1012032"/>
                          <a:pt x="110944" y="1154241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54" name="Freihandform: Form 553">
                    <a:extLst>
                      <a:ext uri="{FF2B5EF4-FFF2-40B4-BE49-F238E27FC236}">
                        <a16:creationId xmlns:a16="http://schemas.microsoft.com/office/drawing/2014/main" id="{D3A062FA-CDD8-2CFE-2445-FCD2E19E8BA2}"/>
                      </a:ext>
                    </a:extLst>
                  </p:cNvPr>
                  <p:cNvSpPr/>
                  <p:nvPr/>
                </p:nvSpPr>
                <p:spPr>
                  <a:xfrm>
                    <a:off x="2542063" y="2036635"/>
                    <a:ext cx="268223" cy="262472"/>
                  </a:xfrm>
                  <a:custGeom>
                    <a:avLst/>
                    <a:gdLst>
                      <a:gd name="connsiteX0" fmla="*/ 268224 w 268223"/>
                      <a:gd name="connsiteY0" fmla="*/ 230600 h 262472"/>
                      <a:gd name="connsiteX1" fmla="*/ 0 w 268223"/>
                      <a:gd name="connsiteY1" fmla="*/ 253079 h 262472"/>
                      <a:gd name="connsiteX2" fmla="*/ 33909 w 268223"/>
                      <a:gd name="connsiteY2" fmla="*/ 0 h 262472"/>
                      <a:gd name="connsiteX3" fmla="*/ 215646 w 268223"/>
                      <a:gd name="connsiteY3" fmla="*/ 7525 h 262472"/>
                      <a:gd name="connsiteX4" fmla="*/ 268224 w 268223"/>
                      <a:gd name="connsiteY4" fmla="*/ 230600 h 2624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8223" h="262472">
                        <a:moveTo>
                          <a:pt x="268224" y="230600"/>
                        </a:moveTo>
                        <a:cubicBezTo>
                          <a:pt x="244888" y="246697"/>
                          <a:pt x="63246" y="278225"/>
                          <a:pt x="0" y="253079"/>
                        </a:cubicBezTo>
                        <a:lnTo>
                          <a:pt x="33909" y="0"/>
                        </a:lnTo>
                        <a:lnTo>
                          <a:pt x="215646" y="7525"/>
                        </a:lnTo>
                        <a:lnTo>
                          <a:pt x="268224" y="23060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55" name="Freihandform: Form 554">
                    <a:extLst>
                      <a:ext uri="{FF2B5EF4-FFF2-40B4-BE49-F238E27FC236}">
                        <a16:creationId xmlns:a16="http://schemas.microsoft.com/office/drawing/2014/main" id="{404C7C4B-647D-D73F-C81D-3009A4B9CD2F}"/>
                      </a:ext>
                    </a:extLst>
                  </p:cNvPr>
                  <p:cNvSpPr/>
                  <p:nvPr/>
                </p:nvSpPr>
                <p:spPr>
                  <a:xfrm>
                    <a:off x="2577496" y="2040159"/>
                    <a:ext cx="232791" cy="230885"/>
                  </a:xfrm>
                  <a:custGeom>
                    <a:avLst/>
                    <a:gdLst>
                      <a:gd name="connsiteX0" fmla="*/ 228695 w 232791"/>
                      <a:gd name="connsiteY0" fmla="*/ 0 h 230885"/>
                      <a:gd name="connsiteX1" fmla="*/ 232791 w 232791"/>
                      <a:gd name="connsiteY1" fmla="*/ 227076 h 230885"/>
                      <a:gd name="connsiteX2" fmla="*/ 0 w 232791"/>
                      <a:gd name="connsiteY2" fmla="*/ 230886 h 230885"/>
                      <a:gd name="connsiteX3" fmla="*/ 0 w 232791"/>
                      <a:gd name="connsiteY3" fmla="*/ 0 h 230885"/>
                      <a:gd name="connsiteX4" fmla="*/ 228695 w 232791"/>
                      <a:gd name="connsiteY4" fmla="*/ 0 h 2308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2791" h="230885">
                        <a:moveTo>
                          <a:pt x="228695" y="0"/>
                        </a:moveTo>
                        <a:lnTo>
                          <a:pt x="232791" y="227076"/>
                        </a:lnTo>
                        <a:lnTo>
                          <a:pt x="0" y="230886"/>
                        </a:lnTo>
                        <a:lnTo>
                          <a:pt x="0" y="0"/>
                        </a:lnTo>
                        <a:lnTo>
                          <a:pt x="228695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56" name="Freihandform: Form 555">
                    <a:extLst>
                      <a:ext uri="{FF2B5EF4-FFF2-40B4-BE49-F238E27FC236}">
                        <a16:creationId xmlns:a16="http://schemas.microsoft.com/office/drawing/2014/main" id="{D205C31A-355D-1A3B-4B47-579A31B06381}"/>
                      </a:ext>
                    </a:extLst>
                  </p:cNvPr>
                  <p:cNvSpPr/>
                  <p:nvPr/>
                </p:nvSpPr>
                <p:spPr>
                  <a:xfrm>
                    <a:off x="2207830" y="1280636"/>
                    <a:ext cx="532914" cy="439864"/>
                  </a:xfrm>
                  <a:custGeom>
                    <a:avLst/>
                    <a:gdLst>
                      <a:gd name="connsiteX0" fmla="*/ 0 w 532914"/>
                      <a:gd name="connsiteY0" fmla="*/ 164973 h 439864"/>
                      <a:gd name="connsiteX1" fmla="*/ 40481 w 532914"/>
                      <a:gd name="connsiteY1" fmla="*/ 0 h 439864"/>
                      <a:gd name="connsiteX2" fmla="*/ 528733 w 532914"/>
                      <a:gd name="connsiteY2" fmla="*/ 274415 h 439864"/>
                      <a:gd name="connsiteX3" fmla="*/ 513017 w 532914"/>
                      <a:gd name="connsiteY3" fmla="*/ 439864 h 439864"/>
                      <a:gd name="connsiteX4" fmla="*/ 0 w 532914"/>
                      <a:gd name="connsiteY4" fmla="*/ 165068 h 4398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32914" h="439864">
                        <a:moveTo>
                          <a:pt x="0" y="164973"/>
                        </a:moveTo>
                        <a:lnTo>
                          <a:pt x="40481" y="0"/>
                        </a:lnTo>
                        <a:cubicBezTo>
                          <a:pt x="40481" y="0"/>
                          <a:pt x="461772" y="175260"/>
                          <a:pt x="528733" y="274415"/>
                        </a:cubicBezTo>
                        <a:cubicBezTo>
                          <a:pt x="543878" y="296799"/>
                          <a:pt x="513017" y="439864"/>
                          <a:pt x="513017" y="439864"/>
                        </a:cubicBezTo>
                        <a:lnTo>
                          <a:pt x="0" y="16506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57" name="Freihandform: Form 556">
                    <a:extLst>
                      <a:ext uri="{FF2B5EF4-FFF2-40B4-BE49-F238E27FC236}">
                        <a16:creationId xmlns:a16="http://schemas.microsoft.com/office/drawing/2014/main" id="{2AA3BCCB-86F1-5886-FFAB-29155924431E}"/>
                      </a:ext>
                    </a:extLst>
                  </p:cNvPr>
                  <p:cNvSpPr/>
                  <p:nvPr/>
                </p:nvSpPr>
                <p:spPr>
                  <a:xfrm>
                    <a:off x="2218784" y="4529518"/>
                    <a:ext cx="511111" cy="511111"/>
                  </a:xfrm>
                  <a:custGeom>
                    <a:avLst/>
                    <a:gdLst>
                      <a:gd name="connsiteX0" fmla="*/ 511111 w 511111"/>
                      <a:gd name="connsiteY0" fmla="*/ 255556 h 511111"/>
                      <a:gd name="connsiteX1" fmla="*/ 255556 w 511111"/>
                      <a:gd name="connsiteY1" fmla="*/ 511111 h 511111"/>
                      <a:gd name="connsiteX2" fmla="*/ 0 w 511111"/>
                      <a:gd name="connsiteY2" fmla="*/ 255556 h 511111"/>
                      <a:gd name="connsiteX3" fmla="*/ 255556 w 511111"/>
                      <a:gd name="connsiteY3" fmla="*/ 0 h 511111"/>
                      <a:gd name="connsiteX4" fmla="*/ 511111 w 511111"/>
                      <a:gd name="connsiteY4" fmla="*/ 255556 h 5111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1111" h="511111">
                        <a:moveTo>
                          <a:pt x="511111" y="255556"/>
                        </a:moveTo>
                        <a:cubicBezTo>
                          <a:pt x="511111" y="396695"/>
                          <a:pt x="396695" y="511111"/>
                          <a:pt x="255556" y="511111"/>
                        </a:cubicBezTo>
                        <a:cubicBezTo>
                          <a:pt x="114416" y="511111"/>
                          <a:pt x="0" y="396695"/>
                          <a:pt x="0" y="255556"/>
                        </a:cubicBezTo>
                        <a:cubicBezTo>
                          <a:pt x="0" y="114416"/>
                          <a:pt x="114416" y="0"/>
                          <a:pt x="255556" y="0"/>
                        </a:cubicBezTo>
                        <a:cubicBezTo>
                          <a:pt x="396695" y="0"/>
                          <a:pt x="511111" y="114416"/>
                          <a:pt x="511111" y="25555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98" name="Grafik 23">
                  <a:extLst>
                    <a:ext uri="{FF2B5EF4-FFF2-40B4-BE49-F238E27FC236}">
                      <a16:creationId xmlns:a16="http://schemas.microsoft.com/office/drawing/2014/main" id="{B10EBF95-08C5-5BCF-93B6-7C0DEFCD4C4E}"/>
                    </a:ext>
                  </a:extLst>
                </p:cNvPr>
                <p:cNvGrpSpPr/>
                <p:nvPr/>
              </p:nvGrpSpPr>
              <p:grpSpPr>
                <a:xfrm>
                  <a:off x="2645951" y="2614089"/>
                  <a:ext cx="835086" cy="566403"/>
                  <a:chOff x="2645951" y="2614089"/>
                  <a:chExt cx="835086" cy="566403"/>
                </a:xfrm>
              </p:grpSpPr>
              <p:grpSp>
                <p:nvGrpSpPr>
                  <p:cNvPr id="534" name="Grafik 23">
                    <a:extLst>
                      <a:ext uri="{FF2B5EF4-FFF2-40B4-BE49-F238E27FC236}">
                        <a16:creationId xmlns:a16="http://schemas.microsoft.com/office/drawing/2014/main" id="{4B9693E4-8493-A4C2-DA30-F5684FCD3F19}"/>
                      </a:ext>
                    </a:extLst>
                  </p:cNvPr>
                  <p:cNvGrpSpPr/>
                  <p:nvPr/>
                </p:nvGrpSpPr>
                <p:grpSpPr>
                  <a:xfrm>
                    <a:off x="2748660" y="2614089"/>
                    <a:ext cx="732377" cy="566403"/>
                    <a:chOff x="2748660" y="2614089"/>
                    <a:chExt cx="732377" cy="566403"/>
                  </a:xfrm>
                </p:grpSpPr>
                <p:sp>
                  <p:nvSpPr>
                    <p:cNvPr id="537" name="Freihandform: Form 536">
                      <a:extLst>
                        <a:ext uri="{FF2B5EF4-FFF2-40B4-BE49-F238E27FC236}">
                          <a16:creationId xmlns:a16="http://schemas.microsoft.com/office/drawing/2014/main" id="{7FEAB071-4D4F-A86A-5F98-3BAF9DDC4AF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22288" y="2658189"/>
                      <a:ext cx="411099" cy="129236"/>
                    </a:xfrm>
                    <a:custGeom>
                      <a:avLst/>
                      <a:gdLst>
                        <a:gd name="connsiteX0" fmla="*/ 95 w 411099"/>
                        <a:gd name="connsiteY0" fmla="*/ 59483 h 129236"/>
                        <a:gd name="connsiteX1" fmla="*/ 130111 w 411099"/>
                        <a:gd name="connsiteY1" fmla="*/ 714 h 129236"/>
                        <a:gd name="connsiteX2" fmla="*/ 235172 w 411099"/>
                        <a:gd name="connsiteY2" fmla="*/ 7858 h 129236"/>
                        <a:gd name="connsiteX3" fmla="*/ 411099 w 411099"/>
                        <a:gd name="connsiteY3" fmla="*/ 41481 h 129236"/>
                        <a:gd name="connsiteX4" fmla="*/ 393668 w 411099"/>
                        <a:gd name="connsiteY4" fmla="*/ 70723 h 129236"/>
                        <a:gd name="connsiteX5" fmla="*/ 184023 w 411099"/>
                        <a:gd name="connsiteY5" fmla="*/ 83010 h 129236"/>
                        <a:gd name="connsiteX6" fmla="*/ 92678 w 411099"/>
                        <a:gd name="connsiteY6" fmla="*/ 128921 h 129236"/>
                        <a:gd name="connsiteX7" fmla="*/ 0 w 411099"/>
                        <a:gd name="connsiteY7" fmla="*/ 59483 h 12923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11099" h="129236">
                          <a:moveTo>
                            <a:pt x="95" y="59483"/>
                          </a:moveTo>
                          <a:cubicBezTo>
                            <a:pt x="5429" y="57674"/>
                            <a:pt x="90964" y="4238"/>
                            <a:pt x="130111" y="714"/>
                          </a:cubicBezTo>
                          <a:cubicBezTo>
                            <a:pt x="169259" y="-2810"/>
                            <a:pt x="235172" y="7858"/>
                            <a:pt x="235172" y="7858"/>
                          </a:cubicBezTo>
                          <a:lnTo>
                            <a:pt x="411099" y="41481"/>
                          </a:lnTo>
                          <a:cubicBezTo>
                            <a:pt x="411099" y="41481"/>
                            <a:pt x="406717" y="58817"/>
                            <a:pt x="393668" y="70723"/>
                          </a:cubicBezTo>
                          <a:cubicBezTo>
                            <a:pt x="361759" y="99869"/>
                            <a:pt x="194691" y="68818"/>
                            <a:pt x="184023" y="83010"/>
                          </a:cubicBezTo>
                          <a:cubicBezTo>
                            <a:pt x="168021" y="104346"/>
                            <a:pt x="146113" y="132540"/>
                            <a:pt x="92678" y="128921"/>
                          </a:cubicBezTo>
                          <a:cubicBezTo>
                            <a:pt x="39243" y="125396"/>
                            <a:pt x="0" y="59483"/>
                            <a:pt x="0" y="59483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39" name="Freihandform: Form 538">
                      <a:extLst>
                        <a:ext uri="{FF2B5EF4-FFF2-40B4-BE49-F238E27FC236}">
                          <a16:creationId xmlns:a16="http://schemas.microsoft.com/office/drawing/2014/main" id="{C19098E2-4C0D-7F6B-639B-FA35B7ED7E5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91726" y="2614089"/>
                      <a:ext cx="589311" cy="566403"/>
                    </a:xfrm>
                    <a:custGeom>
                      <a:avLst/>
                      <a:gdLst>
                        <a:gd name="connsiteX0" fmla="*/ 162687 w 589311"/>
                        <a:gd name="connsiteY0" fmla="*/ 25193 h 566403"/>
                        <a:gd name="connsiteX1" fmla="*/ 155924 w 589311"/>
                        <a:gd name="connsiteY1" fmla="*/ 115775 h 566403"/>
                        <a:gd name="connsiteX2" fmla="*/ 952 w 589311"/>
                        <a:gd name="connsiteY2" fmla="*/ 472677 h 566403"/>
                        <a:gd name="connsiteX3" fmla="*/ 0 w 589311"/>
                        <a:gd name="connsiteY3" fmla="*/ 475630 h 566403"/>
                        <a:gd name="connsiteX4" fmla="*/ 232505 w 589311"/>
                        <a:gd name="connsiteY4" fmla="*/ 566403 h 566403"/>
                        <a:gd name="connsiteX5" fmla="*/ 185452 w 589311"/>
                        <a:gd name="connsiteY5" fmla="*/ 423623 h 566403"/>
                        <a:gd name="connsiteX6" fmla="*/ 258223 w 589311"/>
                        <a:gd name="connsiteY6" fmla="*/ 198548 h 566403"/>
                        <a:gd name="connsiteX7" fmla="*/ 555117 w 589311"/>
                        <a:gd name="connsiteY7" fmla="*/ 206453 h 566403"/>
                        <a:gd name="connsiteX8" fmla="*/ 589312 w 589311"/>
                        <a:gd name="connsiteY8" fmla="*/ 35765 h 566403"/>
                        <a:gd name="connsiteX9" fmla="*/ 162687 w 589311"/>
                        <a:gd name="connsiteY9" fmla="*/ 25193 h 5664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589311" h="566403">
                          <a:moveTo>
                            <a:pt x="162687" y="25193"/>
                          </a:moveTo>
                          <a:cubicBezTo>
                            <a:pt x="119063" y="80247"/>
                            <a:pt x="155924" y="115775"/>
                            <a:pt x="155924" y="115775"/>
                          </a:cubicBezTo>
                          <a:lnTo>
                            <a:pt x="952" y="472677"/>
                          </a:lnTo>
                          <a:cubicBezTo>
                            <a:pt x="571" y="473630"/>
                            <a:pt x="286" y="474677"/>
                            <a:pt x="0" y="475630"/>
                          </a:cubicBezTo>
                          <a:lnTo>
                            <a:pt x="232505" y="566403"/>
                          </a:lnTo>
                          <a:cubicBezTo>
                            <a:pt x="252603" y="528779"/>
                            <a:pt x="196405" y="487631"/>
                            <a:pt x="185452" y="423623"/>
                          </a:cubicBezTo>
                          <a:cubicBezTo>
                            <a:pt x="172879" y="350281"/>
                            <a:pt x="258223" y="198548"/>
                            <a:pt x="258223" y="198548"/>
                          </a:cubicBezTo>
                          <a:cubicBezTo>
                            <a:pt x="258223" y="198548"/>
                            <a:pt x="484632" y="210740"/>
                            <a:pt x="555117" y="206453"/>
                          </a:cubicBezTo>
                          <a:lnTo>
                            <a:pt x="589312" y="35765"/>
                          </a:lnTo>
                          <a:cubicBezTo>
                            <a:pt x="532352" y="10905"/>
                            <a:pt x="202406" y="-24814"/>
                            <a:pt x="162687" y="25193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41" name="Freihandform: Form 540">
                      <a:extLst>
                        <a:ext uri="{FF2B5EF4-FFF2-40B4-BE49-F238E27FC236}">
                          <a16:creationId xmlns:a16="http://schemas.microsoft.com/office/drawing/2014/main" id="{7C607BE9-5521-ED89-C4D4-3FB4F8C1F7B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748660" y="2687954"/>
                      <a:ext cx="626027" cy="304133"/>
                    </a:xfrm>
                    <a:custGeom>
                      <a:avLst/>
                      <a:gdLst>
                        <a:gd name="connsiteX0" fmla="*/ 47244 w 626027"/>
                        <a:gd name="connsiteY0" fmla="*/ 0 h 304133"/>
                        <a:gd name="connsiteX1" fmla="*/ 244126 w 626027"/>
                        <a:gd name="connsiteY1" fmla="*/ 30956 h 304133"/>
                        <a:gd name="connsiteX2" fmla="*/ 438626 w 626027"/>
                        <a:gd name="connsiteY2" fmla="*/ 82106 h 304133"/>
                        <a:gd name="connsiteX3" fmla="*/ 527971 w 626027"/>
                        <a:gd name="connsiteY3" fmla="*/ 90202 h 304133"/>
                        <a:gd name="connsiteX4" fmla="*/ 624935 w 626027"/>
                        <a:gd name="connsiteY4" fmla="*/ 132874 h 304133"/>
                        <a:gd name="connsiteX5" fmla="*/ 542449 w 626027"/>
                        <a:gd name="connsiteY5" fmla="*/ 143542 h 304133"/>
                        <a:gd name="connsiteX6" fmla="*/ 490442 w 626027"/>
                        <a:gd name="connsiteY6" fmla="*/ 146399 h 304133"/>
                        <a:gd name="connsiteX7" fmla="*/ 488918 w 626027"/>
                        <a:gd name="connsiteY7" fmla="*/ 166021 h 304133"/>
                        <a:gd name="connsiteX8" fmla="*/ 467106 w 626027"/>
                        <a:gd name="connsiteY8" fmla="*/ 198120 h 304133"/>
                        <a:gd name="connsiteX9" fmla="*/ 417386 w 626027"/>
                        <a:gd name="connsiteY9" fmla="*/ 244221 h 304133"/>
                        <a:gd name="connsiteX10" fmla="*/ 366427 w 626027"/>
                        <a:gd name="connsiteY10" fmla="*/ 304133 h 304133"/>
                        <a:gd name="connsiteX11" fmla="*/ 231553 w 626027"/>
                        <a:gd name="connsiteY11" fmla="*/ 293370 h 304133"/>
                        <a:gd name="connsiteX12" fmla="*/ 0 w 626027"/>
                        <a:gd name="connsiteY12" fmla="*/ 168212 h 304133"/>
                        <a:gd name="connsiteX13" fmla="*/ 47339 w 626027"/>
                        <a:gd name="connsiteY13" fmla="*/ 0 h 3041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</a:cxnLst>
                      <a:rect l="l" t="t" r="r" b="b"/>
                      <a:pathLst>
                        <a:path w="626027" h="304133">
                          <a:moveTo>
                            <a:pt x="47244" y="0"/>
                          </a:moveTo>
                          <a:lnTo>
                            <a:pt x="244126" y="30956"/>
                          </a:lnTo>
                          <a:cubicBezTo>
                            <a:pt x="244126" y="30956"/>
                            <a:pt x="388430" y="66580"/>
                            <a:pt x="438626" y="82106"/>
                          </a:cubicBezTo>
                          <a:cubicBezTo>
                            <a:pt x="484823" y="86678"/>
                            <a:pt x="527971" y="90202"/>
                            <a:pt x="527971" y="90202"/>
                          </a:cubicBezTo>
                          <a:cubicBezTo>
                            <a:pt x="574167" y="84392"/>
                            <a:pt x="634936" y="97346"/>
                            <a:pt x="624935" y="132874"/>
                          </a:cubicBezTo>
                          <a:cubicBezTo>
                            <a:pt x="613315" y="135255"/>
                            <a:pt x="552736" y="142304"/>
                            <a:pt x="542449" y="143542"/>
                          </a:cubicBezTo>
                          <a:cubicBezTo>
                            <a:pt x="523685" y="145733"/>
                            <a:pt x="490442" y="146399"/>
                            <a:pt x="490442" y="146399"/>
                          </a:cubicBezTo>
                          <a:lnTo>
                            <a:pt x="488918" y="166021"/>
                          </a:lnTo>
                          <a:lnTo>
                            <a:pt x="467106" y="198120"/>
                          </a:lnTo>
                          <a:lnTo>
                            <a:pt x="417386" y="244221"/>
                          </a:lnTo>
                          <a:lnTo>
                            <a:pt x="366427" y="304133"/>
                          </a:lnTo>
                          <a:cubicBezTo>
                            <a:pt x="366427" y="304133"/>
                            <a:pt x="244697" y="292703"/>
                            <a:pt x="231553" y="293370"/>
                          </a:cubicBezTo>
                          <a:cubicBezTo>
                            <a:pt x="200787" y="294894"/>
                            <a:pt x="34100" y="193358"/>
                            <a:pt x="0" y="168212"/>
                          </a:cubicBezTo>
                          <a:cubicBezTo>
                            <a:pt x="6668" y="73533"/>
                            <a:pt x="47339" y="0"/>
                            <a:pt x="47339" y="0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42" name="Freihandform: Form 541">
                      <a:extLst>
                        <a:ext uri="{FF2B5EF4-FFF2-40B4-BE49-F238E27FC236}">
                          <a16:creationId xmlns:a16="http://schemas.microsoft.com/office/drawing/2014/main" id="{37F9C27C-A1F6-D948-E5E6-6D6FC37304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78987" y="2815780"/>
                      <a:ext cx="160115" cy="36816"/>
                    </a:xfrm>
                    <a:custGeom>
                      <a:avLst/>
                      <a:gdLst>
                        <a:gd name="connsiteX0" fmla="*/ 160115 w 160115"/>
                        <a:gd name="connsiteY0" fmla="*/ 18669 h 36816"/>
                        <a:gd name="connsiteX1" fmla="*/ 55912 w 160115"/>
                        <a:gd name="connsiteY1" fmla="*/ 13335 h 36816"/>
                        <a:gd name="connsiteX2" fmla="*/ 0 w 160115"/>
                        <a:gd name="connsiteY2" fmla="*/ 0 h 36816"/>
                        <a:gd name="connsiteX3" fmla="*/ 79629 w 160115"/>
                        <a:gd name="connsiteY3" fmla="*/ 34671 h 36816"/>
                        <a:gd name="connsiteX4" fmla="*/ 158687 w 160115"/>
                        <a:gd name="connsiteY4" fmla="*/ 36576 h 36816"/>
                        <a:gd name="connsiteX5" fmla="*/ 160115 w 160115"/>
                        <a:gd name="connsiteY5" fmla="*/ 18669 h 3681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60115" h="36816">
                          <a:moveTo>
                            <a:pt x="160115" y="18669"/>
                          </a:moveTo>
                          <a:lnTo>
                            <a:pt x="55912" y="13335"/>
                          </a:lnTo>
                          <a:lnTo>
                            <a:pt x="0" y="0"/>
                          </a:lnTo>
                          <a:cubicBezTo>
                            <a:pt x="0" y="0"/>
                            <a:pt x="46958" y="31528"/>
                            <a:pt x="79629" y="34671"/>
                          </a:cubicBezTo>
                          <a:cubicBezTo>
                            <a:pt x="112300" y="37814"/>
                            <a:pt x="158687" y="36576"/>
                            <a:pt x="158687" y="36576"/>
                          </a:cubicBezTo>
                          <a:lnTo>
                            <a:pt x="160115" y="18669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36" name="Freihandform: Form 535">
                    <a:extLst>
                      <a:ext uri="{FF2B5EF4-FFF2-40B4-BE49-F238E27FC236}">
                        <a16:creationId xmlns:a16="http://schemas.microsoft.com/office/drawing/2014/main" id="{65A95579-ACD3-C79E-3776-0CBDAD1D9CB5}"/>
                      </a:ext>
                    </a:extLst>
                  </p:cNvPr>
                  <p:cNvSpPr/>
                  <p:nvPr/>
                </p:nvSpPr>
                <p:spPr>
                  <a:xfrm rot="-2247599">
                    <a:off x="2681100" y="2683664"/>
                    <a:ext cx="174878" cy="174878"/>
                  </a:xfrm>
                  <a:custGeom>
                    <a:avLst/>
                    <a:gdLst>
                      <a:gd name="connsiteX0" fmla="*/ 174879 w 174878"/>
                      <a:gd name="connsiteY0" fmla="*/ 87439 h 174878"/>
                      <a:gd name="connsiteX1" fmla="*/ 87439 w 174878"/>
                      <a:gd name="connsiteY1" fmla="*/ 174879 h 174878"/>
                      <a:gd name="connsiteX2" fmla="*/ 0 w 174878"/>
                      <a:gd name="connsiteY2" fmla="*/ 87439 h 174878"/>
                      <a:gd name="connsiteX3" fmla="*/ 87439 w 174878"/>
                      <a:gd name="connsiteY3" fmla="*/ 0 h 174878"/>
                      <a:gd name="connsiteX4" fmla="*/ 174879 w 174878"/>
                      <a:gd name="connsiteY4" fmla="*/ 87439 h 174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74878" h="174878">
                        <a:moveTo>
                          <a:pt x="174879" y="87439"/>
                        </a:moveTo>
                        <a:cubicBezTo>
                          <a:pt x="174879" y="135731"/>
                          <a:pt x="135731" y="174879"/>
                          <a:pt x="87439" y="174879"/>
                        </a:cubicBezTo>
                        <a:cubicBezTo>
                          <a:pt x="39148" y="174879"/>
                          <a:pt x="0" y="135731"/>
                          <a:pt x="0" y="87439"/>
                        </a:cubicBezTo>
                        <a:cubicBezTo>
                          <a:pt x="0" y="39148"/>
                          <a:pt x="39148" y="0"/>
                          <a:pt x="87439" y="0"/>
                        </a:cubicBezTo>
                        <a:cubicBezTo>
                          <a:pt x="135731" y="0"/>
                          <a:pt x="174879" y="39148"/>
                          <a:pt x="174879" y="87439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99" name="Grafik 23">
                  <a:extLst>
                    <a:ext uri="{FF2B5EF4-FFF2-40B4-BE49-F238E27FC236}">
                      <a16:creationId xmlns:a16="http://schemas.microsoft.com/office/drawing/2014/main" id="{0D284B07-8581-78B8-6831-D25670BB7B13}"/>
                    </a:ext>
                  </a:extLst>
                </p:cNvPr>
                <p:cNvGrpSpPr/>
                <p:nvPr/>
              </p:nvGrpSpPr>
              <p:grpSpPr>
                <a:xfrm>
                  <a:off x="1874837" y="2455926"/>
                  <a:ext cx="921353" cy="469868"/>
                  <a:chOff x="1874837" y="2455926"/>
                  <a:chExt cx="921353" cy="469868"/>
                </a:xfrm>
              </p:grpSpPr>
              <p:sp>
                <p:nvSpPr>
                  <p:cNvPr id="510" name="Freihandform: Form 509">
                    <a:extLst>
                      <a:ext uri="{FF2B5EF4-FFF2-40B4-BE49-F238E27FC236}">
                        <a16:creationId xmlns:a16="http://schemas.microsoft.com/office/drawing/2014/main" id="{663F3CB9-C67A-88AE-00D5-62B9FCB89C91}"/>
                      </a:ext>
                    </a:extLst>
                  </p:cNvPr>
                  <p:cNvSpPr/>
                  <p:nvPr/>
                </p:nvSpPr>
                <p:spPr>
                  <a:xfrm>
                    <a:off x="2638551" y="2652045"/>
                    <a:ext cx="157352" cy="204120"/>
                  </a:xfrm>
                  <a:custGeom>
                    <a:avLst/>
                    <a:gdLst>
                      <a:gd name="connsiteX0" fmla="*/ 110014 w 157352"/>
                      <a:gd name="connsiteY0" fmla="*/ 204121 h 204120"/>
                      <a:gd name="connsiteX1" fmla="*/ 157353 w 157352"/>
                      <a:gd name="connsiteY1" fmla="*/ 35909 h 204120"/>
                      <a:gd name="connsiteX2" fmla="*/ 46387 w 157352"/>
                      <a:gd name="connsiteY2" fmla="*/ 0 h 204120"/>
                      <a:gd name="connsiteX3" fmla="*/ 0 w 157352"/>
                      <a:gd name="connsiteY3" fmla="*/ 187928 h 204120"/>
                      <a:gd name="connsiteX4" fmla="*/ 110014 w 157352"/>
                      <a:gd name="connsiteY4" fmla="*/ 204121 h 2041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7352" h="204120">
                        <a:moveTo>
                          <a:pt x="110014" y="204121"/>
                        </a:moveTo>
                        <a:lnTo>
                          <a:pt x="157353" y="35909"/>
                        </a:lnTo>
                        <a:lnTo>
                          <a:pt x="46387" y="0"/>
                        </a:lnTo>
                        <a:lnTo>
                          <a:pt x="0" y="187928"/>
                        </a:lnTo>
                        <a:lnTo>
                          <a:pt x="110014" y="204121"/>
                        </a:ln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11" name="Freihandform: Form 510">
                    <a:extLst>
                      <a:ext uri="{FF2B5EF4-FFF2-40B4-BE49-F238E27FC236}">
                        <a16:creationId xmlns:a16="http://schemas.microsoft.com/office/drawing/2014/main" id="{B87C5482-33DF-77B5-D5C6-D937A4310C2B}"/>
                      </a:ext>
                    </a:extLst>
                  </p:cNvPr>
                  <p:cNvSpPr/>
                  <p:nvPr/>
                </p:nvSpPr>
                <p:spPr>
                  <a:xfrm>
                    <a:off x="2012663" y="2463641"/>
                    <a:ext cx="783526" cy="462153"/>
                  </a:xfrm>
                  <a:custGeom>
                    <a:avLst/>
                    <a:gdLst>
                      <a:gd name="connsiteX0" fmla="*/ 0 w 783526"/>
                      <a:gd name="connsiteY0" fmla="*/ 334423 h 462153"/>
                      <a:gd name="connsiteX1" fmla="*/ 742188 w 783526"/>
                      <a:gd name="connsiteY1" fmla="*/ 462153 h 462153"/>
                      <a:gd name="connsiteX2" fmla="*/ 783527 w 783526"/>
                      <a:gd name="connsiteY2" fmla="*/ 163259 h 462153"/>
                      <a:gd name="connsiteX3" fmla="*/ 86201 w 783526"/>
                      <a:gd name="connsiteY3" fmla="*/ 0 h 462153"/>
                      <a:gd name="connsiteX4" fmla="*/ 0 w 783526"/>
                      <a:gd name="connsiteY4" fmla="*/ 334423 h 4621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83526" h="462153">
                        <a:moveTo>
                          <a:pt x="0" y="334423"/>
                        </a:moveTo>
                        <a:lnTo>
                          <a:pt x="742188" y="462153"/>
                        </a:lnTo>
                        <a:lnTo>
                          <a:pt x="783527" y="163259"/>
                        </a:lnTo>
                        <a:lnTo>
                          <a:pt x="86201" y="0"/>
                        </a:lnTo>
                        <a:lnTo>
                          <a:pt x="0" y="33442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12" name="Freihandform: Form 511">
                    <a:extLst>
                      <a:ext uri="{FF2B5EF4-FFF2-40B4-BE49-F238E27FC236}">
                        <a16:creationId xmlns:a16="http://schemas.microsoft.com/office/drawing/2014/main" id="{C35A3E49-AAB3-64A9-4E52-F040F5A5A3CC}"/>
                      </a:ext>
                    </a:extLst>
                  </p:cNvPr>
                  <p:cNvSpPr/>
                  <p:nvPr/>
                </p:nvSpPr>
                <p:spPr>
                  <a:xfrm>
                    <a:off x="1874837" y="2455926"/>
                    <a:ext cx="345567" cy="345567"/>
                  </a:xfrm>
                  <a:custGeom>
                    <a:avLst/>
                    <a:gdLst>
                      <a:gd name="connsiteX0" fmla="*/ 345567 w 345567"/>
                      <a:gd name="connsiteY0" fmla="*/ 172783 h 345567"/>
                      <a:gd name="connsiteX1" fmla="*/ 172784 w 345567"/>
                      <a:gd name="connsiteY1" fmla="*/ 345567 h 345567"/>
                      <a:gd name="connsiteX2" fmla="*/ 0 w 345567"/>
                      <a:gd name="connsiteY2" fmla="*/ 172783 h 345567"/>
                      <a:gd name="connsiteX3" fmla="*/ 172784 w 345567"/>
                      <a:gd name="connsiteY3" fmla="*/ 0 h 345567"/>
                      <a:gd name="connsiteX4" fmla="*/ 345567 w 345567"/>
                      <a:gd name="connsiteY4" fmla="*/ 172783 h 3455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45567" h="345567">
                        <a:moveTo>
                          <a:pt x="345567" y="172783"/>
                        </a:moveTo>
                        <a:cubicBezTo>
                          <a:pt x="345567" y="268209"/>
                          <a:pt x="268209" y="345567"/>
                          <a:pt x="172784" y="345567"/>
                        </a:cubicBezTo>
                        <a:cubicBezTo>
                          <a:pt x="77358" y="345567"/>
                          <a:pt x="0" y="268209"/>
                          <a:pt x="0" y="172783"/>
                        </a:cubicBezTo>
                        <a:cubicBezTo>
                          <a:pt x="0" y="77358"/>
                          <a:pt x="77358" y="0"/>
                          <a:pt x="172784" y="0"/>
                        </a:cubicBezTo>
                        <a:cubicBezTo>
                          <a:pt x="268209" y="0"/>
                          <a:pt x="345567" y="77358"/>
                          <a:pt x="345567" y="17278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505" name="Grafik 23">
                  <a:extLst>
                    <a:ext uri="{FF2B5EF4-FFF2-40B4-BE49-F238E27FC236}">
                      <a16:creationId xmlns:a16="http://schemas.microsoft.com/office/drawing/2014/main" id="{9055D274-CE40-4738-D332-45156F3BBAB4}"/>
                    </a:ext>
                  </a:extLst>
                </p:cNvPr>
                <p:cNvGrpSpPr/>
                <p:nvPr/>
              </p:nvGrpSpPr>
              <p:grpSpPr>
                <a:xfrm>
                  <a:off x="1875789" y="1478509"/>
                  <a:ext cx="599222" cy="1188109"/>
                  <a:chOff x="1875789" y="1478509"/>
                  <a:chExt cx="599222" cy="1188109"/>
                </a:xfrm>
                <a:solidFill>
                  <a:srgbClr val="FFFFFF"/>
                </a:solidFill>
              </p:grpSpPr>
              <p:sp>
                <p:nvSpPr>
                  <p:cNvPr id="507" name="Freihandform: Form 506">
                    <a:extLst>
                      <a:ext uri="{FF2B5EF4-FFF2-40B4-BE49-F238E27FC236}">
                        <a16:creationId xmlns:a16="http://schemas.microsoft.com/office/drawing/2014/main" id="{6DE58312-1237-D89C-20D5-CA050494DAB0}"/>
                      </a:ext>
                    </a:extLst>
                  </p:cNvPr>
                  <p:cNvSpPr/>
                  <p:nvPr/>
                </p:nvSpPr>
                <p:spPr>
                  <a:xfrm>
                    <a:off x="1875789" y="1699831"/>
                    <a:ext cx="512349" cy="966787"/>
                  </a:xfrm>
                  <a:custGeom>
                    <a:avLst/>
                    <a:gdLst>
                      <a:gd name="connsiteX0" fmla="*/ 115062 w 512349"/>
                      <a:gd name="connsiteY0" fmla="*/ 0 h 966787"/>
                      <a:gd name="connsiteX1" fmla="*/ 0 w 512349"/>
                      <a:gd name="connsiteY1" fmla="*/ 910971 h 966787"/>
                      <a:gd name="connsiteX2" fmla="*/ 340424 w 512349"/>
                      <a:gd name="connsiteY2" fmla="*/ 966788 h 966787"/>
                      <a:gd name="connsiteX3" fmla="*/ 512350 w 512349"/>
                      <a:gd name="connsiteY3" fmla="*/ 108204 h 966787"/>
                      <a:gd name="connsiteX4" fmla="*/ 115062 w 512349"/>
                      <a:gd name="connsiteY4" fmla="*/ 0 h 9667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2349" h="966787">
                        <a:moveTo>
                          <a:pt x="115062" y="0"/>
                        </a:moveTo>
                        <a:cubicBezTo>
                          <a:pt x="46673" y="214884"/>
                          <a:pt x="0" y="910971"/>
                          <a:pt x="0" y="910971"/>
                        </a:cubicBezTo>
                        <a:cubicBezTo>
                          <a:pt x="148495" y="945070"/>
                          <a:pt x="190024" y="966788"/>
                          <a:pt x="340424" y="966788"/>
                        </a:cubicBezTo>
                        <a:cubicBezTo>
                          <a:pt x="447485" y="721614"/>
                          <a:pt x="512350" y="108204"/>
                          <a:pt x="512350" y="108204"/>
                        </a:cubicBezTo>
                        <a:cubicBezTo>
                          <a:pt x="364046" y="68008"/>
                          <a:pt x="315373" y="50768"/>
                          <a:pt x="115062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8" name="Freihandform: Form 507">
                    <a:extLst>
                      <a:ext uri="{FF2B5EF4-FFF2-40B4-BE49-F238E27FC236}">
                        <a16:creationId xmlns:a16="http://schemas.microsoft.com/office/drawing/2014/main" id="{FA4AE1AC-E656-BF94-D374-D53CB818A1EB}"/>
                      </a:ext>
                    </a:extLst>
                  </p:cNvPr>
                  <p:cNvSpPr/>
                  <p:nvPr/>
                </p:nvSpPr>
                <p:spPr>
                  <a:xfrm rot="-2247599">
                    <a:off x="1979225" y="1561481"/>
                    <a:ext cx="412813" cy="412813"/>
                  </a:xfrm>
                  <a:custGeom>
                    <a:avLst/>
                    <a:gdLst>
                      <a:gd name="connsiteX0" fmla="*/ 412813 w 412813"/>
                      <a:gd name="connsiteY0" fmla="*/ 206407 h 412813"/>
                      <a:gd name="connsiteX1" fmla="*/ 206407 w 412813"/>
                      <a:gd name="connsiteY1" fmla="*/ 412813 h 412813"/>
                      <a:gd name="connsiteX2" fmla="*/ 0 w 412813"/>
                      <a:gd name="connsiteY2" fmla="*/ 206407 h 412813"/>
                      <a:gd name="connsiteX3" fmla="*/ 206407 w 412813"/>
                      <a:gd name="connsiteY3" fmla="*/ 0 h 412813"/>
                      <a:gd name="connsiteX4" fmla="*/ 412813 w 412813"/>
                      <a:gd name="connsiteY4" fmla="*/ 206407 h 4128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2813" h="412813">
                        <a:moveTo>
                          <a:pt x="412813" y="206407"/>
                        </a:moveTo>
                        <a:cubicBezTo>
                          <a:pt x="412813" y="320402"/>
                          <a:pt x="320402" y="412813"/>
                          <a:pt x="206407" y="412813"/>
                        </a:cubicBezTo>
                        <a:cubicBezTo>
                          <a:pt x="92411" y="412813"/>
                          <a:pt x="0" y="320402"/>
                          <a:pt x="0" y="206407"/>
                        </a:cubicBezTo>
                        <a:cubicBezTo>
                          <a:pt x="0" y="92411"/>
                          <a:pt x="92411" y="0"/>
                          <a:pt x="206407" y="0"/>
                        </a:cubicBezTo>
                        <a:cubicBezTo>
                          <a:pt x="320402" y="0"/>
                          <a:pt x="412813" y="92411"/>
                          <a:pt x="412813" y="20640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</p:grp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1D91B238-C658-AB73-B3C6-22BFA638217D}"/>
                </a:ext>
              </a:extLst>
            </p:cNvPr>
            <p:cNvSpPr>
              <a:spLocks/>
            </p:cNvSpPr>
            <p:nvPr/>
          </p:nvSpPr>
          <p:spPr>
            <a:xfrm>
              <a:off x="9210675" y="1826246"/>
              <a:ext cx="53975" cy="906229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l"/>
              <a:endParaRPr lang="en-US" sz="1000" b="1">
                <a:solidFill>
                  <a:schemeClr val="tx1"/>
                </a:solidFill>
              </a:endParaRPr>
            </a:p>
          </p:txBody>
        </p:sp>
      </p:grpSp>
      <p:grpSp>
        <p:nvGrpSpPr>
          <p:cNvPr id="784" name="Gruppieren 783">
            <a:extLst>
              <a:ext uri="{FF2B5EF4-FFF2-40B4-BE49-F238E27FC236}">
                <a16:creationId xmlns:a16="http://schemas.microsoft.com/office/drawing/2014/main" id="{9CB78F42-647D-74C0-3F4B-08BDC1BF3D6C}"/>
              </a:ext>
            </a:extLst>
          </p:cNvPr>
          <p:cNvGrpSpPr>
            <a:grpSpLocks/>
          </p:cNvGrpSpPr>
          <p:nvPr/>
        </p:nvGrpSpPr>
        <p:grpSpPr>
          <a:xfrm>
            <a:off x="9210675" y="2912475"/>
            <a:ext cx="2201842" cy="906229"/>
            <a:chOff x="9210675" y="2912475"/>
            <a:chExt cx="2201842" cy="906229"/>
          </a:xfrm>
        </p:grpSpPr>
        <p:sp>
          <p:nvSpPr>
            <p:cNvPr id="785" name="Rechteck 784">
              <a:extLst>
                <a:ext uri="{FF2B5EF4-FFF2-40B4-BE49-F238E27FC236}">
                  <a16:creationId xmlns:a16="http://schemas.microsoft.com/office/drawing/2014/main" id="{E9785A76-45BE-979E-DDB6-4FF9F1F924E9}"/>
                </a:ext>
              </a:extLst>
            </p:cNvPr>
            <p:cNvSpPr>
              <a:spLocks/>
            </p:cNvSpPr>
            <p:nvPr/>
          </p:nvSpPr>
          <p:spPr>
            <a:xfrm>
              <a:off x="9210675" y="2912475"/>
              <a:ext cx="2201842" cy="90622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tlCol="0" anchor="t"/>
            <a:lstStyle/>
            <a:p>
              <a:pPr algn="l"/>
              <a:r>
                <a:rPr lang="en-US" sz="1200" b="1" err="1">
                  <a:solidFill>
                    <a:schemeClr val="tx1"/>
                  </a:solidFill>
                </a:rPr>
                <a:t>Anwender</a:t>
              </a:r>
              <a:r>
                <a:rPr lang="en-US" sz="1200" b="1">
                  <a:solidFill>
                    <a:schemeClr val="tx1"/>
                  </a:solidFill>
                </a:rPr>
                <a:t>*</a:t>
              </a:r>
              <a:r>
                <a:rPr lang="en-US" sz="1200" b="1" err="1">
                  <a:solidFill>
                    <a:schemeClr val="tx1"/>
                  </a:solidFill>
                </a:rPr>
                <a:t>innen</a:t>
              </a:r>
              <a:endParaRPr lang="en-US" sz="1200" b="1">
                <a:solidFill>
                  <a:schemeClr val="tx1"/>
                </a:solidFill>
              </a:endParaRPr>
            </a:p>
          </p:txBody>
        </p:sp>
        <p:grpSp>
          <p:nvGrpSpPr>
            <p:cNvPr id="786" name="Gruppieren 785">
              <a:extLst>
                <a:ext uri="{FF2B5EF4-FFF2-40B4-BE49-F238E27FC236}">
                  <a16:creationId xmlns:a16="http://schemas.microsoft.com/office/drawing/2014/main" id="{8B4125A1-31B5-441C-B2F4-8F1F8435F1CD}"/>
                </a:ext>
              </a:extLst>
            </p:cNvPr>
            <p:cNvGrpSpPr>
              <a:grpSpLocks/>
            </p:cNvGrpSpPr>
            <p:nvPr/>
          </p:nvGrpSpPr>
          <p:grpSpPr>
            <a:xfrm flipH="1">
              <a:off x="10699750" y="3003018"/>
              <a:ext cx="516340" cy="708249"/>
              <a:chOff x="9590362" y="1659724"/>
              <a:chExt cx="2578928" cy="3537443"/>
            </a:xfrm>
          </p:grpSpPr>
          <p:grpSp>
            <p:nvGrpSpPr>
              <p:cNvPr id="788" name="Grafik 297">
                <a:extLst>
                  <a:ext uri="{FF2B5EF4-FFF2-40B4-BE49-F238E27FC236}">
                    <a16:creationId xmlns:a16="http://schemas.microsoft.com/office/drawing/2014/main" id="{82375B3B-DF10-B560-9D4F-9CB983E09131}"/>
                  </a:ext>
                </a:extLst>
              </p:cNvPr>
              <p:cNvGrpSpPr/>
              <p:nvPr/>
            </p:nvGrpSpPr>
            <p:grpSpPr>
              <a:xfrm>
                <a:off x="11138852" y="1928127"/>
                <a:ext cx="1030438" cy="3268937"/>
                <a:chOff x="11138852" y="1928127"/>
                <a:chExt cx="1030438" cy="3268937"/>
              </a:xfrm>
            </p:grpSpPr>
            <p:grpSp>
              <p:nvGrpSpPr>
                <p:cNvPr id="888" name="Grafik 297">
                  <a:extLst>
                    <a:ext uri="{FF2B5EF4-FFF2-40B4-BE49-F238E27FC236}">
                      <a16:creationId xmlns:a16="http://schemas.microsoft.com/office/drawing/2014/main" id="{8F1EA84F-1CFB-6F38-F43C-E16C3855DE6C}"/>
                    </a:ext>
                  </a:extLst>
                </p:cNvPr>
                <p:cNvGrpSpPr/>
                <p:nvPr/>
              </p:nvGrpSpPr>
              <p:grpSpPr>
                <a:xfrm>
                  <a:off x="11876781" y="2514754"/>
                  <a:ext cx="292510" cy="1386761"/>
                  <a:chOff x="11876781" y="2514754"/>
                  <a:chExt cx="292510" cy="1386761"/>
                </a:xfrm>
              </p:grpSpPr>
              <p:grpSp>
                <p:nvGrpSpPr>
                  <p:cNvPr id="964" name="Grafik 297">
                    <a:extLst>
                      <a:ext uri="{FF2B5EF4-FFF2-40B4-BE49-F238E27FC236}">
                        <a16:creationId xmlns:a16="http://schemas.microsoft.com/office/drawing/2014/main" id="{C8714B36-889F-2A4A-F97B-9CB16D31D12F}"/>
                      </a:ext>
                    </a:extLst>
                  </p:cNvPr>
                  <p:cNvGrpSpPr/>
                  <p:nvPr/>
                </p:nvGrpSpPr>
                <p:grpSpPr>
                  <a:xfrm>
                    <a:off x="11972799" y="3056405"/>
                    <a:ext cx="164676" cy="555321"/>
                    <a:chOff x="11972799" y="3056405"/>
                    <a:chExt cx="164676" cy="555321"/>
                  </a:xfrm>
                </p:grpSpPr>
                <p:sp>
                  <p:nvSpPr>
                    <p:cNvPr id="989" name="Freihandform: Form 988">
                      <a:extLst>
                        <a:ext uri="{FF2B5EF4-FFF2-40B4-BE49-F238E27FC236}">
                          <a16:creationId xmlns:a16="http://schemas.microsoft.com/office/drawing/2014/main" id="{561F3111-321F-CF84-EFF7-F5A4EB9DE2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72799" y="3137396"/>
                      <a:ext cx="164494" cy="474330"/>
                    </a:xfrm>
                    <a:custGeom>
                      <a:avLst/>
                      <a:gdLst>
                        <a:gd name="connsiteX0" fmla="*/ 108364 w 164494"/>
                        <a:gd name="connsiteY0" fmla="*/ 474331 h 474330"/>
                        <a:gd name="connsiteX1" fmla="*/ 24047 w 164494"/>
                        <a:gd name="connsiteY1" fmla="*/ 463686 h 474330"/>
                        <a:gd name="connsiteX2" fmla="*/ 1001 w 164494"/>
                        <a:gd name="connsiteY2" fmla="*/ 0 h 474330"/>
                        <a:gd name="connsiteX3" fmla="*/ 164495 w 164494"/>
                        <a:gd name="connsiteY3" fmla="*/ 9012 h 474330"/>
                        <a:gd name="connsiteX4" fmla="*/ 108364 w 164494"/>
                        <a:gd name="connsiteY4" fmla="*/ 474331 h 4743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64494" h="474330">
                          <a:moveTo>
                            <a:pt x="108364" y="474331"/>
                          </a:moveTo>
                          <a:lnTo>
                            <a:pt x="24047" y="463686"/>
                          </a:lnTo>
                          <a:cubicBezTo>
                            <a:pt x="24047" y="463686"/>
                            <a:pt x="-5773" y="46574"/>
                            <a:pt x="1001" y="0"/>
                          </a:cubicBezTo>
                          <a:lnTo>
                            <a:pt x="164495" y="9012"/>
                          </a:lnTo>
                          <a:cubicBezTo>
                            <a:pt x="144353" y="220350"/>
                            <a:pt x="121792" y="349911"/>
                            <a:pt x="108364" y="474331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90" name="Freihandform: Form 989">
                      <a:extLst>
                        <a:ext uri="{FF2B5EF4-FFF2-40B4-BE49-F238E27FC236}">
                          <a16:creationId xmlns:a16="http://schemas.microsoft.com/office/drawing/2014/main" id="{7F943106-2074-B80E-5007-574CBF4FE90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74042" y="3056405"/>
                      <a:ext cx="163433" cy="163433"/>
                    </a:xfrm>
                    <a:custGeom>
                      <a:avLst/>
                      <a:gdLst>
                        <a:gd name="connsiteX0" fmla="*/ 163433 w 163433"/>
                        <a:gd name="connsiteY0" fmla="*/ 81717 h 163433"/>
                        <a:gd name="connsiteX1" fmla="*/ 81717 w 163433"/>
                        <a:gd name="connsiteY1" fmla="*/ 163433 h 163433"/>
                        <a:gd name="connsiteX2" fmla="*/ 0 w 163433"/>
                        <a:gd name="connsiteY2" fmla="*/ 81717 h 163433"/>
                        <a:gd name="connsiteX3" fmla="*/ 81717 w 163433"/>
                        <a:gd name="connsiteY3" fmla="*/ 0 h 163433"/>
                        <a:gd name="connsiteX4" fmla="*/ 163433 w 163433"/>
                        <a:gd name="connsiteY4" fmla="*/ 81717 h 1634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63433" h="163433">
                          <a:moveTo>
                            <a:pt x="163433" y="81717"/>
                          </a:moveTo>
                          <a:cubicBezTo>
                            <a:pt x="163433" y="126847"/>
                            <a:pt x="126848" y="163433"/>
                            <a:pt x="81717" y="163433"/>
                          </a:cubicBezTo>
                          <a:cubicBezTo>
                            <a:pt x="36586" y="163433"/>
                            <a:pt x="0" y="126847"/>
                            <a:pt x="0" y="81717"/>
                          </a:cubicBezTo>
                          <a:cubicBezTo>
                            <a:pt x="0" y="36586"/>
                            <a:pt x="36586" y="0"/>
                            <a:pt x="81717" y="0"/>
                          </a:cubicBezTo>
                          <a:cubicBezTo>
                            <a:pt x="126848" y="0"/>
                            <a:pt x="163433" y="36586"/>
                            <a:pt x="163433" y="81717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91" name="Freihandform: Form 990">
                      <a:extLst>
                        <a:ext uri="{FF2B5EF4-FFF2-40B4-BE49-F238E27FC236}">
                          <a16:creationId xmlns:a16="http://schemas.microsoft.com/office/drawing/2014/main" id="{3F48E032-AD19-D257-1567-1DF196D749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92974" y="3544769"/>
                      <a:ext cx="94962" cy="66957"/>
                    </a:xfrm>
                    <a:custGeom>
                      <a:avLst/>
                      <a:gdLst>
                        <a:gd name="connsiteX0" fmla="*/ 0 w 94962"/>
                        <a:gd name="connsiteY0" fmla="*/ 0 h 66957"/>
                        <a:gd name="connsiteX1" fmla="*/ 3932 w 94962"/>
                        <a:gd name="connsiteY1" fmla="*/ 56312 h 66957"/>
                        <a:gd name="connsiteX2" fmla="*/ 88249 w 94962"/>
                        <a:gd name="connsiteY2" fmla="*/ 66958 h 66957"/>
                        <a:gd name="connsiteX3" fmla="*/ 94963 w 94962"/>
                        <a:gd name="connsiteY3" fmla="*/ 9617 h 66957"/>
                        <a:gd name="connsiteX4" fmla="*/ 0 w 94962"/>
                        <a:gd name="connsiteY4" fmla="*/ 0 h 66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94962" h="66957">
                          <a:moveTo>
                            <a:pt x="0" y="0"/>
                          </a:moveTo>
                          <a:cubicBezTo>
                            <a:pt x="2359" y="34356"/>
                            <a:pt x="3932" y="56312"/>
                            <a:pt x="3932" y="56312"/>
                          </a:cubicBezTo>
                          <a:lnTo>
                            <a:pt x="88249" y="66958"/>
                          </a:lnTo>
                          <a:cubicBezTo>
                            <a:pt x="90305" y="48026"/>
                            <a:pt x="92543" y="29033"/>
                            <a:pt x="94963" y="9617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965" name="Freihandform: Form 964">
                    <a:extLst>
                      <a:ext uri="{FF2B5EF4-FFF2-40B4-BE49-F238E27FC236}">
                        <a16:creationId xmlns:a16="http://schemas.microsoft.com/office/drawing/2014/main" id="{B9B4F7D7-0610-97DC-0300-167326087772}"/>
                      </a:ext>
                    </a:extLst>
                  </p:cNvPr>
                  <p:cNvSpPr/>
                  <p:nvPr/>
                </p:nvSpPr>
                <p:spPr>
                  <a:xfrm>
                    <a:off x="11916157" y="2526609"/>
                    <a:ext cx="253134" cy="668188"/>
                  </a:xfrm>
                  <a:custGeom>
                    <a:avLst/>
                    <a:gdLst>
                      <a:gd name="connsiteX0" fmla="*/ 114258 w 253134"/>
                      <a:gd name="connsiteY0" fmla="*/ 0 h 668188"/>
                      <a:gd name="connsiteX1" fmla="*/ 194644 w 253134"/>
                      <a:gd name="connsiteY1" fmla="*/ 160409 h 668188"/>
                      <a:gd name="connsiteX2" fmla="*/ 253134 w 253134"/>
                      <a:gd name="connsiteY2" fmla="*/ 666434 h 668188"/>
                      <a:gd name="connsiteX3" fmla="*/ 41312 w 253134"/>
                      <a:gd name="connsiteY3" fmla="*/ 668189 h 668188"/>
                      <a:gd name="connsiteX4" fmla="*/ 0 w 253134"/>
                      <a:gd name="connsiteY4" fmla="*/ 175167 h 668188"/>
                      <a:gd name="connsiteX5" fmla="*/ 114198 w 253134"/>
                      <a:gd name="connsiteY5" fmla="*/ 0 h 6681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53134" h="668188">
                        <a:moveTo>
                          <a:pt x="114258" y="0"/>
                        </a:moveTo>
                        <a:cubicBezTo>
                          <a:pt x="114258" y="0"/>
                          <a:pt x="178192" y="18993"/>
                          <a:pt x="194644" y="160409"/>
                        </a:cubicBezTo>
                        <a:cubicBezTo>
                          <a:pt x="211096" y="301825"/>
                          <a:pt x="253134" y="666434"/>
                          <a:pt x="253134" y="666434"/>
                        </a:cubicBezTo>
                        <a:lnTo>
                          <a:pt x="41312" y="668189"/>
                        </a:lnTo>
                        <a:lnTo>
                          <a:pt x="0" y="175167"/>
                        </a:lnTo>
                        <a:lnTo>
                          <a:pt x="114198" y="0"/>
                        </a:ln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66" name="Freihandform: Form 965">
                    <a:extLst>
                      <a:ext uri="{FF2B5EF4-FFF2-40B4-BE49-F238E27FC236}">
                        <a16:creationId xmlns:a16="http://schemas.microsoft.com/office/drawing/2014/main" id="{53FBDA74-AFEC-2267-EF1B-88DB8025DA5B}"/>
                      </a:ext>
                    </a:extLst>
                  </p:cNvPr>
                  <p:cNvSpPr/>
                  <p:nvPr/>
                </p:nvSpPr>
                <p:spPr>
                  <a:xfrm>
                    <a:off x="11876781" y="2514754"/>
                    <a:ext cx="210128" cy="210128"/>
                  </a:xfrm>
                  <a:custGeom>
                    <a:avLst/>
                    <a:gdLst>
                      <a:gd name="connsiteX0" fmla="*/ 210129 w 210128"/>
                      <a:gd name="connsiteY0" fmla="*/ 105064 h 210128"/>
                      <a:gd name="connsiteX1" fmla="*/ 105064 w 210128"/>
                      <a:gd name="connsiteY1" fmla="*/ 210128 h 210128"/>
                      <a:gd name="connsiteX2" fmla="*/ 0 w 210128"/>
                      <a:gd name="connsiteY2" fmla="*/ 105064 h 210128"/>
                      <a:gd name="connsiteX3" fmla="*/ 105064 w 210128"/>
                      <a:gd name="connsiteY3" fmla="*/ 0 h 210128"/>
                      <a:gd name="connsiteX4" fmla="*/ 210129 w 210128"/>
                      <a:gd name="connsiteY4" fmla="*/ 105064 h 2101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0128" h="210128">
                        <a:moveTo>
                          <a:pt x="210129" y="105064"/>
                        </a:moveTo>
                        <a:cubicBezTo>
                          <a:pt x="210129" y="163089"/>
                          <a:pt x="163089" y="210128"/>
                          <a:pt x="105064" y="210128"/>
                        </a:cubicBezTo>
                        <a:cubicBezTo>
                          <a:pt x="47039" y="210128"/>
                          <a:pt x="0" y="163089"/>
                          <a:pt x="0" y="105064"/>
                        </a:cubicBezTo>
                        <a:cubicBezTo>
                          <a:pt x="0" y="47039"/>
                          <a:pt x="47039" y="0"/>
                          <a:pt x="105064" y="0"/>
                        </a:cubicBezTo>
                        <a:cubicBezTo>
                          <a:pt x="163089" y="0"/>
                          <a:pt x="210129" y="47039"/>
                          <a:pt x="210129" y="105064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967" name="Grafik 297">
                    <a:extLst>
                      <a:ext uri="{FF2B5EF4-FFF2-40B4-BE49-F238E27FC236}">
                        <a16:creationId xmlns:a16="http://schemas.microsoft.com/office/drawing/2014/main" id="{ECFD2DFC-1FB0-39EA-516E-A130A9AE0518}"/>
                      </a:ext>
                    </a:extLst>
                  </p:cNvPr>
                  <p:cNvGrpSpPr/>
                  <p:nvPr/>
                </p:nvGrpSpPr>
                <p:grpSpPr>
                  <a:xfrm>
                    <a:off x="11946098" y="3566242"/>
                    <a:ext cx="143230" cy="335273"/>
                    <a:chOff x="11946098" y="3566242"/>
                    <a:chExt cx="143230" cy="335273"/>
                  </a:xfrm>
                  <a:solidFill>
                    <a:srgbClr val="02787D"/>
                  </a:solidFill>
                </p:grpSpPr>
                <p:grpSp>
                  <p:nvGrpSpPr>
                    <p:cNvPr id="968" name="Grafik 297">
                      <a:extLst>
                        <a:ext uri="{FF2B5EF4-FFF2-40B4-BE49-F238E27FC236}">
                          <a16:creationId xmlns:a16="http://schemas.microsoft.com/office/drawing/2014/main" id="{5BA75B70-0F57-DB53-22E8-91637010A91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91897" y="3779147"/>
                      <a:ext cx="71060" cy="63636"/>
                      <a:chOff x="11991897" y="3779147"/>
                      <a:chExt cx="71060" cy="63636"/>
                    </a:xfrm>
                    <a:solidFill>
                      <a:srgbClr val="02787D"/>
                    </a:solidFill>
                  </p:grpSpPr>
                  <p:sp>
                    <p:nvSpPr>
                      <p:cNvPr id="987" name="Freihandform: Form 986">
                        <a:extLst>
                          <a:ext uri="{FF2B5EF4-FFF2-40B4-BE49-F238E27FC236}">
                            <a16:creationId xmlns:a16="http://schemas.microsoft.com/office/drawing/2014/main" id="{AFAB3988-C8AE-68F6-30F6-B72FB347530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91897" y="3797206"/>
                        <a:ext cx="39028" cy="45577"/>
                      </a:xfrm>
                      <a:custGeom>
                        <a:avLst/>
                        <a:gdLst>
                          <a:gd name="connsiteX0" fmla="*/ 1924 w 39028"/>
                          <a:gd name="connsiteY0" fmla="*/ 45577 h 45577"/>
                          <a:gd name="connsiteX1" fmla="*/ 26179 w 39028"/>
                          <a:gd name="connsiteY1" fmla="*/ 33298 h 45577"/>
                          <a:gd name="connsiteX2" fmla="*/ 38759 w 39028"/>
                          <a:gd name="connsiteY2" fmla="*/ 6443 h 45577"/>
                          <a:gd name="connsiteX3" fmla="*/ 37005 w 39028"/>
                          <a:gd name="connsiteY3" fmla="*/ 31 h 45577"/>
                          <a:gd name="connsiteX4" fmla="*/ 9968 w 39028"/>
                          <a:gd name="connsiteY4" fmla="*/ 19568 h 45577"/>
                          <a:gd name="connsiteX5" fmla="*/ 1984 w 39028"/>
                          <a:gd name="connsiteY5" fmla="*/ 45577 h 45577"/>
                          <a:gd name="connsiteX6" fmla="*/ 1984 w 39028"/>
                          <a:gd name="connsiteY6" fmla="*/ 45577 h 455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9028" h="45577">
                            <a:moveTo>
                              <a:pt x="1924" y="45577"/>
                            </a:moveTo>
                            <a:lnTo>
                              <a:pt x="26179" y="33298"/>
                            </a:lnTo>
                            <a:cubicBezTo>
                              <a:pt x="35312" y="28460"/>
                              <a:pt x="40272" y="18721"/>
                              <a:pt x="38759" y="6443"/>
                            </a:cubicBezTo>
                            <a:cubicBezTo>
                              <a:pt x="38276" y="2511"/>
                              <a:pt x="37670" y="-332"/>
                              <a:pt x="37005" y="31"/>
                            </a:cubicBezTo>
                            <a:cubicBezTo>
                              <a:pt x="35614" y="636"/>
                              <a:pt x="24061" y="8923"/>
                              <a:pt x="9968" y="19568"/>
                            </a:cubicBezTo>
                            <a:cubicBezTo>
                              <a:pt x="1077" y="26343"/>
                              <a:pt x="-2613" y="32875"/>
                              <a:pt x="1984" y="45577"/>
                            </a:cubicBezTo>
                            <a:lnTo>
                              <a:pt x="1984" y="4557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988" name="Freihandform: Form 987">
                        <a:extLst>
                          <a:ext uri="{FF2B5EF4-FFF2-40B4-BE49-F238E27FC236}">
                            <a16:creationId xmlns:a16="http://schemas.microsoft.com/office/drawing/2014/main" id="{99CBC09F-7F94-BD0D-0C24-AA1902270B1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13756" y="3779147"/>
                        <a:ext cx="49201" cy="51418"/>
                      </a:xfrm>
                      <a:custGeom>
                        <a:avLst/>
                        <a:gdLst>
                          <a:gd name="connsiteX0" fmla="*/ 4320 w 49201"/>
                          <a:gd name="connsiteY0" fmla="*/ 51358 h 51418"/>
                          <a:gd name="connsiteX1" fmla="*/ 41518 w 49201"/>
                          <a:gd name="connsiteY1" fmla="*/ 30793 h 51418"/>
                          <a:gd name="connsiteX2" fmla="*/ 49019 w 49201"/>
                          <a:gd name="connsiteY2" fmla="*/ 24139 h 51418"/>
                          <a:gd name="connsiteX3" fmla="*/ 28454 w 49201"/>
                          <a:gd name="connsiteY3" fmla="*/ 5 h 51418"/>
                          <a:gd name="connsiteX4" fmla="*/ 6558 w 49201"/>
                          <a:gd name="connsiteY4" fmla="*/ 23655 h 51418"/>
                          <a:gd name="connsiteX5" fmla="*/ 4320 w 49201"/>
                          <a:gd name="connsiteY5" fmla="*/ 51418 h 51418"/>
                          <a:gd name="connsiteX6" fmla="*/ 4320 w 49201"/>
                          <a:gd name="connsiteY6" fmla="*/ 51418 h 514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9201" h="51418">
                            <a:moveTo>
                              <a:pt x="4320" y="51358"/>
                            </a:moveTo>
                            <a:lnTo>
                              <a:pt x="41518" y="30793"/>
                            </a:lnTo>
                            <a:cubicBezTo>
                              <a:pt x="46055" y="28071"/>
                              <a:pt x="47748" y="25712"/>
                              <a:pt x="49019" y="24139"/>
                            </a:cubicBezTo>
                            <a:cubicBezTo>
                              <a:pt x="50894" y="12163"/>
                              <a:pt x="37950" y="-297"/>
                              <a:pt x="28454" y="5"/>
                            </a:cubicBezTo>
                            <a:lnTo>
                              <a:pt x="6558" y="23655"/>
                            </a:lnTo>
                            <a:cubicBezTo>
                              <a:pt x="-2092" y="29825"/>
                              <a:pt x="-1487" y="39442"/>
                              <a:pt x="4320" y="51418"/>
                            </a:cubicBezTo>
                            <a:lnTo>
                              <a:pt x="4320" y="51418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969" name="Grafik 297">
                      <a:extLst>
                        <a:ext uri="{FF2B5EF4-FFF2-40B4-BE49-F238E27FC236}">
                          <a16:creationId xmlns:a16="http://schemas.microsoft.com/office/drawing/2014/main" id="{8F4F56A4-303F-179F-53AB-F2D3A1A298E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85158" y="3753599"/>
                      <a:ext cx="101447" cy="124931"/>
                      <a:chOff x="11985158" y="3753599"/>
                      <a:chExt cx="101447" cy="124931"/>
                    </a:xfrm>
                    <a:solidFill>
                      <a:srgbClr val="02787D"/>
                    </a:solidFill>
                  </p:grpSpPr>
                  <p:sp>
                    <p:nvSpPr>
                      <p:cNvPr id="984" name="Freihandform: Form 983">
                        <a:extLst>
                          <a:ext uri="{FF2B5EF4-FFF2-40B4-BE49-F238E27FC236}">
                            <a16:creationId xmlns:a16="http://schemas.microsoft.com/office/drawing/2014/main" id="{EED54F97-CE33-85CA-C8DD-1CC0609CC2F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85158" y="3820113"/>
                        <a:ext cx="47131" cy="58418"/>
                      </a:xfrm>
                      <a:custGeom>
                        <a:avLst/>
                        <a:gdLst>
                          <a:gd name="connsiteX0" fmla="*/ 2493 w 47131"/>
                          <a:gd name="connsiteY0" fmla="*/ 58418 h 58418"/>
                          <a:gd name="connsiteX1" fmla="*/ 31768 w 47131"/>
                          <a:gd name="connsiteY1" fmla="*/ 40091 h 58418"/>
                          <a:gd name="connsiteX2" fmla="*/ 46768 w 47131"/>
                          <a:gd name="connsiteY2" fmla="*/ 7126 h 58418"/>
                          <a:gd name="connsiteX3" fmla="*/ 44530 w 47131"/>
                          <a:gd name="connsiteY3" fmla="*/ 49 h 58418"/>
                          <a:gd name="connsiteX4" fmla="*/ 11928 w 47131"/>
                          <a:gd name="connsiteY4" fmla="*/ 27207 h 58418"/>
                          <a:gd name="connsiteX5" fmla="*/ 2493 w 47131"/>
                          <a:gd name="connsiteY5" fmla="*/ 58418 h 58418"/>
                          <a:gd name="connsiteX6" fmla="*/ 2493 w 47131"/>
                          <a:gd name="connsiteY6" fmla="*/ 58418 h 584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7131" h="58418">
                            <a:moveTo>
                              <a:pt x="2493" y="58418"/>
                            </a:moveTo>
                            <a:lnTo>
                              <a:pt x="31768" y="40091"/>
                            </a:lnTo>
                            <a:cubicBezTo>
                              <a:pt x="42777" y="32953"/>
                              <a:pt x="48704" y="20917"/>
                              <a:pt x="46768" y="7126"/>
                            </a:cubicBezTo>
                            <a:cubicBezTo>
                              <a:pt x="46164" y="2710"/>
                              <a:pt x="45377" y="-435"/>
                              <a:pt x="44530" y="49"/>
                            </a:cubicBezTo>
                            <a:cubicBezTo>
                              <a:pt x="42897" y="1017"/>
                              <a:pt x="28925" y="12509"/>
                              <a:pt x="11928" y="27207"/>
                            </a:cubicBezTo>
                            <a:cubicBezTo>
                              <a:pt x="1223" y="36522"/>
                              <a:pt x="-3193" y="44627"/>
                              <a:pt x="2493" y="58418"/>
                            </a:cubicBezTo>
                            <a:lnTo>
                              <a:pt x="2493" y="58418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985" name="Freihandform: Form 984">
                        <a:extLst>
                          <a:ext uri="{FF2B5EF4-FFF2-40B4-BE49-F238E27FC236}">
                            <a16:creationId xmlns:a16="http://schemas.microsoft.com/office/drawing/2014/main" id="{1D16DAE5-D5ED-22A8-54CA-79DFCCE1A4B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10819" y="3786350"/>
                        <a:ext cx="62106" cy="74155"/>
                      </a:xfrm>
                      <a:custGeom>
                        <a:avLst/>
                        <a:gdLst>
                          <a:gd name="connsiteX0" fmla="*/ 5381 w 62106"/>
                          <a:gd name="connsiteY0" fmla="*/ 74156 h 74155"/>
                          <a:gd name="connsiteX1" fmla="*/ 50080 w 62106"/>
                          <a:gd name="connsiteY1" fmla="*/ 45546 h 74155"/>
                          <a:gd name="connsiteX2" fmla="*/ 55766 w 62106"/>
                          <a:gd name="connsiteY2" fmla="*/ 3569 h 74155"/>
                          <a:gd name="connsiteX3" fmla="*/ 50927 w 62106"/>
                          <a:gd name="connsiteY3" fmla="*/ 0 h 74155"/>
                          <a:gd name="connsiteX4" fmla="*/ 7801 w 62106"/>
                          <a:gd name="connsiteY4" fmla="*/ 41917 h 74155"/>
                          <a:gd name="connsiteX5" fmla="*/ 5381 w 62106"/>
                          <a:gd name="connsiteY5" fmla="*/ 74095 h 74155"/>
                          <a:gd name="connsiteX6" fmla="*/ 5381 w 62106"/>
                          <a:gd name="connsiteY6" fmla="*/ 74095 h 7415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2106" h="74155">
                            <a:moveTo>
                              <a:pt x="5381" y="74156"/>
                            </a:moveTo>
                            <a:lnTo>
                              <a:pt x="50080" y="45546"/>
                            </a:lnTo>
                            <a:cubicBezTo>
                              <a:pt x="63508" y="36776"/>
                              <a:pt x="66109" y="17601"/>
                              <a:pt x="55766" y="3569"/>
                            </a:cubicBezTo>
                            <a:lnTo>
                              <a:pt x="50927" y="0"/>
                            </a:lnTo>
                            <a:lnTo>
                              <a:pt x="7801" y="41917"/>
                            </a:lnTo>
                            <a:cubicBezTo>
                              <a:pt x="-2603" y="50506"/>
                              <a:pt x="-1756" y="61393"/>
                              <a:pt x="5381" y="74095"/>
                            </a:cubicBezTo>
                            <a:lnTo>
                              <a:pt x="5381" y="7409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986" name="Freihandform: Form 985">
                        <a:extLst>
                          <a:ext uri="{FF2B5EF4-FFF2-40B4-BE49-F238E27FC236}">
                            <a16:creationId xmlns:a16="http://schemas.microsoft.com/office/drawing/2014/main" id="{52F47284-3FF1-D61C-7788-9E4DAF125CE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44011" y="3753599"/>
                        <a:ext cx="42594" cy="70796"/>
                      </a:xfrm>
                      <a:custGeom>
                        <a:avLst/>
                        <a:gdLst>
                          <a:gd name="connsiteX0" fmla="*/ 42595 w 42594"/>
                          <a:gd name="connsiteY0" fmla="*/ 9343 h 70796"/>
                          <a:gd name="connsiteX1" fmla="*/ 28139 w 42594"/>
                          <a:gd name="connsiteY1" fmla="*/ 64506 h 70796"/>
                          <a:gd name="connsiteX2" fmla="*/ 24207 w 42594"/>
                          <a:gd name="connsiteY2" fmla="*/ 70797 h 70796"/>
                          <a:gd name="connsiteX3" fmla="*/ 194 w 42594"/>
                          <a:gd name="connsiteY3" fmla="*/ 37167 h 70796"/>
                          <a:gd name="connsiteX4" fmla="*/ 2976 w 42594"/>
                          <a:gd name="connsiteY4" fmla="*/ 6561 h 70796"/>
                          <a:gd name="connsiteX5" fmla="*/ 42595 w 42594"/>
                          <a:gd name="connsiteY5" fmla="*/ 9343 h 7079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42594" h="70796">
                            <a:moveTo>
                              <a:pt x="42595" y="9343"/>
                            </a:moveTo>
                            <a:cubicBezTo>
                              <a:pt x="39813" y="20775"/>
                              <a:pt x="28139" y="64506"/>
                              <a:pt x="28139" y="64506"/>
                            </a:cubicBezTo>
                            <a:lnTo>
                              <a:pt x="24207" y="70797"/>
                            </a:lnTo>
                            <a:cubicBezTo>
                              <a:pt x="7997" y="67047"/>
                              <a:pt x="-1500" y="52409"/>
                              <a:pt x="194" y="37167"/>
                            </a:cubicBezTo>
                            <a:lnTo>
                              <a:pt x="2976" y="6561"/>
                            </a:lnTo>
                            <a:cubicBezTo>
                              <a:pt x="9751" y="-2633"/>
                              <a:pt x="39873" y="-2573"/>
                              <a:pt x="42595" y="9343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970" name="Grafik 297">
                      <a:extLst>
                        <a:ext uri="{FF2B5EF4-FFF2-40B4-BE49-F238E27FC236}">
                          <a16:creationId xmlns:a16="http://schemas.microsoft.com/office/drawing/2014/main" id="{EB9176DD-EC5E-8B28-5B63-2B3E651C578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90326" y="3742989"/>
                      <a:ext cx="85513" cy="158526"/>
                      <a:chOff x="11990326" y="3742989"/>
                      <a:chExt cx="85513" cy="158526"/>
                    </a:xfrm>
                    <a:solidFill>
                      <a:srgbClr val="02787D"/>
                    </a:solidFill>
                  </p:grpSpPr>
                  <p:sp>
                    <p:nvSpPr>
                      <p:cNvPr id="981" name="Freihandform: Form 980">
                        <a:extLst>
                          <a:ext uri="{FF2B5EF4-FFF2-40B4-BE49-F238E27FC236}">
                            <a16:creationId xmlns:a16="http://schemas.microsoft.com/office/drawing/2014/main" id="{791A0943-EE25-DE5C-A6C1-56BB70710DC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90326" y="3824551"/>
                        <a:ext cx="38110" cy="76964"/>
                      </a:xfrm>
                      <a:custGeom>
                        <a:avLst/>
                        <a:gdLst>
                          <a:gd name="connsiteX0" fmla="*/ 8575 w 38110"/>
                          <a:gd name="connsiteY0" fmla="*/ 76904 h 76964"/>
                          <a:gd name="connsiteX1" fmla="*/ 31076 w 38110"/>
                          <a:gd name="connsiteY1" fmla="*/ 46298 h 76964"/>
                          <a:gd name="connsiteX2" fmla="*/ 33012 w 38110"/>
                          <a:gd name="connsiteY2" fmla="*/ 6498 h 76964"/>
                          <a:gd name="connsiteX3" fmla="*/ 27870 w 38110"/>
                          <a:gd name="connsiteY3" fmla="*/ 147 h 76964"/>
                          <a:gd name="connsiteX4" fmla="*/ 5491 w 38110"/>
                          <a:gd name="connsiteY4" fmla="*/ 41157 h 76964"/>
                          <a:gd name="connsiteX5" fmla="*/ 8515 w 38110"/>
                          <a:gd name="connsiteY5" fmla="*/ 76964 h 76964"/>
                          <a:gd name="connsiteX6" fmla="*/ 8515 w 38110"/>
                          <a:gd name="connsiteY6" fmla="*/ 76964 h 769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8110" h="76964">
                            <a:moveTo>
                              <a:pt x="8575" y="76904"/>
                            </a:moveTo>
                            <a:lnTo>
                              <a:pt x="31076" y="46298"/>
                            </a:lnTo>
                            <a:cubicBezTo>
                              <a:pt x="39484" y="34563"/>
                              <a:pt x="40633" y="19805"/>
                              <a:pt x="33012" y="6498"/>
                            </a:cubicBezTo>
                            <a:cubicBezTo>
                              <a:pt x="30592" y="2204"/>
                              <a:pt x="28536" y="-700"/>
                              <a:pt x="27870" y="147"/>
                            </a:cubicBezTo>
                            <a:cubicBezTo>
                              <a:pt x="26540" y="1780"/>
                              <a:pt x="16922" y="19200"/>
                              <a:pt x="5491" y="41157"/>
                            </a:cubicBezTo>
                            <a:cubicBezTo>
                              <a:pt x="-1707" y="55008"/>
                              <a:pt x="-2917" y="65109"/>
                              <a:pt x="8515" y="76964"/>
                            </a:cubicBezTo>
                            <a:lnTo>
                              <a:pt x="8515" y="76964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982" name="Freihandform: Form 981">
                        <a:extLst>
                          <a:ext uri="{FF2B5EF4-FFF2-40B4-BE49-F238E27FC236}">
                            <a16:creationId xmlns:a16="http://schemas.microsoft.com/office/drawing/2014/main" id="{E9761685-7E54-5D1E-0D90-0B7A9067DD8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05558" y="3796330"/>
                        <a:ext cx="52356" cy="76575"/>
                      </a:xfrm>
                      <a:custGeom>
                        <a:avLst/>
                        <a:gdLst>
                          <a:gd name="connsiteX0" fmla="*/ 14271 w 52356"/>
                          <a:gd name="connsiteY0" fmla="*/ 76575 h 76575"/>
                          <a:gd name="connsiteX1" fmla="*/ 48144 w 52356"/>
                          <a:gd name="connsiteY1" fmla="*/ 28852 h 76575"/>
                          <a:gd name="connsiteX2" fmla="*/ 29817 w 52356"/>
                          <a:gd name="connsiteY2" fmla="*/ 1815 h 76575"/>
                          <a:gd name="connsiteX3" fmla="*/ 27518 w 52356"/>
                          <a:gd name="connsiteY3" fmla="*/ 0 h 76575"/>
                          <a:gd name="connsiteX4" fmla="*/ 3384 w 52356"/>
                          <a:gd name="connsiteY4" fmla="*/ 42280 h 76575"/>
                          <a:gd name="connsiteX5" fmla="*/ 13425 w 52356"/>
                          <a:gd name="connsiteY5" fmla="*/ 75910 h 76575"/>
                          <a:gd name="connsiteX6" fmla="*/ 14271 w 52356"/>
                          <a:gd name="connsiteY6" fmla="*/ 76575 h 7657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2356" h="76575">
                            <a:moveTo>
                              <a:pt x="14271" y="76575"/>
                            </a:moveTo>
                            <a:lnTo>
                              <a:pt x="48144" y="28852"/>
                            </a:lnTo>
                            <a:cubicBezTo>
                              <a:pt x="58366" y="14396"/>
                              <a:pt x="49111" y="6714"/>
                              <a:pt x="29817" y="1815"/>
                            </a:cubicBezTo>
                            <a:lnTo>
                              <a:pt x="27518" y="0"/>
                            </a:lnTo>
                            <a:lnTo>
                              <a:pt x="3384" y="42280"/>
                            </a:lnTo>
                            <a:cubicBezTo>
                              <a:pt x="-3814" y="55284"/>
                              <a:pt x="904" y="65809"/>
                              <a:pt x="13425" y="75910"/>
                            </a:cubicBezTo>
                            <a:lnTo>
                              <a:pt x="14271" y="7657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983" name="Freihandform: Form 982">
                        <a:extLst>
                          <a:ext uri="{FF2B5EF4-FFF2-40B4-BE49-F238E27FC236}">
                            <a16:creationId xmlns:a16="http://schemas.microsoft.com/office/drawing/2014/main" id="{3BFE5529-C720-1A82-020E-FABC3A0F4DE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31820" y="3742989"/>
                        <a:ext cx="44019" cy="76991"/>
                      </a:xfrm>
                      <a:custGeom>
                        <a:avLst/>
                        <a:gdLst>
                          <a:gd name="connsiteX0" fmla="*/ 43959 w 44019"/>
                          <a:gd name="connsiteY0" fmla="*/ 12090 h 76991"/>
                          <a:gd name="connsiteX1" fmla="*/ 24725 w 44019"/>
                          <a:gd name="connsiteY1" fmla="*/ 76991 h 76991"/>
                          <a:gd name="connsiteX2" fmla="*/ 228 w 44019"/>
                          <a:gd name="connsiteY2" fmla="*/ 53886 h 76991"/>
                          <a:gd name="connsiteX3" fmla="*/ 4764 w 44019"/>
                          <a:gd name="connsiteY3" fmla="*/ 5981 h 76991"/>
                          <a:gd name="connsiteX4" fmla="*/ 44019 w 44019"/>
                          <a:gd name="connsiteY4" fmla="*/ 12150 h 7699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44019" h="76991">
                            <a:moveTo>
                              <a:pt x="43959" y="12090"/>
                            </a:moveTo>
                            <a:cubicBezTo>
                              <a:pt x="43778" y="13300"/>
                              <a:pt x="24725" y="76991"/>
                              <a:pt x="24725" y="76991"/>
                            </a:cubicBezTo>
                            <a:cubicBezTo>
                              <a:pt x="6881" y="72939"/>
                              <a:pt x="-1527" y="70640"/>
                              <a:pt x="228" y="53886"/>
                            </a:cubicBezTo>
                            <a:lnTo>
                              <a:pt x="4764" y="5981"/>
                            </a:lnTo>
                            <a:cubicBezTo>
                              <a:pt x="12143" y="-4181"/>
                              <a:pt x="40935" y="-915"/>
                              <a:pt x="44019" y="12150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971" name="Grafik 297">
                      <a:extLst>
                        <a:ext uri="{FF2B5EF4-FFF2-40B4-BE49-F238E27FC236}">
                          <a16:creationId xmlns:a16="http://schemas.microsoft.com/office/drawing/2014/main" id="{EAD8F424-E682-B93B-6665-A7A45CF9CE4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87985" y="3749196"/>
                      <a:ext cx="74487" cy="151835"/>
                      <a:chOff x="11987985" y="3749196"/>
                      <a:chExt cx="74487" cy="151835"/>
                    </a:xfrm>
                    <a:solidFill>
                      <a:srgbClr val="02787D"/>
                    </a:solidFill>
                  </p:grpSpPr>
                  <p:sp>
                    <p:nvSpPr>
                      <p:cNvPr id="978" name="Freihandform: Form 977">
                        <a:extLst>
                          <a:ext uri="{FF2B5EF4-FFF2-40B4-BE49-F238E27FC236}">
                            <a16:creationId xmlns:a16="http://schemas.microsoft.com/office/drawing/2014/main" id="{203D62DC-FF2F-AB3C-7D21-0D5AB8C15E1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87985" y="3830759"/>
                        <a:ext cx="34589" cy="70272"/>
                      </a:xfrm>
                      <a:custGeom>
                        <a:avLst/>
                        <a:gdLst>
                          <a:gd name="connsiteX0" fmla="*/ 10917 w 34589"/>
                          <a:gd name="connsiteY0" fmla="*/ 70273 h 70272"/>
                          <a:gd name="connsiteX1" fmla="*/ 29426 w 34589"/>
                          <a:gd name="connsiteY1" fmla="*/ 40393 h 70272"/>
                          <a:gd name="connsiteX2" fmla="*/ 27672 w 34589"/>
                          <a:gd name="connsiteY2" fmla="*/ 5371 h 70272"/>
                          <a:gd name="connsiteX3" fmla="*/ 21744 w 34589"/>
                          <a:gd name="connsiteY3" fmla="*/ 169 h 70272"/>
                          <a:gd name="connsiteX4" fmla="*/ 3356 w 34589"/>
                          <a:gd name="connsiteY4" fmla="*/ 38215 h 70272"/>
                          <a:gd name="connsiteX5" fmla="*/ 10978 w 34589"/>
                          <a:gd name="connsiteY5" fmla="*/ 70273 h 70272"/>
                          <a:gd name="connsiteX6" fmla="*/ 10978 w 34589"/>
                          <a:gd name="connsiteY6" fmla="*/ 70273 h 7027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4589" h="70272">
                            <a:moveTo>
                              <a:pt x="10917" y="70273"/>
                            </a:moveTo>
                            <a:lnTo>
                              <a:pt x="29426" y="40393"/>
                            </a:lnTo>
                            <a:cubicBezTo>
                              <a:pt x="36260" y="28961"/>
                              <a:pt x="36926" y="16743"/>
                              <a:pt x="27672" y="5371"/>
                            </a:cubicBezTo>
                            <a:cubicBezTo>
                              <a:pt x="24708" y="1742"/>
                              <a:pt x="22288" y="-677"/>
                              <a:pt x="21744" y="169"/>
                            </a:cubicBezTo>
                            <a:cubicBezTo>
                              <a:pt x="20655" y="1803"/>
                              <a:pt x="11885" y="17287"/>
                              <a:pt x="3356" y="38215"/>
                            </a:cubicBezTo>
                            <a:cubicBezTo>
                              <a:pt x="-2027" y="51461"/>
                              <a:pt x="-1906" y="60716"/>
                              <a:pt x="10978" y="70273"/>
                            </a:cubicBezTo>
                            <a:lnTo>
                              <a:pt x="10978" y="70273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979" name="Freihandform: Form 978">
                        <a:extLst>
                          <a:ext uri="{FF2B5EF4-FFF2-40B4-BE49-F238E27FC236}">
                            <a16:creationId xmlns:a16="http://schemas.microsoft.com/office/drawing/2014/main" id="{10AACDA2-D22E-F0FE-0AE4-9922ECD1D53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01678" y="3796330"/>
                        <a:ext cx="46919" cy="74881"/>
                      </a:xfrm>
                      <a:custGeom>
                        <a:avLst/>
                        <a:gdLst>
                          <a:gd name="connsiteX0" fmla="*/ 15672 w 46919"/>
                          <a:gd name="connsiteY0" fmla="*/ 74821 h 74881"/>
                          <a:gd name="connsiteX1" fmla="*/ 43556 w 46919"/>
                          <a:gd name="connsiteY1" fmla="*/ 28670 h 74881"/>
                          <a:gd name="connsiteX2" fmla="*/ 26741 w 46919"/>
                          <a:gd name="connsiteY2" fmla="*/ 0 h 74881"/>
                          <a:gd name="connsiteX3" fmla="*/ 22084 w 46919"/>
                          <a:gd name="connsiteY3" fmla="*/ 4960 h 74881"/>
                          <a:gd name="connsiteX4" fmla="*/ 2124 w 46919"/>
                          <a:gd name="connsiteY4" fmla="*/ 46393 h 74881"/>
                          <a:gd name="connsiteX5" fmla="*/ 15672 w 46919"/>
                          <a:gd name="connsiteY5" fmla="*/ 74881 h 74881"/>
                          <a:gd name="connsiteX6" fmla="*/ 15672 w 46919"/>
                          <a:gd name="connsiteY6" fmla="*/ 74881 h 74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6919" h="74881">
                            <a:moveTo>
                              <a:pt x="15672" y="74821"/>
                            </a:moveTo>
                            <a:lnTo>
                              <a:pt x="43556" y="28670"/>
                            </a:lnTo>
                            <a:cubicBezTo>
                              <a:pt x="51843" y="14577"/>
                              <a:pt x="44282" y="7561"/>
                              <a:pt x="26741" y="0"/>
                            </a:cubicBezTo>
                            <a:lnTo>
                              <a:pt x="22084" y="4960"/>
                            </a:lnTo>
                            <a:lnTo>
                              <a:pt x="2124" y="46393"/>
                            </a:lnTo>
                            <a:cubicBezTo>
                              <a:pt x="-3320" y="58853"/>
                              <a:pt x="1881" y="66958"/>
                              <a:pt x="15672" y="74881"/>
                            </a:cubicBezTo>
                            <a:lnTo>
                              <a:pt x="15672" y="74881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980" name="Freihandform: Form 979">
                        <a:extLst>
                          <a:ext uri="{FF2B5EF4-FFF2-40B4-BE49-F238E27FC236}">
                            <a16:creationId xmlns:a16="http://schemas.microsoft.com/office/drawing/2014/main" id="{B1873042-611B-1F0E-E2BC-5E06DF1162D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23561" y="3749196"/>
                        <a:ext cx="38911" cy="69332"/>
                      </a:xfrm>
                      <a:custGeom>
                        <a:avLst/>
                        <a:gdLst>
                          <a:gd name="connsiteX0" fmla="*/ 38851 w 38911"/>
                          <a:gd name="connsiteY0" fmla="*/ 6729 h 69332"/>
                          <a:gd name="connsiteX1" fmla="*/ 24576 w 38911"/>
                          <a:gd name="connsiteY1" fmla="*/ 69332 h 69332"/>
                          <a:gd name="connsiteX2" fmla="*/ 19 w 38911"/>
                          <a:gd name="connsiteY2" fmla="*/ 54392 h 69332"/>
                          <a:gd name="connsiteX3" fmla="*/ 3950 w 38911"/>
                          <a:gd name="connsiteY3" fmla="*/ 9814 h 69332"/>
                          <a:gd name="connsiteX4" fmla="*/ 38911 w 38911"/>
                          <a:gd name="connsiteY4" fmla="*/ 6729 h 6933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38911" h="69332">
                            <a:moveTo>
                              <a:pt x="38851" y="6729"/>
                            </a:moveTo>
                            <a:cubicBezTo>
                              <a:pt x="38790" y="7818"/>
                              <a:pt x="24576" y="69332"/>
                              <a:pt x="24576" y="69332"/>
                            </a:cubicBezTo>
                            <a:cubicBezTo>
                              <a:pt x="6370" y="66611"/>
                              <a:pt x="-405" y="69756"/>
                              <a:pt x="19" y="54392"/>
                            </a:cubicBezTo>
                            <a:lnTo>
                              <a:pt x="3950" y="9814"/>
                            </a:lnTo>
                            <a:cubicBezTo>
                              <a:pt x="10543" y="197"/>
                              <a:pt x="34798" y="-4944"/>
                              <a:pt x="38911" y="6729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972" name="Grafik 297">
                      <a:extLst>
                        <a:ext uri="{FF2B5EF4-FFF2-40B4-BE49-F238E27FC236}">
                          <a16:creationId xmlns:a16="http://schemas.microsoft.com/office/drawing/2014/main" id="{F4859DC8-A991-54D8-F673-18D0AD2D251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46098" y="3618585"/>
                      <a:ext cx="105739" cy="213190"/>
                      <a:chOff x="11946098" y="3618585"/>
                      <a:chExt cx="105739" cy="213190"/>
                    </a:xfrm>
                    <a:solidFill>
                      <a:srgbClr val="02787D"/>
                    </a:solidFill>
                  </p:grpSpPr>
                  <p:sp>
                    <p:nvSpPr>
                      <p:cNvPr id="975" name="Freihandform: Form 974">
                        <a:extLst>
                          <a:ext uri="{FF2B5EF4-FFF2-40B4-BE49-F238E27FC236}">
                            <a16:creationId xmlns:a16="http://schemas.microsoft.com/office/drawing/2014/main" id="{9B400B84-9544-4632-AF81-C4BE3ACAD03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58921" y="3744917"/>
                        <a:ext cx="32671" cy="86858"/>
                      </a:xfrm>
                      <a:custGeom>
                        <a:avLst/>
                        <a:gdLst>
                          <a:gd name="connsiteX0" fmla="*/ 12339 w 32671"/>
                          <a:gd name="connsiteY0" fmla="*/ 86858 h 86858"/>
                          <a:gd name="connsiteX1" fmla="*/ 0 w 32671"/>
                          <a:gd name="connsiteY1" fmla="*/ 44216 h 86858"/>
                          <a:gd name="connsiteX2" fmla="*/ 11673 w 32671"/>
                          <a:gd name="connsiteY2" fmla="*/ 2359 h 86858"/>
                          <a:gd name="connsiteX3" fmla="*/ 20202 w 32671"/>
                          <a:gd name="connsiteY3" fmla="*/ 1089 h 86858"/>
                          <a:gd name="connsiteX4" fmla="*/ 31997 w 32671"/>
                          <a:gd name="connsiteY4" fmla="*/ 52684 h 86858"/>
                          <a:gd name="connsiteX5" fmla="*/ 12399 w 32671"/>
                          <a:gd name="connsiteY5" fmla="*/ 86858 h 86858"/>
                          <a:gd name="connsiteX6" fmla="*/ 12399 w 32671"/>
                          <a:gd name="connsiteY6" fmla="*/ 86858 h 868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2671" h="86858">
                            <a:moveTo>
                              <a:pt x="12339" y="86858"/>
                            </a:moveTo>
                            <a:lnTo>
                              <a:pt x="0" y="44216"/>
                            </a:lnTo>
                            <a:cubicBezTo>
                              <a:pt x="1573" y="30304"/>
                              <a:pt x="3206" y="8771"/>
                              <a:pt x="11673" y="2359"/>
                            </a:cubicBezTo>
                            <a:cubicBezTo>
                              <a:pt x="16452" y="-1270"/>
                              <a:pt x="19779" y="121"/>
                              <a:pt x="20202" y="1089"/>
                            </a:cubicBezTo>
                            <a:cubicBezTo>
                              <a:pt x="23347" y="8226"/>
                              <a:pt x="28610" y="30909"/>
                              <a:pt x="31997" y="52684"/>
                            </a:cubicBezTo>
                            <a:cubicBezTo>
                              <a:pt x="34356" y="67805"/>
                              <a:pt x="31150" y="77906"/>
                              <a:pt x="12399" y="86858"/>
                            </a:cubicBezTo>
                            <a:lnTo>
                              <a:pt x="12399" y="86858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976" name="Freihandform: Form 975">
                        <a:extLst>
                          <a:ext uri="{FF2B5EF4-FFF2-40B4-BE49-F238E27FC236}">
                            <a16:creationId xmlns:a16="http://schemas.microsoft.com/office/drawing/2014/main" id="{B9D35EC7-9E62-BF51-52BE-996EE522E9D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46098" y="3716544"/>
                        <a:ext cx="49961" cy="74915"/>
                      </a:xfrm>
                      <a:custGeom>
                        <a:avLst/>
                        <a:gdLst>
                          <a:gd name="connsiteX0" fmla="*/ 0 w 49961"/>
                          <a:gd name="connsiteY0" fmla="*/ 6901 h 74915"/>
                          <a:gd name="connsiteX1" fmla="*/ 49961 w 49961"/>
                          <a:gd name="connsiteY1" fmla="*/ 13554 h 74915"/>
                          <a:gd name="connsiteX2" fmla="*/ 38651 w 49961"/>
                          <a:gd name="connsiteY2" fmla="*/ 49180 h 74915"/>
                          <a:gd name="connsiteX3" fmla="*/ 12823 w 49961"/>
                          <a:gd name="connsiteY3" fmla="*/ 72588 h 74915"/>
                          <a:gd name="connsiteX4" fmla="*/ 0 w 49961"/>
                          <a:gd name="connsiteY4" fmla="*/ 6901 h 7491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49961" h="74915">
                            <a:moveTo>
                              <a:pt x="0" y="6901"/>
                            </a:moveTo>
                            <a:cubicBezTo>
                              <a:pt x="16029" y="-11850"/>
                              <a:pt x="49961" y="13554"/>
                              <a:pt x="49961" y="13554"/>
                            </a:cubicBezTo>
                            <a:lnTo>
                              <a:pt x="38651" y="49180"/>
                            </a:lnTo>
                            <a:cubicBezTo>
                              <a:pt x="36836" y="64846"/>
                              <a:pt x="25404" y="81056"/>
                              <a:pt x="12823" y="72588"/>
                            </a:cubicBezTo>
                            <a:cubicBezTo>
                              <a:pt x="12823" y="72588"/>
                              <a:pt x="61" y="6175"/>
                              <a:pt x="0" y="6901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977" name="Freihandform: Form 976">
                        <a:extLst>
                          <a:ext uri="{FF2B5EF4-FFF2-40B4-BE49-F238E27FC236}">
                            <a16:creationId xmlns:a16="http://schemas.microsoft.com/office/drawing/2014/main" id="{08D1D902-D2C3-2A1D-6E36-50DF0C491E7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46098" y="3618585"/>
                        <a:ext cx="105739" cy="122980"/>
                      </a:xfrm>
                      <a:custGeom>
                        <a:avLst/>
                        <a:gdLst>
                          <a:gd name="connsiteX0" fmla="*/ 13005 w 105739"/>
                          <a:gd name="connsiteY0" fmla="*/ 52237 h 122980"/>
                          <a:gd name="connsiteX1" fmla="*/ 0 w 105739"/>
                          <a:gd name="connsiteY1" fmla="*/ 104860 h 122980"/>
                          <a:gd name="connsiteX2" fmla="*/ 0 w 105739"/>
                          <a:gd name="connsiteY2" fmla="*/ 104860 h 122980"/>
                          <a:gd name="connsiteX3" fmla="*/ 49598 w 105739"/>
                          <a:gd name="connsiteY3" fmla="*/ 112360 h 122980"/>
                          <a:gd name="connsiteX4" fmla="*/ 96475 w 105739"/>
                          <a:gd name="connsiteY4" fmla="*/ 56532 h 122980"/>
                          <a:gd name="connsiteX5" fmla="*/ 47300 w 105739"/>
                          <a:gd name="connsiteY5" fmla="*/ 3244 h 122980"/>
                          <a:gd name="connsiteX6" fmla="*/ 12944 w 105739"/>
                          <a:gd name="connsiteY6" fmla="*/ 52237 h 12298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105739" h="122980">
                            <a:moveTo>
                              <a:pt x="13005" y="52237"/>
                            </a:moveTo>
                            <a:cubicBezTo>
                              <a:pt x="7561" y="66875"/>
                              <a:pt x="0" y="104860"/>
                              <a:pt x="0" y="104860"/>
                            </a:cubicBezTo>
                            <a:lnTo>
                              <a:pt x="0" y="104860"/>
                            </a:lnTo>
                            <a:cubicBezTo>
                              <a:pt x="5685" y="123853"/>
                              <a:pt x="34114" y="130385"/>
                              <a:pt x="49598" y="112360"/>
                            </a:cubicBezTo>
                            <a:cubicBezTo>
                              <a:pt x="49598" y="112360"/>
                              <a:pt x="65083" y="73286"/>
                              <a:pt x="96475" y="56532"/>
                            </a:cubicBezTo>
                            <a:cubicBezTo>
                              <a:pt x="123633" y="42015"/>
                              <a:pt x="86192" y="-13934"/>
                              <a:pt x="47300" y="3244"/>
                            </a:cubicBezTo>
                            <a:cubicBezTo>
                              <a:pt x="27642" y="23204"/>
                              <a:pt x="12944" y="52237"/>
                              <a:pt x="12944" y="52237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973" name="Freihandform: Form 972">
                      <a:extLst>
                        <a:ext uri="{FF2B5EF4-FFF2-40B4-BE49-F238E27FC236}">
                          <a16:creationId xmlns:a16="http://schemas.microsoft.com/office/drawing/2014/main" id="{7F901177-0E47-5796-356D-D51D55C45FF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52267" y="3601082"/>
                      <a:ext cx="137060" cy="179703"/>
                    </a:xfrm>
                    <a:custGeom>
                      <a:avLst/>
                      <a:gdLst>
                        <a:gd name="connsiteX0" fmla="*/ 137061 w 137060"/>
                        <a:gd name="connsiteY0" fmla="*/ 137243 h 179703"/>
                        <a:gd name="connsiteX1" fmla="*/ 128895 w 137060"/>
                        <a:gd name="connsiteY1" fmla="*/ 10645 h 179703"/>
                        <a:gd name="connsiteX2" fmla="*/ 44578 w 137060"/>
                        <a:gd name="connsiteY2" fmla="*/ 0 h 179703"/>
                        <a:gd name="connsiteX3" fmla="*/ 36352 w 137060"/>
                        <a:gd name="connsiteY3" fmla="*/ 21352 h 179703"/>
                        <a:gd name="connsiteX4" fmla="*/ 0 w 137060"/>
                        <a:gd name="connsiteY4" fmla="*/ 96778 h 179703"/>
                        <a:gd name="connsiteX5" fmla="*/ 45183 w 137060"/>
                        <a:gd name="connsiteY5" fmla="*/ 123633 h 179703"/>
                        <a:gd name="connsiteX6" fmla="*/ 74216 w 137060"/>
                        <a:gd name="connsiteY6" fmla="*/ 179704 h 179703"/>
                        <a:gd name="connsiteX7" fmla="*/ 134339 w 137060"/>
                        <a:gd name="connsiteY7" fmla="*/ 161921 h 179703"/>
                        <a:gd name="connsiteX8" fmla="*/ 137061 w 137060"/>
                        <a:gd name="connsiteY8" fmla="*/ 137303 h 1797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37060" h="179703">
                          <a:moveTo>
                            <a:pt x="137061" y="137243"/>
                          </a:moveTo>
                          <a:cubicBezTo>
                            <a:pt x="133130" y="104580"/>
                            <a:pt x="128774" y="66232"/>
                            <a:pt x="128895" y="10645"/>
                          </a:cubicBezTo>
                          <a:lnTo>
                            <a:pt x="44578" y="0"/>
                          </a:lnTo>
                          <a:cubicBezTo>
                            <a:pt x="42219" y="13972"/>
                            <a:pt x="38651" y="19537"/>
                            <a:pt x="36352" y="21352"/>
                          </a:cubicBezTo>
                          <a:cubicBezTo>
                            <a:pt x="1693" y="48510"/>
                            <a:pt x="0" y="96778"/>
                            <a:pt x="0" y="96778"/>
                          </a:cubicBezTo>
                          <a:cubicBezTo>
                            <a:pt x="61" y="101374"/>
                            <a:pt x="31331" y="97624"/>
                            <a:pt x="45183" y="123633"/>
                          </a:cubicBezTo>
                          <a:cubicBezTo>
                            <a:pt x="49115" y="131012"/>
                            <a:pt x="73671" y="141174"/>
                            <a:pt x="74216" y="179704"/>
                          </a:cubicBezTo>
                          <a:cubicBezTo>
                            <a:pt x="116435" y="145832"/>
                            <a:pt x="132585" y="160953"/>
                            <a:pt x="134339" y="161921"/>
                          </a:cubicBezTo>
                          <a:cubicBezTo>
                            <a:pt x="134823" y="152183"/>
                            <a:pt x="136759" y="143957"/>
                            <a:pt x="137061" y="137303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74" name="Freihandform: Form 973">
                      <a:extLst>
                        <a:ext uri="{FF2B5EF4-FFF2-40B4-BE49-F238E27FC236}">
                          <a16:creationId xmlns:a16="http://schemas.microsoft.com/office/drawing/2014/main" id="{D4B70A48-2F83-4CEC-4A9A-928ED6CB76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96180" y="3566242"/>
                      <a:ext cx="85164" cy="85164"/>
                    </a:xfrm>
                    <a:custGeom>
                      <a:avLst/>
                      <a:gdLst>
                        <a:gd name="connsiteX0" fmla="*/ 85164 w 85164"/>
                        <a:gd name="connsiteY0" fmla="*/ 42582 h 85164"/>
                        <a:gd name="connsiteX1" fmla="*/ 42582 w 85164"/>
                        <a:gd name="connsiteY1" fmla="*/ 85164 h 85164"/>
                        <a:gd name="connsiteX2" fmla="*/ 0 w 85164"/>
                        <a:gd name="connsiteY2" fmla="*/ 42582 h 85164"/>
                        <a:gd name="connsiteX3" fmla="*/ 42582 w 85164"/>
                        <a:gd name="connsiteY3" fmla="*/ 0 h 85164"/>
                        <a:gd name="connsiteX4" fmla="*/ 85164 w 85164"/>
                        <a:gd name="connsiteY4" fmla="*/ 42582 h 851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5164" h="85164">
                          <a:moveTo>
                            <a:pt x="85164" y="42582"/>
                          </a:moveTo>
                          <a:cubicBezTo>
                            <a:pt x="85164" y="66100"/>
                            <a:pt x="66100" y="85164"/>
                            <a:pt x="42582" y="85164"/>
                          </a:cubicBezTo>
                          <a:cubicBezTo>
                            <a:pt x="19065" y="85164"/>
                            <a:pt x="0" y="66100"/>
                            <a:pt x="0" y="42582"/>
                          </a:cubicBezTo>
                          <a:cubicBezTo>
                            <a:pt x="0" y="19065"/>
                            <a:pt x="19064" y="0"/>
                            <a:pt x="42582" y="0"/>
                          </a:cubicBezTo>
                          <a:cubicBezTo>
                            <a:pt x="66099" y="0"/>
                            <a:pt x="85164" y="19065"/>
                            <a:pt x="85164" y="42582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sp>
              <p:nvSpPr>
                <p:cNvPr id="889" name="Freihandform: Form 888">
                  <a:extLst>
                    <a:ext uri="{FF2B5EF4-FFF2-40B4-BE49-F238E27FC236}">
                      <a16:creationId xmlns:a16="http://schemas.microsoft.com/office/drawing/2014/main" id="{73B40B95-475F-DF95-8408-CE48D75C7F14}"/>
                    </a:ext>
                  </a:extLst>
                </p:cNvPr>
                <p:cNvSpPr/>
                <p:nvPr/>
              </p:nvSpPr>
              <p:spPr>
                <a:xfrm>
                  <a:off x="11321277" y="3386780"/>
                  <a:ext cx="363036" cy="363036"/>
                </a:xfrm>
                <a:custGeom>
                  <a:avLst/>
                  <a:gdLst>
                    <a:gd name="connsiteX0" fmla="*/ 363037 w 363036"/>
                    <a:gd name="connsiteY0" fmla="*/ 181518 h 363036"/>
                    <a:gd name="connsiteX1" fmla="*/ 181518 w 363036"/>
                    <a:gd name="connsiteY1" fmla="*/ 363037 h 363036"/>
                    <a:gd name="connsiteX2" fmla="*/ 0 w 363036"/>
                    <a:gd name="connsiteY2" fmla="*/ 181518 h 363036"/>
                    <a:gd name="connsiteX3" fmla="*/ 181518 w 363036"/>
                    <a:gd name="connsiteY3" fmla="*/ 0 h 363036"/>
                    <a:gd name="connsiteX4" fmla="*/ 363037 w 363036"/>
                    <a:gd name="connsiteY4" fmla="*/ 181518 h 3630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3036" h="363036">
                      <a:moveTo>
                        <a:pt x="363037" y="181518"/>
                      </a:moveTo>
                      <a:cubicBezTo>
                        <a:pt x="363037" y="281768"/>
                        <a:pt x="281768" y="363037"/>
                        <a:pt x="181518" y="363037"/>
                      </a:cubicBezTo>
                      <a:cubicBezTo>
                        <a:pt x="81268" y="363037"/>
                        <a:pt x="0" y="281768"/>
                        <a:pt x="0" y="181518"/>
                      </a:cubicBezTo>
                      <a:cubicBezTo>
                        <a:pt x="0" y="81269"/>
                        <a:pt x="81268" y="0"/>
                        <a:pt x="181518" y="0"/>
                      </a:cubicBezTo>
                      <a:cubicBezTo>
                        <a:pt x="281768" y="0"/>
                        <a:pt x="363037" y="81269"/>
                        <a:pt x="363037" y="181518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90" name="Freihandform: Form 889">
                  <a:extLst>
                    <a:ext uri="{FF2B5EF4-FFF2-40B4-BE49-F238E27FC236}">
                      <a16:creationId xmlns:a16="http://schemas.microsoft.com/office/drawing/2014/main" id="{3CD414D8-C45F-1653-9849-36E93F06BF5A}"/>
                    </a:ext>
                  </a:extLst>
                </p:cNvPr>
                <p:cNvSpPr/>
                <p:nvPr/>
              </p:nvSpPr>
              <p:spPr>
                <a:xfrm>
                  <a:off x="11686068" y="3386780"/>
                  <a:ext cx="366302" cy="366303"/>
                </a:xfrm>
                <a:custGeom>
                  <a:avLst/>
                  <a:gdLst>
                    <a:gd name="connsiteX0" fmla="*/ 366303 w 366302"/>
                    <a:gd name="connsiteY0" fmla="*/ 183151 h 366303"/>
                    <a:gd name="connsiteX1" fmla="*/ 183151 w 366302"/>
                    <a:gd name="connsiteY1" fmla="*/ 366303 h 366303"/>
                    <a:gd name="connsiteX2" fmla="*/ -1 w 366302"/>
                    <a:gd name="connsiteY2" fmla="*/ 183151 h 366303"/>
                    <a:gd name="connsiteX3" fmla="*/ 183151 w 366302"/>
                    <a:gd name="connsiteY3" fmla="*/ 0 h 366303"/>
                    <a:gd name="connsiteX4" fmla="*/ 366303 w 366302"/>
                    <a:gd name="connsiteY4" fmla="*/ 183151 h 3663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6302" h="366303">
                      <a:moveTo>
                        <a:pt x="366303" y="183151"/>
                      </a:moveTo>
                      <a:cubicBezTo>
                        <a:pt x="366303" y="284303"/>
                        <a:pt x="284303" y="366303"/>
                        <a:pt x="183151" y="366303"/>
                      </a:cubicBezTo>
                      <a:cubicBezTo>
                        <a:pt x="82000" y="366303"/>
                        <a:pt x="-1" y="284303"/>
                        <a:pt x="-1" y="183151"/>
                      </a:cubicBezTo>
                      <a:cubicBezTo>
                        <a:pt x="-1" y="82000"/>
                        <a:pt x="81999" y="0"/>
                        <a:pt x="183151" y="0"/>
                      </a:cubicBezTo>
                      <a:cubicBezTo>
                        <a:pt x="284303" y="0"/>
                        <a:pt x="366303" y="82000"/>
                        <a:pt x="366303" y="183151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91" name="Freihandform: Form 890">
                  <a:extLst>
                    <a:ext uri="{FF2B5EF4-FFF2-40B4-BE49-F238E27FC236}">
                      <a16:creationId xmlns:a16="http://schemas.microsoft.com/office/drawing/2014/main" id="{4DE5F359-2BB1-5BBF-93C8-51CC9D2827AB}"/>
                    </a:ext>
                  </a:extLst>
                </p:cNvPr>
                <p:cNvSpPr/>
                <p:nvPr/>
              </p:nvSpPr>
              <p:spPr>
                <a:xfrm>
                  <a:off x="11431967" y="2413137"/>
                  <a:ext cx="543949" cy="331530"/>
                </a:xfrm>
                <a:custGeom>
                  <a:avLst/>
                  <a:gdLst>
                    <a:gd name="connsiteX0" fmla="*/ 255129 w 543949"/>
                    <a:gd name="connsiteY0" fmla="*/ 331524 h 331530"/>
                    <a:gd name="connsiteX1" fmla="*/ 543950 w 543949"/>
                    <a:gd name="connsiteY1" fmla="*/ 92544 h 331530"/>
                    <a:gd name="connsiteX2" fmla="*/ 374045 w 543949"/>
                    <a:gd name="connsiteY2" fmla="*/ 35929 h 331530"/>
                    <a:gd name="connsiteX3" fmla="*/ 254706 w 543949"/>
                    <a:gd name="connsiteY3" fmla="*/ 0 h 331530"/>
                    <a:gd name="connsiteX4" fmla="*/ 126960 w 543949"/>
                    <a:gd name="connsiteY4" fmla="*/ 37743 h 331530"/>
                    <a:gd name="connsiteX5" fmla="*/ 0 w 543949"/>
                    <a:gd name="connsiteY5" fmla="*/ 79720 h 331530"/>
                    <a:gd name="connsiteX6" fmla="*/ 255129 w 543949"/>
                    <a:gd name="connsiteY6" fmla="*/ 331524 h 331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43949" h="331530">
                      <a:moveTo>
                        <a:pt x="255129" y="331524"/>
                      </a:moveTo>
                      <a:cubicBezTo>
                        <a:pt x="466710" y="332975"/>
                        <a:pt x="543950" y="92544"/>
                        <a:pt x="543950" y="92544"/>
                      </a:cubicBezTo>
                      <a:lnTo>
                        <a:pt x="374045" y="35929"/>
                      </a:lnTo>
                      <a:lnTo>
                        <a:pt x="254706" y="0"/>
                      </a:lnTo>
                      <a:lnTo>
                        <a:pt x="126960" y="37743"/>
                      </a:lnTo>
                      <a:lnTo>
                        <a:pt x="0" y="79720"/>
                      </a:lnTo>
                      <a:cubicBezTo>
                        <a:pt x="0" y="79720"/>
                        <a:pt x="43610" y="330072"/>
                        <a:pt x="255129" y="331524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92" name="Freihandform: Form 891">
                  <a:extLst>
                    <a:ext uri="{FF2B5EF4-FFF2-40B4-BE49-F238E27FC236}">
                      <a16:creationId xmlns:a16="http://schemas.microsoft.com/office/drawing/2014/main" id="{B37707A5-6D9C-DE04-93FD-CA8901282368}"/>
                    </a:ext>
                  </a:extLst>
                </p:cNvPr>
                <p:cNvSpPr/>
                <p:nvPr/>
              </p:nvSpPr>
              <p:spPr>
                <a:xfrm>
                  <a:off x="11358295" y="2428077"/>
                  <a:ext cx="321746" cy="175911"/>
                </a:xfrm>
                <a:custGeom>
                  <a:avLst/>
                  <a:gdLst>
                    <a:gd name="connsiteX0" fmla="*/ 317370 w 321746"/>
                    <a:gd name="connsiteY0" fmla="*/ 148554 h 175911"/>
                    <a:gd name="connsiteX1" fmla="*/ 275514 w 321746"/>
                    <a:gd name="connsiteY1" fmla="*/ 15122 h 175911"/>
                    <a:gd name="connsiteX2" fmla="*/ 277752 w 321746"/>
                    <a:gd name="connsiteY2" fmla="*/ 0 h 175911"/>
                    <a:gd name="connsiteX3" fmla="*/ 200572 w 321746"/>
                    <a:gd name="connsiteY3" fmla="*/ 22803 h 175911"/>
                    <a:gd name="connsiteX4" fmla="*/ 0 w 321746"/>
                    <a:gd name="connsiteY4" fmla="*/ 89156 h 175911"/>
                    <a:gd name="connsiteX5" fmla="*/ 317310 w 321746"/>
                    <a:gd name="connsiteY5" fmla="*/ 148554 h 1759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1746" h="175911">
                      <a:moveTo>
                        <a:pt x="317370" y="148554"/>
                      </a:moveTo>
                      <a:cubicBezTo>
                        <a:pt x="338721" y="126113"/>
                        <a:pt x="274970" y="91757"/>
                        <a:pt x="275514" y="15122"/>
                      </a:cubicBezTo>
                      <a:cubicBezTo>
                        <a:pt x="275514" y="9496"/>
                        <a:pt x="276482" y="4597"/>
                        <a:pt x="277752" y="0"/>
                      </a:cubicBezTo>
                      <a:lnTo>
                        <a:pt x="200572" y="22803"/>
                      </a:lnTo>
                      <a:lnTo>
                        <a:pt x="0" y="89156"/>
                      </a:lnTo>
                      <a:cubicBezTo>
                        <a:pt x="21110" y="129682"/>
                        <a:pt x="138574" y="221621"/>
                        <a:pt x="317310" y="148554"/>
                      </a:cubicBez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93" name="Freihandform: Form 892">
                  <a:extLst>
                    <a:ext uri="{FF2B5EF4-FFF2-40B4-BE49-F238E27FC236}">
                      <a16:creationId xmlns:a16="http://schemas.microsoft.com/office/drawing/2014/main" id="{DAE55B0D-BAA8-A39F-26F1-23C5F1C34C5A}"/>
                    </a:ext>
                  </a:extLst>
                </p:cNvPr>
                <p:cNvSpPr/>
                <p:nvPr/>
              </p:nvSpPr>
              <p:spPr>
                <a:xfrm>
                  <a:off x="11594311" y="4818059"/>
                  <a:ext cx="146013" cy="183695"/>
                </a:xfrm>
                <a:custGeom>
                  <a:avLst/>
                  <a:gdLst>
                    <a:gd name="connsiteX0" fmla="*/ 0 w 146013"/>
                    <a:gd name="connsiteY0" fmla="*/ 18146 h 183695"/>
                    <a:gd name="connsiteX1" fmla="*/ 54558 w 146013"/>
                    <a:gd name="connsiteY1" fmla="*/ 183696 h 183695"/>
                    <a:gd name="connsiteX2" fmla="*/ 146013 w 146013"/>
                    <a:gd name="connsiteY2" fmla="*/ 170691 h 183695"/>
                    <a:gd name="connsiteX3" fmla="*/ 127807 w 146013"/>
                    <a:gd name="connsiteY3" fmla="*/ 0 h 183695"/>
                    <a:gd name="connsiteX4" fmla="*/ 0 w 146013"/>
                    <a:gd name="connsiteY4" fmla="*/ 18206 h 183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013" h="183695">
                      <a:moveTo>
                        <a:pt x="0" y="18146"/>
                      </a:moveTo>
                      <a:cubicBezTo>
                        <a:pt x="22501" y="79176"/>
                        <a:pt x="43308" y="138876"/>
                        <a:pt x="54558" y="183696"/>
                      </a:cubicBezTo>
                      <a:lnTo>
                        <a:pt x="146013" y="170691"/>
                      </a:lnTo>
                      <a:cubicBezTo>
                        <a:pt x="146013" y="170691"/>
                        <a:pt x="137484" y="91999"/>
                        <a:pt x="127807" y="0"/>
                      </a:cubicBezTo>
                      <a:lnTo>
                        <a:pt x="0" y="18206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94" name="Freihandform: Form 893">
                  <a:extLst>
                    <a:ext uri="{FF2B5EF4-FFF2-40B4-BE49-F238E27FC236}">
                      <a16:creationId xmlns:a16="http://schemas.microsoft.com/office/drawing/2014/main" id="{B1335798-3495-624A-BFDA-F5C0C789F79A}"/>
                    </a:ext>
                  </a:extLst>
                </p:cNvPr>
                <p:cNvSpPr/>
                <p:nvPr/>
              </p:nvSpPr>
              <p:spPr>
                <a:xfrm>
                  <a:off x="11581075" y="4991110"/>
                  <a:ext cx="189371" cy="147888"/>
                </a:xfrm>
                <a:custGeom>
                  <a:avLst/>
                  <a:gdLst>
                    <a:gd name="connsiteX0" fmla="*/ 67492 w 189371"/>
                    <a:gd name="connsiteY0" fmla="*/ 8287 h 147888"/>
                    <a:gd name="connsiteX1" fmla="*/ 51 w 189371"/>
                    <a:gd name="connsiteY1" fmla="*/ 147888 h 147888"/>
                    <a:gd name="connsiteX2" fmla="*/ 189371 w 189371"/>
                    <a:gd name="connsiteY2" fmla="*/ 130892 h 147888"/>
                    <a:gd name="connsiteX3" fmla="*/ 159492 w 189371"/>
                    <a:gd name="connsiteY3" fmla="*/ 0 h 147888"/>
                    <a:gd name="connsiteX4" fmla="*/ 67492 w 189371"/>
                    <a:gd name="connsiteY4" fmla="*/ 8287 h 147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9371" h="147888">
                      <a:moveTo>
                        <a:pt x="67492" y="8287"/>
                      </a:moveTo>
                      <a:cubicBezTo>
                        <a:pt x="62775" y="101072"/>
                        <a:pt x="-2067" y="123815"/>
                        <a:pt x="51" y="147888"/>
                      </a:cubicBezTo>
                      <a:lnTo>
                        <a:pt x="189371" y="130892"/>
                      </a:lnTo>
                      <a:cubicBezTo>
                        <a:pt x="173766" y="80023"/>
                        <a:pt x="167899" y="41675"/>
                        <a:pt x="159492" y="0"/>
                      </a:cubicBezTo>
                      <a:lnTo>
                        <a:pt x="67492" y="8287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95" name="Freihandform: Form 894">
                  <a:extLst>
                    <a:ext uri="{FF2B5EF4-FFF2-40B4-BE49-F238E27FC236}">
                      <a16:creationId xmlns:a16="http://schemas.microsoft.com/office/drawing/2014/main" id="{42366105-C740-63E1-68B1-4EDE64801C57}"/>
                    </a:ext>
                  </a:extLst>
                </p:cNvPr>
                <p:cNvSpPr/>
                <p:nvPr/>
              </p:nvSpPr>
              <p:spPr>
                <a:xfrm>
                  <a:off x="11320709" y="3561947"/>
                  <a:ext cx="366367" cy="731577"/>
                </a:xfrm>
                <a:custGeom>
                  <a:avLst/>
                  <a:gdLst>
                    <a:gd name="connsiteX0" fmla="*/ 342557 w 366367"/>
                    <a:gd name="connsiteY0" fmla="*/ 731517 h 731577"/>
                    <a:gd name="connsiteX1" fmla="*/ 128799 w 366367"/>
                    <a:gd name="connsiteY1" fmla="*/ 731517 h 731577"/>
                    <a:gd name="connsiteX2" fmla="*/ 72124 w 366367"/>
                    <a:gd name="connsiteY2" fmla="*/ 522659 h 731577"/>
                    <a:gd name="connsiteX3" fmla="*/ 14481 w 366367"/>
                    <a:gd name="connsiteY3" fmla="*/ 210612 h 731577"/>
                    <a:gd name="connsiteX4" fmla="*/ 387 w 366367"/>
                    <a:gd name="connsiteY4" fmla="*/ 8589 h 731577"/>
                    <a:gd name="connsiteX5" fmla="*/ 363484 w 366367"/>
                    <a:gd name="connsiteY5" fmla="*/ 0 h 731577"/>
                    <a:gd name="connsiteX6" fmla="*/ 342557 w 366367"/>
                    <a:gd name="connsiteY6" fmla="*/ 731578 h 7315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66367" h="731577">
                      <a:moveTo>
                        <a:pt x="342557" y="731517"/>
                      </a:moveTo>
                      <a:lnTo>
                        <a:pt x="128799" y="731517"/>
                      </a:lnTo>
                      <a:cubicBezTo>
                        <a:pt x="128799" y="731517"/>
                        <a:pt x="93778" y="595303"/>
                        <a:pt x="72124" y="522659"/>
                      </a:cubicBezTo>
                      <a:cubicBezTo>
                        <a:pt x="50470" y="450016"/>
                        <a:pt x="25489" y="306361"/>
                        <a:pt x="14481" y="210612"/>
                      </a:cubicBezTo>
                      <a:cubicBezTo>
                        <a:pt x="6436" y="140932"/>
                        <a:pt x="-1911" y="69377"/>
                        <a:pt x="387" y="8589"/>
                      </a:cubicBezTo>
                      <a:cubicBezTo>
                        <a:pt x="68011" y="8589"/>
                        <a:pt x="363484" y="0"/>
                        <a:pt x="363484" y="0"/>
                      </a:cubicBezTo>
                      <a:cubicBezTo>
                        <a:pt x="372981" y="258215"/>
                        <a:pt x="357194" y="476327"/>
                        <a:pt x="342557" y="731578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96" name="Freihandform: Form 895">
                  <a:extLst>
                    <a:ext uri="{FF2B5EF4-FFF2-40B4-BE49-F238E27FC236}">
                      <a16:creationId xmlns:a16="http://schemas.microsoft.com/office/drawing/2014/main" id="{9611B240-D4D7-2694-8824-37DC32C30F4B}"/>
                    </a:ext>
                  </a:extLst>
                </p:cNvPr>
                <p:cNvSpPr/>
                <p:nvPr/>
              </p:nvSpPr>
              <p:spPr>
                <a:xfrm>
                  <a:off x="11450391" y="4277496"/>
                  <a:ext cx="296163" cy="619860"/>
                </a:xfrm>
                <a:custGeom>
                  <a:avLst/>
                  <a:gdLst>
                    <a:gd name="connsiteX0" fmla="*/ 296103 w 296163"/>
                    <a:gd name="connsiteY0" fmla="*/ 592399 h 619860"/>
                    <a:gd name="connsiteX1" fmla="*/ 103152 w 296163"/>
                    <a:gd name="connsiteY1" fmla="*/ 619860 h 619860"/>
                    <a:gd name="connsiteX2" fmla="*/ 265 w 296163"/>
                    <a:gd name="connsiteY2" fmla="*/ 30122 h 619860"/>
                    <a:gd name="connsiteX3" fmla="*/ 211906 w 296163"/>
                    <a:gd name="connsiteY3" fmla="*/ 0 h 619860"/>
                    <a:gd name="connsiteX4" fmla="*/ 263017 w 296163"/>
                    <a:gd name="connsiteY4" fmla="*/ 265594 h 619860"/>
                    <a:gd name="connsiteX5" fmla="*/ 296163 w 296163"/>
                    <a:gd name="connsiteY5" fmla="*/ 592399 h 6198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96163" h="619860">
                      <a:moveTo>
                        <a:pt x="296103" y="592399"/>
                      </a:moveTo>
                      <a:lnTo>
                        <a:pt x="103152" y="619860"/>
                      </a:lnTo>
                      <a:cubicBezTo>
                        <a:pt x="-10380" y="409853"/>
                        <a:pt x="265" y="30122"/>
                        <a:pt x="265" y="30122"/>
                      </a:cubicBezTo>
                      <a:lnTo>
                        <a:pt x="211906" y="0"/>
                      </a:lnTo>
                      <a:cubicBezTo>
                        <a:pt x="211906" y="0"/>
                        <a:pt x="257452" y="182547"/>
                        <a:pt x="263017" y="265594"/>
                      </a:cubicBezTo>
                      <a:cubicBezTo>
                        <a:pt x="268521" y="348641"/>
                        <a:pt x="296163" y="592399"/>
                        <a:pt x="296163" y="592399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97" name="Freihandform: Form 896">
                  <a:extLst>
                    <a:ext uri="{FF2B5EF4-FFF2-40B4-BE49-F238E27FC236}">
                      <a16:creationId xmlns:a16="http://schemas.microsoft.com/office/drawing/2014/main" id="{6499A4C2-FB57-49E4-357B-F250E000E9FD}"/>
                    </a:ext>
                  </a:extLst>
                </p:cNvPr>
                <p:cNvSpPr/>
                <p:nvPr/>
              </p:nvSpPr>
              <p:spPr>
                <a:xfrm>
                  <a:off x="11449508" y="4184348"/>
                  <a:ext cx="213757" cy="213757"/>
                </a:xfrm>
                <a:custGeom>
                  <a:avLst/>
                  <a:gdLst>
                    <a:gd name="connsiteX0" fmla="*/ 213757 w 213757"/>
                    <a:gd name="connsiteY0" fmla="*/ 106879 h 213757"/>
                    <a:gd name="connsiteX1" fmla="*/ 106878 w 213757"/>
                    <a:gd name="connsiteY1" fmla="*/ 213757 h 213757"/>
                    <a:gd name="connsiteX2" fmla="*/ 0 w 213757"/>
                    <a:gd name="connsiteY2" fmla="*/ 106879 h 213757"/>
                    <a:gd name="connsiteX3" fmla="*/ 106878 w 213757"/>
                    <a:gd name="connsiteY3" fmla="*/ 0 h 213757"/>
                    <a:gd name="connsiteX4" fmla="*/ 213757 w 213757"/>
                    <a:gd name="connsiteY4" fmla="*/ 106879 h 2137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3757" h="213757">
                      <a:moveTo>
                        <a:pt x="213757" y="106879"/>
                      </a:moveTo>
                      <a:cubicBezTo>
                        <a:pt x="213757" y="165906"/>
                        <a:pt x="165906" y="213757"/>
                        <a:pt x="106878" y="213757"/>
                      </a:cubicBezTo>
                      <a:cubicBezTo>
                        <a:pt x="47851" y="213757"/>
                        <a:pt x="0" y="165906"/>
                        <a:pt x="0" y="106879"/>
                      </a:cubicBezTo>
                      <a:cubicBezTo>
                        <a:pt x="0" y="47851"/>
                        <a:pt x="47851" y="0"/>
                        <a:pt x="106878" y="0"/>
                      </a:cubicBezTo>
                      <a:cubicBezTo>
                        <a:pt x="165906" y="0"/>
                        <a:pt x="213757" y="47851"/>
                        <a:pt x="213757" y="106879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98" name="Freihandform: Form 897">
                  <a:extLst>
                    <a:ext uri="{FF2B5EF4-FFF2-40B4-BE49-F238E27FC236}">
                      <a16:creationId xmlns:a16="http://schemas.microsoft.com/office/drawing/2014/main" id="{644055D5-EA44-AFCE-59D2-6BAC54C42581}"/>
                    </a:ext>
                  </a:extLst>
                </p:cNvPr>
                <p:cNvSpPr/>
                <p:nvPr/>
              </p:nvSpPr>
              <p:spPr>
                <a:xfrm>
                  <a:off x="11648386" y="4949556"/>
                  <a:ext cx="91454" cy="91454"/>
                </a:xfrm>
                <a:custGeom>
                  <a:avLst/>
                  <a:gdLst>
                    <a:gd name="connsiteX0" fmla="*/ 91455 w 91454"/>
                    <a:gd name="connsiteY0" fmla="*/ 45727 h 91454"/>
                    <a:gd name="connsiteX1" fmla="*/ 45727 w 91454"/>
                    <a:gd name="connsiteY1" fmla="*/ 91455 h 91454"/>
                    <a:gd name="connsiteX2" fmla="*/ 0 w 91454"/>
                    <a:gd name="connsiteY2" fmla="*/ 45727 h 91454"/>
                    <a:gd name="connsiteX3" fmla="*/ 45727 w 91454"/>
                    <a:gd name="connsiteY3" fmla="*/ 0 h 91454"/>
                    <a:gd name="connsiteX4" fmla="*/ 91455 w 91454"/>
                    <a:gd name="connsiteY4" fmla="*/ 45727 h 91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1454" h="91454">
                      <a:moveTo>
                        <a:pt x="91455" y="45727"/>
                      </a:moveTo>
                      <a:cubicBezTo>
                        <a:pt x="91455" y="70982"/>
                        <a:pt x="70982" y="91455"/>
                        <a:pt x="45727" y="91455"/>
                      </a:cubicBezTo>
                      <a:cubicBezTo>
                        <a:pt x="20473" y="91455"/>
                        <a:pt x="0" y="70982"/>
                        <a:pt x="0" y="45727"/>
                      </a:cubicBezTo>
                      <a:cubicBezTo>
                        <a:pt x="0" y="20473"/>
                        <a:pt x="20473" y="0"/>
                        <a:pt x="45727" y="0"/>
                      </a:cubicBezTo>
                      <a:cubicBezTo>
                        <a:pt x="70982" y="0"/>
                        <a:pt x="91455" y="20473"/>
                        <a:pt x="91455" y="45727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99" name="Freihandform: Form 898">
                  <a:extLst>
                    <a:ext uri="{FF2B5EF4-FFF2-40B4-BE49-F238E27FC236}">
                      <a16:creationId xmlns:a16="http://schemas.microsoft.com/office/drawing/2014/main" id="{714E9BDD-3D1C-5F7F-78FA-1095ED4392DD}"/>
                    </a:ext>
                  </a:extLst>
                </p:cNvPr>
                <p:cNvSpPr/>
                <p:nvPr/>
              </p:nvSpPr>
              <p:spPr>
                <a:xfrm>
                  <a:off x="11556024" y="5109420"/>
                  <a:ext cx="230361" cy="86010"/>
                </a:xfrm>
                <a:custGeom>
                  <a:avLst/>
                  <a:gdLst>
                    <a:gd name="connsiteX0" fmla="*/ 0 w 230361"/>
                    <a:gd name="connsiteY0" fmla="*/ 20323 h 86010"/>
                    <a:gd name="connsiteX1" fmla="*/ 4476 w 230361"/>
                    <a:gd name="connsiteY1" fmla="*/ 69922 h 86010"/>
                    <a:gd name="connsiteX2" fmla="*/ 16573 w 230361"/>
                    <a:gd name="connsiteY2" fmla="*/ 86011 h 86010"/>
                    <a:gd name="connsiteX3" fmla="*/ 221621 w 230361"/>
                    <a:gd name="connsiteY3" fmla="*/ 67563 h 86010"/>
                    <a:gd name="connsiteX4" fmla="*/ 230270 w 230361"/>
                    <a:gd name="connsiteY4" fmla="*/ 49719 h 86010"/>
                    <a:gd name="connsiteX5" fmla="*/ 225794 w 230361"/>
                    <a:gd name="connsiteY5" fmla="*/ 0 h 86010"/>
                    <a:gd name="connsiteX6" fmla="*/ 0 w 230361"/>
                    <a:gd name="connsiteY6" fmla="*/ 20323 h 860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0361" h="86010">
                      <a:moveTo>
                        <a:pt x="0" y="20323"/>
                      </a:moveTo>
                      <a:lnTo>
                        <a:pt x="4476" y="69922"/>
                      </a:lnTo>
                      <a:cubicBezTo>
                        <a:pt x="5202" y="77906"/>
                        <a:pt x="10222" y="84378"/>
                        <a:pt x="16573" y="86011"/>
                      </a:cubicBezTo>
                      <a:lnTo>
                        <a:pt x="221621" y="67563"/>
                      </a:lnTo>
                      <a:cubicBezTo>
                        <a:pt x="227367" y="64660"/>
                        <a:pt x="230996" y="57522"/>
                        <a:pt x="230270" y="49719"/>
                      </a:cubicBezTo>
                      <a:lnTo>
                        <a:pt x="225794" y="0"/>
                      </a:lnTo>
                      <a:lnTo>
                        <a:pt x="0" y="20323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00" name="Freihandform: Form 899">
                  <a:extLst>
                    <a:ext uri="{FF2B5EF4-FFF2-40B4-BE49-F238E27FC236}">
                      <a16:creationId xmlns:a16="http://schemas.microsoft.com/office/drawing/2014/main" id="{608041F6-4A90-68B8-3E84-867D6EAC7E05}"/>
                    </a:ext>
                  </a:extLst>
                </p:cNvPr>
                <p:cNvSpPr/>
                <p:nvPr/>
              </p:nvSpPr>
              <p:spPr>
                <a:xfrm>
                  <a:off x="11556024" y="5028991"/>
                  <a:ext cx="225793" cy="104076"/>
                </a:xfrm>
                <a:custGeom>
                  <a:avLst/>
                  <a:gdLst>
                    <a:gd name="connsiteX0" fmla="*/ 225794 w 225793"/>
                    <a:gd name="connsiteY0" fmla="*/ 80429 h 104076"/>
                    <a:gd name="connsiteX1" fmla="*/ 192527 w 225793"/>
                    <a:gd name="connsiteY1" fmla="*/ 3068 h 104076"/>
                    <a:gd name="connsiteX2" fmla="*/ 181397 w 225793"/>
                    <a:gd name="connsiteY2" fmla="*/ 29197 h 104076"/>
                    <a:gd name="connsiteX3" fmla="*/ 61151 w 225793"/>
                    <a:gd name="connsiteY3" fmla="*/ 26959 h 104076"/>
                    <a:gd name="connsiteX4" fmla="*/ 0 w 225793"/>
                    <a:gd name="connsiteY4" fmla="*/ 100752 h 104076"/>
                    <a:gd name="connsiteX5" fmla="*/ 225794 w 225793"/>
                    <a:gd name="connsiteY5" fmla="*/ 80429 h 1040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25793" h="104076">
                      <a:moveTo>
                        <a:pt x="225794" y="80429"/>
                      </a:moveTo>
                      <a:cubicBezTo>
                        <a:pt x="223193" y="41537"/>
                        <a:pt x="217386" y="12382"/>
                        <a:pt x="192527" y="3068"/>
                      </a:cubicBezTo>
                      <a:lnTo>
                        <a:pt x="181397" y="29197"/>
                      </a:lnTo>
                      <a:cubicBezTo>
                        <a:pt x="181397" y="29197"/>
                        <a:pt x="88370" y="-34978"/>
                        <a:pt x="61151" y="26959"/>
                      </a:cubicBezTo>
                      <a:cubicBezTo>
                        <a:pt x="38045" y="79522"/>
                        <a:pt x="6956" y="63130"/>
                        <a:pt x="0" y="100752"/>
                      </a:cubicBezTo>
                      <a:cubicBezTo>
                        <a:pt x="25102" y="110067"/>
                        <a:pt x="198454" y="98696"/>
                        <a:pt x="225794" y="80429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01" name="Freihandform: Form 900">
                  <a:extLst>
                    <a:ext uri="{FF2B5EF4-FFF2-40B4-BE49-F238E27FC236}">
                      <a16:creationId xmlns:a16="http://schemas.microsoft.com/office/drawing/2014/main" id="{DD0B1A4F-467E-D770-F456-CF3A1642A6C6}"/>
                    </a:ext>
                  </a:extLst>
                </p:cNvPr>
                <p:cNvSpPr/>
                <p:nvPr/>
              </p:nvSpPr>
              <p:spPr>
                <a:xfrm>
                  <a:off x="11727198" y="4837112"/>
                  <a:ext cx="129077" cy="171538"/>
                </a:xfrm>
                <a:custGeom>
                  <a:avLst/>
                  <a:gdLst>
                    <a:gd name="connsiteX0" fmla="*/ 0 w 129077"/>
                    <a:gd name="connsiteY0" fmla="*/ 0 h 171538"/>
                    <a:gd name="connsiteX1" fmla="*/ 6049 w 129077"/>
                    <a:gd name="connsiteY1" fmla="*/ 171538 h 171538"/>
                    <a:gd name="connsiteX2" fmla="*/ 98411 w 129077"/>
                    <a:gd name="connsiteY2" fmla="*/ 171538 h 171538"/>
                    <a:gd name="connsiteX3" fmla="*/ 129078 w 129077"/>
                    <a:gd name="connsiteY3" fmla="*/ 0 h 171538"/>
                    <a:gd name="connsiteX4" fmla="*/ 0 w 129077"/>
                    <a:gd name="connsiteY4" fmla="*/ 0 h 171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9077" h="171538">
                      <a:moveTo>
                        <a:pt x="0" y="0"/>
                      </a:moveTo>
                      <a:cubicBezTo>
                        <a:pt x="3448" y="92423"/>
                        <a:pt x="6049" y="171538"/>
                        <a:pt x="6049" y="171538"/>
                      </a:cubicBezTo>
                      <a:lnTo>
                        <a:pt x="98411" y="171538"/>
                      </a:lnTo>
                      <a:cubicBezTo>
                        <a:pt x="103250" y="125629"/>
                        <a:pt x="115408" y="63571"/>
                        <a:pt x="1290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02" name="Freihandform: Form 901">
                  <a:extLst>
                    <a:ext uri="{FF2B5EF4-FFF2-40B4-BE49-F238E27FC236}">
                      <a16:creationId xmlns:a16="http://schemas.microsoft.com/office/drawing/2014/main" id="{A29B9E70-A499-2984-5722-3AC60F24449F}"/>
                    </a:ext>
                  </a:extLst>
                </p:cNvPr>
                <p:cNvSpPr/>
                <p:nvPr/>
              </p:nvSpPr>
              <p:spPr>
                <a:xfrm>
                  <a:off x="11715162" y="5008650"/>
                  <a:ext cx="190107" cy="133008"/>
                </a:xfrm>
                <a:custGeom>
                  <a:avLst/>
                  <a:gdLst>
                    <a:gd name="connsiteX0" fmla="*/ 110447 w 190107"/>
                    <a:gd name="connsiteY0" fmla="*/ 0 h 133008"/>
                    <a:gd name="connsiteX1" fmla="*/ 190108 w 190107"/>
                    <a:gd name="connsiteY1" fmla="*/ 133009 h 133008"/>
                    <a:gd name="connsiteX2" fmla="*/ 0 w 190107"/>
                    <a:gd name="connsiteY2" fmla="*/ 133009 h 133008"/>
                    <a:gd name="connsiteX3" fmla="*/ 18085 w 190107"/>
                    <a:gd name="connsiteY3" fmla="*/ 0 h 133008"/>
                    <a:gd name="connsiteX4" fmla="*/ 110447 w 190107"/>
                    <a:gd name="connsiteY4" fmla="*/ 0 h 133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0107" h="133008">
                      <a:moveTo>
                        <a:pt x="110447" y="0"/>
                      </a:moveTo>
                      <a:cubicBezTo>
                        <a:pt x="123452" y="91999"/>
                        <a:pt x="190108" y="108875"/>
                        <a:pt x="190108" y="133009"/>
                      </a:cubicBezTo>
                      <a:lnTo>
                        <a:pt x="0" y="133009"/>
                      </a:lnTo>
                      <a:cubicBezTo>
                        <a:pt x="11009" y="80930"/>
                        <a:pt x="13428" y="42219"/>
                        <a:pt x="18085" y="0"/>
                      </a:cubicBezTo>
                      <a:lnTo>
                        <a:pt x="110447" y="0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03" name="Freihandform: Form 902">
                  <a:extLst>
                    <a:ext uri="{FF2B5EF4-FFF2-40B4-BE49-F238E27FC236}">
                      <a16:creationId xmlns:a16="http://schemas.microsoft.com/office/drawing/2014/main" id="{1D645D83-B538-CEBF-3616-8A619D29C86E}"/>
                    </a:ext>
                  </a:extLst>
                </p:cNvPr>
                <p:cNvSpPr/>
                <p:nvPr/>
              </p:nvSpPr>
              <p:spPr>
                <a:xfrm>
                  <a:off x="11683757" y="3561887"/>
                  <a:ext cx="368614" cy="731577"/>
                </a:xfrm>
                <a:custGeom>
                  <a:avLst/>
                  <a:gdLst>
                    <a:gd name="connsiteX0" fmla="*/ 26627 w 368614"/>
                    <a:gd name="connsiteY0" fmla="*/ 731578 h 731577"/>
                    <a:gd name="connsiteX1" fmla="*/ 240385 w 368614"/>
                    <a:gd name="connsiteY1" fmla="*/ 731578 h 731577"/>
                    <a:gd name="connsiteX2" fmla="*/ 297060 w 368614"/>
                    <a:gd name="connsiteY2" fmla="*/ 522720 h 731577"/>
                    <a:gd name="connsiteX3" fmla="*/ 354703 w 368614"/>
                    <a:gd name="connsiteY3" fmla="*/ 210673 h 731577"/>
                    <a:gd name="connsiteX4" fmla="*/ 368615 w 368614"/>
                    <a:gd name="connsiteY4" fmla="*/ 12279 h 731577"/>
                    <a:gd name="connsiteX5" fmla="*/ 2553 w 368614"/>
                    <a:gd name="connsiteY5" fmla="*/ 0 h 731577"/>
                    <a:gd name="connsiteX6" fmla="*/ 26688 w 368614"/>
                    <a:gd name="connsiteY6" fmla="*/ 731578 h 7315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68614" h="731577">
                      <a:moveTo>
                        <a:pt x="26627" y="731578"/>
                      </a:moveTo>
                      <a:lnTo>
                        <a:pt x="240385" y="731578"/>
                      </a:lnTo>
                      <a:cubicBezTo>
                        <a:pt x="240385" y="731578"/>
                        <a:pt x="275406" y="595363"/>
                        <a:pt x="297060" y="522720"/>
                      </a:cubicBezTo>
                      <a:cubicBezTo>
                        <a:pt x="318714" y="450076"/>
                        <a:pt x="343694" y="306422"/>
                        <a:pt x="354703" y="210673"/>
                      </a:cubicBezTo>
                      <a:cubicBezTo>
                        <a:pt x="361175" y="154723"/>
                        <a:pt x="366377" y="69861"/>
                        <a:pt x="368615" y="12279"/>
                      </a:cubicBezTo>
                      <a:cubicBezTo>
                        <a:pt x="233126" y="9254"/>
                        <a:pt x="2553" y="0"/>
                        <a:pt x="2553" y="0"/>
                      </a:cubicBezTo>
                      <a:cubicBezTo>
                        <a:pt x="-6943" y="258215"/>
                        <a:pt x="12050" y="476327"/>
                        <a:pt x="26688" y="731578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04" name="Freihandform: Form 903">
                  <a:extLst>
                    <a:ext uri="{FF2B5EF4-FFF2-40B4-BE49-F238E27FC236}">
                      <a16:creationId xmlns:a16="http://schemas.microsoft.com/office/drawing/2014/main" id="{B3B8DE71-9317-E606-C264-BA943308FA80}"/>
                    </a:ext>
                  </a:extLst>
                </p:cNvPr>
                <p:cNvSpPr/>
                <p:nvPr/>
              </p:nvSpPr>
              <p:spPr>
                <a:xfrm>
                  <a:off x="11695905" y="4293465"/>
                  <a:ext cx="251767" cy="598387"/>
                </a:xfrm>
                <a:custGeom>
                  <a:avLst/>
                  <a:gdLst>
                    <a:gd name="connsiteX0" fmla="*/ 14479 w 251767"/>
                    <a:gd name="connsiteY0" fmla="*/ 598387 h 598387"/>
                    <a:gd name="connsiteX1" fmla="*/ 209365 w 251767"/>
                    <a:gd name="connsiteY1" fmla="*/ 598387 h 598387"/>
                    <a:gd name="connsiteX2" fmla="*/ 228176 w 251767"/>
                    <a:gd name="connsiteY2" fmla="*/ 0 h 598387"/>
                    <a:gd name="connsiteX3" fmla="*/ 14419 w 251767"/>
                    <a:gd name="connsiteY3" fmla="*/ 0 h 598387"/>
                    <a:gd name="connsiteX4" fmla="*/ 1233 w 251767"/>
                    <a:gd name="connsiteY4" fmla="*/ 270130 h 598387"/>
                    <a:gd name="connsiteX5" fmla="*/ 14419 w 251767"/>
                    <a:gd name="connsiteY5" fmla="*/ 598387 h 598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51767" h="598387">
                      <a:moveTo>
                        <a:pt x="14479" y="598387"/>
                      </a:moveTo>
                      <a:lnTo>
                        <a:pt x="209365" y="598387"/>
                      </a:lnTo>
                      <a:cubicBezTo>
                        <a:pt x="292170" y="374529"/>
                        <a:pt x="228176" y="0"/>
                        <a:pt x="228176" y="0"/>
                      </a:cubicBezTo>
                      <a:lnTo>
                        <a:pt x="14419" y="0"/>
                      </a:lnTo>
                      <a:cubicBezTo>
                        <a:pt x="14419" y="0"/>
                        <a:pt x="-4998" y="187143"/>
                        <a:pt x="1233" y="270130"/>
                      </a:cubicBezTo>
                      <a:cubicBezTo>
                        <a:pt x="7463" y="353177"/>
                        <a:pt x="14419" y="598387"/>
                        <a:pt x="14419" y="598387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05" name="Freihandform: Form 904">
                  <a:extLst>
                    <a:ext uri="{FF2B5EF4-FFF2-40B4-BE49-F238E27FC236}">
                      <a16:creationId xmlns:a16="http://schemas.microsoft.com/office/drawing/2014/main" id="{05667FEA-1785-57DD-66AB-BB889E46E29E}"/>
                    </a:ext>
                  </a:extLst>
                </p:cNvPr>
                <p:cNvSpPr/>
                <p:nvPr/>
              </p:nvSpPr>
              <p:spPr>
                <a:xfrm>
                  <a:off x="11734215" y="4962923"/>
                  <a:ext cx="91454" cy="91454"/>
                </a:xfrm>
                <a:custGeom>
                  <a:avLst/>
                  <a:gdLst>
                    <a:gd name="connsiteX0" fmla="*/ 91455 w 91454"/>
                    <a:gd name="connsiteY0" fmla="*/ 45727 h 91454"/>
                    <a:gd name="connsiteX1" fmla="*/ 45727 w 91454"/>
                    <a:gd name="connsiteY1" fmla="*/ 91455 h 91454"/>
                    <a:gd name="connsiteX2" fmla="*/ -1 w 91454"/>
                    <a:gd name="connsiteY2" fmla="*/ 45727 h 91454"/>
                    <a:gd name="connsiteX3" fmla="*/ 45727 w 91454"/>
                    <a:gd name="connsiteY3" fmla="*/ 0 h 91454"/>
                    <a:gd name="connsiteX4" fmla="*/ 91455 w 91454"/>
                    <a:gd name="connsiteY4" fmla="*/ 45727 h 91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1454" h="91454">
                      <a:moveTo>
                        <a:pt x="91455" y="45727"/>
                      </a:moveTo>
                      <a:cubicBezTo>
                        <a:pt x="91455" y="70982"/>
                        <a:pt x="70982" y="91455"/>
                        <a:pt x="45727" y="91455"/>
                      </a:cubicBezTo>
                      <a:cubicBezTo>
                        <a:pt x="20472" y="91455"/>
                        <a:pt x="-1" y="70982"/>
                        <a:pt x="-1" y="45727"/>
                      </a:cubicBezTo>
                      <a:cubicBezTo>
                        <a:pt x="-1" y="20473"/>
                        <a:pt x="20472" y="0"/>
                        <a:pt x="45727" y="0"/>
                      </a:cubicBezTo>
                      <a:cubicBezTo>
                        <a:pt x="70982" y="0"/>
                        <a:pt x="91455" y="20473"/>
                        <a:pt x="91455" y="45727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06" name="Freihandform: Form 905">
                  <a:extLst>
                    <a:ext uri="{FF2B5EF4-FFF2-40B4-BE49-F238E27FC236}">
                      <a16:creationId xmlns:a16="http://schemas.microsoft.com/office/drawing/2014/main" id="{68FCFFA8-3A2D-9764-579B-564A02426551}"/>
                    </a:ext>
                  </a:extLst>
                </p:cNvPr>
                <p:cNvSpPr/>
                <p:nvPr/>
              </p:nvSpPr>
              <p:spPr>
                <a:xfrm>
                  <a:off x="11702823" y="5130167"/>
                  <a:ext cx="226701" cy="66897"/>
                </a:xfrm>
                <a:custGeom>
                  <a:avLst/>
                  <a:gdLst>
                    <a:gd name="connsiteX0" fmla="*/ 226641 w 226701"/>
                    <a:gd name="connsiteY0" fmla="*/ 0 h 66897"/>
                    <a:gd name="connsiteX1" fmla="*/ 226641 w 226701"/>
                    <a:gd name="connsiteY1" fmla="*/ 49780 h 66897"/>
                    <a:gd name="connsiteX2" fmla="*/ 216056 w 226701"/>
                    <a:gd name="connsiteY2" fmla="*/ 66897 h 66897"/>
                    <a:gd name="connsiteX3" fmla="*/ 10222 w 226701"/>
                    <a:gd name="connsiteY3" fmla="*/ 66897 h 66897"/>
                    <a:gd name="connsiteX4" fmla="*/ 0 w 226701"/>
                    <a:gd name="connsiteY4" fmla="*/ 49901 h 66897"/>
                    <a:gd name="connsiteX5" fmla="*/ 0 w 226701"/>
                    <a:gd name="connsiteY5" fmla="*/ 0 h 66897"/>
                    <a:gd name="connsiteX6" fmla="*/ 226701 w 226701"/>
                    <a:gd name="connsiteY6" fmla="*/ 0 h 668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26701" h="66897">
                      <a:moveTo>
                        <a:pt x="226641" y="0"/>
                      </a:moveTo>
                      <a:lnTo>
                        <a:pt x="226641" y="49780"/>
                      </a:lnTo>
                      <a:cubicBezTo>
                        <a:pt x="226641" y="57764"/>
                        <a:pt x="222225" y="64660"/>
                        <a:pt x="216056" y="66897"/>
                      </a:cubicBezTo>
                      <a:lnTo>
                        <a:pt x="10222" y="66897"/>
                      </a:lnTo>
                      <a:cubicBezTo>
                        <a:pt x="4234" y="64538"/>
                        <a:pt x="0" y="57703"/>
                        <a:pt x="0" y="49901"/>
                      </a:cubicBezTo>
                      <a:lnTo>
                        <a:pt x="0" y="0"/>
                      </a:lnTo>
                      <a:lnTo>
                        <a:pt x="226701" y="0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07" name="Freihandform: Form 906">
                  <a:extLst>
                    <a:ext uri="{FF2B5EF4-FFF2-40B4-BE49-F238E27FC236}">
                      <a16:creationId xmlns:a16="http://schemas.microsoft.com/office/drawing/2014/main" id="{0F8B85EA-D782-060A-420F-5CDD7B35C2AC}"/>
                    </a:ext>
                  </a:extLst>
                </p:cNvPr>
                <p:cNvSpPr/>
                <p:nvPr/>
              </p:nvSpPr>
              <p:spPr>
                <a:xfrm>
                  <a:off x="11702690" y="5038831"/>
                  <a:ext cx="226834" cy="101604"/>
                </a:xfrm>
                <a:custGeom>
                  <a:avLst/>
                  <a:gdLst>
                    <a:gd name="connsiteX0" fmla="*/ 133 w 226834"/>
                    <a:gd name="connsiteY0" fmla="*/ 91336 h 101604"/>
                    <a:gd name="connsiteX1" fmla="*/ 26323 w 226834"/>
                    <a:gd name="connsiteY1" fmla="*/ 11313 h 101604"/>
                    <a:gd name="connsiteX2" fmla="*/ 39751 w 226834"/>
                    <a:gd name="connsiteY2" fmla="*/ 36354 h 101604"/>
                    <a:gd name="connsiteX3" fmla="*/ 159332 w 226834"/>
                    <a:gd name="connsiteY3" fmla="*/ 23350 h 101604"/>
                    <a:gd name="connsiteX4" fmla="*/ 226834 w 226834"/>
                    <a:gd name="connsiteY4" fmla="*/ 91336 h 101604"/>
                    <a:gd name="connsiteX5" fmla="*/ 133 w 226834"/>
                    <a:gd name="connsiteY5" fmla="*/ 91336 h 1016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26834" h="101604">
                      <a:moveTo>
                        <a:pt x="133" y="91336"/>
                      </a:moveTo>
                      <a:cubicBezTo>
                        <a:pt x="-774" y="52383"/>
                        <a:pt x="2432" y="22806"/>
                        <a:pt x="26323" y="11313"/>
                      </a:cubicBezTo>
                      <a:lnTo>
                        <a:pt x="39751" y="36354"/>
                      </a:lnTo>
                      <a:cubicBezTo>
                        <a:pt x="39751" y="36354"/>
                        <a:pt x="126669" y="-35926"/>
                        <a:pt x="159332" y="23350"/>
                      </a:cubicBezTo>
                      <a:cubicBezTo>
                        <a:pt x="187034" y="73614"/>
                        <a:pt x="216551" y="54500"/>
                        <a:pt x="226834" y="91336"/>
                      </a:cubicBezTo>
                      <a:cubicBezTo>
                        <a:pt x="202640" y="102829"/>
                        <a:pt x="29045" y="107062"/>
                        <a:pt x="133" y="91336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08" name="Freihandform: Form 907">
                  <a:extLst>
                    <a:ext uri="{FF2B5EF4-FFF2-40B4-BE49-F238E27FC236}">
                      <a16:creationId xmlns:a16="http://schemas.microsoft.com/office/drawing/2014/main" id="{4A7841C4-AF77-0084-89EC-B737CE54312A}"/>
                    </a:ext>
                  </a:extLst>
                </p:cNvPr>
                <p:cNvSpPr/>
                <p:nvPr/>
              </p:nvSpPr>
              <p:spPr>
                <a:xfrm>
                  <a:off x="11684193" y="3561887"/>
                  <a:ext cx="367936" cy="83591"/>
                </a:xfrm>
                <a:custGeom>
                  <a:avLst/>
                  <a:gdLst>
                    <a:gd name="connsiteX0" fmla="*/ 0 w 367936"/>
                    <a:gd name="connsiteY0" fmla="*/ 83592 h 83591"/>
                    <a:gd name="connsiteX1" fmla="*/ 365758 w 367936"/>
                    <a:gd name="connsiteY1" fmla="*/ 62784 h 83591"/>
                    <a:gd name="connsiteX2" fmla="*/ 365758 w 367936"/>
                    <a:gd name="connsiteY2" fmla="*/ 62784 h 83591"/>
                    <a:gd name="connsiteX3" fmla="*/ 367937 w 367936"/>
                    <a:gd name="connsiteY3" fmla="*/ 12279 h 83591"/>
                    <a:gd name="connsiteX4" fmla="*/ 2057 w 367936"/>
                    <a:gd name="connsiteY4" fmla="*/ 0 h 83591"/>
                    <a:gd name="connsiteX5" fmla="*/ 0 w 367936"/>
                    <a:gd name="connsiteY5" fmla="*/ 83592 h 835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67936" h="83591">
                      <a:moveTo>
                        <a:pt x="0" y="83592"/>
                      </a:moveTo>
                      <a:cubicBezTo>
                        <a:pt x="107786" y="70527"/>
                        <a:pt x="252892" y="50506"/>
                        <a:pt x="365758" y="62784"/>
                      </a:cubicBezTo>
                      <a:lnTo>
                        <a:pt x="365758" y="62784"/>
                      </a:lnTo>
                      <a:cubicBezTo>
                        <a:pt x="366666" y="45606"/>
                        <a:pt x="367392" y="27158"/>
                        <a:pt x="367937" y="12279"/>
                      </a:cubicBezTo>
                      <a:cubicBezTo>
                        <a:pt x="232448" y="9254"/>
                        <a:pt x="2057" y="0"/>
                        <a:pt x="2057" y="0"/>
                      </a:cubicBezTo>
                      <a:cubicBezTo>
                        <a:pt x="1029" y="28368"/>
                        <a:pt x="363" y="56131"/>
                        <a:pt x="0" y="83592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09" name="Freihandform: Form 908">
                  <a:extLst>
                    <a:ext uri="{FF2B5EF4-FFF2-40B4-BE49-F238E27FC236}">
                      <a16:creationId xmlns:a16="http://schemas.microsoft.com/office/drawing/2014/main" id="{12449F05-5480-6FC3-15A6-F8804DBEFA7C}"/>
                    </a:ext>
                  </a:extLst>
                </p:cNvPr>
                <p:cNvSpPr/>
                <p:nvPr/>
              </p:nvSpPr>
              <p:spPr>
                <a:xfrm>
                  <a:off x="11320727" y="3561826"/>
                  <a:ext cx="365643" cy="143049"/>
                </a:xfrm>
                <a:custGeom>
                  <a:avLst/>
                  <a:gdLst>
                    <a:gd name="connsiteX0" fmla="*/ 363466 w 365643"/>
                    <a:gd name="connsiteY0" fmla="*/ 61 h 143049"/>
                    <a:gd name="connsiteX1" fmla="*/ 368 w 365643"/>
                    <a:gd name="connsiteY1" fmla="*/ 8650 h 143049"/>
                    <a:gd name="connsiteX2" fmla="*/ 7022 w 365643"/>
                    <a:gd name="connsiteY2" fmla="*/ 143049 h 143049"/>
                    <a:gd name="connsiteX3" fmla="*/ 365643 w 365643"/>
                    <a:gd name="connsiteY3" fmla="*/ 83592 h 143049"/>
                    <a:gd name="connsiteX4" fmla="*/ 363466 w 365643"/>
                    <a:gd name="connsiteY4" fmla="*/ 0 h 143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5643" h="143049">
                      <a:moveTo>
                        <a:pt x="363466" y="61"/>
                      </a:moveTo>
                      <a:cubicBezTo>
                        <a:pt x="363466" y="61"/>
                        <a:pt x="68052" y="8650"/>
                        <a:pt x="368" y="8650"/>
                      </a:cubicBezTo>
                      <a:cubicBezTo>
                        <a:pt x="-1144" y="49841"/>
                        <a:pt x="2183" y="95931"/>
                        <a:pt x="7022" y="143049"/>
                      </a:cubicBezTo>
                      <a:cubicBezTo>
                        <a:pt x="89222" y="125387"/>
                        <a:pt x="233602" y="100104"/>
                        <a:pt x="365643" y="83592"/>
                      </a:cubicBezTo>
                      <a:cubicBezTo>
                        <a:pt x="365159" y="56131"/>
                        <a:pt x="364494" y="28368"/>
                        <a:pt x="363466" y="0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10" name="Freihandform: Form 909">
                  <a:extLst>
                    <a:ext uri="{FF2B5EF4-FFF2-40B4-BE49-F238E27FC236}">
                      <a16:creationId xmlns:a16="http://schemas.microsoft.com/office/drawing/2014/main" id="{D2C8722C-B2BF-7A27-1544-A68A3A799EF9}"/>
                    </a:ext>
                  </a:extLst>
                </p:cNvPr>
                <p:cNvSpPr/>
                <p:nvPr/>
              </p:nvSpPr>
              <p:spPr>
                <a:xfrm>
                  <a:off x="11710384" y="4184348"/>
                  <a:ext cx="213757" cy="213757"/>
                </a:xfrm>
                <a:custGeom>
                  <a:avLst/>
                  <a:gdLst>
                    <a:gd name="connsiteX0" fmla="*/ 213757 w 213757"/>
                    <a:gd name="connsiteY0" fmla="*/ 106879 h 213757"/>
                    <a:gd name="connsiteX1" fmla="*/ 106879 w 213757"/>
                    <a:gd name="connsiteY1" fmla="*/ 213757 h 213757"/>
                    <a:gd name="connsiteX2" fmla="*/ 0 w 213757"/>
                    <a:gd name="connsiteY2" fmla="*/ 106879 h 213757"/>
                    <a:gd name="connsiteX3" fmla="*/ 106879 w 213757"/>
                    <a:gd name="connsiteY3" fmla="*/ 0 h 213757"/>
                    <a:gd name="connsiteX4" fmla="*/ 213757 w 213757"/>
                    <a:gd name="connsiteY4" fmla="*/ 106879 h 2137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3757" h="213757">
                      <a:moveTo>
                        <a:pt x="213757" y="106879"/>
                      </a:moveTo>
                      <a:cubicBezTo>
                        <a:pt x="213757" y="165906"/>
                        <a:pt x="165906" y="213757"/>
                        <a:pt x="106879" y="213757"/>
                      </a:cubicBezTo>
                      <a:cubicBezTo>
                        <a:pt x="47851" y="213757"/>
                        <a:pt x="0" y="165906"/>
                        <a:pt x="0" y="106879"/>
                      </a:cubicBezTo>
                      <a:cubicBezTo>
                        <a:pt x="0" y="47851"/>
                        <a:pt x="47851" y="0"/>
                        <a:pt x="106879" y="0"/>
                      </a:cubicBezTo>
                      <a:cubicBezTo>
                        <a:pt x="165906" y="0"/>
                        <a:pt x="213757" y="47851"/>
                        <a:pt x="213757" y="106879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911" name="Grafik 297">
                  <a:extLst>
                    <a:ext uri="{FF2B5EF4-FFF2-40B4-BE49-F238E27FC236}">
                      <a16:creationId xmlns:a16="http://schemas.microsoft.com/office/drawing/2014/main" id="{4760C231-A3C9-7D03-87D8-15AB4269CB73}"/>
                    </a:ext>
                  </a:extLst>
                </p:cNvPr>
                <p:cNvGrpSpPr/>
                <p:nvPr/>
              </p:nvGrpSpPr>
              <p:grpSpPr>
                <a:xfrm>
                  <a:off x="11174966" y="3045397"/>
                  <a:ext cx="164094" cy="552660"/>
                  <a:chOff x="11174966" y="3045397"/>
                  <a:chExt cx="164094" cy="552660"/>
                </a:xfrm>
              </p:grpSpPr>
              <p:sp>
                <p:nvSpPr>
                  <p:cNvPr id="961" name="Freihandform: Form 960">
                    <a:extLst>
                      <a:ext uri="{FF2B5EF4-FFF2-40B4-BE49-F238E27FC236}">
                        <a16:creationId xmlns:a16="http://schemas.microsoft.com/office/drawing/2014/main" id="{71484A15-4E5C-0978-CEBA-525F67FC24FF}"/>
                      </a:ext>
                    </a:extLst>
                  </p:cNvPr>
                  <p:cNvSpPr/>
                  <p:nvPr/>
                </p:nvSpPr>
                <p:spPr>
                  <a:xfrm>
                    <a:off x="11174966" y="3125964"/>
                    <a:ext cx="163973" cy="472093"/>
                  </a:xfrm>
                  <a:custGeom>
                    <a:avLst/>
                    <a:gdLst>
                      <a:gd name="connsiteX0" fmla="*/ 9130 w 163973"/>
                      <a:gd name="connsiteY0" fmla="*/ 472093 h 472093"/>
                      <a:gd name="connsiteX1" fmla="*/ 94294 w 163973"/>
                      <a:gd name="connsiteY1" fmla="*/ 468161 h 472093"/>
                      <a:gd name="connsiteX2" fmla="*/ 163974 w 163973"/>
                      <a:gd name="connsiteY2" fmla="*/ 9133 h 472093"/>
                      <a:gd name="connsiteX3" fmla="*/ 118 w 163973"/>
                      <a:gd name="connsiteY3" fmla="*/ 0 h 472093"/>
                      <a:gd name="connsiteX4" fmla="*/ 9130 w 163973"/>
                      <a:gd name="connsiteY4" fmla="*/ 472093 h 4720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3973" h="472093">
                        <a:moveTo>
                          <a:pt x="9130" y="472093"/>
                        </a:moveTo>
                        <a:lnTo>
                          <a:pt x="94294" y="468161"/>
                        </a:lnTo>
                        <a:cubicBezTo>
                          <a:pt x="94294" y="468161"/>
                          <a:pt x="161071" y="61151"/>
                          <a:pt x="163974" y="9133"/>
                        </a:cubicBezTo>
                        <a:lnTo>
                          <a:pt x="118" y="0"/>
                        </a:lnTo>
                        <a:cubicBezTo>
                          <a:pt x="-1153" y="212306"/>
                          <a:pt x="8283" y="346887"/>
                          <a:pt x="9130" y="472093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62" name="Freihandform: Form 961">
                    <a:extLst>
                      <a:ext uri="{FF2B5EF4-FFF2-40B4-BE49-F238E27FC236}">
                        <a16:creationId xmlns:a16="http://schemas.microsoft.com/office/drawing/2014/main" id="{C9708FEC-D72B-C7AD-84B7-2C21276B7691}"/>
                      </a:ext>
                    </a:extLst>
                  </p:cNvPr>
                  <p:cNvSpPr/>
                  <p:nvPr/>
                </p:nvSpPr>
                <p:spPr>
                  <a:xfrm>
                    <a:off x="11175143" y="3045397"/>
                    <a:ext cx="163916" cy="163916"/>
                  </a:xfrm>
                  <a:custGeom>
                    <a:avLst/>
                    <a:gdLst>
                      <a:gd name="connsiteX0" fmla="*/ 163917 w 163916"/>
                      <a:gd name="connsiteY0" fmla="*/ 81959 h 163916"/>
                      <a:gd name="connsiteX1" fmla="*/ 81958 w 163916"/>
                      <a:gd name="connsiteY1" fmla="*/ 163917 h 163916"/>
                      <a:gd name="connsiteX2" fmla="*/ 0 w 163916"/>
                      <a:gd name="connsiteY2" fmla="*/ 81958 h 163916"/>
                      <a:gd name="connsiteX3" fmla="*/ 81958 w 163916"/>
                      <a:gd name="connsiteY3" fmla="*/ 0 h 163916"/>
                      <a:gd name="connsiteX4" fmla="*/ 163917 w 163916"/>
                      <a:gd name="connsiteY4" fmla="*/ 81959 h 1639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3916" h="163916">
                        <a:moveTo>
                          <a:pt x="163917" y="81959"/>
                        </a:moveTo>
                        <a:cubicBezTo>
                          <a:pt x="163917" y="127223"/>
                          <a:pt x="127223" y="163917"/>
                          <a:pt x="81958" y="163917"/>
                        </a:cubicBezTo>
                        <a:cubicBezTo>
                          <a:pt x="36694" y="163917"/>
                          <a:pt x="0" y="127223"/>
                          <a:pt x="0" y="81958"/>
                        </a:cubicBezTo>
                        <a:cubicBezTo>
                          <a:pt x="0" y="36694"/>
                          <a:pt x="36694" y="0"/>
                          <a:pt x="81958" y="0"/>
                        </a:cubicBezTo>
                        <a:cubicBezTo>
                          <a:pt x="127222" y="0"/>
                          <a:pt x="163917" y="36694"/>
                          <a:pt x="163917" y="81959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63" name="Freihandform: Form 962">
                    <a:extLst>
                      <a:ext uri="{FF2B5EF4-FFF2-40B4-BE49-F238E27FC236}">
                        <a16:creationId xmlns:a16="http://schemas.microsoft.com/office/drawing/2014/main" id="{05640C5D-4E45-3CAB-7D2F-783506023C71}"/>
                      </a:ext>
                    </a:extLst>
                  </p:cNvPr>
                  <p:cNvSpPr/>
                  <p:nvPr/>
                </p:nvSpPr>
                <p:spPr>
                  <a:xfrm>
                    <a:off x="11183128" y="3538055"/>
                    <a:ext cx="95265" cy="60002"/>
                  </a:xfrm>
                  <a:custGeom>
                    <a:avLst/>
                    <a:gdLst>
                      <a:gd name="connsiteX0" fmla="*/ 0 w 95265"/>
                      <a:gd name="connsiteY0" fmla="*/ 61 h 60002"/>
                      <a:gd name="connsiteX1" fmla="*/ 968 w 95265"/>
                      <a:gd name="connsiteY1" fmla="*/ 60002 h 60002"/>
                      <a:gd name="connsiteX2" fmla="*/ 86132 w 95265"/>
                      <a:gd name="connsiteY2" fmla="*/ 56070 h 60002"/>
                      <a:gd name="connsiteX3" fmla="*/ 95265 w 95265"/>
                      <a:gd name="connsiteY3" fmla="*/ 0 h 60002"/>
                      <a:gd name="connsiteX4" fmla="*/ 61 w 95265"/>
                      <a:gd name="connsiteY4" fmla="*/ 0 h 600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5265" h="60002">
                        <a:moveTo>
                          <a:pt x="0" y="61"/>
                        </a:moveTo>
                        <a:cubicBezTo>
                          <a:pt x="484" y="20444"/>
                          <a:pt x="847" y="40344"/>
                          <a:pt x="968" y="60002"/>
                        </a:cubicBezTo>
                        <a:lnTo>
                          <a:pt x="86132" y="56070"/>
                        </a:lnTo>
                        <a:cubicBezTo>
                          <a:pt x="86132" y="56070"/>
                          <a:pt x="89700" y="34235"/>
                          <a:pt x="95265" y="0"/>
                        </a:cubicBezTo>
                        <a:lnTo>
                          <a:pt x="61" y="0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12" name="Grafik 297">
                  <a:extLst>
                    <a:ext uri="{FF2B5EF4-FFF2-40B4-BE49-F238E27FC236}">
                      <a16:creationId xmlns:a16="http://schemas.microsoft.com/office/drawing/2014/main" id="{A07F25A3-9C3B-1D56-CC0B-431DF80BFC61}"/>
                    </a:ext>
                  </a:extLst>
                </p:cNvPr>
                <p:cNvGrpSpPr/>
                <p:nvPr/>
              </p:nvGrpSpPr>
              <p:grpSpPr>
                <a:xfrm>
                  <a:off x="11138852" y="2513423"/>
                  <a:ext cx="352330" cy="680527"/>
                  <a:chOff x="11138852" y="2513423"/>
                  <a:chExt cx="352330" cy="680527"/>
                </a:xfrm>
              </p:grpSpPr>
              <p:sp>
                <p:nvSpPr>
                  <p:cNvPr id="958" name="Freihandform: Form 957">
                    <a:extLst>
                      <a:ext uri="{FF2B5EF4-FFF2-40B4-BE49-F238E27FC236}">
                        <a16:creationId xmlns:a16="http://schemas.microsoft.com/office/drawing/2014/main" id="{8982724A-DCD1-0613-3742-DD5FD4827B11}"/>
                      </a:ext>
                    </a:extLst>
                  </p:cNvPr>
                  <p:cNvSpPr/>
                  <p:nvPr/>
                </p:nvSpPr>
                <p:spPr>
                  <a:xfrm>
                    <a:off x="11279482" y="2513423"/>
                    <a:ext cx="211700" cy="211700"/>
                  </a:xfrm>
                  <a:custGeom>
                    <a:avLst/>
                    <a:gdLst>
                      <a:gd name="connsiteX0" fmla="*/ 211701 w 211700"/>
                      <a:gd name="connsiteY0" fmla="*/ 105850 h 211700"/>
                      <a:gd name="connsiteX1" fmla="*/ 105851 w 211700"/>
                      <a:gd name="connsiteY1" fmla="*/ 211701 h 211700"/>
                      <a:gd name="connsiteX2" fmla="*/ 0 w 211700"/>
                      <a:gd name="connsiteY2" fmla="*/ 105850 h 211700"/>
                      <a:gd name="connsiteX3" fmla="*/ 105851 w 211700"/>
                      <a:gd name="connsiteY3" fmla="*/ 0 h 211700"/>
                      <a:gd name="connsiteX4" fmla="*/ 211701 w 211700"/>
                      <a:gd name="connsiteY4" fmla="*/ 105850 h 2117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1700" h="211700">
                        <a:moveTo>
                          <a:pt x="211701" y="105850"/>
                        </a:moveTo>
                        <a:cubicBezTo>
                          <a:pt x="211701" y="164310"/>
                          <a:pt x="164311" y="211701"/>
                          <a:pt x="105851" y="211701"/>
                        </a:cubicBezTo>
                        <a:cubicBezTo>
                          <a:pt x="47391" y="211701"/>
                          <a:pt x="0" y="164310"/>
                          <a:pt x="0" y="105850"/>
                        </a:cubicBezTo>
                        <a:cubicBezTo>
                          <a:pt x="0" y="47391"/>
                          <a:pt x="47391" y="0"/>
                          <a:pt x="105851" y="0"/>
                        </a:cubicBezTo>
                        <a:cubicBezTo>
                          <a:pt x="164311" y="0"/>
                          <a:pt x="211701" y="47391"/>
                          <a:pt x="211701" y="105850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59" name="Freihandform: Form 958">
                    <a:extLst>
                      <a:ext uri="{FF2B5EF4-FFF2-40B4-BE49-F238E27FC236}">
                        <a16:creationId xmlns:a16="http://schemas.microsoft.com/office/drawing/2014/main" id="{7C9C462B-6BDF-1E87-BBB2-AC9828BAFEC1}"/>
                      </a:ext>
                    </a:extLst>
                  </p:cNvPr>
                  <p:cNvSpPr/>
                  <p:nvPr/>
                </p:nvSpPr>
                <p:spPr>
                  <a:xfrm>
                    <a:off x="11138852" y="2521286"/>
                    <a:ext cx="309748" cy="672604"/>
                  </a:xfrm>
                  <a:custGeom>
                    <a:avLst/>
                    <a:gdLst>
                      <a:gd name="connsiteX0" fmla="*/ 206196 w 309748"/>
                      <a:gd name="connsiteY0" fmla="*/ 61 h 672604"/>
                      <a:gd name="connsiteX1" fmla="*/ 109237 w 309748"/>
                      <a:gd name="connsiteY1" fmla="*/ 151941 h 672604"/>
                      <a:gd name="connsiteX2" fmla="*/ 0 w 309748"/>
                      <a:gd name="connsiteY2" fmla="*/ 649498 h 672604"/>
                      <a:gd name="connsiteX3" fmla="*/ 210551 w 309748"/>
                      <a:gd name="connsiteY3" fmla="*/ 672604 h 672604"/>
                      <a:gd name="connsiteX4" fmla="*/ 309748 w 309748"/>
                      <a:gd name="connsiteY4" fmla="*/ 182668 h 672604"/>
                      <a:gd name="connsiteX5" fmla="*/ 206196 w 309748"/>
                      <a:gd name="connsiteY5" fmla="*/ 0 h 6726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748" h="672604">
                        <a:moveTo>
                          <a:pt x="206196" y="61"/>
                        </a:moveTo>
                        <a:cubicBezTo>
                          <a:pt x="206196" y="61"/>
                          <a:pt x="139541" y="14880"/>
                          <a:pt x="109237" y="151941"/>
                        </a:cubicBezTo>
                        <a:cubicBezTo>
                          <a:pt x="78511" y="290938"/>
                          <a:pt x="0" y="649498"/>
                          <a:pt x="0" y="649498"/>
                        </a:cubicBezTo>
                        <a:lnTo>
                          <a:pt x="210551" y="672604"/>
                        </a:lnTo>
                        <a:lnTo>
                          <a:pt x="309748" y="182668"/>
                        </a:lnTo>
                        <a:lnTo>
                          <a:pt x="206196" y="0"/>
                        </a:ln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60" name="Freihandform: Form 959">
                    <a:extLst>
                      <a:ext uri="{FF2B5EF4-FFF2-40B4-BE49-F238E27FC236}">
                        <a16:creationId xmlns:a16="http://schemas.microsoft.com/office/drawing/2014/main" id="{C70C50BC-7DB9-E4C4-AAA8-3F71C02F0C30}"/>
                      </a:ext>
                    </a:extLst>
                  </p:cNvPr>
                  <p:cNvSpPr/>
                  <p:nvPr/>
                </p:nvSpPr>
                <p:spPr>
                  <a:xfrm>
                    <a:off x="11220790" y="2704014"/>
                    <a:ext cx="227870" cy="489936"/>
                  </a:xfrm>
                  <a:custGeom>
                    <a:avLst/>
                    <a:gdLst>
                      <a:gd name="connsiteX0" fmla="*/ 68853 w 227870"/>
                      <a:gd name="connsiteY0" fmla="*/ 234202 h 489936"/>
                      <a:gd name="connsiteX1" fmla="*/ 46050 w 227870"/>
                      <a:gd name="connsiteY1" fmla="*/ 411426 h 489936"/>
                      <a:gd name="connsiteX2" fmla="*/ 1290 w 227870"/>
                      <a:gd name="connsiteY2" fmla="*/ 475964 h 489936"/>
                      <a:gd name="connsiteX3" fmla="*/ 128674 w 227870"/>
                      <a:gd name="connsiteY3" fmla="*/ 489936 h 489936"/>
                      <a:gd name="connsiteX4" fmla="*/ 227871 w 227870"/>
                      <a:gd name="connsiteY4" fmla="*/ 0 h 489936"/>
                      <a:gd name="connsiteX5" fmla="*/ 68913 w 227870"/>
                      <a:gd name="connsiteY5" fmla="*/ 234202 h 4899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27870" h="489936">
                        <a:moveTo>
                          <a:pt x="68853" y="234202"/>
                        </a:moveTo>
                        <a:cubicBezTo>
                          <a:pt x="96495" y="346403"/>
                          <a:pt x="103996" y="388804"/>
                          <a:pt x="46050" y="411426"/>
                        </a:cubicBezTo>
                        <a:cubicBezTo>
                          <a:pt x="-11896" y="434047"/>
                          <a:pt x="1290" y="475964"/>
                          <a:pt x="1290" y="475964"/>
                        </a:cubicBezTo>
                        <a:lnTo>
                          <a:pt x="128674" y="489936"/>
                        </a:lnTo>
                        <a:lnTo>
                          <a:pt x="227871" y="0"/>
                        </a:lnTo>
                        <a:cubicBezTo>
                          <a:pt x="227871" y="0"/>
                          <a:pt x="43207" y="129742"/>
                          <a:pt x="68913" y="234202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913" name="Freihandform: Form 912">
                  <a:extLst>
                    <a:ext uri="{FF2B5EF4-FFF2-40B4-BE49-F238E27FC236}">
                      <a16:creationId xmlns:a16="http://schemas.microsoft.com/office/drawing/2014/main" id="{45D7FE6D-24DC-855F-7863-5B729A15A7ED}"/>
                    </a:ext>
                  </a:extLst>
                </p:cNvPr>
                <p:cNvSpPr/>
                <p:nvPr/>
              </p:nvSpPr>
              <p:spPr>
                <a:xfrm>
                  <a:off x="11592799" y="2187522"/>
                  <a:ext cx="184482" cy="347094"/>
                </a:xfrm>
                <a:custGeom>
                  <a:avLst/>
                  <a:gdLst>
                    <a:gd name="connsiteX0" fmla="*/ 0 w 184482"/>
                    <a:gd name="connsiteY0" fmla="*/ 298440 h 347094"/>
                    <a:gd name="connsiteX1" fmla="*/ 184482 w 184482"/>
                    <a:gd name="connsiteY1" fmla="*/ 298440 h 347094"/>
                    <a:gd name="connsiteX2" fmla="*/ 184482 w 184482"/>
                    <a:gd name="connsiteY2" fmla="*/ 60307 h 347094"/>
                    <a:gd name="connsiteX3" fmla="*/ 0 w 184482"/>
                    <a:gd name="connsiteY3" fmla="*/ 60307 h 347094"/>
                    <a:gd name="connsiteX4" fmla="*/ 0 w 184482"/>
                    <a:gd name="connsiteY4" fmla="*/ 298440 h 3470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4482" h="347094">
                      <a:moveTo>
                        <a:pt x="0" y="298440"/>
                      </a:moveTo>
                      <a:cubicBezTo>
                        <a:pt x="32058" y="362858"/>
                        <a:pt x="146739" y="363765"/>
                        <a:pt x="184482" y="298440"/>
                      </a:cubicBezTo>
                      <a:lnTo>
                        <a:pt x="184482" y="60307"/>
                      </a:lnTo>
                      <a:cubicBezTo>
                        <a:pt x="151820" y="-29091"/>
                        <a:pt x="13488" y="-10583"/>
                        <a:pt x="0" y="60307"/>
                      </a:cubicBezTo>
                      <a:lnTo>
                        <a:pt x="0" y="298440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14" name="Freihandform: Form 913">
                  <a:extLst>
                    <a:ext uri="{FF2B5EF4-FFF2-40B4-BE49-F238E27FC236}">
                      <a16:creationId xmlns:a16="http://schemas.microsoft.com/office/drawing/2014/main" id="{49F3C6F3-CBDD-C0C2-EBAB-52A6D7A56ED5}"/>
                    </a:ext>
                  </a:extLst>
                </p:cNvPr>
                <p:cNvSpPr/>
                <p:nvPr/>
              </p:nvSpPr>
              <p:spPr>
                <a:xfrm>
                  <a:off x="11592799" y="2187522"/>
                  <a:ext cx="184482" cy="345619"/>
                </a:xfrm>
                <a:custGeom>
                  <a:avLst/>
                  <a:gdLst>
                    <a:gd name="connsiteX0" fmla="*/ 184482 w 184482"/>
                    <a:gd name="connsiteY0" fmla="*/ 60307 h 345619"/>
                    <a:gd name="connsiteX1" fmla="*/ 0 w 184482"/>
                    <a:gd name="connsiteY1" fmla="*/ 60307 h 345619"/>
                    <a:gd name="connsiteX2" fmla="*/ 0 w 184482"/>
                    <a:gd name="connsiteY2" fmla="*/ 298440 h 345619"/>
                    <a:gd name="connsiteX3" fmla="*/ 0 w 184482"/>
                    <a:gd name="connsiteY3" fmla="*/ 298440 h 345619"/>
                    <a:gd name="connsiteX4" fmla="*/ 5141 w 184482"/>
                    <a:gd name="connsiteY4" fmla="*/ 307090 h 345619"/>
                    <a:gd name="connsiteX5" fmla="*/ 6109 w 184482"/>
                    <a:gd name="connsiteY5" fmla="*/ 308541 h 345619"/>
                    <a:gd name="connsiteX6" fmla="*/ 12097 w 184482"/>
                    <a:gd name="connsiteY6" fmla="*/ 315981 h 345619"/>
                    <a:gd name="connsiteX7" fmla="*/ 13247 w 184482"/>
                    <a:gd name="connsiteY7" fmla="*/ 317191 h 345619"/>
                    <a:gd name="connsiteX8" fmla="*/ 28852 w 184482"/>
                    <a:gd name="connsiteY8" fmla="*/ 330014 h 345619"/>
                    <a:gd name="connsiteX9" fmla="*/ 29759 w 184482"/>
                    <a:gd name="connsiteY9" fmla="*/ 330619 h 345619"/>
                    <a:gd name="connsiteX10" fmla="*/ 38832 w 184482"/>
                    <a:gd name="connsiteY10" fmla="*/ 335639 h 345619"/>
                    <a:gd name="connsiteX11" fmla="*/ 39498 w 184482"/>
                    <a:gd name="connsiteY11" fmla="*/ 335941 h 345619"/>
                    <a:gd name="connsiteX12" fmla="*/ 60304 w 184482"/>
                    <a:gd name="connsiteY12" fmla="*/ 343381 h 345619"/>
                    <a:gd name="connsiteX13" fmla="*/ 60365 w 184482"/>
                    <a:gd name="connsiteY13" fmla="*/ 343381 h 345619"/>
                    <a:gd name="connsiteX14" fmla="*/ 71615 w 184482"/>
                    <a:gd name="connsiteY14" fmla="*/ 345619 h 345619"/>
                    <a:gd name="connsiteX15" fmla="*/ 71615 w 184482"/>
                    <a:gd name="connsiteY15" fmla="*/ 345619 h 345619"/>
                    <a:gd name="connsiteX16" fmla="*/ 41010 w 184482"/>
                    <a:gd name="connsiteY16" fmla="*/ 255556 h 345619"/>
                    <a:gd name="connsiteX17" fmla="*/ 91273 w 184482"/>
                    <a:gd name="connsiteY17" fmla="*/ 220474 h 345619"/>
                    <a:gd name="connsiteX18" fmla="*/ 184422 w 184482"/>
                    <a:gd name="connsiteY18" fmla="*/ 110329 h 345619"/>
                    <a:gd name="connsiteX19" fmla="*/ 184422 w 184482"/>
                    <a:gd name="connsiteY19" fmla="*/ 60246 h 3456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84482" h="345619">
                      <a:moveTo>
                        <a:pt x="184482" y="60307"/>
                      </a:moveTo>
                      <a:cubicBezTo>
                        <a:pt x="151820" y="-29091"/>
                        <a:pt x="13488" y="-10583"/>
                        <a:pt x="0" y="60307"/>
                      </a:cubicBezTo>
                      <a:lnTo>
                        <a:pt x="0" y="298440"/>
                      </a:lnTo>
                      <a:cubicBezTo>
                        <a:pt x="0" y="298440"/>
                        <a:pt x="0" y="298440"/>
                        <a:pt x="0" y="298440"/>
                      </a:cubicBezTo>
                      <a:cubicBezTo>
                        <a:pt x="1512" y="301465"/>
                        <a:pt x="3266" y="304307"/>
                        <a:pt x="5141" y="307090"/>
                      </a:cubicBezTo>
                      <a:cubicBezTo>
                        <a:pt x="5444" y="307574"/>
                        <a:pt x="5806" y="308057"/>
                        <a:pt x="6109" y="308541"/>
                      </a:cubicBezTo>
                      <a:cubicBezTo>
                        <a:pt x="7985" y="311142"/>
                        <a:pt x="9980" y="313622"/>
                        <a:pt x="12097" y="315981"/>
                      </a:cubicBezTo>
                      <a:cubicBezTo>
                        <a:pt x="12460" y="316405"/>
                        <a:pt x="12823" y="316767"/>
                        <a:pt x="13247" y="317191"/>
                      </a:cubicBezTo>
                      <a:cubicBezTo>
                        <a:pt x="17904" y="322030"/>
                        <a:pt x="23106" y="326324"/>
                        <a:pt x="28852" y="330014"/>
                      </a:cubicBezTo>
                      <a:cubicBezTo>
                        <a:pt x="29155" y="330195"/>
                        <a:pt x="29457" y="330437"/>
                        <a:pt x="29759" y="330619"/>
                      </a:cubicBezTo>
                      <a:cubicBezTo>
                        <a:pt x="32663" y="332433"/>
                        <a:pt x="35687" y="334127"/>
                        <a:pt x="38832" y="335639"/>
                      </a:cubicBezTo>
                      <a:cubicBezTo>
                        <a:pt x="39074" y="335760"/>
                        <a:pt x="39316" y="335881"/>
                        <a:pt x="39498" y="335941"/>
                      </a:cubicBezTo>
                      <a:cubicBezTo>
                        <a:pt x="46090" y="339087"/>
                        <a:pt x="53046" y="341567"/>
                        <a:pt x="60304" y="343381"/>
                      </a:cubicBezTo>
                      <a:cubicBezTo>
                        <a:pt x="60304" y="343381"/>
                        <a:pt x="60304" y="343381"/>
                        <a:pt x="60365" y="343381"/>
                      </a:cubicBezTo>
                      <a:cubicBezTo>
                        <a:pt x="64054" y="344289"/>
                        <a:pt x="67805" y="345075"/>
                        <a:pt x="71615" y="345619"/>
                      </a:cubicBezTo>
                      <a:cubicBezTo>
                        <a:pt x="71615" y="345619"/>
                        <a:pt x="71615" y="345619"/>
                        <a:pt x="71615" y="345619"/>
                      </a:cubicBezTo>
                      <a:cubicBezTo>
                        <a:pt x="58066" y="324328"/>
                        <a:pt x="40707" y="295779"/>
                        <a:pt x="41010" y="255556"/>
                      </a:cubicBezTo>
                      <a:cubicBezTo>
                        <a:pt x="41191" y="236079"/>
                        <a:pt x="55345" y="222349"/>
                        <a:pt x="91273" y="220474"/>
                      </a:cubicBezTo>
                      <a:cubicBezTo>
                        <a:pt x="151397" y="217389"/>
                        <a:pt x="179038" y="128535"/>
                        <a:pt x="184422" y="110329"/>
                      </a:cubicBezTo>
                      <a:lnTo>
                        <a:pt x="184422" y="60246"/>
                      </a:ln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15" name="Freihandform: Form 914">
                  <a:extLst>
                    <a:ext uri="{FF2B5EF4-FFF2-40B4-BE49-F238E27FC236}">
                      <a16:creationId xmlns:a16="http://schemas.microsoft.com/office/drawing/2014/main" id="{E283274C-61D1-8A62-55A3-C2FCB6083BD3}"/>
                    </a:ext>
                  </a:extLst>
                </p:cNvPr>
                <p:cNvSpPr/>
                <p:nvPr/>
              </p:nvSpPr>
              <p:spPr>
                <a:xfrm>
                  <a:off x="11554257" y="2045063"/>
                  <a:ext cx="261685" cy="343154"/>
                </a:xfrm>
                <a:custGeom>
                  <a:avLst/>
                  <a:gdLst>
                    <a:gd name="connsiteX0" fmla="*/ 260888 w 261685"/>
                    <a:gd name="connsiteY0" fmla="*/ 115908 h 343154"/>
                    <a:gd name="connsiteX1" fmla="*/ 226713 w 261685"/>
                    <a:gd name="connsiteY1" fmla="*/ 30200 h 343154"/>
                    <a:gd name="connsiteX2" fmla="*/ 130843 w 261685"/>
                    <a:gd name="connsiteY2" fmla="*/ 17 h 343154"/>
                    <a:gd name="connsiteX3" fmla="*/ 34973 w 261685"/>
                    <a:gd name="connsiteY3" fmla="*/ 30200 h 343154"/>
                    <a:gd name="connsiteX4" fmla="*/ 798 w 261685"/>
                    <a:gd name="connsiteY4" fmla="*/ 115908 h 343154"/>
                    <a:gd name="connsiteX5" fmla="*/ 1342 w 261685"/>
                    <a:gd name="connsiteY5" fmla="*/ 197806 h 343154"/>
                    <a:gd name="connsiteX6" fmla="*/ 40235 w 261685"/>
                    <a:gd name="connsiteY6" fmla="*/ 289080 h 343154"/>
                    <a:gd name="connsiteX7" fmla="*/ 130843 w 261685"/>
                    <a:gd name="connsiteY7" fmla="*/ 343154 h 343154"/>
                    <a:gd name="connsiteX8" fmla="*/ 221451 w 261685"/>
                    <a:gd name="connsiteY8" fmla="*/ 289080 h 343154"/>
                    <a:gd name="connsiteX9" fmla="*/ 260344 w 261685"/>
                    <a:gd name="connsiteY9" fmla="*/ 197806 h 343154"/>
                    <a:gd name="connsiteX10" fmla="*/ 260888 w 261685"/>
                    <a:gd name="connsiteY10" fmla="*/ 115908 h 343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61685" h="343154">
                      <a:moveTo>
                        <a:pt x="260888" y="115908"/>
                      </a:moveTo>
                      <a:cubicBezTo>
                        <a:pt x="260888" y="115908"/>
                        <a:pt x="257803" y="64798"/>
                        <a:pt x="226713" y="30200"/>
                      </a:cubicBezTo>
                      <a:cubicBezTo>
                        <a:pt x="201067" y="1711"/>
                        <a:pt x="148566" y="-225"/>
                        <a:pt x="130843" y="17"/>
                      </a:cubicBezTo>
                      <a:cubicBezTo>
                        <a:pt x="113120" y="-164"/>
                        <a:pt x="60558" y="1711"/>
                        <a:pt x="34973" y="30200"/>
                      </a:cubicBezTo>
                      <a:cubicBezTo>
                        <a:pt x="3883" y="64798"/>
                        <a:pt x="798" y="115908"/>
                        <a:pt x="798" y="115908"/>
                      </a:cubicBezTo>
                      <a:cubicBezTo>
                        <a:pt x="798" y="115908"/>
                        <a:pt x="-1319" y="174943"/>
                        <a:pt x="1342" y="197806"/>
                      </a:cubicBezTo>
                      <a:cubicBezTo>
                        <a:pt x="4004" y="220610"/>
                        <a:pt x="1221" y="251941"/>
                        <a:pt x="40235" y="289080"/>
                      </a:cubicBezTo>
                      <a:cubicBezTo>
                        <a:pt x="78341" y="325371"/>
                        <a:pt x="104411" y="342307"/>
                        <a:pt x="130843" y="343154"/>
                      </a:cubicBezTo>
                      <a:cubicBezTo>
                        <a:pt x="157275" y="342368"/>
                        <a:pt x="183345" y="325371"/>
                        <a:pt x="221451" y="289080"/>
                      </a:cubicBezTo>
                      <a:cubicBezTo>
                        <a:pt x="260465" y="251881"/>
                        <a:pt x="257742" y="220610"/>
                        <a:pt x="260344" y="197806"/>
                      </a:cubicBezTo>
                      <a:cubicBezTo>
                        <a:pt x="263005" y="175003"/>
                        <a:pt x="260888" y="115908"/>
                        <a:pt x="260888" y="115908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16" name="Freihandform: Form 915">
                  <a:extLst>
                    <a:ext uri="{FF2B5EF4-FFF2-40B4-BE49-F238E27FC236}">
                      <a16:creationId xmlns:a16="http://schemas.microsoft.com/office/drawing/2014/main" id="{1D0E8090-D661-D2C9-644D-C6E6573C722D}"/>
                    </a:ext>
                  </a:extLst>
                </p:cNvPr>
                <p:cNvSpPr/>
                <p:nvPr/>
              </p:nvSpPr>
              <p:spPr>
                <a:xfrm rot="-3871802">
                  <a:off x="11747236" y="2163336"/>
                  <a:ext cx="128714" cy="86011"/>
                </a:xfrm>
                <a:custGeom>
                  <a:avLst/>
                  <a:gdLst>
                    <a:gd name="connsiteX0" fmla="*/ 128714 w 128714"/>
                    <a:gd name="connsiteY0" fmla="*/ 43006 h 86011"/>
                    <a:gd name="connsiteX1" fmla="*/ 64357 w 128714"/>
                    <a:gd name="connsiteY1" fmla="*/ 86011 h 86011"/>
                    <a:gd name="connsiteX2" fmla="*/ 0 w 128714"/>
                    <a:gd name="connsiteY2" fmla="*/ 43006 h 86011"/>
                    <a:gd name="connsiteX3" fmla="*/ 64357 w 128714"/>
                    <a:gd name="connsiteY3" fmla="*/ 0 h 86011"/>
                    <a:gd name="connsiteX4" fmla="*/ 128714 w 128714"/>
                    <a:gd name="connsiteY4" fmla="*/ 43006 h 860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8714" h="86011">
                      <a:moveTo>
                        <a:pt x="128714" y="43006"/>
                      </a:moveTo>
                      <a:cubicBezTo>
                        <a:pt x="128714" y="66757"/>
                        <a:pt x="99900" y="86011"/>
                        <a:pt x="64357" y="86011"/>
                      </a:cubicBezTo>
                      <a:cubicBezTo>
                        <a:pt x="28813" y="86011"/>
                        <a:pt x="0" y="66757"/>
                        <a:pt x="0" y="43006"/>
                      </a:cubicBezTo>
                      <a:cubicBezTo>
                        <a:pt x="0" y="19254"/>
                        <a:pt x="28813" y="0"/>
                        <a:pt x="64357" y="0"/>
                      </a:cubicBezTo>
                      <a:cubicBezTo>
                        <a:pt x="99900" y="0"/>
                        <a:pt x="128714" y="19254"/>
                        <a:pt x="128714" y="43006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17" name="Freihandform: Form 916">
                  <a:extLst>
                    <a:ext uri="{FF2B5EF4-FFF2-40B4-BE49-F238E27FC236}">
                      <a16:creationId xmlns:a16="http://schemas.microsoft.com/office/drawing/2014/main" id="{706C2E24-C878-7365-2637-7979B62A4B70}"/>
                    </a:ext>
                  </a:extLst>
                </p:cNvPr>
                <p:cNvSpPr/>
                <p:nvPr/>
              </p:nvSpPr>
              <p:spPr>
                <a:xfrm rot="-1168199">
                  <a:off x="11511939" y="2141862"/>
                  <a:ext cx="86252" cy="128230"/>
                </a:xfrm>
                <a:custGeom>
                  <a:avLst/>
                  <a:gdLst>
                    <a:gd name="connsiteX0" fmla="*/ 86253 w 86252"/>
                    <a:gd name="connsiteY0" fmla="*/ 64115 h 128230"/>
                    <a:gd name="connsiteX1" fmla="*/ 43127 w 86252"/>
                    <a:gd name="connsiteY1" fmla="*/ 128230 h 128230"/>
                    <a:gd name="connsiteX2" fmla="*/ 0 w 86252"/>
                    <a:gd name="connsiteY2" fmla="*/ 64115 h 128230"/>
                    <a:gd name="connsiteX3" fmla="*/ 43127 w 86252"/>
                    <a:gd name="connsiteY3" fmla="*/ 0 h 128230"/>
                    <a:gd name="connsiteX4" fmla="*/ 86253 w 86252"/>
                    <a:gd name="connsiteY4" fmla="*/ 64115 h 128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6252" h="128230">
                      <a:moveTo>
                        <a:pt x="86253" y="64115"/>
                      </a:moveTo>
                      <a:cubicBezTo>
                        <a:pt x="86253" y="99525"/>
                        <a:pt x="66944" y="128230"/>
                        <a:pt x="43127" y="128230"/>
                      </a:cubicBezTo>
                      <a:cubicBezTo>
                        <a:pt x="19309" y="128230"/>
                        <a:pt x="0" y="99525"/>
                        <a:pt x="0" y="64115"/>
                      </a:cubicBezTo>
                      <a:cubicBezTo>
                        <a:pt x="0" y="28705"/>
                        <a:pt x="19309" y="0"/>
                        <a:pt x="43127" y="0"/>
                      </a:cubicBezTo>
                      <a:cubicBezTo>
                        <a:pt x="66944" y="0"/>
                        <a:pt x="86253" y="28705"/>
                        <a:pt x="86253" y="64115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18" name="Freihandform: Form 917">
                  <a:extLst>
                    <a:ext uri="{FF2B5EF4-FFF2-40B4-BE49-F238E27FC236}">
                      <a16:creationId xmlns:a16="http://schemas.microsoft.com/office/drawing/2014/main" id="{029DACC9-338A-D7AA-4AB5-1A2F7EBE9E74}"/>
                    </a:ext>
                  </a:extLst>
                </p:cNvPr>
                <p:cNvSpPr/>
                <p:nvPr/>
              </p:nvSpPr>
              <p:spPr>
                <a:xfrm>
                  <a:off x="11518704" y="1942617"/>
                  <a:ext cx="332793" cy="347915"/>
                </a:xfrm>
                <a:custGeom>
                  <a:avLst/>
                  <a:gdLst>
                    <a:gd name="connsiteX0" fmla="*/ 332794 w 332793"/>
                    <a:gd name="connsiteY0" fmla="*/ 173958 h 347915"/>
                    <a:gd name="connsiteX1" fmla="*/ 166397 w 332793"/>
                    <a:gd name="connsiteY1" fmla="*/ 347915 h 347915"/>
                    <a:gd name="connsiteX2" fmla="*/ 0 w 332793"/>
                    <a:gd name="connsiteY2" fmla="*/ 173958 h 347915"/>
                    <a:gd name="connsiteX3" fmla="*/ 166397 w 332793"/>
                    <a:gd name="connsiteY3" fmla="*/ 0 h 347915"/>
                    <a:gd name="connsiteX4" fmla="*/ 332794 w 332793"/>
                    <a:gd name="connsiteY4" fmla="*/ 173958 h 347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793" h="347915">
                      <a:moveTo>
                        <a:pt x="332794" y="173958"/>
                      </a:moveTo>
                      <a:cubicBezTo>
                        <a:pt x="332794" y="270032"/>
                        <a:pt x="258295" y="347915"/>
                        <a:pt x="166397" y="347915"/>
                      </a:cubicBezTo>
                      <a:cubicBezTo>
                        <a:pt x="74498" y="347915"/>
                        <a:pt x="0" y="270032"/>
                        <a:pt x="0" y="173958"/>
                      </a:cubicBezTo>
                      <a:cubicBezTo>
                        <a:pt x="0" y="77883"/>
                        <a:pt x="74498" y="0"/>
                        <a:pt x="166397" y="0"/>
                      </a:cubicBezTo>
                      <a:cubicBezTo>
                        <a:pt x="258295" y="0"/>
                        <a:pt x="332794" y="77883"/>
                        <a:pt x="332794" y="173958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19" name="Freihandform: Form 918">
                  <a:extLst>
                    <a:ext uri="{FF2B5EF4-FFF2-40B4-BE49-F238E27FC236}">
                      <a16:creationId xmlns:a16="http://schemas.microsoft.com/office/drawing/2014/main" id="{90030B3E-17B5-1132-AFBC-8879F4120D4F}"/>
                    </a:ext>
                  </a:extLst>
                </p:cNvPr>
                <p:cNvSpPr/>
                <p:nvPr/>
              </p:nvSpPr>
              <p:spPr>
                <a:xfrm>
                  <a:off x="11511370" y="1945641"/>
                  <a:ext cx="328272" cy="250230"/>
                </a:xfrm>
                <a:custGeom>
                  <a:avLst/>
                  <a:gdLst>
                    <a:gd name="connsiteX0" fmla="*/ 165625 w 328272"/>
                    <a:gd name="connsiteY0" fmla="*/ 78874 h 250230"/>
                    <a:gd name="connsiteX1" fmla="*/ 304198 w 328272"/>
                    <a:gd name="connsiteY1" fmla="*/ 250230 h 250230"/>
                    <a:gd name="connsiteX2" fmla="*/ 328272 w 328272"/>
                    <a:gd name="connsiteY2" fmla="*/ 173958 h 250230"/>
                    <a:gd name="connsiteX3" fmla="*/ 164839 w 328272"/>
                    <a:gd name="connsiteY3" fmla="*/ 0 h 250230"/>
                    <a:gd name="connsiteX4" fmla="*/ 54331 w 328272"/>
                    <a:gd name="connsiteY4" fmla="*/ 45788 h 250230"/>
                    <a:gd name="connsiteX5" fmla="*/ 20277 w 328272"/>
                    <a:gd name="connsiteY5" fmla="*/ 236561 h 250230"/>
                    <a:gd name="connsiteX6" fmla="*/ 165625 w 328272"/>
                    <a:gd name="connsiteY6" fmla="*/ 78874 h 250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8272" h="250230">
                      <a:moveTo>
                        <a:pt x="165625" y="78874"/>
                      </a:moveTo>
                      <a:cubicBezTo>
                        <a:pt x="284057" y="86374"/>
                        <a:pt x="269540" y="183756"/>
                        <a:pt x="304198" y="250230"/>
                      </a:cubicBezTo>
                      <a:cubicBezTo>
                        <a:pt x="310731" y="231419"/>
                        <a:pt x="328272" y="195188"/>
                        <a:pt x="328272" y="173958"/>
                      </a:cubicBezTo>
                      <a:cubicBezTo>
                        <a:pt x="328272" y="77845"/>
                        <a:pt x="255083" y="0"/>
                        <a:pt x="164839" y="0"/>
                      </a:cubicBezTo>
                      <a:cubicBezTo>
                        <a:pt x="122257" y="0"/>
                        <a:pt x="83424" y="17359"/>
                        <a:pt x="54331" y="45788"/>
                      </a:cubicBezTo>
                      <a:cubicBezTo>
                        <a:pt x="10841" y="66958"/>
                        <a:pt x="-23454" y="158655"/>
                        <a:pt x="20277" y="236561"/>
                      </a:cubicBezTo>
                      <a:cubicBezTo>
                        <a:pt x="62860" y="195007"/>
                        <a:pt x="58988" y="72160"/>
                        <a:pt x="165625" y="78874"/>
                      </a:cubicBezTo>
                      <a:close/>
                    </a:path>
                  </a:pathLst>
                </a:custGeom>
                <a:solidFill>
                  <a:srgbClr val="C09066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20" name="Freihandform: Form 919">
                  <a:extLst>
                    <a:ext uri="{FF2B5EF4-FFF2-40B4-BE49-F238E27FC236}">
                      <a16:creationId xmlns:a16="http://schemas.microsoft.com/office/drawing/2014/main" id="{374ED240-5611-D544-7330-9163C2057346}"/>
                    </a:ext>
                  </a:extLst>
                </p:cNvPr>
                <p:cNvSpPr/>
                <p:nvPr/>
              </p:nvSpPr>
              <p:spPr>
                <a:xfrm>
                  <a:off x="11653285" y="2232163"/>
                  <a:ext cx="48738" cy="19839"/>
                </a:xfrm>
                <a:custGeom>
                  <a:avLst/>
                  <a:gdLst>
                    <a:gd name="connsiteX0" fmla="*/ 665 w 48738"/>
                    <a:gd name="connsiteY0" fmla="*/ 0 h 19839"/>
                    <a:gd name="connsiteX1" fmla="*/ 22138 w 48738"/>
                    <a:gd name="connsiteY1" fmla="*/ 6532 h 19839"/>
                    <a:gd name="connsiteX2" fmla="*/ 48147 w 48738"/>
                    <a:gd name="connsiteY2" fmla="*/ 0 h 19839"/>
                    <a:gd name="connsiteX3" fmla="*/ 48147 w 48738"/>
                    <a:gd name="connsiteY3" fmla="*/ 5686 h 19839"/>
                    <a:gd name="connsiteX4" fmla="*/ 22985 w 48738"/>
                    <a:gd name="connsiteY4" fmla="*/ 19839 h 19839"/>
                    <a:gd name="connsiteX5" fmla="*/ 726 w 48738"/>
                    <a:gd name="connsiteY5" fmla="*/ 6291 h 19839"/>
                    <a:gd name="connsiteX6" fmla="*/ 726 w 48738"/>
                    <a:gd name="connsiteY6" fmla="*/ 0 h 198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8738" h="19839">
                      <a:moveTo>
                        <a:pt x="665" y="0"/>
                      </a:moveTo>
                      <a:cubicBezTo>
                        <a:pt x="665" y="0"/>
                        <a:pt x="6835" y="6532"/>
                        <a:pt x="22138" y="6532"/>
                      </a:cubicBezTo>
                      <a:cubicBezTo>
                        <a:pt x="41493" y="6532"/>
                        <a:pt x="48147" y="0"/>
                        <a:pt x="48147" y="0"/>
                      </a:cubicBezTo>
                      <a:cubicBezTo>
                        <a:pt x="48147" y="0"/>
                        <a:pt x="49478" y="1936"/>
                        <a:pt x="48147" y="5686"/>
                      </a:cubicBezTo>
                      <a:cubicBezTo>
                        <a:pt x="47179" y="8347"/>
                        <a:pt x="38772" y="19839"/>
                        <a:pt x="22985" y="19839"/>
                      </a:cubicBezTo>
                      <a:cubicBezTo>
                        <a:pt x="10646" y="19839"/>
                        <a:pt x="2359" y="10162"/>
                        <a:pt x="726" y="6291"/>
                      </a:cubicBezTo>
                      <a:cubicBezTo>
                        <a:pt x="-907" y="2419"/>
                        <a:pt x="726" y="0"/>
                        <a:pt x="726" y="0"/>
                      </a:cubicBez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21" name="Freihandform: Form 920">
                  <a:extLst>
                    <a:ext uri="{FF2B5EF4-FFF2-40B4-BE49-F238E27FC236}">
                      <a16:creationId xmlns:a16="http://schemas.microsoft.com/office/drawing/2014/main" id="{E860BED9-E5D7-CA33-4839-22CD4C7D6C87}"/>
                    </a:ext>
                  </a:extLst>
                </p:cNvPr>
                <p:cNvSpPr/>
                <p:nvPr/>
              </p:nvSpPr>
              <p:spPr>
                <a:xfrm>
                  <a:off x="11697217" y="2129414"/>
                  <a:ext cx="86717" cy="29137"/>
                </a:xfrm>
                <a:custGeom>
                  <a:avLst/>
                  <a:gdLst>
                    <a:gd name="connsiteX0" fmla="*/ 67725 w 86717"/>
                    <a:gd name="connsiteY0" fmla="*/ 10931 h 29137"/>
                    <a:gd name="connsiteX1" fmla="*/ 34518 w 86717"/>
                    <a:gd name="connsiteY1" fmla="*/ 467 h 29137"/>
                    <a:gd name="connsiteX2" fmla="*/ 34518 w 86717"/>
                    <a:gd name="connsiteY2" fmla="*/ 467 h 29137"/>
                    <a:gd name="connsiteX3" fmla="*/ 4760 w 86717"/>
                    <a:gd name="connsiteY3" fmla="*/ 3854 h 29137"/>
                    <a:gd name="connsiteX4" fmla="*/ 2643 w 86717"/>
                    <a:gd name="connsiteY4" fmla="*/ 5487 h 29137"/>
                    <a:gd name="connsiteX5" fmla="*/ 8631 w 86717"/>
                    <a:gd name="connsiteY5" fmla="*/ 20609 h 29137"/>
                    <a:gd name="connsiteX6" fmla="*/ 25567 w 86717"/>
                    <a:gd name="connsiteY6" fmla="*/ 19036 h 29137"/>
                    <a:gd name="connsiteX7" fmla="*/ 65306 w 86717"/>
                    <a:gd name="connsiteY7" fmla="*/ 21335 h 29137"/>
                    <a:gd name="connsiteX8" fmla="*/ 86718 w 86717"/>
                    <a:gd name="connsiteY8" fmla="*/ 29137 h 29137"/>
                    <a:gd name="connsiteX9" fmla="*/ 67665 w 86717"/>
                    <a:gd name="connsiteY9" fmla="*/ 10991 h 29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6717" h="29137">
                      <a:moveTo>
                        <a:pt x="67725" y="10931"/>
                      </a:moveTo>
                      <a:cubicBezTo>
                        <a:pt x="56233" y="3612"/>
                        <a:pt x="43773" y="830"/>
                        <a:pt x="34518" y="467"/>
                      </a:cubicBezTo>
                      <a:lnTo>
                        <a:pt x="34518" y="467"/>
                      </a:lnTo>
                      <a:cubicBezTo>
                        <a:pt x="18671" y="-1106"/>
                        <a:pt x="8207" y="1616"/>
                        <a:pt x="4760" y="3854"/>
                      </a:cubicBezTo>
                      <a:cubicBezTo>
                        <a:pt x="3973" y="4399"/>
                        <a:pt x="3248" y="4943"/>
                        <a:pt x="2643" y="5487"/>
                      </a:cubicBezTo>
                      <a:cubicBezTo>
                        <a:pt x="-2983" y="10871"/>
                        <a:pt x="1010" y="20790"/>
                        <a:pt x="8631" y="20609"/>
                      </a:cubicBezTo>
                      <a:cubicBezTo>
                        <a:pt x="12139" y="20548"/>
                        <a:pt x="20668" y="19580"/>
                        <a:pt x="25567" y="19036"/>
                      </a:cubicBezTo>
                      <a:cubicBezTo>
                        <a:pt x="34095" y="18129"/>
                        <a:pt x="58350" y="19399"/>
                        <a:pt x="65306" y="21335"/>
                      </a:cubicBezTo>
                      <a:cubicBezTo>
                        <a:pt x="78916" y="25024"/>
                        <a:pt x="86718" y="29137"/>
                        <a:pt x="86718" y="29137"/>
                      </a:cubicBezTo>
                      <a:cubicBezTo>
                        <a:pt x="86718" y="29137"/>
                        <a:pt x="83028" y="20790"/>
                        <a:pt x="67665" y="10991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22" name="Freihandform: Form 921">
                  <a:extLst>
                    <a:ext uri="{FF2B5EF4-FFF2-40B4-BE49-F238E27FC236}">
                      <a16:creationId xmlns:a16="http://schemas.microsoft.com/office/drawing/2014/main" id="{3559512A-4233-1CFD-2C03-0A98F2E653F5}"/>
                    </a:ext>
                  </a:extLst>
                </p:cNvPr>
                <p:cNvSpPr/>
                <p:nvPr/>
              </p:nvSpPr>
              <p:spPr>
                <a:xfrm>
                  <a:off x="11633687" y="2269845"/>
                  <a:ext cx="95568" cy="44941"/>
                </a:xfrm>
                <a:custGeom>
                  <a:avLst/>
                  <a:gdLst>
                    <a:gd name="connsiteX0" fmla="*/ 0 w 95568"/>
                    <a:gd name="connsiteY0" fmla="*/ 4961 h 44941"/>
                    <a:gd name="connsiteX1" fmla="*/ 36170 w 95568"/>
                    <a:gd name="connsiteY1" fmla="*/ 545 h 44941"/>
                    <a:gd name="connsiteX2" fmla="*/ 45607 w 95568"/>
                    <a:gd name="connsiteY2" fmla="*/ 3630 h 44941"/>
                    <a:gd name="connsiteX3" fmla="*/ 54498 w 95568"/>
                    <a:gd name="connsiteY3" fmla="*/ 1 h 44941"/>
                    <a:gd name="connsiteX4" fmla="*/ 95568 w 95568"/>
                    <a:gd name="connsiteY4" fmla="*/ 5263 h 44941"/>
                    <a:gd name="connsiteX5" fmla="*/ 44396 w 95568"/>
                    <a:gd name="connsiteY5" fmla="*/ 44942 h 44941"/>
                    <a:gd name="connsiteX6" fmla="*/ 61 w 95568"/>
                    <a:gd name="connsiteY6" fmla="*/ 4900 h 449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5568" h="44941">
                      <a:moveTo>
                        <a:pt x="0" y="4961"/>
                      </a:moveTo>
                      <a:cubicBezTo>
                        <a:pt x="0" y="4961"/>
                        <a:pt x="12339" y="2602"/>
                        <a:pt x="36170" y="545"/>
                      </a:cubicBezTo>
                      <a:cubicBezTo>
                        <a:pt x="38046" y="364"/>
                        <a:pt x="40163" y="3811"/>
                        <a:pt x="45607" y="3630"/>
                      </a:cubicBezTo>
                      <a:cubicBezTo>
                        <a:pt x="52139" y="3448"/>
                        <a:pt x="52381" y="-60"/>
                        <a:pt x="54498" y="1"/>
                      </a:cubicBezTo>
                      <a:cubicBezTo>
                        <a:pt x="80144" y="908"/>
                        <a:pt x="95568" y="5263"/>
                        <a:pt x="95568" y="5263"/>
                      </a:cubicBezTo>
                      <a:cubicBezTo>
                        <a:pt x="95568" y="5263"/>
                        <a:pt x="82865" y="44942"/>
                        <a:pt x="44396" y="44942"/>
                      </a:cubicBezTo>
                      <a:cubicBezTo>
                        <a:pt x="9799" y="44942"/>
                        <a:pt x="61" y="4900"/>
                        <a:pt x="61" y="4900"/>
                      </a:cubicBez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23" name="Freihandform: Form 922">
                  <a:extLst>
                    <a:ext uri="{FF2B5EF4-FFF2-40B4-BE49-F238E27FC236}">
                      <a16:creationId xmlns:a16="http://schemas.microsoft.com/office/drawing/2014/main" id="{582EADF2-772F-80C6-5B42-3BDF1D98E3DD}"/>
                    </a:ext>
                  </a:extLst>
                </p:cNvPr>
                <p:cNvSpPr/>
                <p:nvPr/>
              </p:nvSpPr>
              <p:spPr>
                <a:xfrm rot="-5166000">
                  <a:off x="11600716" y="2174957"/>
                  <a:ext cx="24920" cy="23468"/>
                </a:xfrm>
                <a:custGeom>
                  <a:avLst/>
                  <a:gdLst>
                    <a:gd name="connsiteX0" fmla="*/ 24920 w 24920"/>
                    <a:gd name="connsiteY0" fmla="*/ 11734 h 23468"/>
                    <a:gd name="connsiteX1" fmla="*/ 12459 w 24920"/>
                    <a:gd name="connsiteY1" fmla="*/ 23469 h 23468"/>
                    <a:gd name="connsiteX2" fmla="*/ -1 w 24920"/>
                    <a:gd name="connsiteY2" fmla="*/ 11734 h 23468"/>
                    <a:gd name="connsiteX3" fmla="*/ 12459 w 24920"/>
                    <a:gd name="connsiteY3" fmla="*/ 0 h 23468"/>
                    <a:gd name="connsiteX4" fmla="*/ 24920 w 24920"/>
                    <a:gd name="connsiteY4" fmla="*/ 11734 h 234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920" h="23468">
                      <a:moveTo>
                        <a:pt x="24920" y="11734"/>
                      </a:moveTo>
                      <a:cubicBezTo>
                        <a:pt x="24920" y="18215"/>
                        <a:pt x="19342" y="23469"/>
                        <a:pt x="12459" y="23469"/>
                      </a:cubicBezTo>
                      <a:cubicBezTo>
                        <a:pt x="5578" y="23469"/>
                        <a:pt x="-1" y="18215"/>
                        <a:pt x="-1" y="11734"/>
                      </a:cubicBezTo>
                      <a:cubicBezTo>
                        <a:pt x="-1" y="5254"/>
                        <a:pt x="5577" y="0"/>
                        <a:pt x="12459" y="0"/>
                      </a:cubicBezTo>
                      <a:cubicBezTo>
                        <a:pt x="19341" y="0"/>
                        <a:pt x="24920" y="5254"/>
                        <a:pt x="24920" y="11734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24" name="Freihandform: Form 923">
                  <a:extLst>
                    <a:ext uri="{FF2B5EF4-FFF2-40B4-BE49-F238E27FC236}">
                      <a16:creationId xmlns:a16="http://schemas.microsoft.com/office/drawing/2014/main" id="{5DAF6524-BF23-FA80-0DF3-04F3BEF9712F}"/>
                    </a:ext>
                  </a:extLst>
                </p:cNvPr>
                <p:cNvSpPr/>
                <p:nvPr/>
              </p:nvSpPr>
              <p:spPr>
                <a:xfrm>
                  <a:off x="11570056" y="2130443"/>
                  <a:ext cx="86657" cy="29137"/>
                </a:xfrm>
                <a:custGeom>
                  <a:avLst/>
                  <a:gdLst>
                    <a:gd name="connsiteX0" fmla="*/ 19053 w 86657"/>
                    <a:gd name="connsiteY0" fmla="*/ 10931 h 29137"/>
                    <a:gd name="connsiteX1" fmla="*/ 52199 w 86657"/>
                    <a:gd name="connsiteY1" fmla="*/ 467 h 29137"/>
                    <a:gd name="connsiteX2" fmla="*/ 52199 w 86657"/>
                    <a:gd name="connsiteY2" fmla="*/ 467 h 29137"/>
                    <a:gd name="connsiteX3" fmla="*/ 81898 w 86657"/>
                    <a:gd name="connsiteY3" fmla="*/ 3854 h 29137"/>
                    <a:gd name="connsiteX4" fmla="*/ 84015 w 86657"/>
                    <a:gd name="connsiteY4" fmla="*/ 5487 h 29137"/>
                    <a:gd name="connsiteX5" fmla="*/ 78027 w 86657"/>
                    <a:gd name="connsiteY5" fmla="*/ 20609 h 29137"/>
                    <a:gd name="connsiteX6" fmla="*/ 61151 w 86657"/>
                    <a:gd name="connsiteY6" fmla="*/ 19036 h 29137"/>
                    <a:gd name="connsiteX7" fmla="*/ 21412 w 86657"/>
                    <a:gd name="connsiteY7" fmla="*/ 21335 h 29137"/>
                    <a:gd name="connsiteX8" fmla="*/ 0 w 86657"/>
                    <a:gd name="connsiteY8" fmla="*/ 29137 h 29137"/>
                    <a:gd name="connsiteX9" fmla="*/ 18993 w 86657"/>
                    <a:gd name="connsiteY9" fmla="*/ 10991 h 29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6657" h="29137">
                      <a:moveTo>
                        <a:pt x="19053" y="10931"/>
                      </a:moveTo>
                      <a:cubicBezTo>
                        <a:pt x="30546" y="3612"/>
                        <a:pt x="43005" y="830"/>
                        <a:pt x="52199" y="467"/>
                      </a:cubicBezTo>
                      <a:lnTo>
                        <a:pt x="52199" y="467"/>
                      </a:lnTo>
                      <a:cubicBezTo>
                        <a:pt x="67986" y="-1106"/>
                        <a:pt x="78511" y="1616"/>
                        <a:pt x="81898" y="3854"/>
                      </a:cubicBezTo>
                      <a:cubicBezTo>
                        <a:pt x="82685" y="4399"/>
                        <a:pt x="83410" y="4943"/>
                        <a:pt x="84015" y="5487"/>
                      </a:cubicBezTo>
                      <a:cubicBezTo>
                        <a:pt x="89641" y="10871"/>
                        <a:pt x="85648" y="20790"/>
                        <a:pt x="78027" y="20609"/>
                      </a:cubicBezTo>
                      <a:cubicBezTo>
                        <a:pt x="74519" y="20548"/>
                        <a:pt x="65990" y="19581"/>
                        <a:pt x="61151" y="19036"/>
                      </a:cubicBezTo>
                      <a:cubicBezTo>
                        <a:pt x="52623" y="18129"/>
                        <a:pt x="28368" y="19399"/>
                        <a:pt x="21412" y="21335"/>
                      </a:cubicBezTo>
                      <a:cubicBezTo>
                        <a:pt x="7803" y="25024"/>
                        <a:pt x="0" y="29137"/>
                        <a:pt x="0" y="29137"/>
                      </a:cubicBezTo>
                      <a:cubicBezTo>
                        <a:pt x="0" y="29137"/>
                        <a:pt x="3690" y="20790"/>
                        <a:pt x="18993" y="10991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25" name="Freihandform: Form 924">
                  <a:extLst>
                    <a:ext uri="{FF2B5EF4-FFF2-40B4-BE49-F238E27FC236}">
                      <a16:creationId xmlns:a16="http://schemas.microsoft.com/office/drawing/2014/main" id="{855F111C-430F-8D92-9B1E-E56D968C0A33}"/>
                    </a:ext>
                  </a:extLst>
                </p:cNvPr>
                <p:cNvSpPr/>
                <p:nvPr/>
              </p:nvSpPr>
              <p:spPr>
                <a:xfrm>
                  <a:off x="11580553" y="2168491"/>
                  <a:ext cx="64100" cy="16950"/>
                </a:xfrm>
                <a:custGeom>
                  <a:avLst/>
                  <a:gdLst>
                    <a:gd name="connsiteX0" fmla="*/ 2085 w 64100"/>
                    <a:gd name="connsiteY0" fmla="*/ 10989 h 16950"/>
                    <a:gd name="connsiteX1" fmla="*/ 28637 w 64100"/>
                    <a:gd name="connsiteY1" fmla="*/ 101 h 16950"/>
                    <a:gd name="connsiteX2" fmla="*/ 62631 w 64100"/>
                    <a:gd name="connsiteY2" fmla="*/ 10807 h 16950"/>
                    <a:gd name="connsiteX3" fmla="*/ 60574 w 64100"/>
                    <a:gd name="connsiteY3" fmla="*/ 16614 h 16950"/>
                    <a:gd name="connsiteX4" fmla="*/ 33598 w 64100"/>
                    <a:gd name="connsiteY4" fmla="*/ 7178 h 16950"/>
                    <a:gd name="connsiteX5" fmla="*/ 6742 w 64100"/>
                    <a:gd name="connsiteY5" fmla="*/ 13166 h 16950"/>
                    <a:gd name="connsiteX6" fmla="*/ 814 w 64100"/>
                    <a:gd name="connsiteY6" fmla="*/ 15767 h 16950"/>
                    <a:gd name="connsiteX7" fmla="*/ 2085 w 64100"/>
                    <a:gd name="connsiteY7" fmla="*/ 10928 h 16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4100" h="16950">
                      <a:moveTo>
                        <a:pt x="2085" y="10989"/>
                      </a:moveTo>
                      <a:cubicBezTo>
                        <a:pt x="5049" y="7965"/>
                        <a:pt x="14847" y="888"/>
                        <a:pt x="28637" y="101"/>
                      </a:cubicBezTo>
                      <a:cubicBezTo>
                        <a:pt x="47449" y="-927"/>
                        <a:pt x="58215" y="6090"/>
                        <a:pt x="62631" y="10807"/>
                      </a:cubicBezTo>
                      <a:cubicBezTo>
                        <a:pt x="65837" y="14255"/>
                        <a:pt x="63175" y="18126"/>
                        <a:pt x="60574" y="16614"/>
                      </a:cubicBezTo>
                      <a:cubicBezTo>
                        <a:pt x="53800" y="12743"/>
                        <a:pt x="50171" y="9174"/>
                        <a:pt x="33598" y="7178"/>
                      </a:cubicBezTo>
                      <a:cubicBezTo>
                        <a:pt x="21984" y="5787"/>
                        <a:pt x="10976" y="10807"/>
                        <a:pt x="6742" y="13166"/>
                      </a:cubicBezTo>
                      <a:cubicBezTo>
                        <a:pt x="3476" y="14981"/>
                        <a:pt x="1843" y="16493"/>
                        <a:pt x="814" y="15767"/>
                      </a:cubicBezTo>
                      <a:cubicBezTo>
                        <a:pt x="-1000" y="14437"/>
                        <a:pt x="573" y="12501"/>
                        <a:pt x="2085" y="1092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26" name="Freihandform: Form 925">
                  <a:extLst>
                    <a:ext uri="{FF2B5EF4-FFF2-40B4-BE49-F238E27FC236}">
                      <a16:creationId xmlns:a16="http://schemas.microsoft.com/office/drawing/2014/main" id="{D6985048-3467-02B2-4CBF-32E95ED08F9A}"/>
                    </a:ext>
                  </a:extLst>
                </p:cNvPr>
                <p:cNvSpPr/>
                <p:nvPr/>
              </p:nvSpPr>
              <p:spPr>
                <a:xfrm rot="-234000">
                  <a:off x="11725754" y="2174535"/>
                  <a:ext cx="23468" cy="24920"/>
                </a:xfrm>
                <a:custGeom>
                  <a:avLst/>
                  <a:gdLst>
                    <a:gd name="connsiteX0" fmla="*/ 23468 w 23468"/>
                    <a:gd name="connsiteY0" fmla="*/ 12460 h 24920"/>
                    <a:gd name="connsiteX1" fmla="*/ 11734 w 23468"/>
                    <a:gd name="connsiteY1" fmla="*/ 24920 h 24920"/>
                    <a:gd name="connsiteX2" fmla="*/ 1 w 23468"/>
                    <a:gd name="connsiteY2" fmla="*/ 12460 h 24920"/>
                    <a:gd name="connsiteX3" fmla="*/ 11734 w 23468"/>
                    <a:gd name="connsiteY3" fmla="*/ 0 h 24920"/>
                    <a:gd name="connsiteX4" fmla="*/ 23468 w 23468"/>
                    <a:gd name="connsiteY4" fmla="*/ 12460 h 249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468" h="24920">
                      <a:moveTo>
                        <a:pt x="23468" y="12460"/>
                      </a:moveTo>
                      <a:cubicBezTo>
                        <a:pt x="23468" y="19342"/>
                        <a:pt x="18215" y="24920"/>
                        <a:pt x="11734" y="24920"/>
                      </a:cubicBezTo>
                      <a:cubicBezTo>
                        <a:pt x="5254" y="24920"/>
                        <a:pt x="1" y="19342"/>
                        <a:pt x="1" y="12460"/>
                      </a:cubicBezTo>
                      <a:cubicBezTo>
                        <a:pt x="1" y="5579"/>
                        <a:pt x="5254" y="0"/>
                        <a:pt x="11734" y="0"/>
                      </a:cubicBezTo>
                      <a:cubicBezTo>
                        <a:pt x="18215" y="0"/>
                        <a:pt x="23468" y="5579"/>
                        <a:pt x="23468" y="12460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27" name="Freihandform: Form 926">
                  <a:extLst>
                    <a:ext uri="{FF2B5EF4-FFF2-40B4-BE49-F238E27FC236}">
                      <a16:creationId xmlns:a16="http://schemas.microsoft.com/office/drawing/2014/main" id="{CA9E9467-3662-E3EF-1CEC-9C2805D8B6C7}"/>
                    </a:ext>
                  </a:extLst>
                </p:cNvPr>
                <p:cNvSpPr/>
                <p:nvPr/>
              </p:nvSpPr>
              <p:spPr>
                <a:xfrm>
                  <a:off x="11706252" y="2168491"/>
                  <a:ext cx="64101" cy="16950"/>
                </a:xfrm>
                <a:custGeom>
                  <a:avLst/>
                  <a:gdLst>
                    <a:gd name="connsiteX0" fmla="*/ 62017 w 64101"/>
                    <a:gd name="connsiteY0" fmla="*/ 10989 h 16950"/>
                    <a:gd name="connsiteX1" fmla="*/ 35463 w 64101"/>
                    <a:gd name="connsiteY1" fmla="*/ 101 h 16950"/>
                    <a:gd name="connsiteX2" fmla="*/ 1470 w 64101"/>
                    <a:gd name="connsiteY2" fmla="*/ 10807 h 16950"/>
                    <a:gd name="connsiteX3" fmla="*/ 3526 w 64101"/>
                    <a:gd name="connsiteY3" fmla="*/ 16614 h 16950"/>
                    <a:gd name="connsiteX4" fmla="*/ 30504 w 64101"/>
                    <a:gd name="connsiteY4" fmla="*/ 7178 h 16950"/>
                    <a:gd name="connsiteX5" fmla="*/ 57359 w 64101"/>
                    <a:gd name="connsiteY5" fmla="*/ 13166 h 16950"/>
                    <a:gd name="connsiteX6" fmla="*/ 63287 w 64101"/>
                    <a:gd name="connsiteY6" fmla="*/ 15767 h 16950"/>
                    <a:gd name="connsiteX7" fmla="*/ 62017 w 64101"/>
                    <a:gd name="connsiteY7" fmla="*/ 10928 h 16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4101" h="16950">
                      <a:moveTo>
                        <a:pt x="62017" y="10989"/>
                      </a:moveTo>
                      <a:cubicBezTo>
                        <a:pt x="59053" y="7965"/>
                        <a:pt x="49254" y="888"/>
                        <a:pt x="35463" y="101"/>
                      </a:cubicBezTo>
                      <a:cubicBezTo>
                        <a:pt x="16652" y="-927"/>
                        <a:pt x="5885" y="6090"/>
                        <a:pt x="1470" y="10807"/>
                      </a:cubicBezTo>
                      <a:cubicBezTo>
                        <a:pt x="-1736" y="14255"/>
                        <a:pt x="926" y="18126"/>
                        <a:pt x="3526" y="16614"/>
                      </a:cubicBezTo>
                      <a:cubicBezTo>
                        <a:pt x="10301" y="12743"/>
                        <a:pt x="13931" y="9174"/>
                        <a:pt x="30504" y="7178"/>
                      </a:cubicBezTo>
                      <a:cubicBezTo>
                        <a:pt x="42116" y="5787"/>
                        <a:pt x="53125" y="10807"/>
                        <a:pt x="57359" y="13166"/>
                      </a:cubicBezTo>
                      <a:cubicBezTo>
                        <a:pt x="60625" y="14981"/>
                        <a:pt x="62259" y="16493"/>
                        <a:pt x="63287" y="15767"/>
                      </a:cubicBezTo>
                      <a:cubicBezTo>
                        <a:pt x="65101" y="14437"/>
                        <a:pt x="63529" y="12501"/>
                        <a:pt x="62017" y="1092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28" name="Freihandform: Form 927">
                  <a:extLst>
                    <a:ext uri="{FF2B5EF4-FFF2-40B4-BE49-F238E27FC236}">
                      <a16:creationId xmlns:a16="http://schemas.microsoft.com/office/drawing/2014/main" id="{86412592-BE6D-C93D-C06E-CF4643BECBAA}"/>
                    </a:ext>
                  </a:extLst>
                </p:cNvPr>
                <p:cNvSpPr/>
                <p:nvPr/>
              </p:nvSpPr>
              <p:spPr>
                <a:xfrm>
                  <a:off x="11643728" y="2279947"/>
                  <a:ext cx="75425" cy="18026"/>
                </a:xfrm>
                <a:custGeom>
                  <a:avLst/>
                  <a:gdLst>
                    <a:gd name="connsiteX0" fmla="*/ 61 w 75425"/>
                    <a:gd name="connsiteY0" fmla="*/ 0 h 18026"/>
                    <a:gd name="connsiteX1" fmla="*/ 75426 w 75425"/>
                    <a:gd name="connsiteY1" fmla="*/ 0 h 18026"/>
                    <a:gd name="connsiteX2" fmla="*/ 36533 w 75425"/>
                    <a:gd name="connsiteY2" fmla="*/ 18025 h 18026"/>
                    <a:gd name="connsiteX3" fmla="*/ 0 w 75425"/>
                    <a:gd name="connsiteY3" fmla="*/ 0 h 18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5425" h="18026">
                      <a:moveTo>
                        <a:pt x="61" y="0"/>
                      </a:moveTo>
                      <a:cubicBezTo>
                        <a:pt x="28731" y="3266"/>
                        <a:pt x="42340" y="3145"/>
                        <a:pt x="75426" y="0"/>
                      </a:cubicBezTo>
                      <a:cubicBezTo>
                        <a:pt x="75426" y="0"/>
                        <a:pt x="64054" y="17843"/>
                        <a:pt x="36533" y="18025"/>
                      </a:cubicBezTo>
                      <a:cubicBezTo>
                        <a:pt x="19355" y="18146"/>
                        <a:pt x="9012" y="10646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29" name="Freihandform: Form 928">
                  <a:extLst>
                    <a:ext uri="{FF2B5EF4-FFF2-40B4-BE49-F238E27FC236}">
                      <a16:creationId xmlns:a16="http://schemas.microsoft.com/office/drawing/2014/main" id="{C2172D30-574D-CADE-3FBE-1BCB24768CFC}"/>
                    </a:ext>
                  </a:extLst>
                </p:cNvPr>
                <p:cNvSpPr/>
                <p:nvPr/>
              </p:nvSpPr>
              <p:spPr>
                <a:xfrm>
                  <a:off x="11573867" y="1928127"/>
                  <a:ext cx="300796" cy="234231"/>
                </a:xfrm>
                <a:custGeom>
                  <a:avLst/>
                  <a:gdLst>
                    <a:gd name="connsiteX0" fmla="*/ 61 w 300796"/>
                    <a:gd name="connsiteY0" fmla="*/ 61185 h 234231"/>
                    <a:gd name="connsiteX1" fmla="*/ 196458 w 300796"/>
                    <a:gd name="connsiteY1" fmla="*/ 219417 h 234231"/>
                    <a:gd name="connsiteX2" fmla="*/ 300797 w 300796"/>
                    <a:gd name="connsiteY2" fmla="*/ 230123 h 234231"/>
                    <a:gd name="connsiteX3" fmla="*/ 275090 w 300796"/>
                    <a:gd name="connsiteY3" fmla="*/ 135220 h 234231"/>
                    <a:gd name="connsiteX4" fmla="*/ 0 w 300796"/>
                    <a:gd name="connsiteY4" fmla="*/ 61185 h 2342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0796" h="234231">
                      <a:moveTo>
                        <a:pt x="61" y="61185"/>
                      </a:moveTo>
                      <a:cubicBezTo>
                        <a:pt x="-2843" y="129172"/>
                        <a:pt x="103250" y="194254"/>
                        <a:pt x="196458" y="219417"/>
                      </a:cubicBezTo>
                      <a:cubicBezTo>
                        <a:pt x="289667" y="244518"/>
                        <a:pt x="300797" y="230123"/>
                        <a:pt x="300797" y="230123"/>
                      </a:cubicBezTo>
                      <a:cubicBezTo>
                        <a:pt x="300797" y="230123"/>
                        <a:pt x="277812" y="221836"/>
                        <a:pt x="275090" y="135220"/>
                      </a:cubicBezTo>
                      <a:cubicBezTo>
                        <a:pt x="272005" y="37354"/>
                        <a:pt x="118129" y="-70735"/>
                        <a:pt x="0" y="61185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30" name="Freihandform: Form 929">
                  <a:extLst>
                    <a:ext uri="{FF2B5EF4-FFF2-40B4-BE49-F238E27FC236}">
                      <a16:creationId xmlns:a16="http://schemas.microsoft.com/office/drawing/2014/main" id="{9431A6B2-0A68-2492-C4B3-B5B155281044}"/>
                    </a:ext>
                  </a:extLst>
                </p:cNvPr>
                <p:cNvSpPr/>
                <p:nvPr/>
              </p:nvSpPr>
              <p:spPr>
                <a:xfrm>
                  <a:off x="11301257" y="2440900"/>
                  <a:ext cx="766961" cy="1169315"/>
                </a:xfrm>
                <a:custGeom>
                  <a:avLst/>
                  <a:gdLst>
                    <a:gd name="connsiteX0" fmla="*/ 110749 w 766961"/>
                    <a:gd name="connsiteY0" fmla="*/ 634680 h 1169315"/>
                    <a:gd name="connsiteX1" fmla="*/ 0 w 766961"/>
                    <a:gd name="connsiteY1" fmla="*/ 1169315 h 1169315"/>
                    <a:gd name="connsiteX2" fmla="*/ 766962 w 766961"/>
                    <a:gd name="connsiteY2" fmla="*/ 1169315 h 1169315"/>
                    <a:gd name="connsiteX3" fmla="*/ 659962 w 766961"/>
                    <a:gd name="connsiteY3" fmla="*/ 653794 h 1169315"/>
                    <a:gd name="connsiteX4" fmla="*/ 722565 w 766961"/>
                    <a:gd name="connsiteY4" fmla="*/ 82625 h 1169315"/>
                    <a:gd name="connsiteX5" fmla="*/ 508929 w 766961"/>
                    <a:gd name="connsiteY5" fmla="*/ 908 h 1169315"/>
                    <a:gd name="connsiteX6" fmla="*/ 494594 w 766961"/>
                    <a:gd name="connsiteY6" fmla="*/ 5384 h 1169315"/>
                    <a:gd name="connsiteX7" fmla="*/ 380094 w 766961"/>
                    <a:gd name="connsiteY7" fmla="*/ 133130 h 1169315"/>
                    <a:gd name="connsiteX8" fmla="*/ 272368 w 766961"/>
                    <a:gd name="connsiteY8" fmla="*/ 5082 h 1169315"/>
                    <a:gd name="connsiteX9" fmla="*/ 261360 w 766961"/>
                    <a:gd name="connsiteY9" fmla="*/ 1452 h 1169315"/>
                    <a:gd name="connsiteX10" fmla="*/ 45909 w 766961"/>
                    <a:gd name="connsiteY10" fmla="*/ 79721 h 1169315"/>
                    <a:gd name="connsiteX11" fmla="*/ 110871 w 766961"/>
                    <a:gd name="connsiteY11" fmla="*/ 634801 h 1169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766961" h="1169315">
                      <a:moveTo>
                        <a:pt x="110749" y="634680"/>
                      </a:moveTo>
                      <a:cubicBezTo>
                        <a:pt x="21351" y="876745"/>
                        <a:pt x="3145" y="1117539"/>
                        <a:pt x="0" y="1169315"/>
                      </a:cubicBezTo>
                      <a:lnTo>
                        <a:pt x="766962" y="1169315"/>
                      </a:lnTo>
                      <a:cubicBezTo>
                        <a:pt x="762849" y="1116995"/>
                        <a:pt x="736597" y="804464"/>
                        <a:pt x="659962" y="653794"/>
                      </a:cubicBezTo>
                      <a:cubicBezTo>
                        <a:pt x="619436" y="574134"/>
                        <a:pt x="722565" y="82625"/>
                        <a:pt x="722565" y="82625"/>
                      </a:cubicBezTo>
                      <a:cubicBezTo>
                        <a:pt x="640788" y="50023"/>
                        <a:pt x="609517" y="37381"/>
                        <a:pt x="508929" y="908"/>
                      </a:cubicBezTo>
                      <a:cubicBezTo>
                        <a:pt x="503425" y="-1088"/>
                        <a:pt x="497497" y="122"/>
                        <a:pt x="494594" y="5384"/>
                      </a:cubicBezTo>
                      <a:cubicBezTo>
                        <a:pt x="476568" y="38409"/>
                        <a:pt x="414450" y="134884"/>
                        <a:pt x="380094" y="133130"/>
                      </a:cubicBezTo>
                      <a:cubicBezTo>
                        <a:pt x="339870" y="131013"/>
                        <a:pt x="286461" y="35748"/>
                        <a:pt x="272368" y="5082"/>
                      </a:cubicBezTo>
                      <a:cubicBezTo>
                        <a:pt x="270372" y="727"/>
                        <a:pt x="265714" y="-181"/>
                        <a:pt x="261360" y="1452"/>
                      </a:cubicBezTo>
                      <a:cubicBezTo>
                        <a:pt x="177829" y="32240"/>
                        <a:pt x="141537" y="44700"/>
                        <a:pt x="45909" y="79721"/>
                      </a:cubicBezTo>
                      <a:cubicBezTo>
                        <a:pt x="45909" y="79721"/>
                        <a:pt x="113532" y="475420"/>
                        <a:pt x="110871" y="634801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31" name="Freihandform: Form 930">
                  <a:extLst>
                    <a:ext uri="{FF2B5EF4-FFF2-40B4-BE49-F238E27FC236}">
                      <a16:creationId xmlns:a16="http://schemas.microsoft.com/office/drawing/2014/main" id="{2580F7A7-08DC-D03D-9513-2FE65392A945}"/>
                    </a:ext>
                  </a:extLst>
                </p:cNvPr>
                <p:cNvSpPr/>
                <p:nvPr/>
              </p:nvSpPr>
              <p:spPr>
                <a:xfrm>
                  <a:off x="11815932" y="2760992"/>
                  <a:ext cx="126173" cy="70405"/>
                </a:xfrm>
                <a:custGeom>
                  <a:avLst/>
                  <a:gdLst>
                    <a:gd name="connsiteX0" fmla="*/ 0 w 126173"/>
                    <a:gd name="connsiteY0" fmla="*/ 0 h 70405"/>
                    <a:gd name="connsiteX1" fmla="*/ 126174 w 126173"/>
                    <a:gd name="connsiteY1" fmla="*/ 0 h 70405"/>
                    <a:gd name="connsiteX2" fmla="*/ 126174 w 126173"/>
                    <a:gd name="connsiteY2" fmla="*/ 70406 h 70405"/>
                    <a:gd name="connsiteX3" fmla="*/ 0 w 126173"/>
                    <a:gd name="connsiteY3" fmla="*/ 70406 h 70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6173" h="70405">
                      <a:moveTo>
                        <a:pt x="0" y="0"/>
                      </a:moveTo>
                      <a:lnTo>
                        <a:pt x="126174" y="0"/>
                      </a:lnTo>
                      <a:lnTo>
                        <a:pt x="126174" y="70406"/>
                      </a:lnTo>
                      <a:lnTo>
                        <a:pt x="0" y="7040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32" name="Freihandform: Form 931">
                  <a:extLst>
                    <a:ext uri="{FF2B5EF4-FFF2-40B4-BE49-F238E27FC236}">
                      <a16:creationId xmlns:a16="http://schemas.microsoft.com/office/drawing/2014/main" id="{BCFCAE59-A45E-0386-035E-78314A89EE79}"/>
                    </a:ext>
                  </a:extLst>
                </p:cNvPr>
                <p:cNvSpPr/>
                <p:nvPr/>
              </p:nvSpPr>
              <p:spPr>
                <a:xfrm>
                  <a:off x="11765212" y="2760932"/>
                  <a:ext cx="162195" cy="183574"/>
                </a:xfrm>
                <a:custGeom>
                  <a:avLst/>
                  <a:gdLst>
                    <a:gd name="connsiteX0" fmla="*/ 16183 w 162195"/>
                    <a:gd name="connsiteY0" fmla="*/ 60 h 183574"/>
                    <a:gd name="connsiteX1" fmla="*/ 16848 w 162195"/>
                    <a:gd name="connsiteY1" fmla="*/ 136517 h 183574"/>
                    <a:gd name="connsiteX2" fmla="*/ 95601 w 162195"/>
                    <a:gd name="connsiteY2" fmla="*/ 176075 h 183574"/>
                    <a:gd name="connsiteX3" fmla="*/ 162196 w 162195"/>
                    <a:gd name="connsiteY3" fmla="*/ 171538 h 183574"/>
                    <a:gd name="connsiteX4" fmla="*/ 162196 w 162195"/>
                    <a:gd name="connsiteY4" fmla="*/ 171538 h 183574"/>
                    <a:gd name="connsiteX5" fmla="*/ 94936 w 162195"/>
                    <a:gd name="connsiteY5" fmla="*/ 183575 h 183574"/>
                    <a:gd name="connsiteX6" fmla="*/ 7472 w 162195"/>
                    <a:gd name="connsiteY6" fmla="*/ 143836 h 183574"/>
                    <a:gd name="connsiteX7" fmla="*/ 577 w 162195"/>
                    <a:gd name="connsiteY7" fmla="*/ 6170 h 183574"/>
                    <a:gd name="connsiteX8" fmla="*/ 16183 w 162195"/>
                    <a:gd name="connsiteY8" fmla="*/ 0 h 1835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2195" h="183574">
                      <a:moveTo>
                        <a:pt x="16183" y="60"/>
                      </a:moveTo>
                      <a:lnTo>
                        <a:pt x="16848" y="136517"/>
                      </a:lnTo>
                      <a:lnTo>
                        <a:pt x="95601" y="176075"/>
                      </a:lnTo>
                      <a:lnTo>
                        <a:pt x="162196" y="171538"/>
                      </a:lnTo>
                      <a:lnTo>
                        <a:pt x="162196" y="171538"/>
                      </a:lnTo>
                      <a:lnTo>
                        <a:pt x="94936" y="183575"/>
                      </a:lnTo>
                      <a:cubicBezTo>
                        <a:pt x="94936" y="183575"/>
                        <a:pt x="12191" y="148795"/>
                        <a:pt x="7472" y="143836"/>
                      </a:cubicBezTo>
                      <a:cubicBezTo>
                        <a:pt x="2754" y="138876"/>
                        <a:pt x="-1600" y="10404"/>
                        <a:pt x="577" y="6170"/>
                      </a:cubicBezTo>
                      <a:cubicBezTo>
                        <a:pt x="2754" y="1936"/>
                        <a:pt x="16183" y="0"/>
                        <a:pt x="16183" y="0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33" name="Freihandform: Form 932">
                  <a:extLst>
                    <a:ext uri="{FF2B5EF4-FFF2-40B4-BE49-F238E27FC236}">
                      <a16:creationId xmlns:a16="http://schemas.microsoft.com/office/drawing/2014/main" id="{0406F0D9-DD38-17A7-92D6-AD61E7BF93FF}"/>
                    </a:ext>
                  </a:extLst>
                </p:cNvPr>
                <p:cNvSpPr/>
                <p:nvPr/>
              </p:nvSpPr>
              <p:spPr>
                <a:xfrm>
                  <a:off x="11431785" y="2402008"/>
                  <a:ext cx="233899" cy="653611"/>
                </a:xfrm>
                <a:custGeom>
                  <a:avLst/>
                  <a:gdLst>
                    <a:gd name="connsiteX0" fmla="*/ 217266 w 233899"/>
                    <a:gd name="connsiteY0" fmla="*/ 603287 h 653611"/>
                    <a:gd name="connsiteX1" fmla="*/ 217266 w 233899"/>
                    <a:gd name="connsiteY1" fmla="*/ 493082 h 653611"/>
                    <a:gd name="connsiteX2" fmla="*/ 124661 w 233899"/>
                    <a:gd name="connsiteY2" fmla="*/ 304607 h 653611"/>
                    <a:gd name="connsiteX3" fmla="*/ 80870 w 233899"/>
                    <a:gd name="connsiteY3" fmla="*/ 163191 h 653611"/>
                    <a:gd name="connsiteX4" fmla="*/ 56615 w 233899"/>
                    <a:gd name="connsiteY4" fmla="*/ 111778 h 653611"/>
                    <a:gd name="connsiteX5" fmla="*/ 74639 w 233899"/>
                    <a:gd name="connsiteY5" fmla="*/ 45848 h 653611"/>
                    <a:gd name="connsiteX6" fmla="*/ 160953 w 233899"/>
                    <a:gd name="connsiteY6" fmla="*/ 12097 h 653611"/>
                    <a:gd name="connsiteX7" fmla="*/ 160953 w 233899"/>
                    <a:gd name="connsiteY7" fmla="*/ 0 h 653611"/>
                    <a:gd name="connsiteX8" fmla="*/ 65627 w 233899"/>
                    <a:gd name="connsiteY8" fmla="*/ 37743 h 653611"/>
                    <a:gd name="connsiteX9" fmla="*/ 44518 w 233899"/>
                    <a:gd name="connsiteY9" fmla="*/ 113048 h 653611"/>
                    <a:gd name="connsiteX10" fmla="*/ 71192 w 233899"/>
                    <a:gd name="connsiteY10" fmla="*/ 170570 h 653611"/>
                    <a:gd name="connsiteX11" fmla="*/ 112443 w 233899"/>
                    <a:gd name="connsiteY11" fmla="*/ 304668 h 653611"/>
                    <a:gd name="connsiteX12" fmla="*/ 20021 w 233899"/>
                    <a:gd name="connsiteY12" fmla="*/ 493082 h 653611"/>
                    <a:gd name="connsiteX13" fmla="*/ 20021 w 233899"/>
                    <a:gd name="connsiteY13" fmla="*/ 602259 h 653611"/>
                    <a:gd name="connsiteX14" fmla="*/ 0 w 233899"/>
                    <a:gd name="connsiteY14" fmla="*/ 627542 h 653611"/>
                    <a:gd name="connsiteX15" fmla="*/ 26070 w 233899"/>
                    <a:gd name="connsiteY15" fmla="*/ 653611 h 653611"/>
                    <a:gd name="connsiteX16" fmla="*/ 52139 w 233899"/>
                    <a:gd name="connsiteY16" fmla="*/ 627542 h 653611"/>
                    <a:gd name="connsiteX17" fmla="*/ 32118 w 233899"/>
                    <a:gd name="connsiteY17" fmla="*/ 602259 h 653611"/>
                    <a:gd name="connsiteX18" fmla="*/ 32118 w 233899"/>
                    <a:gd name="connsiteY18" fmla="*/ 493082 h 653611"/>
                    <a:gd name="connsiteX19" fmla="*/ 118552 w 233899"/>
                    <a:gd name="connsiteY19" fmla="*/ 406647 h 653611"/>
                    <a:gd name="connsiteX20" fmla="*/ 204987 w 233899"/>
                    <a:gd name="connsiteY20" fmla="*/ 493082 h 653611"/>
                    <a:gd name="connsiteX21" fmla="*/ 204987 w 233899"/>
                    <a:gd name="connsiteY21" fmla="*/ 601775 h 653611"/>
                    <a:gd name="connsiteX22" fmla="*/ 181761 w 233899"/>
                    <a:gd name="connsiteY22" fmla="*/ 627542 h 653611"/>
                    <a:gd name="connsiteX23" fmla="*/ 207830 w 233899"/>
                    <a:gd name="connsiteY23" fmla="*/ 653611 h 653611"/>
                    <a:gd name="connsiteX24" fmla="*/ 233899 w 233899"/>
                    <a:gd name="connsiteY24" fmla="*/ 627542 h 653611"/>
                    <a:gd name="connsiteX25" fmla="*/ 217145 w 233899"/>
                    <a:gd name="connsiteY25" fmla="*/ 603287 h 653611"/>
                    <a:gd name="connsiteX26" fmla="*/ 118734 w 233899"/>
                    <a:gd name="connsiteY26" fmla="*/ 394550 h 653611"/>
                    <a:gd name="connsiteX27" fmla="*/ 43308 w 233899"/>
                    <a:gd name="connsiteY27" fmla="*/ 429813 h 653611"/>
                    <a:gd name="connsiteX28" fmla="*/ 118734 w 233899"/>
                    <a:gd name="connsiteY28" fmla="*/ 316221 h 653611"/>
                    <a:gd name="connsiteX29" fmla="*/ 194160 w 233899"/>
                    <a:gd name="connsiteY29" fmla="*/ 429813 h 653611"/>
                    <a:gd name="connsiteX30" fmla="*/ 118734 w 233899"/>
                    <a:gd name="connsiteY30" fmla="*/ 394550 h 6536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233899" h="653611">
                      <a:moveTo>
                        <a:pt x="217266" y="603287"/>
                      </a:moveTo>
                      <a:lnTo>
                        <a:pt x="217266" y="493082"/>
                      </a:lnTo>
                      <a:cubicBezTo>
                        <a:pt x="217266" y="447596"/>
                        <a:pt x="180127" y="313741"/>
                        <a:pt x="124661" y="304607"/>
                      </a:cubicBezTo>
                      <a:cubicBezTo>
                        <a:pt x="123634" y="218838"/>
                        <a:pt x="99983" y="187990"/>
                        <a:pt x="80870" y="163191"/>
                      </a:cubicBezTo>
                      <a:cubicBezTo>
                        <a:pt x="68712" y="147404"/>
                        <a:pt x="59095" y="134944"/>
                        <a:pt x="56615" y="111778"/>
                      </a:cubicBezTo>
                      <a:cubicBezTo>
                        <a:pt x="53712" y="84559"/>
                        <a:pt x="59821" y="62422"/>
                        <a:pt x="74639" y="45848"/>
                      </a:cubicBezTo>
                      <a:cubicBezTo>
                        <a:pt x="104459" y="12581"/>
                        <a:pt x="160409" y="12097"/>
                        <a:pt x="160953" y="12097"/>
                      </a:cubicBezTo>
                      <a:lnTo>
                        <a:pt x="160953" y="0"/>
                      </a:lnTo>
                      <a:cubicBezTo>
                        <a:pt x="158413" y="0"/>
                        <a:pt x="99137" y="484"/>
                        <a:pt x="65627" y="37743"/>
                      </a:cubicBezTo>
                      <a:cubicBezTo>
                        <a:pt x="48389" y="56978"/>
                        <a:pt x="41252" y="82321"/>
                        <a:pt x="44518" y="113048"/>
                      </a:cubicBezTo>
                      <a:cubicBezTo>
                        <a:pt x="47360" y="139662"/>
                        <a:pt x="58913" y="154663"/>
                        <a:pt x="71192" y="170570"/>
                      </a:cubicBezTo>
                      <a:cubicBezTo>
                        <a:pt x="90124" y="195128"/>
                        <a:pt x="111536" y="223072"/>
                        <a:pt x="112443" y="304668"/>
                      </a:cubicBezTo>
                      <a:cubicBezTo>
                        <a:pt x="57099" y="314043"/>
                        <a:pt x="20021" y="447657"/>
                        <a:pt x="20021" y="493082"/>
                      </a:cubicBezTo>
                      <a:lnTo>
                        <a:pt x="20021" y="602259"/>
                      </a:lnTo>
                      <a:cubicBezTo>
                        <a:pt x="8589" y="604981"/>
                        <a:pt x="0" y="615263"/>
                        <a:pt x="0" y="627542"/>
                      </a:cubicBezTo>
                      <a:cubicBezTo>
                        <a:pt x="0" y="641938"/>
                        <a:pt x="11674" y="653611"/>
                        <a:pt x="26070" y="653611"/>
                      </a:cubicBezTo>
                      <a:cubicBezTo>
                        <a:pt x="40465" y="653611"/>
                        <a:pt x="52139" y="641938"/>
                        <a:pt x="52139" y="627542"/>
                      </a:cubicBezTo>
                      <a:cubicBezTo>
                        <a:pt x="52139" y="615263"/>
                        <a:pt x="43610" y="604981"/>
                        <a:pt x="32118" y="602259"/>
                      </a:cubicBezTo>
                      <a:lnTo>
                        <a:pt x="32118" y="493082"/>
                      </a:lnTo>
                      <a:cubicBezTo>
                        <a:pt x="32118" y="445419"/>
                        <a:pt x="70889" y="406647"/>
                        <a:pt x="118552" y="406647"/>
                      </a:cubicBezTo>
                      <a:cubicBezTo>
                        <a:pt x="166215" y="406647"/>
                        <a:pt x="204987" y="445419"/>
                        <a:pt x="204987" y="493082"/>
                      </a:cubicBezTo>
                      <a:lnTo>
                        <a:pt x="204987" y="601775"/>
                      </a:lnTo>
                      <a:cubicBezTo>
                        <a:pt x="191922" y="603166"/>
                        <a:pt x="181761" y="614114"/>
                        <a:pt x="181761" y="627542"/>
                      </a:cubicBezTo>
                      <a:cubicBezTo>
                        <a:pt x="181761" y="641938"/>
                        <a:pt x="193434" y="653611"/>
                        <a:pt x="207830" y="653611"/>
                      </a:cubicBezTo>
                      <a:cubicBezTo>
                        <a:pt x="222225" y="653611"/>
                        <a:pt x="233899" y="641938"/>
                        <a:pt x="233899" y="627542"/>
                      </a:cubicBezTo>
                      <a:cubicBezTo>
                        <a:pt x="233899" y="616412"/>
                        <a:pt x="226943" y="607037"/>
                        <a:pt x="217145" y="603287"/>
                      </a:cubicBezTo>
                      <a:close/>
                      <a:moveTo>
                        <a:pt x="118734" y="394550"/>
                      </a:moveTo>
                      <a:cubicBezTo>
                        <a:pt x="88491" y="394550"/>
                        <a:pt x="61393" y="408280"/>
                        <a:pt x="43308" y="429813"/>
                      </a:cubicBezTo>
                      <a:cubicBezTo>
                        <a:pt x="58490" y="376162"/>
                        <a:pt x="87644" y="316221"/>
                        <a:pt x="118734" y="316221"/>
                      </a:cubicBezTo>
                      <a:cubicBezTo>
                        <a:pt x="149824" y="316221"/>
                        <a:pt x="178978" y="376223"/>
                        <a:pt x="194160" y="429813"/>
                      </a:cubicBezTo>
                      <a:cubicBezTo>
                        <a:pt x="176075" y="408280"/>
                        <a:pt x="148977" y="394550"/>
                        <a:pt x="118734" y="394550"/>
                      </a:cubicBezTo>
                      <a:close/>
                    </a:path>
                  </a:pathLst>
                </a:custGeom>
                <a:solidFill>
                  <a:srgbClr val="F19E6A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34" name="Freihandform: Form 933">
                  <a:extLst>
                    <a:ext uri="{FF2B5EF4-FFF2-40B4-BE49-F238E27FC236}">
                      <a16:creationId xmlns:a16="http://schemas.microsoft.com/office/drawing/2014/main" id="{7B2676AE-078F-692E-1812-E7CDE29A0D6F}"/>
                    </a:ext>
                  </a:extLst>
                </p:cNvPr>
                <p:cNvSpPr/>
                <p:nvPr/>
              </p:nvSpPr>
              <p:spPr>
                <a:xfrm>
                  <a:off x="11738570" y="2401947"/>
                  <a:ext cx="135445" cy="330434"/>
                </a:xfrm>
                <a:custGeom>
                  <a:avLst/>
                  <a:gdLst>
                    <a:gd name="connsiteX0" fmla="*/ 135428 w 135445"/>
                    <a:gd name="connsiteY0" fmla="*/ 85830 h 330434"/>
                    <a:gd name="connsiteX1" fmla="*/ 113653 w 135445"/>
                    <a:gd name="connsiteY1" fmla="*/ 27158 h 330434"/>
                    <a:gd name="connsiteX2" fmla="*/ 38651 w 135445"/>
                    <a:gd name="connsiteY2" fmla="*/ 0 h 330434"/>
                    <a:gd name="connsiteX3" fmla="*/ 38651 w 135445"/>
                    <a:gd name="connsiteY3" fmla="*/ 12097 h 330434"/>
                    <a:gd name="connsiteX4" fmla="*/ 105004 w 135445"/>
                    <a:gd name="connsiteY4" fmla="*/ 35626 h 330434"/>
                    <a:gd name="connsiteX5" fmla="*/ 123270 w 135445"/>
                    <a:gd name="connsiteY5" fmla="*/ 85588 h 330434"/>
                    <a:gd name="connsiteX6" fmla="*/ 87463 w 135445"/>
                    <a:gd name="connsiteY6" fmla="*/ 150671 h 330434"/>
                    <a:gd name="connsiteX7" fmla="*/ 37623 w 135445"/>
                    <a:gd name="connsiteY7" fmla="*/ 252045 h 330434"/>
                    <a:gd name="connsiteX8" fmla="*/ 0 w 135445"/>
                    <a:gd name="connsiteY8" fmla="*/ 291179 h 330434"/>
                    <a:gd name="connsiteX9" fmla="*/ 39255 w 135445"/>
                    <a:gd name="connsiteY9" fmla="*/ 330435 h 330434"/>
                    <a:gd name="connsiteX10" fmla="*/ 78511 w 135445"/>
                    <a:gd name="connsiteY10" fmla="*/ 291179 h 330434"/>
                    <a:gd name="connsiteX11" fmla="*/ 49720 w 135445"/>
                    <a:gd name="connsiteY11" fmla="*/ 253376 h 330434"/>
                    <a:gd name="connsiteX12" fmla="*/ 96173 w 135445"/>
                    <a:gd name="connsiteY12" fmla="*/ 159078 h 330434"/>
                    <a:gd name="connsiteX13" fmla="*/ 135428 w 135445"/>
                    <a:gd name="connsiteY13" fmla="*/ 85769 h 330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35445" h="330434">
                      <a:moveTo>
                        <a:pt x="135428" y="85830"/>
                      </a:moveTo>
                      <a:cubicBezTo>
                        <a:pt x="135852" y="62422"/>
                        <a:pt x="128352" y="42098"/>
                        <a:pt x="113653" y="27158"/>
                      </a:cubicBezTo>
                      <a:cubicBezTo>
                        <a:pt x="96476" y="9617"/>
                        <a:pt x="69862" y="0"/>
                        <a:pt x="38651" y="0"/>
                      </a:cubicBezTo>
                      <a:lnTo>
                        <a:pt x="38651" y="12097"/>
                      </a:lnTo>
                      <a:cubicBezTo>
                        <a:pt x="66535" y="12097"/>
                        <a:pt x="90124" y="20444"/>
                        <a:pt x="105004" y="35626"/>
                      </a:cubicBezTo>
                      <a:cubicBezTo>
                        <a:pt x="117525" y="48389"/>
                        <a:pt x="123694" y="65204"/>
                        <a:pt x="123270" y="85588"/>
                      </a:cubicBezTo>
                      <a:cubicBezTo>
                        <a:pt x="122726" y="114500"/>
                        <a:pt x="106395" y="131255"/>
                        <a:pt x="87463" y="150671"/>
                      </a:cubicBezTo>
                      <a:cubicBezTo>
                        <a:pt x="64720" y="174079"/>
                        <a:pt x="39376" y="200209"/>
                        <a:pt x="37623" y="252045"/>
                      </a:cubicBezTo>
                      <a:cubicBezTo>
                        <a:pt x="16694" y="252892"/>
                        <a:pt x="0" y="270070"/>
                        <a:pt x="0" y="291179"/>
                      </a:cubicBezTo>
                      <a:cubicBezTo>
                        <a:pt x="0" y="312289"/>
                        <a:pt x="17541" y="330435"/>
                        <a:pt x="39255" y="330435"/>
                      </a:cubicBezTo>
                      <a:cubicBezTo>
                        <a:pt x="60970" y="330435"/>
                        <a:pt x="78511" y="312894"/>
                        <a:pt x="78511" y="291179"/>
                      </a:cubicBezTo>
                      <a:cubicBezTo>
                        <a:pt x="78511" y="273155"/>
                        <a:pt x="66293" y="257973"/>
                        <a:pt x="49720" y="253376"/>
                      </a:cubicBezTo>
                      <a:cubicBezTo>
                        <a:pt x="51051" y="205531"/>
                        <a:pt x="73914" y="181942"/>
                        <a:pt x="96173" y="159078"/>
                      </a:cubicBezTo>
                      <a:cubicBezTo>
                        <a:pt x="116012" y="138694"/>
                        <a:pt x="134763" y="119460"/>
                        <a:pt x="135428" y="85769"/>
                      </a:cubicBezTo>
                      <a:close/>
                    </a:path>
                  </a:pathLst>
                </a:custGeom>
                <a:solidFill>
                  <a:srgbClr val="F19E6A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935" name="Grafik 297">
                  <a:extLst>
                    <a:ext uri="{FF2B5EF4-FFF2-40B4-BE49-F238E27FC236}">
                      <a16:creationId xmlns:a16="http://schemas.microsoft.com/office/drawing/2014/main" id="{DFAF0BD0-AC48-442E-7007-39756F485EC5}"/>
                    </a:ext>
                  </a:extLst>
                </p:cNvPr>
                <p:cNvGrpSpPr/>
                <p:nvPr/>
              </p:nvGrpSpPr>
              <p:grpSpPr>
                <a:xfrm>
                  <a:off x="11163281" y="3555052"/>
                  <a:ext cx="144145" cy="337753"/>
                  <a:chOff x="11163281" y="3555052"/>
                  <a:chExt cx="144145" cy="337753"/>
                </a:xfrm>
                <a:solidFill>
                  <a:srgbClr val="02787D"/>
                </a:solidFill>
              </p:grpSpPr>
              <p:grpSp>
                <p:nvGrpSpPr>
                  <p:cNvPr id="937" name="Grafik 297">
                    <a:extLst>
                      <a:ext uri="{FF2B5EF4-FFF2-40B4-BE49-F238E27FC236}">
                        <a16:creationId xmlns:a16="http://schemas.microsoft.com/office/drawing/2014/main" id="{145913C0-26CA-46BC-74D6-4DD9944DEE70}"/>
                      </a:ext>
                    </a:extLst>
                  </p:cNvPr>
                  <p:cNvGrpSpPr/>
                  <p:nvPr/>
                </p:nvGrpSpPr>
                <p:grpSpPr>
                  <a:xfrm>
                    <a:off x="11183347" y="3766601"/>
                    <a:ext cx="67615" cy="68318"/>
                    <a:chOff x="11183347" y="3766601"/>
                    <a:chExt cx="67615" cy="68318"/>
                  </a:xfrm>
                  <a:solidFill>
                    <a:srgbClr val="02787D"/>
                  </a:solidFill>
                </p:grpSpPr>
                <p:sp>
                  <p:nvSpPr>
                    <p:cNvPr id="956" name="Freihandform: Form 955">
                      <a:extLst>
                        <a:ext uri="{FF2B5EF4-FFF2-40B4-BE49-F238E27FC236}">
                          <a16:creationId xmlns:a16="http://schemas.microsoft.com/office/drawing/2014/main" id="{EEA0AC74-1714-0B9A-10F4-6A2239B1A5B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4392" y="3786015"/>
                      <a:ext cx="36570" cy="48905"/>
                    </a:xfrm>
                    <a:custGeom>
                      <a:avLst/>
                      <a:gdLst>
                        <a:gd name="connsiteX0" fmla="*/ 33515 w 36570"/>
                        <a:gd name="connsiteY0" fmla="*/ 48845 h 48905"/>
                        <a:gd name="connsiteX1" fmla="*/ 10652 w 36570"/>
                        <a:gd name="connsiteY1" fmla="*/ 34207 h 48905"/>
                        <a:gd name="connsiteX2" fmla="*/ 853 w 36570"/>
                        <a:gd name="connsiteY2" fmla="*/ 6262 h 48905"/>
                        <a:gd name="connsiteX3" fmla="*/ 3272 w 36570"/>
                        <a:gd name="connsiteY3" fmla="*/ 32 h 48905"/>
                        <a:gd name="connsiteX4" fmla="*/ 28193 w 36570"/>
                        <a:gd name="connsiteY4" fmla="*/ 22231 h 48905"/>
                        <a:gd name="connsiteX5" fmla="*/ 33515 w 36570"/>
                        <a:gd name="connsiteY5" fmla="*/ 48905 h 48905"/>
                        <a:gd name="connsiteX6" fmla="*/ 33515 w 36570"/>
                        <a:gd name="connsiteY6" fmla="*/ 48905 h 4890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6570" h="48905">
                          <a:moveTo>
                            <a:pt x="33515" y="48845"/>
                          </a:moveTo>
                          <a:lnTo>
                            <a:pt x="10652" y="34207"/>
                          </a:lnTo>
                          <a:cubicBezTo>
                            <a:pt x="2063" y="28521"/>
                            <a:pt x="-1869" y="18299"/>
                            <a:pt x="853" y="6262"/>
                          </a:cubicBezTo>
                          <a:cubicBezTo>
                            <a:pt x="1700" y="2391"/>
                            <a:pt x="2607" y="-330"/>
                            <a:pt x="3272" y="32"/>
                          </a:cubicBezTo>
                          <a:cubicBezTo>
                            <a:pt x="4604" y="758"/>
                            <a:pt x="15249" y="10194"/>
                            <a:pt x="28193" y="22231"/>
                          </a:cubicBezTo>
                          <a:cubicBezTo>
                            <a:pt x="36359" y="29852"/>
                            <a:pt x="39383" y="36747"/>
                            <a:pt x="33515" y="48905"/>
                          </a:cubicBezTo>
                          <a:lnTo>
                            <a:pt x="33515" y="48905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57" name="Freihandform: Form 956">
                      <a:extLst>
                        <a:ext uri="{FF2B5EF4-FFF2-40B4-BE49-F238E27FC236}">
                          <a16:creationId xmlns:a16="http://schemas.microsoft.com/office/drawing/2014/main" id="{5805E1FD-CBDB-28CD-B77B-5E6F04FA7D3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83347" y="3766601"/>
                      <a:ext cx="47654" cy="53620"/>
                    </a:xfrm>
                    <a:custGeom>
                      <a:avLst/>
                      <a:gdLst>
                        <a:gd name="connsiteX0" fmla="*/ 41698 w 47654"/>
                        <a:gd name="connsiteY0" fmla="*/ 53621 h 53620"/>
                        <a:gd name="connsiteX1" fmla="*/ 6797 w 47654"/>
                        <a:gd name="connsiteY1" fmla="*/ 29426 h 53620"/>
                        <a:gd name="connsiteX2" fmla="*/ 23 w 47654"/>
                        <a:gd name="connsiteY2" fmla="*/ 22047 h 53620"/>
                        <a:gd name="connsiteX3" fmla="*/ 22946 w 47654"/>
                        <a:gd name="connsiteY3" fmla="*/ 91 h 53620"/>
                        <a:gd name="connsiteX4" fmla="*/ 42302 w 47654"/>
                        <a:gd name="connsiteY4" fmla="*/ 25797 h 53620"/>
                        <a:gd name="connsiteX5" fmla="*/ 41698 w 47654"/>
                        <a:gd name="connsiteY5" fmla="*/ 53621 h 53620"/>
                        <a:gd name="connsiteX6" fmla="*/ 41698 w 47654"/>
                        <a:gd name="connsiteY6" fmla="*/ 53621 h 536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7654" h="53620">
                          <a:moveTo>
                            <a:pt x="41698" y="53621"/>
                          </a:moveTo>
                          <a:lnTo>
                            <a:pt x="6797" y="29426"/>
                          </a:lnTo>
                          <a:cubicBezTo>
                            <a:pt x="2563" y="26221"/>
                            <a:pt x="1111" y="23741"/>
                            <a:pt x="23" y="22047"/>
                          </a:cubicBezTo>
                          <a:cubicBezTo>
                            <a:pt x="-643" y="9950"/>
                            <a:pt x="13511" y="-1119"/>
                            <a:pt x="22946" y="91"/>
                          </a:cubicBezTo>
                          <a:lnTo>
                            <a:pt x="42302" y="25797"/>
                          </a:lnTo>
                          <a:cubicBezTo>
                            <a:pt x="50286" y="32814"/>
                            <a:pt x="48713" y="42310"/>
                            <a:pt x="41698" y="53621"/>
                          </a:cubicBezTo>
                          <a:lnTo>
                            <a:pt x="41698" y="53621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938" name="Grafik 297">
                    <a:extLst>
                      <a:ext uri="{FF2B5EF4-FFF2-40B4-BE49-F238E27FC236}">
                        <a16:creationId xmlns:a16="http://schemas.microsoft.com/office/drawing/2014/main" id="{A3EEF00C-C767-42B1-8B2B-C88D4BE17870}"/>
                      </a:ext>
                    </a:extLst>
                  </p:cNvPr>
                  <p:cNvGrpSpPr/>
                  <p:nvPr/>
                </p:nvGrpSpPr>
                <p:grpSpPr>
                  <a:xfrm>
                    <a:off x="11163288" y="3738619"/>
                    <a:ext cx="90846" cy="132471"/>
                    <a:chOff x="11163288" y="3738619"/>
                    <a:chExt cx="90846" cy="132471"/>
                  </a:xfrm>
                  <a:solidFill>
                    <a:srgbClr val="02787D"/>
                  </a:solidFill>
                </p:grpSpPr>
                <p:sp>
                  <p:nvSpPr>
                    <p:cNvPr id="953" name="Freihandform: Form 952">
                      <a:extLst>
                        <a:ext uri="{FF2B5EF4-FFF2-40B4-BE49-F238E27FC236}">
                          <a16:creationId xmlns:a16="http://schemas.microsoft.com/office/drawing/2014/main" id="{65D25491-9F92-C1FD-058C-5CF7748B959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0554" y="3808727"/>
                      <a:ext cx="43580" cy="62363"/>
                    </a:xfrm>
                    <a:custGeom>
                      <a:avLst/>
                      <a:gdLst>
                        <a:gd name="connsiteX0" fmla="*/ 39895 w 43580"/>
                        <a:gd name="connsiteY0" fmla="*/ 62364 h 62363"/>
                        <a:gd name="connsiteX1" fmla="*/ 12615 w 43580"/>
                        <a:gd name="connsiteY1" fmla="*/ 41194 h 62363"/>
                        <a:gd name="connsiteX2" fmla="*/ 1062 w 43580"/>
                        <a:gd name="connsiteY2" fmla="*/ 6898 h 62363"/>
                        <a:gd name="connsiteX3" fmla="*/ 3966 w 43580"/>
                        <a:gd name="connsiteY3" fmla="*/ 63 h 62363"/>
                        <a:gd name="connsiteX4" fmla="*/ 33664 w 43580"/>
                        <a:gd name="connsiteY4" fmla="*/ 30367 h 62363"/>
                        <a:gd name="connsiteX5" fmla="*/ 39895 w 43580"/>
                        <a:gd name="connsiteY5" fmla="*/ 62364 h 62363"/>
                        <a:gd name="connsiteX6" fmla="*/ 39895 w 43580"/>
                        <a:gd name="connsiteY6" fmla="*/ 62364 h 6236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3580" h="62363">
                          <a:moveTo>
                            <a:pt x="39895" y="62364"/>
                          </a:moveTo>
                          <a:lnTo>
                            <a:pt x="12615" y="41194"/>
                          </a:lnTo>
                          <a:cubicBezTo>
                            <a:pt x="2394" y="32968"/>
                            <a:pt x="-2264" y="20447"/>
                            <a:pt x="1062" y="6898"/>
                          </a:cubicBezTo>
                          <a:cubicBezTo>
                            <a:pt x="2151" y="2543"/>
                            <a:pt x="3179" y="-481"/>
                            <a:pt x="3966" y="63"/>
                          </a:cubicBezTo>
                          <a:cubicBezTo>
                            <a:pt x="5538" y="1152"/>
                            <a:pt x="18241" y="14036"/>
                            <a:pt x="33664" y="30367"/>
                          </a:cubicBezTo>
                          <a:cubicBezTo>
                            <a:pt x="43403" y="40710"/>
                            <a:pt x="46911" y="49238"/>
                            <a:pt x="39895" y="62364"/>
                          </a:cubicBezTo>
                          <a:lnTo>
                            <a:pt x="39895" y="62364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54" name="Freihandform: Form 953">
                      <a:extLst>
                        <a:ext uri="{FF2B5EF4-FFF2-40B4-BE49-F238E27FC236}">
                          <a16:creationId xmlns:a16="http://schemas.microsoft.com/office/drawing/2014/main" id="{53914DFF-3F58-36DE-6782-D40FF8AD98B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72474" y="3771894"/>
                      <a:ext cx="58537" cy="78389"/>
                    </a:xfrm>
                    <a:custGeom>
                      <a:avLst/>
                      <a:gdLst>
                        <a:gd name="connsiteX0" fmla="*/ 51360 w 58537"/>
                        <a:gd name="connsiteY0" fmla="*/ 78390 h 78389"/>
                        <a:gd name="connsiteX1" fmla="*/ 9807 w 58537"/>
                        <a:gd name="connsiteY1" fmla="*/ 45425 h 78389"/>
                        <a:gd name="connsiteX2" fmla="*/ 8415 w 58537"/>
                        <a:gd name="connsiteY2" fmla="*/ 3085 h 78389"/>
                        <a:gd name="connsiteX3" fmla="*/ 13557 w 58537"/>
                        <a:gd name="connsiteY3" fmla="*/ 0 h 78389"/>
                        <a:gd name="connsiteX4" fmla="*/ 52207 w 58537"/>
                        <a:gd name="connsiteY4" fmla="*/ 46030 h 78389"/>
                        <a:gd name="connsiteX5" fmla="*/ 51360 w 58537"/>
                        <a:gd name="connsiteY5" fmla="*/ 78329 h 78389"/>
                        <a:gd name="connsiteX6" fmla="*/ 51360 w 58537"/>
                        <a:gd name="connsiteY6" fmla="*/ 78329 h 7838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58537" h="78389">
                          <a:moveTo>
                            <a:pt x="51360" y="78390"/>
                          </a:moveTo>
                          <a:lnTo>
                            <a:pt x="9807" y="45425"/>
                          </a:lnTo>
                          <a:cubicBezTo>
                            <a:pt x="-2714" y="35324"/>
                            <a:pt x="-3319" y="15968"/>
                            <a:pt x="8415" y="3085"/>
                          </a:cubicBezTo>
                          <a:lnTo>
                            <a:pt x="13557" y="0"/>
                          </a:lnTo>
                          <a:lnTo>
                            <a:pt x="52207" y="46030"/>
                          </a:lnTo>
                          <a:cubicBezTo>
                            <a:pt x="61703" y="55587"/>
                            <a:pt x="59768" y="66414"/>
                            <a:pt x="51360" y="78329"/>
                          </a:cubicBezTo>
                          <a:lnTo>
                            <a:pt x="51360" y="78329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55" name="Freihandform: Form 954">
                      <a:extLst>
                        <a:ext uri="{FF2B5EF4-FFF2-40B4-BE49-F238E27FC236}">
                          <a16:creationId xmlns:a16="http://schemas.microsoft.com/office/drawing/2014/main" id="{79C7E10E-3E7F-2278-A185-37179A3B0E0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63288" y="3738619"/>
                      <a:ext cx="39981" cy="70534"/>
                    </a:xfrm>
                    <a:custGeom>
                      <a:avLst/>
                      <a:gdLst>
                        <a:gd name="connsiteX0" fmla="*/ 61 w 39981"/>
                        <a:gd name="connsiteY0" fmla="*/ 7508 h 70534"/>
                        <a:gd name="connsiteX1" fmla="*/ 9133 w 39981"/>
                        <a:gd name="connsiteY1" fmla="*/ 63881 h 70534"/>
                        <a:gd name="connsiteX2" fmla="*/ 12400 w 39981"/>
                        <a:gd name="connsiteY2" fmla="*/ 70534 h 70534"/>
                        <a:gd name="connsiteX3" fmla="*/ 39679 w 39981"/>
                        <a:gd name="connsiteY3" fmla="*/ 39444 h 70534"/>
                        <a:gd name="connsiteX4" fmla="*/ 39981 w 39981"/>
                        <a:gd name="connsiteY4" fmla="*/ 8718 h 70534"/>
                        <a:gd name="connsiteX5" fmla="*/ 0 w 39981"/>
                        <a:gd name="connsiteY5" fmla="*/ 7447 h 705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39981" h="70534">
                          <a:moveTo>
                            <a:pt x="61" y="7508"/>
                          </a:moveTo>
                          <a:cubicBezTo>
                            <a:pt x="1633" y="19121"/>
                            <a:pt x="9133" y="63881"/>
                            <a:pt x="9133" y="63881"/>
                          </a:cubicBezTo>
                          <a:lnTo>
                            <a:pt x="12400" y="70534"/>
                          </a:lnTo>
                          <a:cubicBezTo>
                            <a:pt x="28912" y="68417"/>
                            <a:pt x="39860" y="54808"/>
                            <a:pt x="39679" y="39444"/>
                          </a:cubicBezTo>
                          <a:lnTo>
                            <a:pt x="39981" y="8718"/>
                          </a:lnTo>
                          <a:cubicBezTo>
                            <a:pt x="34175" y="-1142"/>
                            <a:pt x="3871" y="-4045"/>
                            <a:pt x="0" y="7447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939" name="Grafik 297">
                    <a:extLst>
                      <a:ext uri="{FF2B5EF4-FFF2-40B4-BE49-F238E27FC236}">
                        <a16:creationId xmlns:a16="http://schemas.microsoft.com/office/drawing/2014/main" id="{D7DBF003-D2DF-37BB-89B1-56EE076B6F80}"/>
                      </a:ext>
                    </a:extLst>
                  </p:cNvPr>
                  <p:cNvGrpSpPr/>
                  <p:nvPr/>
                </p:nvGrpSpPr>
                <p:grpSpPr>
                  <a:xfrm>
                    <a:off x="11175204" y="3729413"/>
                    <a:ext cx="72144" cy="163391"/>
                    <a:chOff x="11175204" y="3729413"/>
                    <a:chExt cx="72144" cy="163391"/>
                  </a:xfrm>
                  <a:solidFill>
                    <a:srgbClr val="02787D"/>
                  </a:solidFill>
                </p:grpSpPr>
                <p:sp>
                  <p:nvSpPr>
                    <p:cNvPr id="950" name="Freihandform: Form 949">
                      <a:extLst>
                        <a:ext uri="{FF2B5EF4-FFF2-40B4-BE49-F238E27FC236}">
                          <a16:creationId xmlns:a16="http://schemas.microsoft.com/office/drawing/2014/main" id="{BAED4071-06BE-01C6-878A-CD414987301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2650" y="3814241"/>
                      <a:ext cx="34698" cy="78564"/>
                    </a:xfrm>
                    <a:custGeom>
                      <a:avLst/>
                      <a:gdLst>
                        <a:gd name="connsiteX0" fmla="*/ 24310 w 34698"/>
                        <a:gd name="connsiteY0" fmla="*/ 78504 h 78564"/>
                        <a:gd name="connsiteX1" fmla="*/ 5015 w 34698"/>
                        <a:gd name="connsiteY1" fmla="*/ 45781 h 78564"/>
                        <a:gd name="connsiteX2" fmla="*/ 7072 w 34698"/>
                        <a:gd name="connsiteY2" fmla="*/ 5982 h 78564"/>
                        <a:gd name="connsiteX3" fmla="*/ 12818 w 34698"/>
                        <a:gd name="connsiteY3" fmla="*/ 175 h 78564"/>
                        <a:gd name="connsiteX4" fmla="*/ 30903 w 34698"/>
                        <a:gd name="connsiteY4" fmla="*/ 43241 h 78564"/>
                        <a:gd name="connsiteX5" fmla="*/ 24310 w 34698"/>
                        <a:gd name="connsiteY5" fmla="*/ 78565 h 78564"/>
                        <a:gd name="connsiteX6" fmla="*/ 24310 w 34698"/>
                        <a:gd name="connsiteY6" fmla="*/ 78565 h 785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4698" h="78564">
                          <a:moveTo>
                            <a:pt x="24310" y="78504"/>
                          </a:moveTo>
                          <a:lnTo>
                            <a:pt x="5015" y="45781"/>
                          </a:lnTo>
                          <a:cubicBezTo>
                            <a:pt x="-2122" y="33261"/>
                            <a:pt x="-1820" y="18502"/>
                            <a:pt x="7072" y="5982"/>
                          </a:cubicBezTo>
                          <a:cubicBezTo>
                            <a:pt x="9915" y="1990"/>
                            <a:pt x="12213" y="-732"/>
                            <a:pt x="12818" y="175"/>
                          </a:cubicBezTo>
                          <a:cubicBezTo>
                            <a:pt x="13967" y="1929"/>
                            <a:pt x="21770" y="20256"/>
                            <a:pt x="30903" y="43241"/>
                          </a:cubicBezTo>
                          <a:cubicBezTo>
                            <a:pt x="36710" y="57758"/>
                            <a:pt x="36831" y="67919"/>
                            <a:pt x="24310" y="78565"/>
                          </a:cubicBezTo>
                          <a:lnTo>
                            <a:pt x="24310" y="78565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51" name="Freihandform: Form 950">
                      <a:extLst>
                        <a:ext uri="{FF2B5EF4-FFF2-40B4-BE49-F238E27FC236}">
                          <a16:creationId xmlns:a16="http://schemas.microsoft.com/office/drawing/2014/main" id="{6C62C502-15D8-32BA-21D2-ED92B8ABFA9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86914" y="3784717"/>
                      <a:ext cx="48550" cy="77543"/>
                    </a:xfrm>
                    <a:custGeom>
                      <a:avLst/>
                      <a:gdLst>
                        <a:gd name="connsiteX0" fmla="*/ 32082 w 48550"/>
                        <a:gd name="connsiteY0" fmla="*/ 77543 h 77543"/>
                        <a:gd name="connsiteX1" fmla="*/ 3169 w 48550"/>
                        <a:gd name="connsiteY1" fmla="*/ 26614 h 77543"/>
                        <a:gd name="connsiteX2" fmla="*/ 24097 w 48550"/>
                        <a:gd name="connsiteY2" fmla="*/ 1573 h 77543"/>
                        <a:gd name="connsiteX3" fmla="*/ 26577 w 48550"/>
                        <a:gd name="connsiteY3" fmla="*/ 0 h 77543"/>
                        <a:gd name="connsiteX4" fmla="*/ 46296 w 48550"/>
                        <a:gd name="connsiteY4" fmla="*/ 44457 h 77543"/>
                        <a:gd name="connsiteX5" fmla="*/ 32928 w 48550"/>
                        <a:gd name="connsiteY5" fmla="*/ 76938 h 77543"/>
                        <a:gd name="connsiteX6" fmla="*/ 32021 w 48550"/>
                        <a:gd name="connsiteY6" fmla="*/ 77543 h 7754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8550" h="77543">
                          <a:moveTo>
                            <a:pt x="32082" y="77543"/>
                          </a:moveTo>
                          <a:lnTo>
                            <a:pt x="3169" y="26614"/>
                          </a:lnTo>
                          <a:cubicBezTo>
                            <a:pt x="-5541" y="11190"/>
                            <a:pt x="4439" y="4476"/>
                            <a:pt x="24097" y="1573"/>
                          </a:cubicBezTo>
                          <a:lnTo>
                            <a:pt x="26577" y="0"/>
                          </a:lnTo>
                          <a:lnTo>
                            <a:pt x="46296" y="44457"/>
                          </a:lnTo>
                          <a:cubicBezTo>
                            <a:pt x="52102" y="58127"/>
                            <a:pt x="46356" y="68107"/>
                            <a:pt x="32928" y="76938"/>
                          </a:cubicBezTo>
                          <a:lnTo>
                            <a:pt x="32021" y="77543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52" name="Freihandform: Form 951">
                      <a:extLst>
                        <a:ext uri="{FF2B5EF4-FFF2-40B4-BE49-F238E27FC236}">
                          <a16:creationId xmlns:a16="http://schemas.microsoft.com/office/drawing/2014/main" id="{6DC577E3-D770-1C53-A58A-C98D105E170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75204" y="3729413"/>
                      <a:ext cx="39679" cy="76473"/>
                    </a:xfrm>
                    <a:custGeom>
                      <a:avLst/>
                      <a:gdLst>
                        <a:gd name="connsiteX0" fmla="*/ 0 w 39679"/>
                        <a:gd name="connsiteY0" fmla="*/ 10000 h 76473"/>
                        <a:gd name="connsiteX1" fmla="*/ 12642 w 39679"/>
                        <a:gd name="connsiteY1" fmla="*/ 76474 h 76473"/>
                        <a:gd name="connsiteX2" fmla="*/ 39376 w 39679"/>
                        <a:gd name="connsiteY2" fmla="*/ 55908 h 76473"/>
                        <a:gd name="connsiteX3" fmla="*/ 39679 w 39679"/>
                        <a:gd name="connsiteY3" fmla="*/ 7762 h 76473"/>
                        <a:gd name="connsiteX4" fmla="*/ 0 w 39679"/>
                        <a:gd name="connsiteY4" fmla="*/ 9939 h 764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9679" h="76473">
                          <a:moveTo>
                            <a:pt x="0" y="10000"/>
                          </a:moveTo>
                          <a:cubicBezTo>
                            <a:pt x="0" y="11209"/>
                            <a:pt x="12642" y="76474"/>
                            <a:pt x="12642" y="76474"/>
                          </a:cubicBezTo>
                          <a:cubicBezTo>
                            <a:pt x="30848" y="74236"/>
                            <a:pt x="39376" y="72844"/>
                            <a:pt x="39376" y="55908"/>
                          </a:cubicBezTo>
                          <a:lnTo>
                            <a:pt x="39679" y="7762"/>
                          </a:lnTo>
                          <a:cubicBezTo>
                            <a:pt x="33388" y="-3126"/>
                            <a:pt x="4356" y="-2702"/>
                            <a:pt x="0" y="9939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940" name="Grafik 297">
                    <a:extLst>
                      <a:ext uri="{FF2B5EF4-FFF2-40B4-BE49-F238E27FC236}">
                        <a16:creationId xmlns:a16="http://schemas.microsoft.com/office/drawing/2014/main" id="{5C9A0B48-3B22-E221-2D4E-34B8B6B67AC8}"/>
                      </a:ext>
                    </a:extLst>
                  </p:cNvPr>
                  <p:cNvGrpSpPr/>
                  <p:nvPr/>
                </p:nvGrpSpPr>
                <p:grpSpPr>
                  <a:xfrm>
                    <a:off x="11188390" y="3736015"/>
                    <a:ext cx="61520" cy="156366"/>
                    <a:chOff x="11188390" y="3736015"/>
                    <a:chExt cx="61520" cy="156366"/>
                  </a:xfrm>
                  <a:solidFill>
                    <a:srgbClr val="02787D"/>
                  </a:solidFill>
                </p:grpSpPr>
                <p:sp>
                  <p:nvSpPr>
                    <p:cNvPr id="947" name="Freihandform: Form 946">
                      <a:extLst>
                        <a:ext uri="{FF2B5EF4-FFF2-40B4-BE49-F238E27FC236}">
                          <a16:creationId xmlns:a16="http://schemas.microsoft.com/office/drawing/2014/main" id="{22E842F5-630D-46F0-805E-08A67ADF49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8103" y="3821286"/>
                      <a:ext cx="31807" cy="71096"/>
                    </a:xfrm>
                    <a:custGeom>
                      <a:avLst/>
                      <a:gdLst>
                        <a:gd name="connsiteX0" fmla="*/ 18917 w 31807"/>
                        <a:gd name="connsiteY0" fmla="*/ 71096 h 71096"/>
                        <a:gd name="connsiteX1" fmla="*/ 3554 w 31807"/>
                        <a:gd name="connsiteY1" fmla="*/ 39462 h 71096"/>
                        <a:gd name="connsiteX2" fmla="*/ 8877 w 31807"/>
                        <a:gd name="connsiteY2" fmla="*/ 4804 h 71096"/>
                        <a:gd name="connsiteX3" fmla="*/ 15288 w 31807"/>
                        <a:gd name="connsiteY3" fmla="*/ 207 h 71096"/>
                        <a:gd name="connsiteX4" fmla="*/ 29744 w 31807"/>
                        <a:gd name="connsiteY4" fmla="*/ 39946 h 71096"/>
                        <a:gd name="connsiteX5" fmla="*/ 18917 w 31807"/>
                        <a:gd name="connsiteY5" fmla="*/ 71096 h 71096"/>
                        <a:gd name="connsiteX6" fmla="*/ 18917 w 31807"/>
                        <a:gd name="connsiteY6" fmla="*/ 71096 h 7109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1807" h="71096">
                          <a:moveTo>
                            <a:pt x="18917" y="71096"/>
                          </a:moveTo>
                          <a:lnTo>
                            <a:pt x="3554" y="39462"/>
                          </a:lnTo>
                          <a:cubicBezTo>
                            <a:pt x="-2072" y="27365"/>
                            <a:pt x="-1527" y="15147"/>
                            <a:pt x="8877" y="4804"/>
                          </a:cubicBezTo>
                          <a:cubicBezTo>
                            <a:pt x="12204" y="1477"/>
                            <a:pt x="14804" y="-701"/>
                            <a:pt x="15288" y="207"/>
                          </a:cubicBezTo>
                          <a:cubicBezTo>
                            <a:pt x="16195" y="1900"/>
                            <a:pt x="23333" y="18232"/>
                            <a:pt x="29744" y="39946"/>
                          </a:cubicBezTo>
                          <a:cubicBezTo>
                            <a:pt x="33797" y="53676"/>
                            <a:pt x="32708" y="62870"/>
                            <a:pt x="18917" y="71096"/>
                          </a:cubicBezTo>
                          <a:lnTo>
                            <a:pt x="18917" y="71096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48" name="Freihandform: Form 947">
                      <a:extLst>
                        <a:ext uri="{FF2B5EF4-FFF2-40B4-BE49-F238E27FC236}">
                          <a16:creationId xmlns:a16="http://schemas.microsoft.com/office/drawing/2014/main" id="{910286DA-5991-5E69-00A8-B4D39D5A598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96102" y="3785140"/>
                      <a:ext cx="43119" cy="75607"/>
                    </a:xfrm>
                    <a:custGeom>
                      <a:avLst/>
                      <a:gdLst>
                        <a:gd name="connsiteX0" fmla="*/ 25495 w 43119"/>
                        <a:gd name="connsiteY0" fmla="*/ 75607 h 75607"/>
                        <a:gd name="connsiteX1" fmla="*/ 2389 w 43119"/>
                        <a:gd name="connsiteY1" fmla="*/ 26856 h 75607"/>
                        <a:gd name="connsiteX2" fmla="*/ 21987 w 43119"/>
                        <a:gd name="connsiteY2" fmla="*/ 0 h 75607"/>
                        <a:gd name="connsiteX3" fmla="*/ 26099 w 43119"/>
                        <a:gd name="connsiteY3" fmla="*/ 5444 h 75607"/>
                        <a:gd name="connsiteX4" fmla="*/ 41826 w 43119"/>
                        <a:gd name="connsiteY4" fmla="*/ 48631 h 75607"/>
                        <a:gd name="connsiteX5" fmla="*/ 25495 w 43119"/>
                        <a:gd name="connsiteY5" fmla="*/ 75607 h 75607"/>
                        <a:gd name="connsiteX6" fmla="*/ 25495 w 43119"/>
                        <a:gd name="connsiteY6" fmla="*/ 75607 h 756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3119" h="75607">
                          <a:moveTo>
                            <a:pt x="25495" y="75607"/>
                          </a:moveTo>
                          <a:lnTo>
                            <a:pt x="2389" y="26856"/>
                          </a:lnTo>
                          <a:cubicBezTo>
                            <a:pt x="-4446" y="12037"/>
                            <a:pt x="3780" y="5746"/>
                            <a:pt x="21987" y="0"/>
                          </a:cubicBezTo>
                          <a:lnTo>
                            <a:pt x="26099" y="5444"/>
                          </a:lnTo>
                          <a:lnTo>
                            <a:pt x="41826" y="48631"/>
                          </a:lnTo>
                          <a:cubicBezTo>
                            <a:pt x="46000" y="61575"/>
                            <a:pt x="39951" y="69075"/>
                            <a:pt x="25495" y="75607"/>
                          </a:cubicBezTo>
                          <a:lnTo>
                            <a:pt x="25495" y="75607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49" name="Freihandform: Form 948">
                      <a:extLst>
                        <a:ext uri="{FF2B5EF4-FFF2-40B4-BE49-F238E27FC236}">
                          <a16:creationId xmlns:a16="http://schemas.microsoft.com/office/drawing/2014/main" id="{BDA236DD-34D7-408E-51DB-3A74C78713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88390" y="3736015"/>
                      <a:ext cx="34476" cy="69266"/>
                    </a:xfrm>
                    <a:custGeom>
                      <a:avLst/>
                      <a:gdLst>
                        <a:gd name="connsiteX0" fmla="*/ 0 w 34476"/>
                        <a:gd name="connsiteY0" fmla="*/ 5575 h 69266"/>
                        <a:gd name="connsiteX1" fmla="*/ 7924 w 34476"/>
                        <a:gd name="connsiteY1" fmla="*/ 69267 h 69266"/>
                        <a:gd name="connsiteX2" fmla="*/ 33872 w 34476"/>
                        <a:gd name="connsiteY2" fmla="*/ 56867 h 69266"/>
                        <a:gd name="connsiteX3" fmla="*/ 34477 w 34476"/>
                        <a:gd name="connsiteY3" fmla="*/ 12168 h 69266"/>
                        <a:gd name="connsiteX4" fmla="*/ 0 w 34476"/>
                        <a:gd name="connsiteY4" fmla="*/ 5575 h 6926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4476" h="69266">
                          <a:moveTo>
                            <a:pt x="0" y="5575"/>
                          </a:moveTo>
                          <a:cubicBezTo>
                            <a:pt x="0" y="6724"/>
                            <a:pt x="7924" y="69267"/>
                            <a:pt x="7924" y="69267"/>
                          </a:cubicBezTo>
                          <a:cubicBezTo>
                            <a:pt x="26311" y="68420"/>
                            <a:pt x="32723" y="72170"/>
                            <a:pt x="33872" y="56867"/>
                          </a:cubicBezTo>
                          <a:lnTo>
                            <a:pt x="34477" y="12168"/>
                          </a:lnTo>
                          <a:cubicBezTo>
                            <a:pt x="28912" y="1946"/>
                            <a:pt x="5262" y="-5675"/>
                            <a:pt x="0" y="557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941" name="Grafik 297">
                    <a:extLst>
                      <a:ext uri="{FF2B5EF4-FFF2-40B4-BE49-F238E27FC236}">
                        <a16:creationId xmlns:a16="http://schemas.microsoft.com/office/drawing/2014/main" id="{C8A7D96B-6D00-C37B-06AB-675DFAE58130}"/>
                      </a:ext>
                    </a:extLst>
                  </p:cNvPr>
                  <p:cNvGrpSpPr/>
                  <p:nvPr/>
                </p:nvGrpSpPr>
                <p:grpSpPr>
                  <a:xfrm>
                    <a:off x="11208616" y="3610134"/>
                    <a:ext cx="98810" cy="216076"/>
                    <a:chOff x="11208616" y="3610134"/>
                    <a:chExt cx="98810" cy="216076"/>
                  </a:xfrm>
                  <a:solidFill>
                    <a:srgbClr val="02787D"/>
                  </a:solidFill>
                </p:grpSpPr>
                <p:sp>
                  <p:nvSpPr>
                    <p:cNvPr id="944" name="Freihandform: Form 943">
                      <a:extLst>
                        <a:ext uri="{FF2B5EF4-FFF2-40B4-BE49-F238E27FC236}">
                          <a16:creationId xmlns:a16="http://schemas.microsoft.com/office/drawing/2014/main" id="{D7E3932B-73D9-3C7F-10EF-5885D6D1AF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53713" y="3739314"/>
                      <a:ext cx="34296" cy="86896"/>
                    </a:xfrm>
                    <a:custGeom>
                      <a:avLst/>
                      <a:gdLst>
                        <a:gd name="connsiteX0" fmla="*/ 17724 w 34296"/>
                        <a:gd name="connsiteY0" fmla="*/ 86896 h 86896"/>
                        <a:gd name="connsiteX1" fmla="*/ 34297 w 34296"/>
                        <a:gd name="connsiteY1" fmla="*/ 45766 h 86896"/>
                        <a:gd name="connsiteX2" fmla="*/ 26918 w 34296"/>
                        <a:gd name="connsiteY2" fmla="*/ 2942 h 86896"/>
                        <a:gd name="connsiteX3" fmla="*/ 18571 w 34296"/>
                        <a:gd name="connsiteY3" fmla="*/ 825 h 86896"/>
                        <a:gd name="connsiteX4" fmla="*/ 1634 w 34296"/>
                        <a:gd name="connsiteY4" fmla="*/ 50968 h 86896"/>
                        <a:gd name="connsiteX5" fmla="*/ 17724 w 34296"/>
                        <a:gd name="connsiteY5" fmla="*/ 86896 h 86896"/>
                        <a:gd name="connsiteX6" fmla="*/ 17724 w 34296"/>
                        <a:gd name="connsiteY6" fmla="*/ 86896 h 8689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4296" h="86896">
                          <a:moveTo>
                            <a:pt x="17724" y="86896"/>
                          </a:moveTo>
                          <a:lnTo>
                            <a:pt x="34297" y="45766"/>
                          </a:lnTo>
                          <a:cubicBezTo>
                            <a:pt x="34176" y="31794"/>
                            <a:pt x="34660" y="10140"/>
                            <a:pt x="26918" y="2942"/>
                          </a:cubicBezTo>
                          <a:cubicBezTo>
                            <a:pt x="22503" y="-1111"/>
                            <a:pt x="19115" y="-82"/>
                            <a:pt x="18571" y="825"/>
                          </a:cubicBezTo>
                          <a:cubicBezTo>
                            <a:pt x="14760" y="7599"/>
                            <a:pt x="7199" y="29616"/>
                            <a:pt x="1634" y="50968"/>
                          </a:cubicBezTo>
                          <a:cubicBezTo>
                            <a:pt x="-2236" y="65787"/>
                            <a:pt x="-119" y="76190"/>
                            <a:pt x="17724" y="86896"/>
                          </a:cubicBezTo>
                          <a:lnTo>
                            <a:pt x="17724" y="86896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45" name="Freihandform: Form 944">
                      <a:extLst>
                        <a:ext uri="{FF2B5EF4-FFF2-40B4-BE49-F238E27FC236}">
                          <a16:creationId xmlns:a16="http://schemas.microsoft.com/office/drawing/2014/main" id="{EB8900F9-F8E2-B2BB-2C14-620D213CA16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57041" y="3712410"/>
                      <a:ext cx="50385" cy="74325"/>
                    </a:xfrm>
                    <a:custGeom>
                      <a:avLst/>
                      <a:gdLst>
                        <a:gd name="connsiteX0" fmla="*/ 50385 w 50385"/>
                        <a:gd name="connsiteY0" fmla="*/ 8615 h 74325"/>
                        <a:gd name="connsiteX1" fmla="*/ 0 w 50385"/>
                        <a:gd name="connsiteY1" fmla="*/ 10188 h 74325"/>
                        <a:gd name="connsiteX2" fmla="*/ 7682 w 50385"/>
                        <a:gd name="connsiteY2" fmla="*/ 46782 h 74325"/>
                        <a:gd name="connsiteX3" fmla="*/ 31029 w 50385"/>
                        <a:gd name="connsiteY3" fmla="*/ 72670 h 74325"/>
                        <a:gd name="connsiteX4" fmla="*/ 50385 w 50385"/>
                        <a:gd name="connsiteY4" fmla="*/ 8615 h 743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0385" h="74325">
                          <a:moveTo>
                            <a:pt x="50385" y="8615"/>
                          </a:moveTo>
                          <a:cubicBezTo>
                            <a:pt x="36352" y="-11648"/>
                            <a:pt x="0" y="10188"/>
                            <a:pt x="0" y="10188"/>
                          </a:cubicBezTo>
                          <a:lnTo>
                            <a:pt x="7682" y="46782"/>
                          </a:lnTo>
                          <a:cubicBezTo>
                            <a:pt x="7924" y="62508"/>
                            <a:pt x="17602" y="79807"/>
                            <a:pt x="31029" y="72670"/>
                          </a:cubicBezTo>
                          <a:cubicBezTo>
                            <a:pt x="31029" y="72670"/>
                            <a:pt x="50385" y="7890"/>
                            <a:pt x="50385" y="861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46" name="Freihandform: Form 945">
                      <a:extLst>
                        <a:ext uri="{FF2B5EF4-FFF2-40B4-BE49-F238E27FC236}">
                          <a16:creationId xmlns:a16="http://schemas.microsoft.com/office/drawing/2014/main" id="{BFBB2A6F-6D88-AD33-2E2F-C7E7F7CD26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08616" y="3610134"/>
                      <a:ext cx="98810" cy="121421"/>
                    </a:xfrm>
                    <a:custGeom>
                      <a:avLst/>
                      <a:gdLst>
                        <a:gd name="connsiteX0" fmla="*/ 91190 w 98810"/>
                        <a:gd name="connsiteY0" fmla="*/ 57180 h 121421"/>
                        <a:gd name="connsiteX1" fmla="*/ 98811 w 98810"/>
                        <a:gd name="connsiteY1" fmla="*/ 110831 h 121421"/>
                        <a:gd name="connsiteX2" fmla="*/ 98811 w 98810"/>
                        <a:gd name="connsiteY2" fmla="*/ 110831 h 121421"/>
                        <a:gd name="connsiteX3" fmla="*/ 48728 w 98810"/>
                        <a:gd name="connsiteY3" fmla="*/ 113311 h 121421"/>
                        <a:gd name="connsiteX4" fmla="*/ 7719 w 98810"/>
                        <a:gd name="connsiteY4" fmla="*/ 53006 h 121421"/>
                        <a:gd name="connsiteX5" fmla="*/ 62035 w 98810"/>
                        <a:gd name="connsiteY5" fmla="*/ 4920 h 121421"/>
                        <a:gd name="connsiteX6" fmla="*/ 91250 w 98810"/>
                        <a:gd name="connsiteY6" fmla="*/ 57119 h 1214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98810" h="121421">
                          <a:moveTo>
                            <a:pt x="91190" y="57180"/>
                          </a:moveTo>
                          <a:cubicBezTo>
                            <a:pt x="95121" y="72241"/>
                            <a:pt x="98811" y="110831"/>
                            <a:pt x="98811" y="110831"/>
                          </a:cubicBezTo>
                          <a:lnTo>
                            <a:pt x="98811" y="110831"/>
                          </a:lnTo>
                          <a:cubicBezTo>
                            <a:pt x="75463" y="113311"/>
                            <a:pt x="78427" y="131759"/>
                            <a:pt x="48728" y="113311"/>
                          </a:cubicBezTo>
                          <a:cubicBezTo>
                            <a:pt x="48728" y="113311"/>
                            <a:pt x="37296" y="72906"/>
                            <a:pt x="7719" y="53006"/>
                          </a:cubicBezTo>
                          <a:cubicBezTo>
                            <a:pt x="-17806" y="35828"/>
                            <a:pt x="25078" y="-16069"/>
                            <a:pt x="62035" y="4920"/>
                          </a:cubicBezTo>
                          <a:cubicBezTo>
                            <a:pt x="79576" y="26755"/>
                            <a:pt x="91250" y="57119"/>
                            <a:pt x="91250" y="57119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942" name="Freihandform: Form 941">
                    <a:extLst>
                      <a:ext uri="{FF2B5EF4-FFF2-40B4-BE49-F238E27FC236}">
                        <a16:creationId xmlns:a16="http://schemas.microsoft.com/office/drawing/2014/main" id="{732A1C60-5F11-70C6-4C2E-E5F7B673D0AB}"/>
                      </a:ext>
                    </a:extLst>
                  </p:cNvPr>
                  <p:cNvSpPr/>
                  <p:nvPr/>
                </p:nvSpPr>
                <p:spPr>
                  <a:xfrm>
                    <a:off x="11163281" y="3594186"/>
                    <a:ext cx="140662" cy="175772"/>
                  </a:xfrm>
                  <a:custGeom>
                    <a:avLst/>
                    <a:gdLst>
                      <a:gd name="connsiteX0" fmla="*/ 128 w 140662"/>
                      <a:gd name="connsiteY0" fmla="*/ 127202 h 175772"/>
                      <a:gd name="connsiteX1" fmla="*/ 20995 w 140662"/>
                      <a:gd name="connsiteY1" fmla="*/ 2057 h 175772"/>
                      <a:gd name="connsiteX2" fmla="*/ 105978 w 140662"/>
                      <a:gd name="connsiteY2" fmla="*/ 0 h 175772"/>
                      <a:gd name="connsiteX3" fmla="*/ 112027 w 140662"/>
                      <a:gd name="connsiteY3" fmla="*/ 22077 h 175772"/>
                      <a:gd name="connsiteX4" fmla="*/ 140576 w 140662"/>
                      <a:gd name="connsiteY4" fmla="*/ 100770 h 175772"/>
                      <a:gd name="connsiteX5" fmla="*/ 92913 w 140662"/>
                      <a:gd name="connsiteY5" fmla="*/ 122968 h 175772"/>
                      <a:gd name="connsiteX6" fmla="*/ 58376 w 140662"/>
                      <a:gd name="connsiteY6" fmla="*/ 175772 h 175772"/>
                      <a:gd name="connsiteX7" fmla="*/ 67 w 140662"/>
                      <a:gd name="connsiteY7" fmla="*/ 152001 h 175772"/>
                      <a:gd name="connsiteX8" fmla="*/ 67 w 140662"/>
                      <a:gd name="connsiteY8" fmla="*/ 127263 h 1757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40662" h="175772">
                        <a:moveTo>
                          <a:pt x="128" y="127202"/>
                        </a:moveTo>
                        <a:cubicBezTo>
                          <a:pt x="7326" y="95144"/>
                          <a:pt x="15491" y="57341"/>
                          <a:pt x="20995" y="2057"/>
                        </a:cubicBezTo>
                        <a:lnTo>
                          <a:pt x="105978" y="0"/>
                        </a:lnTo>
                        <a:cubicBezTo>
                          <a:pt x="106160" y="16089"/>
                          <a:pt x="109910" y="20021"/>
                          <a:pt x="112027" y="22077"/>
                        </a:cubicBezTo>
                        <a:cubicBezTo>
                          <a:pt x="143721" y="52562"/>
                          <a:pt x="140576" y="100770"/>
                          <a:pt x="140576" y="100770"/>
                        </a:cubicBezTo>
                        <a:cubicBezTo>
                          <a:pt x="140032" y="105306"/>
                          <a:pt x="109366" y="98411"/>
                          <a:pt x="92913" y="122968"/>
                        </a:cubicBezTo>
                        <a:cubicBezTo>
                          <a:pt x="88255" y="129863"/>
                          <a:pt x="62791" y="137545"/>
                          <a:pt x="58376" y="175772"/>
                        </a:cubicBezTo>
                        <a:cubicBezTo>
                          <a:pt x="19786" y="137848"/>
                          <a:pt x="1943" y="151215"/>
                          <a:pt x="67" y="152001"/>
                        </a:cubicBezTo>
                        <a:cubicBezTo>
                          <a:pt x="611" y="142263"/>
                          <a:pt x="-235" y="133855"/>
                          <a:pt x="67" y="127263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43" name="Freihandform: Form 942">
                    <a:extLst>
                      <a:ext uri="{FF2B5EF4-FFF2-40B4-BE49-F238E27FC236}">
                        <a16:creationId xmlns:a16="http://schemas.microsoft.com/office/drawing/2014/main" id="{73F2B8C1-6E0A-0324-DD86-9F48878A5661}"/>
                      </a:ext>
                    </a:extLst>
                  </p:cNvPr>
                  <p:cNvSpPr/>
                  <p:nvPr/>
                </p:nvSpPr>
                <p:spPr>
                  <a:xfrm>
                    <a:off x="11184216" y="3555052"/>
                    <a:ext cx="85164" cy="85164"/>
                  </a:xfrm>
                  <a:custGeom>
                    <a:avLst/>
                    <a:gdLst>
                      <a:gd name="connsiteX0" fmla="*/ 85164 w 85164"/>
                      <a:gd name="connsiteY0" fmla="*/ 42582 h 85164"/>
                      <a:gd name="connsiteX1" fmla="*/ 42582 w 85164"/>
                      <a:gd name="connsiteY1" fmla="*/ 85164 h 85164"/>
                      <a:gd name="connsiteX2" fmla="*/ 0 w 85164"/>
                      <a:gd name="connsiteY2" fmla="*/ 42582 h 85164"/>
                      <a:gd name="connsiteX3" fmla="*/ 42582 w 85164"/>
                      <a:gd name="connsiteY3" fmla="*/ 0 h 85164"/>
                      <a:gd name="connsiteX4" fmla="*/ 85164 w 85164"/>
                      <a:gd name="connsiteY4" fmla="*/ 42582 h 85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5164" h="85164">
                        <a:moveTo>
                          <a:pt x="85164" y="42582"/>
                        </a:moveTo>
                        <a:cubicBezTo>
                          <a:pt x="85164" y="66100"/>
                          <a:pt x="66100" y="85164"/>
                          <a:pt x="42582" y="85164"/>
                        </a:cubicBezTo>
                        <a:cubicBezTo>
                          <a:pt x="19065" y="85164"/>
                          <a:pt x="0" y="66100"/>
                          <a:pt x="0" y="42582"/>
                        </a:cubicBezTo>
                        <a:cubicBezTo>
                          <a:pt x="0" y="19065"/>
                          <a:pt x="19064" y="0"/>
                          <a:pt x="42582" y="0"/>
                        </a:cubicBezTo>
                        <a:cubicBezTo>
                          <a:pt x="66099" y="0"/>
                          <a:pt x="85164" y="19065"/>
                          <a:pt x="85164" y="42582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936" name="Freihandform: Form 935">
                  <a:extLst>
                    <a:ext uri="{FF2B5EF4-FFF2-40B4-BE49-F238E27FC236}">
                      <a16:creationId xmlns:a16="http://schemas.microsoft.com/office/drawing/2014/main" id="{F755CAF3-D334-2D15-AF19-1CA178BCC9AF}"/>
                    </a:ext>
                  </a:extLst>
                </p:cNvPr>
                <p:cNvSpPr/>
                <p:nvPr/>
              </p:nvSpPr>
              <p:spPr>
                <a:xfrm>
                  <a:off x="11554269" y="2207424"/>
                  <a:ext cx="268013" cy="182791"/>
                </a:xfrm>
                <a:custGeom>
                  <a:avLst/>
                  <a:gdLst>
                    <a:gd name="connsiteX0" fmla="*/ 0 w 268013"/>
                    <a:gd name="connsiteY0" fmla="*/ 0 h 182791"/>
                    <a:gd name="connsiteX1" fmla="*/ 9133 w 268013"/>
                    <a:gd name="connsiteY1" fmla="*/ 120125 h 182791"/>
                    <a:gd name="connsiteX2" fmla="*/ 135186 w 268013"/>
                    <a:gd name="connsiteY2" fmla="*/ 182789 h 182791"/>
                    <a:gd name="connsiteX3" fmla="*/ 259606 w 268013"/>
                    <a:gd name="connsiteY3" fmla="*/ 101374 h 182791"/>
                    <a:gd name="connsiteX4" fmla="*/ 268014 w 268013"/>
                    <a:gd name="connsiteY4" fmla="*/ 7440 h 182791"/>
                    <a:gd name="connsiteX5" fmla="*/ 0 w 268013"/>
                    <a:gd name="connsiteY5" fmla="*/ 121 h 182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68013" h="182791">
                      <a:moveTo>
                        <a:pt x="0" y="0"/>
                      </a:moveTo>
                      <a:cubicBezTo>
                        <a:pt x="1694" y="2903"/>
                        <a:pt x="9133" y="120125"/>
                        <a:pt x="9133" y="120125"/>
                      </a:cubicBezTo>
                      <a:cubicBezTo>
                        <a:pt x="9133" y="120125"/>
                        <a:pt x="13670" y="182244"/>
                        <a:pt x="135186" y="182789"/>
                      </a:cubicBezTo>
                      <a:cubicBezTo>
                        <a:pt x="268014" y="183333"/>
                        <a:pt x="259606" y="101374"/>
                        <a:pt x="259606" y="101374"/>
                      </a:cubicBezTo>
                      <a:lnTo>
                        <a:pt x="268014" y="7440"/>
                      </a:lnTo>
                      <a:cubicBezTo>
                        <a:pt x="182547" y="25646"/>
                        <a:pt x="96838" y="27219"/>
                        <a:pt x="0" y="121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89" name="Grafik 297">
                <a:extLst>
                  <a:ext uri="{FF2B5EF4-FFF2-40B4-BE49-F238E27FC236}">
                    <a16:creationId xmlns:a16="http://schemas.microsoft.com/office/drawing/2014/main" id="{9F5E6748-8046-B426-3F5C-219F65370FB8}"/>
                  </a:ext>
                </a:extLst>
              </p:cNvPr>
              <p:cNvGrpSpPr/>
              <p:nvPr/>
            </p:nvGrpSpPr>
            <p:grpSpPr>
              <a:xfrm>
                <a:off x="9590362" y="1659724"/>
                <a:ext cx="1540851" cy="3537443"/>
                <a:chOff x="48" y="1659724"/>
                <a:chExt cx="1540851" cy="3537443"/>
              </a:xfrm>
            </p:grpSpPr>
            <p:grpSp>
              <p:nvGrpSpPr>
                <p:cNvPr id="790" name="Grafik 297">
                  <a:extLst>
                    <a:ext uri="{FF2B5EF4-FFF2-40B4-BE49-F238E27FC236}">
                      <a16:creationId xmlns:a16="http://schemas.microsoft.com/office/drawing/2014/main" id="{FFCAD86D-8194-ECC0-FD2C-83DE50E3366B}"/>
                    </a:ext>
                  </a:extLst>
                </p:cNvPr>
                <p:cNvGrpSpPr/>
                <p:nvPr/>
              </p:nvGrpSpPr>
              <p:grpSpPr>
                <a:xfrm>
                  <a:off x="134278" y="3425249"/>
                  <a:ext cx="206694" cy="389892"/>
                  <a:chOff x="134278" y="3425249"/>
                  <a:chExt cx="206694" cy="389892"/>
                </a:xfrm>
                <a:solidFill>
                  <a:srgbClr val="02787D"/>
                </a:solidFill>
              </p:grpSpPr>
              <p:sp>
                <p:nvSpPr>
                  <p:cNvPr id="866" name="Freihandform: Form 865">
                    <a:extLst>
                      <a:ext uri="{FF2B5EF4-FFF2-40B4-BE49-F238E27FC236}">
                        <a16:creationId xmlns:a16="http://schemas.microsoft.com/office/drawing/2014/main" id="{D94109F9-929D-69CA-9665-E4EB25B67880}"/>
                      </a:ext>
                    </a:extLst>
                  </p:cNvPr>
                  <p:cNvSpPr/>
                  <p:nvPr/>
                </p:nvSpPr>
                <p:spPr>
                  <a:xfrm>
                    <a:off x="194341" y="3425249"/>
                    <a:ext cx="116254" cy="116254"/>
                  </a:xfrm>
                  <a:custGeom>
                    <a:avLst/>
                    <a:gdLst>
                      <a:gd name="connsiteX0" fmla="*/ 116254 w 116254"/>
                      <a:gd name="connsiteY0" fmla="*/ 58127 h 116254"/>
                      <a:gd name="connsiteX1" fmla="*/ 58127 w 116254"/>
                      <a:gd name="connsiteY1" fmla="*/ 116254 h 116254"/>
                      <a:gd name="connsiteX2" fmla="*/ 0 w 116254"/>
                      <a:gd name="connsiteY2" fmla="*/ 58127 h 116254"/>
                      <a:gd name="connsiteX3" fmla="*/ 58127 w 116254"/>
                      <a:gd name="connsiteY3" fmla="*/ 0 h 116254"/>
                      <a:gd name="connsiteX4" fmla="*/ 116254 w 116254"/>
                      <a:gd name="connsiteY4" fmla="*/ 58127 h 1162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6254" h="116254">
                        <a:moveTo>
                          <a:pt x="116254" y="58127"/>
                        </a:moveTo>
                        <a:cubicBezTo>
                          <a:pt x="116254" y="90230"/>
                          <a:pt x="90230" y="116254"/>
                          <a:pt x="58127" y="116254"/>
                        </a:cubicBezTo>
                        <a:cubicBezTo>
                          <a:pt x="26024" y="116254"/>
                          <a:pt x="0" y="90229"/>
                          <a:pt x="0" y="58127"/>
                        </a:cubicBezTo>
                        <a:cubicBezTo>
                          <a:pt x="0" y="26024"/>
                          <a:pt x="26024" y="0"/>
                          <a:pt x="58127" y="0"/>
                        </a:cubicBezTo>
                        <a:cubicBezTo>
                          <a:pt x="90230" y="0"/>
                          <a:pt x="116254" y="26024"/>
                          <a:pt x="116254" y="58127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867" name="Grafik 297">
                    <a:extLst>
                      <a:ext uri="{FF2B5EF4-FFF2-40B4-BE49-F238E27FC236}">
                        <a16:creationId xmlns:a16="http://schemas.microsoft.com/office/drawing/2014/main" id="{30186281-BC7D-D78B-27A9-6E8D41FF6F77}"/>
                      </a:ext>
                    </a:extLst>
                  </p:cNvPr>
                  <p:cNvGrpSpPr/>
                  <p:nvPr/>
                </p:nvGrpSpPr>
                <p:grpSpPr>
                  <a:xfrm>
                    <a:off x="134278" y="3462369"/>
                    <a:ext cx="206694" cy="352772"/>
                    <a:chOff x="134278" y="3462369"/>
                    <a:chExt cx="206694" cy="352772"/>
                  </a:xfrm>
                  <a:solidFill>
                    <a:srgbClr val="02787D"/>
                  </a:solidFill>
                </p:grpSpPr>
                <p:grpSp>
                  <p:nvGrpSpPr>
                    <p:cNvPr id="868" name="Grafik 297">
                      <a:extLst>
                        <a:ext uri="{FF2B5EF4-FFF2-40B4-BE49-F238E27FC236}">
                          <a16:creationId xmlns:a16="http://schemas.microsoft.com/office/drawing/2014/main" id="{62FF9FAC-B8A0-0114-1E85-CB317C1FA22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17870" y="3649645"/>
                      <a:ext cx="45684" cy="153097"/>
                      <a:chOff x="217870" y="3649645"/>
                      <a:chExt cx="45684" cy="153097"/>
                    </a:xfrm>
                    <a:solidFill>
                      <a:srgbClr val="02787D"/>
                    </a:solidFill>
                  </p:grpSpPr>
                  <p:sp>
                    <p:nvSpPr>
                      <p:cNvPr id="885" name="Freihandform: Form 884">
                        <a:extLst>
                          <a:ext uri="{FF2B5EF4-FFF2-40B4-BE49-F238E27FC236}">
                            <a16:creationId xmlns:a16="http://schemas.microsoft.com/office/drawing/2014/main" id="{7EC63D7D-06DA-743F-3E5E-09E75665A38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17870" y="3649645"/>
                        <a:ext cx="45684" cy="70664"/>
                      </a:xfrm>
                      <a:custGeom>
                        <a:avLst/>
                        <a:gdLst>
                          <a:gd name="connsiteX0" fmla="*/ 0 w 45684"/>
                          <a:gd name="connsiteY0" fmla="*/ 57227 h 70664"/>
                          <a:gd name="connsiteX1" fmla="*/ 18388 w 45684"/>
                          <a:gd name="connsiteY1" fmla="*/ 70655 h 70664"/>
                          <a:gd name="connsiteX2" fmla="*/ 36050 w 45684"/>
                          <a:gd name="connsiteY2" fmla="*/ 55594 h 70664"/>
                          <a:gd name="connsiteX3" fmla="*/ 45485 w 45684"/>
                          <a:gd name="connsiteY3" fmla="*/ 18818 h 70664"/>
                          <a:gd name="connsiteX4" fmla="*/ 32300 w 45684"/>
                          <a:gd name="connsiteY4" fmla="*/ 914 h 70664"/>
                          <a:gd name="connsiteX5" fmla="*/ 9073 w 45684"/>
                          <a:gd name="connsiteY5" fmla="*/ 13435 h 70664"/>
                          <a:gd name="connsiteX6" fmla="*/ 0 w 45684"/>
                          <a:gd name="connsiteY6" fmla="*/ 57227 h 706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5684" h="70664">
                            <a:moveTo>
                              <a:pt x="0" y="57227"/>
                            </a:moveTo>
                            <a:cubicBezTo>
                              <a:pt x="0" y="57227"/>
                              <a:pt x="5262" y="71078"/>
                              <a:pt x="18388" y="70655"/>
                            </a:cubicBezTo>
                            <a:cubicBezTo>
                              <a:pt x="32179" y="70231"/>
                              <a:pt x="36050" y="55594"/>
                              <a:pt x="36050" y="55594"/>
                            </a:cubicBezTo>
                            <a:lnTo>
                              <a:pt x="45485" y="18818"/>
                            </a:lnTo>
                            <a:cubicBezTo>
                              <a:pt x="46816" y="7568"/>
                              <a:pt x="41372" y="2971"/>
                              <a:pt x="32300" y="914"/>
                            </a:cubicBezTo>
                            <a:cubicBezTo>
                              <a:pt x="23287" y="-1566"/>
                              <a:pt x="12339" y="491"/>
                              <a:pt x="9073" y="13435"/>
                            </a:cubicBezTo>
                            <a:lnTo>
                              <a:pt x="0" y="5722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86" name="Freihandform: Form 885">
                        <a:extLst>
                          <a:ext uri="{FF2B5EF4-FFF2-40B4-BE49-F238E27FC236}">
                            <a16:creationId xmlns:a16="http://schemas.microsoft.com/office/drawing/2014/main" id="{75037D38-224D-E662-A9A3-F95DBE94736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17870" y="3693202"/>
                        <a:ext cx="36856" cy="56556"/>
                      </a:xfrm>
                      <a:custGeom>
                        <a:avLst/>
                        <a:gdLst>
                          <a:gd name="connsiteX0" fmla="*/ 7016 w 36856"/>
                          <a:gd name="connsiteY0" fmla="*/ 49175 h 56556"/>
                          <a:gd name="connsiteX1" fmla="*/ 22985 w 36856"/>
                          <a:gd name="connsiteY1" fmla="*/ 56554 h 56556"/>
                          <a:gd name="connsiteX2" fmla="*/ 36775 w 36856"/>
                          <a:gd name="connsiteY2" fmla="*/ 43187 h 56556"/>
                          <a:gd name="connsiteX3" fmla="*/ 36110 w 36856"/>
                          <a:gd name="connsiteY3" fmla="*/ 12037 h 56556"/>
                          <a:gd name="connsiteX4" fmla="*/ 19356 w 36856"/>
                          <a:gd name="connsiteY4" fmla="*/ 0 h 56556"/>
                          <a:gd name="connsiteX5" fmla="*/ 0 w 36856"/>
                          <a:gd name="connsiteY5" fmla="*/ 13670 h 56556"/>
                          <a:gd name="connsiteX6" fmla="*/ 6956 w 36856"/>
                          <a:gd name="connsiteY6" fmla="*/ 49175 h 5655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6856" h="56556">
                            <a:moveTo>
                              <a:pt x="7016" y="49175"/>
                            </a:moveTo>
                            <a:cubicBezTo>
                              <a:pt x="7016" y="49175"/>
                              <a:pt x="7198" y="56192"/>
                              <a:pt x="22985" y="56554"/>
                            </a:cubicBezTo>
                            <a:cubicBezTo>
                              <a:pt x="38772" y="56736"/>
                              <a:pt x="36775" y="43187"/>
                              <a:pt x="36775" y="43187"/>
                            </a:cubicBezTo>
                            <a:lnTo>
                              <a:pt x="36110" y="12037"/>
                            </a:lnTo>
                            <a:cubicBezTo>
                              <a:pt x="32179" y="4899"/>
                              <a:pt x="31392" y="0"/>
                              <a:pt x="19356" y="0"/>
                            </a:cubicBezTo>
                            <a:cubicBezTo>
                              <a:pt x="8649" y="665"/>
                              <a:pt x="4234" y="6653"/>
                              <a:pt x="0" y="13670"/>
                            </a:cubicBezTo>
                            <a:lnTo>
                              <a:pt x="6956" y="4917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87" name="Freihandform: Form 886">
                        <a:extLst>
                          <a:ext uri="{FF2B5EF4-FFF2-40B4-BE49-F238E27FC236}">
                            <a16:creationId xmlns:a16="http://schemas.microsoft.com/office/drawing/2014/main" id="{B366FE23-4451-57CC-4A44-7EE68630754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24826" y="3726462"/>
                        <a:ext cx="35970" cy="76279"/>
                      </a:xfrm>
                      <a:custGeom>
                        <a:avLst/>
                        <a:gdLst>
                          <a:gd name="connsiteX0" fmla="*/ 10404 w 35970"/>
                          <a:gd name="connsiteY0" fmla="*/ 52086 h 76279"/>
                          <a:gd name="connsiteX1" fmla="*/ 18146 w 35970"/>
                          <a:gd name="connsiteY1" fmla="*/ 76280 h 76279"/>
                          <a:gd name="connsiteX2" fmla="*/ 35747 w 35970"/>
                          <a:gd name="connsiteY2" fmla="*/ 41319 h 76279"/>
                          <a:gd name="connsiteX3" fmla="*/ 30062 w 35970"/>
                          <a:gd name="connsiteY3" fmla="*/ 10713 h 76279"/>
                          <a:gd name="connsiteX4" fmla="*/ 11795 w 35970"/>
                          <a:gd name="connsiteY4" fmla="*/ 854 h 76279"/>
                          <a:gd name="connsiteX5" fmla="*/ 0 w 35970"/>
                          <a:gd name="connsiteY5" fmla="*/ 15915 h 76279"/>
                          <a:gd name="connsiteX6" fmla="*/ 10343 w 35970"/>
                          <a:gd name="connsiteY6" fmla="*/ 52146 h 7627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5970" h="76279">
                            <a:moveTo>
                              <a:pt x="10404" y="52086"/>
                            </a:moveTo>
                            <a:lnTo>
                              <a:pt x="18146" y="76280"/>
                            </a:lnTo>
                            <a:cubicBezTo>
                              <a:pt x="33993" y="72106"/>
                              <a:pt x="36896" y="53779"/>
                              <a:pt x="35747" y="41319"/>
                            </a:cubicBezTo>
                            <a:cubicBezTo>
                              <a:pt x="34598" y="28859"/>
                              <a:pt x="30062" y="10713"/>
                              <a:pt x="30062" y="10713"/>
                            </a:cubicBezTo>
                            <a:cubicBezTo>
                              <a:pt x="26372" y="-477"/>
                              <a:pt x="17420" y="-1082"/>
                              <a:pt x="11795" y="854"/>
                            </a:cubicBezTo>
                            <a:cubicBezTo>
                              <a:pt x="5625" y="2971"/>
                              <a:pt x="0" y="6963"/>
                              <a:pt x="0" y="15915"/>
                            </a:cubicBezTo>
                            <a:lnTo>
                              <a:pt x="10343" y="52146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869" name="Grafik 297">
                      <a:extLst>
                        <a:ext uri="{FF2B5EF4-FFF2-40B4-BE49-F238E27FC236}">
                          <a16:creationId xmlns:a16="http://schemas.microsoft.com/office/drawing/2014/main" id="{BA009D59-EBC9-0671-C30F-414B125F3C1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85994" y="3644681"/>
                      <a:ext cx="53203" cy="170460"/>
                      <a:chOff x="185994" y="3644681"/>
                      <a:chExt cx="53203" cy="170460"/>
                    </a:xfrm>
                    <a:solidFill>
                      <a:srgbClr val="02787D"/>
                    </a:solidFill>
                  </p:grpSpPr>
                  <p:sp>
                    <p:nvSpPr>
                      <p:cNvPr id="882" name="Freihandform: Form 881">
                        <a:extLst>
                          <a:ext uri="{FF2B5EF4-FFF2-40B4-BE49-F238E27FC236}">
                            <a16:creationId xmlns:a16="http://schemas.microsoft.com/office/drawing/2014/main" id="{D5BB571A-3D8D-8620-73CC-FD987BE65A9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85994" y="3644681"/>
                        <a:ext cx="50168" cy="77084"/>
                      </a:xfrm>
                      <a:custGeom>
                        <a:avLst/>
                        <a:gdLst>
                          <a:gd name="connsiteX0" fmla="*/ 0 w 50168"/>
                          <a:gd name="connsiteY0" fmla="*/ 63098 h 77084"/>
                          <a:gd name="connsiteX1" fmla="*/ 18932 w 50168"/>
                          <a:gd name="connsiteY1" fmla="*/ 77070 h 77084"/>
                          <a:gd name="connsiteX2" fmla="*/ 38892 w 50168"/>
                          <a:gd name="connsiteY2" fmla="*/ 63702 h 77084"/>
                          <a:gd name="connsiteX3" fmla="*/ 49840 w 50168"/>
                          <a:gd name="connsiteY3" fmla="*/ 20999 h 77084"/>
                          <a:gd name="connsiteX4" fmla="*/ 38106 w 50168"/>
                          <a:gd name="connsiteY4" fmla="*/ 918 h 77084"/>
                          <a:gd name="connsiteX5" fmla="*/ 10041 w 50168"/>
                          <a:gd name="connsiteY5" fmla="*/ 15072 h 77084"/>
                          <a:gd name="connsiteX6" fmla="*/ 60 w 50168"/>
                          <a:gd name="connsiteY6" fmla="*/ 63037 h 7708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0168" h="77084">
                            <a:moveTo>
                              <a:pt x="0" y="63098"/>
                            </a:moveTo>
                            <a:cubicBezTo>
                              <a:pt x="0" y="63098"/>
                              <a:pt x="3932" y="77614"/>
                              <a:pt x="18932" y="77070"/>
                            </a:cubicBezTo>
                            <a:cubicBezTo>
                              <a:pt x="34054" y="76525"/>
                              <a:pt x="38892" y="63702"/>
                              <a:pt x="38892" y="63702"/>
                            </a:cubicBezTo>
                            <a:lnTo>
                              <a:pt x="49840" y="20999"/>
                            </a:lnTo>
                            <a:cubicBezTo>
                              <a:pt x="51292" y="8721"/>
                              <a:pt x="48026" y="3156"/>
                              <a:pt x="38106" y="918"/>
                            </a:cubicBezTo>
                            <a:cubicBezTo>
                              <a:pt x="28247" y="-1743"/>
                              <a:pt x="13549" y="918"/>
                              <a:pt x="10041" y="15072"/>
                            </a:cubicBezTo>
                            <a:lnTo>
                              <a:pt x="60" y="6303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83" name="Freihandform: Form 882">
                        <a:extLst>
                          <a:ext uri="{FF2B5EF4-FFF2-40B4-BE49-F238E27FC236}">
                            <a16:creationId xmlns:a16="http://schemas.microsoft.com/office/drawing/2014/main" id="{8852E5C6-17FE-5C3C-C0B0-A453D325600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86054" y="3694653"/>
                        <a:ext cx="41227" cy="66339"/>
                      </a:xfrm>
                      <a:custGeom>
                        <a:avLst/>
                        <a:gdLst>
                          <a:gd name="connsiteX0" fmla="*/ 6291 w 41227"/>
                          <a:gd name="connsiteY0" fmla="*/ 58248 h 66339"/>
                          <a:gd name="connsiteX1" fmla="*/ 29699 w 41227"/>
                          <a:gd name="connsiteY1" fmla="*/ 64478 h 66339"/>
                          <a:gd name="connsiteX2" fmla="*/ 40284 w 41227"/>
                          <a:gd name="connsiteY2" fmla="*/ 45485 h 66339"/>
                          <a:gd name="connsiteX3" fmla="*/ 38832 w 41227"/>
                          <a:gd name="connsiteY3" fmla="*/ 13730 h 66339"/>
                          <a:gd name="connsiteX4" fmla="*/ 21533 w 41227"/>
                          <a:gd name="connsiteY4" fmla="*/ 0 h 66339"/>
                          <a:gd name="connsiteX5" fmla="*/ 0 w 41227"/>
                          <a:gd name="connsiteY5" fmla="*/ 13065 h 66339"/>
                          <a:gd name="connsiteX6" fmla="*/ 6351 w 41227"/>
                          <a:gd name="connsiteY6" fmla="*/ 58187 h 6633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1227" h="66339">
                            <a:moveTo>
                              <a:pt x="6291" y="58248"/>
                            </a:moveTo>
                            <a:cubicBezTo>
                              <a:pt x="6291" y="58248"/>
                              <a:pt x="12279" y="71010"/>
                              <a:pt x="29699" y="64478"/>
                            </a:cubicBezTo>
                            <a:cubicBezTo>
                              <a:pt x="45909" y="58429"/>
                              <a:pt x="40284" y="45485"/>
                              <a:pt x="40284" y="45485"/>
                            </a:cubicBezTo>
                            <a:lnTo>
                              <a:pt x="38832" y="13730"/>
                            </a:lnTo>
                            <a:cubicBezTo>
                              <a:pt x="36957" y="5323"/>
                              <a:pt x="31392" y="0"/>
                              <a:pt x="21533" y="0"/>
                            </a:cubicBezTo>
                            <a:cubicBezTo>
                              <a:pt x="7258" y="0"/>
                              <a:pt x="2964" y="4657"/>
                              <a:pt x="0" y="13065"/>
                            </a:cubicBezTo>
                            <a:lnTo>
                              <a:pt x="6351" y="5818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84" name="Freihandform: Form 883">
                        <a:extLst>
                          <a:ext uri="{FF2B5EF4-FFF2-40B4-BE49-F238E27FC236}">
                            <a16:creationId xmlns:a16="http://schemas.microsoft.com/office/drawing/2014/main" id="{AD2F9904-04E9-38AA-F6EF-6755A2F38FF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92405" y="3728005"/>
                        <a:ext cx="46792" cy="87136"/>
                      </a:xfrm>
                      <a:custGeom>
                        <a:avLst/>
                        <a:gdLst>
                          <a:gd name="connsiteX0" fmla="*/ 19356 w 46792"/>
                          <a:gd name="connsiteY0" fmla="*/ 61974 h 87136"/>
                          <a:gd name="connsiteX1" fmla="*/ 31271 w 46792"/>
                          <a:gd name="connsiteY1" fmla="*/ 87136 h 87136"/>
                          <a:gd name="connsiteX2" fmla="*/ 45364 w 46792"/>
                          <a:gd name="connsiteY2" fmla="*/ 46671 h 87136"/>
                          <a:gd name="connsiteX3" fmla="*/ 32783 w 46792"/>
                          <a:gd name="connsiteY3" fmla="*/ 9351 h 87136"/>
                          <a:gd name="connsiteX4" fmla="*/ 7682 w 46792"/>
                          <a:gd name="connsiteY4" fmla="*/ 702 h 87136"/>
                          <a:gd name="connsiteX5" fmla="*/ 0 w 46792"/>
                          <a:gd name="connsiteY5" fmla="*/ 25017 h 87136"/>
                          <a:gd name="connsiteX6" fmla="*/ 19416 w 46792"/>
                          <a:gd name="connsiteY6" fmla="*/ 62035 h 8713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6792" h="87136">
                            <a:moveTo>
                              <a:pt x="19356" y="61974"/>
                            </a:moveTo>
                            <a:lnTo>
                              <a:pt x="31271" y="87136"/>
                            </a:lnTo>
                            <a:cubicBezTo>
                              <a:pt x="47844" y="80362"/>
                              <a:pt x="48389" y="59978"/>
                              <a:pt x="45364" y="46671"/>
                            </a:cubicBezTo>
                            <a:cubicBezTo>
                              <a:pt x="42340" y="33304"/>
                              <a:pt x="32783" y="9351"/>
                              <a:pt x="32783" y="9351"/>
                            </a:cubicBezTo>
                            <a:cubicBezTo>
                              <a:pt x="26130" y="3666"/>
                              <a:pt x="14275" y="-2020"/>
                              <a:pt x="7682" y="702"/>
                            </a:cubicBezTo>
                            <a:cubicBezTo>
                              <a:pt x="1089" y="3363"/>
                              <a:pt x="726" y="16307"/>
                              <a:pt x="0" y="25017"/>
                            </a:cubicBezTo>
                            <a:lnTo>
                              <a:pt x="19416" y="6203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870" name="Grafik 297">
                      <a:extLst>
                        <a:ext uri="{FF2B5EF4-FFF2-40B4-BE49-F238E27FC236}">
                          <a16:creationId xmlns:a16="http://schemas.microsoft.com/office/drawing/2014/main" id="{F64D8A39-DA51-87F8-675E-812CE324978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1880" y="3632666"/>
                      <a:ext cx="59919" cy="164209"/>
                      <a:chOff x="151880" y="3632666"/>
                      <a:chExt cx="59919" cy="164209"/>
                    </a:xfrm>
                    <a:solidFill>
                      <a:srgbClr val="02787D"/>
                    </a:solidFill>
                  </p:grpSpPr>
                  <p:sp>
                    <p:nvSpPr>
                      <p:cNvPr id="879" name="Freihandform: Form 878">
                        <a:extLst>
                          <a:ext uri="{FF2B5EF4-FFF2-40B4-BE49-F238E27FC236}">
                            <a16:creationId xmlns:a16="http://schemas.microsoft.com/office/drawing/2014/main" id="{B26A3CCE-0698-B4A1-8BDF-69E936CAAD9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880" y="3632666"/>
                        <a:ext cx="47698" cy="76503"/>
                      </a:xfrm>
                      <a:custGeom>
                        <a:avLst/>
                        <a:gdLst>
                          <a:gd name="connsiteX0" fmla="*/ 0 w 47698"/>
                          <a:gd name="connsiteY0" fmla="*/ 67492 h 76503"/>
                          <a:gd name="connsiteX1" fmla="*/ 20505 w 47698"/>
                          <a:gd name="connsiteY1" fmla="*/ 76202 h 76503"/>
                          <a:gd name="connsiteX2" fmla="*/ 37562 w 47698"/>
                          <a:gd name="connsiteY2" fmla="*/ 60355 h 76503"/>
                          <a:gd name="connsiteX3" fmla="*/ 47542 w 47698"/>
                          <a:gd name="connsiteY3" fmla="*/ 21160 h 76503"/>
                          <a:gd name="connsiteX4" fmla="*/ 36231 w 47698"/>
                          <a:gd name="connsiteY4" fmla="*/ 897 h 76503"/>
                          <a:gd name="connsiteX5" fmla="*/ 8770 w 47698"/>
                          <a:gd name="connsiteY5" fmla="*/ 14748 h 76503"/>
                          <a:gd name="connsiteX6" fmla="*/ 0 w 47698"/>
                          <a:gd name="connsiteY6" fmla="*/ 67492 h 7650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7698" h="76503">
                            <a:moveTo>
                              <a:pt x="0" y="67492"/>
                            </a:moveTo>
                            <a:cubicBezTo>
                              <a:pt x="0" y="67492"/>
                              <a:pt x="4960" y="78440"/>
                              <a:pt x="20505" y="76202"/>
                            </a:cubicBezTo>
                            <a:cubicBezTo>
                              <a:pt x="35142" y="74085"/>
                              <a:pt x="37562" y="60355"/>
                              <a:pt x="37562" y="60355"/>
                            </a:cubicBezTo>
                            <a:lnTo>
                              <a:pt x="47542" y="21160"/>
                            </a:lnTo>
                            <a:cubicBezTo>
                              <a:pt x="48389" y="11361"/>
                              <a:pt x="45969" y="3074"/>
                              <a:pt x="36231" y="897"/>
                            </a:cubicBezTo>
                            <a:cubicBezTo>
                              <a:pt x="26614" y="-1704"/>
                              <a:pt x="12218" y="897"/>
                              <a:pt x="8770" y="14748"/>
                            </a:cubicBezTo>
                            <a:lnTo>
                              <a:pt x="0" y="67492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80" name="Freihandform: Form 879">
                        <a:extLst>
                          <a:ext uri="{FF2B5EF4-FFF2-40B4-BE49-F238E27FC236}">
                            <a16:creationId xmlns:a16="http://schemas.microsoft.com/office/drawing/2014/main" id="{3B787D66-6C17-60B3-218A-A47D43D4A5A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880" y="3683991"/>
                        <a:ext cx="48902" cy="63864"/>
                      </a:xfrm>
                      <a:custGeom>
                        <a:avLst/>
                        <a:gdLst>
                          <a:gd name="connsiteX0" fmla="*/ 18267 w 48902"/>
                          <a:gd name="connsiteY0" fmla="*/ 55603 h 63864"/>
                          <a:gd name="connsiteX1" fmla="*/ 38772 w 48902"/>
                          <a:gd name="connsiteY1" fmla="*/ 62801 h 63864"/>
                          <a:gd name="connsiteX2" fmla="*/ 46877 w 48902"/>
                          <a:gd name="connsiteY2" fmla="*/ 37276 h 63864"/>
                          <a:gd name="connsiteX3" fmla="*/ 37562 w 48902"/>
                          <a:gd name="connsiteY3" fmla="*/ 9089 h 63864"/>
                          <a:gd name="connsiteX4" fmla="*/ 19295 w 48902"/>
                          <a:gd name="connsiteY4" fmla="*/ 319 h 63864"/>
                          <a:gd name="connsiteX5" fmla="*/ 0 w 48902"/>
                          <a:gd name="connsiteY5" fmla="*/ 16227 h 63864"/>
                          <a:gd name="connsiteX6" fmla="*/ 18267 w 48902"/>
                          <a:gd name="connsiteY6" fmla="*/ 55603 h 638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8902" h="63864">
                            <a:moveTo>
                              <a:pt x="18267" y="55603"/>
                            </a:moveTo>
                            <a:cubicBezTo>
                              <a:pt x="18267" y="55603"/>
                              <a:pt x="22561" y="67398"/>
                              <a:pt x="38772" y="62801"/>
                            </a:cubicBezTo>
                            <a:cubicBezTo>
                              <a:pt x="54982" y="58083"/>
                              <a:pt x="46877" y="37276"/>
                              <a:pt x="46877" y="37276"/>
                            </a:cubicBezTo>
                            <a:lnTo>
                              <a:pt x="37562" y="9089"/>
                            </a:lnTo>
                            <a:cubicBezTo>
                              <a:pt x="35324" y="137"/>
                              <a:pt x="28065" y="-649"/>
                              <a:pt x="19295" y="319"/>
                            </a:cubicBezTo>
                            <a:cubicBezTo>
                              <a:pt x="10525" y="1287"/>
                              <a:pt x="2117" y="7759"/>
                              <a:pt x="0" y="16227"/>
                            </a:cubicBezTo>
                            <a:lnTo>
                              <a:pt x="18267" y="55603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81" name="Freihandform: Form 880">
                        <a:extLst>
                          <a:ext uri="{FF2B5EF4-FFF2-40B4-BE49-F238E27FC236}">
                            <a16:creationId xmlns:a16="http://schemas.microsoft.com/office/drawing/2014/main" id="{1A222CEE-526A-76B8-857F-9CDC7AB8AAB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68150" y="3716396"/>
                        <a:ext cx="43649" cy="80478"/>
                      </a:xfrm>
                      <a:custGeom>
                        <a:avLst/>
                        <a:gdLst>
                          <a:gd name="connsiteX0" fmla="*/ 16815 w 43649"/>
                          <a:gd name="connsiteY0" fmla="*/ 55800 h 80478"/>
                          <a:gd name="connsiteX1" fmla="*/ 28307 w 43649"/>
                          <a:gd name="connsiteY1" fmla="*/ 80479 h 80478"/>
                          <a:gd name="connsiteX2" fmla="*/ 42340 w 43649"/>
                          <a:gd name="connsiteY2" fmla="*/ 40981 h 80478"/>
                          <a:gd name="connsiteX3" fmla="*/ 30606 w 43649"/>
                          <a:gd name="connsiteY3" fmla="*/ 4871 h 80478"/>
                          <a:gd name="connsiteX4" fmla="*/ 10162 w 43649"/>
                          <a:gd name="connsiteY4" fmla="*/ 1605 h 80478"/>
                          <a:gd name="connsiteX5" fmla="*/ 0 w 43649"/>
                          <a:gd name="connsiteY5" fmla="*/ 18722 h 80478"/>
                          <a:gd name="connsiteX6" fmla="*/ 16876 w 43649"/>
                          <a:gd name="connsiteY6" fmla="*/ 55861 h 8047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3649" h="80478">
                            <a:moveTo>
                              <a:pt x="16815" y="55800"/>
                            </a:moveTo>
                            <a:lnTo>
                              <a:pt x="28307" y="80479"/>
                            </a:lnTo>
                            <a:cubicBezTo>
                              <a:pt x="44578" y="73946"/>
                              <a:pt x="45183" y="54046"/>
                              <a:pt x="42340" y="40981"/>
                            </a:cubicBezTo>
                            <a:cubicBezTo>
                              <a:pt x="39497" y="27916"/>
                              <a:pt x="30606" y="4871"/>
                              <a:pt x="30606" y="4871"/>
                            </a:cubicBezTo>
                            <a:cubicBezTo>
                              <a:pt x="24134" y="-694"/>
                              <a:pt x="16634" y="-1057"/>
                              <a:pt x="10162" y="1605"/>
                            </a:cubicBezTo>
                            <a:cubicBezTo>
                              <a:pt x="3690" y="4206"/>
                              <a:pt x="786" y="10194"/>
                              <a:pt x="0" y="18722"/>
                            </a:cubicBezTo>
                            <a:lnTo>
                              <a:pt x="16876" y="55861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871" name="Grafik 297">
                      <a:extLst>
                        <a:ext uri="{FF2B5EF4-FFF2-40B4-BE49-F238E27FC236}">
                          <a16:creationId xmlns:a16="http://schemas.microsoft.com/office/drawing/2014/main" id="{0A7C4149-5039-4DB1-8EB3-3101D64837F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278" y="3599477"/>
                      <a:ext cx="56322" cy="153424"/>
                      <a:chOff x="134278" y="3599477"/>
                      <a:chExt cx="56322" cy="153424"/>
                    </a:xfrm>
                    <a:solidFill>
                      <a:srgbClr val="02787D"/>
                    </a:solidFill>
                  </p:grpSpPr>
                  <p:sp>
                    <p:nvSpPr>
                      <p:cNvPr id="876" name="Freihandform: Form 875">
                        <a:extLst>
                          <a:ext uri="{FF2B5EF4-FFF2-40B4-BE49-F238E27FC236}">
                            <a16:creationId xmlns:a16="http://schemas.microsoft.com/office/drawing/2014/main" id="{28957D6E-535B-D312-FFD9-2B4D85401FD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278" y="3599477"/>
                        <a:ext cx="44676" cy="72318"/>
                      </a:xfrm>
                      <a:custGeom>
                        <a:avLst/>
                        <a:gdLst>
                          <a:gd name="connsiteX0" fmla="*/ 0 w 44676"/>
                          <a:gd name="connsiteY0" fmla="*/ 63301 h 72318"/>
                          <a:gd name="connsiteX1" fmla="*/ 19537 w 44676"/>
                          <a:gd name="connsiteY1" fmla="*/ 72071 h 72318"/>
                          <a:gd name="connsiteX2" fmla="*/ 34719 w 44676"/>
                          <a:gd name="connsiteY2" fmla="*/ 55256 h 72318"/>
                          <a:gd name="connsiteX3" fmla="*/ 44397 w 44676"/>
                          <a:gd name="connsiteY3" fmla="*/ 19085 h 72318"/>
                          <a:gd name="connsiteX4" fmla="*/ 33570 w 44676"/>
                          <a:gd name="connsiteY4" fmla="*/ 819 h 72318"/>
                          <a:gd name="connsiteX5" fmla="*/ 7984 w 44676"/>
                          <a:gd name="connsiteY5" fmla="*/ 13884 h 72318"/>
                          <a:gd name="connsiteX6" fmla="*/ 60 w 44676"/>
                          <a:gd name="connsiteY6" fmla="*/ 63301 h 723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4676" h="72318">
                            <a:moveTo>
                              <a:pt x="0" y="63301"/>
                            </a:moveTo>
                            <a:cubicBezTo>
                              <a:pt x="0" y="63301"/>
                              <a:pt x="5867" y="74067"/>
                              <a:pt x="19537" y="72071"/>
                            </a:cubicBezTo>
                            <a:cubicBezTo>
                              <a:pt x="32904" y="70075"/>
                              <a:pt x="34719" y="55256"/>
                              <a:pt x="34719" y="55256"/>
                            </a:cubicBezTo>
                            <a:lnTo>
                              <a:pt x="44397" y="19085"/>
                            </a:lnTo>
                            <a:cubicBezTo>
                              <a:pt x="45667" y="7835"/>
                              <a:pt x="42703" y="2815"/>
                              <a:pt x="33570" y="819"/>
                            </a:cubicBezTo>
                            <a:cubicBezTo>
                              <a:pt x="24557" y="-1601"/>
                              <a:pt x="11129" y="940"/>
                              <a:pt x="7984" y="13884"/>
                            </a:cubicBezTo>
                            <a:lnTo>
                              <a:pt x="60" y="63301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77" name="Freihandform: Form 876">
                        <a:extLst>
                          <a:ext uri="{FF2B5EF4-FFF2-40B4-BE49-F238E27FC236}">
                            <a16:creationId xmlns:a16="http://schemas.microsoft.com/office/drawing/2014/main" id="{80691808-7C88-E30E-0A97-DD371DE9D2D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339" y="3644143"/>
                        <a:ext cx="45538" cy="61600"/>
                      </a:xfrm>
                      <a:custGeom>
                        <a:avLst/>
                        <a:gdLst>
                          <a:gd name="connsiteX0" fmla="*/ 17239 w 45538"/>
                          <a:gd name="connsiteY0" fmla="*/ 55349 h 61600"/>
                          <a:gd name="connsiteX1" fmla="*/ 35808 w 45538"/>
                          <a:gd name="connsiteY1" fmla="*/ 60430 h 61600"/>
                          <a:gd name="connsiteX2" fmla="*/ 43913 w 45538"/>
                          <a:gd name="connsiteY2" fmla="*/ 39562 h 61600"/>
                          <a:gd name="connsiteX3" fmla="*/ 34719 w 45538"/>
                          <a:gd name="connsiteY3" fmla="*/ 10590 h 61600"/>
                          <a:gd name="connsiteX4" fmla="*/ 13972 w 45538"/>
                          <a:gd name="connsiteY4" fmla="*/ 1033 h 61600"/>
                          <a:gd name="connsiteX5" fmla="*/ 0 w 45538"/>
                          <a:gd name="connsiteY5" fmla="*/ 18634 h 61600"/>
                          <a:gd name="connsiteX6" fmla="*/ 17239 w 45538"/>
                          <a:gd name="connsiteY6" fmla="*/ 55349 h 616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5538" h="61600">
                            <a:moveTo>
                              <a:pt x="17239" y="55349"/>
                            </a:moveTo>
                            <a:cubicBezTo>
                              <a:pt x="17239" y="55349"/>
                              <a:pt x="20686" y="64846"/>
                              <a:pt x="35808" y="60430"/>
                            </a:cubicBezTo>
                            <a:cubicBezTo>
                              <a:pt x="50929" y="55894"/>
                              <a:pt x="43913" y="39562"/>
                              <a:pt x="43913" y="39562"/>
                            </a:cubicBezTo>
                            <a:lnTo>
                              <a:pt x="34719" y="10590"/>
                            </a:lnTo>
                            <a:cubicBezTo>
                              <a:pt x="31029" y="3513"/>
                              <a:pt x="24920" y="-2475"/>
                              <a:pt x="13972" y="1033"/>
                            </a:cubicBezTo>
                            <a:cubicBezTo>
                              <a:pt x="3932" y="4843"/>
                              <a:pt x="1936" y="10711"/>
                              <a:pt x="0" y="18634"/>
                            </a:cubicBezTo>
                            <a:lnTo>
                              <a:pt x="17239" y="55349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78" name="Freihandform: Form 877">
                        <a:extLst>
                          <a:ext uri="{FF2B5EF4-FFF2-40B4-BE49-F238E27FC236}">
                            <a16:creationId xmlns:a16="http://schemas.microsoft.com/office/drawing/2014/main" id="{008A6E92-1F17-B850-1C14-A4D7EFFA27A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581" y="3678059"/>
                        <a:ext cx="41019" cy="74842"/>
                      </a:xfrm>
                      <a:custGeom>
                        <a:avLst/>
                        <a:gdLst>
                          <a:gd name="connsiteX0" fmla="*/ 15968 w 41019"/>
                          <a:gd name="connsiteY0" fmla="*/ 51858 h 74842"/>
                          <a:gd name="connsiteX1" fmla="*/ 26795 w 41019"/>
                          <a:gd name="connsiteY1" fmla="*/ 74842 h 74842"/>
                          <a:gd name="connsiteX2" fmla="*/ 39739 w 41019"/>
                          <a:gd name="connsiteY2" fmla="*/ 37825 h 74842"/>
                          <a:gd name="connsiteX3" fmla="*/ 28610 w 41019"/>
                          <a:gd name="connsiteY3" fmla="*/ 5586 h 74842"/>
                          <a:gd name="connsiteX4" fmla="*/ 9436 w 41019"/>
                          <a:gd name="connsiteY4" fmla="*/ 1110 h 74842"/>
                          <a:gd name="connsiteX5" fmla="*/ 0 w 41019"/>
                          <a:gd name="connsiteY5" fmla="*/ 17139 h 74842"/>
                          <a:gd name="connsiteX6" fmla="*/ 15968 w 41019"/>
                          <a:gd name="connsiteY6" fmla="*/ 51797 h 7484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1019" h="74842">
                            <a:moveTo>
                              <a:pt x="15968" y="51858"/>
                            </a:moveTo>
                            <a:lnTo>
                              <a:pt x="26795" y="74842"/>
                            </a:lnTo>
                            <a:cubicBezTo>
                              <a:pt x="41977" y="68673"/>
                              <a:pt x="42461" y="50043"/>
                              <a:pt x="39739" y="37825"/>
                            </a:cubicBezTo>
                            <a:cubicBezTo>
                              <a:pt x="37017" y="25607"/>
                              <a:pt x="28610" y="5586"/>
                              <a:pt x="28610" y="5586"/>
                            </a:cubicBezTo>
                            <a:cubicBezTo>
                              <a:pt x="22561" y="384"/>
                              <a:pt x="15484" y="-1370"/>
                              <a:pt x="9436" y="1110"/>
                            </a:cubicBezTo>
                            <a:cubicBezTo>
                              <a:pt x="3387" y="3530"/>
                              <a:pt x="726" y="9155"/>
                              <a:pt x="0" y="17139"/>
                            </a:cubicBezTo>
                            <a:lnTo>
                              <a:pt x="15968" y="5179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872" name="Freihandform: Form 871">
                      <a:extLst>
                        <a:ext uri="{FF2B5EF4-FFF2-40B4-BE49-F238E27FC236}">
                          <a16:creationId xmlns:a16="http://schemas.microsoft.com/office/drawing/2014/main" id="{35CCFE84-9CE0-3C81-A388-8F010A01064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537" y="3462369"/>
                      <a:ext cx="174817" cy="206099"/>
                    </a:xfrm>
                    <a:custGeom>
                      <a:avLst/>
                      <a:gdLst>
                        <a:gd name="connsiteX0" fmla="*/ 52804 w 174817"/>
                        <a:gd name="connsiteY0" fmla="*/ 17257 h 206099"/>
                        <a:gd name="connsiteX1" fmla="*/ 23831 w 174817"/>
                        <a:gd name="connsiteY1" fmla="*/ 59174 h 206099"/>
                        <a:gd name="connsiteX2" fmla="*/ 0 w 174817"/>
                        <a:gd name="connsiteY2" fmla="*/ 154742 h 206099"/>
                        <a:gd name="connsiteX3" fmla="*/ 121879 w 174817"/>
                        <a:gd name="connsiteY3" fmla="*/ 206034 h 206099"/>
                        <a:gd name="connsiteX4" fmla="*/ 137787 w 174817"/>
                        <a:gd name="connsiteY4" fmla="*/ 181174 h 206099"/>
                        <a:gd name="connsiteX5" fmla="*/ 174623 w 174817"/>
                        <a:gd name="connsiteY5" fmla="*/ 68670 h 206099"/>
                        <a:gd name="connsiteX6" fmla="*/ 168332 w 174817"/>
                        <a:gd name="connsiteY6" fmla="*/ 27721 h 206099"/>
                        <a:gd name="connsiteX7" fmla="*/ 52804 w 174817"/>
                        <a:gd name="connsiteY7" fmla="*/ 17257 h 2060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74817" h="206099">
                          <a:moveTo>
                            <a:pt x="52804" y="17257"/>
                          </a:moveTo>
                          <a:cubicBezTo>
                            <a:pt x="38892" y="30201"/>
                            <a:pt x="35021" y="36068"/>
                            <a:pt x="23831" y="59174"/>
                          </a:cubicBezTo>
                          <a:cubicBezTo>
                            <a:pt x="3327" y="112462"/>
                            <a:pt x="302" y="153472"/>
                            <a:pt x="0" y="154742"/>
                          </a:cubicBezTo>
                          <a:cubicBezTo>
                            <a:pt x="1210" y="158129"/>
                            <a:pt x="24920" y="208151"/>
                            <a:pt x="121879" y="206034"/>
                          </a:cubicBezTo>
                          <a:cubicBezTo>
                            <a:pt x="127988" y="172585"/>
                            <a:pt x="137666" y="181235"/>
                            <a:pt x="137787" y="181174"/>
                          </a:cubicBezTo>
                          <a:cubicBezTo>
                            <a:pt x="137787" y="181174"/>
                            <a:pt x="167667" y="127886"/>
                            <a:pt x="174623" y="68670"/>
                          </a:cubicBezTo>
                          <a:cubicBezTo>
                            <a:pt x="176135" y="55847"/>
                            <a:pt x="168332" y="27721"/>
                            <a:pt x="168332" y="27721"/>
                          </a:cubicBezTo>
                          <a:cubicBezTo>
                            <a:pt x="164038" y="-5667"/>
                            <a:pt x="76152" y="-8570"/>
                            <a:pt x="52804" y="17257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73" name="Freihandform: Form 872">
                      <a:extLst>
                        <a:ext uri="{FF2B5EF4-FFF2-40B4-BE49-F238E27FC236}">
                          <a16:creationId xmlns:a16="http://schemas.microsoft.com/office/drawing/2014/main" id="{9E516505-0B3F-8116-9C85-BACF2BDD6A5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3920" y="3485840"/>
                      <a:ext cx="87053" cy="155308"/>
                    </a:xfrm>
                    <a:custGeom>
                      <a:avLst/>
                      <a:gdLst>
                        <a:gd name="connsiteX0" fmla="*/ 55950 w 87053"/>
                        <a:gd name="connsiteY0" fmla="*/ 4250 h 155308"/>
                        <a:gd name="connsiteX1" fmla="*/ 85043 w 87053"/>
                        <a:gd name="connsiteY1" fmla="*/ 131331 h 155308"/>
                        <a:gd name="connsiteX2" fmla="*/ 21835 w 87053"/>
                        <a:gd name="connsiteY2" fmla="*/ 146150 h 155308"/>
                        <a:gd name="connsiteX3" fmla="*/ 0 w 87053"/>
                        <a:gd name="connsiteY3" fmla="*/ 76107 h 155308"/>
                        <a:gd name="connsiteX4" fmla="*/ 55950 w 87053"/>
                        <a:gd name="connsiteY4" fmla="*/ 4190 h 15530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7053" h="155308">
                          <a:moveTo>
                            <a:pt x="55950" y="4250"/>
                          </a:moveTo>
                          <a:cubicBezTo>
                            <a:pt x="77120" y="30682"/>
                            <a:pt x="92785" y="95644"/>
                            <a:pt x="85043" y="131331"/>
                          </a:cubicBezTo>
                          <a:cubicBezTo>
                            <a:pt x="80507" y="158368"/>
                            <a:pt x="26916" y="161392"/>
                            <a:pt x="21835" y="146150"/>
                          </a:cubicBezTo>
                          <a:cubicBezTo>
                            <a:pt x="21835" y="146150"/>
                            <a:pt x="0" y="101028"/>
                            <a:pt x="0" y="76107"/>
                          </a:cubicBezTo>
                          <a:cubicBezTo>
                            <a:pt x="0" y="30924"/>
                            <a:pt x="41312" y="-14138"/>
                            <a:pt x="55950" y="4190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74" name="Freihandform: Form 873">
                      <a:extLst>
                        <a:ext uri="{FF2B5EF4-FFF2-40B4-BE49-F238E27FC236}">
                          <a16:creationId xmlns:a16="http://schemas.microsoft.com/office/drawing/2014/main" id="{9B799153-676C-785B-7BD7-B290BA603EF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67523" y="3590194"/>
                      <a:ext cx="71027" cy="149944"/>
                    </a:xfrm>
                    <a:custGeom>
                      <a:avLst/>
                      <a:gdLst>
                        <a:gd name="connsiteX0" fmla="*/ 70956 w 71027"/>
                        <a:gd name="connsiteY0" fmla="*/ 29336 h 149944"/>
                        <a:gd name="connsiteX1" fmla="*/ 51722 w 71027"/>
                        <a:gd name="connsiteY1" fmla="*/ 90910 h 149944"/>
                        <a:gd name="connsiteX2" fmla="*/ 14704 w 71027"/>
                        <a:gd name="connsiteY2" fmla="*/ 149945 h 149944"/>
                        <a:gd name="connsiteX3" fmla="*/ 6 w 71027"/>
                        <a:gd name="connsiteY3" fmla="*/ 123996 h 149944"/>
                        <a:gd name="connsiteX4" fmla="*/ 16035 w 71027"/>
                        <a:gd name="connsiteY4" fmla="*/ 85346 h 149944"/>
                        <a:gd name="connsiteX5" fmla="*/ 8293 w 71027"/>
                        <a:gd name="connsiteY5" fmla="*/ 41796 h 149944"/>
                        <a:gd name="connsiteX6" fmla="*/ 34725 w 71027"/>
                        <a:gd name="connsiteY6" fmla="*/ 423 h 149944"/>
                        <a:gd name="connsiteX7" fmla="*/ 71017 w 71027"/>
                        <a:gd name="connsiteY7" fmla="*/ 29275 h 14994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71027" h="149944">
                          <a:moveTo>
                            <a:pt x="70956" y="29336"/>
                          </a:moveTo>
                          <a:lnTo>
                            <a:pt x="51722" y="90910"/>
                          </a:lnTo>
                          <a:lnTo>
                            <a:pt x="14704" y="149945"/>
                          </a:lnTo>
                          <a:cubicBezTo>
                            <a:pt x="14704" y="149945"/>
                            <a:pt x="974" y="147646"/>
                            <a:pt x="6" y="123996"/>
                          </a:cubicBezTo>
                          <a:cubicBezTo>
                            <a:pt x="-296" y="117040"/>
                            <a:pt x="10349" y="98108"/>
                            <a:pt x="16035" y="85346"/>
                          </a:cubicBezTo>
                          <a:cubicBezTo>
                            <a:pt x="16398" y="62664"/>
                            <a:pt x="8293" y="41796"/>
                            <a:pt x="8293" y="41796"/>
                          </a:cubicBezTo>
                          <a:cubicBezTo>
                            <a:pt x="8293" y="41796"/>
                            <a:pt x="10652" y="4416"/>
                            <a:pt x="34725" y="423"/>
                          </a:cubicBezTo>
                          <a:cubicBezTo>
                            <a:pt x="55895" y="-3085"/>
                            <a:pt x="71501" y="15968"/>
                            <a:pt x="71017" y="2927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75" name="Freihandform: Form 874">
                      <a:extLst>
                        <a:ext uri="{FF2B5EF4-FFF2-40B4-BE49-F238E27FC236}">
                          <a16:creationId xmlns:a16="http://schemas.microsoft.com/office/drawing/2014/main" id="{1C04BC25-72B8-1AE9-C329-90B06D026A0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78856" y="3541362"/>
                      <a:ext cx="93208" cy="118390"/>
                    </a:xfrm>
                    <a:custGeom>
                      <a:avLst/>
                      <a:gdLst>
                        <a:gd name="connsiteX0" fmla="*/ 66837 w 93208"/>
                        <a:gd name="connsiteY0" fmla="*/ 23609 h 118390"/>
                        <a:gd name="connsiteX1" fmla="*/ 37078 w 93208"/>
                        <a:gd name="connsiteY1" fmla="*/ 17198 h 118390"/>
                        <a:gd name="connsiteX2" fmla="*/ 0 w 93208"/>
                        <a:gd name="connsiteY2" fmla="*/ 74478 h 118390"/>
                        <a:gd name="connsiteX3" fmla="*/ 86374 w 93208"/>
                        <a:gd name="connsiteY3" fmla="*/ 118391 h 118390"/>
                        <a:gd name="connsiteX4" fmla="*/ 93209 w 93208"/>
                        <a:gd name="connsiteY4" fmla="*/ 103390 h 118390"/>
                        <a:gd name="connsiteX5" fmla="*/ 66837 w 93208"/>
                        <a:gd name="connsiteY5" fmla="*/ 23609 h 11839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93208" h="118390">
                          <a:moveTo>
                            <a:pt x="66837" y="23609"/>
                          </a:moveTo>
                          <a:cubicBezTo>
                            <a:pt x="69861" y="-2400"/>
                            <a:pt x="47844" y="-10263"/>
                            <a:pt x="37078" y="17198"/>
                          </a:cubicBezTo>
                          <a:cubicBezTo>
                            <a:pt x="29941" y="35344"/>
                            <a:pt x="32904" y="48711"/>
                            <a:pt x="0" y="74478"/>
                          </a:cubicBezTo>
                          <a:cubicBezTo>
                            <a:pt x="35445" y="68792"/>
                            <a:pt x="57401" y="83490"/>
                            <a:pt x="86374" y="118391"/>
                          </a:cubicBezTo>
                          <a:cubicBezTo>
                            <a:pt x="90547" y="107080"/>
                            <a:pt x="93148" y="103390"/>
                            <a:pt x="93209" y="103390"/>
                          </a:cubicBezTo>
                          <a:cubicBezTo>
                            <a:pt x="79600" y="95345"/>
                            <a:pt x="62059" y="64619"/>
                            <a:pt x="66837" y="23609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grpSp>
              <p:nvGrpSpPr>
                <p:cNvPr id="791" name="Grafik 297">
                  <a:extLst>
                    <a:ext uri="{FF2B5EF4-FFF2-40B4-BE49-F238E27FC236}">
                      <a16:creationId xmlns:a16="http://schemas.microsoft.com/office/drawing/2014/main" id="{5977E7DF-55D8-EBD8-403F-51D9B68A7660}"/>
                    </a:ext>
                  </a:extLst>
                </p:cNvPr>
                <p:cNvGrpSpPr/>
                <p:nvPr/>
              </p:nvGrpSpPr>
              <p:grpSpPr>
                <a:xfrm>
                  <a:off x="194280" y="2857225"/>
                  <a:ext cx="247629" cy="636603"/>
                  <a:chOff x="194280" y="2857225"/>
                  <a:chExt cx="247629" cy="636603"/>
                </a:xfrm>
              </p:grpSpPr>
              <p:sp>
                <p:nvSpPr>
                  <p:cNvPr id="863" name="Freihandform: Form 862">
                    <a:extLst>
                      <a:ext uri="{FF2B5EF4-FFF2-40B4-BE49-F238E27FC236}">
                        <a16:creationId xmlns:a16="http://schemas.microsoft.com/office/drawing/2014/main" id="{ADE3A25D-CB5E-A49B-A9A5-3F7DEE1E4A71}"/>
                      </a:ext>
                    </a:extLst>
                  </p:cNvPr>
                  <p:cNvSpPr/>
                  <p:nvPr/>
                </p:nvSpPr>
                <p:spPr>
                  <a:xfrm>
                    <a:off x="194280" y="2955333"/>
                    <a:ext cx="244484" cy="537175"/>
                  </a:xfrm>
                  <a:custGeom>
                    <a:avLst/>
                    <a:gdLst>
                      <a:gd name="connsiteX0" fmla="*/ 0 w 244484"/>
                      <a:gd name="connsiteY0" fmla="*/ 526712 h 537175"/>
                      <a:gd name="connsiteX1" fmla="*/ 115589 w 244484"/>
                      <a:gd name="connsiteY1" fmla="*/ 537176 h 537175"/>
                      <a:gd name="connsiteX2" fmla="*/ 244484 w 244484"/>
                      <a:gd name="connsiteY2" fmla="*/ 34356 h 537175"/>
                      <a:gd name="connsiteX3" fmla="*/ 34114 w 244484"/>
                      <a:gd name="connsiteY3" fmla="*/ 0 h 537175"/>
                      <a:gd name="connsiteX4" fmla="*/ 0 w 244484"/>
                      <a:gd name="connsiteY4" fmla="*/ 526712 h 537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4484" h="537175">
                        <a:moveTo>
                          <a:pt x="0" y="526712"/>
                        </a:moveTo>
                        <a:lnTo>
                          <a:pt x="115589" y="537176"/>
                        </a:lnTo>
                        <a:lnTo>
                          <a:pt x="244484" y="34356"/>
                        </a:lnTo>
                        <a:lnTo>
                          <a:pt x="34114" y="0"/>
                        </a:lnTo>
                        <a:lnTo>
                          <a:pt x="0" y="526712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64" name="Freihandform: Form 863">
                    <a:extLst>
                      <a:ext uri="{FF2B5EF4-FFF2-40B4-BE49-F238E27FC236}">
                        <a16:creationId xmlns:a16="http://schemas.microsoft.com/office/drawing/2014/main" id="{87AFF68F-FAF7-7074-F8D0-25ADBFD0F178}"/>
                      </a:ext>
                    </a:extLst>
                  </p:cNvPr>
                  <p:cNvSpPr/>
                  <p:nvPr/>
                </p:nvSpPr>
                <p:spPr>
                  <a:xfrm>
                    <a:off x="228032" y="2857225"/>
                    <a:ext cx="213878" cy="213878"/>
                  </a:xfrm>
                  <a:custGeom>
                    <a:avLst/>
                    <a:gdLst>
                      <a:gd name="connsiteX0" fmla="*/ 213878 w 213878"/>
                      <a:gd name="connsiteY0" fmla="*/ 106939 h 213878"/>
                      <a:gd name="connsiteX1" fmla="*/ 106939 w 213878"/>
                      <a:gd name="connsiteY1" fmla="*/ 213878 h 213878"/>
                      <a:gd name="connsiteX2" fmla="*/ 0 w 213878"/>
                      <a:gd name="connsiteY2" fmla="*/ 106939 h 213878"/>
                      <a:gd name="connsiteX3" fmla="*/ 106939 w 213878"/>
                      <a:gd name="connsiteY3" fmla="*/ 0 h 213878"/>
                      <a:gd name="connsiteX4" fmla="*/ 213878 w 213878"/>
                      <a:gd name="connsiteY4" fmla="*/ 106939 h 21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3878" h="213878">
                        <a:moveTo>
                          <a:pt x="213878" y="106939"/>
                        </a:moveTo>
                        <a:cubicBezTo>
                          <a:pt x="213878" y="166000"/>
                          <a:pt x="166000" y="213878"/>
                          <a:pt x="106939" y="213878"/>
                        </a:cubicBezTo>
                        <a:cubicBezTo>
                          <a:pt x="47878" y="213878"/>
                          <a:pt x="0" y="166000"/>
                          <a:pt x="0" y="106939"/>
                        </a:cubicBezTo>
                        <a:cubicBezTo>
                          <a:pt x="0" y="47878"/>
                          <a:pt x="47878" y="0"/>
                          <a:pt x="106939" y="0"/>
                        </a:cubicBezTo>
                        <a:cubicBezTo>
                          <a:pt x="166000" y="0"/>
                          <a:pt x="213878" y="47878"/>
                          <a:pt x="213878" y="106939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65" name="Freihandform: Form 864">
                    <a:extLst>
                      <a:ext uri="{FF2B5EF4-FFF2-40B4-BE49-F238E27FC236}">
                        <a16:creationId xmlns:a16="http://schemas.microsoft.com/office/drawing/2014/main" id="{08DE0279-B640-4372-03F1-F0E1BD088469}"/>
                      </a:ext>
                    </a:extLst>
                  </p:cNvPr>
                  <p:cNvSpPr/>
                  <p:nvPr/>
                </p:nvSpPr>
                <p:spPr>
                  <a:xfrm>
                    <a:off x="194280" y="3406377"/>
                    <a:ext cx="134944" cy="87451"/>
                  </a:xfrm>
                  <a:custGeom>
                    <a:avLst/>
                    <a:gdLst>
                      <a:gd name="connsiteX0" fmla="*/ 4899 w 134944"/>
                      <a:gd name="connsiteY0" fmla="*/ 0 h 87451"/>
                      <a:gd name="connsiteX1" fmla="*/ 0 w 134944"/>
                      <a:gd name="connsiteY1" fmla="*/ 75607 h 87451"/>
                      <a:gd name="connsiteX2" fmla="*/ 115528 w 134944"/>
                      <a:gd name="connsiteY2" fmla="*/ 86071 h 87451"/>
                      <a:gd name="connsiteX3" fmla="*/ 134944 w 134944"/>
                      <a:gd name="connsiteY3" fmla="*/ 10283 h 87451"/>
                      <a:gd name="connsiteX4" fmla="*/ 4839 w 134944"/>
                      <a:gd name="connsiteY4" fmla="*/ 0 h 874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4944" h="87451">
                        <a:moveTo>
                          <a:pt x="4899" y="0"/>
                        </a:moveTo>
                        <a:lnTo>
                          <a:pt x="0" y="75607"/>
                        </a:lnTo>
                        <a:cubicBezTo>
                          <a:pt x="36655" y="86676"/>
                          <a:pt x="75305" y="89519"/>
                          <a:pt x="115528" y="86071"/>
                        </a:cubicBezTo>
                        <a:lnTo>
                          <a:pt x="134944" y="10283"/>
                        </a:lnTo>
                        <a:lnTo>
                          <a:pt x="4839" y="0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792" name="Grafik 297">
                  <a:extLst>
                    <a:ext uri="{FF2B5EF4-FFF2-40B4-BE49-F238E27FC236}">
                      <a16:creationId xmlns:a16="http://schemas.microsoft.com/office/drawing/2014/main" id="{ABD42E9A-B2C1-A4E3-B3FA-975D2A460FFC}"/>
                    </a:ext>
                  </a:extLst>
                </p:cNvPr>
                <p:cNvGrpSpPr/>
                <p:nvPr/>
              </p:nvGrpSpPr>
              <p:grpSpPr>
                <a:xfrm>
                  <a:off x="228455" y="2290411"/>
                  <a:ext cx="494351" cy="698612"/>
                  <a:chOff x="228455" y="2290411"/>
                  <a:chExt cx="494351" cy="698612"/>
                </a:xfrm>
              </p:grpSpPr>
              <p:sp>
                <p:nvSpPr>
                  <p:cNvPr id="860" name="Freihandform: Form 859">
                    <a:extLst>
                      <a:ext uri="{FF2B5EF4-FFF2-40B4-BE49-F238E27FC236}">
                        <a16:creationId xmlns:a16="http://schemas.microsoft.com/office/drawing/2014/main" id="{D860F298-B058-4BA8-73A1-24CF80D33F1E}"/>
                      </a:ext>
                    </a:extLst>
                  </p:cNvPr>
                  <p:cNvSpPr/>
                  <p:nvPr/>
                </p:nvSpPr>
                <p:spPr>
                  <a:xfrm>
                    <a:off x="237467" y="2772000"/>
                    <a:ext cx="265472" cy="217023"/>
                  </a:xfrm>
                  <a:custGeom>
                    <a:avLst/>
                    <a:gdLst>
                      <a:gd name="connsiteX0" fmla="*/ 0 w 265472"/>
                      <a:gd name="connsiteY0" fmla="*/ 148191 h 217023"/>
                      <a:gd name="connsiteX1" fmla="*/ 201297 w 265472"/>
                      <a:gd name="connsiteY1" fmla="*/ 217024 h 217023"/>
                      <a:gd name="connsiteX2" fmla="*/ 265473 w 265472"/>
                      <a:gd name="connsiteY2" fmla="*/ 95084 h 217023"/>
                      <a:gd name="connsiteX3" fmla="*/ 65567 w 265472"/>
                      <a:gd name="connsiteY3" fmla="*/ 0 h 217023"/>
                      <a:gd name="connsiteX4" fmla="*/ 0 w 265472"/>
                      <a:gd name="connsiteY4" fmla="*/ 148191 h 2170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5472" h="217023">
                        <a:moveTo>
                          <a:pt x="0" y="148191"/>
                        </a:moveTo>
                        <a:lnTo>
                          <a:pt x="201297" y="217024"/>
                        </a:lnTo>
                        <a:lnTo>
                          <a:pt x="265473" y="95084"/>
                        </a:lnTo>
                        <a:lnTo>
                          <a:pt x="65567" y="0"/>
                        </a:lnTo>
                        <a:lnTo>
                          <a:pt x="0" y="148191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61" name="Freihandform: Form 860">
                    <a:extLst>
                      <a:ext uri="{FF2B5EF4-FFF2-40B4-BE49-F238E27FC236}">
                        <a16:creationId xmlns:a16="http://schemas.microsoft.com/office/drawing/2014/main" id="{FFDC12D2-585C-95AD-5732-7D8AE4897F3F}"/>
                      </a:ext>
                    </a:extLst>
                  </p:cNvPr>
                  <p:cNvSpPr/>
                  <p:nvPr/>
                </p:nvSpPr>
                <p:spPr>
                  <a:xfrm>
                    <a:off x="228455" y="2356643"/>
                    <a:ext cx="479532" cy="616231"/>
                  </a:xfrm>
                  <a:custGeom>
                    <a:avLst/>
                    <a:gdLst>
                      <a:gd name="connsiteX0" fmla="*/ 213576 w 479532"/>
                      <a:gd name="connsiteY0" fmla="*/ 60 h 616231"/>
                      <a:gd name="connsiteX1" fmla="*/ 0 w 479532"/>
                      <a:gd name="connsiteY1" fmla="*/ 525321 h 616231"/>
                      <a:gd name="connsiteX2" fmla="*/ 252347 w 479532"/>
                      <a:gd name="connsiteY2" fmla="*/ 616231 h 616231"/>
                      <a:gd name="connsiteX3" fmla="*/ 479533 w 479532"/>
                      <a:gd name="connsiteY3" fmla="*/ 153574 h 616231"/>
                      <a:gd name="connsiteX4" fmla="*/ 213515 w 479532"/>
                      <a:gd name="connsiteY4" fmla="*/ 0 h 6162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79532" h="616231">
                        <a:moveTo>
                          <a:pt x="213576" y="60"/>
                        </a:moveTo>
                        <a:cubicBezTo>
                          <a:pt x="130650" y="109963"/>
                          <a:pt x="0" y="525321"/>
                          <a:pt x="0" y="525321"/>
                        </a:cubicBezTo>
                        <a:lnTo>
                          <a:pt x="252347" y="616231"/>
                        </a:lnTo>
                        <a:lnTo>
                          <a:pt x="479533" y="153574"/>
                        </a:lnTo>
                        <a:cubicBezTo>
                          <a:pt x="397272" y="103854"/>
                          <a:pt x="353359" y="77785"/>
                          <a:pt x="213515" y="0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62" name="Freihandform: Form 861">
                    <a:extLst>
                      <a:ext uri="{FF2B5EF4-FFF2-40B4-BE49-F238E27FC236}">
                        <a16:creationId xmlns:a16="http://schemas.microsoft.com/office/drawing/2014/main" id="{A68C8CC4-6E2F-A721-6323-02356CC176C9}"/>
                      </a:ext>
                    </a:extLst>
                  </p:cNvPr>
                  <p:cNvSpPr/>
                  <p:nvPr/>
                </p:nvSpPr>
                <p:spPr>
                  <a:xfrm>
                    <a:off x="414570" y="2290411"/>
                    <a:ext cx="308236" cy="308236"/>
                  </a:xfrm>
                  <a:custGeom>
                    <a:avLst/>
                    <a:gdLst>
                      <a:gd name="connsiteX0" fmla="*/ 308236 w 308236"/>
                      <a:gd name="connsiteY0" fmla="*/ 154118 h 308236"/>
                      <a:gd name="connsiteX1" fmla="*/ 154118 w 308236"/>
                      <a:gd name="connsiteY1" fmla="*/ 308237 h 308236"/>
                      <a:gd name="connsiteX2" fmla="*/ 0 w 308236"/>
                      <a:gd name="connsiteY2" fmla="*/ 154118 h 308236"/>
                      <a:gd name="connsiteX3" fmla="*/ 154118 w 308236"/>
                      <a:gd name="connsiteY3" fmla="*/ 0 h 308236"/>
                      <a:gd name="connsiteX4" fmla="*/ 308236 w 308236"/>
                      <a:gd name="connsiteY4" fmla="*/ 154118 h 3082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8236" h="308236">
                        <a:moveTo>
                          <a:pt x="308236" y="154118"/>
                        </a:moveTo>
                        <a:cubicBezTo>
                          <a:pt x="308236" y="239235"/>
                          <a:pt x="239235" y="308237"/>
                          <a:pt x="154118" y="308237"/>
                        </a:cubicBezTo>
                        <a:cubicBezTo>
                          <a:pt x="69001" y="308237"/>
                          <a:pt x="0" y="239235"/>
                          <a:pt x="0" y="154118"/>
                        </a:cubicBezTo>
                        <a:cubicBezTo>
                          <a:pt x="0" y="69001"/>
                          <a:pt x="69001" y="0"/>
                          <a:pt x="154118" y="0"/>
                        </a:cubicBezTo>
                        <a:cubicBezTo>
                          <a:pt x="239235" y="0"/>
                          <a:pt x="308236" y="69001"/>
                          <a:pt x="308236" y="15411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793" name="Grafik 297">
                  <a:extLst>
                    <a:ext uri="{FF2B5EF4-FFF2-40B4-BE49-F238E27FC236}">
                      <a16:creationId xmlns:a16="http://schemas.microsoft.com/office/drawing/2014/main" id="{6AD90C68-3465-BA36-A265-8CC269DAFEB3}"/>
                    </a:ext>
                  </a:extLst>
                </p:cNvPr>
                <p:cNvGrpSpPr/>
                <p:nvPr/>
              </p:nvGrpSpPr>
              <p:grpSpPr>
                <a:xfrm>
                  <a:off x="1011981" y="4899413"/>
                  <a:ext cx="528917" cy="254497"/>
                  <a:chOff x="1011981" y="4899413"/>
                  <a:chExt cx="528917" cy="254497"/>
                </a:xfrm>
              </p:grpSpPr>
              <p:sp>
                <p:nvSpPr>
                  <p:cNvPr id="858" name="Freihandform: Form 857">
                    <a:extLst>
                      <a:ext uri="{FF2B5EF4-FFF2-40B4-BE49-F238E27FC236}">
                        <a16:creationId xmlns:a16="http://schemas.microsoft.com/office/drawing/2014/main" id="{C64DCE0D-C99B-8344-CAA7-4B1D4CC36E84}"/>
                      </a:ext>
                    </a:extLst>
                  </p:cNvPr>
                  <p:cNvSpPr/>
                  <p:nvPr/>
                </p:nvSpPr>
                <p:spPr>
                  <a:xfrm>
                    <a:off x="1011981" y="4899413"/>
                    <a:ext cx="527136" cy="243225"/>
                  </a:xfrm>
                  <a:custGeom>
                    <a:avLst/>
                    <a:gdLst>
                      <a:gd name="connsiteX0" fmla="*/ 14162 w 527136"/>
                      <a:gd name="connsiteY0" fmla="*/ 88430 h 243225"/>
                      <a:gd name="connsiteX1" fmla="*/ 5876 w 527136"/>
                      <a:gd name="connsiteY1" fmla="*/ 184845 h 243225"/>
                      <a:gd name="connsiteX2" fmla="*/ 25776 w 527136"/>
                      <a:gd name="connsiteY2" fmla="*/ 233778 h 243225"/>
                      <a:gd name="connsiteX3" fmla="*/ 45071 w 527136"/>
                      <a:gd name="connsiteY3" fmla="*/ 242609 h 243225"/>
                      <a:gd name="connsiteX4" fmla="*/ 505550 w 527136"/>
                      <a:gd name="connsiteY4" fmla="*/ 72281 h 243225"/>
                      <a:gd name="connsiteX5" fmla="*/ 490066 w 527136"/>
                      <a:gd name="connsiteY5" fmla="*/ 0 h 243225"/>
                      <a:gd name="connsiteX6" fmla="*/ 307822 w 527136"/>
                      <a:gd name="connsiteY6" fmla="*/ 27824 h 243225"/>
                      <a:gd name="connsiteX7" fmla="*/ 169309 w 527136"/>
                      <a:gd name="connsiteY7" fmla="*/ 18811 h 243225"/>
                      <a:gd name="connsiteX8" fmla="*/ 146506 w 527136"/>
                      <a:gd name="connsiteY8" fmla="*/ 63510 h 243225"/>
                      <a:gd name="connsiteX9" fmla="*/ 14223 w 527136"/>
                      <a:gd name="connsiteY9" fmla="*/ 88491 h 2432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527136" h="243225">
                        <a:moveTo>
                          <a:pt x="14162" y="88430"/>
                        </a:moveTo>
                        <a:cubicBezTo>
                          <a:pt x="14162" y="88430"/>
                          <a:pt x="-11121" y="138876"/>
                          <a:pt x="5876" y="184845"/>
                        </a:cubicBezTo>
                        <a:cubicBezTo>
                          <a:pt x="14646" y="208616"/>
                          <a:pt x="21360" y="224222"/>
                          <a:pt x="25776" y="233778"/>
                        </a:cubicBezTo>
                        <a:cubicBezTo>
                          <a:pt x="29163" y="241037"/>
                          <a:pt x="37329" y="244787"/>
                          <a:pt x="45071" y="242609"/>
                        </a:cubicBezTo>
                        <a:cubicBezTo>
                          <a:pt x="110819" y="223980"/>
                          <a:pt x="446516" y="134702"/>
                          <a:pt x="505550" y="72281"/>
                        </a:cubicBezTo>
                        <a:cubicBezTo>
                          <a:pt x="561923" y="12702"/>
                          <a:pt x="490066" y="0"/>
                          <a:pt x="490066" y="0"/>
                        </a:cubicBezTo>
                        <a:cubicBezTo>
                          <a:pt x="490066" y="0"/>
                          <a:pt x="389599" y="46454"/>
                          <a:pt x="307822" y="27824"/>
                        </a:cubicBezTo>
                        <a:cubicBezTo>
                          <a:pt x="234997" y="11251"/>
                          <a:pt x="178926" y="11614"/>
                          <a:pt x="169309" y="18811"/>
                        </a:cubicBezTo>
                        <a:cubicBezTo>
                          <a:pt x="159692" y="26009"/>
                          <a:pt x="161506" y="44336"/>
                          <a:pt x="146506" y="63510"/>
                        </a:cubicBezTo>
                        <a:cubicBezTo>
                          <a:pt x="131505" y="82685"/>
                          <a:pt x="23840" y="79963"/>
                          <a:pt x="14223" y="88491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59" name="Freihandform: Form 858">
                    <a:extLst>
                      <a:ext uri="{FF2B5EF4-FFF2-40B4-BE49-F238E27FC236}">
                        <a16:creationId xmlns:a16="http://schemas.microsoft.com/office/drawing/2014/main" id="{E850DCA2-44EC-788E-32E3-FD0ED5E8A9DF}"/>
                      </a:ext>
                    </a:extLst>
                  </p:cNvPr>
                  <p:cNvSpPr/>
                  <p:nvPr/>
                </p:nvSpPr>
                <p:spPr>
                  <a:xfrm>
                    <a:off x="1023059" y="4902195"/>
                    <a:ext cx="517840" cy="251715"/>
                  </a:xfrm>
                  <a:custGeom>
                    <a:avLst/>
                    <a:gdLst>
                      <a:gd name="connsiteX0" fmla="*/ 37380 w 517840"/>
                      <a:gd name="connsiteY0" fmla="*/ 251077 h 251715"/>
                      <a:gd name="connsiteX1" fmla="*/ 432596 w 517840"/>
                      <a:gd name="connsiteY1" fmla="*/ 120004 h 251715"/>
                      <a:gd name="connsiteX2" fmla="*/ 496469 w 517840"/>
                      <a:gd name="connsiteY2" fmla="*/ 74761 h 251715"/>
                      <a:gd name="connsiteX3" fmla="*/ 489694 w 517840"/>
                      <a:gd name="connsiteY3" fmla="*/ 0 h 251715"/>
                      <a:gd name="connsiteX4" fmla="*/ 474149 w 517840"/>
                      <a:gd name="connsiteY4" fmla="*/ 33146 h 251715"/>
                      <a:gd name="connsiteX5" fmla="*/ 0 w 517840"/>
                      <a:gd name="connsiteY5" fmla="*/ 196035 h 251715"/>
                      <a:gd name="connsiteX6" fmla="*/ 17964 w 517840"/>
                      <a:gd name="connsiteY6" fmla="*/ 242186 h 251715"/>
                      <a:gd name="connsiteX7" fmla="*/ 37320 w 517840"/>
                      <a:gd name="connsiteY7" fmla="*/ 251077 h 2517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17840" h="251715">
                        <a:moveTo>
                          <a:pt x="37380" y="251077"/>
                        </a:moveTo>
                        <a:cubicBezTo>
                          <a:pt x="38832" y="250654"/>
                          <a:pt x="431386" y="120609"/>
                          <a:pt x="432596" y="120004"/>
                        </a:cubicBezTo>
                        <a:cubicBezTo>
                          <a:pt x="466407" y="105004"/>
                          <a:pt x="484734" y="87221"/>
                          <a:pt x="496469" y="74761"/>
                        </a:cubicBezTo>
                        <a:cubicBezTo>
                          <a:pt x="538688" y="30122"/>
                          <a:pt x="508506" y="4234"/>
                          <a:pt x="489694" y="0"/>
                        </a:cubicBezTo>
                        <a:cubicBezTo>
                          <a:pt x="486428" y="7319"/>
                          <a:pt x="483283" y="23469"/>
                          <a:pt x="474149" y="33146"/>
                        </a:cubicBezTo>
                        <a:cubicBezTo>
                          <a:pt x="411788" y="99076"/>
                          <a:pt x="41856" y="185631"/>
                          <a:pt x="0" y="196035"/>
                        </a:cubicBezTo>
                        <a:cubicBezTo>
                          <a:pt x="7621" y="216298"/>
                          <a:pt x="13972" y="233476"/>
                          <a:pt x="17964" y="242186"/>
                        </a:cubicBezTo>
                        <a:cubicBezTo>
                          <a:pt x="21352" y="249505"/>
                          <a:pt x="29517" y="253315"/>
                          <a:pt x="37320" y="251077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794" name="Grafik 297">
                  <a:extLst>
                    <a:ext uri="{FF2B5EF4-FFF2-40B4-BE49-F238E27FC236}">
                      <a16:creationId xmlns:a16="http://schemas.microsoft.com/office/drawing/2014/main" id="{5265A285-AF4C-DE67-AA48-50AE52DACC55}"/>
                    </a:ext>
                  </a:extLst>
                </p:cNvPr>
                <p:cNvGrpSpPr/>
                <p:nvPr/>
              </p:nvGrpSpPr>
              <p:grpSpPr>
                <a:xfrm>
                  <a:off x="741194" y="4087994"/>
                  <a:ext cx="551329" cy="969001"/>
                  <a:chOff x="741194" y="4087994"/>
                  <a:chExt cx="551329" cy="969001"/>
                </a:xfrm>
                <a:solidFill>
                  <a:srgbClr val="02787D"/>
                </a:solidFill>
              </p:grpSpPr>
              <p:sp>
                <p:nvSpPr>
                  <p:cNvPr id="856" name="Freihandform: Form 855">
                    <a:extLst>
                      <a:ext uri="{FF2B5EF4-FFF2-40B4-BE49-F238E27FC236}">
                        <a16:creationId xmlns:a16="http://schemas.microsoft.com/office/drawing/2014/main" id="{2A4A89D6-6F02-7718-2BCB-66065301A544}"/>
                      </a:ext>
                    </a:extLst>
                  </p:cNvPr>
                  <p:cNvSpPr/>
                  <p:nvPr/>
                </p:nvSpPr>
                <p:spPr>
                  <a:xfrm>
                    <a:off x="753352" y="4197221"/>
                    <a:ext cx="539171" cy="859774"/>
                  </a:xfrm>
                  <a:custGeom>
                    <a:avLst/>
                    <a:gdLst>
                      <a:gd name="connsiteX0" fmla="*/ 258638 w 539171"/>
                      <a:gd name="connsiteY0" fmla="*/ 859637 h 859774"/>
                      <a:gd name="connsiteX1" fmla="*/ 539172 w 539171"/>
                      <a:gd name="connsiteY1" fmla="*/ 728141 h 859774"/>
                      <a:gd name="connsiteX2" fmla="*/ 437253 w 539171"/>
                      <a:gd name="connsiteY2" fmla="*/ 484685 h 859774"/>
                      <a:gd name="connsiteX3" fmla="*/ 309930 w 539171"/>
                      <a:gd name="connsiteY3" fmla="*/ 10535 h 859774"/>
                      <a:gd name="connsiteX4" fmla="*/ 0 w 539171"/>
                      <a:gd name="connsiteY4" fmla="*/ 117172 h 859774"/>
                      <a:gd name="connsiteX5" fmla="*/ 169905 w 539171"/>
                      <a:gd name="connsiteY5" fmla="*/ 715257 h 859774"/>
                      <a:gd name="connsiteX6" fmla="*/ 258638 w 539171"/>
                      <a:gd name="connsiteY6" fmla="*/ 859637 h 8597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39171" h="859774">
                        <a:moveTo>
                          <a:pt x="258638" y="859637"/>
                        </a:moveTo>
                        <a:lnTo>
                          <a:pt x="539172" y="728141"/>
                        </a:lnTo>
                        <a:cubicBezTo>
                          <a:pt x="539172" y="728141"/>
                          <a:pt x="448685" y="518133"/>
                          <a:pt x="437253" y="484685"/>
                        </a:cubicBezTo>
                        <a:cubicBezTo>
                          <a:pt x="425821" y="451236"/>
                          <a:pt x="309930" y="10535"/>
                          <a:pt x="309930" y="10535"/>
                        </a:cubicBezTo>
                        <a:cubicBezTo>
                          <a:pt x="194099" y="-20676"/>
                          <a:pt x="72160" y="18217"/>
                          <a:pt x="0" y="117172"/>
                        </a:cubicBezTo>
                        <a:cubicBezTo>
                          <a:pt x="26372" y="349740"/>
                          <a:pt x="140327" y="605535"/>
                          <a:pt x="169905" y="715257"/>
                        </a:cubicBezTo>
                        <a:cubicBezTo>
                          <a:pt x="187930" y="782276"/>
                          <a:pt x="222407" y="863569"/>
                          <a:pt x="258638" y="859637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57" name="Freihandform: Form 856">
                    <a:extLst>
                      <a:ext uri="{FF2B5EF4-FFF2-40B4-BE49-F238E27FC236}">
                        <a16:creationId xmlns:a16="http://schemas.microsoft.com/office/drawing/2014/main" id="{3C220167-C9F2-49AD-42A0-6CC6D64105AC}"/>
                      </a:ext>
                    </a:extLst>
                  </p:cNvPr>
                  <p:cNvSpPr/>
                  <p:nvPr/>
                </p:nvSpPr>
                <p:spPr>
                  <a:xfrm>
                    <a:off x="741194" y="4087994"/>
                    <a:ext cx="328196" cy="328196"/>
                  </a:xfrm>
                  <a:custGeom>
                    <a:avLst/>
                    <a:gdLst>
                      <a:gd name="connsiteX0" fmla="*/ 328197 w 328196"/>
                      <a:gd name="connsiteY0" fmla="*/ 164098 h 328196"/>
                      <a:gd name="connsiteX1" fmla="*/ 164098 w 328196"/>
                      <a:gd name="connsiteY1" fmla="*/ 328197 h 328196"/>
                      <a:gd name="connsiteX2" fmla="*/ 0 w 328196"/>
                      <a:gd name="connsiteY2" fmla="*/ 164098 h 328196"/>
                      <a:gd name="connsiteX3" fmla="*/ 164098 w 328196"/>
                      <a:gd name="connsiteY3" fmla="*/ 0 h 328196"/>
                      <a:gd name="connsiteX4" fmla="*/ 328197 w 328196"/>
                      <a:gd name="connsiteY4" fmla="*/ 164098 h 3281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8196" h="328196">
                        <a:moveTo>
                          <a:pt x="328197" y="164098"/>
                        </a:moveTo>
                        <a:cubicBezTo>
                          <a:pt x="328197" y="254727"/>
                          <a:pt x="254727" y="328197"/>
                          <a:pt x="164098" y="328197"/>
                        </a:cubicBezTo>
                        <a:cubicBezTo>
                          <a:pt x="73469" y="328197"/>
                          <a:pt x="0" y="254727"/>
                          <a:pt x="0" y="164098"/>
                        </a:cubicBezTo>
                        <a:cubicBezTo>
                          <a:pt x="0" y="73469"/>
                          <a:pt x="73469" y="0"/>
                          <a:pt x="164098" y="0"/>
                        </a:cubicBezTo>
                        <a:cubicBezTo>
                          <a:pt x="254727" y="0"/>
                          <a:pt x="328197" y="73469"/>
                          <a:pt x="328197" y="16409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795" name="Grafik 297">
                  <a:extLst>
                    <a:ext uri="{FF2B5EF4-FFF2-40B4-BE49-F238E27FC236}">
                      <a16:creationId xmlns:a16="http://schemas.microsoft.com/office/drawing/2014/main" id="{CA3E6881-9FE8-1FF0-C93A-BA89F9D3B21F}"/>
                    </a:ext>
                  </a:extLst>
                </p:cNvPr>
                <p:cNvGrpSpPr/>
                <p:nvPr/>
              </p:nvGrpSpPr>
              <p:grpSpPr>
                <a:xfrm>
                  <a:off x="415417" y="3058220"/>
                  <a:ext cx="647865" cy="1260991"/>
                  <a:chOff x="415417" y="3058220"/>
                  <a:chExt cx="647865" cy="1260991"/>
                </a:xfrm>
                <a:solidFill>
                  <a:srgbClr val="02787D"/>
                </a:solidFill>
              </p:grpSpPr>
              <p:sp>
                <p:nvSpPr>
                  <p:cNvPr id="854" name="Freihandform: Form 853">
                    <a:extLst>
                      <a:ext uri="{FF2B5EF4-FFF2-40B4-BE49-F238E27FC236}">
                        <a16:creationId xmlns:a16="http://schemas.microsoft.com/office/drawing/2014/main" id="{BCC4DD19-A390-06F7-89AA-1BBCE4978463}"/>
                      </a:ext>
                    </a:extLst>
                  </p:cNvPr>
                  <p:cNvSpPr/>
                  <p:nvPr/>
                </p:nvSpPr>
                <p:spPr>
                  <a:xfrm>
                    <a:off x="422857" y="3262239"/>
                    <a:ext cx="640425" cy="1056972"/>
                  </a:xfrm>
                  <a:custGeom>
                    <a:avLst/>
                    <a:gdLst>
                      <a:gd name="connsiteX0" fmla="*/ 60 w 640425"/>
                      <a:gd name="connsiteY0" fmla="*/ 100588 h 1056972"/>
                      <a:gd name="connsiteX1" fmla="*/ 478021 w 640425"/>
                      <a:gd name="connsiteY1" fmla="*/ 0 h 1056972"/>
                      <a:gd name="connsiteX2" fmla="*/ 559616 w 640425"/>
                      <a:gd name="connsiteY2" fmla="*/ 405861 h 1056972"/>
                      <a:gd name="connsiteX3" fmla="*/ 640425 w 640425"/>
                      <a:gd name="connsiteY3" fmla="*/ 945517 h 1056972"/>
                      <a:gd name="connsiteX4" fmla="*/ 330616 w 640425"/>
                      <a:gd name="connsiteY4" fmla="*/ 1052396 h 1056972"/>
                      <a:gd name="connsiteX5" fmla="*/ 0 w 640425"/>
                      <a:gd name="connsiteY5" fmla="*/ 100588 h 10569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40425" h="1056972">
                        <a:moveTo>
                          <a:pt x="60" y="100588"/>
                        </a:moveTo>
                        <a:cubicBezTo>
                          <a:pt x="6049" y="100588"/>
                          <a:pt x="478021" y="0"/>
                          <a:pt x="478021" y="0"/>
                        </a:cubicBezTo>
                        <a:cubicBezTo>
                          <a:pt x="478021" y="0"/>
                          <a:pt x="539837" y="303216"/>
                          <a:pt x="559616" y="405861"/>
                        </a:cubicBezTo>
                        <a:cubicBezTo>
                          <a:pt x="635466" y="799141"/>
                          <a:pt x="640425" y="945517"/>
                          <a:pt x="640425" y="945517"/>
                        </a:cubicBezTo>
                        <a:cubicBezTo>
                          <a:pt x="558043" y="1025600"/>
                          <a:pt x="438765" y="1072295"/>
                          <a:pt x="330616" y="1052396"/>
                        </a:cubicBezTo>
                        <a:cubicBezTo>
                          <a:pt x="265654" y="932149"/>
                          <a:pt x="64055" y="315555"/>
                          <a:pt x="0" y="10058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55" name="Freihandform: Form 854">
                    <a:extLst>
                      <a:ext uri="{FF2B5EF4-FFF2-40B4-BE49-F238E27FC236}">
                        <a16:creationId xmlns:a16="http://schemas.microsoft.com/office/drawing/2014/main" id="{3FCCD266-0081-9B24-EF6A-E33D72EB668C}"/>
                      </a:ext>
                    </a:extLst>
                  </p:cNvPr>
                  <p:cNvSpPr/>
                  <p:nvPr/>
                </p:nvSpPr>
                <p:spPr>
                  <a:xfrm>
                    <a:off x="415417" y="3058220"/>
                    <a:ext cx="488847" cy="488847"/>
                  </a:xfrm>
                  <a:custGeom>
                    <a:avLst/>
                    <a:gdLst>
                      <a:gd name="connsiteX0" fmla="*/ 488848 w 488847"/>
                      <a:gd name="connsiteY0" fmla="*/ 244424 h 488847"/>
                      <a:gd name="connsiteX1" fmla="*/ 244424 w 488847"/>
                      <a:gd name="connsiteY1" fmla="*/ 488848 h 488847"/>
                      <a:gd name="connsiteX2" fmla="*/ 0 w 488847"/>
                      <a:gd name="connsiteY2" fmla="*/ 244424 h 488847"/>
                      <a:gd name="connsiteX3" fmla="*/ 244424 w 488847"/>
                      <a:gd name="connsiteY3" fmla="*/ 0 h 488847"/>
                      <a:gd name="connsiteX4" fmla="*/ 488848 w 488847"/>
                      <a:gd name="connsiteY4" fmla="*/ 244424 h 4888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88847" h="488847">
                        <a:moveTo>
                          <a:pt x="488848" y="244424"/>
                        </a:moveTo>
                        <a:cubicBezTo>
                          <a:pt x="488848" y="379415"/>
                          <a:pt x="379415" y="488848"/>
                          <a:pt x="244424" y="488848"/>
                        </a:cubicBezTo>
                        <a:cubicBezTo>
                          <a:pt x="109432" y="488848"/>
                          <a:pt x="0" y="379415"/>
                          <a:pt x="0" y="244424"/>
                        </a:cubicBezTo>
                        <a:cubicBezTo>
                          <a:pt x="0" y="109432"/>
                          <a:pt x="109432" y="0"/>
                          <a:pt x="244424" y="0"/>
                        </a:cubicBezTo>
                        <a:cubicBezTo>
                          <a:pt x="379415" y="0"/>
                          <a:pt x="488848" y="109432"/>
                          <a:pt x="488848" y="244424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796" name="Grafik 297">
                  <a:extLst>
                    <a:ext uri="{FF2B5EF4-FFF2-40B4-BE49-F238E27FC236}">
                      <a16:creationId xmlns:a16="http://schemas.microsoft.com/office/drawing/2014/main" id="{C632B52B-0007-A642-20C3-15FCA2C9EA54}"/>
                    </a:ext>
                  </a:extLst>
                </p:cNvPr>
                <p:cNvGrpSpPr/>
                <p:nvPr/>
              </p:nvGrpSpPr>
              <p:grpSpPr>
                <a:xfrm>
                  <a:off x="48" y="4970823"/>
                  <a:ext cx="543691" cy="226344"/>
                  <a:chOff x="48" y="4970823"/>
                  <a:chExt cx="543691" cy="226344"/>
                </a:xfrm>
              </p:grpSpPr>
              <p:sp>
                <p:nvSpPr>
                  <p:cNvPr id="852" name="Freihandform: Form 851">
                    <a:extLst>
                      <a:ext uri="{FF2B5EF4-FFF2-40B4-BE49-F238E27FC236}">
                        <a16:creationId xmlns:a16="http://schemas.microsoft.com/office/drawing/2014/main" id="{FBF30947-0DD2-7206-4FC2-CE100A6C1DCD}"/>
                      </a:ext>
                    </a:extLst>
                  </p:cNvPr>
                  <p:cNvSpPr/>
                  <p:nvPr/>
                </p:nvSpPr>
                <p:spPr>
                  <a:xfrm>
                    <a:off x="2105" y="4970823"/>
                    <a:ext cx="540897" cy="215866"/>
                  </a:xfrm>
                  <a:custGeom>
                    <a:avLst/>
                    <a:gdLst>
                      <a:gd name="connsiteX0" fmla="*/ 55780 w 540897"/>
                      <a:gd name="connsiteY0" fmla="*/ 23 h 215866"/>
                      <a:gd name="connsiteX1" fmla="*/ 4548 w 540897"/>
                      <a:gd name="connsiteY1" fmla="*/ 82163 h 215866"/>
                      <a:gd name="connsiteX2" fmla="*/ 12 w 540897"/>
                      <a:gd name="connsiteY2" fmla="*/ 134786 h 215866"/>
                      <a:gd name="connsiteX3" fmla="*/ 13198 w 540897"/>
                      <a:gd name="connsiteY3" fmla="*/ 151420 h 215866"/>
                      <a:gd name="connsiteX4" fmla="*/ 500775 w 540897"/>
                      <a:gd name="connsiteY4" fmla="*/ 209244 h 215866"/>
                      <a:gd name="connsiteX5" fmla="*/ 519889 w 540897"/>
                      <a:gd name="connsiteY5" fmla="*/ 137810 h 215866"/>
                      <a:gd name="connsiteX6" fmla="*/ 344903 w 540897"/>
                      <a:gd name="connsiteY6" fmla="*/ 79683 h 215866"/>
                      <a:gd name="connsiteX7" fmla="*/ 225685 w 540897"/>
                      <a:gd name="connsiteY7" fmla="*/ 8612 h 215866"/>
                      <a:gd name="connsiteX8" fmla="*/ 185038 w 540897"/>
                      <a:gd name="connsiteY8" fmla="*/ 38069 h 215866"/>
                      <a:gd name="connsiteX9" fmla="*/ 55901 w 540897"/>
                      <a:gd name="connsiteY9" fmla="*/ 144 h 2158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540897" h="215866">
                        <a:moveTo>
                          <a:pt x="55780" y="23"/>
                        </a:moveTo>
                        <a:cubicBezTo>
                          <a:pt x="55780" y="23"/>
                          <a:pt x="10294" y="33472"/>
                          <a:pt x="4548" y="82163"/>
                        </a:cubicBezTo>
                        <a:cubicBezTo>
                          <a:pt x="1524" y="107386"/>
                          <a:pt x="435" y="124322"/>
                          <a:pt x="12" y="134786"/>
                        </a:cubicBezTo>
                        <a:cubicBezTo>
                          <a:pt x="-291" y="142831"/>
                          <a:pt x="5274" y="149847"/>
                          <a:pt x="13198" y="151420"/>
                        </a:cubicBezTo>
                        <a:cubicBezTo>
                          <a:pt x="80216" y="164727"/>
                          <a:pt x="419784" y="237975"/>
                          <a:pt x="500775" y="209244"/>
                        </a:cubicBezTo>
                        <a:cubicBezTo>
                          <a:pt x="578076" y="181844"/>
                          <a:pt x="519889" y="137810"/>
                          <a:pt x="519889" y="137810"/>
                        </a:cubicBezTo>
                        <a:cubicBezTo>
                          <a:pt x="519889" y="137810"/>
                          <a:pt x="409260" y="133455"/>
                          <a:pt x="344903" y="79683"/>
                        </a:cubicBezTo>
                        <a:cubicBezTo>
                          <a:pt x="287623" y="31778"/>
                          <a:pt x="237480" y="6616"/>
                          <a:pt x="225685" y="8612"/>
                        </a:cubicBezTo>
                        <a:cubicBezTo>
                          <a:pt x="213830" y="10608"/>
                          <a:pt x="207116" y="27786"/>
                          <a:pt x="185038" y="38069"/>
                        </a:cubicBezTo>
                        <a:cubicBezTo>
                          <a:pt x="162961" y="48352"/>
                          <a:pt x="68361" y="-3061"/>
                          <a:pt x="55901" y="144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53" name="Freihandform: Form 852">
                    <a:extLst>
                      <a:ext uri="{FF2B5EF4-FFF2-40B4-BE49-F238E27FC236}">
                        <a16:creationId xmlns:a16="http://schemas.microsoft.com/office/drawing/2014/main" id="{CB836CDD-620D-2222-E698-5D7840810ED2}"/>
                      </a:ext>
                    </a:extLst>
                  </p:cNvPr>
                  <p:cNvSpPr/>
                  <p:nvPr/>
                </p:nvSpPr>
                <p:spPr>
                  <a:xfrm>
                    <a:off x="48" y="5067745"/>
                    <a:ext cx="543691" cy="129422"/>
                  </a:xfrm>
                  <a:custGeom>
                    <a:avLst/>
                    <a:gdLst>
                      <a:gd name="connsiteX0" fmla="*/ 13137 w 543691"/>
                      <a:gd name="connsiteY0" fmla="*/ 65990 h 129422"/>
                      <a:gd name="connsiteX1" fmla="*/ 424744 w 543691"/>
                      <a:gd name="connsiteY1" fmla="*/ 129077 h 129422"/>
                      <a:gd name="connsiteX2" fmla="*/ 502227 w 543691"/>
                      <a:gd name="connsiteY2" fmla="*/ 117887 h 129422"/>
                      <a:gd name="connsiteX3" fmla="*/ 530232 w 543691"/>
                      <a:gd name="connsiteY3" fmla="*/ 48208 h 129422"/>
                      <a:gd name="connsiteX4" fmla="*/ 501319 w 543691"/>
                      <a:gd name="connsiteY4" fmla="*/ 70648 h 129422"/>
                      <a:gd name="connsiteX5" fmla="*/ 4972 w 543691"/>
                      <a:gd name="connsiteY5" fmla="*/ 0 h 129422"/>
                      <a:gd name="connsiteX6" fmla="*/ 12 w 543691"/>
                      <a:gd name="connsiteY6" fmla="*/ 49236 h 129422"/>
                      <a:gd name="connsiteX7" fmla="*/ 13198 w 543691"/>
                      <a:gd name="connsiteY7" fmla="*/ 65930 h 129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43691" h="129422">
                        <a:moveTo>
                          <a:pt x="13137" y="65990"/>
                        </a:moveTo>
                        <a:cubicBezTo>
                          <a:pt x="14649" y="66293"/>
                          <a:pt x="423353" y="129017"/>
                          <a:pt x="424744" y="129077"/>
                        </a:cubicBezTo>
                        <a:cubicBezTo>
                          <a:pt x="461701" y="131134"/>
                          <a:pt x="486077" y="123573"/>
                          <a:pt x="502227" y="117887"/>
                        </a:cubicBezTo>
                        <a:cubicBezTo>
                          <a:pt x="560112" y="97322"/>
                          <a:pt x="544990" y="60547"/>
                          <a:pt x="530232" y="48208"/>
                        </a:cubicBezTo>
                        <a:cubicBezTo>
                          <a:pt x="524002" y="53228"/>
                          <a:pt x="513840" y="66232"/>
                          <a:pt x="501319" y="70648"/>
                        </a:cubicBezTo>
                        <a:cubicBezTo>
                          <a:pt x="415792" y="101012"/>
                          <a:pt x="46949" y="9799"/>
                          <a:pt x="4972" y="0"/>
                        </a:cubicBezTo>
                        <a:cubicBezTo>
                          <a:pt x="2552" y="21533"/>
                          <a:pt x="375" y="39679"/>
                          <a:pt x="12" y="49236"/>
                        </a:cubicBezTo>
                        <a:cubicBezTo>
                          <a:pt x="-291" y="57280"/>
                          <a:pt x="5274" y="64357"/>
                          <a:pt x="13198" y="65930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797" name="Grafik 297">
                  <a:extLst>
                    <a:ext uri="{FF2B5EF4-FFF2-40B4-BE49-F238E27FC236}">
                      <a16:creationId xmlns:a16="http://schemas.microsoft.com/office/drawing/2014/main" id="{1F559208-1178-D01B-9AC4-044742437546}"/>
                    </a:ext>
                  </a:extLst>
                </p:cNvPr>
                <p:cNvGrpSpPr/>
                <p:nvPr/>
              </p:nvGrpSpPr>
              <p:grpSpPr>
                <a:xfrm>
                  <a:off x="16751" y="4091502"/>
                  <a:ext cx="531069" cy="960275"/>
                  <a:chOff x="16751" y="4091502"/>
                  <a:chExt cx="531069" cy="960275"/>
                </a:xfrm>
                <a:solidFill>
                  <a:srgbClr val="009999"/>
                </a:solidFill>
              </p:grpSpPr>
              <p:sp>
                <p:nvSpPr>
                  <p:cNvPr id="850" name="Freihandform: Form 849">
                    <a:extLst>
                      <a:ext uri="{FF2B5EF4-FFF2-40B4-BE49-F238E27FC236}">
                        <a16:creationId xmlns:a16="http://schemas.microsoft.com/office/drawing/2014/main" id="{F5306967-A822-180D-3DD6-4B99A3ED0742}"/>
                      </a:ext>
                    </a:extLst>
                  </p:cNvPr>
                  <p:cNvSpPr/>
                  <p:nvPr/>
                </p:nvSpPr>
                <p:spPr>
                  <a:xfrm>
                    <a:off x="16751" y="4199963"/>
                    <a:ext cx="525868" cy="851813"/>
                  </a:xfrm>
                  <a:custGeom>
                    <a:avLst/>
                    <a:gdLst>
                      <a:gd name="connsiteX0" fmla="*/ 206926 w 525868"/>
                      <a:gd name="connsiteY0" fmla="*/ 20132 h 851813"/>
                      <a:gd name="connsiteX1" fmla="*/ 29944 w 525868"/>
                      <a:gd name="connsiteY1" fmla="*/ 616221 h 851813"/>
                      <a:gd name="connsiteX2" fmla="*/ 9802 w 525868"/>
                      <a:gd name="connsiteY2" fmla="*/ 803788 h 851813"/>
                      <a:gd name="connsiteX3" fmla="*/ 331406 w 525868"/>
                      <a:gd name="connsiteY3" fmla="*/ 851814 h 851813"/>
                      <a:gd name="connsiteX4" fmla="*/ 384634 w 525868"/>
                      <a:gd name="connsiteY4" fmla="*/ 568498 h 851813"/>
                      <a:gd name="connsiteX5" fmla="*/ 525868 w 525868"/>
                      <a:gd name="connsiteY5" fmla="*/ 96042 h 851813"/>
                      <a:gd name="connsiteX6" fmla="*/ 206926 w 525868"/>
                      <a:gd name="connsiteY6" fmla="*/ 20071 h 8518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25868" h="851813">
                        <a:moveTo>
                          <a:pt x="206926" y="20132"/>
                        </a:moveTo>
                        <a:cubicBezTo>
                          <a:pt x="104463" y="230623"/>
                          <a:pt x="63816" y="507770"/>
                          <a:pt x="29944" y="616221"/>
                        </a:cubicBezTo>
                        <a:cubicBezTo>
                          <a:pt x="9258" y="682453"/>
                          <a:pt x="-13425" y="774271"/>
                          <a:pt x="9802" y="803788"/>
                        </a:cubicBezTo>
                        <a:lnTo>
                          <a:pt x="331406" y="851814"/>
                        </a:lnTo>
                        <a:cubicBezTo>
                          <a:pt x="331406" y="851814"/>
                          <a:pt x="365762" y="636605"/>
                          <a:pt x="384634" y="568498"/>
                        </a:cubicBezTo>
                        <a:cubicBezTo>
                          <a:pt x="394069" y="534383"/>
                          <a:pt x="525868" y="96042"/>
                          <a:pt x="525868" y="96042"/>
                        </a:cubicBezTo>
                        <a:cubicBezTo>
                          <a:pt x="444817" y="7611"/>
                          <a:pt x="320881" y="-24749"/>
                          <a:pt x="206926" y="20071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51" name="Freihandform: Form 850">
                    <a:extLst>
                      <a:ext uri="{FF2B5EF4-FFF2-40B4-BE49-F238E27FC236}">
                        <a16:creationId xmlns:a16="http://schemas.microsoft.com/office/drawing/2014/main" id="{CC5162AC-42A4-CEF1-4D98-22559455F5D7}"/>
                      </a:ext>
                    </a:extLst>
                  </p:cNvPr>
                  <p:cNvSpPr/>
                  <p:nvPr/>
                </p:nvSpPr>
                <p:spPr>
                  <a:xfrm>
                    <a:off x="220350" y="4091502"/>
                    <a:ext cx="327470" cy="327471"/>
                  </a:xfrm>
                  <a:custGeom>
                    <a:avLst/>
                    <a:gdLst>
                      <a:gd name="connsiteX0" fmla="*/ 327471 w 327470"/>
                      <a:gd name="connsiteY0" fmla="*/ 163736 h 327471"/>
                      <a:gd name="connsiteX1" fmla="*/ 163735 w 327470"/>
                      <a:gd name="connsiteY1" fmla="*/ 327471 h 327471"/>
                      <a:gd name="connsiteX2" fmla="*/ 0 w 327470"/>
                      <a:gd name="connsiteY2" fmla="*/ 163736 h 327471"/>
                      <a:gd name="connsiteX3" fmla="*/ 163735 w 327470"/>
                      <a:gd name="connsiteY3" fmla="*/ 0 h 327471"/>
                      <a:gd name="connsiteX4" fmla="*/ 327471 w 327470"/>
                      <a:gd name="connsiteY4" fmla="*/ 163736 h 3274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7470" h="327471">
                        <a:moveTo>
                          <a:pt x="327471" y="163736"/>
                        </a:moveTo>
                        <a:cubicBezTo>
                          <a:pt x="327471" y="254164"/>
                          <a:pt x="254164" y="327471"/>
                          <a:pt x="163735" y="327471"/>
                        </a:cubicBezTo>
                        <a:cubicBezTo>
                          <a:pt x="73307" y="327471"/>
                          <a:pt x="0" y="254164"/>
                          <a:pt x="0" y="163736"/>
                        </a:cubicBezTo>
                        <a:cubicBezTo>
                          <a:pt x="0" y="73307"/>
                          <a:pt x="73307" y="0"/>
                          <a:pt x="163735" y="0"/>
                        </a:cubicBezTo>
                        <a:cubicBezTo>
                          <a:pt x="254164" y="0"/>
                          <a:pt x="327471" y="73307"/>
                          <a:pt x="327471" y="16373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798" name="Grafik 297">
                  <a:extLst>
                    <a:ext uri="{FF2B5EF4-FFF2-40B4-BE49-F238E27FC236}">
                      <a16:creationId xmlns:a16="http://schemas.microsoft.com/office/drawing/2014/main" id="{5DA3E93B-604D-C054-C2C0-026E1FC0DF38}"/>
                    </a:ext>
                  </a:extLst>
                </p:cNvPr>
                <p:cNvGrpSpPr/>
                <p:nvPr/>
              </p:nvGrpSpPr>
              <p:grpSpPr>
                <a:xfrm>
                  <a:off x="223798" y="3058220"/>
                  <a:ext cx="680467" cy="1246379"/>
                  <a:chOff x="223798" y="3058220"/>
                  <a:chExt cx="680467" cy="1246379"/>
                </a:xfrm>
              </p:grpSpPr>
              <p:sp>
                <p:nvSpPr>
                  <p:cNvPr id="847" name="Freihandform: Form 846">
                    <a:extLst>
                      <a:ext uri="{FF2B5EF4-FFF2-40B4-BE49-F238E27FC236}">
                        <a16:creationId xmlns:a16="http://schemas.microsoft.com/office/drawing/2014/main" id="{521E9863-06AB-39BF-F765-8F9E4B6FBF3C}"/>
                      </a:ext>
                    </a:extLst>
                  </p:cNvPr>
                  <p:cNvSpPr/>
                  <p:nvPr/>
                </p:nvSpPr>
                <p:spPr>
                  <a:xfrm>
                    <a:off x="415417" y="3058220"/>
                    <a:ext cx="488847" cy="488847"/>
                  </a:xfrm>
                  <a:custGeom>
                    <a:avLst/>
                    <a:gdLst>
                      <a:gd name="connsiteX0" fmla="*/ 488848 w 488847"/>
                      <a:gd name="connsiteY0" fmla="*/ 244424 h 488847"/>
                      <a:gd name="connsiteX1" fmla="*/ 244424 w 488847"/>
                      <a:gd name="connsiteY1" fmla="*/ 488848 h 488847"/>
                      <a:gd name="connsiteX2" fmla="*/ 0 w 488847"/>
                      <a:gd name="connsiteY2" fmla="*/ 244424 h 488847"/>
                      <a:gd name="connsiteX3" fmla="*/ 244424 w 488847"/>
                      <a:gd name="connsiteY3" fmla="*/ 0 h 488847"/>
                      <a:gd name="connsiteX4" fmla="*/ 488848 w 488847"/>
                      <a:gd name="connsiteY4" fmla="*/ 244424 h 4888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88847" h="488847">
                        <a:moveTo>
                          <a:pt x="488848" y="244424"/>
                        </a:moveTo>
                        <a:cubicBezTo>
                          <a:pt x="488848" y="379415"/>
                          <a:pt x="379415" y="488848"/>
                          <a:pt x="244424" y="488848"/>
                        </a:cubicBezTo>
                        <a:cubicBezTo>
                          <a:pt x="109432" y="488848"/>
                          <a:pt x="0" y="379415"/>
                          <a:pt x="0" y="244424"/>
                        </a:cubicBezTo>
                        <a:cubicBezTo>
                          <a:pt x="0" y="109432"/>
                          <a:pt x="109432" y="0"/>
                          <a:pt x="244424" y="0"/>
                        </a:cubicBezTo>
                        <a:cubicBezTo>
                          <a:pt x="379415" y="0"/>
                          <a:pt x="488848" y="109432"/>
                          <a:pt x="488848" y="244424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48" name="Freihandform: Form 847">
                    <a:extLst>
                      <a:ext uri="{FF2B5EF4-FFF2-40B4-BE49-F238E27FC236}">
                        <a16:creationId xmlns:a16="http://schemas.microsoft.com/office/drawing/2014/main" id="{18BA7A3E-C0CA-CF4D-9A8D-13D592167D5C}"/>
                      </a:ext>
                    </a:extLst>
                  </p:cNvPr>
                  <p:cNvSpPr/>
                  <p:nvPr/>
                </p:nvSpPr>
                <p:spPr>
                  <a:xfrm>
                    <a:off x="223798" y="3286434"/>
                    <a:ext cx="674539" cy="1018166"/>
                  </a:xfrm>
                  <a:custGeom>
                    <a:avLst/>
                    <a:gdLst>
                      <a:gd name="connsiteX0" fmla="*/ 192164 w 674539"/>
                      <a:gd name="connsiteY0" fmla="*/ 0 h 1018166"/>
                      <a:gd name="connsiteX1" fmla="*/ 674539 w 674539"/>
                      <a:gd name="connsiteY1" fmla="*/ 69740 h 1018166"/>
                      <a:gd name="connsiteX2" fmla="*/ 540321 w 674539"/>
                      <a:gd name="connsiteY2" fmla="*/ 510865 h 1018166"/>
                      <a:gd name="connsiteX3" fmla="*/ 318942 w 674539"/>
                      <a:gd name="connsiteY3" fmla="*/ 1009632 h 1018166"/>
                      <a:gd name="connsiteX4" fmla="*/ 0 w 674539"/>
                      <a:gd name="connsiteY4" fmla="*/ 933661 h 1018166"/>
                      <a:gd name="connsiteX5" fmla="*/ 192164 w 674539"/>
                      <a:gd name="connsiteY5" fmla="*/ 0 h 1018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4539" h="1018166">
                        <a:moveTo>
                          <a:pt x="192164" y="0"/>
                        </a:moveTo>
                        <a:cubicBezTo>
                          <a:pt x="197245" y="3206"/>
                          <a:pt x="674539" y="69740"/>
                          <a:pt x="674539" y="69740"/>
                        </a:cubicBezTo>
                        <a:cubicBezTo>
                          <a:pt x="674539" y="69740"/>
                          <a:pt x="578609" y="413603"/>
                          <a:pt x="540321" y="510865"/>
                        </a:cubicBezTo>
                        <a:cubicBezTo>
                          <a:pt x="393522" y="883519"/>
                          <a:pt x="318942" y="1009632"/>
                          <a:pt x="318942" y="1009632"/>
                        </a:cubicBezTo>
                        <a:cubicBezTo>
                          <a:pt x="206439" y="1033040"/>
                          <a:pt x="80567" y="1008483"/>
                          <a:pt x="0" y="933661"/>
                        </a:cubicBezTo>
                        <a:cubicBezTo>
                          <a:pt x="9617" y="797326"/>
                          <a:pt x="136577" y="272429"/>
                          <a:pt x="192164" y="0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49" name="Freihandform: Form 848">
                    <a:extLst>
                      <a:ext uri="{FF2B5EF4-FFF2-40B4-BE49-F238E27FC236}">
                        <a16:creationId xmlns:a16="http://schemas.microsoft.com/office/drawing/2014/main" id="{AD18381F-3AC3-59D7-2B74-24D75598C7A8}"/>
                      </a:ext>
                    </a:extLst>
                  </p:cNvPr>
                  <p:cNvSpPr/>
                  <p:nvPr/>
                </p:nvSpPr>
                <p:spPr>
                  <a:xfrm>
                    <a:off x="378884" y="3286434"/>
                    <a:ext cx="519392" cy="173110"/>
                  </a:xfrm>
                  <a:custGeom>
                    <a:avLst/>
                    <a:gdLst>
                      <a:gd name="connsiteX0" fmla="*/ 490239 w 519392"/>
                      <a:gd name="connsiteY0" fmla="*/ 172566 h 173110"/>
                      <a:gd name="connsiteX1" fmla="*/ 519393 w 519392"/>
                      <a:gd name="connsiteY1" fmla="*/ 69740 h 173110"/>
                      <a:gd name="connsiteX2" fmla="*/ 37017 w 519392"/>
                      <a:gd name="connsiteY2" fmla="*/ 0 h 173110"/>
                      <a:gd name="connsiteX3" fmla="*/ 0 w 519392"/>
                      <a:gd name="connsiteY3" fmla="*/ 173111 h 173110"/>
                      <a:gd name="connsiteX4" fmla="*/ 490178 w 519392"/>
                      <a:gd name="connsiteY4" fmla="*/ 172566 h 1731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9392" h="173110">
                        <a:moveTo>
                          <a:pt x="490239" y="172566"/>
                        </a:moveTo>
                        <a:cubicBezTo>
                          <a:pt x="507417" y="112685"/>
                          <a:pt x="519393" y="69740"/>
                          <a:pt x="519393" y="69740"/>
                        </a:cubicBezTo>
                        <a:cubicBezTo>
                          <a:pt x="519393" y="69740"/>
                          <a:pt x="42098" y="3206"/>
                          <a:pt x="37017" y="0"/>
                        </a:cubicBezTo>
                        <a:cubicBezTo>
                          <a:pt x="26735" y="50385"/>
                          <a:pt x="13972" y="109480"/>
                          <a:pt x="0" y="173111"/>
                        </a:cubicBezTo>
                        <a:cubicBezTo>
                          <a:pt x="109963" y="109782"/>
                          <a:pt x="360012" y="115468"/>
                          <a:pt x="490178" y="172566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799" name="Grafik 297">
                  <a:extLst>
                    <a:ext uri="{FF2B5EF4-FFF2-40B4-BE49-F238E27FC236}">
                      <a16:creationId xmlns:a16="http://schemas.microsoft.com/office/drawing/2014/main" id="{EBCF37D6-CE19-81ED-76DC-476F99250971}"/>
                    </a:ext>
                  </a:extLst>
                </p:cNvPr>
                <p:cNvGrpSpPr/>
                <p:nvPr/>
              </p:nvGrpSpPr>
              <p:grpSpPr>
                <a:xfrm>
                  <a:off x="477899" y="1918236"/>
                  <a:ext cx="322234" cy="429852"/>
                  <a:chOff x="477899" y="1918236"/>
                  <a:chExt cx="322234" cy="429852"/>
                </a:xfrm>
              </p:grpSpPr>
              <p:sp>
                <p:nvSpPr>
                  <p:cNvPr id="845" name="Freihandform: Form 844">
                    <a:extLst>
                      <a:ext uri="{FF2B5EF4-FFF2-40B4-BE49-F238E27FC236}">
                        <a16:creationId xmlns:a16="http://schemas.microsoft.com/office/drawing/2014/main" id="{DA454C57-11B6-7C82-1E70-8C856EF7CC2E}"/>
                      </a:ext>
                    </a:extLst>
                  </p:cNvPr>
                  <p:cNvSpPr/>
                  <p:nvPr/>
                </p:nvSpPr>
                <p:spPr>
                  <a:xfrm>
                    <a:off x="477899" y="1918236"/>
                    <a:ext cx="322234" cy="429852"/>
                  </a:xfrm>
                  <a:custGeom>
                    <a:avLst/>
                    <a:gdLst>
                      <a:gd name="connsiteX0" fmla="*/ 0 w 322234"/>
                      <a:gd name="connsiteY0" fmla="*/ 329049 h 429852"/>
                      <a:gd name="connsiteX1" fmla="*/ 227972 w 322234"/>
                      <a:gd name="connsiteY1" fmla="*/ 410342 h 429852"/>
                      <a:gd name="connsiteX2" fmla="*/ 314043 w 322234"/>
                      <a:gd name="connsiteY2" fmla="*/ 168943 h 429852"/>
                      <a:gd name="connsiteX3" fmla="*/ 86071 w 322234"/>
                      <a:gd name="connsiteY3" fmla="*/ 87649 h 429852"/>
                      <a:gd name="connsiteX4" fmla="*/ 0 w 322234"/>
                      <a:gd name="connsiteY4" fmla="*/ 329049 h 4298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2234" h="429852">
                        <a:moveTo>
                          <a:pt x="0" y="329049"/>
                        </a:moveTo>
                        <a:cubicBezTo>
                          <a:pt x="16331" y="408467"/>
                          <a:pt x="157687" y="459941"/>
                          <a:pt x="227972" y="410342"/>
                        </a:cubicBezTo>
                        <a:lnTo>
                          <a:pt x="314043" y="168943"/>
                        </a:lnTo>
                        <a:cubicBezTo>
                          <a:pt x="366968" y="-5076"/>
                          <a:pt x="148493" y="-65441"/>
                          <a:pt x="86071" y="87649"/>
                        </a:cubicBezTo>
                        <a:lnTo>
                          <a:pt x="0" y="329049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46" name="Freihandform: Form 845">
                    <a:extLst>
                      <a:ext uri="{FF2B5EF4-FFF2-40B4-BE49-F238E27FC236}">
                        <a16:creationId xmlns:a16="http://schemas.microsoft.com/office/drawing/2014/main" id="{40358823-D98F-3515-87F8-FFD83B019E6B}"/>
                      </a:ext>
                    </a:extLst>
                  </p:cNvPr>
                  <p:cNvSpPr/>
                  <p:nvPr/>
                </p:nvSpPr>
                <p:spPr>
                  <a:xfrm>
                    <a:off x="663707" y="2057624"/>
                    <a:ext cx="118237" cy="209535"/>
                  </a:xfrm>
                  <a:custGeom>
                    <a:avLst/>
                    <a:gdLst>
                      <a:gd name="connsiteX0" fmla="*/ 64060 w 118237"/>
                      <a:gd name="connsiteY0" fmla="*/ 209500 h 209535"/>
                      <a:gd name="connsiteX1" fmla="*/ 114505 w 118237"/>
                      <a:gd name="connsiteY1" fmla="*/ 68567 h 209535"/>
                      <a:gd name="connsiteX2" fmla="*/ 10772 w 118237"/>
                      <a:gd name="connsiteY2" fmla="*/ 97903 h 209535"/>
                      <a:gd name="connsiteX3" fmla="*/ 21599 w 118237"/>
                      <a:gd name="connsiteY3" fmla="*/ 160325 h 209535"/>
                      <a:gd name="connsiteX4" fmla="*/ 64060 w 118237"/>
                      <a:gd name="connsiteY4" fmla="*/ 209500 h 2095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8237" h="209535">
                        <a:moveTo>
                          <a:pt x="64060" y="209500"/>
                        </a:moveTo>
                        <a:lnTo>
                          <a:pt x="114505" y="68567"/>
                        </a:lnTo>
                        <a:cubicBezTo>
                          <a:pt x="147168" y="-43816"/>
                          <a:pt x="-46871" y="-6677"/>
                          <a:pt x="10772" y="97903"/>
                        </a:cubicBezTo>
                        <a:cubicBezTo>
                          <a:pt x="22990" y="118226"/>
                          <a:pt x="26256" y="127360"/>
                          <a:pt x="21599" y="160325"/>
                        </a:cubicBezTo>
                        <a:cubicBezTo>
                          <a:pt x="14159" y="212645"/>
                          <a:pt x="64060" y="209500"/>
                          <a:pt x="64060" y="20950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800" name="Grafik 297">
                  <a:extLst>
                    <a:ext uri="{FF2B5EF4-FFF2-40B4-BE49-F238E27FC236}">
                      <a16:creationId xmlns:a16="http://schemas.microsoft.com/office/drawing/2014/main" id="{DE9738C9-F68B-8974-B1BA-AA8B743DD800}"/>
                    </a:ext>
                  </a:extLst>
                </p:cNvPr>
                <p:cNvGrpSpPr/>
                <p:nvPr/>
              </p:nvGrpSpPr>
              <p:grpSpPr>
                <a:xfrm>
                  <a:off x="443945" y="1659724"/>
                  <a:ext cx="481759" cy="506110"/>
                  <a:chOff x="443945" y="1659724"/>
                  <a:chExt cx="481759" cy="506110"/>
                </a:xfrm>
              </p:grpSpPr>
              <p:sp>
                <p:nvSpPr>
                  <p:cNvPr id="835" name="Freihandform: Form 834">
                    <a:extLst>
                      <a:ext uri="{FF2B5EF4-FFF2-40B4-BE49-F238E27FC236}">
                        <a16:creationId xmlns:a16="http://schemas.microsoft.com/office/drawing/2014/main" id="{131B949E-82BB-77D4-DE33-7ECEF7CCE07F}"/>
                      </a:ext>
                    </a:extLst>
                  </p:cNvPr>
                  <p:cNvSpPr/>
                  <p:nvPr/>
                </p:nvSpPr>
                <p:spPr>
                  <a:xfrm rot="-274200">
                    <a:off x="468855" y="1719942"/>
                    <a:ext cx="390981" cy="349246"/>
                  </a:xfrm>
                  <a:custGeom>
                    <a:avLst/>
                    <a:gdLst>
                      <a:gd name="connsiteX0" fmla="*/ 390981 w 390981"/>
                      <a:gd name="connsiteY0" fmla="*/ 174623 h 349246"/>
                      <a:gd name="connsiteX1" fmla="*/ 195491 w 390981"/>
                      <a:gd name="connsiteY1" fmla="*/ 349246 h 349246"/>
                      <a:gd name="connsiteX2" fmla="*/ 0 w 390981"/>
                      <a:gd name="connsiteY2" fmla="*/ 174623 h 349246"/>
                      <a:gd name="connsiteX3" fmla="*/ 195491 w 390981"/>
                      <a:gd name="connsiteY3" fmla="*/ 0 h 349246"/>
                      <a:gd name="connsiteX4" fmla="*/ 390981 w 390981"/>
                      <a:gd name="connsiteY4" fmla="*/ 174623 h 3492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0981" h="349246">
                        <a:moveTo>
                          <a:pt x="390981" y="174623"/>
                        </a:moveTo>
                        <a:cubicBezTo>
                          <a:pt x="390981" y="271065"/>
                          <a:pt x="303457" y="349246"/>
                          <a:pt x="195491" y="349246"/>
                        </a:cubicBezTo>
                        <a:cubicBezTo>
                          <a:pt x="87524" y="349246"/>
                          <a:pt x="0" y="271065"/>
                          <a:pt x="0" y="174623"/>
                        </a:cubicBezTo>
                        <a:cubicBezTo>
                          <a:pt x="0" y="78181"/>
                          <a:pt x="87524" y="0"/>
                          <a:pt x="195491" y="0"/>
                        </a:cubicBezTo>
                        <a:cubicBezTo>
                          <a:pt x="303457" y="0"/>
                          <a:pt x="390981" y="78181"/>
                          <a:pt x="390981" y="174623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36" name="Freihandform: Form 835">
                    <a:extLst>
                      <a:ext uri="{FF2B5EF4-FFF2-40B4-BE49-F238E27FC236}">
                        <a16:creationId xmlns:a16="http://schemas.microsoft.com/office/drawing/2014/main" id="{C5CB6473-1F63-DDEE-A52E-92835014FB3D}"/>
                      </a:ext>
                    </a:extLst>
                  </p:cNvPr>
                  <p:cNvSpPr/>
                  <p:nvPr/>
                </p:nvSpPr>
                <p:spPr>
                  <a:xfrm>
                    <a:off x="650224" y="1870436"/>
                    <a:ext cx="272366" cy="292635"/>
                  </a:xfrm>
                  <a:custGeom>
                    <a:avLst/>
                    <a:gdLst>
                      <a:gd name="connsiteX0" fmla="*/ 232448 w 272366"/>
                      <a:gd name="connsiteY0" fmla="*/ 139925 h 292635"/>
                      <a:gd name="connsiteX1" fmla="*/ 268255 w 272366"/>
                      <a:gd name="connsiteY1" fmla="*/ 105629 h 292635"/>
                      <a:gd name="connsiteX2" fmla="*/ 209221 w 272366"/>
                      <a:gd name="connsiteY2" fmla="*/ 13570 h 292635"/>
                      <a:gd name="connsiteX3" fmla="*/ 0 w 272366"/>
                      <a:gd name="connsiteY3" fmla="*/ 86153 h 292635"/>
                      <a:gd name="connsiteX4" fmla="*/ 24073 w 272366"/>
                      <a:gd name="connsiteY4" fmla="*/ 213899 h 292635"/>
                      <a:gd name="connsiteX5" fmla="*/ 114560 w 272366"/>
                      <a:gd name="connsiteY5" fmla="*/ 292531 h 292635"/>
                      <a:gd name="connsiteX6" fmla="*/ 204624 w 272366"/>
                      <a:gd name="connsiteY6" fmla="*/ 285878 h 292635"/>
                      <a:gd name="connsiteX7" fmla="*/ 232448 w 272366"/>
                      <a:gd name="connsiteY7" fmla="*/ 242509 h 292635"/>
                      <a:gd name="connsiteX8" fmla="*/ 230996 w 272366"/>
                      <a:gd name="connsiteY8" fmla="*/ 222004 h 292635"/>
                      <a:gd name="connsiteX9" fmla="*/ 230996 w 272366"/>
                      <a:gd name="connsiteY9" fmla="*/ 222186 h 292635"/>
                      <a:gd name="connsiteX10" fmla="*/ 234383 w 272366"/>
                      <a:gd name="connsiteY10" fmla="*/ 207125 h 292635"/>
                      <a:gd name="connsiteX11" fmla="*/ 227730 w 272366"/>
                      <a:gd name="connsiteY11" fmla="*/ 186681 h 292635"/>
                      <a:gd name="connsiteX12" fmla="*/ 227730 w 272366"/>
                      <a:gd name="connsiteY12" fmla="*/ 186681 h 292635"/>
                      <a:gd name="connsiteX13" fmla="*/ 235230 w 272366"/>
                      <a:gd name="connsiteY13" fmla="*/ 170107 h 292635"/>
                      <a:gd name="connsiteX14" fmla="*/ 232508 w 272366"/>
                      <a:gd name="connsiteY14" fmla="*/ 139925 h 2926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72366" h="292635">
                        <a:moveTo>
                          <a:pt x="232448" y="139925"/>
                        </a:moveTo>
                        <a:cubicBezTo>
                          <a:pt x="244545" y="136356"/>
                          <a:pt x="285312" y="122868"/>
                          <a:pt x="268255" y="105629"/>
                        </a:cubicBezTo>
                        <a:cubicBezTo>
                          <a:pt x="239282" y="76415"/>
                          <a:pt x="213697" y="23792"/>
                          <a:pt x="209221" y="13570"/>
                        </a:cubicBezTo>
                        <a:cubicBezTo>
                          <a:pt x="208072" y="2682"/>
                          <a:pt x="16815" y="-33125"/>
                          <a:pt x="0" y="86153"/>
                        </a:cubicBezTo>
                        <a:cubicBezTo>
                          <a:pt x="0" y="86153"/>
                          <a:pt x="0" y="150691"/>
                          <a:pt x="24073" y="213899"/>
                        </a:cubicBezTo>
                        <a:cubicBezTo>
                          <a:pt x="29820" y="229021"/>
                          <a:pt x="73128" y="291261"/>
                          <a:pt x="114560" y="292531"/>
                        </a:cubicBezTo>
                        <a:cubicBezTo>
                          <a:pt x="150005" y="293620"/>
                          <a:pt x="204624" y="285878"/>
                          <a:pt x="204624" y="285878"/>
                        </a:cubicBezTo>
                        <a:cubicBezTo>
                          <a:pt x="204624" y="285878"/>
                          <a:pt x="232690" y="278982"/>
                          <a:pt x="232448" y="242509"/>
                        </a:cubicBezTo>
                        <a:cubicBezTo>
                          <a:pt x="232448" y="239666"/>
                          <a:pt x="231903" y="232347"/>
                          <a:pt x="230996" y="222004"/>
                        </a:cubicBezTo>
                        <a:lnTo>
                          <a:pt x="230996" y="222186"/>
                        </a:lnTo>
                        <a:cubicBezTo>
                          <a:pt x="230996" y="222186"/>
                          <a:pt x="230996" y="216137"/>
                          <a:pt x="234383" y="207125"/>
                        </a:cubicBezTo>
                        <a:cubicBezTo>
                          <a:pt x="238496" y="196056"/>
                          <a:pt x="239403" y="186197"/>
                          <a:pt x="227730" y="186681"/>
                        </a:cubicBezTo>
                        <a:lnTo>
                          <a:pt x="227730" y="186681"/>
                        </a:lnTo>
                        <a:cubicBezTo>
                          <a:pt x="236077" y="184382"/>
                          <a:pt x="236923" y="173858"/>
                          <a:pt x="235230" y="170107"/>
                        </a:cubicBezTo>
                        <a:cubicBezTo>
                          <a:pt x="230331" y="159401"/>
                          <a:pt x="229423" y="140832"/>
                          <a:pt x="232508" y="139925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37" name="Freihandform: Form 836">
                    <a:extLst>
                      <a:ext uri="{FF2B5EF4-FFF2-40B4-BE49-F238E27FC236}">
                        <a16:creationId xmlns:a16="http://schemas.microsoft.com/office/drawing/2014/main" id="{FC05805F-1960-D7C5-8863-EE7E6F87ADA7}"/>
                      </a:ext>
                    </a:extLst>
                  </p:cNvPr>
                  <p:cNvSpPr/>
                  <p:nvPr/>
                </p:nvSpPr>
                <p:spPr>
                  <a:xfrm>
                    <a:off x="837065" y="1919511"/>
                    <a:ext cx="21653" cy="31694"/>
                  </a:xfrm>
                  <a:custGeom>
                    <a:avLst/>
                    <a:gdLst>
                      <a:gd name="connsiteX0" fmla="*/ 21654 w 21653"/>
                      <a:gd name="connsiteY0" fmla="*/ 15847 h 31694"/>
                      <a:gd name="connsiteX1" fmla="*/ 10827 w 21653"/>
                      <a:gd name="connsiteY1" fmla="*/ 31695 h 31694"/>
                      <a:gd name="connsiteX2" fmla="*/ 0 w 21653"/>
                      <a:gd name="connsiteY2" fmla="*/ 15847 h 31694"/>
                      <a:gd name="connsiteX3" fmla="*/ 10827 w 21653"/>
                      <a:gd name="connsiteY3" fmla="*/ 0 h 31694"/>
                      <a:gd name="connsiteX4" fmla="*/ 21654 w 21653"/>
                      <a:gd name="connsiteY4" fmla="*/ 15847 h 316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653" h="31694">
                        <a:moveTo>
                          <a:pt x="21654" y="15847"/>
                        </a:moveTo>
                        <a:cubicBezTo>
                          <a:pt x="21654" y="24600"/>
                          <a:pt x="16807" y="31695"/>
                          <a:pt x="10827" y="31695"/>
                        </a:cubicBezTo>
                        <a:cubicBezTo>
                          <a:pt x="4847" y="31695"/>
                          <a:pt x="0" y="24600"/>
                          <a:pt x="0" y="15847"/>
                        </a:cubicBezTo>
                        <a:cubicBezTo>
                          <a:pt x="0" y="7095"/>
                          <a:pt x="4847" y="0"/>
                          <a:pt x="10827" y="0"/>
                        </a:cubicBezTo>
                        <a:cubicBezTo>
                          <a:pt x="16807" y="0"/>
                          <a:pt x="21654" y="7095"/>
                          <a:pt x="21654" y="15847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38" name="Freihandform: Form 837">
                    <a:extLst>
                      <a:ext uri="{FF2B5EF4-FFF2-40B4-BE49-F238E27FC236}">
                        <a16:creationId xmlns:a16="http://schemas.microsoft.com/office/drawing/2014/main" id="{62BAA231-173D-8541-13C7-08A1A39B5FB9}"/>
                      </a:ext>
                    </a:extLst>
                  </p:cNvPr>
                  <p:cNvSpPr/>
                  <p:nvPr/>
                </p:nvSpPr>
                <p:spPr>
                  <a:xfrm>
                    <a:off x="767336" y="1853119"/>
                    <a:ext cx="83261" cy="40843"/>
                  </a:xfrm>
                  <a:custGeom>
                    <a:avLst/>
                    <a:gdLst>
                      <a:gd name="connsiteX0" fmla="*/ 16139 w 83261"/>
                      <a:gd name="connsiteY0" fmla="*/ 19455 h 40843"/>
                      <a:gd name="connsiteX1" fmla="*/ 47047 w 83261"/>
                      <a:gd name="connsiteY1" fmla="*/ 3245 h 40843"/>
                      <a:gd name="connsiteX2" fmla="*/ 47047 w 83261"/>
                      <a:gd name="connsiteY2" fmla="*/ 3245 h 40843"/>
                      <a:gd name="connsiteX3" fmla="*/ 77048 w 83261"/>
                      <a:gd name="connsiteY3" fmla="*/ 1249 h 40843"/>
                      <a:gd name="connsiteX4" fmla="*/ 79407 w 83261"/>
                      <a:gd name="connsiteY4" fmla="*/ 2519 h 40843"/>
                      <a:gd name="connsiteX5" fmla="*/ 76201 w 83261"/>
                      <a:gd name="connsiteY5" fmla="*/ 18427 h 40843"/>
                      <a:gd name="connsiteX6" fmla="*/ 59205 w 83261"/>
                      <a:gd name="connsiteY6" fmla="*/ 19939 h 40843"/>
                      <a:gd name="connsiteX7" fmla="*/ 20312 w 83261"/>
                      <a:gd name="connsiteY7" fmla="*/ 29254 h 40843"/>
                      <a:gd name="connsiteX8" fmla="*/ 533 w 83261"/>
                      <a:gd name="connsiteY8" fmla="*/ 40746 h 40843"/>
                      <a:gd name="connsiteX9" fmla="*/ 16139 w 83261"/>
                      <a:gd name="connsiteY9" fmla="*/ 19515 h 408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83261" h="40843">
                        <a:moveTo>
                          <a:pt x="16139" y="19455"/>
                        </a:moveTo>
                        <a:cubicBezTo>
                          <a:pt x="26179" y="10201"/>
                          <a:pt x="38034" y="5241"/>
                          <a:pt x="47047" y="3245"/>
                        </a:cubicBezTo>
                        <a:lnTo>
                          <a:pt x="47047" y="3245"/>
                        </a:lnTo>
                        <a:cubicBezTo>
                          <a:pt x="62410" y="-1110"/>
                          <a:pt x="73237" y="-324"/>
                          <a:pt x="77048" y="1249"/>
                        </a:cubicBezTo>
                        <a:cubicBezTo>
                          <a:pt x="77955" y="1612"/>
                          <a:pt x="78742" y="2035"/>
                          <a:pt x="79407" y="2519"/>
                        </a:cubicBezTo>
                        <a:cubicBezTo>
                          <a:pt x="85939" y="6813"/>
                          <a:pt x="83701" y="17277"/>
                          <a:pt x="76201" y="18427"/>
                        </a:cubicBezTo>
                        <a:cubicBezTo>
                          <a:pt x="72753" y="18971"/>
                          <a:pt x="64104" y="19576"/>
                          <a:pt x="59205" y="19939"/>
                        </a:cubicBezTo>
                        <a:cubicBezTo>
                          <a:pt x="50616" y="20604"/>
                          <a:pt x="26845" y="26169"/>
                          <a:pt x="20312" y="29254"/>
                        </a:cubicBezTo>
                        <a:cubicBezTo>
                          <a:pt x="7489" y="35302"/>
                          <a:pt x="2711" y="41714"/>
                          <a:pt x="533" y="40746"/>
                        </a:cubicBezTo>
                        <a:cubicBezTo>
                          <a:pt x="-1644" y="39778"/>
                          <a:pt x="2711" y="31854"/>
                          <a:pt x="16139" y="1951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39" name="Freihandform: Form 838">
                    <a:extLst>
                      <a:ext uri="{FF2B5EF4-FFF2-40B4-BE49-F238E27FC236}">
                        <a16:creationId xmlns:a16="http://schemas.microsoft.com/office/drawing/2014/main" id="{941A9CA6-8254-6333-3BE7-B88FD9D49FAA}"/>
                      </a:ext>
                    </a:extLst>
                  </p:cNvPr>
                  <p:cNvSpPr/>
                  <p:nvPr/>
                </p:nvSpPr>
                <p:spPr>
                  <a:xfrm>
                    <a:off x="806812" y="1909914"/>
                    <a:ext cx="51859" cy="18055"/>
                  </a:xfrm>
                  <a:custGeom>
                    <a:avLst/>
                    <a:gdLst>
                      <a:gd name="connsiteX0" fmla="*/ 312 w 51859"/>
                      <a:gd name="connsiteY0" fmla="*/ 14496 h 18055"/>
                      <a:gd name="connsiteX1" fmla="*/ 38176 w 51859"/>
                      <a:gd name="connsiteY1" fmla="*/ 40 h 18055"/>
                      <a:gd name="connsiteX2" fmla="*/ 45192 w 51859"/>
                      <a:gd name="connsiteY2" fmla="*/ 10625 h 18055"/>
                      <a:gd name="connsiteX3" fmla="*/ 8840 w 51859"/>
                      <a:gd name="connsiteY3" fmla="*/ 17520 h 18055"/>
                      <a:gd name="connsiteX4" fmla="*/ 312 w 51859"/>
                      <a:gd name="connsiteY4" fmla="*/ 14496 h 180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859" h="18055">
                        <a:moveTo>
                          <a:pt x="312" y="14496"/>
                        </a:moveTo>
                        <a:cubicBezTo>
                          <a:pt x="1824" y="12258"/>
                          <a:pt x="20454" y="887"/>
                          <a:pt x="38176" y="40"/>
                        </a:cubicBezTo>
                        <a:cubicBezTo>
                          <a:pt x="52935" y="-686"/>
                          <a:pt x="56503" y="8689"/>
                          <a:pt x="45192" y="10625"/>
                        </a:cubicBezTo>
                        <a:cubicBezTo>
                          <a:pt x="31281" y="12984"/>
                          <a:pt x="14707" y="15887"/>
                          <a:pt x="8840" y="17520"/>
                        </a:cubicBezTo>
                        <a:cubicBezTo>
                          <a:pt x="2973" y="19154"/>
                          <a:pt x="-1200" y="16734"/>
                          <a:pt x="312" y="1449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40" name="Freihandform: Form 839">
                    <a:extLst>
                      <a:ext uri="{FF2B5EF4-FFF2-40B4-BE49-F238E27FC236}">
                        <a16:creationId xmlns:a16="http://schemas.microsoft.com/office/drawing/2014/main" id="{0BC81FBC-8B5A-C9D2-673A-8F696C6E3720}"/>
                      </a:ext>
                    </a:extLst>
                  </p:cNvPr>
                  <p:cNvSpPr/>
                  <p:nvPr/>
                </p:nvSpPr>
                <p:spPr>
                  <a:xfrm>
                    <a:off x="701939" y="1951595"/>
                    <a:ext cx="223765" cy="214238"/>
                  </a:xfrm>
                  <a:custGeom>
                    <a:avLst/>
                    <a:gdLst>
                      <a:gd name="connsiteX0" fmla="*/ 15303 w 223765"/>
                      <a:gd name="connsiteY0" fmla="*/ 20962 h 214238"/>
                      <a:gd name="connsiteX1" fmla="*/ 0 w 223765"/>
                      <a:gd name="connsiteY1" fmla="*/ 121490 h 214238"/>
                      <a:gd name="connsiteX2" fmla="*/ 62784 w 223765"/>
                      <a:gd name="connsiteY2" fmla="*/ 211432 h 214238"/>
                      <a:gd name="connsiteX3" fmla="*/ 191378 w 223765"/>
                      <a:gd name="connsiteY3" fmla="*/ 203690 h 214238"/>
                      <a:gd name="connsiteX4" fmla="*/ 211459 w 223765"/>
                      <a:gd name="connsiteY4" fmla="*/ 3300 h 214238"/>
                      <a:gd name="connsiteX5" fmla="*/ 15242 w 223765"/>
                      <a:gd name="connsiteY5" fmla="*/ 20962 h 2142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23765" h="214238">
                        <a:moveTo>
                          <a:pt x="15303" y="20962"/>
                        </a:moveTo>
                        <a:lnTo>
                          <a:pt x="0" y="121490"/>
                        </a:lnTo>
                        <a:cubicBezTo>
                          <a:pt x="0" y="121490"/>
                          <a:pt x="9617" y="172358"/>
                          <a:pt x="62784" y="211432"/>
                        </a:cubicBezTo>
                        <a:cubicBezTo>
                          <a:pt x="117403" y="220808"/>
                          <a:pt x="191378" y="203690"/>
                          <a:pt x="191378" y="203690"/>
                        </a:cubicBezTo>
                        <a:cubicBezTo>
                          <a:pt x="191378" y="203690"/>
                          <a:pt x="248053" y="74492"/>
                          <a:pt x="211459" y="3300"/>
                        </a:cubicBezTo>
                        <a:cubicBezTo>
                          <a:pt x="205713" y="-9946"/>
                          <a:pt x="15242" y="20962"/>
                          <a:pt x="15242" y="20962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41" name="Freihandform: Form 840">
                    <a:extLst>
                      <a:ext uri="{FF2B5EF4-FFF2-40B4-BE49-F238E27FC236}">
                        <a16:creationId xmlns:a16="http://schemas.microsoft.com/office/drawing/2014/main" id="{C53FDEAF-4389-38B3-38B0-BB80C02C30B6}"/>
                      </a:ext>
                    </a:extLst>
                  </p:cNvPr>
                  <p:cNvSpPr/>
                  <p:nvPr/>
                </p:nvSpPr>
                <p:spPr>
                  <a:xfrm>
                    <a:off x="601944" y="1942055"/>
                    <a:ext cx="146387" cy="143187"/>
                  </a:xfrm>
                  <a:custGeom>
                    <a:avLst/>
                    <a:gdLst>
                      <a:gd name="connsiteX0" fmla="*/ 108282 w 146387"/>
                      <a:gd name="connsiteY0" fmla="*/ 143127 h 143187"/>
                      <a:gd name="connsiteX1" fmla="*/ 28259 w 146387"/>
                      <a:gd name="connsiteY1" fmla="*/ 110586 h 143187"/>
                      <a:gd name="connsiteX2" fmla="*/ 133 w 146387"/>
                      <a:gd name="connsiteY2" fmla="*/ 68185 h 143187"/>
                      <a:gd name="connsiteX3" fmla="*/ 30134 w 146387"/>
                      <a:gd name="connsiteY3" fmla="*/ 8304 h 143187"/>
                      <a:gd name="connsiteX4" fmla="*/ 120500 w 146387"/>
                      <a:gd name="connsiteY4" fmla="*/ 31893 h 143187"/>
                      <a:gd name="connsiteX5" fmla="*/ 146388 w 146387"/>
                      <a:gd name="connsiteY5" fmla="*/ 49555 h 143187"/>
                      <a:gd name="connsiteX6" fmla="*/ 108282 w 146387"/>
                      <a:gd name="connsiteY6" fmla="*/ 143188 h 143187"/>
                      <a:gd name="connsiteX7" fmla="*/ 55417 w 146387"/>
                      <a:gd name="connsiteY7" fmla="*/ 12961 h 143187"/>
                      <a:gd name="connsiteX8" fmla="*/ 38118 w 146387"/>
                      <a:gd name="connsiteY8" fmla="*/ 18587 h 143187"/>
                      <a:gd name="connsiteX9" fmla="*/ 13137 w 146387"/>
                      <a:gd name="connsiteY9" fmla="*/ 67278 h 143187"/>
                      <a:gd name="connsiteX10" fmla="*/ 34731 w 146387"/>
                      <a:gd name="connsiteY10" fmla="*/ 99275 h 143187"/>
                      <a:gd name="connsiteX11" fmla="*/ 101084 w 146387"/>
                      <a:gd name="connsiteY11" fmla="*/ 128066 h 143187"/>
                      <a:gd name="connsiteX12" fmla="*/ 130057 w 146387"/>
                      <a:gd name="connsiteY12" fmla="*/ 53971 h 143187"/>
                      <a:gd name="connsiteX13" fmla="*/ 112092 w 146387"/>
                      <a:gd name="connsiteY13" fmla="*/ 41632 h 143187"/>
                      <a:gd name="connsiteX14" fmla="*/ 55477 w 146387"/>
                      <a:gd name="connsiteY14" fmla="*/ 12901 h 1431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146387" h="143187">
                        <a:moveTo>
                          <a:pt x="108282" y="143127"/>
                        </a:moveTo>
                        <a:cubicBezTo>
                          <a:pt x="108282" y="143127"/>
                          <a:pt x="66546" y="132300"/>
                          <a:pt x="28259" y="110586"/>
                        </a:cubicBezTo>
                        <a:cubicBezTo>
                          <a:pt x="11383" y="100968"/>
                          <a:pt x="1403" y="85907"/>
                          <a:pt x="133" y="68185"/>
                        </a:cubicBezTo>
                        <a:cubicBezTo>
                          <a:pt x="-1379" y="46652"/>
                          <a:pt x="10113" y="23667"/>
                          <a:pt x="30134" y="8304"/>
                        </a:cubicBezTo>
                        <a:cubicBezTo>
                          <a:pt x="64671" y="-18249"/>
                          <a:pt x="115056" y="26934"/>
                          <a:pt x="120500" y="31893"/>
                        </a:cubicBezTo>
                        <a:lnTo>
                          <a:pt x="146388" y="49555"/>
                        </a:lnTo>
                        <a:lnTo>
                          <a:pt x="108282" y="143188"/>
                        </a:lnTo>
                        <a:close/>
                        <a:moveTo>
                          <a:pt x="55417" y="12961"/>
                        </a:moveTo>
                        <a:cubicBezTo>
                          <a:pt x="49247" y="12961"/>
                          <a:pt x="43320" y="14594"/>
                          <a:pt x="38118" y="18587"/>
                        </a:cubicBezTo>
                        <a:cubicBezTo>
                          <a:pt x="21484" y="31349"/>
                          <a:pt x="11928" y="50039"/>
                          <a:pt x="13137" y="67278"/>
                        </a:cubicBezTo>
                        <a:cubicBezTo>
                          <a:pt x="14045" y="80766"/>
                          <a:pt x="21545" y="91835"/>
                          <a:pt x="34731" y="99275"/>
                        </a:cubicBezTo>
                        <a:cubicBezTo>
                          <a:pt x="62494" y="115062"/>
                          <a:pt x="91043" y="125284"/>
                          <a:pt x="101084" y="128066"/>
                        </a:cubicBezTo>
                        <a:lnTo>
                          <a:pt x="130057" y="53971"/>
                        </a:lnTo>
                        <a:lnTo>
                          <a:pt x="112092" y="41632"/>
                        </a:lnTo>
                        <a:cubicBezTo>
                          <a:pt x="111729" y="41269"/>
                          <a:pt x="81365" y="12901"/>
                          <a:pt x="55477" y="12901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42" name="Freihandform: Form 841">
                    <a:extLst>
                      <a:ext uri="{FF2B5EF4-FFF2-40B4-BE49-F238E27FC236}">
                        <a16:creationId xmlns:a16="http://schemas.microsoft.com/office/drawing/2014/main" id="{B51EB3BE-F860-77E0-79AE-3091F1CBF688}"/>
                      </a:ext>
                    </a:extLst>
                  </p:cNvPr>
                  <p:cNvSpPr/>
                  <p:nvPr/>
                </p:nvSpPr>
                <p:spPr>
                  <a:xfrm>
                    <a:off x="443945" y="1659724"/>
                    <a:ext cx="397535" cy="386565"/>
                  </a:xfrm>
                  <a:custGeom>
                    <a:avLst/>
                    <a:gdLst>
                      <a:gd name="connsiteX0" fmla="*/ 105690 w 397535"/>
                      <a:gd name="connsiteY0" fmla="*/ 386566 h 386565"/>
                      <a:gd name="connsiteX1" fmla="*/ 397535 w 397535"/>
                      <a:gd name="connsiteY1" fmla="*/ 158352 h 386565"/>
                      <a:gd name="connsiteX2" fmla="*/ 206279 w 397535"/>
                      <a:gd name="connsiteY2" fmla="*/ 0 h 386565"/>
                      <a:gd name="connsiteX3" fmla="*/ 263 w 397535"/>
                      <a:gd name="connsiteY3" fmla="*/ 246057 h 386565"/>
                      <a:gd name="connsiteX4" fmla="*/ 105690 w 397535"/>
                      <a:gd name="connsiteY4" fmla="*/ 386505 h 3865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7535" h="386565">
                        <a:moveTo>
                          <a:pt x="105690" y="386566"/>
                        </a:moveTo>
                        <a:cubicBezTo>
                          <a:pt x="207972" y="341504"/>
                          <a:pt x="277894" y="163917"/>
                          <a:pt x="397535" y="158352"/>
                        </a:cubicBezTo>
                        <a:cubicBezTo>
                          <a:pt x="393785" y="80688"/>
                          <a:pt x="324650" y="0"/>
                          <a:pt x="206279" y="0"/>
                        </a:cubicBezTo>
                        <a:cubicBezTo>
                          <a:pt x="155107" y="0"/>
                          <a:pt x="-7418" y="149945"/>
                          <a:pt x="263" y="246057"/>
                        </a:cubicBezTo>
                        <a:cubicBezTo>
                          <a:pt x="4195" y="295172"/>
                          <a:pt x="66495" y="357774"/>
                          <a:pt x="105690" y="386505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43" name="Freihandform: Form 842">
                    <a:extLst>
                      <a:ext uri="{FF2B5EF4-FFF2-40B4-BE49-F238E27FC236}">
                        <a16:creationId xmlns:a16="http://schemas.microsoft.com/office/drawing/2014/main" id="{BEC8B2FA-964D-CE78-60EB-5419DF107A02}"/>
                      </a:ext>
                    </a:extLst>
                  </p:cNvPr>
                  <p:cNvSpPr/>
                  <p:nvPr/>
                </p:nvSpPr>
                <p:spPr>
                  <a:xfrm>
                    <a:off x="618710" y="1863562"/>
                    <a:ext cx="284700" cy="113350"/>
                  </a:xfrm>
                  <a:custGeom>
                    <a:avLst/>
                    <a:gdLst>
                      <a:gd name="connsiteX0" fmla="*/ 115589 w 284700"/>
                      <a:gd name="connsiteY0" fmla="*/ 113351 h 113350"/>
                      <a:gd name="connsiteX1" fmla="*/ 106032 w 284700"/>
                      <a:gd name="connsiteY1" fmla="*/ 59579 h 113350"/>
                      <a:gd name="connsiteX2" fmla="*/ 4415 w 284700"/>
                      <a:gd name="connsiteY2" fmla="*/ 86737 h 113350"/>
                      <a:gd name="connsiteX3" fmla="*/ 0 w 284700"/>
                      <a:gd name="connsiteY3" fmla="*/ 70224 h 113350"/>
                      <a:gd name="connsiteX4" fmla="*/ 262993 w 284700"/>
                      <a:gd name="connsiteY4" fmla="*/ 0 h 113350"/>
                      <a:gd name="connsiteX5" fmla="*/ 266320 w 284700"/>
                      <a:gd name="connsiteY5" fmla="*/ 5444 h 113350"/>
                      <a:gd name="connsiteX6" fmla="*/ 279748 w 284700"/>
                      <a:gd name="connsiteY6" fmla="*/ 97685 h 113350"/>
                      <a:gd name="connsiteX7" fmla="*/ 278114 w 284700"/>
                      <a:gd name="connsiteY7" fmla="*/ 103491 h 113350"/>
                      <a:gd name="connsiteX8" fmla="*/ 115649 w 284700"/>
                      <a:gd name="connsiteY8" fmla="*/ 113290 h 113350"/>
                      <a:gd name="connsiteX9" fmla="*/ 122545 w 284700"/>
                      <a:gd name="connsiteY9" fmla="*/ 55163 h 113350"/>
                      <a:gd name="connsiteX10" fmla="*/ 129742 w 284700"/>
                      <a:gd name="connsiteY10" fmla="*/ 95386 h 113350"/>
                      <a:gd name="connsiteX11" fmla="*/ 264808 w 284700"/>
                      <a:gd name="connsiteY11" fmla="*/ 87221 h 113350"/>
                      <a:gd name="connsiteX12" fmla="*/ 254888 w 284700"/>
                      <a:gd name="connsiteY12" fmla="*/ 19839 h 113350"/>
                      <a:gd name="connsiteX13" fmla="*/ 122545 w 284700"/>
                      <a:gd name="connsiteY13" fmla="*/ 55163 h 113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284700" h="113350">
                        <a:moveTo>
                          <a:pt x="115589" y="113351"/>
                        </a:moveTo>
                        <a:lnTo>
                          <a:pt x="106032" y="59579"/>
                        </a:lnTo>
                        <a:lnTo>
                          <a:pt x="4415" y="86737"/>
                        </a:lnTo>
                        <a:lnTo>
                          <a:pt x="0" y="70224"/>
                        </a:lnTo>
                        <a:lnTo>
                          <a:pt x="262993" y="0"/>
                        </a:lnTo>
                        <a:lnTo>
                          <a:pt x="266320" y="5444"/>
                        </a:lnTo>
                        <a:cubicBezTo>
                          <a:pt x="285252" y="36655"/>
                          <a:pt x="289244" y="64236"/>
                          <a:pt x="279748" y="97685"/>
                        </a:cubicBezTo>
                        <a:lnTo>
                          <a:pt x="278114" y="103491"/>
                        </a:lnTo>
                        <a:lnTo>
                          <a:pt x="115649" y="113290"/>
                        </a:lnTo>
                        <a:close/>
                        <a:moveTo>
                          <a:pt x="122545" y="55163"/>
                        </a:moveTo>
                        <a:lnTo>
                          <a:pt x="129742" y="95386"/>
                        </a:lnTo>
                        <a:lnTo>
                          <a:pt x="264808" y="87221"/>
                        </a:lnTo>
                        <a:cubicBezTo>
                          <a:pt x="270614" y="62724"/>
                          <a:pt x="267711" y="43006"/>
                          <a:pt x="254888" y="19839"/>
                        </a:cubicBezTo>
                        <a:lnTo>
                          <a:pt x="122545" y="55163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44" name="Freihandform: Form 843">
                    <a:extLst>
                      <a:ext uri="{FF2B5EF4-FFF2-40B4-BE49-F238E27FC236}">
                        <a16:creationId xmlns:a16="http://schemas.microsoft.com/office/drawing/2014/main" id="{E8047886-91E9-B69A-8910-6FA787FC1892}"/>
                      </a:ext>
                    </a:extLst>
                  </p:cNvPr>
                  <p:cNvSpPr/>
                  <p:nvPr/>
                </p:nvSpPr>
                <p:spPr>
                  <a:xfrm rot="-1304998">
                    <a:off x="588752" y="1930189"/>
                    <a:ext cx="87099" cy="135004"/>
                  </a:xfrm>
                  <a:custGeom>
                    <a:avLst/>
                    <a:gdLst>
                      <a:gd name="connsiteX0" fmla="*/ 87100 w 87099"/>
                      <a:gd name="connsiteY0" fmla="*/ 67502 h 135004"/>
                      <a:gd name="connsiteX1" fmla="*/ 43550 w 87099"/>
                      <a:gd name="connsiteY1" fmla="*/ 135005 h 135004"/>
                      <a:gd name="connsiteX2" fmla="*/ 0 w 87099"/>
                      <a:gd name="connsiteY2" fmla="*/ 67502 h 135004"/>
                      <a:gd name="connsiteX3" fmla="*/ 43550 w 87099"/>
                      <a:gd name="connsiteY3" fmla="*/ 0 h 135004"/>
                      <a:gd name="connsiteX4" fmla="*/ 87100 w 87099"/>
                      <a:gd name="connsiteY4" fmla="*/ 67502 h 1350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7099" h="135004">
                        <a:moveTo>
                          <a:pt x="87100" y="67502"/>
                        </a:moveTo>
                        <a:cubicBezTo>
                          <a:pt x="87100" y="104783"/>
                          <a:pt x="67602" y="135005"/>
                          <a:pt x="43550" y="135005"/>
                        </a:cubicBezTo>
                        <a:cubicBezTo>
                          <a:pt x="19498" y="135005"/>
                          <a:pt x="0" y="104783"/>
                          <a:pt x="0" y="67502"/>
                        </a:cubicBezTo>
                        <a:cubicBezTo>
                          <a:pt x="0" y="30222"/>
                          <a:pt x="19498" y="0"/>
                          <a:pt x="43550" y="0"/>
                        </a:cubicBezTo>
                        <a:cubicBezTo>
                          <a:pt x="67602" y="0"/>
                          <a:pt x="87100" y="30222"/>
                          <a:pt x="87100" y="67502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801" name="Grafik 297">
                  <a:extLst>
                    <a:ext uri="{FF2B5EF4-FFF2-40B4-BE49-F238E27FC236}">
                      <a16:creationId xmlns:a16="http://schemas.microsoft.com/office/drawing/2014/main" id="{41470716-E5B4-5A58-14C4-62D919A08B14}"/>
                    </a:ext>
                  </a:extLst>
                </p:cNvPr>
                <p:cNvGrpSpPr/>
                <p:nvPr/>
              </p:nvGrpSpPr>
              <p:grpSpPr>
                <a:xfrm>
                  <a:off x="372895" y="2175735"/>
                  <a:ext cx="581693" cy="1213887"/>
                  <a:chOff x="372895" y="2175735"/>
                  <a:chExt cx="581693" cy="1213887"/>
                </a:xfrm>
              </p:grpSpPr>
              <p:sp>
                <p:nvSpPr>
                  <p:cNvPr id="833" name="Freihandform: Form 832">
                    <a:extLst>
                      <a:ext uri="{FF2B5EF4-FFF2-40B4-BE49-F238E27FC236}">
                        <a16:creationId xmlns:a16="http://schemas.microsoft.com/office/drawing/2014/main" id="{FF473268-81FC-60FA-BA90-9AE172513BFE}"/>
                      </a:ext>
                    </a:extLst>
                  </p:cNvPr>
                  <p:cNvSpPr/>
                  <p:nvPr/>
                </p:nvSpPr>
                <p:spPr>
                  <a:xfrm>
                    <a:off x="372895" y="2175735"/>
                    <a:ext cx="581693" cy="1213887"/>
                  </a:xfrm>
                  <a:custGeom>
                    <a:avLst/>
                    <a:gdLst>
                      <a:gd name="connsiteX0" fmla="*/ 0 w 581693"/>
                      <a:gd name="connsiteY0" fmla="*/ 1177656 h 1213887"/>
                      <a:gd name="connsiteX1" fmla="*/ 561189 w 581693"/>
                      <a:gd name="connsiteY1" fmla="*/ 1213888 h 1213887"/>
                      <a:gd name="connsiteX2" fmla="*/ 579637 w 581693"/>
                      <a:gd name="connsiteY2" fmla="*/ 480616 h 1213887"/>
                      <a:gd name="connsiteX3" fmla="*/ 434894 w 581693"/>
                      <a:gd name="connsiteY3" fmla="*/ 178610 h 1213887"/>
                      <a:gd name="connsiteX4" fmla="*/ 342230 w 581693"/>
                      <a:gd name="connsiteY4" fmla="*/ 70158 h 1213887"/>
                      <a:gd name="connsiteX5" fmla="*/ 125871 w 581693"/>
                      <a:gd name="connsiteY5" fmla="*/ 2535 h 1213887"/>
                      <a:gd name="connsiteX6" fmla="*/ 49296 w 581693"/>
                      <a:gd name="connsiteY6" fmla="*/ 803248 h 1213887"/>
                      <a:gd name="connsiteX7" fmla="*/ 0 w 581693"/>
                      <a:gd name="connsiteY7" fmla="*/ 1177596 h 12138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81693" h="1213887">
                        <a:moveTo>
                          <a:pt x="0" y="1177656"/>
                        </a:moveTo>
                        <a:lnTo>
                          <a:pt x="561189" y="1213888"/>
                        </a:lnTo>
                        <a:cubicBezTo>
                          <a:pt x="571229" y="1059769"/>
                          <a:pt x="587440" y="576063"/>
                          <a:pt x="579637" y="480616"/>
                        </a:cubicBezTo>
                        <a:cubicBezTo>
                          <a:pt x="567782" y="336055"/>
                          <a:pt x="434894" y="178610"/>
                          <a:pt x="434894" y="178610"/>
                        </a:cubicBezTo>
                        <a:cubicBezTo>
                          <a:pt x="434894" y="178610"/>
                          <a:pt x="368964" y="95502"/>
                          <a:pt x="342230" y="70158"/>
                        </a:cubicBezTo>
                        <a:cubicBezTo>
                          <a:pt x="338661" y="66771"/>
                          <a:pt x="237226" y="-15308"/>
                          <a:pt x="125871" y="2535"/>
                        </a:cubicBezTo>
                        <a:cubicBezTo>
                          <a:pt x="-63692" y="199477"/>
                          <a:pt x="37259" y="683668"/>
                          <a:pt x="49296" y="803248"/>
                        </a:cubicBezTo>
                        <a:cubicBezTo>
                          <a:pt x="60184" y="911397"/>
                          <a:pt x="8408" y="1132050"/>
                          <a:pt x="0" y="117759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34" name="Freihandform: Form 833">
                    <a:extLst>
                      <a:ext uri="{FF2B5EF4-FFF2-40B4-BE49-F238E27FC236}">
                        <a16:creationId xmlns:a16="http://schemas.microsoft.com/office/drawing/2014/main" id="{C6E9DCE8-EEBD-0526-2B59-C199F3736E16}"/>
                      </a:ext>
                    </a:extLst>
                  </p:cNvPr>
                  <p:cNvSpPr/>
                  <p:nvPr/>
                </p:nvSpPr>
                <p:spPr>
                  <a:xfrm>
                    <a:off x="431918" y="2368973"/>
                    <a:ext cx="299871" cy="833700"/>
                  </a:xfrm>
                  <a:custGeom>
                    <a:avLst/>
                    <a:gdLst>
                      <a:gd name="connsiteX0" fmla="*/ 214737 w 299871"/>
                      <a:gd name="connsiteY0" fmla="*/ 243586 h 833700"/>
                      <a:gd name="connsiteX1" fmla="*/ 69934 w 299871"/>
                      <a:gd name="connsiteY1" fmla="*/ 12953 h 833700"/>
                      <a:gd name="connsiteX2" fmla="*/ 11625 w 299871"/>
                      <a:gd name="connsiteY2" fmla="*/ 413612 h 833700"/>
                      <a:gd name="connsiteX3" fmla="*/ 173062 w 299871"/>
                      <a:gd name="connsiteY3" fmla="*/ 832175 h 833700"/>
                      <a:gd name="connsiteX4" fmla="*/ 214737 w 299871"/>
                      <a:gd name="connsiteY4" fmla="*/ 243586 h 8337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9871" h="833700">
                        <a:moveTo>
                          <a:pt x="214737" y="243586"/>
                        </a:moveTo>
                        <a:cubicBezTo>
                          <a:pt x="198890" y="90315"/>
                          <a:pt x="116205" y="-42815"/>
                          <a:pt x="69934" y="12953"/>
                        </a:cubicBezTo>
                        <a:cubicBezTo>
                          <a:pt x="-45111" y="208323"/>
                          <a:pt x="17976" y="260462"/>
                          <a:pt x="11625" y="413612"/>
                        </a:cubicBezTo>
                        <a:cubicBezTo>
                          <a:pt x="2915" y="624103"/>
                          <a:pt x="31404" y="854676"/>
                          <a:pt x="173062" y="832175"/>
                        </a:cubicBezTo>
                        <a:cubicBezTo>
                          <a:pt x="424200" y="792315"/>
                          <a:pt x="226895" y="361473"/>
                          <a:pt x="214737" y="243586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802" name="Grafik 297">
                  <a:extLst>
                    <a:ext uri="{FF2B5EF4-FFF2-40B4-BE49-F238E27FC236}">
                      <a16:creationId xmlns:a16="http://schemas.microsoft.com/office/drawing/2014/main" id="{661EDE01-7199-A9E1-D03B-C446778954F0}"/>
                    </a:ext>
                  </a:extLst>
                </p:cNvPr>
                <p:cNvGrpSpPr/>
                <p:nvPr/>
              </p:nvGrpSpPr>
              <p:grpSpPr>
                <a:xfrm>
                  <a:off x="1054754" y="3219161"/>
                  <a:ext cx="382210" cy="209656"/>
                  <a:chOff x="1054754" y="3219161"/>
                  <a:chExt cx="382210" cy="209656"/>
                </a:xfrm>
                <a:solidFill>
                  <a:srgbClr val="02787D"/>
                </a:solidFill>
              </p:grpSpPr>
              <p:sp>
                <p:nvSpPr>
                  <p:cNvPr id="811" name="Freihandform: Form 810">
                    <a:extLst>
                      <a:ext uri="{FF2B5EF4-FFF2-40B4-BE49-F238E27FC236}">
                        <a16:creationId xmlns:a16="http://schemas.microsoft.com/office/drawing/2014/main" id="{677207D9-CEF3-3D6A-00BB-5D72C7235C89}"/>
                      </a:ext>
                    </a:extLst>
                  </p:cNvPr>
                  <p:cNvSpPr/>
                  <p:nvPr/>
                </p:nvSpPr>
                <p:spPr>
                  <a:xfrm>
                    <a:off x="1054754" y="3240041"/>
                    <a:ext cx="118915" cy="118915"/>
                  </a:xfrm>
                  <a:custGeom>
                    <a:avLst/>
                    <a:gdLst>
                      <a:gd name="connsiteX0" fmla="*/ 118915 w 118915"/>
                      <a:gd name="connsiteY0" fmla="*/ 59458 h 118915"/>
                      <a:gd name="connsiteX1" fmla="*/ 59458 w 118915"/>
                      <a:gd name="connsiteY1" fmla="*/ 118915 h 118915"/>
                      <a:gd name="connsiteX2" fmla="*/ 0 w 118915"/>
                      <a:gd name="connsiteY2" fmla="*/ 59458 h 118915"/>
                      <a:gd name="connsiteX3" fmla="*/ 59458 w 118915"/>
                      <a:gd name="connsiteY3" fmla="*/ 0 h 118915"/>
                      <a:gd name="connsiteX4" fmla="*/ 118915 w 118915"/>
                      <a:gd name="connsiteY4" fmla="*/ 59458 h 118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8915" h="118915">
                        <a:moveTo>
                          <a:pt x="118915" y="59458"/>
                        </a:moveTo>
                        <a:cubicBezTo>
                          <a:pt x="118915" y="92295"/>
                          <a:pt x="92295" y="118915"/>
                          <a:pt x="59458" y="118915"/>
                        </a:cubicBezTo>
                        <a:cubicBezTo>
                          <a:pt x="26620" y="118915"/>
                          <a:pt x="0" y="92295"/>
                          <a:pt x="0" y="59458"/>
                        </a:cubicBezTo>
                        <a:cubicBezTo>
                          <a:pt x="0" y="26620"/>
                          <a:pt x="26620" y="0"/>
                          <a:pt x="59458" y="0"/>
                        </a:cubicBezTo>
                        <a:cubicBezTo>
                          <a:pt x="92295" y="0"/>
                          <a:pt x="118915" y="26620"/>
                          <a:pt x="118915" y="5945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812" name="Grafik 297">
                    <a:extLst>
                      <a:ext uri="{FF2B5EF4-FFF2-40B4-BE49-F238E27FC236}">
                        <a16:creationId xmlns:a16="http://schemas.microsoft.com/office/drawing/2014/main" id="{184F708C-E094-82FE-C3F9-332F38BDC25F}"/>
                      </a:ext>
                    </a:extLst>
                  </p:cNvPr>
                  <p:cNvGrpSpPr/>
                  <p:nvPr/>
                </p:nvGrpSpPr>
                <p:grpSpPr>
                  <a:xfrm>
                    <a:off x="1069820" y="3219161"/>
                    <a:ext cx="367143" cy="209656"/>
                    <a:chOff x="1069820" y="3219161"/>
                    <a:chExt cx="367143" cy="209656"/>
                  </a:xfrm>
                  <a:solidFill>
                    <a:srgbClr val="02787D"/>
                  </a:solidFill>
                </p:grpSpPr>
                <p:grpSp>
                  <p:nvGrpSpPr>
                    <p:cNvPr id="813" name="Grafik 297">
                      <a:extLst>
                        <a:ext uri="{FF2B5EF4-FFF2-40B4-BE49-F238E27FC236}">
                          <a16:creationId xmlns:a16="http://schemas.microsoft.com/office/drawing/2014/main" id="{00A53F82-1BFD-90FB-2CAB-3351154421B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64829" y="3326989"/>
                      <a:ext cx="172135" cy="51322"/>
                      <a:chOff x="1264829" y="3326989"/>
                      <a:chExt cx="172135" cy="51322"/>
                    </a:xfrm>
                    <a:solidFill>
                      <a:srgbClr val="02787D"/>
                    </a:solidFill>
                  </p:grpSpPr>
                  <p:sp>
                    <p:nvSpPr>
                      <p:cNvPr id="829" name="Freihandform: Form 828">
                        <a:extLst>
                          <a:ext uri="{FF2B5EF4-FFF2-40B4-BE49-F238E27FC236}">
                            <a16:creationId xmlns:a16="http://schemas.microsoft.com/office/drawing/2014/main" id="{6A140E36-EB3F-B65C-858A-AE7A311E7A2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64829" y="3326989"/>
                        <a:ext cx="79232" cy="51322"/>
                      </a:xfrm>
                      <a:custGeom>
                        <a:avLst/>
                        <a:gdLst>
                          <a:gd name="connsiteX0" fmla="*/ 63865 w 79232"/>
                          <a:gd name="connsiteY0" fmla="*/ 51323 h 51322"/>
                          <a:gd name="connsiteX1" fmla="*/ 79229 w 79232"/>
                          <a:gd name="connsiteY1" fmla="*/ 30999 h 51322"/>
                          <a:gd name="connsiteX2" fmla="*/ 65559 w 79232"/>
                          <a:gd name="connsiteY2" fmla="*/ 12551 h 51322"/>
                          <a:gd name="connsiteX3" fmla="*/ 23158 w 79232"/>
                          <a:gd name="connsiteY3" fmla="*/ 514 h 51322"/>
                          <a:gd name="connsiteX4" fmla="*/ 900 w 79232"/>
                          <a:gd name="connsiteY4" fmla="*/ 14668 h 51322"/>
                          <a:gd name="connsiteX5" fmla="*/ 16202 w 79232"/>
                          <a:gd name="connsiteY5" fmla="*/ 40133 h 51322"/>
                          <a:gd name="connsiteX6" fmla="*/ 63865 w 79232"/>
                          <a:gd name="connsiteY6" fmla="*/ 51323 h 5132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9232" h="51322">
                            <a:moveTo>
                              <a:pt x="63865" y="51323"/>
                            </a:moveTo>
                            <a:cubicBezTo>
                              <a:pt x="63865" y="51323"/>
                              <a:pt x="78987" y="46544"/>
                              <a:pt x="79229" y="30999"/>
                            </a:cubicBezTo>
                            <a:cubicBezTo>
                              <a:pt x="79471" y="15878"/>
                              <a:pt x="65559" y="12551"/>
                              <a:pt x="65559" y="12551"/>
                            </a:cubicBezTo>
                            <a:lnTo>
                              <a:pt x="23158" y="514"/>
                            </a:lnTo>
                            <a:cubicBezTo>
                              <a:pt x="11243" y="-1966"/>
                              <a:pt x="3440" y="4809"/>
                              <a:pt x="900" y="14668"/>
                            </a:cubicBezTo>
                            <a:cubicBezTo>
                              <a:pt x="-2064" y="24467"/>
                              <a:pt x="2109" y="36262"/>
                              <a:pt x="16202" y="40133"/>
                            </a:cubicBezTo>
                            <a:lnTo>
                              <a:pt x="63865" y="51323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30" name="Freihandform: Form 829">
                        <a:extLst>
                          <a:ext uri="{FF2B5EF4-FFF2-40B4-BE49-F238E27FC236}">
                            <a16:creationId xmlns:a16="http://schemas.microsoft.com/office/drawing/2014/main" id="{0FC4C8EC-6226-BB74-643F-E803569AE63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6113" y="3336851"/>
                        <a:ext cx="66300" cy="41461"/>
                      </a:xfrm>
                      <a:custGeom>
                        <a:avLst/>
                        <a:gdLst>
                          <a:gd name="connsiteX0" fmla="*/ 57099 w 66300"/>
                          <a:gd name="connsiteY0" fmla="*/ 34384 h 41461"/>
                          <a:gd name="connsiteX1" fmla="*/ 65325 w 66300"/>
                          <a:gd name="connsiteY1" fmla="*/ 14424 h 41461"/>
                          <a:gd name="connsiteX2" fmla="*/ 51534 w 66300"/>
                          <a:gd name="connsiteY2" fmla="*/ 89 h 41461"/>
                          <a:gd name="connsiteX3" fmla="*/ 14275 w 66300"/>
                          <a:gd name="connsiteY3" fmla="*/ 2629 h 41461"/>
                          <a:gd name="connsiteX4" fmla="*/ 0 w 66300"/>
                          <a:gd name="connsiteY4" fmla="*/ 21319 h 41461"/>
                          <a:gd name="connsiteX5" fmla="*/ 12581 w 66300"/>
                          <a:gd name="connsiteY5" fmla="*/ 41461 h 41461"/>
                          <a:gd name="connsiteX6" fmla="*/ 57099 w 66300"/>
                          <a:gd name="connsiteY6" fmla="*/ 34384 h 4146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6300" h="41461">
                            <a:moveTo>
                              <a:pt x="57099" y="34384"/>
                            </a:moveTo>
                            <a:cubicBezTo>
                              <a:pt x="57099" y="34384"/>
                              <a:pt x="69861" y="28880"/>
                              <a:pt x="65325" y="14424"/>
                            </a:cubicBezTo>
                            <a:cubicBezTo>
                              <a:pt x="60184" y="-2028"/>
                              <a:pt x="51534" y="89"/>
                              <a:pt x="51534" y="89"/>
                            </a:cubicBezTo>
                            <a:lnTo>
                              <a:pt x="14275" y="2629"/>
                            </a:lnTo>
                            <a:cubicBezTo>
                              <a:pt x="5202" y="2629"/>
                              <a:pt x="61" y="13759"/>
                              <a:pt x="0" y="21319"/>
                            </a:cubicBezTo>
                            <a:cubicBezTo>
                              <a:pt x="423" y="33054"/>
                              <a:pt x="2057" y="38074"/>
                              <a:pt x="12581" y="41461"/>
                            </a:cubicBezTo>
                            <a:lnTo>
                              <a:pt x="57099" y="34384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31" name="Freihandform: Form 830">
                        <a:extLst>
                          <a:ext uri="{FF2B5EF4-FFF2-40B4-BE49-F238E27FC236}">
                            <a16:creationId xmlns:a16="http://schemas.microsoft.com/office/drawing/2014/main" id="{366B8A69-6EBC-DA45-8257-1DE32B6217F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780" y="3327234"/>
                        <a:ext cx="82184" cy="44013"/>
                      </a:xfrm>
                      <a:custGeom>
                        <a:avLst/>
                        <a:gdLst>
                          <a:gd name="connsiteX0" fmla="*/ 56720 w 82184"/>
                          <a:gd name="connsiteY0" fmla="*/ 27489 h 44013"/>
                          <a:gd name="connsiteX1" fmla="*/ 82185 w 82184"/>
                          <a:gd name="connsiteY1" fmla="*/ 16238 h 44013"/>
                          <a:gd name="connsiteX2" fmla="*/ 42082 w 82184"/>
                          <a:gd name="connsiteY2" fmla="*/ 1117 h 44013"/>
                          <a:gd name="connsiteX3" fmla="*/ 12868 w 82184"/>
                          <a:gd name="connsiteY3" fmla="*/ 9706 h 44013"/>
                          <a:gd name="connsiteX4" fmla="*/ 165 w 82184"/>
                          <a:gd name="connsiteY4" fmla="*/ 29484 h 44013"/>
                          <a:gd name="connsiteX5" fmla="*/ 18432 w 82184"/>
                          <a:gd name="connsiteY5" fmla="*/ 44001 h 44013"/>
                          <a:gd name="connsiteX6" fmla="*/ 56720 w 82184"/>
                          <a:gd name="connsiteY6" fmla="*/ 27489 h 440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82184" h="44013">
                            <a:moveTo>
                              <a:pt x="56720" y="27489"/>
                            </a:moveTo>
                            <a:lnTo>
                              <a:pt x="82185" y="16238"/>
                            </a:lnTo>
                            <a:cubicBezTo>
                              <a:pt x="75833" y="-517"/>
                              <a:pt x="55510" y="-1545"/>
                              <a:pt x="42082" y="1117"/>
                            </a:cubicBezTo>
                            <a:cubicBezTo>
                              <a:pt x="28654" y="3778"/>
                              <a:pt x="12868" y="9706"/>
                              <a:pt x="12868" y="9706"/>
                            </a:cubicBezTo>
                            <a:cubicBezTo>
                              <a:pt x="3916" y="11460"/>
                              <a:pt x="-984" y="19988"/>
                              <a:pt x="165" y="29484"/>
                            </a:cubicBezTo>
                            <a:cubicBezTo>
                              <a:pt x="1315" y="38981"/>
                              <a:pt x="9299" y="44304"/>
                              <a:pt x="18432" y="44001"/>
                            </a:cubicBezTo>
                            <a:lnTo>
                              <a:pt x="56720" y="27489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32" name="Freihandform: Form 831">
                        <a:extLst>
                          <a:ext uri="{FF2B5EF4-FFF2-40B4-BE49-F238E27FC236}">
                            <a16:creationId xmlns:a16="http://schemas.microsoft.com/office/drawing/2014/main" id="{4E375F78-3CC4-8F21-4290-7955D8CAB76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85508" y="3327201"/>
                        <a:ext cx="103672" cy="28807"/>
                      </a:xfrm>
                      <a:custGeom>
                        <a:avLst/>
                        <a:gdLst>
                          <a:gd name="connsiteX0" fmla="*/ 103673 w 103672"/>
                          <a:gd name="connsiteY0" fmla="*/ 2964 h 28807"/>
                          <a:gd name="connsiteX1" fmla="*/ 82140 w 103672"/>
                          <a:gd name="connsiteY1" fmla="*/ 9799 h 28807"/>
                          <a:gd name="connsiteX2" fmla="*/ 44881 w 103672"/>
                          <a:gd name="connsiteY2" fmla="*/ 12339 h 28807"/>
                          <a:gd name="connsiteX3" fmla="*/ 2480 w 103672"/>
                          <a:gd name="connsiteY3" fmla="*/ 302 h 28807"/>
                          <a:gd name="connsiteX4" fmla="*/ 0 w 103672"/>
                          <a:gd name="connsiteY4" fmla="*/ 0 h 28807"/>
                          <a:gd name="connsiteX5" fmla="*/ 16573 w 103672"/>
                          <a:gd name="connsiteY5" fmla="*/ 22864 h 28807"/>
                          <a:gd name="connsiteX6" fmla="*/ 63510 w 103672"/>
                          <a:gd name="connsiteY6" fmla="*/ 26916 h 28807"/>
                          <a:gd name="connsiteX7" fmla="*/ 103673 w 103672"/>
                          <a:gd name="connsiteY7" fmla="*/ 3024 h 28807"/>
                          <a:gd name="connsiteX8" fmla="*/ 103673 w 103672"/>
                          <a:gd name="connsiteY8" fmla="*/ 3024 h 2880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03672" h="28807">
                            <a:moveTo>
                              <a:pt x="103673" y="2964"/>
                            </a:moveTo>
                            <a:cubicBezTo>
                              <a:pt x="92544" y="5867"/>
                              <a:pt x="82140" y="9799"/>
                              <a:pt x="82140" y="9799"/>
                            </a:cubicBezTo>
                            <a:lnTo>
                              <a:pt x="44881" y="12339"/>
                            </a:lnTo>
                            <a:lnTo>
                              <a:pt x="2480" y="302"/>
                            </a:lnTo>
                            <a:cubicBezTo>
                              <a:pt x="1633" y="121"/>
                              <a:pt x="847" y="121"/>
                              <a:pt x="0" y="0"/>
                            </a:cubicBezTo>
                            <a:cubicBezTo>
                              <a:pt x="0" y="0"/>
                              <a:pt x="7803" y="19718"/>
                              <a:pt x="16573" y="22864"/>
                            </a:cubicBezTo>
                            <a:cubicBezTo>
                              <a:pt x="25404" y="26009"/>
                              <a:pt x="32844" y="31815"/>
                              <a:pt x="63510" y="26916"/>
                            </a:cubicBezTo>
                            <a:cubicBezTo>
                              <a:pt x="84196" y="23589"/>
                              <a:pt x="103673" y="3024"/>
                              <a:pt x="103673" y="3024"/>
                            </a:cubicBezTo>
                            <a:lnTo>
                              <a:pt x="103673" y="3024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814" name="Grafik 297">
                      <a:extLst>
                        <a:ext uri="{FF2B5EF4-FFF2-40B4-BE49-F238E27FC236}">
                          <a16:creationId xmlns:a16="http://schemas.microsoft.com/office/drawing/2014/main" id="{D2241914-2E36-D174-BA95-EBD14449D8B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50636" y="3354113"/>
                      <a:ext cx="167214" cy="58191"/>
                      <a:chOff x="1250636" y="3354113"/>
                      <a:chExt cx="167214" cy="58191"/>
                    </a:xfrm>
                    <a:solidFill>
                      <a:srgbClr val="02787D"/>
                    </a:solidFill>
                  </p:grpSpPr>
                  <p:sp>
                    <p:nvSpPr>
                      <p:cNvPr id="826" name="Freihandform: Form 825">
                        <a:extLst>
                          <a:ext uri="{FF2B5EF4-FFF2-40B4-BE49-F238E27FC236}">
                            <a16:creationId xmlns:a16="http://schemas.microsoft.com/office/drawing/2014/main" id="{F168D9BA-361A-6424-CB59-A66030A6A3A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50636" y="3363067"/>
                        <a:ext cx="81268" cy="49237"/>
                      </a:xfrm>
                      <a:custGeom>
                        <a:avLst/>
                        <a:gdLst>
                          <a:gd name="connsiteX0" fmla="*/ 69530 w 81268"/>
                          <a:gd name="connsiteY0" fmla="*/ 49177 h 49237"/>
                          <a:gd name="connsiteX1" fmla="*/ 81022 w 81268"/>
                          <a:gd name="connsiteY1" fmla="*/ 30426 h 49237"/>
                          <a:gd name="connsiteX2" fmla="*/ 64993 w 81268"/>
                          <a:gd name="connsiteY2" fmla="*/ 11131 h 49237"/>
                          <a:gd name="connsiteX3" fmla="*/ 23803 w 81268"/>
                          <a:gd name="connsiteY3" fmla="*/ 304 h 49237"/>
                          <a:gd name="connsiteX4" fmla="*/ 757 w 81268"/>
                          <a:gd name="connsiteY4" fmla="*/ 14216 h 49237"/>
                          <a:gd name="connsiteX5" fmla="*/ 17089 w 81268"/>
                          <a:gd name="connsiteY5" fmla="*/ 39076 h 49237"/>
                          <a:gd name="connsiteX6" fmla="*/ 69590 w 81268"/>
                          <a:gd name="connsiteY6" fmla="*/ 49237 h 492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81268" h="49237">
                            <a:moveTo>
                              <a:pt x="69530" y="49177"/>
                            </a:moveTo>
                            <a:cubicBezTo>
                              <a:pt x="69530" y="49177"/>
                              <a:pt x="83260" y="45003"/>
                              <a:pt x="81022" y="30426"/>
                            </a:cubicBezTo>
                            <a:cubicBezTo>
                              <a:pt x="78361" y="12885"/>
                              <a:pt x="64993" y="11131"/>
                              <a:pt x="64993" y="11131"/>
                            </a:cubicBezTo>
                            <a:lnTo>
                              <a:pt x="23803" y="304"/>
                            </a:lnTo>
                            <a:cubicBezTo>
                              <a:pt x="11826" y="-1450"/>
                              <a:pt x="3177" y="4538"/>
                              <a:pt x="757" y="14216"/>
                            </a:cubicBezTo>
                            <a:cubicBezTo>
                              <a:pt x="-2146" y="23773"/>
                              <a:pt x="3298" y="35265"/>
                              <a:pt x="17089" y="39076"/>
                            </a:cubicBezTo>
                            <a:lnTo>
                              <a:pt x="69590" y="4923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27" name="Freihandform: Form 826">
                        <a:extLst>
                          <a:ext uri="{FF2B5EF4-FFF2-40B4-BE49-F238E27FC236}">
                            <a16:creationId xmlns:a16="http://schemas.microsoft.com/office/drawing/2014/main" id="{1C3C31E7-B695-1F84-4619-1C3356F3D08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3585" y="3362437"/>
                        <a:ext cx="66097" cy="49807"/>
                      </a:xfrm>
                      <a:custGeom>
                        <a:avLst/>
                        <a:gdLst>
                          <a:gd name="connsiteX0" fmla="*/ 56441 w 66097"/>
                          <a:gd name="connsiteY0" fmla="*/ 32569 h 49807"/>
                          <a:gd name="connsiteX1" fmla="*/ 65272 w 66097"/>
                          <a:gd name="connsiteY1" fmla="*/ 13093 h 49807"/>
                          <a:gd name="connsiteX2" fmla="*/ 48578 w 66097"/>
                          <a:gd name="connsiteY2" fmla="*/ 330 h 49807"/>
                          <a:gd name="connsiteX3" fmla="*/ 11621 w 66097"/>
                          <a:gd name="connsiteY3" fmla="*/ 11762 h 49807"/>
                          <a:gd name="connsiteX4" fmla="*/ 68 w 66097"/>
                          <a:gd name="connsiteY4" fmla="*/ 31057 h 49807"/>
                          <a:gd name="connsiteX5" fmla="*/ 16581 w 66097"/>
                          <a:gd name="connsiteY5" fmla="*/ 49808 h 49807"/>
                          <a:gd name="connsiteX6" fmla="*/ 56441 w 66097"/>
                          <a:gd name="connsiteY6" fmla="*/ 32569 h 4980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6097" h="49807">
                            <a:moveTo>
                              <a:pt x="56441" y="32569"/>
                            </a:moveTo>
                            <a:cubicBezTo>
                              <a:pt x="56441" y="32569"/>
                              <a:pt x="69445" y="29424"/>
                              <a:pt x="65272" y="13093"/>
                            </a:cubicBezTo>
                            <a:cubicBezTo>
                              <a:pt x="60977" y="-3239"/>
                              <a:pt x="48578" y="330"/>
                              <a:pt x="48578" y="330"/>
                            </a:cubicBezTo>
                            <a:lnTo>
                              <a:pt x="11621" y="11762"/>
                            </a:lnTo>
                            <a:cubicBezTo>
                              <a:pt x="5391" y="17871"/>
                              <a:pt x="673" y="23194"/>
                              <a:pt x="68" y="31057"/>
                            </a:cubicBezTo>
                            <a:cubicBezTo>
                              <a:pt x="-537" y="38920"/>
                              <a:pt x="2729" y="47751"/>
                              <a:pt x="16581" y="49808"/>
                            </a:cubicBezTo>
                            <a:lnTo>
                              <a:pt x="56441" y="32569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28" name="Freihandform: Form 827">
                        <a:extLst>
                          <a:ext uri="{FF2B5EF4-FFF2-40B4-BE49-F238E27FC236}">
                            <a16:creationId xmlns:a16="http://schemas.microsoft.com/office/drawing/2014/main" id="{485D39C8-E821-2B3C-E774-AC1D12A0EB5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3092" y="3354113"/>
                        <a:ext cx="74758" cy="40567"/>
                      </a:xfrm>
                      <a:custGeom>
                        <a:avLst/>
                        <a:gdLst>
                          <a:gd name="connsiteX0" fmla="*/ 49839 w 74758"/>
                          <a:gd name="connsiteY0" fmla="*/ 26920 h 40567"/>
                          <a:gd name="connsiteX1" fmla="*/ 74759 w 74758"/>
                          <a:gd name="connsiteY1" fmla="*/ 16093 h 40567"/>
                          <a:gd name="connsiteX2" fmla="*/ 35685 w 74758"/>
                          <a:gd name="connsiteY2" fmla="*/ 1032 h 40567"/>
                          <a:gd name="connsiteX3" fmla="*/ 7498 w 74758"/>
                          <a:gd name="connsiteY3" fmla="*/ 9137 h 40567"/>
                          <a:gd name="connsiteX4" fmla="*/ 845 w 74758"/>
                          <a:gd name="connsiteY4" fmla="*/ 28977 h 40567"/>
                          <a:gd name="connsiteX5" fmla="*/ 18507 w 74758"/>
                          <a:gd name="connsiteY5" fmla="*/ 40348 h 40567"/>
                          <a:gd name="connsiteX6" fmla="*/ 49899 w 74758"/>
                          <a:gd name="connsiteY6" fmla="*/ 26920 h 4056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4758" h="40567">
                            <a:moveTo>
                              <a:pt x="49839" y="26920"/>
                            </a:moveTo>
                            <a:lnTo>
                              <a:pt x="74759" y="16093"/>
                            </a:lnTo>
                            <a:cubicBezTo>
                              <a:pt x="68650" y="-359"/>
                              <a:pt x="48810" y="-1508"/>
                              <a:pt x="35685" y="1032"/>
                            </a:cubicBezTo>
                            <a:cubicBezTo>
                              <a:pt x="22559" y="3572"/>
                              <a:pt x="7498" y="9137"/>
                              <a:pt x="7498" y="9137"/>
                            </a:cubicBezTo>
                            <a:cubicBezTo>
                              <a:pt x="-1030" y="14400"/>
                              <a:pt x="-667" y="22202"/>
                              <a:pt x="845" y="28977"/>
                            </a:cubicBezTo>
                            <a:cubicBezTo>
                              <a:pt x="2599" y="36840"/>
                              <a:pt x="9676" y="41679"/>
                              <a:pt x="18507" y="40348"/>
                            </a:cubicBezTo>
                            <a:lnTo>
                              <a:pt x="49899" y="26920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815" name="Grafik 297">
                      <a:extLst>
                        <a:ext uri="{FF2B5EF4-FFF2-40B4-BE49-F238E27FC236}">
                          <a16:creationId xmlns:a16="http://schemas.microsoft.com/office/drawing/2014/main" id="{7F98F405-34A1-5987-52F0-E240EA83D15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19789" y="3374219"/>
                      <a:ext cx="153786" cy="54598"/>
                      <a:chOff x="1219789" y="3374219"/>
                      <a:chExt cx="153786" cy="54598"/>
                    </a:xfrm>
                    <a:solidFill>
                      <a:srgbClr val="02787D"/>
                    </a:solidFill>
                  </p:grpSpPr>
                  <p:sp>
                    <p:nvSpPr>
                      <p:cNvPr id="823" name="Freihandform: Form 822">
                        <a:extLst>
                          <a:ext uri="{FF2B5EF4-FFF2-40B4-BE49-F238E27FC236}">
                            <a16:creationId xmlns:a16="http://schemas.microsoft.com/office/drawing/2014/main" id="{D11DA9B3-7BCE-4A41-57B2-1A19544C975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19789" y="3382861"/>
                        <a:ext cx="71114" cy="45956"/>
                      </a:xfrm>
                      <a:custGeom>
                        <a:avLst/>
                        <a:gdLst>
                          <a:gd name="connsiteX0" fmla="*/ 62513 w 71114"/>
                          <a:gd name="connsiteY0" fmla="*/ 45956 h 45956"/>
                          <a:gd name="connsiteX1" fmla="*/ 70195 w 71114"/>
                          <a:gd name="connsiteY1" fmla="*/ 29746 h 45956"/>
                          <a:gd name="connsiteX2" fmla="*/ 65537 w 71114"/>
                          <a:gd name="connsiteY2" fmla="*/ 13233 h 45956"/>
                          <a:gd name="connsiteX3" fmla="*/ 19568 w 71114"/>
                          <a:gd name="connsiteY3" fmla="*/ 410 h 45956"/>
                          <a:gd name="connsiteX4" fmla="*/ 999 w 71114"/>
                          <a:gd name="connsiteY4" fmla="*/ 10753 h 45956"/>
                          <a:gd name="connsiteX5" fmla="*/ 13399 w 71114"/>
                          <a:gd name="connsiteY5" fmla="*/ 36702 h 45956"/>
                          <a:gd name="connsiteX6" fmla="*/ 62513 w 71114"/>
                          <a:gd name="connsiteY6" fmla="*/ 45956 h 4595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1114" h="45956">
                            <a:moveTo>
                              <a:pt x="62513" y="45956"/>
                            </a:moveTo>
                            <a:cubicBezTo>
                              <a:pt x="62513" y="45956"/>
                              <a:pt x="66566" y="43053"/>
                              <a:pt x="70195" y="29746"/>
                            </a:cubicBezTo>
                            <a:cubicBezTo>
                              <a:pt x="73824" y="16379"/>
                              <a:pt x="65537" y="13233"/>
                              <a:pt x="65537" y="13233"/>
                            </a:cubicBezTo>
                            <a:lnTo>
                              <a:pt x="19568" y="410"/>
                            </a:lnTo>
                            <a:cubicBezTo>
                              <a:pt x="8378" y="-1162"/>
                              <a:pt x="3237" y="1681"/>
                              <a:pt x="999" y="10753"/>
                            </a:cubicBezTo>
                            <a:cubicBezTo>
                              <a:pt x="-1662" y="19705"/>
                              <a:pt x="515" y="33194"/>
                              <a:pt x="13399" y="36702"/>
                            </a:cubicBezTo>
                            <a:lnTo>
                              <a:pt x="62513" y="45956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24" name="Freihandform: Form 823">
                        <a:extLst>
                          <a:ext uri="{FF2B5EF4-FFF2-40B4-BE49-F238E27FC236}">
                            <a16:creationId xmlns:a16="http://schemas.microsoft.com/office/drawing/2014/main" id="{69C91D71-94AC-D23A-8C37-44D3A7335C6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70181" y="3381975"/>
                        <a:ext cx="59305" cy="46842"/>
                      </a:xfrm>
                      <a:custGeom>
                        <a:avLst/>
                        <a:gdLst>
                          <a:gd name="connsiteX0" fmla="*/ 49320 w 59305"/>
                          <a:gd name="connsiteY0" fmla="*/ 30572 h 46842"/>
                          <a:gd name="connsiteX1" fmla="*/ 58574 w 59305"/>
                          <a:gd name="connsiteY1" fmla="*/ 11338 h 46842"/>
                          <a:gd name="connsiteX2" fmla="*/ 41154 w 59305"/>
                          <a:gd name="connsiteY2" fmla="*/ 632 h 46842"/>
                          <a:gd name="connsiteX3" fmla="*/ 13330 w 59305"/>
                          <a:gd name="connsiteY3" fmla="*/ 13636 h 46842"/>
                          <a:gd name="connsiteX4" fmla="*/ 23 w 59305"/>
                          <a:gd name="connsiteY4" fmla="*/ 28213 h 46842"/>
                          <a:gd name="connsiteX5" fmla="*/ 12121 w 59305"/>
                          <a:gd name="connsiteY5" fmla="*/ 46843 h 46842"/>
                          <a:gd name="connsiteX6" fmla="*/ 49320 w 59305"/>
                          <a:gd name="connsiteY6" fmla="*/ 30572 h 4684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9305" h="46842">
                            <a:moveTo>
                              <a:pt x="49320" y="30572"/>
                            </a:moveTo>
                            <a:cubicBezTo>
                              <a:pt x="49320" y="30572"/>
                              <a:pt x="62506" y="26641"/>
                              <a:pt x="58574" y="11338"/>
                            </a:cubicBezTo>
                            <a:cubicBezTo>
                              <a:pt x="54461" y="-3905"/>
                              <a:pt x="41154" y="632"/>
                              <a:pt x="41154" y="632"/>
                            </a:cubicBezTo>
                            <a:lnTo>
                              <a:pt x="13330" y="13636"/>
                            </a:lnTo>
                            <a:cubicBezTo>
                              <a:pt x="5467" y="14967"/>
                              <a:pt x="326" y="15511"/>
                              <a:pt x="23" y="28213"/>
                            </a:cubicBezTo>
                            <a:cubicBezTo>
                              <a:pt x="-279" y="40915"/>
                              <a:pt x="2261" y="44968"/>
                              <a:pt x="12121" y="46843"/>
                            </a:cubicBezTo>
                            <a:lnTo>
                              <a:pt x="49320" y="30572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25" name="Freihandform: Form 824">
                        <a:extLst>
                          <a:ext uri="{FF2B5EF4-FFF2-40B4-BE49-F238E27FC236}">
                            <a16:creationId xmlns:a16="http://schemas.microsoft.com/office/drawing/2014/main" id="{99A92C35-670C-FE04-0ED1-F46AB117706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4207" y="3374219"/>
                        <a:ext cx="69368" cy="38586"/>
                      </a:xfrm>
                      <a:custGeom>
                        <a:avLst/>
                        <a:gdLst>
                          <a:gd name="connsiteX0" fmla="*/ 46081 w 69368"/>
                          <a:gd name="connsiteY0" fmla="*/ 25142 h 38586"/>
                          <a:gd name="connsiteX1" fmla="*/ 69368 w 69368"/>
                          <a:gd name="connsiteY1" fmla="*/ 14920 h 38586"/>
                          <a:gd name="connsiteX2" fmla="*/ 32714 w 69368"/>
                          <a:gd name="connsiteY2" fmla="*/ 1008 h 38586"/>
                          <a:gd name="connsiteX3" fmla="*/ 7128 w 69368"/>
                          <a:gd name="connsiteY3" fmla="*/ 8447 h 38586"/>
                          <a:gd name="connsiteX4" fmla="*/ 656 w 69368"/>
                          <a:gd name="connsiteY4" fmla="*/ 23569 h 38586"/>
                          <a:gd name="connsiteX5" fmla="*/ 15294 w 69368"/>
                          <a:gd name="connsiteY5" fmla="*/ 38388 h 38586"/>
                          <a:gd name="connsiteX6" fmla="*/ 46081 w 69368"/>
                          <a:gd name="connsiteY6" fmla="*/ 25142 h 385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9368" h="38586">
                            <a:moveTo>
                              <a:pt x="46081" y="25142"/>
                            </a:moveTo>
                            <a:lnTo>
                              <a:pt x="69368" y="14920"/>
                            </a:lnTo>
                            <a:cubicBezTo>
                              <a:pt x="63562" y="-444"/>
                              <a:pt x="44992" y="-1412"/>
                              <a:pt x="32714" y="1008"/>
                            </a:cubicBezTo>
                            <a:cubicBezTo>
                              <a:pt x="20435" y="3427"/>
                              <a:pt x="7128" y="8447"/>
                              <a:pt x="7128" y="8447"/>
                            </a:cubicBezTo>
                            <a:cubicBezTo>
                              <a:pt x="-917" y="12863"/>
                              <a:pt x="-554" y="17157"/>
                              <a:pt x="656" y="23569"/>
                            </a:cubicBezTo>
                            <a:cubicBezTo>
                              <a:pt x="1926" y="30585"/>
                              <a:pt x="7128" y="40082"/>
                              <a:pt x="15294" y="38388"/>
                            </a:cubicBezTo>
                            <a:lnTo>
                              <a:pt x="46081" y="25142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816" name="Freihandform: Form 815">
                      <a:extLst>
                        <a:ext uri="{FF2B5EF4-FFF2-40B4-BE49-F238E27FC236}">
                          <a16:creationId xmlns:a16="http://schemas.microsoft.com/office/drawing/2014/main" id="{B9CBA042-8408-25B4-2013-BA65F9CC735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9820" y="3243005"/>
                      <a:ext cx="221554" cy="177405"/>
                    </a:xfrm>
                    <a:custGeom>
                      <a:avLst/>
                      <a:gdLst>
                        <a:gd name="connsiteX0" fmla="*/ 8644 w 221554"/>
                        <a:gd name="connsiteY0" fmla="*/ 104036 h 177405"/>
                        <a:gd name="connsiteX1" fmla="*/ 72154 w 221554"/>
                        <a:gd name="connsiteY1" fmla="*/ 151094 h 177405"/>
                        <a:gd name="connsiteX2" fmla="*/ 167056 w 221554"/>
                        <a:gd name="connsiteY2" fmla="*/ 177405 h 177405"/>
                        <a:gd name="connsiteX3" fmla="*/ 221554 w 221554"/>
                        <a:gd name="connsiteY3" fmla="*/ 56917 h 177405"/>
                        <a:gd name="connsiteX4" fmla="*/ 195001 w 221554"/>
                        <a:gd name="connsiteY4" fmla="*/ 39739 h 177405"/>
                        <a:gd name="connsiteX5" fmla="*/ 58968 w 221554"/>
                        <a:gd name="connsiteY5" fmla="*/ 0 h 177405"/>
                        <a:gd name="connsiteX6" fmla="*/ 8644 w 221554"/>
                        <a:gd name="connsiteY6" fmla="*/ 104096 h 17740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221554" h="177405">
                          <a:moveTo>
                            <a:pt x="8644" y="104036"/>
                          </a:moveTo>
                          <a:cubicBezTo>
                            <a:pt x="21890" y="119339"/>
                            <a:pt x="47415" y="136396"/>
                            <a:pt x="72154" y="151094"/>
                          </a:cubicBezTo>
                          <a:cubicBezTo>
                            <a:pt x="124898" y="172990"/>
                            <a:pt x="165786" y="177103"/>
                            <a:pt x="167056" y="177405"/>
                          </a:cubicBezTo>
                          <a:cubicBezTo>
                            <a:pt x="170504" y="176317"/>
                            <a:pt x="221131" y="153876"/>
                            <a:pt x="221554" y="56917"/>
                          </a:cubicBezTo>
                          <a:cubicBezTo>
                            <a:pt x="188287" y="49961"/>
                            <a:pt x="195061" y="39860"/>
                            <a:pt x="195001" y="39739"/>
                          </a:cubicBezTo>
                          <a:lnTo>
                            <a:pt x="58968" y="0"/>
                          </a:lnTo>
                          <a:cubicBezTo>
                            <a:pt x="22011" y="0"/>
                            <a:pt x="-17970" y="83229"/>
                            <a:pt x="8644" y="104096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17" name="Freihandform: Form 816">
                      <a:extLst>
                        <a:ext uri="{FF2B5EF4-FFF2-40B4-BE49-F238E27FC236}">
                          <a16:creationId xmlns:a16="http://schemas.microsoft.com/office/drawing/2014/main" id="{2838A414-6F45-A315-8F51-CCB870CC67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0941" y="3219161"/>
                      <a:ext cx="147269" cy="87642"/>
                    </a:xfrm>
                    <a:custGeom>
                      <a:avLst/>
                      <a:gdLst>
                        <a:gd name="connsiteX0" fmla="*/ 8271 w 147269"/>
                        <a:gd name="connsiteY0" fmla="*/ 22815 h 87642"/>
                        <a:gd name="connsiteX1" fmla="*/ 123497 w 147269"/>
                        <a:gd name="connsiteY1" fmla="*/ 4428 h 87642"/>
                        <a:gd name="connsiteX2" fmla="*/ 134384 w 147269"/>
                        <a:gd name="connsiteY2" fmla="*/ 67454 h 87642"/>
                        <a:gd name="connsiteX3" fmla="*/ 63797 w 147269"/>
                        <a:gd name="connsiteY3" fmla="*/ 87475 h 87642"/>
                        <a:gd name="connsiteX4" fmla="*/ 8271 w 147269"/>
                        <a:gd name="connsiteY4" fmla="*/ 22815 h 8764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47269" h="87642">
                          <a:moveTo>
                            <a:pt x="8271" y="22815"/>
                          </a:moveTo>
                          <a:cubicBezTo>
                            <a:pt x="41720" y="-1258"/>
                            <a:pt x="87992" y="-4222"/>
                            <a:pt x="123497" y="4428"/>
                          </a:cubicBezTo>
                          <a:cubicBezTo>
                            <a:pt x="157006" y="18763"/>
                            <a:pt x="149687" y="62797"/>
                            <a:pt x="134384" y="67454"/>
                          </a:cubicBezTo>
                          <a:cubicBezTo>
                            <a:pt x="134384" y="67454"/>
                            <a:pt x="88717" y="86023"/>
                            <a:pt x="63797" y="87475"/>
                          </a:cubicBezTo>
                          <a:cubicBezTo>
                            <a:pt x="1073" y="91044"/>
                            <a:pt x="-10722" y="36546"/>
                            <a:pt x="8271" y="2281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18" name="Freihandform: Form 817">
                      <a:extLst>
                        <a:ext uri="{FF2B5EF4-FFF2-40B4-BE49-F238E27FC236}">
                          <a16:creationId xmlns:a16="http://schemas.microsoft.com/office/drawing/2014/main" id="{53F651A9-04E2-7854-5D6E-8393799119B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14311" y="3223039"/>
                      <a:ext cx="149283" cy="73980"/>
                    </a:xfrm>
                    <a:custGeom>
                      <a:avLst/>
                      <a:gdLst>
                        <a:gd name="connsiteX0" fmla="*/ 30126 w 149283"/>
                        <a:gd name="connsiteY0" fmla="*/ 550 h 73980"/>
                        <a:gd name="connsiteX1" fmla="*/ 91217 w 149283"/>
                        <a:gd name="connsiteY1" fmla="*/ 21417 h 73980"/>
                        <a:gd name="connsiteX2" fmla="*/ 149284 w 149283"/>
                        <a:gd name="connsiteY2" fmla="*/ 59947 h 73980"/>
                        <a:gd name="connsiteX3" fmla="*/ 122912 w 149283"/>
                        <a:gd name="connsiteY3" fmla="*/ 73979 h 73980"/>
                        <a:gd name="connsiteX4" fmla="*/ 84685 w 149283"/>
                        <a:gd name="connsiteY4" fmla="*/ 56983 h 73980"/>
                        <a:gd name="connsiteX5" fmla="*/ 50510 w 149283"/>
                        <a:gd name="connsiteY5" fmla="*/ 59705 h 73980"/>
                        <a:gd name="connsiteX6" fmla="*/ 4 w 149283"/>
                        <a:gd name="connsiteY6" fmla="*/ 27526 h 73980"/>
                        <a:gd name="connsiteX7" fmla="*/ 30126 w 149283"/>
                        <a:gd name="connsiteY7" fmla="*/ 550 h 7398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49283" h="73980">
                          <a:moveTo>
                            <a:pt x="30126" y="550"/>
                          </a:moveTo>
                          <a:lnTo>
                            <a:pt x="91217" y="21417"/>
                          </a:lnTo>
                          <a:lnTo>
                            <a:pt x="149284" y="59947"/>
                          </a:lnTo>
                          <a:cubicBezTo>
                            <a:pt x="149284" y="59947"/>
                            <a:pt x="146622" y="73617"/>
                            <a:pt x="122912" y="73979"/>
                          </a:cubicBezTo>
                          <a:cubicBezTo>
                            <a:pt x="115956" y="74101"/>
                            <a:pt x="97266" y="62911"/>
                            <a:pt x="84685" y="56983"/>
                          </a:cubicBezTo>
                          <a:cubicBezTo>
                            <a:pt x="62002" y="56076"/>
                            <a:pt x="50510" y="59705"/>
                            <a:pt x="50510" y="59705"/>
                          </a:cubicBezTo>
                          <a:cubicBezTo>
                            <a:pt x="50510" y="59705"/>
                            <a:pt x="791" y="61398"/>
                            <a:pt x="4" y="27526"/>
                          </a:cubicBezTo>
                          <a:cubicBezTo>
                            <a:pt x="-359" y="12405"/>
                            <a:pt x="21900" y="-3140"/>
                            <a:pt x="30126" y="550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819" name="Grafik 297">
                      <a:extLst>
                        <a:ext uri="{FF2B5EF4-FFF2-40B4-BE49-F238E27FC236}">
                          <a16:creationId xmlns:a16="http://schemas.microsoft.com/office/drawing/2014/main" id="{8E97D2F5-0D6D-9B2A-8FDA-EE5508B4878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66882" y="3299490"/>
                      <a:ext cx="158227" cy="46280"/>
                      <a:chOff x="1266882" y="3299490"/>
                      <a:chExt cx="158227" cy="46280"/>
                    </a:xfrm>
                    <a:solidFill>
                      <a:srgbClr val="02787D"/>
                    </a:solidFill>
                  </p:grpSpPr>
                  <p:sp>
                    <p:nvSpPr>
                      <p:cNvPr id="820" name="Freihandform: Form 819">
                        <a:extLst>
                          <a:ext uri="{FF2B5EF4-FFF2-40B4-BE49-F238E27FC236}">
                            <a16:creationId xmlns:a16="http://schemas.microsoft.com/office/drawing/2014/main" id="{966C530C-5A0C-31F4-C3B7-8F8C8371DBC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66882" y="3299490"/>
                        <a:ext cx="75457" cy="46280"/>
                      </a:xfrm>
                      <a:custGeom>
                        <a:avLst/>
                        <a:gdLst>
                          <a:gd name="connsiteX0" fmla="*/ 58849 w 75457"/>
                          <a:gd name="connsiteY0" fmla="*/ 46280 h 46280"/>
                          <a:gd name="connsiteX1" fmla="*/ 74938 w 75457"/>
                          <a:gd name="connsiteY1" fmla="*/ 30009 h 46280"/>
                          <a:gd name="connsiteX2" fmla="*/ 61450 w 75457"/>
                          <a:gd name="connsiteY2" fmla="*/ 10956 h 46280"/>
                          <a:gd name="connsiteX3" fmla="*/ 24432 w 75457"/>
                          <a:gd name="connsiteY3" fmla="*/ 432 h 46280"/>
                          <a:gd name="connsiteX4" fmla="*/ 540 w 75457"/>
                          <a:gd name="connsiteY4" fmla="*/ 10775 h 46280"/>
                          <a:gd name="connsiteX5" fmla="*/ 18142 w 75457"/>
                          <a:gd name="connsiteY5" fmla="*/ 36663 h 46280"/>
                          <a:gd name="connsiteX6" fmla="*/ 58849 w 75457"/>
                          <a:gd name="connsiteY6" fmla="*/ 46220 h 4628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5457" h="46280">
                            <a:moveTo>
                              <a:pt x="58849" y="46280"/>
                            </a:moveTo>
                            <a:cubicBezTo>
                              <a:pt x="58849" y="46280"/>
                              <a:pt x="71248" y="43316"/>
                              <a:pt x="74938" y="30009"/>
                            </a:cubicBezTo>
                            <a:cubicBezTo>
                              <a:pt x="78628" y="16703"/>
                              <a:pt x="61450" y="10956"/>
                              <a:pt x="61450" y="10956"/>
                            </a:cubicBezTo>
                            <a:lnTo>
                              <a:pt x="24432" y="432"/>
                            </a:lnTo>
                            <a:cubicBezTo>
                              <a:pt x="13242" y="-1201"/>
                              <a:pt x="2778" y="1702"/>
                              <a:pt x="540" y="10775"/>
                            </a:cubicBezTo>
                            <a:cubicBezTo>
                              <a:pt x="-2121" y="19727"/>
                              <a:pt x="5258" y="33094"/>
                              <a:pt x="18142" y="36663"/>
                            </a:cubicBezTo>
                            <a:lnTo>
                              <a:pt x="58849" y="46220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21" name="Freihandform: Form 820">
                        <a:extLst>
                          <a:ext uri="{FF2B5EF4-FFF2-40B4-BE49-F238E27FC236}">
                            <a16:creationId xmlns:a16="http://schemas.microsoft.com/office/drawing/2014/main" id="{7DABFE4F-77C2-20CC-4858-117B7D435CE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0046" y="3310251"/>
                        <a:ext cx="65362" cy="35519"/>
                      </a:xfrm>
                      <a:custGeom>
                        <a:avLst/>
                        <a:gdLst>
                          <a:gd name="connsiteX0" fmla="*/ 54214 w 65362"/>
                          <a:gd name="connsiteY0" fmla="*/ 30137 h 35519"/>
                          <a:gd name="connsiteX1" fmla="*/ 65344 w 65362"/>
                          <a:gd name="connsiteY1" fmla="*/ 13926 h 35519"/>
                          <a:gd name="connsiteX2" fmla="*/ 51311 w 65362"/>
                          <a:gd name="connsiteY2" fmla="*/ 75 h 35519"/>
                          <a:gd name="connsiteX3" fmla="*/ 17741 w 65362"/>
                          <a:gd name="connsiteY3" fmla="*/ 75 h 35519"/>
                          <a:gd name="connsiteX4" fmla="*/ 382 w 65362"/>
                          <a:gd name="connsiteY4" fmla="*/ 16709 h 35519"/>
                          <a:gd name="connsiteX5" fmla="*/ 15685 w 65362"/>
                          <a:gd name="connsiteY5" fmla="*/ 35520 h 35519"/>
                          <a:gd name="connsiteX6" fmla="*/ 54214 w 65362"/>
                          <a:gd name="connsiteY6" fmla="*/ 30137 h 3551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5362" h="35519">
                            <a:moveTo>
                              <a:pt x="54214" y="30137"/>
                            </a:moveTo>
                            <a:cubicBezTo>
                              <a:pt x="54214" y="30137"/>
                              <a:pt x="64557" y="29653"/>
                              <a:pt x="65344" y="13926"/>
                            </a:cubicBezTo>
                            <a:cubicBezTo>
                              <a:pt x="65949" y="-1861"/>
                              <a:pt x="51311" y="75"/>
                              <a:pt x="51311" y="75"/>
                            </a:cubicBezTo>
                            <a:lnTo>
                              <a:pt x="17741" y="75"/>
                            </a:lnTo>
                            <a:cubicBezTo>
                              <a:pt x="6128" y="982"/>
                              <a:pt x="2680" y="4793"/>
                              <a:pt x="382" y="16709"/>
                            </a:cubicBezTo>
                            <a:cubicBezTo>
                              <a:pt x="-1856" y="28624"/>
                              <a:pt x="6068" y="33282"/>
                              <a:pt x="15685" y="35520"/>
                            </a:cubicBezTo>
                            <a:lnTo>
                              <a:pt x="54214" y="3013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22" name="Freihandform: Form 821">
                        <a:extLst>
                          <a:ext uri="{FF2B5EF4-FFF2-40B4-BE49-F238E27FC236}">
                            <a16:creationId xmlns:a16="http://schemas.microsoft.com/office/drawing/2014/main" id="{1CBE42EC-405E-FA37-937B-8A1E2534C96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9145" y="3305185"/>
                        <a:ext cx="75964" cy="35201"/>
                      </a:xfrm>
                      <a:custGeom>
                        <a:avLst/>
                        <a:gdLst>
                          <a:gd name="connsiteX0" fmla="*/ 51588 w 75964"/>
                          <a:gd name="connsiteY0" fmla="*/ 25766 h 35201"/>
                          <a:gd name="connsiteX1" fmla="*/ 75964 w 75964"/>
                          <a:gd name="connsiteY1" fmla="*/ 18628 h 35201"/>
                          <a:gd name="connsiteX2" fmla="*/ 41427 w 75964"/>
                          <a:gd name="connsiteY2" fmla="*/ 120 h 35201"/>
                          <a:gd name="connsiteX3" fmla="*/ 12151 w 75964"/>
                          <a:gd name="connsiteY3" fmla="*/ 5080 h 35201"/>
                          <a:gd name="connsiteX4" fmla="*/ 54 w 75964"/>
                          <a:gd name="connsiteY4" fmla="*/ 20987 h 35201"/>
                          <a:gd name="connsiteX5" fmla="*/ 15055 w 75964"/>
                          <a:gd name="connsiteY5" fmla="*/ 35202 h 35201"/>
                          <a:gd name="connsiteX6" fmla="*/ 51528 w 75964"/>
                          <a:gd name="connsiteY6" fmla="*/ 25766 h 3520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5964" h="35201">
                            <a:moveTo>
                              <a:pt x="51588" y="25766"/>
                            </a:moveTo>
                            <a:lnTo>
                              <a:pt x="75964" y="18628"/>
                            </a:lnTo>
                            <a:cubicBezTo>
                              <a:pt x="72214" y="2660"/>
                              <a:pt x="53947" y="-727"/>
                              <a:pt x="41427" y="120"/>
                            </a:cubicBezTo>
                            <a:cubicBezTo>
                              <a:pt x="28967" y="906"/>
                              <a:pt x="12151" y="5080"/>
                              <a:pt x="12151" y="5080"/>
                            </a:cubicBezTo>
                            <a:cubicBezTo>
                              <a:pt x="3925" y="8285"/>
                              <a:pt x="-551" y="12761"/>
                              <a:pt x="54" y="20987"/>
                            </a:cubicBezTo>
                            <a:cubicBezTo>
                              <a:pt x="538" y="27520"/>
                              <a:pt x="5559" y="34294"/>
                              <a:pt x="15055" y="35202"/>
                            </a:cubicBezTo>
                            <a:lnTo>
                              <a:pt x="51528" y="25766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</p:grpSp>
            </p:grpSp>
            <p:grpSp>
              <p:nvGrpSpPr>
                <p:cNvPr id="803" name="Grafik 297">
                  <a:extLst>
                    <a:ext uri="{FF2B5EF4-FFF2-40B4-BE49-F238E27FC236}">
                      <a16:creationId xmlns:a16="http://schemas.microsoft.com/office/drawing/2014/main" id="{51955CA8-78C9-1972-EF1D-E33B475178DE}"/>
                    </a:ext>
                  </a:extLst>
                </p:cNvPr>
                <p:cNvGrpSpPr/>
                <p:nvPr/>
              </p:nvGrpSpPr>
              <p:grpSpPr>
                <a:xfrm>
                  <a:off x="541712" y="2906158"/>
                  <a:ext cx="587500" cy="440882"/>
                  <a:chOff x="541712" y="2906158"/>
                  <a:chExt cx="587500" cy="440882"/>
                </a:xfrm>
              </p:grpSpPr>
              <p:sp>
                <p:nvSpPr>
                  <p:cNvPr id="808" name="Freihandform: Form 807">
                    <a:extLst>
                      <a:ext uri="{FF2B5EF4-FFF2-40B4-BE49-F238E27FC236}">
                        <a16:creationId xmlns:a16="http://schemas.microsoft.com/office/drawing/2014/main" id="{2BAF86C1-B7D4-6549-C18C-5C877690EFB8}"/>
                      </a:ext>
                    </a:extLst>
                  </p:cNvPr>
                  <p:cNvSpPr/>
                  <p:nvPr/>
                </p:nvSpPr>
                <p:spPr>
                  <a:xfrm>
                    <a:off x="598145" y="2926300"/>
                    <a:ext cx="531066" cy="420740"/>
                  </a:xfrm>
                  <a:custGeom>
                    <a:avLst/>
                    <a:gdLst>
                      <a:gd name="connsiteX0" fmla="*/ 480319 w 531066"/>
                      <a:gd name="connsiteY0" fmla="*/ 420740 h 420740"/>
                      <a:gd name="connsiteX1" fmla="*/ 531067 w 531066"/>
                      <a:gd name="connsiteY1" fmla="*/ 315676 h 420740"/>
                      <a:gd name="connsiteX2" fmla="*/ 112927 w 531066"/>
                      <a:gd name="connsiteY2" fmla="*/ 0 h 420740"/>
                      <a:gd name="connsiteX3" fmla="*/ 0 w 531066"/>
                      <a:gd name="connsiteY3" fmla="*/ 181035 h 420740"/>
                      <a:gd name="connsiteX4" fmla="*/ 480319 w 531066"/>
                      <a:gd name="connsiteY4" fmla="*/ 420740 h 4207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31066" h="420740">
                        <a:moveTo>
                          <a:pt x="480319" y="420740"/>
                        </a:moveTo>
                        <a:lnTo>
                          <a:pt x="531067" y="315676"/>
                        </a:lnTo>
                        <a:lnTo>
                          <a:pt x="112927" y="0"/>
                        </a:lnTo>
                        <a:lnTo>
                          <a:pt x="0" y="181035"/>
                        </a:lnTo>
                        <a:lnTo>
                          <a:pt x="480319" y="420740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09" name="Freihandform: Form 808">
                    <a:extLst>
                      <a:ext uri="{FF2B5EF4-FFF2-40B4-BE49-F238E27FC236}">
                        <a16:creationId xmlns:a16="http://schemas.microsoft.com/office/drawing/2014/main" id="{CD464FCD-8F43-DFFB-3573-B3BD30436A68}"/>
                      </a:ext>
                    </a:extLst>
                  </p:cNvPr>
                  <p:cNvSpPr/>
                  <p:nvPr/>
                </p:nvSpPr>
                <p:spPr>
                  <a:xfrm>
                    <a:off x="541712" y="2906158"/>
                    <a:ext cx="213878" cy="213878"/>
                  </a:xfrm>
                  <a:custGeom>
                    <a:avLst/>
                    <a:gdLst>
                      <a:gd name="connsiteX0" fmla="*/ 213878 w 213878"/>
                      <a:gd name="connsiteY0" fmla="*/ 106939 h 213878"/>
                      <a:gd name="connsiteX1" fmla="*/ 106939 w 213878"/>
                      <a:gd name="connsiteY1" fmla="*/ 213878 h 213878"/>
                      <a:gd name="connsiteX2" fmla="*/ 0 w 213878"/>
                      <a:gd name="connsiteY2" fmla="*/ 106939 h 213878"/>
                      <a:gd name="connsiteX3" fmla="*/ 106939 w 213878"/>
                      <a:gd name="connsiteY3" fmla="*/ 0 h 213878"/>
                      <a:gd name="connsiteX4" fmla="*/ 213878 w 213878"/>
                      <a:gd name="connsiteY4" fmla="*/ 106939 h 21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3878" h="213878">
                        <a:moveTo>
                          <a:pt x="213878" y="106939"/>
                        </a:moveTo>
                        <a:cubicBezTo>
                          <a:pt x="213878" y="166000"/>
                          <a:pt x="166000" y="213878"/>
                          <a:pt x="106939" y="213878"/>
                        </a:cubicBezTo>
                        <a:cubicBezTo>
                          <a:pt x="47878" y="213878"/>
                          <a:pt x="0" y="166000"/>
                          <a:pt x="0" y="106939"/>
                        </a:cubicBezTo>
                        <a:cubicBezTo>
                          <a:pt x="0" y="47878"/>
                          <a:pt x="47878" y="0"/>
                          <a:pt x="106939" y="0"/>
                        </a:cubicBezTo>
                        <a:cubicBezTo>
                          <a:pt x="166000" y="0"/>
                          <a:pt x="213878" y="47878"/>
                          <a:pt x="213878" y="106939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10" name="Freihandform: Form 809">
                    <a:extLst>
                      <a:ext uri="{FF2B5EF4-FFF2-40B4-BE49-F238E27FC236}">
                        <a16:creationId xmlns:a16="http://schemas.microsoft.com/office/drawing/2014/main" id="{94D52242-DCDF-0040-E190-5FEF8B562ED0}"/>
                      </a:ext>
                    </a:extLst>
                  </p:cNvPr>
                  <p:cNvSpPr/>
                  <p:nvPr/>
                </p:nvSpPr>
                <p:spPr>
                  <a:xfrm>
                    <a:off x="1001586" y="3186390"/>
                    <a:ext cx="127625" cy="160650"/>
                  </a:xfrm>
                  <a:custGeom>
                    <a:avLst/>
                    <a:gdLst>
                      <a:gd name="connsiteX0" fmla="*/ 53953 w 127625"/>
                      <a:gd name="connsiteY0" fmla="*/ 0 h 160650"/>
                      <a:gd name="connsiteX1" fmla="*/ 0 w 127625"/>
                      <a:gd name="connsiteY1" fmla="*/ 122121 h 160650"/>
                      <a:gd name="connsiteX2" fmla="*/ 76878 w 127625"/>
                      <a:gd name="connsiteY2" fmla="*/ 160651 h 160650"/>
                      <a:gd name="connsiteX3" fmla="*/ 127625 w 127625"/>
                      <a:gd name="connsiteY3" fmla="*/ 55587 h 160650"/>
                      <a:gd name="connsiteX4" fmla="*/ 53953 w 127625"/>
                      <a:gd name="connsiteY4" fmla="*/ 60 h 1606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7625" h="160650">
                        <a:moveTo>
                          <a:pt x="53953" y="0"/>
                        </a:moveTo>
                        <a:cubicBezTo>
                          <a:pt x="35505" y="41493"/>
                          <a:pt x="15182" y="87523"/>
                          <a:pt x="0" y="122121"/>
                        </a:cubicBezTo>
                        <a:lnTo>
                          <a:pt x="76878" y="160651"/>
                        </a:lnTo>
                        <a:cubicBezTo>
                          <a:pt x="102403" y="136094"/>
                          <a:pt x="118250" y="99802"/>
                          <a:pt x="127625" y="55587"/>
                        </a:cubicBezTo>
                        <a:lnTo>
                          <a:pt x="53953" y="60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804" name="Grafik 297">
                  <a:extLst>
                    <a:ext uri="{FF2B5EF4-FFF2-40B4-BE49-F238E27FC236}">
                      <a16:creationId xmlns:a16="http://schemas.microsoft.com/office/drawing/2014/main" id="{7D320DD2-20DB-2149-8C34-81224FF428B6}"/>
                    </a:ext>
                  </a:extLst>
                </p:cNvPr>
                <p:cNvGrpSpPr/>
                <p:nvPr/>
              </p:nvGrpSpPr>
              <p:grpSpPr>
                <a:xfrm>
                  <a:off x="469794" y="2286298"/>
                  <a:ext cx="311744" cy="732303"/>
                  <a:chOff x="469794" y="2286298"/>
                  <a:chExt cx="311744" cy="732303"/>
                </a:xfrm>
              </p:grpSpPr>
              <p:sp>
                <p:nvSpPr>
                  <p:cNvPr id="805" name="Freihandform: Form 804">
                    <a:extLst>
                      <a:ext uri="{FF2B5EF4-FFF2-40B4-BE49-F238E27FC236}">
                        <a16:creationId xmlns:a16="http://schemas.microsoft.com/office/drawing/2014/main" id="{B5B9B744-F00E-B076-DE91-9987E3724FDA}"/>
                      </a:ext>
                    </a:extLst>
                  </p:cNvPr>
                  <p:cNvSpPr/>
                  <p:nvPr/>
                </p:nvSpPr>
                <p:spPr>
                  <a:xfrm>
                    <a:off x="469794" y="2286298"/>
                    <a:ext cx="308236" cy="308236"/>
                  </a:xfrm>
                  <a:custGeom>
                    <a:avLst/>
                    <a:gdLst>
                      <a:gd name="connsiteX0" fmla="*/ 308236 w 308236"/>
                      <a:gd name="connsiteY0" fmla="*/ 154118 h 308236"/>
                      <a:gd name="connsiteX1" fmla="*/ 154118 w 308236"/>
                      <a:gd name="connsiteY1" fmla="*/ 308236 h 308236"/>
                      <a:gd name="connsiteX2" fmla="*/ 0 w 308236"/>
                      <a:gd name="connsiteY2" fmla="*/ 154118 h 308236"/>
                      <a:gd name="connsiteX3" fmla="*/ 154118 w 308236"/>
                      <a:gd name="connsiteY3" fmla="*/ 0 h 308236"/>
                      <a:gd name="connsiteX4" fmla="*/ 308236 w 308236"/>
                      <a:gd name="connsiteY4" fmla="*/ 154118 h 3082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8236" h="308236">
                        <a:moveTo>
                          <a:pt x="308236" y="154118"/>
                        </a:moveTo>
                        <a:cubicBezTo>
                          <a:pt x="308236" y="239235"/>
                          <a:pt x="239235" y="308236"/>
                          <a:pt x="154118" y="308236"/>
                        </a:cubicBezTo>
                        <a:cubicBezTo>
                          <a:pt x="69001" y="308236"/>
                          <a:pt x="0" y="239235"/>
                          <a:pt x="0" y="154118"/>
                        </a:cubicBezTo>
                        <a:cubicBezTo>
                          <a:pt x="0" y="69001"/>
                          <a:pt x="69001" y="0"/>
                          <a:pt x="154118" y="0"/>
                        </a:cubicBezTo>
                        <a:cubicBezTo>
                          <a:pt x="239235" y="0"/>
                          <a:pt x="308236" y="69001"/>
                          <a:pt x="308236" y="154118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06" name="Freihandform: Form 805">
                    <a:extLst>
                      <a:ext uri="{FF2B5EF4-FFF2-40B4-BE49-F238E27FC236}">
                        <a16:creationId xmlns:a16="http://schemas.microsoft.com/office/drawing/2014/main" id="{A2B6BBEB-FDB7-8258-EC64-65C08B4D5F87}"/>
                      </a:ext>
                    </a:extLst>
                  </p:cNvPr>
                  <p:cNvSpPr/>
                  <p:nvPr/>
                </p:nvSpPr>
                <p:spPr>
                  <a:xfrm>
                    <a:off x="519030" y="2805268"/>
                    <a:ext cx="245331" cy="213333"/>
                  </a:xfrm>
                  <a:custGeom>
                    <a:avLst/>
                    <a:gdLst>
                      <a:gd name="connsiteX0" fmla="*/ 22864 w 245331"/>
                      <a:gd name="connsiteY0" fmla="*/ 213334 h 213333"/>
                      <a:gd name="connsiteX1" fmla="*/ 236319 w 245331"/>
                      <a:gd name="connsiteY1" fmla="*/ 203354 h 213333"/>
                      <a:gd name="connsiteX2" fmla="*/ 245331 w 245331"/>
                      <a:gd name="connsiteY2" fmla="*/ 0 h 213333"/>
                      <a:gd name="connsiteX3" fmla="*/ 0 w 245331"/>
                      <a:gd name="connsiteY3" fmla="*/ 5807 h 213333"/>
                      <a:gd name="connsiteX4" fmla="*/ 22864 w 245331"/>
                      <a:gd name="connsiteY4" fmla="*/ 213334 h 2133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5331" h="213333">
                        <a:moveTo>
                          <a:pt x="22864" y="213334"/>
                        </a:moveTo>
                        <a:lnTo>
                          <a:pt x="236319" y="203354"/>
                        </a:lnTo>
                        <a:lnTo>
                          <a:pt x="245331" y="0"/>
                        </a:lnTo>
                        <a:lnTo>
                          <a:pt x="0" y="5807"/>
                        </a:lnTo>
                        <a:lnTo>
                          <a:pt x="22864" y="213334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07" name="Freihandform: Form 806">
                    <a:extLst>
                      <a:ext uri="{FF2B5EF4-FFF2-40B4-BE49-F238E27FC236}">
                        <a16:creationId xmlns:a16="http://schemas.microsoft.com/office/drawing/2014/main" id="{9A0017BE-3953-11FB-82A1-D0825F33B8FB}"/>
                      </a:ext>
                    </a:extLst>
                  </p:cNvPr>
                  <p:cNvSpPr/>
                  <p:nvPr/>
                </p:nvSpPr>
                <p:spPr>
                  <a:xfrm>
                    <a:off x="470096" y="2439751"/>
                    <a:ext cx="311442" cy="552236"/>
                  </a:xfrm>
                  <a:custGeom>
                    <a:avLst/>
                    <a:gdLst>
                      <a:gd name="connsiteX0" fmla="*/ 0 w 311442"/>
                      <a:gd name="connsiteY0" fmla="*/ 10041 h 552236"/>
                      <a:gd name="connsiteX1" fmla="*/ 46211 w 311442"/>
                      <a:gd name="connsiteY1" fmla="*/ 552237 h 552236"/>
                      <a:gd name="connsiteX2" fmla="*/ 311442 w 311442"/>
                      <a:gd name="connsiteY2" fmla="*/ 512195 h 552236"/>
                      <a:gd name="connsiteX3" fmla="*/ 307995 w 311442"/>
                      <a:gd name="connsiteY3" fmla="*/ 0 h 552236"/>
                      <a:gd name="connsiteX4" fmla="*/ 0 w 311442"/>
                      <a:gd name="connsiteY4" fmla="*/ 10041 h 5522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1442" h="552236">
                        <a:moveTo>
                          <a:pt x="0" y="10041"/>
                        </a:moveTo>
                        <a:cubicBezTo>
                          <a:pt x="4899" y="166881"/>
                          <a:pt x="46211" y="552237"/>
                          <a:pt x="46211" y="552237"/>
                        </a:cubicBezTo>
                        <a:lnTo>
                          <a:pt x="311442" y="512195"/>
                        </a:lnTo>
                        <a:lnTo>
                          <a:pt x="307995" y="0"/>
                        </a:lnTo>
                        <a:cubicBezTo>
                          <a:pt x="195551" y="3024"/>
                          <a:pt x="153876" y="4718"/>
                          <a:pt x="0" y="10041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</p:grpSp>
        <p:sp>
          <p:nvSpPr>
            <p:cNvPr id="787" name="Rechteck 786">
              <a:extLst>
                <a:ext uri="{FF2B5EF4-FFF2-40B4-BE49-F238E27FC236}">
                  <a16:creationId xmlns:a16="http://schemas.microsoft.com/office/drawing/2014/main" id="{F7CE6BF7-5CC5-1EFA-9C59-ED0F33134EF1}"/>
                </a:ext>
              </a:extLst>
            </p:cNvPr>
            <p:cNvSpPr>
              <a:spLocks/>
            </p:cNvSpPr>
            <p:nvPr/>
          </p:nvSpPr>
          <p:spPr>
            <a:xfrm>
              <a:off x="9210675" y="2912475"/>
              <a:ext cx="53975" cy="906229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l"/>
              <a:endParaRPr lang="en-US" sz="1000" b="1">
                <a:solidFill>
                  <a:schemeClr val="tx1"/>
                </a:solidFill>
              </a:endParaRPr>
            </a:p>
          </p:txBody>
        </p:sp>
      </p:grpSp>
      <p:grpSp>
        <p:nvGrpSpPr>
          <p:cNvPr id="992" name="Gruppieren 991">
            <a:extLst>
              <a:ext uri="{FF2B5EF4-FFF2-40B4-BE49-F238E27FC236}">
                <a16:creationId xmlns:a16="http://schemas.microsoft.com/office/drawing/2014/main" id="{30CE475C-8E85-9721-777E-ED561B8ACB65}"/>
              </a:ext>
            </a:extLst>
          </p:cNvPr>
          <p:cNvGrpSpPr>
            <a:grpSpLocks/>
          </p:cNvGrpSpPr>
          <p:nvPr/>
        </p:nvGrpSpPr>
        <p:grpSpPr>
          <a:xfrm>
            <a:off x="9210675" y="3998704"/>
            <a:ext cx="2201842" cy="906229"/>
            <a:chOff x="9210675" y="3998704"/>
            <a:chExt cx="2201842" cy="906229"/>
          </a:xfrm>
        </p:grpSpPr>
        <p:sp>
          <p:nvSpPr>
            <p:cNvPr id="993" name="Rechteck 992">
              <a:extLst>
                <a:ext uri="{FF2B5EF4-FFF2-40B4-BE49-F238E27FC236}">
                  <a16:creationId xmlns:a16="http://schemas.microsoft.com/office/drawing/2014/main" id="{457F234C-D18B-46B7-FDCF-3A8ED586B114}"/>
                </a:ext>
              </a:extLst>
            </p:cNvPr>
            <p:cNvSpPr>
              <a:spLocks/>
            </p:cNvSpPr>
            <p:nvPr/>
          </p:nvSpPr>
          <p:spPr>
            <a:xfrm>
              <a:off x="9210675" y="3998704"/>
              <a:ext cx="2201842" cy="90622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tlCol="0" anchor="t"/>
            <a:lstStyle/>
            <a:p>
              <a:pPr algn="l"/>
              <a:r>
                <a:rPr lang="en-US" sz="1200" b="1" err="1">
                  <a:solidFill>
                    <a:schemeClr val="tx1"/>
                  </a:solidFill>
                </a:rPr>
                <a:t>Patientinnen</a:t>
              </a:r>
              <a:r>
                <a:rPr lang="en-US" sz="1200" b="1">
                  <a:solidFill>
                    <a:schemeClr val="tx1"/>
                  </a:solidFill>
                </a:rPr>
                <a:t> &amp; </a:t>
              </a:r>
              <a:br>
                <a:rPr lang="en-US" sz="1200" b="1">
                  <a:solidFill>
                    <a:schemeClr val="tx1"/>
                  </a:solidFill>
                </a:rPr>
              </a:br>
              <a:r>
                <a:rPr lang="en-US" sz="1200" b="1" err="1">
                  <a:solidFill>
                    <a:schemeClr val="tx1"/>
                  </a:solidFill>
                </a:rPr>
                <a:t>Patienten</a:t>
              </a:r>
              <a:endParaRPr lang="en-US" sz="1200" b="1">
                <a:solidFill>
                  <a:schemeClr val="tx1"/>
                </a:solidFill>
              </a:endParaRPr>
            </a:p>
          </p:txBody>
        </p:sp>
        <p:sp>
          <p:nvSpPr>
            <p:cNvPr id="994" name="Rechteck 993">
              <a:extLst>
                <a:ext uri="{FF2B5EF4-FFF2-40B4-BE49-F238E27FC236}">
                  <a16:creationId xmlns:a16="http://schemas.microsoft.com/office/drawing/2014/main" id="{10274ECE-1B81-76F3-80A6-8C50BD02EDBB}"/>
                </a:ext>
              </a:extLst>
            </p:cNvPr>
            <p:cNvSpPr>
              <a:spLocks/>
            </p:cNvSpPr>
            <p:nvPr/>
          </p:nvSpPr>
          <p:spPr>
            <a:xfrm>
              <a:off x="9210675" y="3998704"/>
              <a:ext cx="53975" cy="906229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l"/>
              <a:endParaRPr lang="en-US" sz="1000" b="1">
                <a:solidFill>
                  <a:schemeClr val="tx1"/>
                </a:solidFill>
              </a:endParaRPr>
            </a:p>
          </p:txBody>
        </p:sp>
        <p:grpSp>
          <p:nvGrpSpPr>
            <p:cNvPr id="995" name="Gruppieren 994">
              <a:extLst>
                <a:ext uri="{FF2B5EF4-FFF2-40B4-BE49-F238E27FC236}">
                  <a16:creationId xmlns:a16="http://schemas.microsoft.com/office/drawing/2014/main" id="{F7BD4022-6F09-3030-D614-3D1C992B6B33}"/>
                </a:ext>
              </a:extLst>
            </p:cNvPr>
            <p:cNvGrpSpPr/>
            <p:nvPr/>
          </p:nvGrpSpPr>
          <p:grpSpPr>
            <a:xfrm>
              <a:off x="10614025" y="4114800"/>
              <a:ext cx="694387" cy="666750"/>
              <a:chOff x="10614025" y="4114800"/>
              <a:chExt cx="694387" cy="666750"/>
            </a:xfrm>
          </p:grpSpPr>
          <p:pic>
            <p:nvPicPr>
              <p:cNvPr id="996" name="Grafik 995">
                <a:extLst>
                  <a:ext uri="{FF2B5EF4-FFF2-40B4-BE49-F238E27FC236}">
                    <a16:creationId xmlns:a16="http://schemas.microsoft.com/office/drawing/2014/main" id="{0B47ABEE-2A27-8D13-5439-D9B0D4BCAD4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10829366" y="4114800"/>
                <a:ext cx="229159" cy="666750"/>
              </a:xfrm>
              <a:prstGeom prst="rect">
                <a:avLst/>
              </a:prstGeom>
            </p:spPr>
          </p:pic>
          <p:pic>
            <p:nvPicPr>
              <p:cNvPr id="997" name="Grafik 996">
                <a:extLst>
                  <a:ext uri="{FF2B5EF4-FFF2-40B4-BE49-F238E27FC236}">
                    <a16:creationId xmlns:a16="http://schemas.microsoft.com/office/drawing/2014/main" id="{D5E9448C-72BB-3341-1B25-4ABC42630B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 flipH="1">
                <a:off x="10954885" y="4257593"/>
                <a:ext cx="353527" cy="523957"/>
              </a:xfrm>
              <a:prstGeom prst="rect">
                <a:avLst/>
              </a:prstGeom>
            </p:spPr>
          </p:pic>
          <p:pic>
            <p:nvPicPr>
              <p:cNvPr id="998" name="Grafik 997">
                <a:extLst>
                  <a:ext uri="{FF2B5EF4-FFF2-40B4-BE49-F238E27FC236}">
                    <a16:creationId xmlns:a16="http://schemas.microsoft.com/office/drawing/2014/main" id="{73EF0A93-1513-9222-01E5-C9DE7D5B21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10614025" y="4185045"/>
                <a:ext cx="208431" cy="596505"/>
              </a:xfrm>
              <a:prstGeom prst="rect">
                <a:avLst/>
              </a:prstGeom>
            </p:spPr>
          </p:pic>
        </p:grpSp>
      </p:grpSp>
      <p:sp>
        <p:nvSpPr>
          <p:cNvPr id="999" name="Rechteck 998">
            <a:extLst>
              <a:ext uri="{FF2B5EF4-FFF2-40B4-BE49-F238E27FC236}">
                <a16:creationId xmlns:a16="http://schemas.microsoft.com/office/drawing/2014/main" id="{05224870-2A63-4B49-244A-779DCA1B0A89}"/>
              </a:ext>
            </a:extLst>
          </p:cNvPr>
          <p:cNvSpPr>
            <a:spLocks/>
          </p:cNvSpPr>
          <p:nvPr/>
        </p:nvSpPr>
        <p:spPr>
          <a:xfrm>
            <a:off x="9210675" y="3998704"/>
            <a:ext cx="2201842" cy="906229"/>
          </a:xfrm>
          <a:prstGeom prst="rect">
            <a:avLst/>
          </a:prstGeom>
          <a:solidFill>
            <a:schemeClr val="bg1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5">
            <a:extLst>
              <a:ext uri="{FF2B5EF4-FFF2-40B4-BE49-F238E27FC236}">
                <a16:creationId xmlns:a16="http://schemas.microsoft.com/office/drawing/2014/main" id="{61B745B7-C40A-7E63-0E41-D7F4EAD13089}"/>
              </a:ext>
            </a:extLst>
          </p:cNvPr>
          <p:cNvSpPr txBox="1"/>
          <p:nvPr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10</a:t>
            </a:fld>
            <a:endParaRPr lang="de-DE" sz="1000" b="1" i="0" u="none" kern="1200" spc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9" name="Restricted">
            <a:extLst>
              <a:ext uri="{FF2B5EF4-FFF2-40B4-BE49-F238E27FC236}">
                <a16:creationId xmlns:a16="http://schemas.microsoft.com/office/drawing/2014/main" id="{960B5A96-231F-18A8-59EE-74BB29328FDE}"/>
              </a:ext>
            </a:extLst>
          </p:cNvPr>
          <p:cNvSpPr txBox="1"/>
          <p:nvPr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de-DE" sz="1000">
                <a:solidFill>
                  <a:schemeClr val="tx1"/>
                </a:solidFill>
              </a:rPr>
              <a:t>Frei verwendbar © Siemens Healthineers, 2023</a:t>
            </a:r>
          </a:p>
        </p:txBody>
      </p:sp>
    </p:spTree>
    <p:extLst>
      <p:ext uri="{BB962C8B-B14F-4D97-AF65-F5344CB8AC3E}">
        <p14:creationId xmlns:p14="http://schemas.microsoft.com/office/powerpoint/2010/main" val="2115148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CCAE77A-0EFA-1BB7-727F-C68D0388AF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7490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CCAE77A-0EFA-1BB7-727F-C68D0388AF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E697D4C5-95CA-F09F-FABF-6F4E26B68AC0}"/>
              </a:ext>
            </a:extLst>
          </p:cNvPr>
          <p:cNvGrpSpPr>
            <a:grpSpLocks/>
          </p:cNvGrpSpPr>
          <p:nvPr/>
        </p:nvGrpSpPr>
        <p:grpSpPr>
          <a:xfrm>
            <a:off x="8994773" y="1619250"/>
            <a:ext cx="3175003" cy="5238751"/>
            <a:chOff x="8994773" y="1619250"/>
            <a:chExt cx="3175003" cy="5238751"/>
          </a:xfrm>
        </p:grpSpPr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647D6AC3-ED16-C9A2-3588-E6B20562EC05}"/>
                </a:ext>
              </a:extLst>
            </p:cNvPr>
            <p:cNvSpPr/>
            <p:nvPr/>
          </p:nvSpPr>
          <p:spPr>
            <a:xfrm>
              <a:off x="8994773" y="1619250"/>
              <a:ext cx="3175003" cy="5238751"/>
            </a:xfrm>
            <a:custGeom>
              <a:avLst/>
              <a:gdLst>
                <a:gd name="connsiteX0" fmla="*/ 2641103 w 3175003"/>
                <a:gd name="connsiteY0" fmla="*/ 0 h 5238751"/>
                <a:gd name="connsiteX1" fmla="*/ 3175003 w 3175003"/>
                <a:gd name="connsiteY1" fmla="*/ 1401789 h 5238751"/>
                <a:gd name="connsiteX2" fmla="*/ 3175003 w 3175003"/>
                <a:gd name="connsiteY2" fmla="*/ 5238751 h 5238751"/>
                <a:gd name="connsiteX3" fmla="*/ 252737 w 3175003"/>
                <a:gd name="connsiteY3" fmla="*/ 5238751 h 5238751"/>
                <a:gd name="connsiteX4" fmla="*/ 0 w 3175003"/>
                <a:gd name="connsiteY4" fmla="*/ 4575174 h 5238751"/>
                <a:gd name="connsiteX5" fmla="*/ 2641103 w 3175003"/>
                <a:gd name="connsiteY5" fmla="*/ 4575174 h 5238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5003" h="5238751">
                  <a:moveTo>
                    <a:pt x="2641103" y="0"/>
                  </a:moveTo>
                  <a:lnTo>
                    <a:pt x="3175003" y="1401789"/>
                  </a:lnTo>
                  <a:lnTo>
                    <a:pt x="3175003" y="5238751"/>
                  </a:lnTo>
                  <a:lnTo>
                    <a:pt x="252737" y="5238751"/>
                  </a:lnTo>
                  <a:lnTo>
                    <a:pt x="0" y="4575174"/>
                  </a:lnTo>
                  <a:lnTo>
                    <a:pt x="2641103" y="4575174"/>
                  </a:lnTo>
                  <a:close/>
                </a:path>
              </a:pathLst>
            </a:custGeom>
            <a:pattFill prst="wdDnDiag">
              <a:fgClr>
                <a:srgbClr val="ECECEC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B3CB6A98-B5C3-8D77-68E5-00837CBE2790}"/>
                </a:ext>
              </a:extLst>
            </p:cNvPr>
            <p:cNvSpPr txBox="1">
              <a:spLocks/>
            </p:cNvSpPr>
            <p:nvPr/>
          </p:nvSpPr>
          <p:spPr>
            <a:xfrm>
              <a:off x="8994774" y="1619250"/>
              <a:ext cx="2633663" cy="4575175"/>
            </a:xfrm>
            <a:prstGeom prst="rect">
              <a:avLst/>
            </a:prstGeom>
            <a:solidFill>
              <a:srgbClr val="ECECEC"/>
            </a:solidFill>
            <a:effectLst>
              <a:outerShdw blurRad="50800" dist="38100" dir="2700000" algn="tl" rotWithShape="0">
                <a:prstClr val="black">
                  <a:alpha val="8000"/>
                </a:prstClr>
              </a:outerShdw>
            </a:effectLst>
          </p:spPr>
          <p:txBody>
            <a:bodyPr wrap="square" lIns="180000" tIns="144000" rIns="180000" bIns="0" rtlCol="0" anchor="t">
              <a:noAutofit/>
            </a:bodyPr>
            <a:lstStyle/>
            <a:p>
              <a:pPr>
                <a:spcAft>
                  <a:spcPts val="300"/>
                </a:spcAft>
              </a:pPr>
              <a:endParaRPr lang="de-DE" sz="44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0CF6A715-0F2A-5B18-60BE-FB41B9D72B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noProof="0"/>
              <a:t>Patientenportal – </a:t>
            </a:r>
            <a:br>
              <a:rPr lang="de-DE" noProof="0"/>
            </a:br>
            <a:r>
              <a:rPr lang="de-DE"/>
              <a:t>Aktive Einbindung von Patientinnen &amp; Patienten</a:t>
            </a:r>
            <a:endParaRPr lang="en-US"/>
          </a:p>
        </p:txBody>
      </p:sp>
      <p:sp>
        <p:nvSpPr>
          <p:cNvPr id="545" name="Textplatzhalter 544">
            <a:extLst>
              <a:ext uri="{FF2B5EF4-FFF2-40B4-BE49-F238E27FC236}">
                <a16:creationId xmlns:a16="http://schemas.microsoft.com/office/drawing/2014/main" id="{B1235AE8-BD0D-0F2C-F00C-129A6B3927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238AD6-11E9-3EB9-935A-B1A9F6684AE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pt-BR"/>
              <a:t>A91GER-H-001672-E4</a:t>
            </a:r>
            <a:endParaRPr lang="de-DE"/>
          </a:p>
        </p:txBody>
      </p:sp>
      <p:grpSp>
        <p:nvGrpSpPr>
          <p:cNvPr id="562" name="Gruppieren 561">
            <a:extLst>
              <a:ext uri="{FF2B5EF4-FFF2-40B4-BE49-F238E27FC236}">
                <a16:creationId xmlns:a16="http://schemas.microsoft.com/office/drawing/2014/main" id="{05BA45E6-3D83-7FBC-CFCD-C92577A68CA4}"/>
              </a:ext>
            </a:extLst>
          </p:cNvPr>
          <p:cNvGrpSpPr/>
          <p:nvPr/>
        </p:nvGrpSpPr>
        <p:grpSpPr>
          <a:xfrm>
            <a:off x="9210675" y="5084932"/>
            <a:ext cx="2201842" cy="906229"/>
            <a:chOff x="9210675" y="5084932"/>
            <a:chExt cx="2201842" cy="906229"/>
          </a:xfrm>
        </p:grpSpPr>
        <p:sp>
          <p:nvSpPr>
            <p:cNvPr id="506" name="Rechteck 505">
              <a:extLst>
                <a:ext uri="{FF2B5EF4-FFF2-40B4-BE49-F238E27FC236}">
                  <a16:creationId xmlns:a16="http://schemas.microsoft.com/office/drawing/2014/main" id="{855ED48A-DA04-D66F-26F9-25B679633F3A}"/>
                </a:ext>
              </a:extLst>
            </p:cNvPr>
            <p:cNvSpPr>
              <a:spLocks/>
            </p:cNvSpPr>
            <p:nvPr/>
          </p:nvSpPr>
          <p:spPr>
            <a:xfrm>
              <a:off x="9210675" y="5084932"/>
              <a:ext cx="2201842" cy="90622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ctr"/>
              <a:r>
                <a:rPr lang="en-US" sz="1000" b="1" i="1">
                  <a:solidFill>
                    <a:schemeClr val="accent5"/>
                  </a:solidFill>
                </a:rPr>
                <a:t>Ein </a:t>
              </a:r>
              <a:r>
                <a:rPr lang="en-US" sz="1000" b="1" i="1" err="1">
                  <a:solidFill>
                    <a:schemeClr val="accent5"/>
                  </a:solidFill>
                </a:rPr>
                <a:t>Mehrwertdienst</a:t>
              </a:r>
              <a:r>
                <a:rPr lang="en-US" sz="1000" b="1" i="1">
                  <a:solidFill>
                    <a:schemeClr val="accent5"/>
                  </a:solidFill>
                </a:rPr>
                <a:t> der</a:t>
              </a:r>
            </a:p>
          </p:txBody>
        </p:sp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893DE335-B8A8-6D76-AC85-7C363D1BC1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b="30378"/>
            <a:stretch/>
          </p:blipFill>
          <p:spPr>
            <a:xfrm>
              <a:off x="9896567" y="5359400"/>
              <a:ext cx="764916" cy="360272"/>
            </a:xfrm>
            <a:prstGeom prst="rect">
              <a:avLst/>
            </a:prstGeom>
          </p:spPr>
        </p:pic>
      </p:grpSp>
      <p:grpSp>
        <p:nvGrpSpPr>
          <p:cNvPr id="559" name="Gruppieren 558">
            <a:extLst>
              <a:ext uri="{FF2B5EF4-FFF2-40B4-BE49-F238E27FC236}">
                <a16:creationId xmlns:a16="http://schemas.microsoft.com/office/drawing/2014/main" id="{CE283433-D750-4D0D-98CB-888E4C69F2EE}"/>
              </a:ext>
            </a:extLst>
          </p:cNvPr>
          <p:cNvGrpSpPr>
            <a:grpSpLocks/>
          </p:cNvGrpSpPr>
          <p:nvPr/>
        </p:nvGrpSpPr>
        <p:grpSpPr>
          <a:xfrm>
            <a:off x="9210675" y="1826246"/>
            <a:ext cx="2201842" cy="906229"/>
            <a:chOff x="9210675" y="1826246"/>
            <a:chExt cx="2201842" cy="906229"/>
          </a:xfrm>
        </p:grpSpPr>
        <p:sp>
          <p:nvSpPr>
            <p:cNvPr id="509" name="Rechteck 508">
              <a:extLst>
                <a:ext uri="{FF2B5EF4-FFF2-40B4-BE49-F238E27FC236}">
                  <a16:creationId xmlns:a16="http://schemas.microsoft.com/office/drawing/2014/main" id="{82756B9B-3349-F1AE-8459-889318524D47}"/>
                </a:ext>
              </a:extLst>
            </p:cNvPr>
            <p:cNvSpPr>
              <a:spLocks/>
            </p:cNvSpPr>
            <p:nvPr/>
          </p:nvSpPr>
          <p:spPr>
            <a:xfrm>
              <a:off x="9210675" y="1826246"/>
              <a:ext cx="2201842" cy="90622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tlCol="0" anchor="t"/>
            <a:lstStyle/>
            <a:p>
              <a:pPr algn="l"/>
              <a:r>
                <a:rPr lang="en-US" sz="1200" b="1" err="1">
                  <a:solidFill>
                    <a:schemeClr val="tx1"/>
                  </a:solidFill>
                </a:rPr>
                <a:t>Medizinische</a:t>
              </a:r>
              <a:r>
                <a:rPr lang="en-US" sz="1200" b="1">
                  <a:solidFill>
                    <a:schemeClr val="tx1"/>
                  </a:solidFill>
                </a:rPr>
                <a:t> </a:t>
              </a:r>
              <a:br>
                <a:rPr lang="en-US" sz="1200" b="1">
                  <a:solidFill>
                    <a:schemeClr val="tx1"/>
                  </a:solidFill>
                </a:rPr>
              </a:br>
              <a:r>
                <a:rPr lang="en-US" sz="1200" b="1">
                  <a:solidFill>
                    <a:schemeClr val="tx1"/>
                  </a:solidFill>
                </a:rPr>
                <a:t>Partner</a:t>
              </a:r>
            </a:p>
          </p:txBody>
        </p:sp>
        <p:grpSp>
          <p:nvGrpSpPr>
            <p:cNvPr id="291" name="Gruppieren 290">
              <a:extLst>
                <a:ext uri="{FF2B5EF4-FFF2-40B4-BE49-F238E27FC236}">
                  <a16:creationId xmlns:a16="http://schemas.microsoft.com/office/drawing/2014/main" id="{C41F10AB-0F43-9F63-4178-0CDC5C14C680}"/>
                </a:ext>
              </a:extLst>
            </p:cNvPr>
            <p:cNvGrpSpPr/>
            <p:nvPr/>
          </p:nvGrpSpPr>
          <p:grpSpPr>
            <a:xfrm>
              <a:off x="10463363" y="1936376"/>
              <a:ext cx="788837" cy="693056"/>
              <a:chOff x="9291637" y="1854304"/>
              <a:chExt cx="950913" cy="835453"/>
            </a:xfrm>
          </p:grpSpPr>
          <p:grpSp>
            <p:nvGrpSpPr>
              <p:cNvPr id="289" name="Gruppieren 288">
                <a:extLst>
                  <a:ext uri="{FF2B5EF4-FFF2-40B4-BE49-F238E27FC236}">
                    <a16:creationId xmlns:a16="http://schemas.microsoft.com/office/drawing/2014/main" id="{09D9AF2C-732A-5056-94BE-941C5AF4F8D9}"/>
                  </a:ext>
                </a:extLst>
              </p:cNvPr>
              <p:cNvGrpSpPr/>
              <p:nvPr/>
            </p:nvGrpSpPr>
            <p:grpSpPr>
              <a:xfrm>
                <a:off x="9956732" y="1880092"/>
                <a:ext cx="285818" cy="809665"/>
                <a:chOff x="8386350" y="7360423"/>
                <a:chExt cx="1906395" cy="5400434"/>
              </a:xfrm>
            </p:grpSpPr>
            <p:grpSp>
              <p:nvGrpSpPr>
                <p:cNvPr id="26" name="Grafik 23">
                  <a:extLst>
                    <a:ext uri="{FF2B5EF4-FFF2-40B4-BE49-F238E27FC236}">
                      <a16:creationId xmlns:a16="http://schemas.microsoft.com/office/drawing/2014/main" id="{FC80289D-3612-D318-79EC-412B3916977F}"/>
                    </a:ext>
                  </a:extLst>
                </p:cNvPr>
                <p:cNvGrpSpPr/>
                <p:nvPr/>
              </p:nvGrpSpPr>
              <p:grpSpPr>
                <a:xfrm>
                  <a:off x="8386350" y="7360423"/>
                  <a:ext cx="1583022" cy="5400434"/>
                  <a:chOff x="8386350" y="781823"/>
                  <a:chExt cx="1583022" cy="5400434"/>
                </a:xfrm>
              </p:grpSpPr>
              <p:sp>
                <p:nvSpPr>
                  <p:cNvPr id="27" name="Freihandform: Form 26">
                    <a:extLst>
                      <a:ext uri="{FF2B5EF4-FFF2-40B4-BE49-F238E27FC236}">
                        <a16:creationId xmlns:a16="http://schemas.microsoft.com/office/drawing/2014/main" id="{E61B68B9-FFC7-B1B7-B212-2BEB8E9D2CAD}"/>
                      </a:ext>
                    </a:extLst>
                  </p:cNvPr>
                  <p:cNvSpPr/>
                  <p:nvPr/>
                </p:nvSpPr>
                <p:spPr>
                  <a:xfrm>
                    <a:off x="9182798" y="5806059"/>
                    <a:ext cx="145732" cy="145732"/>
                  </a:xfrm>
                  <a:custGeom>
                    <a:avLst/>
                    <a:gdLst>
                      <a:gd name="connsiteX0" fmla="*/ 145732 w 145732"/>
                      <a:gd name="connsiteY0" fmla="*/ 72866 h 145732"/>
                      <a:gd name="connsiteX1" fmla="*/ 72866 w 145732"/>
                      <a:gd name="connsiteY1" fmla="*/ 145733 h 145732"/>
                      <a:gd name="connsiteX2" fmla="*/ -1 w 145732"/>
                      <a:gd name="connsiteY2" fmla="*/ 72866 h 145732"/>
                      <a:gd name="connsiteX3" fmla="*/ 72866 w 145732"/>
                      <a:gd name="connsiteY3" fmla="*/ 0 h 145732"/>
                      <a:gd name="connsiteX4" fmla="*/ 145732 w 145732"/>
                      <a:gd name="connsiteY4" fmla="*/ 72866 h 1457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5732" h="145732">
                        <a:moveTo>
                          <a:pt x="145732" y="72866"/>
                        </a:moveTo>
                        <a:cubicBezTo>
                          <a:pt x="145732" y="113109"/>
                          <a:pt x="113109" y="145733"/>
                          <a:pt x="72866" y="145733"/>
                        </a:cubicBezTo>
                        <a:cubicBezTo>
                          <a:pt x="32623" y="145733"/>
                          <a:pt x="-1" y="113109"/>
                          <a:pt x="-1" y="72866"/>
                        </a:cubicBezTo>
                        <a:cubicBezTo>
                          <a:pt x="-1" y="32624"/>
                          <a:pt x="32623" y="0"/>
                          <a:pt x="72866" y="0"/>
                        </a:cubicBezTo>
                        <a:cubicBezTo>
                          <a:pt x="113109" y="0"/>
                          <a:pt x="145732" y="32624"/>
                          <a:pt x="145732" y="7286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" name="Freihandform: Form 27">
                    <a:extLst>
                      <a:ext uri="{FF2B5EF4-FFF2-40B4-BE49-F238E27FC236}">
                        <a16:creationId xmlns:a16="http://schemas.microsoft.com/office/drawing/2014/main" id="{A592A07D-196E-B004-84E2-64C5303D567F}"/>
                      </a:ext>
                    </a:extLst>
                  </p:cNvPr>
                  <p:cNvSpPr/>
                  <p:nvPr/>
                </p:nvSpPr>
                <p:spPr>
                  <a:xfrm>
                    <a:off x="9365963" y="5825680"/>
                    <a:ext cx="145732" cy="145732"/>
                  </a:xfrm>
                  <a:custGeom>
                    <a:avLst/>
                    <a:gdLst>
                      <a:gd name="connsiteX0" fmla="*/ 145733 w 145732"/>
                      <a:gd name="connsiteY0" fmla="*/ 72866 h 145732"/>
                      <a:gd name="connsiteX1" fmla="*/ 72866 w 145732"/>
                      <a:gd name="connsiteY1" fmla="*/ 145733 h 145732"/>
                      <a:gd name="connsiteX2" fmla="*/ 0 w 145732"/>
                      <a:gd name="connsiteY2" fmla="*/ 72866 h 145732"/>
                      <a:gd name="connsiteX3" fmla="*/ 72866 w 145732"/>
                      <a:gd name="connsiteY3" fmla="*/ 0 h 145732"/>
                      <a:gd name="connsiteX4" fmla="*/ 145733 w 145732"/>
                      <a:gd name="connsiteY4" fmla="*/ 72866 h 1457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5732" h="145732">
                        <a:moveTo>
                          <a:pt x="145733" y="72866"/>
                        </a:moveTo>
                        <a:cubicBezTo>
                          <a:pt x="145733" y="113109"/>
                          <a:pt x="113109" y="145733"/>
                          <a:pt x="72866" y="145733"/>
                        </a:cubicBezTo>
                        <a:cubicBezTo>
                          <a:pt x="32623" y="145733"/>
                          <a:pt x="0" y="113109"/>
                          <a:pt x="0" y="72866"/>
                        </a:cubicBezTo>
                        <a:cubicBezTo>
                          <a:pt x="0" y="32624"/>
                          <a:pt x="32623" y="0"/>
                          <a:pt x="72866" y="0"/>
                        </a:cubicBezTo>
                        <a:cubicBezTo>
                          <a:pt x="113109" y="0"/>
                          <a:pt x="145733" y="32624"/>
                          <a:pt x="145733" y="7286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9" name="Freihandform: Form 28">
                    <a:extLst>
                      <a:ext uri="{FF2B5EF4-FFF2-40B4-BE49-F238E27FC236}">
                        <a16:creationId xmlns:a16="http://schemas.microsoft.com/office/drawing/2014/main" id="{D75520E1-259F-A2A8-9D16-3BA3C84038BE}"/>
                      </a:ext>
                    </a:extLst>
                  </p:cNvPr>
                  <p:cNvSpPr/>
                  <p:nvPr/>
                </p:nvSpPr>
                <p:spPr>
                  <a:xfrm>
                    <a:off x="8938672" y="4682013"/>
                    <a:ext cx="389953" cy="1217787"/>
                  </a:xfrm>
                  <a:custGeom>
                    <a:avLst/>
                    <a:gdLst>
                      <a:gd name="connsiteX0" fmla="*/ 389954 w 389953"/>
                      <a:gd name="connsiteY0" fmla="*/ 1196054 h 1217787"/>
                      <a:gd name="connsiteX1" fmla="*/ 245079 w 389953"/>
                      <a:gd name="connsiteY1" fmla="*/ 1208532 h 1217787"/>
                      <a:gd name="connsiteX2" fmla="*/ 52388 w 389953"/>
                      <a:gd name="connsiteY2" fmla="*/ 579406 h 1217787"/>
                      <a:gd name="connsiteX3" fmla="*/ 0 w 389953"/>
                      <a:gd name="connsiteY3" fmla="*/ 44863 h 1217787"/>
                      <a:gd name="connsiteX4" fmla="*/ 306705 w 389953"/>
                      <a:gd name="connsiteY4" fmla="*/ 0 h 1217787"/>
                      <a:gd name="connsiteX5" fmla="*/ 316039 w 389953"/>
                      <a:gd name="connsiteY5" fmla="*/ 166878 h 1217787"/>
                      <a:gd name="connsiteX6" fmla="*/ 351091 w 389953"/>
                      <a:gd name="connsiteY6" fmla="*/ 480251 h 1217787"/>
                      <a:gd name="connsiteX7" fmla="*/ 361760 w 389953"/>
                      <a:gd name="connsiteY7" fmla="*/ 876681 h 1217787"/>
                      <a:gd name="connsiteX8" fmla="*/ 389858 w 389953"/>
                      <a:gd name="connsiteY8" fmla="*/ 1195959 h 12177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89953" h="1217787">
                        <a:moveTo>
                          <a:pt x="389954" y="1196054"/>
                        </a:moveTo>
                        <a:cubicBezTo>
                          <a:pt x="339471" y="1220438"/>
                          <a:pt x="293561" y="1223867"/>
                          <a:pt x="245079" y="1208532"/>
                        </a:cubicBezTo>
                        <a:cubicBezTo>
                          <a:pt x="209550" y="1038987"/>
                          <a:pt x="96964" y="734759"/>
                          <a:pt x="52388" y="579406"/>
                        </a:cubicBezTo>
                        <a:cubicBezTo>
                          <a:pt x="7715" y="423767"/>
                          <a:pt x="0" y="44863"/>
                          <a:pt x="0" y="44863"/>
                        </a:cubicBezTo>
                        <a:lnTo>
                          <a:pt x="306705" y="0"/>
                        </a:lnTo>
                        <a:lnTo>
                          <a:pt x="316039" y="166878"/>
                        </a:lnTo>
                        <a:cubicBezTo>
                          <a:pt x="316039" y="166878"/>
                          <a:pt x="347472" y="345662"/>
                          <a:pt x="351091" y="480251"/>
                        </a:cubicBezTo>
                        <a:cubicBezTo>
                          <a:pt x="354711" y="614839"/>
                          <a:pt x="361760" y="876681"/>
                          <a:pt x="361760" y="876681"/>
                        </a:cubicBezTo>
                        <a:lnTo>
                          <a:pt x="389858" y="1195959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0" name="Freihandform: Form 29">
                    <a:extLst>
                      <a:ext uri="{FF2B5EF4-FFF2-40B4-BE49-F238E27FC236}">
                        <a16:creationId xmlns:a16="http://schemas.microsoft.com/office/drawing/2014/main" id="{B49B46D6-1FB3-A453-808B-826FD673B7ED}"/>
                      </a:ext>
                    </a:extLst>
                  </p:cNvPr>
                  <p:cNvSpPr/>
                  <p:nvPr/>
                </p:nvSpPr>
                <p:spPr>
                  <a:xfrm>
                    <a:off x="8936291" y="4539329"/>
                    <a:ext cx="309943" cy="318515"/>
                  </a:xfrm>
                  <a:custGeom>
                    <a:avLst/>
                    <a:gdLst>
                      <a:gd name="connsiteX0" fmla="*/ 309944 w 309943"/>
                      <a:gd name="connsiteY0" fmla="*/ 159258 h 318515"/>
                      <a:gd name="connsiteX1" fmla="*/ 154972 w 309943"/>
                      <a:gd name="connsiteY1" fmla="*/ 318516 h 318515"/>
                      <a:gd name="connsiteX2" fmla="*/ 0 w 309943"/>
                      <a:gd name="connsiteY2" fmla="*/ 159258 h 318515"/>
                      <a:gd name="connsiteX3" fmla="*/ 154972 w 309943"/>
                      <a:gd name="connsiteY3" fmla="*/ 0 h 318515"/>
                      <a:gd name="connsiteX4" fmla="*/ 309944 w 309943"/>
                      <a:gd name="connsiteY4" fmla="*/ 159258 h 3185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9943" h="318515">
                        <a:moveTo>
                          <a:pt x="309944" y="159258"/>
                        </a:moveTo>
                        <a:cubicBezTo>
                          <a:pt x="309944" y="247214"/>
                          <a:pt x="240561" y="318516"/>
                          <a:pt x="154972" y="318516"/>
                        </a:cubicBezTo>
                        <a:cubicBezTo>
                          <a:pt x="69383" y="318516"/>
                          <a:pt x="0" y="247214"/>
                          <a:pt x="0" y="159258"/>
                        </a:cubicBezTo>
                        <a:cubicBezTo>
                          <a:pt x="0" y="71302"/>
                          <a:pt x="69383" y="0"/>
                          <a:pt x="154972" y="0"/>
                        </a:cubicBezTo>
                        <a:cubicBezTo>
                          <a:pt x="240560" y="0"/>
                          <a:pt x="309944" y="71302"/>
                          <a:pt x="309944" y="159258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1" name="Freihandform: Form 30">
                    <a:extLst>
                      <a:ext uri="{FF2B5EF4-FFF2-40B4-BE49-F238E27FC236}">
                        <a16:creationId xmlns:a16="http://schemas.microsoft.com/office/drawing/2014/main" id="{E6A38647-741A-92BB-087F-C728C9B9CBB9}"/>
                      </a:ext>
                    </a:extLst>
                  </p:cNvPr>
                  <p:cNvSpPr/>
                  <p:nvPr/>
                </p:nvSpPr>
                <p:spPr>
                  <a:xfrm>
                    <a:off x="9325196" y="4544758"/>
                    <a:ext cx="311086" cy="311086"/>
                  </a:xfrm>
                  <a:custGeom>
                    <a:avLst/>
                    <a:gdLst>
                      <a:gd name="connsiteX0" fmla="*/ 311086 w 311086"/>
                      <a:gd name="connsiteY0" fmla="*/ 155543 h 311086"/>
                      <a:gd name="connsiteX1" fmla="*/ 155543 w 311086"/>
                      <a:gd name="connsiteY1" fmla="*/ 311086 h 311086"/>
                      <a:gd name="connsiteX2" fmla="*/ -1 w 311086"/>
                      <a:gd name="connsiteY2" fmla="*/ 155543 h 311086"/>
                      <a:gd name="connsiteX3" fmla="*/ 155543 w 311086"/>
                      <a:gd name="connsiteY3" fmla="*/ 0 h 311086"/>
                      <a:gd name="connsiteX4" fmla="*/ 311086 w 311086"/>
                      <a:gd name="connsiteY4" fmla="*/ 155543 h 3110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1086" h="311086">
                        <a:moveTo>
                          <a:pt x="311086" y="155543"/>
                        </a:moveTo>
                        <a:cubicBezTo>
                          <a:pt x="311086" y="241447"/>
                          <a:pt x="241447" y="311086"/>
                          <a:pt x="155543" y="311086"/>
                        </a:cubicBezTo>
                        <a:cubicBezTo>
                          <a:pt x="69639" y="311086"/>
                          <a:pt x="-1" y="241447"/>
                          <a:pt x="-1" y="155543"/>
                        </a:cubicBezTo>
                        <a:cubicBezTo>
                          <a:pt x="-1" y="69639"/>
                          <a:pt x="69639" y="0"/>
                          <a:pt x="155543" y="0"/>
                        </a:cubicBezTo>
                        <a:cubicBezTo>
                          <a:pt x="241447" y="0"/>
                          <a:pt x="311086" y="69639"/>
                          <a:pt x="311086" y="155543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2" name="Freihandform: Form 31">
                    <a:extLst>
                      <a:ext uri="{FF2B5EF4-FFF2-40B4-BE49-F238E27FC236}">
                        <a16:creationId xmlns:a16="http://schemas.microsoft.com/office/drawing/2014/main" id="{588E08F5-DAB6-2980-EC19-CFE8F03211F0}"/>
                      </a:ext>
                    </a:extLst>
                  </p:cNvPr>
                  <p:cNvSpPr/>
                  <p:nvPr/>
                </p:nvSpPr>
                <p:spPr>
                  <a:xfrm>
                    <a:off x="9111551" y="5873591"/>
                    <a:ext cx="251269" cy="207930"/>
                  </a:xfrm>
                  <a:custGeom>
                    <a:avLst/>
                    <a:gdLst>
                      <a:gd name="connsiteX0" fmla="*/ 72294 w 251269"/>
                      <a:gd name="connsiteY0" fmla="*/ 0 h 207930"/>
                      <a:gd name="connsiteX1" fmla="*/ 0 w 251269"/>
                      <a:gd name="connsiteY1" fmla="*/ 201549 h 207930"/>
                      <a:gd name="connsiteX2" fmla="*/ 251270 w 251269"/>
                      <a:gd name="connsiteY2" fmla="*/ 207930 h 207930"/>
                      <a:gd name="connsiteX3" fmla="*/ 216789 w 251269"/>
                      <a:gd name="connsiteY3" fmla="*/ 3334 h 207930"/>
                      <a:gd name="connsiteX4" fmla="*/ 72294 w 251269"/>
                      <a:gd name="connsiteY4" fmla="*/ 95 h 207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51269" h="207930">
                        <a:moveTo>
                          <a:pt x="72294" y="0"/>
                        </a:moveTo>
                        <a:cubicBezTo>
                          <a:pt x="56579" y="148399"/>
                          <a:pt x="952" y="162496"/>
                          <a:pt x="0" y="201549"/>
                        </a:cubicBezTo>
                        <a:lnTo>
                          <a:pt x="251270" y="207930"/>
                        </a:lnTo>
                        <a:cubicBezTo>
                          <a:pt x="246126" y="145922"/>
                          <a:pt x="216789" y="118300"/>
                          <a:pt x="216789" y="3334"/>
                        </a:cubicBezTo>
                        <a:lnTo>
                          <a:pt x="72294" y="95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3" name="Freihandform: Form 32">
                    <a:extLst>
                      <a:ext uri="{FF2B5EF4-FFF2-40B4-BE49-F238E27FC236}">
                        <a16:creationId xmlns:a16="http://schemas.microsoft.com/office/drawing/2014/main" id="{6E1C5875-E337-B3F8-BCEB-14952D6BB77C}"/>
                      </a:ext>
                    </a:extLst>
                  </p:cNvPr>
                  <p:cNvSpPr/>
                  <p:nvPr/>
                </p:nvSpPr>
                <p:spPr>
                  <a:xfrm>
                    <a:off x="9040208" y="6087713"/>
                    <a:ext cx="343280" cy="94544"/>
                  </a:xfrm>
                  <a:custGeom>
                    <a:avLst/>
                    <a:gdLst>
                      <a:gd name="connsiteX0" fmla="*/ 322326 w 343280"/>
                      <a:gd name="connsiteY0" fmla="*/ 89821 h 94544"/>
                      <a:gd name="connsiteX1" fmla="*/ 21145 w 343280"/>
                      <a:gd name="connsiteY1" fmla="*/ 89630 h 94544"/>
                      <a:gd name="connsiteX2" fmla="*/ 0 w 343280"/>
                      <a:gd name="connsiteY2" fmla="*/ 60960 h 94544"/>
                      <a:gd name="connsiteX3" fmla="*/ 0 w 343280"/>
                      <a:gd name="connsiteY3" fmla="*/ 0 h 94544"/>
                      <a:gd name="connsiteX4" fmla="*/ 343281 w 343280"/>
                      <a:gd name="connsiteY4" fmla="*/ 0 h 94544"/>
                      <a:gd name="connsiteX5" fmla="*/ 343281 w 343280"/>
                      <a:gd name="connsiteY5" fmla="*/ 61150 h 94544"/>
                      <a:gd name="connsiteX6" fmla="*/ 322326 w 343280"/>
                      <a:gd name="connsiteY6" fmla="*/ 89821 h 945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43280" h="94544">
                        <a:moveTo>
                          <a:pt x="322326" y="89821"/>
                        </a:moveTo>
                        <a:cubicBezTo>
                          <a:pt x="218218" y="97822"/>
                          <a:pt x="135160" y="94202"/>
                          <a:pt x="21145" y="89630"/>
                        </a:cubicBezTo>
                        <a:cubicBezTo>
                          <a:pt x="8954" y="89154"/>
                          <a:pt x="0" y="75533"/>
                          <a:pt x="0" y="60960"/>
                        </a:cubicBezTo>
                        <a:lnTo>
                          <a:pt x="0" y="0"/>
                        </a:lnTo>
                        <a:cubicBezTo>
                          <a:pt x="0" y="0"/>
                          <a:pt x="343281" y="0"/>
                          <a:pt x="343281" y="0"/>
                        </a:cubicBezTo>
                        <a:lnTo>
                          <a:pt x="343281" y="61150"/>
                        </a:lnTo>
                        <a:cubicBezTo>
                          <a:pt x="343281" y="75629"/>
                          <a:pt x="334423" y="88868"/>
                          <a:pt x="322326" y="89821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" name="Freihandform: Form 33">
                    <a:extLst>
                      <a:ext uri="{FF2B5EF4-FFF2-40B4-BE49-F238E27FC236}">
                        <a16:creationId xmlns:a16="http://schemas.microsoft.com/office/drawing/2014/main" id="{E3EE99E0-89D8-E49D-96D7-8145A6F81818}"/>
                      </a:ext>
                    </a:extLst>
                  </p:cNvPr>
                  <p:cNvSpPr/>
                  <p:nvPr/>
                </p:nvSpPr>
                <p:spPr>
                  <a:xfrm>
                    <a:off x="9040208" y="5934550"/>
                    <a:ext cx="343280" cy="181734"/>
                  </a:xfrm>
                  <a:custGeom>
                    <a:avLst/>
                    <a:gdLst>
                      <a:gd name="connsiteX0" fmla="*/ 343281 w 343280"/>
                      <a:gd name="connsiteY0" fmla="*/ 153163 h 181734"/>
                      <a:gd name="connsiteX1" fmla="*/ 294227 w 343280"/>
                      <a:gd name="connsiteY1" fmla="*/ 23147 h 181734"/>
                      <a:gd name="connsiteX2" fmla="*/ 279273 w 343280"/>
                      <a:gd name="connsiteY2" fmla="*/ 64199 h 181734"/>
                      <a:gd name="connsiteX3" fmla="*/ 98964 w 343280"/>
                      <a:gd name="connsiteY3" fmla="*/ 59628 h 181734"/>
                      <a:gd name="connsiteX4" fmla="*/ 0 w 343280"/>
                      <a:gd name="connsiteY4" fmla="*/ 153163 h 181734"/>
                      <a:gd name="connsiteX5" fmla="*/ 343281 w 343280"/>
                      <a:gd name="connsiteY5" fmla="*/ 153163 h 1817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43280" h="181734">
                        <a:moveTo>
                          <a:pt x="343281" y="153163"/>
                        </a:moveTo>
                        <a:cubicBezTo>
                          <a:pt x="303847" y="73344"/>
                          <a:pt x="306133" y="10193"/>
                          <a:pt x="294227" y="23147"/>
                        </a:cubicBezTo>
                        <a:cubicBezTo>
                          <a:pt x="301276" y="53055"/>
                          <a:pt x="295656" y="65914"/>
                          <a:pt x="279273" y="64199"/>
                        </a:cubicBezTo>
                        <a:cubicBezTo>
                          <a:pt x="279273" y="64199"/>
                          <a:pt x="167544" y="-77151"/>
                          <a:pt x="98964" y="59628"/>
                        </a:cubicBezTo>
                        <a:cubicBezTo>
                          <a:pt x="57340" y="142591"/>
                          <a:pt x="4096" y="120397"/>
                          <a:pt x="0" y="153163"/>
                        </a:cubicBezTo>
                        <a:cubicBezTo>
                          <a:pt x="16478" y="185738"/>
                          <a:pt x="323945" y="196406"/>
                          <a:pt x="343281" y="15316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" name="Freihandform: Form 34">
                    <a:extLst>
                      <a:ext uri="{FF2B5EF4-FFF2-40B4-BE49-F238E27FC236}">
                        <a16:creationId xmlns:a16="http://schemas.microsoft.com/office/drawing/2014/main" id="{735EB25D-09DE-8829-0CFB-EF4EE5463E0D}"/>
                      </a:ext>
                    </a:extLst>
                  </p:cNvPr>
                  <p:cNvSpPr/>
                  <p:nvPr/>
                </p:nvSpPr>
                <p:spPr>
                  <a:xfrm>
                    <a:off x="9324879" y="4677727"/>
                    <a:ext cx="326797" cy="1236394"/>
                  </a:xfrm>
                  <a:custGeom>
                    <a:avLst/>
                    <a:gdLst>
                      <a:gd name="connsiteX0" fmla="*/ 41084 w 326797"/>
                      <a:gd name="connsiteY0" fmla="*/ 1218819 h 1236394"/>
                      <a:gd name="connsiteX1" fmla="*/ 186626 w 326797"/>
                      <a:gd name="connsiteY1" fmla="*/ 1215199 h 1236394"/>
                      <a:gd name="connsiteX2" fmla="*/ 315405 w 326797"/>
                      <a:gd name="connsiteY2" fmla="*/ 571024 h 1236394"/>
                      <a:gd name="connsiteX3" fmla="*/ 309594 w 326797"/>
                      <a:gd name="connsiteY3" fmla="*/ 0 h 1236394"/>
                      <a:gd name="connsiteX4" fmla="*/ 222 w 326797"/>
                      <a:gd name="connsiteY4" fmla="*/ 286 h 1236394"/>
                      <a:gd name="connsiteX5" fmla="*/ 8033 w 326797"/>
                      <a:gd name="connsiteY5" fmla="*/ 502825 h 1236394"/>
                      <a:gd name="connsiteX6" fmla="*/ 37655 w 326797"/>
                      <a:gd name="connsiteY6" fmla="*/ 898302 h 1236394"/>
                      <a:gd name="connsiteX7" fmla="*/ 40989 w 326797"/>
                      <a:gd name="connsiteY7" fmla="*/ 1218819 h 12363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797" h="1236394">
                        <a:moveTo>
                          <a:pt x="41084" y="1218819"/>
                        </a:moveTo>
                        <a:cubicBezTo>
                          <a:pt x="93853" y="1243870"/>
                          <a:pt x="140049" y="1241679"/>
                          <a:pt x="186626" y="1215199"/>
                        </a:cubicBezTo>
                        <a:cubicBezTo>
                          <a:pt x="204724" y="1042892"/>
                          <a:pt x="286830" y="730091"/>
                          <a:pt x="315405" y="571024"/>
                        </a:cubicBezTo>
                        <a:cubicBezTo>
                          <a:pt x="344075" y="411575"/>
                          <a:pt x="309594" y="0"/>
                          <a:pt x="309594" y="0"/>
                        </a:cubicBezTo>
                        <a:lnTo>
                          <a:pt x="222" y="286"/>
                        </a:lnTo>
                        <a:cubicBezTo>
                          <a:pt x="222" y="286"/>
                          <a:pt x="-2064" y="368617"/>
                          <a:pt x="8033" y="502825"/>
                        </a:cubicBezTo>
                        <a:cubicBezTo>
                          <a:pt x="18129" y="637032"/>
                          <a:pt x="37655" y="898302"/>
                          <a:pt x="37655" y="898302"/>
                        </a:cubicBezTo>
                        <a:lnTo>
                          <a:pt x="40989" y="1218819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6" name="Freihandform: Form 35">
                    <a:extLst>
                      <a:ext uri="{FF2B5EF4-FFF2-40B4-BE49-F238E27FC236}">
                        <a16:creationId xmlns:a16="http://schemas.microsoft.com/office/drawing/2014/main" id="{4891889A-B054-8BDC-EE83-B0E1075F6962}"/>
                      </a:ext>
                    </a:extLst>
                  </p:cNvPr>
                  <p:cNvSpPr/>
                  <p:nvPr/>
                </p:nvSpPr>
                <p:spPr>
                  <a:xfrm>
                    <a:off x="9333007" y="5892926"/>
                    <a:ext cx="284035" cy="215074"/>
                  </a:xfrm>
                  <a:custGeom>
                    <a:avLst/>
                    <a:gdLst>
                      <a:gd name="connsiteX0" fmla="*/ 178498 w 284035"/>
                      <a:gd name="connsiteY0" fmla="*/ 0 h 215074"/>
                      <a:gd name="connsiteX1" fmla="*/ 284036 w 284035"/>
                      <a:gd name="connsiteY1" fmla="*/ 215075 h 215074"/>
                      <a:gd name="connsiteX2" fmla="*/ 0 w 284035"/>
                      <a:gd name="connsiteY2" fmla="*/ 215075 h 215074"/>
                      <a:gd name="connsiteX3" fmla="*/ 32956 w 284035"/>
                      <a:gd name="connsiteY3" fmla="*/ 4477 h 215074"/>
                      <a:gd name="connsiteX4" fmla="*/ 178594 w 284035"/>
                      <a:gd name="connsiteY4" fmla="*/ 0 h 2150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84035" h="215074">
                        <a:moveTo>
                          <a:pt x="178498" y="0"/>
                        </a:moveTo>
                        <a:cubicBezTo>
                          <a:pt x="199549" y="148685"/>
                          <a:pt x="284036" y="176022"/>
                          <a:pt x="284036" y="215075"/>
                        </a:cubicBezTo>
                        <a:lnTo>
                          <a:pt x="0" y="215075"/>
                        </a:lnTo>
                        <a:cubicBezTo>
                          <a:pt x="0" y="139637"/>
                          <a:pt x="37529" y="86963"/>
                          <a:pt x="32956" y="4477"/>
                        </a:cubicBezTo>
                        <a:lnTo>
                          <a:pt x="178594" y="0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7" name="Freihandform: Form 36">
                    <a:extLst>
                      <a:ext uri="{FF2B5EF4-FFF2-40B4-BE49-F238E27FC236}">
                        <a16:creationId xmlns:a16="http://schemas.microsoft.com/office/drawing/2014/main" id="{04425868-2B88-B380-308B-FA513490E376}"/>
                      </a:ext>
                    </a:extLst>
                  </p:cNvPr>
                  <p:cNvSpPr/>
                  <p:nvPr/>
                </p:nvSpPr>
                <p:spPr>
                  <a:xfrm>
                    <a:off x="9312909" y="6089332"/>
                    <a:ext cx="343280" cy="92916"/>
                  </a:xfrm>
                  <a:custGeom>
                    <a:avLst/>
                    <a:gdLst>
                      <a:gd name="connsiteX0" fmla="*/ 20955 w 343280"/>
                      <a:gd name="connsiteY0" fmla="*/ 89821 h 92916"/>
                      <a:gd name="connsiteX1" fmla="*/ 322135 w 343280"/>
                      <a:gd name="connsiteY1" fmla="*/ 89631 h 92916"/>
                      <a:gd name="connsiteX2" fmla="*/ 343281 w 343280"/>
                      <a:gd name="connsiteY2" fmla="*/ 60960 h 92916"/>
                      <a:gd name="connsiteX3" fmla="*/ 343281 w 343280"/>
                      <a:gd name="connsiteY3" fmla="*/ 0 h 92916"/>
                      <a:gd name="connsiteX4" fmla="*/ 0 w 343280"/>
                      <a:gd name="connsiteY4" fmla="*/ 0 h 92916"/>
                      <a:gd name="connsiteX5" fmla="*/ 0 w 343280"/>
                      <a:gd name="connsiteY5" fmla="*/ 61150 h 92916"/>
                      <a:gd name="connsiteX6" fmla="*/ 20955 w 343280"/>
                      <a:gd name="connsiteY6" fmla="*/ 89821 h 929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43280" h="92916">
                        <a:moveTo>
                          <a:pt x="20955" y="89821"/>
                        </a:moveTo>
                        <a:cubicBezTo>
                          <a:pt x="138969" y="93345"/>
                          <a:pt x="221932" y="94583"/>
                          <a:pt x="322135" y="89631"/>
                        </a:cubicBezTo>
                        <a:cubicBezTo>
                          <a:pt x="334327" y="89059"/>
                          <a:pt x="343281" y="75533"/>
                          <a:pt x="343281" y="60960"/>
                        </a:cubicBezTo>
                        <a:lnTo>
                          <a:pt x="343281" y="0"/>
                        </a:lnTo>
                        <a:cubicBezTo>
                          <a:pt x="343281" y="0"/>
                          <a:pt x="0" y="0"/>
                          <a:pt x="0" y="0"/>
                        </a:cubicBezTo>
                        <a:lnTo>
                          <a:pt x="0" y="61150"/>
                        </a:lnTo>
                        <a:cubicBezTo>
                          <a:pt x="0" y="75629"/>
                          <a:pt x="8858" y="89440"/>
                          <a:pt x="20955" y="89821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8" name="Freihandform: Form 37">
                    <a:extLst>
                      <a:ext uri="{FF2B5EF4-FFF2-40B4-BE49-F238E27FC236}">
                        <a16:creationId xmlns:a16="http://schemas.microsoft.com/office/drawing/2014/main" id="{A69FB320-E4AC-6C72-AFDA-4EB0F1A1075D}"/>
                      </a:ext>
                    </a:extLst>
                  </p:cNvPr>
                  <p:cNvSpPr/>
                  <p:nvPr/>
                </p:nvSpPr>
                <p:spPr>
                  <a:xfrm>
                    <a:off x="9312909" y="5936264"/>
                    <a:ext cx="343280" cy="181734"/>
                  </a:xfrm>
                  <a:custGeom>
                    <a:avLst/>
                    <a:gdLst>
                      <a:gd name="connsiteX0" fmla="*/ 0 w 343280"/>
                      <a:gd name="connsiteY0" fmla="*/ 153163 h 181734"/>
                      <a:gd name="connsiteX1" fmla="*/ 49053 w 343280"/>
                      <a:gd name="connsiteY1" fmla="*/ 23147 h 181734"/>
                      <a:gd name="connsiteX2" fmla="*/ 64008 w 343280"/>
                      <a:gd name="connsiteY2" fmla="*/ 64199 h 181734"/>
                      <a:gd name="connsiteX3" fmla="*/ 244316 w 343280"/>
                      <a:gd name="connsiteY3" fmla="*/ 59628 h 181734"/>
                      <a:gd name="connsiteX4" fmla="*/ 343281 w 343280"/>
                      <a:gd name="connsiteY4" fmla="*/ 153163 h 181734"/>
                      <a:gd name="connsiteX5" fmla="*/ 0 w 343280"/>
                      <a:gd name="connsiteY5" fmla="*/ 153163 h 1817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43280" h="181734">
                        <a:moveTo>
                          <a:pt x="0" y="153163"/>
                        </a:moveTo>
                        <a:cubicBezTo>
                          <a:pt x="39433" y="73344"/>
                          <a:pt x="37147" y="10193"/>
                          <a:pt x="49053" y="23147"/>
                        </a:cubicBezTo>
                        <a:cubicBezTo>
                          <a:pt x="42005" y="53055"/>
                          <a:pt x="47625" y="65914"/>
                          <a:pt x="64008" y="64199"/>
                        </a:cubicBezTo>
                        <a:cubicBezTo>
                          <a:pt x="64008" y="64199"/>
                          <a:pt x="175736" y="-77151"/>
                          <a:pt x="244316" y="59628"/>
                        </a:cubicBezTo>
                        <a:cubicBezTo>
                          <a:pt x="285940" y="142591"/>
                          <a:pt x="339185" y="120397"/>
                          <a:pt x="343281" y="153163"/>
                        </a:cubicBezTo>
                        <a:cubicBezTo>
                          <a:pt x="326803" y="185738"/>
                          <a:pt x="19335" y="196406"/>
                          <a:pt x="0" y="15316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9" name="Freihandform: Form 38">
                    <a:extLst>
                      <a:ext uri="{FF2B5EF4-FFF2-40B4-BE49-F238E27FC236}">
                        <a16:creationId xmlns:a16="http://schemas.microsoft.com/office/drawing/2014/main" id="{84EA4B2E-DED4-65DC-36FB-CCABAB302212}"/>
                      </a:ext>
                    </a:extLst>
                  </p:cNvPr>
                  <p:cNvSpPr/>
                  <p:nvPr/>
                </p:nvSpPr>
                <p:spPr>
                  <a:xfrm>
                    <a:off x="8692641" y="2714148"/>
                    <a:ext cx="1197659" cy="1963864"/>
                  </a:xfrm>
                  <a:custGeom>
                    <a:avLst/>
                    <a:gdLst>
                      <a:gd name="connsiteX0" fmla="*/ 1130998 w 1197659"/>
                      <a:gd name="connsiteY0" fmla="*/ 302133 h 1963864"/>
                      <a:gd name="connsiteX1" fmla="*/ 919353 w 1197659"/>
                      <a:gd name="connsiteY1" fmla="*/ 1429 h 1963864"/>
                      <a:gd name="connsiteX2" fmla="*/ 598075 w 1197659"/>
                      <a:gd name="connsiteY2" fmla="*/ 0 h 1963864"/>
                      <a:gd name="connsiteX3" fmla="*/ 598075 w 1197659"/>
                      <a:gd name="connsiteY3" fmla="*/ 0 h 1963864"/>
                      <a:gd name="connsiteX4" fmla="*/ 594646 w 1197659"/>
                      <a:gd name="connsiteY4" fmla="*/ 0 h 1963864"/>
                      <a:gd name="connsiteX5" fmla="*/ 591216 w 1197659"/>
                      <a:gd name="connsiteY5" fmla="*/ 0 h 1963864"/>
                      <a:gd name="connsiteX6" fmla="*/ 591216 w 1197659"/>
                      <a:gd name="connsiteY6" fmla="*/ 0 h 1963864"/>
                      <a:gd name="connsiteX7" fmla="*/ 269938 w 1197659"/>
                      <a:gd name="connsiteY7" fmla="*/ 1429 h 1963864"/>
                      <a:gd name="connsiteX8" fmla="*/ 65531 w 1197659"/>
                      <a:gd name="connsiteY8" fmla="*/ 316421 h 1963864"/>
                      <a:gd name="connsiteX9" fmla="*/ 0 w 1197659"/>
                      <a:gd name="connsiteY9" fmla="*/ 635127 h 1963864"/>
                      <a:gd name="connsiteX10" fmla="*/ 24384 w 1197659"/>
                      <a:gd name="connsiteY10" fmla="*/ 1062895 h 1963864"/>
                      <a:gd name="connsiteX11" fmla="*/ 117634 w 1197659"/>
                      <a:gd name="connsiteY11" fmla="*/ 1567434 h 1963864"/>
                      <a:gd name="connsiteX12" fmla="*/ 209264 w 1197659"/>
                      <a:gd name="connsiteY12" fmla="*/ 1963865 h 1963864"/>
                      <a:gd name="connsiteX13" fmla="*/ 978217 w 1197659"/>
                      <a:gd name="connsiteY13" fmla="*/ 1963865 h 1963864"/>
                      <a:gd name="connsiteX14" fmla="*/ 1069848 w 1197659"/>
                      <a:gd name="connsiteY14" fmla="*/ 1567434 h 1963864"/>
                      <a:gd name="connsiteX15" fmla="*/ 1163098 w 1197659"/>
                      <a:gd name="connsiteY15" fmla="*/ 1062895 h 1963864"/>
                      <a:gd name="connsiteX16" fmla="*/ 1131189 w 1197659"/>
                      <a:gd name="connsiteY16" fmla="*/ 302133 h 19638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1197659" h="1963864">
                        <a:moveTo>
                          <a:pt x="1130998" y="302133"/>
                        </a:moveTo>
                        <a:cubicBezTo>
                          <a:pt x="1066895" y="164021"/>
                          <a:pt x="919353" y="1429"/>
                          <a:pt x="919353" y="1429"/>
                        </a:cubicBezTo>
                        <a:lnTo>
                          <a:pt x="598075" y="0"/>
                        </a:lnTo>
                        <a:lnTo>
                          <a:pt x="598075" y="0"/>
                        </a:lnTo>
                        <a:cubicBezTo>
                          <a:pt x="598075" y="0"/>
                          <a:pt x="594646" y="0"/>
                          <a:pt x="594646" y="0"/>
                        </a:cubicBezTo>
                        <a:lnTo>
                          <a:pt x="591216" y="0"/>
                        </a:lnTo>
                        <a:cubicBezTo>
                          <a:pt x="591216" y="0"/>
                          <a:pt x="591216" y="0"/>
                          <a:pt x="591216" y="0"/>
                        </a:cubicBezTo>
                        <a:lnTo>
                          <a:pt x="269938" y="1429"/>
                        </a:lnTo>
                        <a:cubicBezTo>
                          <a:pt x="269938" y="1429"/>
                          <a:pt x="120205" y="174308"/>
                          <a:pt x="65531" y="316421"/>
                        </a:cubicBezTo>
                        <a:cubicBezTo>
                          <a:pt x="10953" y="458534"/>
                          <a:pt x="0" y="635127"/>
                          <a:pt x="0" y="635127"/>
                        </a:cubicBezTo>
                        <a:cubicBezTo>
                          <a:pt x="0" y="635127"/>
                          <a:pt x="6477" y="908114"/>
                          <a:pt x="24384" y="1062895"/>
                        </a:cubicBezTo>
                        <a:cubicBezTo>
                          <a:pt x="42196" y="1217676"/>
                          <a:pt x="82677" y="1449991"/>
                          <a:pt x="117634" y="1567434"/>
                        </a:cubicBezTo>
                        <a:cubicBezTo>
                          <a:pt x="152590" y="1684877"/>
                          <a:pt x="209264" y="1963865"/>
                          <a:pt x="209264" y="1963865"/>
                        </a:cubicBezTo>
                        <a:lnTo>
                          <a:pt x="978217" y="1963865"/>
                        </a:lnTo>
                        <a:cubicBezTo>
                          <a:pt x="978217" y="1963865"/>
                          <a:pt x="1034891" y="1684973"/>
                          <a:pt x="1069848" y="1567434"/>
                        </a:cubicBezTo>
                        <a:cubicBezTo>
                          <a:pt x="1104805" y="1449991"/>
                          <a:pt x="1134999" y="1216152"/>
                          <a:pt x="1163098" y="1062895"/>
                        </a:cubicBezTo>
                        <a:cubicBezTo>
                          <a:pt x="1214818" y="780859"/>
                          <a:pt x="1211866" y="476059"/>
                          <a:pt x="1131189" y="302133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0" name="Freihandform: Form 39">
                    <a:extLst>
                      <a:ext uri="{FF2B5EF4-FFF2-40B4-BE49-F238E27FC236}">
                        <a16:creationId xmlns:a16="http://schemas.microsoft.com/office/drawing/2014/main" id="{4D3DEEDE-4302-BC58-B628-7C6A674AC117}"/>
                      </a:ext>
                    </a:extLst>
                  </p:cNvPr>
                  <p:cNvSpPr/>
                  <p:nvPr/>
                </p:nvSpPr>
                <p:spPr>
                  <a:xfrm>
                    <a:off x="8910483" y="810018"/>
                    <a:ext cx="817969" cy="1046717"/>
                  </a:xfrm>
                  <a:custGeom>
                    <a:avLst/>
                    <a:gdLst>
                      <a:gd name="connsiteX0" fmla="*/ 720465 w 817969"/>
                      <a:gd name="connsiteY0" fmla="*/ 892765 h 1046717"/>
                      <a:gd name="connsiteX1" fmla="*/ 679603 w 817969"/>
                      <a:gd name="connsiteY1" fmla="*/ 349364 h 1046717"/>
                      <a:gd name="connsiteX2" fmla="*/ 351467 w 817969"/>
                      <a:gd name="connsiteY2" fmla="*/ 1321 h 1046717"/>
                      <a:gd name="connsiteX3" fmla="*/ 212974 w 817969"/>
                      <a:gd name="connsiteY3" fmla="*/ 66472 h 1046717"/>
                      <a:gd name="connsiteX4" fmla="*/ 25522 w 817969"/>
                      <a:gd name="connsiteY4" fmla="*/ 310312 h 1046717"/>
                      <a:gd name="connsiteX5" fmla="*/ 68956 w 817969"/>
                      <a:gd name="connsiteY5" fmla="*/ 866857 h 1046717"/>
                      <a:gd name="connsiteX6" fmla="*/ 720465 w 817969"/>
                      <a:gd name="connsiteY6" fmla="*/ 892765 h 10467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17969" h="1046717">
                        <a:moveTo>
                          <a:pt x="720465" y="892765"/>
                        </a:moveTo>
                        <a:cubicBezTo>
                          <a:pt x="720465" y="892765"/>
                          <a:pt x="964972" y="672262"/>
                          <a:pt x="679603" y="349364"/>
                        </a:cubicBezTo>
                        <a:cubicBezTo>
                          <a:pt x="593307" y="251733"/>
                          <a:pt x="546444" y="-21254"/>
                          <a:pt x="351467" y="1321"/>
                        </a:cubicBezTo>
                        <a:cubicBezTo>
                          <a:pt x="299555" y="8560"/>
                          <a:pt x="250502" y="23038"/>
                          <a:pt x="212974" y="66472"/>
                        </a:cubicBezTo>
                        <a:cubicBezTo>
                          <a:pt x="212974" y="66472"/>
                          <a:pt x="81243" y="74568"/>
                          <a:pt x="25522" y="310312"/>
                        </a:cubicBezTo>
                        <a:cubicBezTo>
                          <a:pt x="-22008" y="511480"/>
                          <a:pt x="-672" y="769036"/>
                          <a:pt x="68956" y="866857"/>
                        </a:cubicBezTo>
                        <a:cubicBezTo>
                          <a:pt x="228975" y="1099363"/>
                          <a:pt x="446907" y="1104792"/>
                          <a:pt x="720465" y="89276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1" name="Freihandform: Form 40">
                    <a:extLst>
                      <a:ext uri="{FF2B5EF4-FFF2-40B4-BE49-F238E27FC236}">
                        <a16:creationId xmlns:a16="http://schemas.microsoft.com/office/drawing/2014/main" id="{957AE813-D5E4-A05E-4132-D4274EE46EB0}"/>
                      </a:ext>
                    </a:extLst>
                  </p:cNvPr>
                  <p:cNvSpPr/>
                  <p:nvPr/>
                </p:nvSpPr>
                <p:spPr>
                  <a:xfrm>
                    <a:off x="9143174" y="1311973"/>
                    <a:ext cx="298227" cy="463654"/>
                  </a:xfrm>
                  <a:custGeom>
                    <a:avLst/>
                    <a:gdLst>
                      <a:gd name="connsiteX0" fmla="*/ 0 w 298227"/>
                      <a:gd name="connsiteY0" fmla="*/ 385001 h 463654"/>
                      <a:gd name="connsiteX1" fmla="*/ 298228 w 298227"/>
                      <a:gd name="connsiteY1" fmla="*/ 385001 h 463654"/>
                      <a:gd name="connsiteX2" fmla="*/ 298228 w 298227"/>
                      <a:gd name="connsiteY2" fmla="*/ 0 h 463654"/>
                      <a:gd name="connsiteX3" fmla="*/ 0 w 298227"/>
                      <a:gd name="connsiteY3" fmla="*/ 0 h 463654"/>
                      <a:gd name="connsiteX4" fmla="*/ 0 w 298227"/>
                      <a:gd name="connsiteY4" fmla="*/ 385001 h 4636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8227" h="463654">
                        <a:moveTo>
                          <a:pt x="0" y="385001"/>
                        </a:moveTo>
                        <a:cubicBezTo>
                          <a:pt x="51816" y="489109"/>
                          <a:pt x="237172" y="490633"/>
                          <a:pt x="298228" y="385001"/>
                        </a:cubicBezTo>
                        <a:lnTo>
                          <a:pt x="298228" y="0"/>
                        </a:lnTo>
                        <a:lnTo>
                          <a:pt x="0" y="0"/>
                        </a:lnTo>
                        <a:cubicBezTo>
                          <a:pt x="0" y="0"/>
                          <a:pt x="0" y="385001"/>
                          <a:pt x="0" y="385001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2" name="Freihandform: Form 41">
                    <a:extLst>
                      <a:ext uri="{FF2B5EF4-FFF2-40B4-BE49-F238E27FC236}">
                        <a16:creationId xmlns:a16="http://schemas.microsoft.com/office/drawing/2014/main" id="{15ED007A-78A3-8D52-D845-FB4756E2E848}"/>
                      </a:ext>
                    </a:extLst>
                  </p:cNvPr>
                  <p:cNvSpPr/>
                  <p:nvPr/>
                </p:nvSpPr>
                <p:spPr>
                  <a:xfrm>
                    <a:off x="9054877" y="1366837"/>
                    <a:ext cx="361378" cy="476350"/>
                  </a:xfrm>
                  <a:custGeom>
                    <a:avLst/>
                    <a:gdLst>
                      <a:gd name="connsiteX0" fmla="*/ 361379 w 361378"/>
                      <a:gd name="connsiteY0" fmla="*/ 0 h 476350"/>
                      <a:gd name="connsiteX1" fmla="*/ 347186 w 361378"/>
                      <a:gd name="connsiteY1" fmla="*/ 72295 h 476350"/>
                      <a:gd name="connsiteX2" fmla="*/ 224790 w 361378"/>
                      <a:gd name="connsiteY2" fmla="*/ 204121 h 476350"/>
                      <a:gd name="connsiteX3" fmla="*/ 143542 w 361378"/>
                      <a:gd name="connsiteY3" fmla="*/ 260890 h 476350"/>
                      <a:gd name="connsiteX4" fmla="*/ 220313 w 361378"/>
                      <a:gd name="connsiteY4" fmla="*/ 473012 h 476350"/>
                      <a:gd name="connsiteX5" fmla="*/ 0 w 361378"/>
                      <a:gd name="connsiteY5" fmla="*/ 278987 h 476350"/>
                      <a:gd name="connsiteX6" fmla="*/ 88106 w 361378"/>
                      <a:gd name="connsiteY6" fmla="*/ 244888 h 476350"/>
                      <a:gd name="connsiteX7" fmla="*/ 88106 w 361378"/>
                      <a:gd name="connsiteY7" fmla="*/ 0 h 476350"/>
                      <a:gd name="connsiteX8" fmla="*/ 361379 w 361378"/>
                      <a:gd name="connsiteY8" fmla="*/ 0 h 476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61378" h="476350">
                        <a:moveTo>
                          <a:pt x="361379" y="0"/>
                        </a:moveTo>
                        <a:lnTo>
                          <a:pt x="347186" y="72295"/>
                        </a:lnTo>
                        <a:cubicBezTo>
                          <a:pt x="347186" y="72295"/>
                          <a:pt x="321945" y="199168"/>
                          <a:pt x="224790" y="204121"/>
                        </a:cubicBezTo>
                        <a:cubicBezTo>
                          <a:pt x="166688" y="207073"/>
                          <a:pt x="143827" y="229362"/>
                          <a:pt x="143542" y="260890"/>
                        </a:cubicBezTo>
                        <a:cubicBezTo>
                          <a:pt x="142590" y="384810"/>
                          <a:pt x="240030" y="440627"/>
                          <a:pt x="220313" y="473012"/>
                        </a:cubicBezTo>
                        <a:cubicBezTo>
                          <a:pt x="147733" y="501110"/>
                          <a:pt x="34100" y="344519"/>
                          <a:pt x="0" y="278987"/>
                        </a:cubicBezTo>
                        <a:lnTo>
                          <a:pt x="88106" y="244888"/>
                        </a:lnTo>
                        <a:lnTo>
                          <a:pt x="88106" y="0"/>
                        </a:lnTo>
                        <a:lnTo>
                          <a:pt x="361379" y="0"/>
                        </a:ln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" name="Freihandform: Form 42">
                    <a:extLst>
                      <a:ext uri="{FF2B5EF4-FFF2-40B4-BE49-F238E27FC236}">
                        <a16:creationId xmlns:a16="http://schemas.microsoft.com/office/drawing/2014/main" id="{E069042B-EB84-3381-B4C9-40CEBB383B6F}"/>
                      </a:ext>
                    </a:extLst>
                  </p:cNvPr>
                  <p:cNvSpPr/>
                  <p:nvPr/>
                </p:nvSpPr>
                <p:spPr>
                  <a:xfrm>
                    <a:off x="9092333" y="984096"/>
                    <a:ext cx="400153" cy="557524"/>
                  </a:xfrm>
                  <a:custGeom>
                    <a:avLst/>
                    <a:gdLst>
                      <a:gd name="connsiteX0" fmla="*/ 398979 w 400153"/>
                      <a:gd name="connsiteY0" fmla="*/ 188336 h 557524"/>
                      <a:gd name="connsiteX1" fmla="*/ 346687 w 400153"/>
                      <a:gd name="connsiteY1" fmla="*/ 49080 h 557524"/>
                      <a:gd name="connsiteX2" fmla="*/ 200097 w 400153"/>
                      <a:gd name="connsiteY2" fmla="*/ 26 h 557524"/>
                      <a:gd name="connsiteX3" fmla="*/ 53507 w 400153"/>
                      <a:gd name="connsiteY3" fmla="*/ 49080 h 557524"/>
                      <a:gd name="connsiteX4" fmla="*/ 1215 w 400153"/>
                      <a:gd name="connsiteY4" fmla="*/ 188336 h 557524"/>
                      <a:gd name="connsiteX5" fmla="*/ 2073 w 400153"/>
                      <a:gd name="connsiteY5" fmla="*/ 321400 h 557524"/>
                      <a:gd name="connsiteX6" fmla="*/ 61604 w 400153"/>
                      <a:gd name="connsiteY6" fmla="*/ 469704 h 557524"/>
                      <a:gd name="connsiteX7" fmla="*/ 200097 w 400153"/>
                      <a:gd name="connsiteY7" fmla="*/ 557525 h 557524"/>
                      <a:gd name="connsiteX8" fmla="*/ 338591 w 400153"/>
                      <a:gd name="connsiteY8" fmla="*/ 469704 h 557524"/>
                      <a:gd name="connsiteX9" fmla="*/ 398122 w 400153"/>
                      <a:gd name="connsiteY9" fmla="*/ 321400 h 557524"/>
                      <a:gd name="connsiteX10" fmla="*/ 398979 w 400153"/>
                      <a:gd name="connsiteY10" fmla="*/ 188336 h 5575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400153" h="557524">
                        <a:moveTo>
                          <a:pt x="398979" y="188336"/>
                        </a:moveTo>
                        <a:cubicBezTo>
                          <a:pt x="398979" y="188336"/>
                          <a:pt x="394217" y="105278"/>
                          <a:pt x="346687" y="49080"/>
                        </a:cubicBezTo>
                        <a:cubicBezTo>
                          <a:pt x="307540" y="2789"/>
                          <a:pt x="227148" y="-355"/>
                          <a:pt x="200097" y="26"/>
                        </a:cubicBezTo>
                        <a:cubicBezTo>
                          <a:pt x="173046" y="-355"/>
                          <a:pt x="92655" y="2789"/>
                          <a:pt x="53507" y="49080"/>
                        </a:cubicBezTo>
                        <a:cubicBezTo>
                          <a:pt x="5978" y="105278"/>
                          <a:pt x="1215" y="188336"/>
                          <a:pt x="1215" y="188336"/>
                        </a:cubicBezTo>
                        <a:cubicBezTo>
                          <a:pt x="1215" y="188336"/>
                          <a:pt x="-2023" y="284252"/>
                          <a:pt x="2073" y="321400"/>
                        </a:cubicBezTo>
                        <a:cubicBezTo>
                          <a:pt x="6073" y="358452"/>
                          <a:pt x="1882" y="409316"/>
                          <a:pt x="61604" y="469704"/>
                        </a:cubicBezTo>
                        <a:cubicBezTo>
                          <a:pt x="119802" y="528664"/>
                          <a:pt x="159711" y="556191"/>
                          <a:pt x="200097" y="557525"/>
                        </a:cubicBezTo>
                        <a:cubicBezTo>
                          <a:pt x="240483" y="556191"/>
                          <a:pt x="280393" y="528664"/>
                          <a:pt x="338591" y="469704"/>
                        </a:cubicBezTo>
                        <a:cubicBezTo>
                          <a:pt x="398217" y="409316"/>
                          <a:pt x="394026" y="358452"/>
                          <a:pt x="398122" y="321400"/>
                        </a:cubicBezTo>
                        <a:cubicBezTo>
                          <a:pt x="402123" y="284348"/>
                          <a:pt x="398979" y="188336"/>
                          <a:pt x="398979" y="18833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" name="Freihandform: Form 43">
                    <a:extLst>
                      <a:ext uri="{FF2B5EF4-FFF2-40B4-BE49-F238E27FC236}">
                        <a16:creationId xmlns:a16="http://schemas.microsoft.com/office/drawing/2014/main" id="{795D31F1-B719-39EE-BCA1-900652C70242}"/>
                      </a:ext>
                    </a:extLst>
                  </p:cNvPr>
                  <p:cNvSpPr/>
                  <p:nvPr/>
                </p:nvSpPr>
                <p:spPr>
                  <a:xfrm rot="-3581400">
                    <a:off x="9397508" y="1182954"/>
                    <a:ext cx="196214" cy="136778"/>
                  </a:xfrm>
                  <a:custGeom>
                    <a:avLst/>
                    <a:gdLst>
                      <a:gd name="connsiteX0" fmla="*/ 196215 w 196214"/>
                      <a:gd name="connsiteY0" fmla="*/ 68389 h 136778"/>
                      <a:gd name="connsiteX1" fmla="*/ 98107 w 196214"/>
                      <a:gd name="connsiteY1" fmla="*/ 136779 h 136778"/>
                      <a:gd name="connsiteX2" fmla="*/ 0 w 196214"/>
                      <a:gd name="connsiteY2" fmla="*/ 68389 h 136778"/>
                      <a:gd name="connsiteX3" fmla="*/ 98107 w 196214"/>
                      <a:gd name="connsiteY3" fmla="*/ 0 h 136778"/>
                      <a:gd name="connsiteX4" fmla="*/ 196215 w 196214"/>
                      <a:gd name="connsiteY4" fmla="*/ 68389 h 1367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6214" h="136778">
                        <a:moveTo>
                          <a:pt x="196215" y="68389"/>
                        </a:moveTo>
                        <a:cubicBezTo>
                          <a:pt x="196215" y="106160"/>
                          <a:pt x="152291" y="136779"/>
                          <a:pt x="98107" y="136779"/>
                        </a:cubicBezTo>
                        <a:cubicBezTo>
                          <a:pt x="43924" y="136779"/>
                          <a:pt x="0" y="106160"/>
                          <a:pt x="0" y="68389"/>
                        </a:cubicBezTo>
                        <a:cubicBezTo>
                          <a:pt x="0" y="30619"/>
                          <a:pt x="43924" y="0"/>
                          <a:pt x="98107" y="0"/>
                        </a:cubicBezTo>
                        <a:cubicBezTo>
                          <a:pt x="152291" y="0"/>
                          <a:pt x="196215" y="30619"/>
                          <a:pt x="196215" y="68389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" name="Freihandform: Form 44">
                    <a:extLst>
                      <a:ext uri="{FF2B5EF4-FFF2-40B4-BE49-F238E27FC236}">
                        <a16:creationId xmlns:a16="http://schemas.microsoft.com/office/drawing/2014/main" id="{381727DC-617E-70A3-9375-C80D3B2C7479}"/>
                      </a:ext>
                    </a:extLst>
                  </p:cNvPr>
                  <p:cNvSpPr/>
                  <p:nvPr/>
                </p:nvSpPr>
                <p:spPr>
                  <a:xfrm rot="-1416000">
                    <a:off x="9013384" y="1154698"/>
                    <a:ext cx="138112" cy="194310"/>
                  </a:xfrm>
                  <a:custGeom>
                    <a:avLst/>
                    <a:gdLst>
                      <a:gd name="connsiteX0" fmla="*/ 138113 w 138112"/>
                      <a:gd name="connsiteY0" fmla="*/ 97155 h 194310"/>
                      <a:gd name="connsiteX1" fmla="*/ 69056 w 138112"/>
                      <a:gd name="connsiteY1" fmla="*/ 194310 h 194310"/>
                      <a:gd name="connsiteX2" fmla="*/ 0 w 138112"/>
                      <a:gd name="connsiteY2" fmla="*/ 97155 h 194310"/>
                      <a:gd name="connsiteX3" fmla="*/ 69056 w 138112"/>
                      <a:gd name="connsiteY3" fmla="*/ 0 h 194310"/>
                      <a:gd name="connsiteX4" fmla="*/ 138113 w 138112"/>
                      <a:gd name="connsiteY4" fmla="*/ 97155 h 1943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8112" h="194310">
                        <a:moveTo>
                          <a:pt x="138113" y="97155"/>
                        </a:moveTo>
                        <a:cubicBezTo>
                          <a:pt x="138113" y="150812"/>
                          <a:pt x="107195" y="194310"/>
                          <a:pt x="69056" y="194310"/>
                        </a:cubicBezTo>
                        <a:cubicBezTo>
                          <a:pt x="30917" y="194310"/>
                          <a:pt x="0" y="150812"/>
                          <a:pt x="0" y="97155"/>
                        </a:cubicBezTo>
                        <a:cubicBezTo>
                          <a:pt x="0" y="43498"/>
                          <a:pt x="30917" y="0"/>
                          <a:pt x="69056" y="0"/>
                        </a:cubicBezTo>
                        <a:cubicBezTo>
                          <a:pt x="107195" y="0"/>
                          <a:pt x="138113" y="43498"/>
                          <a:pt x="138113" y="97155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" name="Freihandform: Form 45">
                    <a:extLst>
                      <a:ext uri="{FF2B5EF4-FFF2-40B4-BE49-F238E27FC236}">
                        <a16:creationId xmlns:a16="http://schemas.microsoft.com/office/drawing/2014/main" id="{E7B9C82E-0B7B-A99E-66F7-B630C7F7785B}"/>
                      </a:ext>
                    </a:extLst>
                  </p:cNvPr>
                  <p:cNvSpPr/>
                  <p:nvPr/>
                </p:nvSpPr>
                <p:spPr>
                  <a:xfrm>
                    <a:off x="9023349" y="818483"/>
                    <a:ext cx="538162" cy="562546"/>
                  </a:xfrm>
                  <a:custGeom>
                    <a:avLst/>
                    <a:gdLst>
                      <a:gd name="connsiteX0" fmla="*/ 538163 w 538162"/>
                      <a:gd name="connsiteY0" fmla="*/ 281273 h 562546"/>
                      <a:gd name="connsiteX1" fmla="*/ 269081 w 538162"/>
                      <a:gd name="connsiteY1" fmla="*/ 562547 h 562546"/>
                      <a:gd name="connsiteX2" fmla="*/ 0 w 538162"/>
                      <a:gd name="connsiteY2" fmla="*/ 281273 h 562546"/>
                      <a:gd name="connsiteX3" fmla="*/ 269081 w 538162"/>
                      <a:gd name="connsiteY3" fmla="*/ 0 h 562546"/>
                      <a:gd name="connsiteX4" fmla="*/ 538163 w 538162"/>
                      <a:gd name="connsiteY4" fmla="*/ 281273 h 5625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38162" h="562546">
                        <a:moveTo>
                          <a:pt x="538163" y="281273"/>
                        </a:moveTo>
                        <a:cubicBezTo>
                          <a:pt x="538163" y="436616"/>
                          <a:pt x="417691" y="562547"/>
                          <a:pt x="269081" y="562547"/>
                        </a:cubicBezTo>
                        <a:cubicBezTo>
                          <a:pt x="120472" y="562547"/>
                          <a:pt x="0" y="436616"/>
                          <a:pt x="0" y="281273"/>
                        </a:cubicBezTo>
                        <a:cubicBezTo>
                          <a:pt x="0" y="125930"/>
                          <a:pt x="120472" y="0"/>
                          <a:pt x="269081" y="0"/>
                        </a:cubicBezTo>
                        <a:cubicBezTo>
                          <a:pt x="417691" y="0"/>
                          <a:pt x="538163" y="125930"/>
                          <a:pt x="538163" y="281273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" name="Freihandform: Form 46">
                    <a:extLst>
                      <a:ext uri="{FF2B5EF4-FFF2-40B4-BE49-F238E27FC236}">
                        <a16:creationId xmlns:a16="http://schemas.microsoft.com/office/drawing/2014/main" id="{B330A15B-864A-53E6-DBD3-0CEEBD1FA839}"/>
                      </a:ext>
                    </a:extLst>
                  </p:cNvPr>
                  <p:cNvSpPr/>
                  <p:nvPr/>
                </p:nvSpPr>
                <p:spPr>
                  <a:xfrm>
                    <a:off x="9011639" y="823245"/>
                    <a:ext cx="530631" cy="404621"/>
                  </a:xfrm>
                  <a:custGeom>
                    <a:avLst/>
                    <a:gdLst>
                      <a:gd name="connsiteX0" fmla="*/ 267647 w 530631"/>
                      <a:gd name="connsiteY0" fmla="*/ 127540 h 404621"/>
                      <a:gd name="connsiteX1" fmla="*/ 491770 w 530631"/>
                      <a:gd name="connsiteY1" fmla="*/ 404622 h 404621"/>
                      <a:gd name="connsiteX2" fmla="*/ 530632 w 530631"/>
                      <a:gd name="connsiteY2" fmla="*/ 281273 h 404621"/>
                      <a:gd name="connsiteX3" fmla="*/ 266408 w 530631"/>
                      <a:gd name="connsiteY3" fmla="*/ 0 h 404621"/>
                      <a:gd name="connsiteX4" fmla="*/ 87814 w 530631"/>
                      <a:gd name="connsiteY4" fmla="*/ 74009 h 404621"/>
                      <a:gd name="connsiteX5" fmla="*/ 54382 w 530631"/>
                      <a:gd name="connsiteY5" fmla="*/ 389858 h 404621"/>
                      <a:gd name="connsiteX6" fmla="*/ 267647 w 530631"/>
                      <a:gd name="connsiteY6" fmla="*/ 127540 h 4046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30631" h="404621">
                        <a:moveTo>
                          <a:pt x="267647" y="127540"/>
                        </a:moveTo>
                        <a:cubicBezTo>
                          <a:pt x="459099" y="139637"/>
                          <a:pt x="435572" y="297085"/>
                          <a:pt x="491770" y="404622"/>
                        </a:cubicBezTo>
                        <a:cubicBezTo>
                          <a:pt x="502343" y="374142"/>
                          <a:pt x="530632" y="315659"/>
                          <a:pt x="530632" y="281273"/>
                        </a:cubicBezTo>
                        <a:cubicBezTo>
                          <a:pt x="530632" y="125920"/>
                          <a:pt x="412331" y="0"/>
                          <a:pt x="266408" y="0"/>
                        </a:cubicBezTo>
                        <a:cubicBezTo>
                          <a:pt x="197543" y="0"/>
                          <a:pt x="134773" y="28004"/>
                          <a:pt x="87814" y="74009"/>
                        </a:cubicBezTo>
                        <a:cubicBezTo>
                          <a:pt x="17520" y="108204"/>
                          <a:pt x="-51250" y="297085"/>
                          <a:pt x="54382" y="389858"/>
                        </a:cubicBezTo>
                        <a:cubicBezTo>
                          <a:pt x="94958" y="311753"/>
                          <a:pt x="95244" y="116681"/>
                          <a:pt x="267647" y="127540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" name="Freihandform: Form 47">
                    <a:extLst>
                      <a:ext uri="{FF2B5EF4-FFF2-40B4-BE49-F238E27FC236}">
                        <a16:creationId xmlns:a16="http://schemas.microsoft.com/office/drawing/2014/main" id="{FB610446-9360-C8FB-4BAA-0ADD397502F3}"/>
                      </a:ext>
                    </a:extLst>
                  </p:cNvPr>
                  <p:cNvSpPr/>
                  <p:nvPr/>
                </p:nvSpPr>
                <p:spPr>
                  <a:xfrm>
                    <a:off x="9240995" y="1305210"/>
                    <a:ext cx="78793" cy="32099"/>
                  </a:xfrm>
                  <a:custGeom>
                    <a:avLst/>
                    <a:gdLst>
                      <a:gd name="connsiteX0" fmla="*/ 1143 w 78793"/>
                      <a:gd name="connsiteY0" fmla="*/ 0 h 32099"/>
                      <a:gd name="connsiteX1" fmla="*/ 35814 w 78793"/>
                      <a:gd name="connsiteY1" fmla="*/ 10573 h 32099"/>
                      <a:gd name="connsiteX2" fmla="*/ 77820 w 78793"/>
                      <a:gd name="connsiteY2" fmla="*/ 0 h 32099"/>
                      <a:gd name="connsiteX3" fmla="*/ 77820 w 78793"/>
                      <a:gd name="connsiteY3" fmla="*/ 9239 h 32099"/>
                      <a:gd name="connsiteX4" fmla="*/ 37148 w 78793"/>
                      <a:gd name="connsiteY4" fmla="*/ 32099 h 32099"/>
                      <a:gd name="connsiteX5" fmla="*/ 1143 w 78793"/>
                      <a:gd name="connsiteY5" fmla="*/ 10192 h 32099"/>
                      <a:gd name="connsiteX6" fmla="*/ 1143 w 78793"/>
                      <a:gd name="connsiteY6" fmla="*/ 95 h 320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793" h="32099">
                        <a:moveTo>
                          <a:pt x="1143" y="0"/>
                        </a:moveTo>
                        <a:cubicBezTo>
                          <a:pt x="1143" y="0"/>
                          <a:pt x="11049" y="10573"/>
                          <a:pt x="35814" y="10573"/>
                        </a:cubicBezTo>
                        <a:cubicBezTo>
                          <a:pt x="67152" y="10573"/>
                          <a:pt x="77820" y="0"/>
                          <a:pt x="77820" y="0"/>
                        </a:cubicBezTo>
                        <a:cubicBezTo>
                          <a:pt x="77820" y="0"/>
                          <a:pt x="80010" y="3143"/>
                          <a:pt x="77820" y="9239"/>
                        </a:cubicBezTo>
                        <a:cubicBezTo>
                          <a:pt x="76295" y="13525"/>
                          <a:pt x="62675" y="32099"/>
                          <a:pt x="37148" y="32099"/>
                        </a:cubicBezTo>
                        <a:cubicBezTo>
                          <a:pt x="17240" y="32099"/>
                          <a:pt x="3715" y="16383"/>
                          <a:pt x="1143" y="10192"/>
                        </a:cubicBezTo>
                        <a:cubicBezTo>
                          <a:pt x="-1429" y="4000"/>
                          <a:pt x="1143" y="95"/>
                          <a:pt x="1143" y="95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" name="Freihandform: Form 48">
                    <a:extLst>
                      <a:ext uri="{FF2B5EF4-FFF2-40B4-BE49-F238E27FC236}">
                        <a16:creationId xmlns:a16="http://schemas.microsoft.com/office/drawing/2014/main" id="{CCD21F1A-8193-BE9A-6894-5FE25785B836}"/>
                      </a:ext>
                    </a:extLst>
                  </p:cNvPr>
                  <p:cNvSpPr/>
                  <p:nvPr/>
                </p:nvSpPr>
                <p:spPr>
                  <a:xfrm>
                    <a:off x="9312056" y="1120425"/>
                    <a:ext cx="140203" cy="47053"/>
                  </a:xfrm>
                  <a:custGeom>
                    <a:avLst/>
                    <a:gdLst>
                      <a:gd name="connsiteX0" fmla="*/ 109438 w 140203"/>
                      <a:gd name="connsiteY0" fmla="*/ 17716 h 47053"/>
                      <a:gd name="connsiteX1" fmla="*/ 55812 w 140203"/>
                      <a:gd name="connsiteY1" fmla="*/ 762 h 47053"/>
                      <a:gd name="connsiteX2" fmla="*/ 55812 w 140203"/>
                      <a:gd name="connsiteY2" fmla="*/ 762 h 47053"/>
                      <a:gd name="connsiteX3" fmla="*/ 7711 w 140203"/>
                      <a:gd name="connsiteY3" fmla="*/ 6191 h 47053"/>
                      <a:gd name="connsiteX4" fmla="*/ 4282 w 140203"/>
                      <a:gd name="connsiteY4" fmla="*/ 8858 h 47053"/>
                      <a:gd name="connsiteX5" fmla="*/ 13902 w 140203"/>
                      <a:gd name="connsiteY5" fmla="*/ 33242 h 47053"/>
                      <a:gd name="connsiteX6" fmla="*/ 41239 w 140203"/>
                      <a:gd name="connsiteY6" fmla="*/ 30766 h 47053"/>
                      <a:gd name="connsiteX7" fmla="*/ 105533 w 140203"/>
                      <a:gd name="connsiteY7" fmla="*/ 34480 h 47053"/>
                      <a:gd name="connsiteX8" fmla="*/ 140204 w 140203"/>
                      <a:gd name="connsiteY8" fmla="*/ 47053 h 47053"/>
                      <a:gd name="connsiteX9" fmla="*/ 109438 w 140203"/>
                      <a:gd name="connsiteY9" fmla="*/ 17716 h 470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40203" h="47053">
                        <a:moveTo>
                          <a:pt x="109438" y="17716"/>
                        </a:moveTo>
                        <a:cubicBezTo>
                          <a:pt x="90864" y="5905"/>
                          <a:pt x="70671" y="1429"/>
                          <a:pt x="55812" y="762"/>
                        </a:cubicBezTo>
                        <a:lnTo>
                          <a:pt x="55812" y="762"/>
                        </a:lnTo>
                        <a:cubicBezTo>
                          <a:pt x="30285" y="-1810"/>
                          <a:pt x="13236" y="2667"/>
                          <a:pt x="7711" y="6191"/>
                        </a:cubicBezTo>
                        <a:cubicBezTo>
                          <a:pt x="6377" y="7048"/>
                          <a:pt x="5234" y="7906"/>
                          <a:pt x="4282" y="8858"/>
                        </a:cubicBezTo>
                        <a:cubicBezTo>
                          <a:pt x="-4862" y="17526"/>
                          <a:pt x="1710" y="33623"/>
                          <a:pt x="13902" y="33242"/>
                        </a:cubicBezTo>
                        <a:cubicBezTo>
                          <a:pt x="19522" y="33147"/>
                          <a:pt x="33333" y="31528"/>
                          <a:pt x="41239" y="30766"/>
                        </a:cubicBezTo>
                        <a:cubicBezTo>
                          <a:pt x="55050" y="29337"/>
                          <a:pt x="94293" y="31432"/>
                          <a:pt x="105533" y="34480"/>
                        </a:cubicBezTo>
                        <a:cubicBezTo>
                          <a:pt x="127536" y="40481"/>
                          <a:pt x="140204" y="47053"/>
                          <a:pt x="140204" y="47053"/>
                        </a:cubicBezTo>
                        <a:cubicBezTo>
                          <a:pt x="140204" y="47053"/>
                          <a:pt x="134203" y="33528"/>
                          <a:pt x="109438" y="1771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" name="Freihandform: Form 49">
                    <a:extLst>
                      <a:ext uri="{FF2B5EF4-FFF2-40B4-BE49-F238E27FC236}">
                        <a16:creationId xmlns:a16="http://schemas.microsoft.com/office/drawing/2014/main" id="{A993ECED-1B37-5516-9616-1A4A683BCD54}"/>
                      </a:ext>
                    </a:extLst>
                  </p:cNvPr>
                  <p:cNvSpPr/>
                  <p:nvPr/>
                </p:nvSpPr>
                <p:spPr>
                  <a:xfrm rot="-5166000">
                    <a:off x="9156216" y="1194137"/>
                    <a:ext cx="40385" cy="37909"/>
                  </a:xfrm>
                  <a:custGeom>
                    <a:avLst/>
                    <a:gdLst>
                      <a:gd name="connsiteX0" fmla="*/ 40386 w 40385"/>
                      <a:gd name="connsiteY0" fmla="*/ 18955 h 37909"/>
                      <a:gd name="connsiteX1" fmla="*/ 20193 w 40385"/>
                      <a:gd name="connsiteY1" fmla="*/ 37910 h 37909"/>
                      <a:gd name="connsiteX2" fmla="*/ 0 w 40385"/>
                      <a:gd name="connsiteY2" fmla="*/ 18955 h 37909"/>
                      <a:gd name="connsiteX3" fmla="*/ 20193 w 40385"/>
                      <a:gd name="connsiteY3" fmla="*/ 0 h 37909"/>
                      <a:gd name="connsiteX4" fmla="*/ 40386 w 40385"/>
                      <a:gd name="connsiteY4" fmla="*/ 18955 h 379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385" h="37909">
                        <a:moveTo>
                          <a:pt x="40386" y="18955"/>
                        </a:moveTo>
                        <a:cubicBezTo>
                          <a:pt x="40386" y="29423"/>
                          <a:pt x="31345" y="37910"/>
                          <a:pt x="20193" y="37910"/>
                        </a:cubicBezTo>
                        <a:cubicBezTo>
                          <a:pt x="9041" y="37910"/>
                          <a:pt x="0" y="29423"/>
                          <a:pt x="0" y="18955"/>
                        </a:cubicBezTo>
                        <a:cubicBezTo>
                          <a:pt x="0" y="8486"/>
                          <a:pt x="9041" y="0"/>
                          <a:pt x="20193" y="0"/>
                        </a:cubicBezTo>
                        <a:cubicBezTo>
                          <a:pt x="31345" y="0"/>
                          <a:pt x="40386" y="8486"/>
                          <a:pt x="40386" y="18955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1" name="Freihandform: Form 50">
                    <a:extLst>
                      <a:ext uri="{FF2B5EF4-FFF2-40B4-BE49-F238E27FC236}">
                        <a16:creationId xmlns:a16="http://schemas.microsoft.com/office/drawing/2014/main" id="{ECD515D3-6962-194F-D723-85BEA4820EBF}"/>
                      </a:ext>
                    </a:extLst>
                  </p:cNvPr>
                  <p:cNvSpPr/>
                  <p:nvPr/>
                </p:nvSpPr>
                <p:spPr>
                  <a:xfrm>
                    <a:off x="9106502" y="1122045"/>
                    <a:ext cx="140013" cy="47053"/>
                  </a:xfrm>
                  <a:custGeom>
                    <a:avLst/>
                    <a:gdLst>
                      <a:gd name="connsiteX0" fmla="*/ 30766 w 140013"/>
                      <a:gd name="connsiteY0" fmla="*/ 17716 h 47053"/>
                      <a:gd name="connsiteX1" fmla="*/ 84297 w 140013"/>
                      <a:gd name="connsiteY1" fmla="*/ 762 h 47053"/>
                      <a:gd name="connsiteX2" fmla="*/ 84297 w 140013"/>
                      <a:gd name="connsiteY2" fmla="*/ 762 h 47053"/>
                      <a:gd name="connsiteX3" fmla="*/ 132302 w 140013"/>
                      <a:gd name="connsiteY3" fmla="*/ 6191 h 47053"/>
                      <a:gd name="connsiteX4" fmla="*/ 135731 w 140013"/>
                      <a:gd name="connsiteY4" fmla="*/ 8858 h 47053"/>
                      <a:gd name="connsiteX5" fmla="*/ 126111 w 140013"/>
                      <a:gd name="connsiteY5" fmla="*/ 33242 h 47053"/>
                      <a:gd name="connsiteX6" fmla="*/ 98774 w 140013"/>
                      <a:gd name="connsiteY6" fmla="*/ 30766 h 47053"/>
                      <a:gd name="connsiteX7" fmla="*/ 34576 w 140013"/>
                      <a:gd name="connsiteY7" fmla="*/ 34480 h 47053"/>
                      <a:gd name="connsiteX8" fmla="*/ 0 w 140013"/>
                      <a:gd name="connsiteY8" fmla="*/ 47053 h 47053"/>
                      <a:gd name="connsiteX9" fmla="*/ 30766 w 140013"/>
                      <a:gd name="connsiteY9" fmla="*/ 17716 h 470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40013" h="47053">
                        <a:moveTo>
                          <a:pt x="30766" y="17716"/>
                        </a:moveTo>
                        <a:cubicBezTo>
                          <a:pt x="49339" y="5905"/>
                          <a:pt x="69438" y="1429"/>
                          <a:pt x="84297" y="762"/>
                        </a:cubicBezTo>
                        <a:lnTo>
                          <a:pt x="84297" y="762"/>
                        </a:lnTo>
                        <a:cubicBezTo>
                          <a:pt x="109824" y="-1810"/>
                          <a:pt x="126778" y="2667"/>
                          <a:pt x="132302" y="6191"/>
                        </a:cubicBezTo>
                        <a:cubicBezTo>
                          <a:pt x="133636" y="7048"/>
                          <a:pt x="134684" y="7906"/>
                          <a:pt x="135731" y="8858"/>
                        </a:cubicBezTo>
                        <a:cubicBezTo>
                          <a:pt x="144875" y="17526"/>
                          <a:pt x="138303" y="33623"/>
                          <a:pt x="126111" y="33242"/>
                        </a:cubicBezTo>
                        <a:cubicBezTo>
                          <a:pt x="120491" y="33147"/>
                          <a:pt x="106680" y="31528"/>
                          <a:pt x="98774" y="30766"/>
                        </a:cubicBezTo>
                        <a:cubicBezTo>
                          <a:pt x="84963" y="29337"/>
                          <a:pt x="45815" y="31432"/>
                          <a:pt x="34576" y="34480"/>
                        </a:cubicBezTo>
                        <a:cubicBezTo>
                          <a:pt x="12573" y="40481"/>
                          <a:pt x="0" y="47053"/>
                          <a:pt x="0" y="47053"/>
                        </a:cubicBezTo>
                        <a:cubicBezTo>
                          <a:pt x="0" y="47053"/>
                          <a:pt x="6001" y="33528"/>
                          <a:pt x="30766" y="1771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2" name="Freihandform: Form 51">
                    <a:extLst>
                      <a:ext uri="{FF2B5EF4-FFF2-40B4-BE49-F238E27FC236}">
                        <a16:creationId xmlns:a16="http://schemas.microsoft.com/office/drawing/2014/main" id="{98F85ADD-1F3D-5B5D-3DB8-A58CBE057AA4}"/>
                      </a:ext>
                    </a:extLst>
                  </p:cNvPr>
                  <p:cNvSpPr/>
                  <p:nvPr/>
                </p:nvSpPr>
                <p:spPr>
                  <a:xfrm>
                    <a:off x="9123564" y="1183592"/>
                    <a:ext cx="103635" cy="27457"/>
                  </a:xfrm>
                  <a:custGeom>
                    <a:avLst/>
                    <a:gdLst>
                      <a:gd name="connsiteX0" fmla="*/ 3227 w 103635"/>
                      <a:gd name="connsiteY0" fmla="*/ 17795 h 27457"/>
                      <a:gd name="connsiteX1" fmla="*/ 46185 w 103635"/>
                      <a:gd name="connsiteY1" fmla="*/ 174 h 27457"/>
                      <a:gd name="connsiteX2" fmla="*/ 101239 w 103635"/>
                      <a:gd name="connsiteY2" fmla="*/ 17509 h 27457"/>
                      <a:gd name="connsiteX3" fmla="*/ 97905 w 103635"/>
                      <a:gd name="connsiteY3" fmla="*/ 26939 h 27457"/>
                      <a:gd name="connsiteX4" fmla="*/ 54281 w 103635"/>
                      <a:gd name="connsiteY4" fmla="*/ 11699 h 27457"/>
                      <a:gd name="connsiteX5" fmla="*/ 10847 w 103635"/>
                      <a:gd name="connsiteY5" fmla="*/ 21415 h 27457"/>
                      <a:gd name="connsiteX6" fmla="*/ 1322 w 103635"/>
                      <a:gd name="connsiteY6" fmla="*/ 25606 h 27457"/>
                      <a:gd name="connsiteX7" fmla="*/ 3417 w 103635"/>
                      <a:gd name="connsiteY7" fmla="*/ 17795 h 274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03635" h="27457">
                        <a:moveTo>
                          <a:pt x="3227" y="17795"/>
                        </a:moveTo>
                        <a:cubicBezTo>
                          <a:pt x="7989" y="12938"/>
                          <a:pt x="23896" y="1412"/>
                          <a:pt x="46185" y="174"/>
                        </a:cubicBezTo>
                        <a:cubicBezTo>
                          <a:pt x="76569" y="-1541"/>
                          <a:pt x="94000" y="9794"/>
                          <a:pt x="101239" y="17509"/>
                        </a:cubicBezTo>
                        <a:cubicBezTo>
                          <a:pt x="106478" y="23034"/>
                          <a:pt x="102096" y="29321"/>
                          <a:pt x="97905" y="26939"/>
                        </a:cubicBezTo>
                        <a:cubicBezTo>
                          <a:pt x="86952" y="20748"/>
                          <a:pt x="81046" y="14843"/>
                          <a:pt x="54281" y="11699"/>
                        </a:cubicBezTo>
                        <a:cubicBezTo>
                          <a:pt x="35517" y="9413"/>
                          <a:pt x="17705" y="17605"/>
                          <a:pt x="10847" y="21415"/>
                        </a:cubicBezTo>
                        <a:cubicBezTo>
                          <a:pt x="5608" y="24368"/>
                          <a:pt x="2941" y="26844"/>
                          <a:pt x="1322" y="25606"/>
                        </a:cubicBezTo>
                        <a:cubicBezTo>
                          <a:pt x="-1631" y="23415"/>
                          <a:pt x="941" y="20272"/>
                          <a:pt x="3417" y="17795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3" name="Freihandform: Form 52">
                    <a:extLst>
                      <a:ext uri="{FF2B5EF4-FFF2-40B4-BE49-F238E27FC236}">
                        <a16:creationId xmlns:a16="http://schemas.microsoft.com/office/drawing/2014/main" id="{53EC35B7-7D61-5377-EF69-8393457061F0}"/>
                      </a:ext>
                    </a:extLst>
                  </p:cNvPr>
                  <p:cNvSpPr/>
                  <p:nvPr/>
                </p:nvSpPr>
                <p:spPr>
                  <a:xfrm rot="-234000">
                    <a:off x="9358240" y="1193075"/>
                    <a:ext cx="37909" cy="40385"/>
                  </a:xfrm>
                  <a:custGeom>
                    <a:avLst/>
                    <a:gdLst>
                      <a:gd name="connsiteX0" fmla="*/ 37910 w 37909"/>
                      <a:gd name="connsiteY0" fmla="*/ 20193 h 40385"/>
                      <a:gd name="connsiteX1" fmla="*/ 18955 w 37909"/>
                      <a:gd name="connsiteY1" fmla="*/ 40386 h 40385"/>
                      <a:gd name="connsiteX2" fmla="*/ 0 w 37909"/>
                      <a:gd name="connsiteY2" fmla="*/ 20193 h 40385"/>
                      <a:gd name="connsiteX3" fmla="*/ 18955 w 37909"/>
                      <a:gd name="connsiteY3" fmla="*/ 0 h 40385"/>
                      <a:gd name="connsiteX4" fmla="*/ 37910 w 37909"/>
                      <a:gd name="connsiteY4" fmla="*/ 20193 h 403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7909" h="40385">
                        <a:moveTo>
                          <a:pt x="37910" y="20193"/>
                        </a:moveTo>
                        <a:cubicBezTo>
                          <a:pt x="37910" y="31345"/>
                          <a:pt x="29424" y="40386"/>
                          <a:pt x="18955" y="40386"/>
                        </a:cubicBezTo>
                        <a:cubicBezTo>
                          <a:pt x="8486" y="40386"/>
                          <a:pt x="0" y="31345"/>
                          <a:pt x="0" y="20193"/>
                        </a:cubicBezTo>
                        <a:cubicBezTo>
                          <a:pt x="0" y="9041"/>
                          <a:pt x="8486" y="0"/>
                          <a:pt x="18955" y="0"/>
                        </a:cubicBezTo>
                        <a:cubicBezTo>
                          <a:pt x="29424" y="0"/>
                          <a:pt x="37910" y="9041"/>
                          <a:pt x="37910" y="20193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4" name="Freihandform: Form 53">
                    <a:extLst>
                      <a:ext uri="{FF2B5EF4-FFF2-40B4-BE49-F238E27FC236}">
                        <a16:creationId xmlns:a16="http://schemas.microsoft.com/office/drawing/2014/main" id="{6E2C35ED-5BDA-CC20-0DC0-4CA98B61DBFC}"/>
                      </a:ext>
                    </a:extLst>
                  </p:cNvPr>
                  <p:cNvSpPr/>
                  <p:nvPr/>
                </p:nvSpPr>
                <p:spPr>
                  <a:xfrm>
                    <a:off x="9326515" y="1183592"/>
                    <a:ext cx="103634" cy="27457"/>
                  </a:xfrm>
                  <a:custGeom>
                    <a:avLst/>
                    <a:gdLst>
                      <a:gd name="connsiteX0" fmla="*/ 100408 w 103634"/>
                      <a:gd name="connsiteY0" fmla="*/ 17795 h 27457"/>
                      <a:gd name="connsiteX1" fmla="*/ 57450 w 103634"/>
                      <a:gd name="connsiteY1" fmla="*/ 174 h 27457"/>
                      <a:gd name="connsiteX2" fmla="*/ 2396 w 103634"/>
                      <a:gd name="connsiteY2" fmla="*/ 17509 h 27457"/>
                      <a:gd name="connsiteX3" fmla="*/ 5730 w 103634"/>
                      <a:gd name="connsiteY3" fmla="*/ 26939 h 27457"/>
                      <a:gd name="connsiteX4" fmla="*/ 49354 w 103634"/>
                      <a:gd name="connsiteY4" fmla="*/ 11699 h 27457"/>
                      <a:gd name="connsiteX5" fmla="*/ 92788 w 103634"/>
                      <a:gd name="connsiteY5" fmla="*/ 21415 h 27457"/>
                      <a:gd name="connsiteX6" fmla="*/ 102313 w 103634"/>
                      <a:gd name="connsiteY6" fmla="*/ 25606 h 27457"/>
                      <a:gd name="connsiteX7" fmla="*/ 100218 w 103634"/>
                      <a:gd name="connsiteY7" fmla="*/ 17795 h 274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03634" h="27457">
                        <a:moveTo>
                          <a:pt x="100408" y="17795"/>
                        </a:moveTo>
                        <a:cubicBezTo>
                          <a:pt x="95646" y="12938"/>
                          <a:pt x="79739" y="1412"/>
                          <a:pt x="57450" y="174"/>
                        </a:cubicBezTo>
                        <a:cubicBezTo>
                          <a:pt x="27066" y="-1541"/>
                          <a:pt x="9635" y="9794"/>
                          <a:pt x="2396" y="17509"/>
                        </a:cubicBezTo>
                        <a:cubicBezTo>
                          <a:pt x="-2842" y="23034"/>
                          <a:pt x="1539" y="29321"/>
                          <a:pt x="5730" y="26939"/>
                        </a:cubicBezTo>
                        <a:cubicBezTo>
                          <a:pt x="16684" y="20748"/>
                          <a:pt x="22589" y="14843"/>
                          <a:pt x="49354" y="11699"/>
                        </a:cubicBezTo>
                        <a:cubicBezTo>
                          <a:pt x="68118" y="9413"/>
                          <a:pt x="85930" y="17605"/>
                          <a:pt x="92788" y="21415"/>
                        </a:cubicBezTo>
                        <a:cubicBezTo>
                          <a:pt x="98027" y="24368"/>
                          <a:pt x="100694" y="26844"/>
                          <a:pt x="102313" y="25606"/>
                        </a:cubicBezTo>
                        <a:cubicBezTo>
                          <a:pt x="105266" y="23415"/>
                          <a:pt x="102694" y="20272"/>
                          <a:pt x="100218" y="17795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5" name="Freihandform: Form 54">
                    <a:extLst>
                      <a:ext uri="{FF2B5EF4-FFF2-40B4-BE49-F238E27FC236}">
                        <a16:creationId xmlns:a16="http://schemas.microsoft.com/office/drawing/2014/main" id="{C327A88E-C59A-1EAC-BDB4-823BED8FAD62}"/>
                      </a:ext>
                    </a:extLst>
                  </p:cNvPr>
                  <p:cNvSpPr/>
                  <p:nvPr/>
                </p:nvSpPr>
                <p:spPr>
                  <a:xfrm>
                    <a:off x="9123366" y="781823"/>
                    <a:ext cx="508630" cy="429280"/>
                  </a:xfrm>
                  <a:custGeom>
                    <a:avLst/>
                    <a:gdLst>
                      <a:gd name="connsiteX0" fmla="*/ 91 w 508630"/>
                      <a:gd name="connsiteY0" fmla="*/ 94667 h 429280"/>
                      <a:gd name="connsiteX1" fmla="*/ 318131 w 508630"/>
                      <a:gd name="connsiteY1" fmla="*/ 352223 h 429280"/>
                      <a:gd name="connsiteX2" fmla="*/ 508631 w 508630"/>
                      <a:gd name="connsiteY2" fmla="*/ 429281 h 429280"/>
                      <a:gd name="connsiteX3" fmla="*/ 449956 w 508630"/>
                      <a:gd name="connsiteY3" fmla="*/ 231446 h 429280"/>
                      <a:gd name="connsiteX4" fmla="*/ 91 w 508630"/>
                      <a:gd name="connsiteY4" fmla="*/ 94667 h 4292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8630" h="429280">
                        <a:moveTo>
                          <a:pt x="91" y="94667"/>
                        </a:moveTo>
                        <a:cubicBezTo>
                          <a:pt x="-4576" y="204586"/>
                          <a:pt x="171731" y="297931"/>
                          <a:pt x="318131" y="352223"/>
                        </a:cubicBezTo>
                        <a:cubicBezTo>
                          <a:pt x="464530" y="406516"/>
                          <a:pt x="508631" y="429281"/>
                          <a:pt x="508631" y="429281"/>
                        </a:cubicBezTo>
                        <a:cubicBezTo>
                          <a:pt x="508631" y="429281"/>
                          <a:pt x="454338" y="371464"/>
                          <a:pt x="449956" y="231446"/>
                        </a:cubicBezTo>
                        <a:cubicBezTo>
                          <a:pt x="445003" y="73236"/>
                          <a:pt x="191067" y="-118597"/>
                          <a:pt x="91" y="94667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56" name="Grafik 23">
                    <a:extLst>
                      <a:ext uri="{FF2B5EF4-FFF2-40B4-BE49-F238E27FC236}">
                        <a16:creationId xmlns:a16="http://schemas.microsoft.com/office/drawing/2014/main" id="{A6A5ABC8-7618-813C-8374-0F9285ABDEB7}"/>
                      </a:ext>
                    </a:extLst>
                  </p:cNvPr>
                  <p:cNvGrpSpPr/>
                  <p:nvPr/>
                </p:nvGrpSpPr>
                <p:grpSpPr>
                  <a:xfrm>
                    <a:off x="8395080" y="3305841"/>
                    <a:ext cx="234464" cy="670178"/>
                    <a:chOff x="8395080" y="3305841"/>
                    <a:chExt cx="234464" cy="670178"/>
                  </a:xfrm>
                  <a:solidFill>
                    <a:srgbClr val="8A5942"/>
                  </a:solidFill>
                </p:grpSpPr>
                <p:sp>
                  <p:nvSpPr>
                    <p:cNvPr id="57" name="Freihandform: Form 56">
                      <a:extLst>
                        <a:ext uri="{FF2B5EF4-FFF2-40B4-BE49-F238E27FC236}">
                          <a16:creationId xmlns:a16="http://schemas.microsoft.com/office/drawing/2014/main" id="{4B9E6B82-F549-77E8-5B56-2A96E212A38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33275" y="3305841"/>
                      <a:ext cx="191738" cy="211264"/>
                    </a:xfrm>
                    <a:custGeom>
                      <a:avLst/>
                      <a:gdLst>
                        <a:gd name="connsiteX0" fmla="*/ 95 w 191738"/>
                        <a:gd name="connsiteY0" fmla="*/ 0 h 211264"/>
                        <a:gd name="connsiteX1" fmla="*/ 21431 w 191738"/>
                        <a:gd name="connsiteY1" fmla="*/ 211264 h 211264"/>
                        <a:gd name="connsiteX2" fmla="*/ 156782 w 191738"/>
                        <a:gd name="connsiteY2" fmla="*/ 200406 h 211264"/>
                        <a:gd name="connsiteX3" fmla="*/ 191738 w 191738"/>
                        <a:gd name="connsiteY3" fmla="*/ 10763 h 211264"/>
                        <a:gd name="connsiteX4" fmla="*/ 0 w 191738"/>
                        <a:gd name="connsiteY4" fmla="*/ 0 h 2112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91738" h="211264">
                          <a:moveTo>
                            <a:pt x="95" y="0"/>
                          </a:moveTo>
                          <a:cubicBezTo>
                            <a:pt x="5239" y="79629"/>
                            <a:pt x="13525" y="148495"/>
                            <a:pt x="21431" y="211264"/>
                          </a:cubicBezTo>
                          <a:lnTo>
                            <a:pt x="156782" y="200406"/>
                          </a:lnTo>
                          <a:cubicBezTo>
                            <a:pt x="156782" y="200406"/>
                            <a:pt x="172212" y="119158"/>
                            <a:pt x="191738" y="10763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58" name="Grafik 23">
                      <a:extLst>
                        <a:ext uri="{FF2B5EF4-FFF2-40B4-BE49-F238E27FC236}">
                          <a16:creationId xmlns:a16="http://schemas.microsoft.com/office/drawing/2014/main" id="{D2B54FFA-5FCE-8A52-681C-DA7C6ED9431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395080" y="3436239"/>
                      <a:ext cx="234464" cy="539781"/>
                      <a:chOff x="8395080" y="3436239"/>
                      <a:chExt cx="234464" cy="539781"/>
                    </a:xfrm>
                    <a:solidFill>
                      <a:srgbClr val="8A5942"/>
                    </a:solidFill>
                  </p:grpSpPr>
                  <p:sp>
                    <p:nvSpPr>
                      <p:cNvPr id="59" name="Freihandform: Form 58">
                        <a:extLst>
                          <a:ext uri="{FF2B5EF4-FFF2-40B4-BE49-F238E27FC236}">
                            <a16:creationId xmlns:a16="http://schemas.microsoft.com/office/drawing/2014/main" id="{CC18B521-95C5-445D-EB08-039A8291F5A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66681" y="3802691"/>
                        <a:ext cx="54546" cy="83127"/>
                      </a:xfrm>
                      <a:custGeom>
                        <a:avLst/>
                        <a:gdLst>
                          <a:gd name="connsiteX0" fmla="*/ 47557 w 54546"/>
                          <a:gd name="connsiteY0" fmla="*/ 83128 h 83127"/>
                          <a:gd name="connsiteX1" fmla="*/ 13648 w 54546"/>
                          <a:gd name="connsiteY1" fmla="*/ 55791 h 83127"/>
                          <a:gd name="connsiteX2" fmla="*/ 2885 w 54546"/>
                          <a:gd name="connsiteY2" fmla="*/ 9595 h 83127"/>
                          <a:gd name="connsiteX3" fmla="*/ 7838 w 54546"/>
                          <a:gd name="connsiteY3" fmla="*/ 70 h 83127"/>
                          <a:gd name="connsiteX4" fmla="*/ 43747 w 54546"/>
                          <a:gd name="connsiteY4" fmla="*/ 39694 h 83127"/>
                          <a:gd name="connsiteX5" fmla="*/ 47557 w 54546"/>
                          <a:gd name="connsiteY5" fmla="*/ 83128 h 83127"/>
                          <a:gd name="connsiteX6" fmla="*/ 47557 w 54546"/>
                          <a:gd name="connsiteY6" fmla="*/ 83128 h 831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4546" h="83127">
                            <a:moveTo>
                              <a:pt x="47557" y="83128"/>
                            </a:moveTo>
                            <a:lnTo>
                              <a:pt x="13648" y="55791"/>
                            </a:lnTo>
                            <a:cubicBezTo>
                              <a:pt x="979" y="45218"/>
                              <a:pt x="-3497" y="28264"/>
                              <a:pt x="2885" y="9595"/>
                            </a:cubicBezTo>
                            <a:cubicBezTo>
                              <a:pt x="4980" y="3594"/>
                              <a:pt x="6790" y="-597"/>
                              <a:pt x="7838" y="70"/>
                            </a:cubicBezTo>
                            <a:cubicBezTo>
                              <a:pt x="9743" y="1499"/>
                              <a:pt x="25173" y="18262"/>
                              <a:pt x="43747" y="39694"/>
                            </a:cubicBezTo>
                            <a:cubicBezTo>
                              <a:pt x="55463" y="53219"/>
                              <a:pt x="58987" y="64744"/>
                              <a:pt x="47557" y="83128"/>
                            </a:cubicBezTo>
                            <a:lnTo>
                              <a:pt x="47557" y="83128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60" name="Freihandform: Form 59">
                        <a:extLst>
                          <a:ext uri="{FF2B5EF4-FFF2-40B4-BE49-F238E27FC236}">
                            <a16:creationId xmlns:a16="http://schemas.microsoft.com/office/drawing/2014/main" id="{8AC3B62C-26E9-ABED-89E7-26DC3F97620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19369" y="3769457"/>
                        <a:ext cx="73352" cy="89024"/>
                      </a:xfrm>
                      <a:custGeom>
                        <a:avLst/>
                        <a:gdLst>
                          <a:gd name="connsiteX0" fmla="*/ 60960 w 73352"/>
                          <a:gd name="connsiteY0" fmla="*/ 89025 h 89024"/>
                          <a:gd name="connsiteX1" fmla="*/ 9525 w 73352"/>
                          <a:gd name="connsiteY1" fmla="*/ 44448 h 89024"/>
                          <a:gd name="connsiteX2" fmla="*/ 0 w 73352"/>
                          <a:gd name="connsiteY2" fmla="*/ 31494 h 89024"/>
                          <a:gd name="connsiteX3" fmla="*/ 40291 w 73352"/>
                          <a:gd name="connsiteY3" fmla="*/ 537 h 89024"/>
                          <a:gd name="connsiteX4" fmla="*/ 66675 w 73352"/>
                          <a:gd name="connsiteY4" fmla="*/ 44829 h 89024"/>
                          <a:gd name="connsiteX5" fmla="*/ 60864 w 73352"/>
                          <a:gd name="connsiteY5" fmla="*/ 89025 h 89024"/>
                          <a:gd name="connsiteX6" fmla="*/ 60864 w 73352"/>
                          <a:gd name="connsiteY6" fmla="*/ 89025 h 8902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3352" h="89024">
                            <a:moveTo>
                              <a:pt x="60960" y="89025"/>
                            </a:moveTo>
                            <a:lnTo>
                              <a:pt x="9525" y="44448"/>
                            </a:lnTo>
                            <a:cubicBezTo>
                              <a:pt x="3334" y="38637"/>
                              <a:pt x="1524" y="34446"/>
                              <a:pt x="0" y="31494"/>
                            </a:cubicBezTo>
                            <a:cubicBezTo>
                              <a:pt x="1048" y="12063"/>
                              <a:pt x="25432" y="-3082"/>
                              <a:pt x="40291" y="537"/>
                            </a:cubicBezTo>
                            <a:lnTo>
                              <a:pt x="66675" y="44829"/>
                            </a:lnTo>
                            <a:cubicBezTo>
                              <a:pt x="78105" y="57307"/>
                              <a:pt x="74009" y="72261"/>
                              <a:pt x="60864" y="89025"/>
                            </a:cubicBezTo>
                            <a:lnTo>
                              <a:pt x="60864" y="89025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61" name="Freihandform: Form 60">
                        <a:extLst>
                          <a:ext uri="{FF2B5EF4-FFF2-40B4-BE49-F238E27FC236}">
                            <a16:creationId xmlns:a16="http://schemas.microsoft.com/office/drawing/2014/main" id="{D3E69C00-87E9-EE0C-8ECC-0B57CD45E59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55898" y="3838165"/>
                        <a:ext cx="63906" cy="105660"/>
                      </a:xfrm>
                      <a:custGeom>
                        <a:avLst/>
                        <a:gdLst>
                          <a:gd name="connsiteX0" fmla="*/ 55673 w 63906"/>
                          <a:gd name="connsiteY0" fmla="*/ 105660 h 105660"/>
                          <a:gd name="connsiteX1" fmla="*/ 15954 w 63906"/>
                          <a:gd name="connsiteY1" fmla="*/ 67179 h 105660"/>
                          <a:gd name="connsiteX2" fmla="*/ 3476 w 63906"/>
                          <a:gd name="connsiteY2" fmla="*/ 10506 h 105660"/>
                          <a:gd name="connsiteX3" fmla="*/ 9287 w 63906"/>
                          <a:gd name="connsiteY3" fmla="*/ 123 h 105660"/>
                          <a:gd name="connsiteX4" fmla="*/ 51292 w 63906"/>
                          <a:gd name="connsiteY4" fmla="*/ 53559 h 105660"/>
                          <a:gd name="connsiteX5" fmla="*/ 55673 w 63906"/>
                          <a:gd name="connsiteY5" fmla="*/ 105565 h 105660"/>
                          <a:gd name="connsiteX6" fmla="*/ 55673 w 63906"/>
                          <a:gd name="connsiteY6" fmla="*/ 105565 h 1056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3906" h="105660">
                            <a:moveTo>
                              <a:pt x="55673" y="105660"/>
                            </a:moveTo>
                            <a:lnTo>
                              <a:pt x="15954" y="67179"/>
                            </a:lnTo>
                            <a:cubicBezTo>
                              <a:pt x="1095" y="52321"/>
                              <a:pt x="-4144" y="31556"/>
                              <a:pt x="3476" y="10506"/>
                            </a:cubicBezTo>
                            <a:cubicBezTo>
                              <a:pt x="5953" y="3838"/>
                              <a:pt x="8144" y="-829"/>
                              <a:pt x="9287" y="123"/>
                            </a:cubicBezTo>
                            <a:cubicBezTo>
                              <a:pt x="11573" y="2124"/>
                              <a:pt x="29575" y="24793"/>
                              <a:pt x="51292" y="53559"/>
                            </a:cubicBezTo>
                            <a:cubicBezTo>
                              <a:pt x="65008" y="71656"/>
                              <a:pt x="69103" y="85944"/>
                              <a:pt x="55673" y="105565"/>
                            </a:cubicBezTo>
                            <a:lnTo>
                              <a:pt x="55673" y="105565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62" name="Freihandform: Form 61">
                        <a:extLst>
                          <a:ext uri="{FF2B5EF4-FFF2-40B4-BE49-F238E27FC236}">
                            <a16:creationId xmlns:a16="http://schemas.microsoft.com/office/drawing/2014/main" id="{DEFA3D49-22FA-A732-5050-9B4D8B14572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00115" y="3774757"/>
                        <a:ext cx="87440" cy="131349"/>
                      </a:xfrm>
                      <a:custGeom>
                        <a:avLst/>
                        <a:gdLst>
                          <a:gd name="connsiteX0" fmla="*/ 72689 w 87440"/>
                          <a:gd name="connsiteY0" fmla="*/ 131350 h 131349"/>
                          <a:gd name="connsiteX1" fmla="*/ 12205 w 87440"/>
                          <a:gd name="connsiteY1" fmla="*/ 71628 h 131349"/>
                          <a:gd name="connsiteX2" fmla="*/ 17349 w 87440"/>
                          <a:gd name="connsiteY2" fmla="*/ 4001 h 131349"/>
                          <a:gd name="connsiteX3" fmla="*/ 26112 w 87440"/>
                          <a:gd name="connsiteY3" fmla="*/ 0 h 131349"/>
                          <a:gd name="connsiteX4" fmla="*/ 79642 w 87440"/>
                          <a:gd name="connsiteY4" fmla="*/ 80010 h 131349"/>
                          <a:gd name="connsiteX5" fmla="*/ 72689 w 87440"/>
                          <a:gd name="connsiteY5" fmla="*/ 131254 h 131349"/>
                          <a:gd name="connsiteX6" fmla="*/ 72689 w 87440"/>
                          <a:gd name="connsiteY6" fmla="*/ 131254 h 13134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87440" h="131349">
                            <a:moveTo>
                              <a:pt x="72689" y="131350"/>
                            </a:moveTo>
                            <a:lnTo>
                              <a:pt x="12205" y="71628"/>
                            </a:lnTo>
                            <a:cubicBezTo>
                              <a:pt x="-5892" y="53340"/>
                              <a:pt x="-3606" y="22479"/>
                              <a:pt x="17349" y="4001"/>
                            </a:cubicBezTo>
                            <a:lnTo>
                              <a:pt x="26112" y="0"/>
                            </a:lnTo>
                            <a:lnTo>
                              <a:pt x="79642" y="80010"/>
                            </a:lnTo>
                            <a:cubicBezTo>
                              <a:pt x="93073" y="96869"/>
                              <a:pt x="88120" y="113729"/>
                              <a:pt x="72689" y="131254"/>
                            </a:cubicBezTo>
                            <a:lnTo>
                              <a:pt x="72689" y="131254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63" name="Freihandform: Form 62">
                        <a:extLst>
                          <a:ext uri="{FF2B5EF4-FFF2-40B4-BE49-F238E27FC236}">
                            <a16:creationId xmlns:a16="http://schemas.microsoft.com/office/drawing/2014/main" id="{7D636039-949B-5FB5-8B8E-127F20B714C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395080" y="3720421"/>
                        <a:ext cx="62960" cy="111771"/>
                      </a:xfrm>
                      <a:custGeom>
                        <a:avLst/>
                        <a:gdLst>
                          <a:gd name="connsiteX0" fmla="*/ 0 w 62960"/>
                          <a:gd name="connsiteY0" fmla="*/ 9378 h 111771"/>
                          <a:gd name="connsiteX1" fmla="*/ 4191 w 62960"/>
                          <a:gd name="connsiteY1" fmla="*/ 100628 h 111771"/>
                          <a:gd name="connsiteX2" fmla="*/ 8287 w 62960"/>
                          <a:gd name="connsiteY2" fmla="*/ 111772 h 111771"/>
                          <a:gd name="connsiteX3" fmla="*/ 57150 w 62960"/>
                          <a:gd name="connsiteY3" fmla="*/ 67100 h 111771"/>
                          <a:gd name="connsiteX4" fmla="*/ 62961 w 62960"/>
                          <a:gd name="connsiteY4" fmla="*/ 18236 h 111771"/>
                          <a:gd name="connsiteX5" fmla="*/ 0 w 62960"/>
                          <a:gd name="connsiteY5" fmla="*/ 9378 h 11177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62960" h="111771">
                            <a:moveTo>
                              <a:pt x="0" y="9378"/>
                            </a:moveTo>
                            <a:cubicBezTo>
                              <a:pt x="477" y="28142"/>
                              <a:pt x="4191" y="100628"/>
                              <a:pt x="4191" y="100628"/>
                            </a:cubicBezTo>
                            <a:lnTo>
                              <a:pt x="8287" y="111772"/>
                            </a:lnTo>
                            <a:cubicBezTo>
                              <a:pt x="34957" y="111296"/>
                              <a:pt x="54674" y="91484"/>
                              <a:pt x="57150" y="67100"/>
                            </a:cubicBezTo>
                            <a:lnTo>
                              <a:pt x="62961" y="18236"/>
                            </a:lnTo>
                            <a:cubicBezTo>
                              <a:pt x="55436" y="1568"/>
                              <a:pt x="8192" y="-8338"/>
                              <a:pt x="0" y="9378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grpSp>
                    <p:nvGrpSpPr>
                      <p:cNvPr id="64" name="Grafik 23">
                        <a:extLst>
                          <a:ext uri="{FF2B5EF4-FFF2-40B4-BE49-F238E27FC236}">
                            <a16:creationId xmlns:a16="http://schemas.microsoft.com/office/drawing/2014/main" id="{97BC5F13-636B-7883-A0BB-A3ADC5B3AB2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8415082" y="3708417"/>
                        <a:ext cx="91882" cy="267603"/>
                        <a:chOff x="8415082" y="3708417"/>
                        <a:chExt cx="91882" cy="267603"/>
                      </a:xfrm>
                      <a:solidFill>
                        <a:srgbClr val="8A5942"/>
                      </a:solidFill>
                    </p:grpSpPr>
                    <p:sp>
                      <p:nvSpPr>
                        <p:cNvPr id="65" name="Freihandform: Form 64">
                          <a:extLst>
                            <a:ext uri="{FF2B5EF4-FFF2-40B4-BE49-F238E27FC236}">
                              <a16:creationId xmlns:a16="http://schemas.microsoft.com/office/drawing/2014/main" id="{7D7FB65F-813D-CC44-BBBB-326AD0C6369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56624" y="3848906"/>
                          <a:ext cx="50341" cy="127114"/>
                        </a:xfrm>
                        <a:custGeom>
                          <a:avLst/>
                          <a:gdLst>
                            <a:gd name="connsiteX0" fmla="*/ 30182 w 50341"/>
                            <a:gd name="connsiteY0" fmla="*/ 127114 h 127114"/>
                            <a:gd name="connsiteX1" fmla="*/ 5131 w 50341"/>
                            <a:gd name="connsiteY1" fmla="*/ 71584 h 127114"/>
                            <a:gd name="connsiteX2" fmla="*/ 15323 w 50341"/>
                            <a:gd name="connsiteY2" fmla="*/ 8528 h 127114"/>
                            <a:gd name="connsiteX3" fmla="*/ 25515 w 50341"/>
                            <a:gd name="connsiteY3" fmla="*/ 337 h 127114"/>
                            <a:gd name="connsiteX4" fmla="*/ 46851 w 50341"/>
                            <a:gd name="connsiteY4" fmla="*/ 72060 h 127114"/>
                            <a:gd name="connsiteX5" fmla="*/ 30182 w 50341"/>
                            <a:gd name="connsiteY5" fmla="*/ 127114 h 127114"/>
                            <a:gd name="connsiteX6" fmla="*/ 30182 w 50341"/>
                            <a:gd name="connsiteY6" fmla="*/ 127114 h 12711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50341" h="127114">
                              <a:moveTo>
                                <a:pt x="30182" y="127114"/>
                              </a:moveTo>
                              <a:lnTo>
                                <a:pt x="5131" y="71584"/>
                              </a:lnTo>
                              <a:cubicBezTo>
                                <a:pt x="-4108" y="50343"/>
                                <a:pt x="-964" y="26912"/>
                                <a:pt x="15323" y="8528"/>
                              </a:cubicBezTo>
                              <a:cubicBezTo>
                                <a:pt x="20562" y="2623"/>
                                <a:pt x="24658" y="-1187"/>
                                <a:pt x="25515" y="337"/>
                              </a:cubicBezTo>
                              <a:cubicBezTo>
                                <a:pt x="27039" y="3385"/>
                                <a:pt x="36278" y="33865"/>
                                <a:pt x="46851" y="72060"/>
                              </a:cubicBezTo>
                              <a:cubicBezTo>
                                <a:pt x="53518" y="96158"/>
                                <a:pt x="51995" y="112446"/>
                                <a:pt x="30182" y="127114"/>
                              </a:cubicBezTo>
                              <a:lnTo>
                                <a:pt x="30182" y="127114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6" name="Freihandform: Form 65">
                          <a:extLst>
                            <a:ext uri="{FF2B5EF4-FFF2-40B4-BE49-F238E27FC236}">
                              <a16:creationId xmlns:a16="http://schemas.microsoft.com/office/drawing/2014/main" id="{0C3134B7-EC18-7BA4-8EF9-EB3919DC29D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22907" y="3799998"/>
                          <a:ext cx="71113" cy="124396"/>
                        </a:xfrm>
                        <a:custGeom>
                          <a:avLst/>
                          <a:gdLst>
                            <a:gd name="connsiteX0" fmla="*/ 40563 w 71113"/>
                            <a:gd name="connsiteY0" fmla="*/ 124396 h 124396"/>
                            <a:gd name="connsiteX1" fmla="*/ 3415 w 71113"/>
                            <a:gd name="connsiteY1" fmla="*/ 38290 h 124396"/>
                            <a:gd name="connsiteX2" fmla="*/ 41135 w 71113"/>
                            <a:gd name="connsiteY2" fmla="*/ 2000 h 124396"/>
                            <a:gd name="connsiteX3" fmla="*/ 45325 w 71113"/>
                            <a:gd name="connsiteY3" fmla="*/ 0 h 124396"/>
                            <a:gd name="connsiteX4" fmla="*/ 69043 w 71113"/>
                            <a:gd name="connsiteY4" fmla="*/ 74295 h 124396"/>
                            <a:gd name="connsiteX5" fmla="*/ 42087 w 71113"/>
                            <a:gd name="connsiteY5" fmla="*/ 123634 h 124396"/>
                            <a:gd name="connsiteX6" fmla="*/ 40563 w 71113"/>
                            <a:gd name="connsiteY6" fmla="*/ 124396 h 12439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71113" h="124396">
                              <a:moveTo>
                                <a:pt x="40563" y="124396"/>
                              </a:moveTo>
                              <a:lnTo>
                                <a:pt x="3415" y="38290"/>
                              </a:lnTo>
                              <a:cubicBezTo>
                                <a:pt x="-7729" y="12192"/>
                                <a:pt x="9321" y="3238"/>
                                <a:pt x="41135" y="2000"/>
                              </a:cubicBezTo>
                              <a:lnTo>
                                <a:pt x="45325" y="0"/>
                              </a:lnTo>
                              <a:lnTo>
                                <a:pt x="69043" y="74295"/>
                              </a:lnTo>
                              <a:cubicBezTo>
                                <a:pt x="75996" y="97060"/>
                                <a:pt x="65042" y="112014"/>
                                <a:pt x="42087" y="123634"/>
                              </a:cubicBezTo>
                              <a:lnTo>
                                <a:pt x="40563" y="124396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7" name="Freihandform: Form 66">
                          <a:extLst>
                            <a:ext uri="{FF2B5EF4-FFF2-40B4-BE49-F238E27FC236}">
                              <a16:creationId xmlns:a16="http://schemas.microsoft.com/office/drawing/2014/main" id="{4C5BDDF3-9973-FF94-E2BF-FE006A5FF1D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15082" y="3708417"/>
                          <a:ext cx="63532" cy="120728"/>
                        </a:xfrm>
                        <a:custGeom>
                          <a:avLst/>
                          <a:gdLst>
                            <a:gd name="connsiteX0" fmla="*/ 1 w 63532"/>
                            <a:gd name="connsiteY0" fmla="*/ 12715 h 120728"/>
                            <a:gd name="connsiteX1" fmla="*/ 8573 w 63532"/>
                            <a:gd name="connsiteY1" fmla="*/ 120728 h 120728"/>
                            <a:gd name="connsiteX2" fmla="*/ 54674 w 63532"/>
                            <a:gd name="connsiteY2" fmla="*/ 92629 h 120728"/>
                            <a:gd name="connsiteX3" fmla="*/ 63532 w 63532"/>
                            <a:gd name="connsiteY3" fmla="*/ 16048 h 120728"/>
                            <a:gd name="connsiteX4" fmla="*/ 1 w 63532"/>
                            <a:gd name="connsiteY4" fmla="*/ 12619 h 12072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63532" h="120728">
                              <a:moveTo>
                                <a:pt x="1" y="12715"/>
                              </a:moveTo>
                              <a:cubicBezTo>
                                <a:pt x="-95" y="14715"/>
                                <a:pt x="8573" y="120728"/>
                                <a:pt x="8573" y="120728"/>
                              </a:cubicBezTo>
                              <a:cubicBezTo>
                                <a:pt x="37910" y="120347"/>
                                <a:pt x="51817" y="119585"/>
                                <a:pt x="54674" y="92629"/>
                              </a:cubicBezTo>
                              <a:lnTo>
                                <a:pt x="63532" y="16048"/>
                              </a:lnTo>
                              <a:cubicBezTo>
                                <a:pt x="55341" y="-2335"/>
                                <a:pt x="9144" y="-6812"/>
                                <a:pt x="1" y="12619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sp>
                    <p:nvSpPr>
                      <p:cNvPr id="68" name="Freihandform: Form 67">
                        <a:extLst>
                          <a:ext uri="{FF2B5EF4-FFF2-40B4-BE49-F238E27FC236}">
                            <a16:creationId xmlns:a16="http://schemas.microsoft.com/office/drawing/2014/main" id="{6C7AACEA-614D-D12E-47FF-99706C38BC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63914" y="3855038"/>
                        <a:ext cx="46483" cy="113934"/>
                      </a:xfrm>
                      <a:custGeom>
                        <a:avLst/>
                        <a:gdLst>
                          <a:gd name="connsiteX0" fmla="*/ 22320 w 46483"/>
                          <a:gd name="connsiteY0" fmla="*/ 113744 h 113934"/>
                          <a:gd name="connsiteX1" fmla="*/ 3366 w 46483"/>
                          <a:gd name="connsiteY1" fmla="*/ 60784 h 113934"/>
                          <a:gd name="connsiteX2" fmla="*/ 17844 w 46483"/>
                          <a:gd name="connsiteY2" fmla="*/ 6587 h 113934"/>
                          <a:gd name="connsiteX3" fmla="*/ 28893 w 46483"/>
                          <a:gd name="connsiteY3" fmla="*/ 396 h 113934"/>
                          <a:gd name="connsiteX4" fmla="*/ 44990 w 46483"/>
                          <a:gd name="connsiteY4" fmla="*/ 66214 h 113934"/>
                          <a:gd name="connsiteX5" fmla="*/ 22416 w 46483"/>
                          <a:gd name="connsiteY5" fmla="*/ 113934 h 113934"/>
                          <a:gd name="connsiteX6" fmla="*/ 22416 w 46483"/>
                          <a:gd name="connsiteY6" fmla="*/ 113934 h 11393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6483" h="113934">
                            <a:moveTo>
                              <a:pt x="22320" y="113744"/>
                            </a:moveTo>
                            <a:lnTo>
                              <a:pt x="3366" y="60784"/>
                            </a:lnTo>
                            <a:cubicBezTo>
                              <a:pt x="-3492" y="40591"/>
                              <a:pt x="-444" y="21161"/>
                              <a:pt x="17844" y="6587"/>
                            </a:cubicBezTo>
                            <a:cubicBezTo>
                              <a:pt x="23749" y="1920"/>
                              <a:pt x="28321" y="-1128"/>
                              <a:pt x="28893" y="396"/>
                            </a:cubicBezTo>
                            <a:cubicBezTo>
                              <a:pt x="30036" y="3254"/>
                              <a:pt x="38608" y="30495"/>
                              <a:pt x="44990" y="66214"/>
                            </a:cubicBezTo>
                            <a:cubicBezTo>
                              <a:pt x="49086" y="88788"/>
                              <a:pt x="45752" y="103171"/>
                              <a:pt x="22416" y="113934"/>
                            </a:cubicBezTo>
                            <a:lnTo>
                              <a:pt x="22416" y="113934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69" name="Freihandform: Form 68">
                        <a:extLst>
                          <a:ext uri="{FF2B5EF4-FFF2-40B4-BE49-F238E27FC236}">
                            <a16:creationId xmlns:a16="http://schemas.microsoft.com/office/drawing/2014/main" id="{0A603A35-09B5-DAD7-70D7-A1C7BB8760C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36560" y="3794759"/>
                        <a:ext cx="62340" cy="120967"/>
                      </a:xfrm>
                      <a:custGeom>
                        <a:avLst/>
                        <a:gdLst>
                          <a:gd name="connsiteX0" fmla="*/ 30624 w 62340"/>
                          <a:gd name="connsiteY0" fmla="*/ 120968 h 120967"/>
                          <a:gd name="connsiteX1" fmla="*/ 2335 w 62340"/>
                          <a:gd name="connsiteY1" fmla="*/ 39338 h 120967"/>
                          <a:gd name="connsiteX2" fmla="*/ 38244 w 62340"/>
                          <a:gd name="connsiteY2" fmla="*/ 0 h 120967"/>
                          <a:gd name="connsiteX3" fmla="*/ 43864 w 62340"/>
                          <a:gd name="connsiteY3" fmla="*/ 9335 h 120967"/>
                          <a:gd name="connsiteX4" fmla="*/ 61390 w 62340"/>
                          <a:gd name="connsiteY4" fmla="*/ 80867 h 120967"/>
                          <a:gd name="connsiteX5" fmla="*/ 30719 w 62340"/>
                          <a:gd name="connsiteY5" fmla="*/ 120968 h 120967"/>
                          <a:gd name="connsiteX6" fmla="*/ 30719 w 62340"/>
                          <a:gd name="connsiteY6" fmla="*/ 120968 h 12096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2340" h="120967">
                            <a:moveTo>
                              <a:pt x="30624" y="120968"/>
                            </a:moveTo>
                            <a:lnTo>
                              <a:pt x="2335" y="39338"/>
                            </a:lnTo>
                            <a:cubicBezTo>
                              <a:pt x="-5952" y="14573"/>
                              <a:pt x="8240" y="6001"/>
                              <a:pt x="38244" y="0"/>
                            </a:cubicBezTo>
                            <a:lnTo>
                              <a:pt x="43864" y="9335"/>
                            </a:lnTo>
                            <a:lnTo>
                              <a:pt x="61390" y="80867"/>
                            </a:lnTo>
                            <a:cubicBezTo>
                              <a:pt x="65771" y="102203"/>
                              <a:pt x="54912" y="113157"/>
                              <a:pt x="30719" y="120968"/>
                            </a:cubicBezTo>
                            <a:lnTo>
                              <a:pt x="30719" y="120968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0" name="Freihandform: Form 69">
                        <a:extLst>
                          <a:ext uri="{FF2B5EF4-FFF2-40B4-BE49-F238E27FC236}">
                            <a16:creationId xmlns:a16="http://schemas.microsoft.com/office/drawing/2014/main" id="{FFE30E86-F9EF-A026-C612-8C9944386E0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35054" y="3713098"/>
                        <a:ext cx="53751" cy="112434"/>
                      </a:xfrm>
                      <a:custGeom>
                        <a:avLst/>
                        <a:gdLst>
                          <a:gd name="connsiteX0" fmla="*/ 31 w 53751"/>
                          <a:gd name="connsiteY0" fmla="*/ 7176 h 112434"/>
                          <a:gd name="connsiteX1" fmla="*/ 1555 w 53751"/>
                          <a:gd name="connsiteY1" fmla="*/ 110046 h 112434"/>
                          <a:gd name="connsiteX2" fmla="*/ 44989 w 53751"/>
                          <a:gd name="connsiteY2" fmla="*/ 94806 h 112434"/>
                          <a:gd name="connsiteX3" fmla="*/ 53752 w 53751"/>
                          <a:gd name="connsiteY3" fmla="*/ 23654 h 112434"/>
                          <a:gd name="connsiteX4" fmla="*/ 31 w 53751"/>
                          <a:gd name="connsiteY4" fmla="*/ 7176 h 11243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53751" h="112434">
                            <a:moveTo>
                              <a:pt x="31" y="7176"/>
                            </a:moveTo>
                            <a:cubicBezTo>
                              <a:pt x="-255" y="8986"/>
                              <a:pt x="1555" y="110046"/>
                              <a:pt x="1555" y="110046"/>
                            </a:cubicBezTo>
                            <a:cubicBezTo>
                              <a:pt x="30987" y="111856"/>
                              <a:pt x="40512" y="119000"/>
                              <a:pt x="44989" y="94806"/>
                            </a:cubicBezTo>
                            <a:lnTo>
                              <a:pt x="53752" y="23654"/>
                            </a:lnTo>
                            <a:cubicBezTo>
                              <a:pt x="46703" y="6414"/>
                              <a:pt x="10318" y="-9778"/>
                              <a:pt x="31" y="7176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grpSp>
                    <p:nvGrpSpPr>
                      <p:cNvPr id="71" name="Grafik 23">
                        <a:extLst>
                          <a:ext uri="{FF2B5EF4-FFF2-40B4-BE49-F238E27FC236}">
                            <a16:creationId xmlns:a16="http://schemas.microsoft.com/office/drawing/2014/main" id="{B097A2B0-DDD8-E3BC-E93B-9F0074DCEE88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8483816" y="3539440"/>
                        <a:ext cx="145001" cy="336662"/>
                        <a:chOff x="8483816" y="3539440"/>
                        <a:chExt cx="145001" cy="336662"/>
                      </a:xfrm>
                      <a:solidFill>
                        <a:srgbClr val="8A5942"/>
                      </a:solidFill>
                    </p:grpSpPr>
                    <p:sp>
                      <p:nvSpPr>
                        <p:cNvPr id="72" name="Freihandform: Form 71">
                          <a:extLst>
                            <a:ext uri="{FF2B5EF4-FFF2-40B4-BE49-F238E27FC236}">
                              <a16:creationId xmlns:a16="http://schemas.microsoft.com/office/drawing/2014/main" id="{F8B3906A-249D-6BA9-447D-C0044D4069D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529038" y="3738176"/>
                          <a:ext cx="60495" cy="137927"/>
                        </a:xfrm>
                        <a:custGeom>
                          <a:avLst/>
                          <a:gdLst>
                            <a:gd name="connsiteX0" fmla="*/ 24158 w 60495"/>
                            <a:gd name="connsiteY0" fmla="*/ 137927 h 137927"/>
                            <a:gd name="connsiteX1" fmla="*/ 57685 w 60495"/>
                            <a:gd name="connsiteY1" fmla="*/ 75253 h 137927"/>
                            <a:gd name="connsiteX2" fmla="*/ 53304 w 60495"/>
                            <a:gd name="connsiteY2" fmla="*/ 5815 h 137927"/>
                            <a:gd name="connsiteX3" fmla="*/ 40350 w 60495"/>
                            <a:gd name="connsiteY3" fmla="*/ 958 h 137927"/>
                            <a:gd name="connsiteX4" fmla="*/ 4726 w 60495"/>
                            <a:gd name="connsiteY4" fmla="*/ 77824 h 137927"/>
                            <a:gd name="connsiteX5" fmla="*/ 24062 w 60495"/>
                            <a:gd name="connsiteY5" fmla="*/ 137832 h 137927"/>
                            <a:gd name="connsiteX6" fmla="*/ 24062 w 60495"/>
                            <a:gd name="connsiteY6" fmla="*/ 137832 h 13792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60495" h="137927">
                              <a:moveTo>
                                <a:pt x="24158" y="137927"/>
                              </a:moveTo>
                              <a:lnTo>
                                <a:pt x="57685" y="75253"/>
                              </a:lnTo>
                              <a:cubicBezTo>
                                <a:pt x="59876" y="52964"/>
                                <a:pt x="64448" y="18579"/>
                                <a:pt x="53304" y="5815"/>
                              </a:cubicBezTo>
                              <a:cubicBezTo>
                                <a:pt x="47017" y="-1424"/>
                                <a:pt x="41398" y="-376"/>
                                <a:pt x="40350" y="958"/>
                              </a:cubicBezTo>
                              <a:cubicBezTo>
                                <a:pt x="33111" y="11149"/>
                                <a:pt x="17204" y="44868"/>
                                <a:pt x="4726" y="77824"/>
                              </a:cubicBezTo>
                              <a:cubicBezTo>
                                <a:pt x="-3941" y="100780"/>
                                <a:pt x="-2417" y="117639"/>
                                <a:pt x="24062" y="137832"/>
                              </a:cubicBezTo>
                              <a:lnTo>
                                <a:pt x="24062" y="13783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3" name="Freihandform: Form 72">
                          <a:extLst>
                            <a:ext uri="{FF2B5EF4-FFF2-40B4-BE49-F238E27FC236}">
                              <a16:creationId xmlns:a16="http://schemas.microsoft.com/office/drawing/2014/main" id="{C469FA3C-E703-43E2-E9CB-E1CD7ABD5A7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548242" y="3697576"/>
                          <a:ext cx="80486" cy="117625"/>
                        </a:xfrm>
                        <a:custGeom>
                          <a:avLst/>
                          <a:gdLst>
                            <a:gd name="connsiteX0" fmla="*/ 80486 w 80486"/>
                            <a:gd name="connsiteY0" fmla="*/ 17269 h 117625"/>
                            <a:gd name="connsiteX1" fmla="*/ 0 w 80486"/>
                            <a:gd name="connsiteY1" fmla="*/ 10982 h 117625"/>
                            <a:gd name="connsiteX2" fmla="*/ 5810 w 80486"/>
                            <a:gd name="connsiteY2" fmla="*/ 70608 h 117625"/>
                            <a:gd name="connsiteX3" fmla="*/ 38481 w 80486"/>
                            <a:gd name="connsiteY3" fmla="*/ 115948 h 117625"/>
                            <a:gd name="connsiteX4" fmla="*/ 80486 w 80486"/>
                            <a:gd name="connsiteY4" fmla="*/ 17269 h 11762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80486" h="117625">
                              <a:moveTo>
                                <a:pt x="80486" y="17269"/>
                              </a:moveTo>
                              <a:cubicBezTo>
                                <a:pt x="61627" y="-17498"/>
                                <a:pt x="0" y="10982"/>
                                <a:pt x="0" y="10982"/>
                              </a:cubicBezTo>
                              <a:lnTo>
                                <a:pt x="5810" y="70608"/>
                              </a:lnTo>
                              <a:cubicBezTo>
                                <a:pt x="3429" y="95659"/>
                                <a:pt x="15907" y="124996"/>
                                <a:pt x="38481" y="115948"/>
                              </a:cubicBezTo>
                              <a:cubicBezTo>
                                <a:pt x="38481" y="115948"/>
                                <a:pt x="80582" y="16221"/>
                                <a:pt x="80486" y="17269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4" name="Freihandform: Form 73">
                          <a:extLst>
                            <a:ext uri="{FF2B5EF4-FFF2-40B4-BE49-F238E27FC236}">
                              <a16:creationId xmlns:a16="http://schemas.microsoft.com/office/drawing/2014/main" id="{D442AB8C-3A35-5422-8DAF-935CFBF688A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83816" y="3539440"/>
                          <a:ext cx="145001" cy="187300"/>
                        </a:xfrm>
                        <a:custGeom>
                          <a:avLst/>
                          <a:gdLst>
                            <a:gd name="connsiteX0" fmla="*/ 142151 w 145001"/>
                            <a:gd name="connsiteY0" fmla="*/ 88632 h 187300"/>
                            <a:gd name="connsiteX1" fmla="*/ 144913 w 145001"/>
                            <a:gd name="connsiteY1" fmla="*/ 175405 h 187300"/>
                            <a:gd name="connsiteX2" fmla="*/ 144913 w 145001"/>
                            <a:gd name="connsiteY2" fmla="*/ 175405 h 187300"/>
                            <a:gd name="connsiteX3" fmla="*/ 64712 w 145001"/>
                            <a:gd name="connsiteY3" fmla="*/ 170642 h 187300"/>
                            <a:gd name="connsiteX4" fmla="*/ 9848 w 145001"/>
                            <a:gd name="connsiteY4" fmla="*/ 67486 h 187300"/>
                            <a:gd name="connsiteX5" fmla="*/ 104717 w 145001"/>
                            <a:gd name="connsiteY5" fmla="*/ 431 h 187300"/>
                            <a:gd name="connsiteX6" fmla="*/ 142151 w 145001"/>
                            <a:gd name="connsiteY6" fmla="*/ 88632 h 18730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145001" h="187300">
                              <a:moveTo>
                                <a:pt x="142151" y="88632"/>
                              </a:moveTo>
                              <a:cubicBezTo>
                                <a:pt x="145770" y="113302"/>
                                <a:pt x="144913" y="175405"/>
                                <a:pt x="144913" y="175405"/>
                              </a:cubicBezTo>
                              <a:lnTo>
                                <a:pt x="144913" y="175405"/>
                              </a:lnTo>
                              <a:cubicBezTo>
                                <a:pt x="107289" y="175214"/>
                                <a:pt x="108813" y="205218"/>
                                <a:pt x="64712" y="170642"/>
                              </a:cubicBezTo>
                              <a:cubicBezTo>
                                <a:pt x="64712" y="170642"/>
                                <a:pt x="53472" y="104253"/>
                                <a:pt x="9848" y="67486"/>
                              </a:cubicBezTo>
                              <a:cubicBezTo>
                                <a:pt x="-27871" y="35768"/>
                                <a:pt x="51186" y="-4618"/>
                                <a:pt x="104717" y="431"/>
                              </a:cubicBezTo>
                              <a:cubicBezTo>
                                <a:pt x="128815" y="38244"/>
                                <a:pt x="142151" y="88632"/>
                                <a:pt x="142151" y="8863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sp>
                    <p:nvSpPr>
                      <p:cNvPr id="75" name="Freihandform: Form 74">
                        <a:extLst>
                          <a:ext uri="{FF2B5EF4-FFF2-40B4-BE49-F238E27FC236}">
                            <a16:creationId xmlns:a16="http://schemas.microsoft.com/office/drawing/2014/main" id="{C717B5E7-21E0-3492-587A-B95C05ADAC4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395080" y="3494722"/>
                        <a:ext cx="234464" cy="282987"/>
                      </a:xfrm>
                      <a:custGeom>
                        <a:avLst/>
                        <a:gdLst>
                          <a:gd name="connsiteX0" fmla="*/ 4382 w 234464"/>
                          <a:gd name="connsiteY0" fmla="*/ 195644 h 282987"/>
                          <a:gd name="connsiteX1" fmla="*/ 59341 w 234464"/>
                          <a:gd name="connsiteY1" fmla="*/ 0 h 282987"/>
                          <a:gd name="connsiteX2" fmla="*/ 194977 w 234464"/>
                          <a:gd name="connsiteY2" fmla="*/ 11430 h 282987"/>
                          <a:gd name="connsiteX3" fmla="*/ 200787 w 234464"/>
                          <a:gd name="connsiteY3" fmla="*/ 47625 h 282987"/>
                          <a:gd name="connsiteX4" fmla="*/ 232601 w 234464"/>
                          <a:gd name="connsiteY4" fmla="*/ 177832 h 282987"/>
                          <a:gd name="connsiteX5" fmla="*/ 152877 w 234464"/>
                          <a:gd name="connsiteY5" fmla="*/ 204883 h 282987"/>
                          <a:gd name="connsiteX6" fmla="*/ 88678 w 234464"/>
                          <a:gd name="connsiteY6" fmla="*/ 282988 h 282987"/>
                          <a:gd name="connsiteX7" fmla="*/ 0 w 234464"/>
                          <a:gd name="connsiteY7" fmla="*/ 234982 h 282987"/>
                          <a:gd name="connsiteX8" fmla="*/ 4382 w 234464"/>
                          <a:gd name="connsiteY8" fmla="*/ 195548 h 2829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234464" h="282987">
                            <a:moveTo>
                              <a:pt x="4382" y="195644"/>
                            </a:moveTo>
                            <a:cubicBezTo>
                              <a:pt x="21431" y="145828"/>
                              <a:pt x="40958" y="87154"/>
                              <a:pt x="59341" y="0"/>
                            </a:cubicBezTo>
                            <a:lnTo>
                              <a:pt x="194977" y="11430"/>
                            </a:lnTo>
                            <a:cubicBezTo>
                              <a:pt x="194977" y="32099"/>
                              <a:pt x="197739" y="44005"/>
                              <a:pt x="200787" y="47625"/>
                            </a:cubicBezTo>
                            <a:cubicBezTo>
                              <a:pt x="246031" y="101727"/>
                              <a:pt x="232601" y="177832"/>
                              <a:pt x="232601" y="177832"/>
                            </a:cubicBezTo>
                            <a:cubicBezTo>
                              <a:pt x="230981" y="184976"/>
                              <a:pt x="183261" y="168688"/>
                              <a:pt x="152877" y="204883"/>
                            </a:cubicBezTo>
                            <a:cubicBezTo>
                              <a:pt x="144304" y="215075"/>
                              <a:pt x="102394" y="222885"/>
                              <a:pt x="88678" y="282988"/>
                            </a:cubicBezTo>
                            <a:cubicBezTo>
                              <a:pt x="33909" y="215837"/>
                              <a:pt x="3048" y="234125"/>
                              <a:pt x="0" y="234982"/>
                            </a:cubicBezTo>
                            <a:cubicBezTo>
                              <a:pt x="2572" y="219551"/>
                              <a:pt x="2667" y="206026"/>
                              <a:pt x="4382" y="195548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6" name="Freihandform: Form 75">
                        <a:extLst>
                          <a:ext uri="{FF2B5EF4-FFF2-40B4-BE49-F238E27FC236}">
                            <a16:creationId xmlns:a16="http://schemas.microsoft.com/office/drawing/2014/main" id="{B78F126A-E226-154D-8C4B-E2C16756549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53659" y="3436239"/>
                        <a:ext cx="136397" cy="136398"/>
                      </a:xfrm>
                      <a:custGeom>
                        <a:avLst/>
                        <a:gdLst>
                          <a:gd name="connsiteX0" fmla="*/ 136398 w 136397"/>
                          <a:gd name="connsiteY0" fmla="*/ 68199 h 136398"/>
                          <a:gd name="connsiteX1" fmla="*/ 68199 w 136397"/>
                          <a:gd name="connsiteY1" fmla="*/ 136398 h 136398"/>
                          <a:gd name="connsiteX2" fmla="*/ 1 w 136397"/>
                          <a:gd name="connsiteY2" fmla="*/ 68199 h 136398"/>
                          <a:gd name="connsiteX3" fmla="*/ 68199 w 136397"/>
                          <a:gd name="connsiteY3" fmla="*/ 0 h 136398"/>
                          <a:gd name="connsiteX4" fmla="*/ 136398 w 136397"/>
                          <a:gd name="connsiteY4" fmla="*/ 68199 h 13639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36397" h="136398">
                            <a:moveTo>
                              <a:pt x="136398" y="68199"/>
                            </a:moveTo>
                            <a:cubicBezTo>
                              <a:pt x="136398" y="105864"/>
                              <a:pt x="105864" y="136398"/>
                              <a:pt x="68199" y="136398"/>
                            </a:cubicBezTo>
                            <a:cubicBezTo>
                              <a:pt x="30534" y="136398"/>
                              <a:pt x="1" y="105865"/>
                              <a:pt x="1" y="68199"/>
                            </a:cubicBezTo>
                            <a:cubicBezTo>
                              <a:pt x="1" y="30534"/>
                              <a:pt x="30534" y="0"/>
                              <a:pt x="68199" y="0"/>
                            </a:cubicBezTo>
                            <a:cubicBezTo>
                              <a:pt x="105864" y="0"/>
                              <a:pt x="136398" y="30534"/>
                              <a:pt x="136398" y="68199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</p:grpSp>
              <p:sp>
                <p:nvSpPr>
                  <p:cNvPr id="77" name="Freihandform: Form 76">
                    <a:extLst>
                      <a:ext uri="{FF2B5EF4-FFF2-40B4-BE49-F238E27FC236}">
                        <a16:creationId xmlns:a16="http://schemas.microsoft.com/office/drawing/2014/main" id="{033BB49D-DDE7-266B-D20F-045717888045}"/>
                      </a:ext>
                    </a:extLst>
                  </p:cNvPr>
                  <p:cNvSpPr/>
                  <p:nvPr/>
                </p:nvSpPr>
                <p:spPr>
                  <a:xfrm>
                    <a:off x="8688572" y="1533884"/>
                    <a:ext cx="1208416" cy="1222459"/>
                  </a:xfrm>
                  <a:custGeom>
                    <a:avLst/>
                    <a:gdLst>
                      <a:gd name="connsiteX0" fmla="*/ 1189550 w 1208416"/>
                      <a:gd name="connsiteY0" fmla="*/ 262626 h 1222459"/>
                      <a:gd name="connsiteX1" fmla="*/ 821695 w 1208416"/>
                      <a:gd name="connsiteY1" fmla="*/ 114131 h 1222459"/>
                      <a:gd name="connsiteX2" fmla="*/ 766641 w 1208416"/>
                      <a:gd name="connsiteY2" fmla="*/ 15071 h 1222459"/>
                      <a:gd name="connsiteX3" fmla="*/ 747971 w 1208416"/>
                      <a:gd name="connsiteY3" fmla="*/ 6879 h 1222459"/>
                      <a:gd name="connsiteX4" fmla="*/ 454506 w 1208416"/>
                      <a:gd name="connsiteY4" fmla="*/ 1164 h 1222459"/>
                      <a:gd name="connsiteX5" fmla="*/ 438885 w 1208416"/>
                      <a:gd name="connsiteY5" fmla="*/ 8975 h 1222459"/>
                      <a:gd name="connsiteX6" fmla="*/ 424026 w 1208416"/>
                      <a:gd name="connsiteY6" fmla="*/ 67744 h 1222459"/>
                      <a:gd name="connsiteX7" fmla="*/ 390879 w 1208416"/>
                      <a:gd name="connsiteY7" fmla="*/ 96986 h 1222459"/>
                      <a:gd name="connsiteX8" fmla="*/ 17594 w 1208416"/>
                      <a:gd name="connsiteY8" fmla="*/ 279771 h 1222459"/>
                      <a:gd name="connsiteX9" fmla="*/ 143896 w 1208416"/>
                      <a:gd name="connsiteY9" fmla="*/ 680868 h 1222459"/>
                      <a:gd name="connsiteX10" fmla="*/ 240384 w 1208416"/>
                      <a:gd name="connsiteY10" fmla="*/ 1222460 h 1222459"/>
                      <a:gd name="connsiteX11" fmla="*/ 955235 w 1208416"/>
                      <a:gd name="connsiteY11" fmla="*/ 1220364 h 1222459"/>
                      <a:gd name="connsiteX12" fmla="*/ 1093729 w 1208416"/>
                      <a:gd name="connsiteY12" fmla="*/ 696870 h 1222459"/>
                      <a:gd name="connsiteX13" fmla="*/ 1189455 w 1208416"/>
                      <a:gd name="connsiteY13" fmla="*/ 262530 h 12224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208416" h="1222459">
                        <a:moveTo>
                          <a:pt x="1189550" y="262626"/>
                        </a:moveTo>
                        <a:cubicBezTo>
                          <a:pt x="1103921" y="179663"/>
                          <a:pt x="966475" y="205666"/>
                          <a:pt x="821695" y="114131"/>
                        </a:cubicBezTo>
                        <a:cubicBezTo>
                          <a:pt x="785500" y="80793"/>
                          <a:pt x="771689" y="38597"/>
                          <a:pt x="766641" y="15071"/>
                        </a:cubicBezTo>
                        <a:cubicBezTo>
                          <a:pt x="764831" y="6689"/>
                          <a:pt x="755401" y="2593"/>
                          <a:pt x="747971" y="6879"/>
                        </a:cubicBezTo>
                        <a:cubicBezTo>
                          <a:pt x="655769" y="60791"/>
                          <a:pt x="553947" y="49837"/>
                          <a:pt x="454506" y="1164"/>
                        </a:cubicBezTo>
                        <a:cubicBezTo>
                          <a:pt x="447934" y="-2074"/>
                          <a:pt x="440123" y="1736"/>
                          <a:pt x="438885" y="8975"/>
                        </a:cubicBezTo>
                        <a:cubicBezTo>
                          <a:pt x="436504" y="22500"/>
                          <a:pt x="431932" y="44122"/>
                          <a:pt x="424026" y="67744"/>
                        </a:cubicBezTo>
                        <a:cubicBezTo>
                          <a:pt x="421073" y="74316"/>
                          <a:pt x="412501" y="88223"/>
                          <a:pt x="390879" y="96986"/>
                        </a:cubicBezTo>
                        <a:cubicBezTo>
                          <a:pt x="225049" y="164137"/>
                          <a:pt x="111987" y="195188"/>
                          <a:pt x="17594" y="279771"/>
                        </a:cubicBezTo>
                        <a:cubicBezTo>
                          <a:pt x="-59939" y="349303"/>
                          <a:pt x="143896" y="680868"/>
                          <a:pt x="143896" y="680868"/>
                        </a:cubicBezTo>
                        <a:lnTo>
                          <a:pt x="240384" y="1222460"/>
                        </a:lnTo>
                        <a:lnTo>
                          <a:pt x="955235" y="1220364"/>
                        </a:lnTo>
                        <a:lnTo>
                          <a:pt x="1093729" y="696870"/>
                        </a:lnTo>
                        <a:cubicBezTo>
                          <a:pt x="1093729" y="696870"/>
                          <a:pt x="1264227" y="335016"/>
                          <a:pt x="1189455" y="262530"/>
                        </a:cubicBezTo>
                        <a:close/>
                      </a:path>
                    </a:pathLst>
                  </a:custGeom>
                  <a:solidFill>
                    <a:srgbClr val="FFE98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8" name="Freihandform: Form 77">
                    <a:extLst>
                      <a:ext uri="{FF2B5EF4-FFF2-40B4-BE49-F238E27FC236}">
                        <a16:creationId xmlns:a16="http://schemas.microsoft.com/office/drawing/2014/main" id="{8125EA3B-A5DD-C997-346C-13FD71A879CF}"/>
                      </a:ext>
                    </a:extLst>
                  </p:cNvPr>
                  <p:cNvSpPr/>
                  <p:nvPr/>
                </p:nvSpPr>
                <p:spPr>
                  <a:xfrm>
                    <a:off x="9209944" y="1375027"/>
                    <a:ext cx="147256" cy="49531"/>
                  </a:xfrm>
                  <a:custGeom>
                    <a:avLst/>
                    <a:gdLst>
                      <a:gd name="connsiteX0" fmla="*/ 0 w 147256"/>
                      <a:gd name="connsiteY0" fmla="*/ 5431 h 49531"/>
                      <a:gd name="connsiteX1" fmla="*/ 55721 w 147256"/>
                      <a:gd name="connsiteY1" fmla="*/ 573 h 49531"/>
                      <a:gd name="connsiteX2" fmla="*/ 70294 w 147256"/>
                      <a:gd name="connsiteY2" fmla="*/ 4002 h 49531"/>
                      <a:gd name="connsiteX3" fmla="*/ 84010 w 147256"/>
                      <a:gd name="connsiteY3" fmla="*/ 2 h 49531"/>
                      <a:gd name="connsiteX4" fmla="*/ 147256 w 147256"/>
                      <a:gd name="connsiteY4" fmla="*/ 5812 h 49531"/>
                      <a:gd name="connsiteX5" fmla="*/ 68389 w 147256"/>
                      <a:gd name="connsiteY5" fmla="*/ 49532 h 49531"/>
                      <a:gd name="connsiteX6" fmla="*/ 0 w 147256"/>
                      <a:gd name="connsiteY6" fmla="*/ 5431 h 495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7256" h="49531">
                        <a:moveTo>
                          <a:pt x="0" y="5431"/>
                        </a:moveTo>
                        <a:cubicBezTo>
                          <a:pt x="0" y="5431"/>
                          <a:pt x="19050" y="2859"/>
                          <a:pt x="55721" y="573"/>
                        </a:cubicBezTo>
                        <a:cubicBezTo>
                          <a:pt x="58578" y="383"/>
                          <a:pt x="61817" y="4193"/>
                          <a:pt x="70294" y="4002"/>
                        </a:cubicBezTo>
                        <a:cubicBezTo>
                          <a:pt x="80296" y="3812"/>
                          <a:pt x="80676" y="-94"/>
                          <a:pt x="84010" y="2"/>
                        </a:cubicBezTo>
                        <a:cubicBezTo>
                          <a:pt x="123539" y="1049"/>
                          <a:pt x="147256" y="5812"/>
                          <a:pt x="147256" y="5812"/>
                        </a:cubicBezTo>
                        <a:cubicBezTo>
                          <a:pt x="147256" y="5812"/>
                          <a:pt x="127635" y="49532"/>
                          <a:pt x="68389" y="49532"/>
                        </a:cubicBezTo>
                        <a:cubicBezTo>
                          <a:pt x="15049" y="49532"/>
                          <a:pt x="0" y="5431"/>
                          <a:pt x="0" y="5431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9" name="Freihandform: Form 78">
                    <a:extLst>
                      <a:ext uri="{FF2B5EF4-FFF2-40B4-BE49-F238E27FC236}">
                        <a16:creationId xmlns:a16="http://schemas.microsoft.com/office/drawing/2014/main" id="{E3648D5E-E69D-0495-1039-D1F0853422F7}"/>
                      </a:ext>
                    </a:extLst>
                  </p:cNvPr>
                  <p:cNvSpPr/>
                  <p:nvPr/>
                </p:nvSpPr>
                <p:spPr>
                  <a:xfrm>
                    <a:off x="8620918" y="1760791"/>
                    <a:ext cx="314705" cy="314706"/>
                  </a:xfrm>
                  <a:custGeom>
                    <a:avLst/>
                    <a:gdLst>
                      <a:gd name="connsiteX0" fmla="*/ 314706 w 314705"/>
                      <a:gd name="connsiteY0" fmla="*/ 157353 h 314706"/>
                      <a:gd name="connsiteX1" fmla="*/ 157353 w 314705"/>
                      <a:gd name="connsiteY1" fmla="*/ 314706 h 314706"/>
                      <a:gd name="connsiteX2" fmla="*/ -1 w 314705"/>
                      <a:gd name="connsiteY2" fmla="*/ 157353 h 314706"/>
                      <a:gd name="connsiteX3" fmla="*/ 157353 w 314705"/>
                      <a:gd name="connsiteY3" fmla="*/ 0 h 314706"/>
                      <a:gd name="connsiteX4" fmla="*/ 314706 w 314705"/>
                      <a:gd name="connsiteY4" fmla="*/ 157353 h 3147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4705" h="314706">
                        <a:moveTo>
                          <a:pt x="314706" y="157353"/>
                        </a:moveTo>
                        <a:cubicBezTo>
                          <a:pt x="314706" y="244257"/>
                          <a:pt x="244257" y="314706"/>
                          <a:pt x="157353" y="314706"/>
                        </a:cubicBezTo>
                        <a:cubicBezTo>
                          <a:pt x="70449" y="314706"/>
                          <a:pt x="-1" y="244257"/>
                          <a:pt x="-1" y="157353"/>
                        </a:cubicBezTo>
                        <a:cubicBezTo>
                          <a:pt x="-1" y="70449"/>
                          <a:pt x="70449" y="0"/>
                          <a:pt x="157353" y="0"/>
                        </a:cubicBezTo>
                        <a:cubicBezTo>
                          <a:pt x="244256" y="0"/>
                          <a:pt x="314706" y="70449"/>
                          <a:pt x="314706" y="15735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0" name="Freihandform: Form 79">
                    <a:extLst>
                      <a:ext uri="{FF2B5EF4-FFF2-40B4-BE49-F238E27FC236}">
                        <a16:creationId xmlns:a16="http://schemas.microsoft.com/office/drawing/2014/main" id="{9521ECC7-1396-14E9-4855-E61AF7BE8E90}"/>
                      </a:ext>
                    </a:extLst>
                  </p:cNvPr>
                  <p:cNvSpPr/>
                  <p:nvPr/>
                </p:nvSpPr>
                <p:spPr>
                  <a:xfrm>
                    <a:off x="8398795" y="1816227"/>
                    <a:ext cx="523018" cy="989647"/>
                  </a:xfrm>
                  <a:custGeom>
                    <a:avLst/>
                    <a:gdLst>
                      <a:gd name="connsiteX0" fmla="*/ 0 w 523018"/>
                      <a:gd name="connsiteY0" fmla="*/ 947261 h 989647"/>
                      <a:gd name="connsiteX1" fmla="*/ 307467 w 523018"/>
                      <a:gd name="connsiteY1" fmla="*/ 989648 h 989647"/>
                      <a:gd name="connsiteX2" fmla="*/ 523018 w 523018"/>
                      <a:gd name="connsiteY2" fmla="*/ 167259 h 989647"/>
                      <a:gd name="connsiteX3" fmla="*/ 259747 w 523018"/>
                      <a:gd name="connsiteY3" fmla="*/ 0 h 989647"/>
                      <a:gd name="connsiteX4" fmla="*/ 0 w 523018"/>
                      <a:gd name="connsiteY4" fmla="*/ 947261 h 9896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23018" h="989647">
                        <a:moveTo>
                          <a:pt x="0" y="947261"/>
                        </a:moveTo>
                        <a:lnTo>
                          <a:pt x="307467" y="989648"/>
                        </a:lnTo>
                        <a:lnTo>
                          <a:pt x="523018" y="167259"/>
                        </a:lnTo>
                        <a:lnTo>
                          <a:pt x="259747" y="0"/>
                        </a:lnTo>
                        <a:cubicBezTo>
                          <a:pt x="171069" y="80486"/>
                          <a:pt x="0" y="947261"/>
                          <a:pt x="0" y="94726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1" name="Freihandform: Form 80">
                    <a:extLst>
                      <a:ext uri="{FF2B5EF4-FFF2-40B4-BE49-F238E27FC236}">
                        <a16:creationId xmlns:a16="http://schemas.microsoft.com/office/drawing/2014/main" id="{E199C73E-E592-AFE2-63C2-30F5BE004913}"/>
                      </a:ext>
                    </a:extLst>
                  </p:cNvPr>
                  <p:cNvSpPr/>
                  <p:nvPr/>
                </p:nvSpPr>
                <p:spPr>
                  <a:xfrm>
                    <a:off x="8398128" y="2625471"/>
                    <a:ext cx="310133" cy="310134"/>
                  </a:xfrm>
                  <a:custGeom>
                    <a:avLst/>
                    <a:gdLst>
                      <a:gd name="connsiteX0" fmla="*/ 310134 w 310133"/>
                      <a:gd name="connsiteY0" fmla="*/ 155067 h 310134"/>
                      <a:gd name="connsiteX1" fmla="*/ 155067 w 310133"/>
                      <a:gd name="connsiteY1" fmla="*/ 310134 h 310134"/>
                      <a:gd name="connsiteX2" fmla="*/ -1 w 310133"/>
                      <a:gd name="connsiteY2" fmla="*/ 155067 h 310134"/>
                      <a:gd name="connsiteX3" fmla="*/ 155067 w 310133"/>
                      <a:gd name="connsiteY3" fmla="*/ 0 h 310134"/>
                      <a:gd name="connsiteX4" fmla="*/ 310134 w 310133"/>
                      <a:gd name="connsiteY4" fmla="*/ 155067 h 3101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0133" h="310134">
                        <a:moveTo>
                          <a:pt x="310134" y="155067"/>
                        </a:moveTo>
                        <a:cubicBezTo>
                          <a:pt x="310134" y="240708"/>
                          <a:pt x="240708" y="310134"/>
                          <a:pt x="155067" y="310134"/>
                        </a:cubicBezTo>
                        <a:cubicBezTo>
                          <a:pt x="69425" y="310134"/>
                          <a:pt x="-1" y="240708"/>
                          <a:pt x="-1" y="155067"/>
                        </a:cubicBezTo>
                        <a:cubicBezTo>
                          <a:pt x="-1" y="69426"/>
                          <a:pt x="69425" y="0"/>
                          <a:pt x="155067" y="0"/>
                        </a:cubicBezTo>
                        <a:cubicBezTo>
                          <a:pt x="240708" y="0"/>
                          <a:pt x="310134" y="69426"/>
                          <a:pt x="310134" y="15506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2" name="Freihandform: Form 81">
                    <a:extLst>
                      <a:ext uri="{FF2B5EF4-FFF2-40B4-BE49-F238E27FC236}">
                        <a16:creationId xmlns:a16="http://schemas.microsoft.com/office/drawing/2014/main" id="{7305E45E-18A7-42C2-7E7B-48326B7D94DE}"/>
                      </a:ext>
                    </a:extLst>
                  </p:cNvPr>
                  <p:cNvSpPr/>
                  <p:nvPr/>
                </p:nvSpPr>
                <p:spPr>
                  <a:xfrm>
                    <a:off x="8616251" y="1610010"/>
                    <a:ext cx="575214" cy="3144202"/>
                  </a:xfrm>
                  <a:custGeom>
                    <a:avLst/>
                    <a:gdLst>
                      <a:gd name="connsiteX0" fmla="*/ 197358 w 575214"/>
                      <a:gd name="connsiteY0" fmla="*/ 1136999 h 3144202"/>
                      <a:gd name="connsiteX1" fmla="*/ 0 w 575214"/>
                      <a:gd name="connsiteY1" fmla="*/ 3144203 h 3144202"/>
                      <a:gd name="connsiteX2" fmla="*/ 527590 w 575214"/>
                      <a:gd name="connsiteY2" fmla="*/ 3144203 h 3144202"/>
                      <a:gd name="connsiteX3" fmla="*/ 575215 w 575214"/>
                      <a:gd name="connsiteY3" fmla="*/ 576167 h 3144202"/>
                      <a:gd name="connsiteX4" fmla="*/ 467868 w 575214"/>
                      <a:gd name="connsiteY4" fmla="*/ 0 h 3144202"/>
                      <a:gd name="connsiteX5" fmla="*/ 28194 w 575214"/>
                      <a:gd name="connsiteY5" fmla="*/ 225647 h 3144202"/>
                      <a:gd name="connsiteX6" fmla="*/ 216312 w 575214"/>
                      <a:gd name="connsiteY6" fmla="*/ 604838 h 3144202"/>
                      <a:gd name="connsiteX7" fmla="*/ 197453 w 575214"/>
                      <a:gd name="connsiteY7" fmla="*/ 1137095 h 31442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75214" h="3144202">
                        <a:moveTo>
                          <a:pt x="197358" y="1136999"/>
                        </a:moveTo>
                        <a:cubicBezTo>
                          <a:pt x="-28861" y="1726597"/>
                          <a:pt x="51340" y="2820543"/>
                          <a:pt x="0" y="3144203"/>
                        </a:cubicBezTo>
                        <a:lnTo>
                          <a:pt x="527590" y="3144203"/>
                        </a:lnTo>
                        <a:lnTo>
                          <a:pt x="575215" y="576167"/>
                        </a:lnTo>
                        <a:lnTo>
                          <a:pt x="467868" y="0"/>
                        </a:lnTo>
                        <a:cubicBezTo>
                          <a:pt x="302037" y="67151"/>
                          <a:pt x="69437" y="144590"/>
                          <a:pt x="28194" y="225647"/>
                        </a:cubicBezTo>
                        <a:cubicBezTo>
                          <a:pt x="120682" y="378047"/>
                          <a:pt x="216312" y="604838"/>
                          <a:pt x="216312" y="604838"/>
                        </a:cubicBezTo>
                        <a:cubicBezTo>
                          <a:pt x="216312" y="604838"/>
                          <a:pt x="200406" y="745903"/>
                          <a:pt x="197453" y="113709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3" name="Freihandform: Form 82">
                    <a:extLst>
                      <a:ext uri="{FF2B5EF4-FFF2-40B4-BE49-F238E27FC236}">
                        <a16:creationId xmlns:a16="http://schemas.microsoft.com/office/drawing/2014/main" id="{FA73E432-3626-EB46-B4C0-3C775ECA0C7D}"/>
                      </a:ext>
                    </a:extLst>
                  </p:cNvPr>
                  <p:cNvSpPr/>
                  <p:nvPr/>
                </p:nvSpPr>
                <p:spPr>
                  <a:xfrm>
                    <a:off x="8923527" y="1659159"/>
                    <a:ext cx="199834" cy="706945"/>
                  </a:xfrm>
                  <a:custGeom>
                    <a:avLst/>
                    <a:gdLst>
                      <a:gd name="connsiteX0" fmla="*/ 35528 w 199834"/>
                      <a:gd name="connsiteY0" fmla="*/ 0 h 706945"/>
                      <a:gd name="connsiteX1" fmla="*/ 0 w 199834"/>
                      <a:gd name="connsiteY1" fmla="*/ 13906 h 706945"/>
                      <a:gd name="connsiteX2" fmla="*/ 88106 w 199834"/>
                      <a:gd name="connsiteY2" fmla="*/ 352234 h 706945"/>
                      <a:gd name="connsiteX3" fmla="*/ 199834 w 199834"/>
                      <a:gd name="connsiteY3" fmla="*/ 706946 h 706945"/>
                      <a:gd name="connsiteX4" fmla="*/ 123539 w 199834"/>
                      <a:gd name="connsiteY4" fmla="*/ 352234 h 706945"/>
                      <a:gd name="connsiteX5" fmla="*/ 35623 w 199834"/>
                      <a:gd name="connsiteY5" fmla="*/ 0 h 7069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99834" h="706945">
                        <a:moveTo>
                          <a:pt x="35528" y="0"/>
                        </a:moveTo>
                        <a:lnTo>
                          <a:pt x="0" y="13906"/>
                        </a:lnTo>
                        <a:cubicBezTo>
                          <a:pt x="0" y="13906"/>
                          <a:pt x="76009" y="206692"/>
                          <a:pt x="88106" y="352234"/>
                        </a:cubicBezTo>
                        <a:cubicBezTo>
                          <a:pt x="100108" y="497776"/>
                          <a:pt x="199834" y="706946"/>
                          <a:pt x="199834" y="706946"/>
                        </a:cubicBezTo>
                        <a:cubicBezTo>
                          <a:pt x="199834" y="706946"/>
                          <a:pt x="128968" y="398050"/>
                          <a:pt x="123539" y="352234"/>
                        </a:cubicBezTo>
                        <a:cubicBezTo>
                          <a:pt x="118110" y="306419"/>
                          <a:pt x="35623" y="0"/>
                          <a:pt x="35623" y="0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4" name="Freihandform: Form 83">
                    <a:extLst>
                      <a:ext uri="{FF2B5EF4-FFF2-40B4-BE49-F238E27FC236}">
                        <a16:creationId xmlns:a16="http://schemas.microsoft.com/office/drawing/2014/main" id="{054EBD5D-1AD6-F502-375E-2BC7F6F1CFFC}"/>
                      </a:ext>
                    </a:extLst>
                  </p:cNvPr>
                  <p:cNvSpPr/>
                  <p:nvPr/>
                </p:nvSpPr>
                <p:spPr>
                  <a:xfrm>
                    <a:off x="8664457" y="2198655"/>
                    <a:ext cx="159748" cy="575881"/>
                  </a:xfrm>
                  <a:custGeom>
                    <a:avLst/>
                    <a:gdLst>
                      <a:gd name="connsiteX0" fmla="*/ 132483 w 159748"/>
                      <a:gd name="connsiteY0" fmla="*/ 0 h 575881"/>
                      <a:gd name="connsiteX1" fmla="*/ 6753 w 159748"/>
                      <a:gd name="connsiteY1" fmla="*/ 303467 h 575881"/>
                      <a:gd name="connsiteX2" fmla="*/ 50568 w 159748"/>
                      <a:gd name="connsiteY2" fmla="*/ 575881 h 575881"/>
                      <a:gd name="connsiteX3" fmla="*/ 50568 w 159748"/>
                      <a:gd name="connsiteY3" fmla="*/ 575881 h 575881"/>
                      <a:gd name="connsiteX4" fmla="*/ 157343 w 159748"/>
                      <a:gd name="connsiteY4" fmla="*/ 197834 h 575881"/>
                      <a:gd name="connsiteX5" fmla="*/ 132387 w 159748"/>
                      <a:gd name="connsiteY5" fmla="*/ 0 h 5758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59748" h="575881">
                        <a:moveTo>
                          <a:pt x="132483" y="0"/>
                        </a:moveTo>
                        <a:cubicBezTo>
                          <a:pt x="80191" y="30004"/>
                          <a:pt x="-28013" y="139351"/>
                          <a:pt x="6753" y="303467"/>
                        </a:cubicBezTo>
                        <a:cubicBezTo>
                          <a:pt x="41614" y="467582"/>
                          <a:pt x="50568" y="575881"/>
                          <a:pt x="50568" y="575881"/>
                        </a:cubicBezTo>
                        <a:lnTo>
                          <a:pt x="50568" y="575881"/>
                        </a:lnTo>
                        <a:lnTo>
                          <a:pt x="157343" y="197834"/>
                        </a:lnTo>
                        <a:cubicBezTo>
                          <a:pt x="160201" y="166592"/>
                          <a:pt x="166582" y="73057"/>
                          <a:pt x="132387" y="0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5" name="Freihandform: Form 84">
                    <a:extLst>
                      <a:ext uri="{FF2B5EF4-FFF2-40B4-BE49-F238E27FC236}">
                        <a16:creationId xmlns:a16="http://schemas.microsoft.com/office/drawing/2014/main" id="{C86B9CA5-5466-6D3D-6253-B42ACB4C338B}"/>
                      </a:ext>
                    </a:extLst>
                  </p:cNvPr>
                  <p:cNvSpPr/>
                  <p:nvPr/>
                </p:nvSpPr>
                <p:spPr>
                  <a:xfrm>
                    <a:off x="8695689" y="3364706"/>
                    <a:ext cx="330837" cy="409959"/>
                  </a:xfrm>
                  <a:custGeom>
                    <a:avLst/>
                    <a:gdLst>
                      <a:gd name="connsiteX0" fmla="*/ 49911 w 330837"/>
                      <a:gd name="connsiteY0" fmla="*/ 0 h 409959"/>
                      <a:gd name="connsiteX1" fmla="*/ 37338 w 330837"/>
                      <a:gd name="connsiteY1" fmla="*/ 351377 h 409959"/>
                      <a:gd name="connsiteX2" fmla="*/ 330804 w 330837"/>
                      <a:gd name="connsiteY2" fmla="*/ 359093 h 409959"/>
                      <a:gd name="connsiteX3" fmla="*/ 0 w 330837"/>
                      <a:gd name="connsiteY3" fmla="*/ 388715 h 409959"/>
                      <a:gd name="connsiteX4" fmla="*/ 25146 w 330837"/>
                      <a:gd name="connsiteY4" fmla="*/ 81724 h 409959"/>
                      <a:gd name="connsiteX5" fmla="*/ 49911 w 330837"/>
                      <a:gd name="connsiteY5" fmla="*/ 0 h 409959"/>
                      <a:gd name="connsiteX6" fmla="*/ 49911 w 330837"/>
                      <a:gd name="connsiteY6" fmla="*/ 0 h 4099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30837" h="409959">
                        <a:moveTo>
                          <a:pt x="49911" y="0"/>
                        </a:moveTo>
                        <a:cubicBezTo>
                          <a:pt x="49911" y="0"/>
                          <a:pt x="33909" y="310229"/>
                          <a:pt x="37338" y="351377"/>
                        </a:cubicBezTo>
                        <a:cubicBezTo>
                          <a:pt x="43149" y="368713"/>
                          <a:pt x="307372" y="358616"/>
                          <a:pt x="330804" y="359093"/>
                        </a:cubicBezTo>
                        <a:cubicBezTo>
                          <a:pt x="334709" y="393859"/>
                          <a:pt x="0" y="436340"/>
                          <a:pt x="0" y="388715"/>
                        </a:cubicBezTo>
                        <a:cubicBezTo>
                          <a:pt x="0" y="341090"/>
                          <a:pt x="20193" y="122015"/>
                          <a:pt x="25146" y="81724"/>
                        </a:cubicBezTo>
                        <a:cubicBezTo>
                          <a:pt x="31909" y="25813"/>
                          <a:pt x="32861" y="8572"/>
                          <a:pt x="49911" y="0"/>
                        </a:cubicBezTo>
                        <a:lnTo>
                          <a:pt x="49911" y="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6" name="Freihandform: Form 85">
                    <a:extLst>
                      <a:ext uri="{FF2B5EF4-FFF2-40B4-BE49-F238E27FC236}">
                        <a16:creationId xmlns:a16="http://schemas.microsoft.com/office/drawing/2014/main" id="{2A09F8D6-B1AA-B232-9375-ADF179D0391C}"/>
                      </a:ext>
                    </a:extLst>
                  </p:cNvPr>
                  <p:cNvSpPr/>
                  <p:nvPr/>
                </p:nvSpPr>
                <p:spPr>
                  <a:xfrm>
                    <a:off x="9393395" y="1633156"/>
                    <a:ext cx="575977" cy="3121056"/>
                  </a:xfrm>
                  <a:custGeom>
                    <a:avLst/>
                    <a:gdLst>
                      <a:gd name="connsiteX0" fmla="*/ 575977 w 575977"/>
                      <a:gd name="connsiteY0" fmla="*/ 3121057 h 3121056"/>
                      <a:gd name="connsiteX1" fmla="*/ 377857 w 575977"/>
                      <a:gd name="connsiteY1" fmla="*/ 1113854 h 3121056"/>
                      <a:gd name="connsiteX2" fmla="*/ 358997 w 575977"/>
                      <a:gd name="connsiteY2" fmla="*/ 581597 h 3121056"/>
                      <a:gd name="connsiteX3" fmla="*/ 540925 w 575977"/>
                      <a:gd name="connsiteY3" fmla="*/ 220123 h 3121056"/>
                      <a:gd name="connsiteX4" fmla="*/ 102680 w 575977"/>
                      <a:gd name="connsiteY4" fmla="*/ 0 h 3121056"/>
                      <a:gd name="connsiteX5" fmla="*/ 0 w 575977"/>
                      <a:gd name="connsiteY5" fmla="*/ 552926 h 3121056"/>
                      <a:gd name="connsiteX6" fmla="*/ 47816 w 575977"/>
                      <a:gd name="connsiteY6" fmla="*/ 3120962 h 3121056"/>
                      <a:gd name="connsiteX7" fmla="*/ 575977 w 575977"/>
                      <a:gd name="connsiteY7" fmla="*/ 3120962 h 31210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75977" h="3121056">
                        <a:moveTo>
                          <a:pt x="575977" y="3121057"/>
                        </a:moveTo>
                        <a:cubicBezTo>
                          <a:pt x="522923" y="2803493"/>
                          <a:pt x="605219" y="1706594"/>
                          <a:pt x="377857" y="1113854"/>
                        </a:cubicBezTo>
                        <a:cubicBezTo>
                          <a:pt x="374904" y="722757"/>
                          <a:pt x="358997" y="581597"/>
                          <a:pt x="358997" y="581597"/>
                        </a:cubicBezTo>
                        <a:cubicBezTo>
                          <a:pt x="358997" y="581597"/>
                          <a:pt x="448437" y="372523"/>
                          <a:pt x="540925" y="220123"/>
                        </a:cubicBezTo>
                        <a:cubicBezTo>
                          <a:pt x="496729" y="112681"/>
                          <a:pt x="254889" y="58102"/>
                          <a:pt x="102680" y="0"/>
                        </a:cubicBezTo>
                        <a:lnTo>
                          <a:pt x="0" y="552926"/>
                        </a:lnTo>
                        <a:lnTo>
                          <a:pt x="47816" y="3120962"/>
                        </a:lnTo>
                        <a:lnTo>
                          <a:pt x="575977" y="312096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7" name="Freihandform: Form 86">
                    <a:extLst>
                      <a:ext uri="{FF2B5EF4-FFF2-40B4-BE49-F238E27FC236}">
                        <a16:creationId xmlns:a16="http://schemas.microsoft.com/office/drawing/2014/main" id="{BB241EC8-1EAE-0D6B-18D4-80EEE59F5CBA}"/>
                      </a:ext>
                    </a:extLst>
                  </p:cNvPr>
                  <p:cNvSpPr/>
                  <p:nvPr/>
                </p:nvSpPr>
                <p:spPr>
                  <a:xfrm>
                    <a:off x="9346962" y="1469469"/>
                    <a:ext cx="321998" cy="541925"/>
                  </a:xfrm>
                  <a:custGeom>
                    <a:avLst/>
                    <a:gdLst>
                      <a:gd name="connsiteX0" fmla="*/ 108251 w 321998"/>
                      <a:gd name="connsiteY0" fmla="*/ 79486 h 541925"/>
                      <a:gd name="connsiteX1" fmla="*/ 300084 w 321998"/>
                      <a:gd name="connsiteY1" fmla="*/ 216265 h 541925"/>
                      <a:gd name="connsiteX2" fmla="*/ 180641 w 321998"/>
                      <a:gd name="connsiteY2" fmla="*/ 354378 h 541925"/>
                      <a:gd name="connsiteX3" fmla="*/ 149113 w 321998"/>
                      <a:gd name="connsiteY3" fmla="*/ 541925 h 541925"/>
                      <a:gd name="connsiteX4" fmla="*/ 35289 w 321998"/>
                      <a:gd name="connsiteY4" fmla="*/ 264176 h 541925"/>
                      <a:gd name="connsiteX5" fmla="*/ 108251 w 321998"/>
                      <a:gd name="connsiteY5" fmla="*/ 79486 h 5419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21998" h="541925">
                        <a:moveTo>
                          <a:pt x="108251" y="79486"/>
                        </a:moveTo>
                        <a:cubicBezTo>
                          <a:pt x="82534" y="-113585"/>
                          <a:pt x="407717" y="89964"/>
                          <a:pt x="300084" y="216265"/>
                        </a:cubicBezTo>
                        <a:cubicBezTo>
                          <a:pt x="300084" y="216265"/>
                          <a:pt x="221217" y="286750"/>
                          <a:pt x="180641" y="354378"/>
                        </a:cubicBezTo>
                        <a:cubicBezTo>
                          <a:pt x="140064" y="422005"/>
                          <a:pt x="146256" y="484870"/>
                          <a:pt x="149113" y="541925"/>
                        </a:cubicBezTo>
                        <a:cubicBezTo>
                          <a:pt x="-20336" y="527161"/>
                          <a:pt x="-25194" y="321612"/>
                          <a:pt x="35289" y="264176"/>
                        </a:cubicBezTo>
                        <a:cubicBezTo>
                          <a:pt x="133968" y="170450"/>
                          <a:pt x="123015" y="126635"/>
                          <a:pt x="108251" y="7948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8" name="Freihandform: Form 87">
                    <a:extLst>
                      <a:ext uri="{FF2B5EF4-FFF2-40B4-BE49-F238E27FC236}">
                        <a16:creationId xmlns:a16="http://schemas.microsoft.com/office/drawing/2014/main" id="{D66003DA-622D-D4B3-8D25-E87873BDCD46}"/>
                      </a:ext>
                    </a:extLst>
                  </p:cNvPr>
                  <p:cNvSpPr/>
                  <p:nvPr/>
                </p:nvSpPr>
                <p:spPr>
                  <a:xfrm>
                    <a:off x="8386350" y="2763488"/>
                    <a:ext cx="319816" cy="722471"/>
                  </a:xfrm>
                  <a:custGeom>
                    <a:avLst/>
                    <a:gdLst>
                      <a:gd name="connsiteX0" fmla="*/ 11778 w 319816"/>
                      <a:gd name="connsiteY0" fmla="*/ 722471 h 722471"/>
                      <a:gd name="connsiteX1" fmla="*/ 243998 w 319816"/>
                      <a:gd name="connsiteY1" fmla="*/ 722471 h 722471"/>
                      <a:gd name="connsiteX2" fmla="*/ 319817 w 319816"/>
                      <a:gd name="connsiteY2" fmla="*/ 42386 h 722471"/>
                      <a:gd name="connsiteX3" fmla="*/ 12350 w 319816"/>
                      <a:gd name="connsiteY3" fmla="*/ 0 h 722471"/>
                      <a:gd name="connsiteX4" fmla="*/ 11683 w 319816"/>
                      <a:gd name="connsiteY4" fmla="*/ 722471 h 7224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9816" h="722471">
                        <a:moveTo>
                          <a:pt x="11778" y="722471"/>
                        </a:moveTo>
                        <a:lnTo>
                          <a:pt x="243998" y="722471"/>
                        </a:lnTo>
                        <a:cubicBezTo>
                          <a:pt x="243998" y="722471"/>
                          <a:pt x="304100" y="215360"/>
                          <a:pt x="319817" y="42386"/>
                        </a:cubicBezTo>
                        <a:lnTo>
                          <a:pt x="12350" y="0"/>
                        </a:lnTo>
                        <a:cubicBezTo>
                          <a:pt x="12350" y="339566"/>
                          <a:pt x="-14987" y="531781"/>
                          <a:pt x="11683" y="72247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89" name="Grafik 23">
                  <a:extLst>
                    <a:ext uri="{FF2B5EF4-FFF2-40B4-BE49-F238E27FC236}">
                      <a16:creationId xmlns:a16="http://schemas.microsoft.com/office/drawing/2014/main" id="{539E2105-853C-28FA-6B78-C40458F2FB7D}"/>
                    </a:ext>
                  </a:extLst>
                </p:cNvPr>
                <p:cNvGrpSpPr/>
                <p:nvPr/>
              </p:nvGrpSpPr>
              <p:grpSpPr>
                <a:xfrm>
                  <a:off x="9633235" y="8339391"/>
                  <a:ext cx="650747" cy="968216"/>
                  <a:chOff x="9633235" y="1760791"/>
                  <a:chExt cx="650747" cy="968216"/>
                </a:xfrm>
                <a:solidFill>
                  <a:srgbClr val="FFFFFF"/>
                </a:solidFill>
              </p:grpSpPr>
              <p:sp>
                <p:nvSpPr>
                  <p:cNvPr id="90" name="Freihandform: Form 89">
                    <a:extLst>
                      <a:ext uri="{FF2B5EF4-FFF2-40B4-BE49-F238E27FC236}">
                        <a16:creationId xmlns:a16="http://schemas.microsoft.com/office/drawing/2014/main" id="{1576543B-8C5E-87BE-1843-E27A2DD868F9}"/>
                      </a:ext>
                    </a:extLst>
                  </p:cNvPr>
                  <p:cNvSpPr/>
                  <p:nvPr/>
                </p:nvSpPr>
                <p:spPr>
                  <a:xfrm>
                    <a:off x="9633235" y="1760791"/>
                    <a:ext cx="314705" cy="314706"/>
                  </a:xfrm>
                  <a:custGeom>
                    <a:avLst/>
                    <a:gdLst>
                      <a:gd name="connsiteX0" fmla="*/ 314706 w 314705"/>
                      <a:gd name="connsiteY0" fmla="*/ 157353 h 314706"/>
                      <a:gd name="connsiteX1" fmla="*/ 157353 w 314705"/>
                      <a:gd name="connsiteY1" fmla="*/ 314706 h 314706"/>
                      <a:gd name="connsiteX2" fmla="*/ 0 w 314705"/>
                      <a:gd name="connsiteY2" fmla="*/ 157353 h 314706"/>
                      <a:gd name="connsiteX3" fmla="*/ 157353 w 314705"/>
                      <a:gd name="connsiteY3" fmla="*/ 0 h 314706"/>
                      <a:gd name="connsiteX4" fmla="*/ 314706 w 314705"/>
                      <a:gd name="connsiteY4" fmla="*/ 157353 h 3147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4705" h="314706">
                        <a:moveTo>
                          <a:pt x="314706" y="157353"/>
                        </a:moveTo>
                        <a:cubicBezTo>
                          <a:pt x="314706" y="244257"/>
                          <a:pt x="244257" y="314706"/>
                          <a:pt x="157353" y="314706"/>
                        </a:cubicBezTo>
                        <a:cubicBezTo>
                          <a:pt x="70449" y="314706"/>
                          <a:pt x="0" y="244257"/>
                          <a:pt x="0" y="157353"/>
                        </a:cubicBezTo>
                        <a:cubicBezTo>
                          <a:pt x="0" y="70449"/>
                          <a:pt x="70449" y="0"/>
                          <a:pt x="157353" y="0"/>
                        </a:cubicBezTo>
                        <a:cubicBezTo>
                          <a:pt x="244256" y="0"/>
                          <a:pt x="314706" y="70449"/>
                          <a:pt x="314706" y="15735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1" name="Freihandform: Form 90">
                    <a:extLst>
                      <a:ext uri="{FF2B5EF4-FFF2-40B4-BE49-F238E27FC236}">
                        <a16:creationId xmlns:a16="http://schemas.microsoft.com/office/drawing/2014/main" id="{E60EE7DD-B747-2127-D9AE-2E1B10E85BB2}"/>
                      </a:ext>
                    </a:extLst>
                  </p:cNvPr>
                  <p:cNvSpPr/>
                  <p:nvPr/>
                </p:nvSpPr>
                <p:spPr>
                  <a:xfrm>
                    <a:off x="9658000" y="1838991"/>
                    <a:ext cx="625982" cy="890015"/>
                  </a:xfrm>
                  <a:custGeom>
                    <a:avLst/>
                    <a:gdLst>
                      <a:gd name="connsiteX0" fmla="*/ 625888 w 625982"/>
                      <a:gd name="connsiteY0" fmla="*/ 774287 h 890015"/>
                      <a:gd name="connsiteX1" fmla="*/ 334518 w 625982"/>
                      <a:gd name="connsiteY1" fmla="*/ 890016 h 890015"/>
                      <a:gd name="connsiteX2" fmla="*/ 135064 w 625982"/>
                      <a:gd name="connsiteY2" fmla="*/ 426720 h 890015"/>
                      <a:gd name="connsiteX3" fmla="*/ 0 w 625982"/>
                      <a:gd name="connsiteY3" fmla="*/ 163163 h 890015"/>
                      <a:gd name="connsiteX4" fmla="*/ 268986 w 625982"/>
                      <a:gd name="connsiteY4" fmla="*/ 0 h 890015"/>
                      <a:gd name="connsiteX5" fmla="*/ 430339 w 625982"/>
                      <a:gd name="connsiteY5" fmla="*/ 315373 h 890015"/>
                      <a:gd name="connsiteX6" fmla="*/ 625983 w 625982"/>
                      <a:gd name="connsiteY6" fmla="*/ 774287 h 8900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25982" h="890015">
                        <a:moveTo>
                          <a:pt x="625888" y="774287"/>
                        </a:moveTo>
                        <a:lnTo>
                          <a:pt x="334518" y="890016"/>
                        </a:lnTo>
                        <a:lnTo>
                          <a:pt x="135064" y="426720"/>
                        </a:lnTo>
                        <a:lnTo>
                          <a:pt x="0" y="163163"/>
                        </a:lnTo>
                        <a:lnTo>
                          <a:pt x="268986" y="0"/>
                        </a:lnTo>
                        <a:cubicBezTo>
                          <a:pt x="311182" y="74009"/>
                          <a:pt x="367665" y="187928"/>
                          <a:pt x="430339" y="315373"/>
                        </a:cubicBezTo>
                        <a:cubicBezTo>
                          <a:pt x="529780" y="517589"/>
                          <a:pt x="625983" y="774287"/>
                          <a:pt x="625983" y="77428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2" name="Grafik 23">
                  <a:extLst>
                    <a:ext uri="{FF2B5EF4-FFF2-40B4-BE49-F238E27FC236}">
                      <a16:creationId xmlns:a16="http://schemas.microsoft.com/office/drawing/2014/main" id="{F4BA013B-E70D-FCA3-0C6F-E2645DF78B75}"/>
                    </a:ext>
                  </a:extLst>
                </p:cNvPr>
                <p:cNvGrpSpPr/>
                <p:nvPr/>
              </p:nvGrpSpPr>
              <p:grpSpPr>
                <a:xfrm>
                  <a:off x="9348914" y="8729059"/>
                  <a:ext cx="629316" cy="785241"/>
                  <a:chOff x="9348914" y="2150459"/>
                  <a:chExt cx="629316" cy="785241"/>
                </a:xfrm>
              </p:grpSpPr>
              <p:sp>
                <p:nvSpPr>
                  <p:cNvPr id="93" name="Freihandform: Form 92">
                    <a:extLst>
                      <a:ext uri="{FF2B5EF4-FFF2-40B4-BE49-F238E27FC236}">
                        <a16:creationId xmlns:a16="http://schemas.microsoft.com/office/drawing/2014/main" id="{3F42AF5B-560A-850A-4EFD-9046F48B79D6}"/>
                      </a:ext>
                    </a:extLst>
                  </p:cNvPr>
                  <p:cNvSpPr/>
                  <p:nvPr/>
                </p:nvSpPr>
                <p:spPr>
                  <a:xfrm>
                    <a:off x="9381870" y="2150459"/>
                    <a:ext cx="596360" cy="785241"/>
                  </a:xfrm>
                  <a:custGeom>
                    <a:avLst/>
                    <a:gdLst>
                      <a:gd name="connsiteX0" fmla="*/ 572548 w 596360"/>
                      <a:gd name="connsiteY0" fmla="*/ 0 h 785241"/>
                      <a:gd name="connsiteX1" fmla="*/ 596360 w 596360"/>
                      <a:gd name="connsiteY1" fmla="*/ 23813 h 785241"/>
                      <a:gd name="connsiteX2" fmla="*/ 596360 w 596360"/>
                      <a:gd name="connsiteY2" fmla="*/ 761429 h 785241"/>
                      <a:gd name="connsiteX3" fmla="*/ 572548 w 596360"/>
                      <a:gd name="connsiteY3" fmla="*/ 785241 h 785241"/>
                      <a:gd name="connsiteX4" fmla="*/ 23813 w 596360"/>
                      <a:gd name="connsiteY4" fmla="*/ 785241 h 785241"/>
                      <a:gd name="connsiteX5" fmla="*/ 0 w 596360"/>
                      <a:gd name="connsiteY5" fmla="*/ 761429 h 785241"/>
                      <a:gd name="connsiteX6" fmla="*/ 0 w 596360"/>
                      <a:gd name="connsiteY6" fmla="*/ 23813 h 785241"/>
                      <a:gd name="connsiteX7" fmla="*/ 23813 w 596360"/>
                      <a:gd name="connsiteY7" fmla="*/ 0 h 785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96360" h="785241">
                        <a:moveTo>
                          <a:pt x="572548" y="0"/>
                        </a:moveTo>
                        <a:cubicBezTo>
                          <a:pt x="585699" y="0"/>
                          <a:pt x="596360" y="10661"/>
                          <a:pt x="596360" y="23813"/>
                        </a:cubicBezTo>
                        <a:lnTo>
                          <a:pt x="596360" y="761429"/>
                        </a:lnTo>
                        <a:cubicBezTo>
                          <a:pt x="596360" y="774580"/>
                          <a:pt x="585699" y="785241"/>
                          <a:pt x="572548" y="785241"/>
                        </a:cubicBezTo>
                        <a:lnTo>
                          <a:pt x="23813" y="785241"/>
                        </a:lnTo>
                        <a:cubicBezTo>
                          <a:pt x="10661" y="785241"/>
                          <a:pt x="0" y="774580"/>
                          <a:pt x="0" y="761429"/>
                        </a:cubicBezTo>
                        <a:lnTo>
                          <a:pt x="0" y="23813"/>
                        </a:lnTo>
                        <a:cubicBezTo>
                          <a:pt x="0" y="10661"/>
                          <a:pt x="10661" y="0"/>
                          <a:pt x="23813" y="0"/>
                        </a:cubicBezTo>
                        <a:close/>
                      </a:path>
                    </a:pathLst>
                  </a:custGeom>
                  <a:solidFill>
                    <a:srgbClr val="EDEDE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4" name="Freihandform: Form 93">
                    <a:extLst>
                      <a:ext uri="{FF2B5EF4-FFF2-40B4-BE49-F238E27FC236}">
                        <a16:creationId xmlns:a16="http://schemas.microsoft.com/office/drawing/2014/main" id="{9105707A-EF1A-7890-78FA-997AFF493DEC}"/>
                      </a:ext>
                    </a:extLst>
                  </p:cNvPr>
                  <p:cNvSpPr/>
                  <p:nvPr/>
                </p:nvSpPr>
                <p:spPr>
                  <a:xfrm>
                    <a:off x="9348914" y="2150459"/>
                    <a:ext cx="596360" cy="785241"/>
                  </a:xfrm>
                  <a:custGeom>
                    <a:avLst/>
                    <a:gdLst>
                      <a:gd name="connsiteX0" fmla="*/ 0 w 596360"/>
                      <a:gd name="connsiteY0" fmla="*/ 0 h 785241"/>
                      <a:gd name="connsiteX1" fmla="*/ 596360 w 596360"/>
                      <a:gd name="connsiteY1" fmla="*/ 0 h 785241"/>
                      <a:gd name="connsiteX2" fmla="*/ 596360 w 596360"/>
                      <a:gd name="connsiteY2" fmla="*/ 785241 h 785241"/>
                      <a:gd name="connsiteX3" fmla="*/ 0 w 596360"/>
                      <a:gd name="connsiteY3" fmla="*/ 785241 h 785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96360" h="785241">
                        <a:moveTo>
                          <a:pt x="0" y="0"/>
                        </a:moveTo>
                        <a:lnTo>
                          <a:pt x="596360" y="0"/>
                        </a:lnTo>
                        <a:lnTo>
                          <a:pt x="596360" y="785241"/>
                        </a:lnTo>
                        <a:lnTo>
                          <a:pt x="0" y="785241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5" name="Freihandform: Form 94">
                    <a:extLst>
                      <a:ext uri="{FF2B5EF4-FFF2-40B4-BE49-F238E27FC236}">
                        <a16:creationId xmlns:a16="http://schemas.microsoft.com/office/drawing/2014/main" id="{BD6D2B86-E5B5-E31A-360E-423CDAE0740B}"/>
                      </a:ext>
                    </a:extLst>
                  </p:cNvPr>
                  <p:cNvSpPr/>
                  <p:nvPr/>
                </p:nvSpPr>
                <p:spPr>
                  <a:xfrm>
                    <a:off x="9578942" y="2272093"/>
                    <a:ext cx="123253" cy="123253"/>
                  </a:xfrm>
                  <a:custGeom>
                    <a:avLst/>
                    <a:gdLst>
                      <a:gd name="connsiteX0" fmla="*/ 123254 w 123253"/>
                      <a:gd name="connsiteY0" fmla="*/ 61627 h 123253"/>
                      <a:gd name="connsiteX1" fmla="*/ 61627 w 123253"/>
                      <a:gd name="connsiteY1" fmla="*/ 123253 h 123253"/>
                      <a:gd name="connsiteX2" fmla="*/ 1 w 123253"/>
                      <a:gd name="connsiteY2" fmla="*/ 61627 h 123253"/>
                      <a:gd name="connsiteX3" fmla="*/ 61627 w 123253"/>
                      <a:gd name="connsiteY3" fmla="*/ 0 h 123253"/>
                      <a:gd name="connsiteX4" fmla="*/ 123254 w 123253"/>
                      <a:gd name="connsiteY4" fmla="*/ 61627 h 1232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3253" h="123253">
                        <a:moveTo>
                          <a:pt x="123254" y="61627"/>
                        </a:moveTo>
                        <a:cubicBezTo>
                          <a:pt x="123254" y="95662"/>
                          <a:pt x="95662" y="123253"/>
                          <a:pt x="61627" y="123253"/>
                        </a:cubicBezTo>
                        <a:cubicBezTo>
                          <a:pt x="27592" y="123253"/>
                          <a:pt x="1" y="95662"/>
                          <a:pt x="1" y="61627"/>
                        </a:cubicBezTo>
                        <a:cubicBezTo>
                          <a:pt x="1" y="27591"/>
                          <a:pt x="27592" y="0"/>
                          <a:pt x="61627" y="0"/>
                        </a:cubicBezTo>
                        <a:cubicBezTo>
                          <a:pt x="95663" y="0"/>
                          <a:pt x="123254" y="27591"/>
                          <a:pt x="123254" y="61627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6" name="Freihandform: Form 95">
                    <a:extLst>
                      <a:ext uri="{FF2B5EF4-FFF2-40B4-BE49-F238E27FC236}">
                        <a16:creationId xmlns:a16="http://schemas.microsoft.com/office/drawing/2014/main" id="{F55B17AE-DC0D-9649-062E-B56D16FFEB45}"/>
                      </a:ext>
                    </a:extLst>
                  </p:cNvPr>
                  <p:cNvSpPr/>
                  <p:nvPr/>
                </p:nvSpPr>
                <p:spPr>
                  <a:xfrm>
                    <a:off x="9852024" y="2186178"/>
                    <a:ext cx="24955" cy="24955"/>
                  </a:xfrm>
                  <a:custGeom>
                    <a:avLst/>
                    <a:gdLst>
                      <a:gd name="connsiteX0" fmla="*/ 24955 w 24955"/>
                      <a:gd name="connsiteY0" fmla="*/ 12478 h 24955"/>
                      <a:gd name="connsiteX1" fmla="*/ 12478 w 24955"/>
                      <a:gd name="connsiteY1" fmla="*/ 24955 h 24955"/>
                      <a:gd name="connsiteX2" fmla="*/ 0 w 24955"/>
                      <a:gd name="connsiteY2" fmla="*/ 12478 h 24955"/>
                      <a:gd name="connsiteX3" fmla="*/ 12478 w 24955"/>
                      <a:gd name="connsiteY3" fmla="*/ 0 h 24955"/>
                      <a:gd name="connsiteX4" fmla="*/ 24955 w 24955"/>
                      <a:gd name="connsiteY4" fmla="*/ 12478 h 249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955" h="24955">
                        <a:moveTo>
                          <a:pt x="24955" y="12478"/>
                        </a:moveTo>
                        <a:cubicBezTo>
                          <a:pt x="24955" y="19369"/>
                          <a:pt x="19369" y="24955"/>
                          <a:pt x="12478" y="24955"/>
                        </a:cubicBezTo>
                        <a:cubicBezTo>
                          <a:pt x="5586" y="24955"/>
                          <a:pt x="0" y="19369"/>
                          <a:pt x="0" y="12478"/>
                        </a:cubicBezTo>
                        <a:cubicBezTo>
                          <a:pt x="0" y="5586"/>
                          <a:pt x="5586" y="0"/>
                          <a:pt x="12478" y="0"/>
                        </a:cubicBezTo>
                        <a:cubicBezTo>
                          <a:pt x="19369" y="0"/>
                          <a:pt x="24955" y="5586"/>
                          <a:pt x="24955" y="12478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7" name="Grafik 23">
                  <a:extLst>
                    <a:ext uri="{FF2B5EF4-FFF2-40B4-BE49-F238E27FC236}">
                      <a16:creationId xmlns:a16="http://schemas.microsoft.com/office/drawing/2014/main" id="{7CDB460A-7057-9236-3590-98675600B16B}"/>
                    </a:ext>
                  </a:extLst>
                </p:cNvPr>
                <p:cNvGrpSpPr/>
                <p:nvPr/>
              </p:nvGrpSpPr>
              <p:grpSpPr>
                <a:xfrm>
                  <a:off x="9261970" y="8864885"/>
                  <a:ext cx="346213" cy="324535"/>
                  <a:chOff x="9261970" y="2286285"/>
                  <a:chExt cx="346213" cy="324535"/>
                </a:xfrm>
                <a:solidFill>
                  <a:srgbClr val="8A5942"/>
                </a:solidFill>
              </p:grpSpPr>
              <p:sp>
                <p:nvSpPr>
                  <p:cNvPr id="98" name="Freihandform: Form 97">
                    <a:extLst>
                      <a:ext uri="{FF2B5EF4-FFF2-40B4-BE49-F238E27FC236}">
                        <a16:creationId xmlns:a16="http://schemas.microsoft.com/office/drawing/2014/main" id="{6D34E14A-D7E3-69D5-62C2-0FBB34FD55CB}"/>
                      </a:ext>
                    </a:extLst>
                  </p:cNvPr>
                  <p:cNvSpPr/>
                  <p:nvPr/>
                </p:nvSpPr>
                <p:spPr>
                  <a:xfrm>
                    <a:off x="9472929" y="2452497"/>
                    <a:ext cx="135255" cy="135254"/>
                  </a:xfrm>
                  <a:custGeom>
                    <a:avLst/>
                    <a:gdLst>
                      <a:gd name="connsiteX0" fmla="*/ 135255 w 135255"/>
                      <a:gd name="connsiteY0" fmla="*/ 67628 h 135254"/>
                      <a:gd name="connsiteX1" fmla="*/ 67628 w 135255"/>
                      <a:gd name="connsiteY1" fmla="*/ 135255 h 135254"/>
                      <a:gd name="connsiteX2" fmla="*/ 1 w 135255"/>
                      <a:gd name="connsiteY2" fmla="*/ 67628 h 135254"/>
                      <a:gd name="connsiteX3" fmla="*/ 67628 w 135255"/>
                      <a:gd name="connsiteY3" fmla="*/ 0 h 135254"/>
                      <a:gd name="connsiteX4" fmla="*/ 135255 w 135255"/>
                      <a:gd name="connsiteY4" fmla="*/ 67628 h 1352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5255" h="135254">
                        <a:moveTo>
                          <a:pt x="135255" y="67628"/>
                        </a:moveTo>
                        <a:cubicBezTo>
                          <a:pt x="135255" y="104977"/>
                          <a:pt x="104977" y="135255"/>
                          <a:pt x="67628" y="135255"/>
                        </a:cubicBezTo>
                        <a:cubicBezTo>
                          <a:pt x="30279" y="135255"/>
                          <a:pt x="1" y="104977"/>
                          <a:pt x="1" y="67628"/>
                        </a:cubicBezTo>
                        <a:cubicBezTo>
                          <a:pt x="1" y="30278"/>
                          <a:pt x="30279" y="0"/>
                          <a:pt x="67628" y="0"/>
                        </a:cubicBezTo>
                        <a:cubicBezTo>
                          <a:pt x="104977" y="0"/>
                          <a:pt x="135255" y="30278"/>
                          <a:pt x="135255" y="67628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9" name="Freihandform: Form 98">
                    <a:extLst>
                      <a:ext uri="{FF2B5EF4-FFF2-40B4-BE49-F238E27FC236}">
                        <a16:creationId xmlns:a16="http://schemas.microsoft.com/office/drawing/2014/main" id="{8E4C1F49-2DA0-1997-4518-4DA19B924C75}"/>
                      </a:ext>
                    </a:extLst>
                  </p:cNvPr>
                  <p:cNvSpPr/>
                  <p:nvPr/>
                </p:nvSpPr>
                <p:spPr>
                  <a:xfrm>
                    <a:off x="9261970" y="2286285"/>
                    <a:ext cx="308150" cy="265148"/>
                  </a:xfrm>
                  <a:custGeom>
                    <a:avLst/>
                    <a:gdLst>
                      <a:gd name="connsiteX0" fmla="*/ 167049 w 308150"/>
                      <a:gd name="connsiteY0" fmla="*/ 59246 h 265148"/>
                      <a:gd name="connsiteX1" fmla="*/ 245725 w 308150"/>
                      <a:gd name="connsiteY1" fmla="*/ 106299 h 265148"/>
                      <a:gd name="connsiteX2" fmla="*/ 306685 w 308150"/>
                      <a:gd name="connsiteY2" fmla="*/ 206788 h 265148"/>
                      <a:gd name="connsiteX3" fmla="*/ 197338 w 308150"/>
                      <a:gd name="connsiteY3" fmla="*/ 239173 h 265148"/>
                      <a:gd name="connsiteX4" fmla="*/ 131520 w 308150"/>
                      <a:gd name="connsiteY4" fmla="*/ 136588 h 265148"/>
                      <a:gd name="connsiteX5" fmla="*/ 67322 w 308150"/>
                      <a:gd name="connsiteY5" fmla="*/ 96012 h 265148"/>
                      <a:gd name="connsiteX6" fmla="*/ 67322 w 308150"/>
                      <a:gd name="connsiteY6" fmla="*/ 96012 h 265148"/>
                      <a:gd name="connsiteX7" fmla="*/ 22269 w 308150"/>
                      <a:gd name="connsiteY7" fmla="*/ 64579 h 265148"/>
                      <a:gd name="connsiteX8" fmla="*/ 5790 w 308150"/>
                      <a:gd name="connsiteY8" fmla="*/ 0 h 265148"/>
                      <a:gd name="connsiteX9" fmla="*/ 71036 w 308150"/>
                      <a:gd name="connsiteY9" fmla="*/ 37147 h 265148"/>
                      <a:gd name="connsiteX10" fmla="*/ 166000 w 308150"/>
                      <a:gd name="connsiteY10" fmla="*/ 58674 h 265148"/>
                      <a:gd name="connsiteX11" fmla="*/ 166572 w 308150"/>
                      <a:gd name="connsiteY11" fmla="*/ 59912 h 265148"/>
                      <a:gd name="connsiteX12" fmla="*/ 167049 w 308150"/>
                      <a:gd name="connsiteY12" fmla="*/ 59150 h 2651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308150" h="265148">
                        <a:moveTo>
                          <a:pt x="167049" y="59246"/>
                        </a:moveTo>
                        <a:cubicBezTo>
                          <a:pt x="167049" y="59246"/>
                          <a:pt x="224770" y="90297"/>
                          <a:pt x="245725" y="106299"/>
                        </a:cubicBezTo>
                        <a:cubicBezTo>
                          <a:pt x="245725" y="106299"/>
                          <a:pt x="319353" y="177927"/>
                          <a:pt x="306685" y="206788"/>
                        </a:cubicBezTo>
                        <a:cubicBezTo>
                          <a:pt x="283920" y="258699"/>
                          <a:pt x="207244" y="290322"/>
                          <a:pt x="197338" y="239173"/>
                        </a:cubicBezTo>
                        <a:cubicBezTo>
                          <a:pt x="186765" y="184975"/>
                          <a:pt x="139331" y="143256"/>
                          <a:pt x="131520" y="136588"/>
                        </a:cubicBezTo>
                        <a:lnTo>
                          <a:pt x="67322" y="96012"/>
                        </a:lnTo>
                        <a:cubicBezTo>
                          <a:pt x="67322" y="96012"/>
                          <a:pt x="67322" y="96012"/>
                          <a:pt x="67322" y="96012"/>
                        </a:cubicBezTo>
                        <a:cubicBezTo>
                          <a:pt x="53606" y="87154"/>
                          <a:pt x="37508" y="76009"/>
                          <a:pt x="22269" y="64579"/>
                        </a:cubicBezTo>
                        <a:cubicBezTo>
                          <a:pt x="1599" y="48958"/>
                          <a:pt x="-6497" y="32957"/>
                          <a:pt x="5790" y="0"/>
                        </a:cubicBezTo>
                        <a:lnTo>
                          <a:pt x="71036" y="37147"/>
                        </a:lnTo>
                        <a:cubicBezTo>
                          <a:pt x="71036" y="37147"/>
                          <a:pt x="167049" y="59150"/>
                          <a:pt x="166000" y="58674"/>
                        </a:cubicBezTo>
                        <a:cubicBezTo>
                          <a:pt x="166286" y="59055"/>
                          <a:pt x="166382" y="59531"/>
                          <a:pt x="166572" y="59912"/>
                        </a:cubicBezTo>
                        <a:cubicBezTo>
                          <a:pt x="166763" y="59626"/>
                          <a:pt x="166858" y="59436"/>
                          <a:pt x="167049" y="59150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0" name="Freihandform: Form 99">
                    <a:extLst>
                      <a:ext uri="{FF2B5EF4-FFF2-40B4-BE49-F238E27FC236}">
                        <a16:creationId xmlns:a16="http://schemas.microsoft.com/office/drawing/2014/main" id="{734E7DAD-2CB1-AB55-9F42-70E24B1557E1}"/>
                      </a:ext>
                    </a:extLst>
                  </p:cNvPr>
                  <p:cNvSpPr/>
                  <p:nvPr/>
                </p:nvSpPr>
                <p:spPr>
                  <a:xfrm>
                    <a:off x="9265221" y="2389083"/>
                    <a:ext cx="295814" cy="221737"/>
                  </a:xfrm>
                  <a:custGeom>
                    <a:avLst/>
                    <a:gdLst>
                      <a:gd name="connsiteX0" fmla="*/ 209422 w 295814"/>
                      <a:gd name="connsiteY0" fmla="*/ 11026 h 221737"/>
                      <a:gd name="connsiteX1" fmla="*/ 68357 w 295814"/>
                      <a:gd name="connsiteY1" fmla="*/ 15598 h 221737"/>
                      <a:gd name="connsiteX2" fmla="*/ 6158 w 295814"/>
                      <a:gd name="connsiteY2" fmla="*/ 29790 h 221737"/>
                      <a:gd name="connsiteX3" fmla="*/ 63785 w 295814"/>
                      <a:gd name="connsiteY3" fmla="*/ 220290 h 221737"/>
                      <a:gd name="connsiteX4" fmla="*/ 268382 w 295814"/>
                      <a:gd name="connsiteY4" fmla="*/ 198573 h 221737"/>
                      <a:gd name="connsiteX5" fmla="*/ 295814 w 295814"/>
                      <a:gd name="connsiteY5" fmla="*/ 73034 h 221737"/>
                      <a:gd name="connsiteX6" fmla="*/ 209422 w 295814"/>
                      <a:gd name="connsiteY6" fmla="*/ 11026 h 2217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95814" h="221737">
                        <a:moveTo>
                          <a:pt x="209422" y="11026"/>
                        </a:moveTo>
                        <a:cubicBezTo>
                          <a:pt x="153224" y="-16216"/>
                          <a:pt x="68357" y="15598"/>
                          <a:pt x="68357" y="15598"/>
                        </a:cubicBezTo>
                        <a:lnTo>
                          <a:pt x="6158" y="29790"/>
                        </a:lnTo>
                        <a:cubicBezTo>
                          <a:pt x="-10986" y="83416"/>
                          <a:pt x="7492" y="164188"/>
                          <a:pt x="63785" y="220290"/>
                        </a:cubicBezTo>
                        <a:cubicBezTo>
                          <a:pt x="156559" y="228577"/>
                          <a:pt x="268382" y="198573"/>
                          <a:pt x="268382" y="198573"/>
                        </a:cubicBezTo>
                        <a:lnTo>
                          <a:pt x="295814" y="73034"/>
                        </a:lnTo>
                        <a:cubicBezTo>
                          <a:pt x="295814" y="73034"/>
                          <a:pt x="265620" y="38172"/>
                          <a:pt x="209422" y="1102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101" name="Freihandform: Form 100">
                  <a:extLst>
                    <a:ext uri="{FF2B5EF4-FFF2-40B4-BE49-F238E27FC236}">
                      <a16:creationId xmlns:a16="http://schemas.microsoft.com/office/drawing/2014/main" id="{57AC9EB3-1156-FFB5-E043-9B6B024936DE}"/>
                    </a:ext>
                  </a:extLst>
                </p:cNvPr>
                <p:cNvSpPr/>
                <p:nvPr/>
              </p:nvSpPr>
              <p:spPr>
                <a:xfrm>
                  <a:off x="9182798" y="12384659"/>
                  <a:ext cx="145732" cy="145732"/>
                </a:xfrm>
                <a:custGeom>
                  <a:avLst/>
                  <a:gdLst>
                    <a:gd name="connsiteX0" fmla="*/ 145732 w 145732"/>
                    <a:gd name="connsiteY0" fmla="*/ 72866 h 145732"/>
                    <a:gd name="connsiteX1" fmla="*/ 72866 w 145732"/>
                    <a:gd name="connsiteY1" fmla="*/ 145733 h 145732"/>
                    <a:gd name="connsiteX2" fmla="*/ -1 w 145732"/>
                    <a:gd name="connsiteY2" fmla="*/ 72866 h 145732"/>
                    <a:gd name="connsiteX3" fmla="*/ 72866 w 145732"/>
                    <a:gd name="connsiteY3" fmla="*/ 0 h 145732"/>
                    <a:gd name="connsiteX4" fmla="*/ 145732 w 145732"/>
                    <a:gd name="connsiteY4" fmla="*/ 72866 h 145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5732" h="145732">
                      <a:moveTo>
                        <a:pt x="145732" y="72866"/>
                      </a:moveTo>
                      <a:cubicBezTo>
                        <a:pt x="145732" y="113109"/>
                        <a:pt x="113109" y="145733"/>
                        <a:pt x="72866" y="145733"/>
                      </a:cubicBezTo>
                      <a:cubicBezTo>
                        <a:pt x="32623" y="145733"/>
                        <a:pt x="-1" y="113109"/>
                        <a:pt x="-1" y="72866"/>
                      </a:cubicBezTo>
                      <a:cubicBezTo>
                        <a:pt x="-1" y="32624"/>
                        <a:pt x="32623" y="0"/>
                        <a:pt x="72866" y="0"/>
                      </a:cubicBezTo>
                      <a:cubicBezTo>
                        <a:pt x="113109" y="0"/>
                        <a:pt x="145732" y="32624"/>
                        <a:pt x="145732" y="7286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2" name="Freihandform: Form 101">
                  <a:extLst>
                    <a:ext uri="{FF2B5EF4-FFF2-40B4-BE49-F238E27FC236}">
                      <a16:creationId xmlns:a16="http://schemas.microsoft.com/office/drawing/2014/main" id="{3AD9C50D-316B-F8FA-56C1-7311B1A68D9A}"/>
                    </a:ext>
                  </a:extLst>
                </p:cNvPr>
                <p:cNvSpPr/>
                <p:nvPr/>
              </p:nvSpPr>
              <p:spPr>
                <a:xfrm>
                  <a:off x="9365963" y="12404280"/>
                  <a:ext cx="145732" cy="145732"/>
                </a:xfrm>
                <a:custGeom>
                  <a:avLst/>
                  <a:gdLst>
                    <a:gd name="connsiteX0" fmla="*/ 145733 w 145732"/>
                    <a:gd name="connsiteY0" fmla="*/ 72866 h 145732"/>
                    <a:gd name="connsiteX1" fmla="*/ 72866 w 145732"/>
                    <a:gd name="connsiteY1" fmla="*/ 145733 h 145732"/>
                    <a:gd name="connsiteX2" fmla="*/ 0 w 145732"/>
                    <a:gd name="connsiteY2" fmla="*/ 72866 h 145732"/>
                    <a:gd name="connsiteX3" fmla="*/ 72866 w 145732"/>
                    <a:gd name="connsiteY3" fmla="*/ 0 h 145732"/>
                    <a:gd name="connsiteX4" fmla="*/ 145733 w 145732"/>
                    <a:gd name="connsiteY4" fmla="*/ 72866 h 145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5732" h="145732">
                      <a:moveTo>
                        <a:pt x="145733" y="72866"/>
                      </a:moveTo>
                      <a:cubicBezTo>
                        <a:pt x="145733" y="113109"/>
                        <a:pt x="113109" y="145733"/>
                        <a:pt x="72866" y="145733"/>
                      </a:cubicBezTo>
                      <a:cubicBezTo>
                        <a:pt x="32623" y="145733"/>
                        <a:pt x="0" y="113109"/>
                        <a:pt x="0" y="72866"/>
                      </a:cubicBezTo>
                      <a:cubicBezTo>
                        <a:pt x="0" y="32624"/>
                        <a:pt x="32623" y="0"/>
                        <a:pt x="72866" y="0"/>
                      </a:cubicBezTo>
                      <a:cubicBezTo>
                        <a:pt x="113109" y="0"/>
                        <a:pt x="145733" y="32624"/>
                        <a:pt x="145733" y="7286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3" name="Freihandform: Form 102">
                  <a:extLst>
                    <a:ext uri="{FF2B5EF4-FFF2-40B4-BE49-F238E27FC236}">
                      <a16:creationId xmlns:a16="http://schemas.microsoft.com/office/drawing/2014/main" id="{436A653F-9D78-B183-3B45-2421257B96F3}"/>
                    </a:ext>
                  </a:extLst>
                </p:cNvPr>
                <p:cNvSpPr/>
                <p:nvPr/>
              </p:nvSpPr>
              <p:spPr>
                <a:xfrm>
                  <a:off x="8938672" y="11260613"/>
                  <a:ext cx="389953" cy="1217787"/>
                </a:xfrm>
                <a:custGeom>
                  <a:avLst/>
                  <a:gdLst>
                    <a:gd name="connsiteX0" fmla="*/ 389954 w 389953"/>
                    <a:gd name="connsiteY0" fmla="*/ 1196054 h 1217787"/>
                    <a:gd name="connsiteX1" fmla="*/ 245079 w 389953"/>
                    <a:gd name="connsiteY1" fmla="*/ 1208532 h 1217787"/>
                    <a:gd name="connsiteX2" fmla="*/ 52388 w 389953"/>
                    <a:gd name="connsiteY2" fmla="*/ 579406 h 1217787"/>
                    <a:gd name="connsiteX3" fmla="*/ 0 w 389953"/>
                    <a:gd name="connsiteY3" fmla="*/ 44863 h 1217787"/>
                    <a:gd name="connsiteX4" fmla="*/ 306705 w 389953"/>
                    <a:gd name="connsiteY4" fmla="*/ 0 h 1217787"/>
                    <a:gd name="connsiteX5" fmla="*/ 316039 w 389953"/>
                    <a:gd name="connsiteY5" fmla="*/ 166878 h 1217787"/>
                    <a:gd name="connsiteX6" fmla="*/ 351091 w 389953"/>
                    <a:gd name="connsiteY6" fmla="*/ 480251 h 1217787"/>
                    <a:gd name="connsiteX7" fmla="*/ 361760 w 389953"/>
                    <a:gd name="connsiteY7" fmla="*/ 876681 h 1217787"/>
                    <a:gd name="connsiteX8" fmla="*/ 389858 w 389953"/>
                    <a:gd name="connsiteY8" fmla="*/ 1195959 h 12177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89953" h="1217787">
                      <a:moveTo>
                        <a:pt x="389954" y="1196054"/>
                      </a:moveTo>
                      <a:cubicBezTo>
                        <a:pt x="339471" y="1220438"/>
                        <a:pt x="293561" y="1223867"/>
                        <a:pt x="245079" y="1208532"/>
                      </a:cubicBezTo>
                      <a:cubicBezTo>
                        <a:pt x="209550" y="1038987"/>
                        <a:pt x="96964" y="734759"/>
                        <a:pt x="52388" y="579406"/>
                      </a:cubicBezTo>
                      <a:cubicBezTo>
                        <a:pt x="7715" y="423767"/>
                        <a:pt x="0" y="44863"/>
                        <a:pt x="0" y="44863"/>
                      </a:cubicBezTo>
                      <a:lnTo>
                        <a:pt x="306705" y="0"/>
                      </a:lnTo>
                      <a:lnTo>
                        <a:pt x="316039" y="166878"/>
                      </a:lnTo>
                      <a:cubicBezTo>
                        <a:pt x="316039" y="166878"/>
                        <a:pt x="347472" y="345662"/>
                        <a:pt x="351091" y="480251"/>
                      </a:cubicBezTo>
                      <a:cubicBezTo>
                        <a:pt x="354711" y="614839"/>
                        <a:pt x="361760" y="876681"/>
                        <a:pt x="361760" y="876681"/>
                      </a:cubicBezTo>
                      <a:lnTo>
                        <a:pt x="389858" y="1195959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4" name="Freihandform: Form 103">
                  <a:extLst>
                    <a:ext uri="{FF2B5EF4-FFF2-40B4-BE49-F238E27FC236}">
                      <a16:creationId xmlns:a16="http://schemas.microsoft.com/office/drawing/2014/main" id="{0C462DC0-A90F-D1D7-FF1F-70D1F31AE434}"/>
                    </a:ext>
                  </a:extLst>
                </p:cNvPr>
                <p:cNvSpPr/>
                <p:nvPr/>
              </p:nvSpPr>
              <p:spPr>
                <a:xfrm>
                  <a:off x="8936291" y="11117929"/>
                  <a:ext cx="309943" cy="318515"/>
                </a:xfrm>
                <a:custGeom>
                  <a:avLst/>
                  <a:gdLst>
                    <a:gd name="connsiteX0" fmla="*/ 309944 w 309943"/>
                    <a:gd name="connsiteY0" fmla="*/ 159258 h 318515"/>
                    <a:gd name="connsiteX1" fmla="*/ 154972 w 309943"/>
                    <a:gd name="connsiteY1" fmla="*/ 318516 h 318515"/>
                    <a:gd name="connsiteX2" fmla="*/ 0 w 309943"/>
                    <a:gd name="connsiteY2" fmla="*/ 159258 h 318515"/>
                    <a:gd name="connsiteX3" fmla="*/ 154972 w 309943"/>
                    <a:gd name="connsiteY3" fmla="*/ 0 h 318515"/>
                    <a:gd name="connsiteX4" fmla="*/ 309944 w 309943"/>
                    <a:gd name="connsiteY4" fmla="*/ 159258 h 3185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9943" h="318515">
                      <a:moveTo>
                        <a:pt x="309944" y="159258"/>
                      </a:moveTo>
                      <a:cubicBezTo>
                        <a:pt x="309944" y="247214"/>
                        <a:pt x="240561" y="318516"/>
                        <a:pt x="154972" y="318516"/>
                      </a:cubicBezTo>
                      <a:cubicBezTo>
                        <a:pt x="69383" y="318516"/>
                        <a:pt x="0" y="247214"/>
                        <a:pt x="0" y="159258"/>
                      </a:cubicBezTo>
                      <a:cubicBezTo>
                        <a:pt x="0" y="71302"/>
                        <a:pt x="69383" y="0"/>
                        <a:pt x="154972" y="0"/>
                      </a:cubicBezTo>
                      <a:cubicBezTo>
                        <a:pt x="240560" y="0"/>
                        <a:pt x="309944" y="71302"/>
                        <a:pt x="309944" y="15925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5" name="Freihandform: Form 104">
                  <a:extLst>
                    <a:ext uri="{FF2B5EF4-FFF2-40B4-BE49-F238E27FC236}">
                      <a16:creationId xmlns:a16="http://schemas.microsoft.com/office/drawing/2014/main" id="{CB981138-363A-8E93-E99A-DCFBAFA23880}"/>
                    </a:ext>
                  </a:extLst>
                </p:cNvPr>
                <p:cNvSpPr/>
                <p:nvPr/>
              </p:nvSpPr>
              <p:spPr>
                <a:xfrm>
                  <a:off x="9325196" y="11123358"/>
                  <a:ext cx="311086" cy="311086"/>
                </a:xfrm>
                <a:custGeom>
                  <a:avLst/>
                  <a:gdLst>
                    <a:gd name="connsiteX0" fmla="*/ 311086 w 311086"/>
                    <a:gd name="connsiteY0" fmla="*/ 155543 h 311086"/>
                    <a:gd name="connsiteX1" fmla="*/ 155543 w 311086"/>
                    <a:gd name="connsiteY1" fmla="*/ 311086 h 311086"/>
                    <a:gd name="connsiteX2" fmla="*/ -1 w 311086"/>
                    <a:gd name="connsiteY2" fmla="*/ 155543 h 311086"/>
                    <a:gd name="connsiteX3" fmla="*/ 155543 w 311086"/>
                    <a:gd name="connsiteY3" fmla="*/ 0 h 311086"/>
                    <a:gd name="connsiteX4" fmla="*/ 311086 w 311086"/>
                    <a:gd name="connsiteY4" fmla="*/ 155543 h 3110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1086" h="311086">
                      <a:moveTo>
                        <a:pt x="311086" y="155543"/>
                      </a:moveTo>
                      <a:cubicBezTo>
                        <a:pt x="311086" y="241447"/>
                        <a:pt x="241447" y="311086"/>
                        <a:pt x="155543" y="311086"/>
                      </a:cubicBezTo>
                      <a:cubicBezTo>
                        <a:pt x="69639" y="311086"/>
                        <a:pt x="-1" y="241447"/>
                        <a:pt x="-1" y="155543"/>
                      </a:cubicBezTo>
                      <a:cubicBezTo>
                        <a:pt x="-1" y="69639"/>
                        <a:pt x="69639" y="0"/>
                        <a:pt x="155543" y="0"/>
                      </a:cubicBezTo>
                      <a:cubicBezTo>
                        <a:pt x="241447" y="0"/>
                        <a:pt x="311086" y="69639"/>
                        <a:pt x="311086" y="155543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6" name="Freihandform: Form 105">
                  <a:extLst>
                    <a:ext uri="{FF2B5EF4-FFF2-40B4-BE49-F238E27FC236}">
                      <a16:creationId xmlns:a16="http://schemas.microsoft.com/office/drawing/2014/main" id="{67784386-5860-8DA6-CD95-3BDBEC48E4E5}"/>
                    </a:ext>
                  </a:extLst>
                </p:cNvPr>
                <p:cNvSpPr/>
                <p:nvPr/>
              </p:nvSpPr>
              <p:spPr>
                <a:xfrm>
                  <a:off x="9111551" y="12452191"/>
                  <a:ext cx="251269" cy="207930"/>
                </a:xfrm>
                <a:custGeom>
                  <a:avLst/>
                  <a:gdLst>
                    <a:gd name="connsiteX0" fmla="*/ 72294 w 251269"/>
                    <a:gd name="connsiteY0" fmla="*/ 0 h 207930"/>
                    <a:gd name="connsiteX1" fmla="*/ 0 w 251269"/>
                    <a:gd name="connsiteY1" fmla="*/ 201549 h 207930"/>
                    <a:gd name="connsiteX2" fmla="*/ 251270 w 251269"/>
                    <a:gd name="connsiteY2" fmla="*/ 207930 h 207930"/>
                    <a:gd name="connsiteX3" fmla="*/ 216789 w 251269"/>
                    <a:gd name="connsiteY3" fmla="*/ 3334 h 207930"/>
                    <a:gd name="connsiteX4" fmla="*/ 72294 w 251269"/>
                    <a:gd name="connsiteY4" fmla="*/ 95 h 2079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1269" h="207930">
                      <a:moveTo>
                        <a:pt x="72294" y="0"/>
                      </a:moveTo>
                      <a:cubicBezTo>
                        <a:pt x="56579" y="148399"/>
                        <a:pt x="952" y="162496"/>
                        <a:pt x="0" y="201549"/>
                      </a:cubicBezTo>
                      <a:lnTo>
                        <a:pt x="251270" y="207930"/>
                      </a:lnTo>
                      <a:cubicBezTo>
                        <a:pt x="246126" y="145922"/>
                        <a:pt x="216789" y="118300"/>
                        <a:pt x="216789" y="3334"/>
                      </a:cubicBezTo>
                      <a:lnTo>
                        <a:pt x="72294" y="95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7" name="Freihandform: Form 106">
                  <a:extLst>
                    <a:ext uri="{FF2B5EF4-FFF2-40B4-BE49-F238E27FC236}">
                      <a16:creationId xmlns:a16="http://schemas.microsoft.com/office/drawing/2014/main" id="{3BA7FD74-2780-2D5D-2598-B627BFFE1A5B}"/>
                    </a:ext>
                  </a:extLst>
                </p:cNvPr>
                <p:cNvSpPr/>
                <p:nvPr/>
              </p:nvSpPr>
              <p:spPr>
                <a:xfrm>
                  <a:off x="9040208" y="12666313"/>
                  <a:ext cx="343280" cy="94544"/>
                </a:xfrm>
                <a:custGeom>
                  <a:avLst/>
                  <a:gdLst>
                    <a:gd name="connsiteX0" fmla="*/ 322326 w 343280"/>
                    <a:gd name="connsiteY0" fmla="*/ 89821 h 94544"/>
                    <a:gd name="connsiteX1" fmla="*/ 21145 w 343280"/>
                    <a:gd name="connsiteY1" fmla="*/ 89630 h 94544"/>
                    <a:gd name="connsiteX2" fmla="*/ 0 w 343280"/>
                    <a:gd name="connsiteY2" fmla="*/ 60960 h 94544"/>
                    <a:gd name="connsiteX3" fmla="*/ 0 w 343280"/>
                    <a:gd name="connsiteY3" fmla="*/ 0 h 94544"/>
                    <a:gd name="connsiteX4" fmla="*/ 343281 w 343280"/>
                    <a:gd name="connsiteY4" fmla="*/ 0 h 94544"/>
                    <a:gd name="connsiteX5" fmla="*/ 343281 w 343280"/>
                    <a:gd name="connsiteY5" fmla="*/ 61150 h 94544"/>
                    <a:gd name="connsiteX6" fmla="*/ 322326 w 343280"/>
                    <a:gd name="connsiteY6" fmla="*/ 89821 h 945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43280" h="94544">
                      <a:moveTo>
                        <a:pt x="322326" y="89821"/>
                      </a:moveTo>
                      <a:cubicBezTo>
                        <a:pt x="218218" y="97822"/>
                        <a:pt x="135160" y="94202"/>
                        <a:pt x="21145" y="89630"/>
                      </a:cubicBezTo>
                      <a:cubicBezTo>
                        <a:pt x="8954" y="89154"/>
                        <a:pt x="0" y="75533"/>
                        <a:pt x="0" y="60960"/>
                      </a:cubicBezTo>
                      <a:lnTo>
                        <a:pt x="0" y="0"/>
                      </a:lnTo>
                      <a:cubicBezTo>
                        <a:pt x="0" y="0"/>
                        <a:pt x="343281" y="0"/>
                        <a:pt x="343281" y="0"/>
                      </a:cubicBezTo>
                      <a:lnTo>
                        <a:pt x="343281" y="61150"/>
                      </a:lnTo>
                      <a:cubicBezTo>
                        <a:pt x="343281" y="75629"/>
                        <a:pt x="334423" y="88868"/>
                        <a:pt x="322326" y="89821"/>
                      </a:cubicBezTo>
                      <a:close/>
                    </a:path>
                  </a:pathLst>
                </a:custGeom>
                <a:solidFill>
                  <a:srgbClr val="40404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8" name="Freihandform: Form 107">
                  <a:extLst>
                    <a:ext uri="{FF2B5EF4-FFF2-40B4-BE49-F238E27FC236}">
                      <a16:creationId xmlns:a16="http://schemas.microsoft.com/office/drawing/2014/main" id="{D264128F-5940-F850-8AC1-DACC4353B774}"/>
                    </a:ext>
                  </a:extLst>
                </p:cNvPr>
                <p:cNvSpPr/>
                <p:nvPr/>
              </p:nvSpPr>
              <p:spPr>
                <a:xfrm>
                  <a:off x="9040208" y="12513150"/>
                  <a:ext cx="343280" cy="181734"/>
                </a:xfrm>
                <a:custGeom>
                  <a:avLst/>
                  <a:gdLst>
                    <a:gd name="connsiteX0" fmla="*/ 343281 w 343280"/>
                    <a:gd name="connsiteY0" fmla="*/ 153163 h 181734"/>
                    <a:gd name="connsiteX1" fmla="*/ 294227 w 343280"/>
                    <a:gd name="connsiteY1" fmla="*/ 23147 h 181734"/>
                    <a:gd name="connsiteX2" fmla="*/ 279273 w 343280"/>
                    <a:gd name="connsiteY2" fmla="*/ 64199 h 181734"/>
                    <a:gd name="connsiteX3" fmla="*/ 98964 w 343280"/>
                    <a:gd name="connsiteY3" fmla="*/ 59628 h 181734"/>
                    <a:gd name="connsiteX4" fmla="*/ 0 w 343280"/>
                    <a:gd name="connsiteY4" fmla="*/ 153163 h 181734"/>
                    <a:gd name="connsiteX5" fmla="*/ 343281 w 343280"/>
                    <a:gd name="connsiteY5" fmla="*/ 153163 h 181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3280" h="181734">
                      <a:moveTo>
                        <a:pt x="343281" y="153163"/>
                      </a:moveTo>
                      <a:cubicBezTo>
                        <a:pt x="303847" y="73344"/>
                        <a:pt x="306133" y="10193"/>
                        <a:pt x="294227" y="23147"/>
                      </a:cubicBezTo>
                      <a:cubicBezTo>
                        <a:pt x="301276" y="53055"/>
                        <a:pt x="295656" y="65914"/>
                        <a:pt x="279273" y="64199"/>
                      </a:cubicBezTo>
                      <a:cubicBezTo>
                        <a:pt x="279273" y="64199"/>
                        <a:pt x="167544" y="-77151"/>
                        <a:pt x="98964" y="59628"/>
                      </a:cubicBezTo>
                      <a:cubicBezTo>
                        <a:pt x="57340" y="142591"/>
                        <a:pt x="4096" y="120397"/>
                        <a:pt x="0" y="153163"/>
                      </a:cubicBezTo>
                      <a:cubicBezTo>
                        <a:pt x="16478" y="185738"/>
                        <a:pt x="323945" y="196406"/>
                        <a:pt x="343281" y="15316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9" name="Freihandform: Form 108">
                  <a:extLst>
                    <a:ext uri="{FF2B5EF4-FFF2-40B4-BE49-F238E27FC236}">
                      <a16:creationId xmlns:a16="http://schemas.microsoft.com/office/drawing/2014/main" id="{D25415B4-44B1-2D2E-19AA-8A2D2C2B7717}"/>
                    </a:ext>
                  </a:extLst>
                </p:cNvPr>
                <p:cNvSpPr/>
                <p:nvPr/>
              </p:nvSpPr>
              <p:spPr>
                <a:xfrm>
                  <a:off x="9324879" y="11256327"/>
                  <a:ext cx="326797" cy="1236394"/>
                </a:xfrm>
                <a:custGeom>
                  <a:avLst/>
                  <a:gdLst>
                    <a:gd name="connsiteX0" fmla="*/ 41084 w 326797"/>
                    <a:gd name="connsiteY0" fmla="*/ 1218819 h 1236394"/>
                    <a:gd name="connsiteX1" fmla="*/ 186626 w 326797"/>
                    <a:gd name="connsiteY1" fmla="*/ 1215199 h 1236394"/>
                    <a:gd name="connsiteX2" fmla="*/ 315405 w 326797"/>
                    <a:gd name="connsiteY2" fmla="*/ 571024 h 1236394"/>
                    <a:gd name="connsiteX3" fmla="*/ 309594 w 326797"/>
                    <a:gd name="connsiteY3" fmla="*/ 0 h 1236394"/>
                    <a:gd name="connsiteX4" fmla="*/ 222 w 326797"/>
                    <a:gd name="connsiteY4" fmla="*/ 286 h 1236394"/>
                    <a:gd name="connsiteX5" fmla="*/ 8033 w 326797"/>
                    <a:gd name="connsiteY5" fmla="*/ 502825 h 1236394"/>
                    <a:gd name="connsiteX6" fmla="*/ 37655 w 326797"/>
                    <a:gd name="connsiteY6" fmla="*/ 898302 h 1236394"/>
                    <a:gd name="connsiteX7" fmla="*/ 40989 w 326797"/>
                    <a:gd name="connsiteY7" fmla="*/ 1218819 h 12363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797" h="1236394">
                      <a:moveTo>
                        <a:pt x="41084" y="1218819"/>
                      </a:moveTo>
                      <a:cubicBezTo>
                        <a:pt x="93853" y="1243870"/>
                        <a:pt x="140049" y="1241679"/>
                        <a:pt x="186626" y="1215199"/>
                      </a:cubicBezTo>
                      <a:cubicBezTo>
                        <a:pt x="204724" y="1042892"/>
                        <a:pt x="286830" y="730091"/>
                        <a:pt x="315405" y="571024"/>
                      </a:cubicBezTo>
                      <a:cubicBezTo>
                        <a:pt x="344075" y="411575"/>
                        <a:pt x="309594" y="0"/>
                        <a:pt x="309594" y="0"/>
                      </a:cubicBezTo>
                      <a:lnTo>
                        <a:pt x="222" y="286"/>
                      </a:lnTo>
                      <a:cubicBezTo>
                        <a:pt x="222" y="286"/>
                        <a:pt x="-2064" y="368617"/>
                        <a:pt x="8033" y="502825"/>
                      </a:cubicBezTo>
                      <a:cubicBezTo>
                        <a:pt x="18129" y="637032"/>
                        <a:pt x="37655" y="898302"/>
                        <a:pt x="37655" y="898302"/>
                      </a:cubicBezTo>
                      <a:lnTo>
                        <a:pt x="40989" y="1218819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0" name="Freihandform: Form 109">
                  <a:extLst>
                    <a:ext uri="{FF2B5EF4-FFF2-40B4-BE49-F238E27FC236}">
                      <a16:creationId xmlns:a16="http://schemas.microsoft.com/office/drawing/2014/main" id="{6DCAA3CF-7503-B61C-B00A-D85FD87B1553}"/>
                    </a:ext>
                  </a:extLst>
                </p:cNvPr>
                <p:cNvSpPr/>
                <p:nvPr/>
              </p:nvSpPr>
              <p:spPr>
                <a:xfrm>
                  <a:off x="9333007" y="12471526"/>
                  <a:ext cx="284035" cy="215074"/>
                </a:xfrm>
                <a:custGeom>
                  <a:avLst/>
                  <a:gdLst>
                    <a:gd name="connsiteX0" fmla="*/ 178498 w 284035"/>
                    <a:gd name="connsiteY0" fmla="*/ 0 h 215074"/>
                    <a:gd name="connsiteX1" fmla="*/ 284036 w 284035"/>
                    <a:gd name="connsiteY1" fmla="*/ 215075 h 215074"/>
                    <a:gd name="connsiteX2" fmla="*/ 0 w 284035"/>
                    <a:gd name="connsiteY2" fmla="*/ 215075 h 215074"/>
                    <a:gd name="connsiteX3" fmla="*/ 32956 w 284035"/>
                    <a:gd name="connsiteY3" fmla="*/ 4477 h 215074"/>
                    <a:gd name="connsiteX4" fmla="*/ 178594 w 284035"/>
                    <a:gd name="connsiteY4" fmla="*/ 0 h 2150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84035" h="215074">
                      <a:moveTo>
                        <a:pt x="178498" y="0"/>
                      </a:moveTo>
                      <a:cubicBezTo>
                        <a:pt x="199549" y="148685"/>
                        <a:pt x="284036" y="176022"/>
                        <a:pt x="284036" y="215075"/>
                      </a:cubicBezTo>
                      <a:lnTo>
                        <a:pt x="0" y="215075"/>
                      </a:lnTo>
                      <a:cubicBezTo>
                        <a:pt x="0" y="139637"/>
                        <a:pt x="37529" y="86963"/>
                        <a:pt x="32956" y="4477"/>
                      </a:cubicBezTo>
                      <a:lnTo>
                        <a:pt x="178594" y="0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1" name="Freihandform: Form 110">
                  <a:extLst>
                    <a:ext uri="{FF2B5EF4-FFF2-40B4-BE49-F238E27FC236}">
                      <a16:creationId xmlns:a16="http://schemas.microsoft.com/office/drawing/2014/main" id="{FE448C79-73AA-1232-7820-85B64D051923}"/>
                    </a:ext>
                  </a:extLst>
                </p:cNvPr>
                <p:cNvSpPr/>
                <p:nvPr/>
              </p:nvSpPr>
              <p:spPr>
                <a:xfrm>
                  <a:off x="9312909" y="12667932"/>
                  <a:ext cx="343280" cy="92916"/>
                </a:xfrm>
                <a:custGeom>
                  <a:avLst/>
                  <a:gdLst>
                    <a:gd name="connsiteX0" fmla="*/ 20955 w 343280"/>
                    <a:gd name="connsiteY0" fmla="*/ 89821 h 92916"/>
                    <a:gd name="connsiteX1" fmla="*/ 322135 w 343280"/>
                    <a:gd name="connsiteY1" fmla="*/ 89631 h 92916"/>
                    <a:gd name="connsiteX2" fmla="*/ 343281 w 343280"/>
                    <a:gd name="connsiteY2" fmla="*/ 60960 h 92916"/>
                    <a:gd name="connsiteX3" fmla="*/ 343281 w 343280"/>
                    <a:gd name="connsiteY3" fmla="*/ 0 h 92916"/>
                    <a:gd name="connsiteX4" fmla="*/ 0 w 343280"/>
                    <a:gd name="connsiteY4" fmla="*/ 0 h 92916"/>
                    <a:gd name="connsiteX5" fmla="*/ 0 w 343280"/>
                    <a:gd name="connsiteY5" fmla="*/ 61150 h 92916"/>
                    <a:gd name="connsiteX6" fmla="*/ 20955 w 343280"/>
                    <a:gd name="connsiteY6" fmla="*/ 89821 h 929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43280" h="92916">
                      <a:moveTo>
                        <a:pt x="20955" y="89821"/>
                      </a:moveTo>
                      <a:cubicBezTo>
                        <a:pt x="138969" y="93345"/>
                        <a:pt x="221932" y="94583"/>
                        <a:pt x="322135" y="89631"/>
                      </a:cubicBezTo>
                      <a:cubicBezTo>
                        <a:pt x="334327" y="89059"/>
                        <a:pt x="343281" y="75533"/>
                        <a:pt x="343281" y="60960"/>
                      </a:cubicBezTo>
                      <a:lnTo>
                        <a:pt x="343281" y="0"/>
                      </a:lnTo>
                      <a:cubicBezTo>
                        <a:pt x="343281" y="0"/>
                        <a:pt x="0" y="0"/>
                        <a:pt x="0" y="0"/>
                      </a:cubicBezTo>
                      <a:lnTo>
                        <a:pt x="0" y="61150"/>
                      </a:lnTo>
                      <a:cubicBezTo>
                        <a:pt x="0" y="75629"/>
                        <a:pt x="8858" y="89440"/>
                        <a:pt x="20955" y="89821"/>
                      </a:cubicBezTo>
                      <a:close/>
                    </a:path>
                  </a:pathLst>
                </a:custGeom>
                <a:solidFill>
                  <a:srgbClr val="40404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2" name="Freihandform: Form 111">
                  <a:extLst>
                    <a:ext uri="{FF2B5EF4-FFF2-40B4-BE49-F238E27FC236}">
                      <a16:creationId xmlns:a16="http://schemas.microsoft.com/office/drawing/2014/main" id="{0913BEBA-E87C-B51B-FB4A-1DD4CE5CFAAC}"/>
                    </a:ext>
                  </a:extLst>
                </p:cNvPr>
                <p:cNvSpPr/>
                <p:nvPr/>
              </p:nvSpPr>
              <p:spPr>
                <a:xfrm>
                  <a:off x="9312909" y="12514864"/>
                  <a:ext cx="343280" cy="181734"/>
                </a:xfrm>
                <a:custGeom>
                  <a:avLst/>
                  <a:gdLst>
                    <a:gd name="connsiteX0" fmla="*/ 0 w 343280"/>
                    <a:gd name="connsiteY0" fmla="*/ 153163 h 181734"/>
                    <a:gd name="connsiteX1" fmla="*/ 49053 w 343280"/>
                    <a:gd name="connsiteY1" fmla="*/ 23147 h 181734"/>
                    <a:gd name="connsiteX2" fmla="*/ 64008 w 343280"/>
                    <a:gd name="connsiteY2" fmla="*/ 64199 h 181734"/>
                    <a:gd name="connsiteX3" fmla="*/ 244316 w 343280"/>
                    <a:gd name="connsiteY3" fmla="*/ 59628 h 181734"/>
                    <a:gd name="connsiteX4" fmla="*/ 343281 w 343280"/>
                    <a:gd name="connsiteY4" fmla="*/ 153163 h 181734"/>
                    <a:gd name="connsiteX5" fmla="*/ 0 w 343280"/>
                    <a:gd name="connsiteY5" fmla="*/ 153163 h 181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3280" h="181734">
                      <a:moveTo>
                        <a:pt x="0" y="153163"/>
                      </a:moveTo>
                      <a:cubicBezTo>
                        <a:pt x="39433" y="73344"/>
                        <a:pt x="37147" y="10193"/>
                        <a:pt x="49053" y="23147"/>
                      </a:cubicBezTo>
                      <a:cubicBezTo>
                        <a:pt x="42005" y="53055"/>
                        <a:pt x="47625" y="65914"/>
                        <a:pt x="64008" y="64199"/>
                      </a:cubicBezTo>
                      <a:cubicBezTo>
                        <a:pt x="64008" y="64199"/>
                        <a:pt x="175736" y="-77151"/>
                        <a:pt x="244316" y="59628"/>
                      </a:cubicBezTo>
                      <a:cubicBezTo>
                        <a:pt x="285940" y="142591"/>
                        <a:pt x="339185" y="120397"/>
                        <a:pt x="343281" y="153163"/>
                      </a:cubicBezTo>
                      <a:cubicBezTo>
                        <a:pt x="326803" y="185738"/>
                        <a:pt x="19335" y="196406"/>
                        <a:pt x="0" y="15316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3" name="Freihandform: Form 112">
                  <a:extLst>
                    <a:ext uri="{FF2B5EF4-FFF2-40B4-BE49-F238E27FC236}">
                      <a16:creationId xmlns:a16="http://schemas.microsoft.com/office/drawing/2014/main" id="{3B371553-8310-7B69-F6E3-6D79EA97EB06}"/>
                    </a:ext>
                  </a:extLst>
                </p:cNvPr>
                <p:cNvSpPr/>
                <p:nvPr/>
              </p:nvSpPr>
              <p:spPr>
                <a:xfrm>
                  <a:off x="8692641" y="9292748"/>
                  <a:ext cx="1197659" cy="1963864"/>
                </a:xfrm>
                <a:custGeom>
                  <a:avLst/>
                  <a:gdLst>
                    <a:gd name="connsiteX0" fmla="*/ 1130998 w 1197659"/>
                    <a:gd name="connsiteY0" fmla="*/ 302133 h 1963864"/>
                    <a:gd name="connsiteX1" fmla="*/ 919353 w 1197659"/>
                    <a:gd name="connsiteY1" fmla="*/ 1429 h 1963864"/>
                    <a:gd name="connsiteX2" fmla="*/ 598075 w 1197659"/>
                    <a:gd name="connsiteY2" fmla="*/ 0 h 1963864"/>
                    <a:gd name="connsiteX3" fmla="*/ 598075 w 1197659"/>
                    <a:gd name="connsiteY3" fmla="*/ 0 h 1963864"/>
                    <a:gd name="connsiteX4" fmla="*/ 594646 w 1197659"/>
                    <a:gd name="connsiteY4" fmla="*/ 0 h 1963864"/>
                    <a:gd name="connsiteX5" fmla="*/ 591216 w 1197659"/>
                    <a:gd name="connsiteY5" fmla="*/ 0 h 1963864"/>
                    <a:gd name="connsiteX6" fmla="*/ 591216 w 1197659"/>
                    <a:gd name="connsiteY6" fmla="*/ 0 h 1963864"/>
                    <a:gd name="connsiteX7" fmla="*/ 269938 w 1197659"/>
                    <a:gd name="connsiteY7" fmla="*/ 1429 h 1963864"/>
                    <a:gd name="connsiteX8" fmla="*/ 65531 w 1197659"/>
                    <a:gd name="connsiteY8" fmla="*/ 316421 h 1963864"/>
                    <a:gd name="connsiteX9" fmla="*/ 0 w 1197659"/>
                    <a:gd name="connsiteY9" fmla="*/ 635127 h 1963864"/>
                    <a:gd name="connsiteX10" fmla="*/ 24384 w 1197659"/>
                    <a:gd name="connsiteY10" fmla="*/ 1062895 h 1963864"/>
                    <a:gd name="connsiteX11" fmla="*/ 117634 w 1197659"/>
                    <a:gd name="connsiteY11" fmla="*/ 1567434 h 1963864"/>
                    <a:gd name="connsiteX12" fmla="*/ 209264 w 1197659"/>
                    <a:gd name="connsiteY12" fmla="*/ 1963865 h 1963864"/>
                    <a:gd name="connsiteX13" fmla="*/ 978217 w 1197659"/>
                    <a:gd name="connsiteY13" fmla="*/ 1963865 h 1963864"/>
                    <a:gd name="connsiteX14" fmla="*/ 1069848 w 1197659"/>
                    <a:gd name="connsiteY14" fmla="*/ 1567434 h 1963864"/>
                    <a:gd name="connsiteX15" fmla="*/ 1163098 w 1197659"/>
                    <a:gd name="connsiteY15" fmla="*/ 1062895 h 1963864"/>
                    <a:gd name="connsiteX16" fmla="*/ 1131189 w 1197659"/>
                    <a:gd name="connsiteY16" fmla="*/ 302133 h 1963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197659" h="1963864">
                      <a:moveTo>
                        <a:pt x="1130998" y="302133"/>
                      </a:moveTo>
                      <a:cubicBezTo>
                        <a:pt x="1066895" y="164021"/>
                        <a:pt x="919353" y="1429"/>
                        <a:pt x="919353" y="1429"/>
                      </a:cubicBezTo>
                      <a:lnTo>
                        <a:pt x="598075" y="0"/>
                      </a:lnTo>
                      <a:lnTo>
                        <a:pt x="598075" y="0"/>
                      </a:lnTo>
                      <a:cubicBezTo>
                        <a:pt x="598075" y="0"/>
                        <a:pt x="594646" y="0"/>
                        <a:pt x="594646" y="0"/>
                      </a:cubicBezTo>
                      <a:lnTo>
                        <a:pt x="591216" y="0"/>
                      </a:lnTo>
                      <a:cubicBezTo>
                        <a:pt x="591216" y="0"/>
                        <a:pt x="591216" y="0"/>
                        <a:pt x="591216" y="0"/>
                      </a:cubicBezTo>
                      <a:lnTo>
                        <a:pt x="269938" y="1429"/>
                      </a:lnTo>
                      <a:cubicBezTo>
                        <a:pt x="269938" y="1429"/>
                        <a:pt x="120205" y="174308"/>
                        <a:pt x="65531" y="316421"/>
                      </a:cubicBezTo>
                      <a:cubicBezTo>
                        <a:pt x="10953" y="458534"/>
                        <a:pt x="0" y="635127"/>
                        <a:pt x="0" y="635127"/>
                      </a:cubicBezTo>
                      <a:cubicBezTo>
                        <a:pt x="0" y="635127"/>
                        <a:pt x="6477" y="908114"/>
                        <a:pt x="24384" y="1062895"/>
                      </a:cubicBezTo>
                      <a:cubicBezTo>
                        <a:pt x="42196" y="1217676"/>
                        <a:pt x="82677" y="1449991"/>
                        <a:pt x="117634" y="1567434"/>
                      </a:cubicBezTo>
                      <a:cubicBezTo>
                        <a:pt x="152590" y="1684877"/>
                        <a:pt x="209264" y="1963865"/>
                        <a:pt x="209264" y="1963865"/>
                      </a:cubicBezTo>
                      <a:lnTo>
                        <a:pt x="978217" y="1963865"/>
                      </a:lnTo>
                      <a:cubicBezTo>
                        <a:pt x="978217" y="1963865"/>
                        <a:pt x="1034891" y="1684973"/>
                        <a:pt x="1069848" y="1567434"/>
                      </a:cubicBezTo>
                      <a:cubicBezTo>
                        <a:pt x="1104805" y="1449991"/>
                        <a:pt x="1134999" y="1216152"/>
                        <a:pt x="1163098" y="1062895"/>
                      </a:cubicBezTo>
                      <a:cubicBezTo>
                        <a:pt x="1214818" y="780859"/>
                        <a:pt x="1211866" y="476059"/>
                        <a:pt x="1131189" y="302133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4" name="Freihandform: Form 113">
                  <a:extLst>
                    <a:ext uri="{FF2B5EF4-FFF2-40B4-BE49-F238E27FC236}">
                      <a16:creationId xmlns:a16="http://schemas.microsoft.com/office/drawing/2014/main" id="{41432A89-9C29-E1F4-FD65-758A037FCCA5}"/>
                    </a:ext>
                  </a:extLst>
                </p:cNvPr>
                <p:cNvSpPr/>
                <p:nvPr/>
              </p:nvSpPr>
              <p:spPr>
                <a:xfrm>
                  <a:off x="8910483" y="7388618"/>
                  <a:ext cx="817969" cy="1046717"/>
                </a:xfrm>
                <a:custGeom>
                  <a:avLst/>
                  <a:gdLst>
                    <a:gd name="connsiteX0" fmla="*/ 720465 w 817969"/>
                    <a:gd name="connsiteY0" fmla="*/ 892765 h 1046717"/>
                    <a:gd name="connsiteX1" fmla="*/ 679603 w 817969"/>
                    <a:gd name="connsiteY1" fmla="*/ 349364 h 1046717"/>
                    <a:gd name="connsiteX2" fmla="*/ 351467 w 817969"/>
                    <a:gd name="connsiteY2" fmla="*/ 1321 h 1046717"/>
                    <a:gd name="connsiteX3" fmla="*/ 212974 w 817969"/>
                    <a:gd name="connsiteY3" fmla="*/ 66472 h 1046717"/>
                    <a:gd name="connsiteX4" fmla="*/ 25522 w 817969"/>
                    <a:gd name="connsiteY4" fmla="*/ 310312 h 1046717"/>
                    <a:gd name="connsiteX5" fmla="*/ 68956 w 817969"/>
                    <a:gd name="connsiteY5" fmla="*/ 866857 h 1046717"/>
                    <a:gd name="connsiteX6" fmla="*/ 720465 w 817969"/>
                    <a:gd name="connsiteY6" fmla="*/ 892765 h 1046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7969" h="1046717">
                      <a:moveTo>
                        <a:pt x="720465" y="892765"/>
                      </a:moveTo>
                      <a:cubicBezTo>
                        <a:pt x="720465" y="892765"/>
                        <a:pt x="964972" y="672262"/>
                        <a:pt x="679603" y="349364"/>
                      </a:cubicBezTo>
                      <a:cubicBezTo>
                        <a:pt x="593307" y="251733"/>
                        <a:pt x="546444" y="-21254"/>
                        <a:pt x="351467" y="1321"/>
                      </a:cubicBezTo>
                      <a:cubicBezTo>
                        <a:pt x="299555" y="8560"/>
                        <a:pt x="250502" y="23038"/>
                        <a:pt x="212974" y="66472"/>
                      </a:cubicBezTo>
                      <a:cubicBezTo>
                        <a:pt x="212974" y="66472"/>
                        <a:pt x="81243" y="74568"/>
                        <a:pt x="25522" y="310312"/>
                      </a:cubicBezTo>
                      <a:cubicBezTo>
                        <a:pt x="-22008" y="511480"/>
                        <a:pt x="-672" y="769036"/>
                        <a:pt x="68956" y="866857"/>
                      </a:cubicBezTo>
                      <a:cubicBezTo>
                        <a:pt x="228975" y="1099363"/>
                        <a:pt x="446907" y="1104792"/>
                        <a:pt x="720465" y="89276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5" name="Freihandform: Form 114">
                  <a:extLst>
                    <a:ext uri="{FF2B5EF4-FFF2-40B4-BE49-F238E27FC236}">
                      <a16:creationId xmlns:a16="http://schemas.microsoft.com/office/drawing/2014/main" id="{D21DEB1A-B612-686E-3459-80BBDCF48640}"/>
                    </a:ext>
                  </a:extLst>
                </p:cNvPr>
                <p:cNvSpPr/>
                <p:nvPr/>
              </p:nvSpPr>
              <p:spPr>
                <a:xfrm>
                  <a:off x="9143174" y="7890573"/>
                  <a:ext cx="298227" cy="463654"/>
                </a:xfrm>
                <a:custGeom>
                  <a:avLst/>
                  <a:gdLst>
                    <a:gd name="connsiteX0" fmla="*/ 0 w 298227"/>
                    <a:gd name="connsiteY0" fmla="*/ 385001 h 463654"/>
                    <a:gd name="connsiteX1" fmla="*/ 298228 w 298227"/>
                    <a:gd name="connsiteY1" fmla="*/ 385001 h 463654"/>
                    <a:gd name="connsiteX2" fmla="*/ 298228 w 298227"/>
                    <a:gd name="connsiteY2" fmla="*/ 0 h 463654"/>
                    <a:gd name="connsiteX3" fmla="*/ 0 w 298227"/>
                    <a:gd name="connsiteY3" fmla="*/ 0 h 463654"/>
                    <a:gd name="connsiteX4" fmla="*/ 0 w 298227"/>
                    <a:gd name="connsiteY4" fmla="*/ 385001 h 4636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8227" h="463654">
                      <a:moveTo>
                        <a:pt x="0" y="385001"/>
                      </a:moveTo>
                      <a:cubicBezTo>
                        <a:pt x="51816" y="489109"/>
                        <a:pt x="237172" y="490633"/>
                        <a:pt x="298228" y="385001"/>
                      </a:cubicBezTo>
                      <a:lnTo>
                        <a:pt x="298228" y="0"/>
                      </a:lnTo>
                      <a:lnTo>
                        <a:pt x="0" y="0"/>
                      </a:lnTo>
                      <a:cubicBezTo>
                        <a:pt x="0" y="0"/>
                        <a:pt x="0" y="385001"/>
                        <a:pt x="0" y="385001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6" name="Freihandform: Form 115">
                  <a:extLst>
                    <a:ext uri="{FF2B5EF4-FFF2-40B4-BE49-F238E27FC236}">
                      <a16:creationId xmlns:a16="http://schemas.microsoft.com/office/drawing/2014/main" id="{23DDFB16-2B81-0311-E5FF-DA5841195B9C}"/>
                    </a:ext>
                  </a:extLst>
                </p:cNvPr>
                <p:cNvSpPr/>
                <p:nvPr/>
              </p:nvSpPr>
              <p:spPr>
                <a:xfrm>
                  <a:off x="9054877" y="7945437"/>
                  <a:ext cx="361378" cy="476350"/>
                </a:xfrm>
                <a:custGeom>
                  <a:avLst/>
                  <a:gdLst>
                    <a:gd name="connsiteX0" fmla="*/ 361379 w 361378"/>
                    <a:gd name="connsiteY0" fmla="*/ 0 h 476350"/>
                    <a:gd name="connsiteX1" fmla="*/ 347186 w 361378"/>
                    <a:gd name="connsiteY1" fmla="*/ 72295 h 476350"/>
                    <a:gd name="connsiteX2" fmla="*/ 224790 w 361378"/>
                    <a:gd name="connsiteY2" fmla="*/ 204121 h 476350"/>
                    <a:gd name="connsiteX3" fmla="*/ 143542 w 361378"/>
                    <a:gd name="connsiteY3" fmla="*/ 260890 h 476350"/>
                    <a:gd name="connsiteX4" fmla="*/ 220313 w 361378"/>
                    <a:gd name="connsiteY4" fmla="*/ 473012 h 476350"/>
                    <a:gd name="connsiteX5" fmla="*/ 0 w 361378"/>
                    <a:gd name="connsiteY5" fmla="*/ 278987 h 476350"/>
                    <a:gd name="connsiteX6" fmla="*/ 88106 w 361378"/>
                    <a:gd name="connsiteY6" fmla="*/ 244888 h 476350"/>
                    <a:gd name="connsiteX7" fmla="*/ 88106 w 361378"/>
                    <a:gd name="connsiteY7" fmla="*/ 0 h 476350"/>
                    <a:gd name="connsiteX8" fmla="*/ 361379 w 361378"/>
                    <a:gd name="connsiteY8" fmla="*/ 0 h 476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61378" h="476350">
                      <a:moveTo>
                        <a:pt x="361379" y="0"/>
                      </a:moveTo>
                      <a:lnTo>
                        <a:pt x="347186" y="72295"/>
                      </a:lnTo>
                      <a:cubicBezTo>
                        <a:pt x="347186" y="72295"/>
                        <a:pt x="321945" y="199168"/>
                        <a:pt x="224790" y="204121"/>
                      </a:cubicBezTo>
                      <a:cubicBezTo>
                        <a:pt x="166688" y="207073"/>
                        <a:pt x="143827" y="229362"/>
                        <a:pt x="143542" y="260890"/>
                      </a:cubicBezTo>
                      <a:cubicBezTo>
                        <a:pt x="142590" y="384810"/>
                        <a:pt x="240030" y="440627"/>
                        <a:pt x="220313" y="473012"/>
                      </a:cubicBezTo>
                      <a:cubicBezTo>
                        <a:pt x="147733" y="501110"/>
                        <a:pt x="34100" y="344519"/>
                        <a:pt x="0" y="278987"/>
                      </a:cubicBezTo>
                      <a:lnTo>
                        <a:pt x="88106" y="244888"/>
                      </a:lnTo>
                      <a:lnTo>
                        <a:pt x="88106" y="0"/>
                      </a:lnTo>
                      <a:lnTo>
                        <a:pt x="361379" y="0"/>
                      </a:lnTo>
                      <a:close/>
                    </a:path>
                  </a:pathLst>
                </a:custGeom>
                <a:solidFill>
                  <a:srgbClr val="4B2E1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7" name="Freihandform: Form 116">
                  <a:extLst>
                    <a:ext uri="{FF2B5EF4-FFF2-40B4-BE49-F238E27FC236}">
                      <a16:creationId xmlns:a16="http://schemas.microsoft.com/office/drawing/2014/main" id="{E6A5F262-92EC-48FB-FBFF-7E3B5BB59752}"/>
                    </a:ext>
                  </a:extLst>
                </p:cNvPr>
                <p:cNvSpPr/>
                <p:nvPr/>
              </p:nvSpPr>
              <p:spPr>
                <a:xfrm>
                  <a:off x="9092333" y="7562696"/>
                  <a:ext cx="400153" cy="557524"/>
                </a:xfrm>
                <a:custGeom>
                  <a:avLst/>
                  <a:gdLst>
                    <a:gd name="connsiteX0" fmla="*/ 398979 w 400153"/>
                    <a:gd name="connsiteY0" fmla="*/ 188336 h 557524"/>
                    <a:gd name="connsiteX1" fmla="*/ 346687 w 400153"/>
                    <a:gd name="connsiteY1" fmla="*/ 49080 h 557524"/>
                    <a:gd name="connsiteX2" fmla="*/ 200097 w 400153"/>
                    <a:gd name="connsiteY2" fmla="*/ 26 h 557524"/>
                    <a:gd name="connsiteX3" fmla="*/ 53507 w 400153"/>
                    <a:gd name="connsiteY3" fmla="*/ 49080 h 557524"/>
                    <a:gd name="connsiteX4" fmla="*/ 1215 w 400153"/>
                    <a:gd name="connsiteY4" fmla="*/ 188336 h 557524"/>
                    <a:gd name="connsiteX5" fmla="*/ 2073 w 400153"/>
                    <a:gd name="connsiteY5" fmla="*/ 321400 h 557524"/>
                    <a:gd name="connsiteX6" fmla="*/ 61604 w 400153"/>
                    <a:gd name="connsiteY6" fmla="*/ 469704 h 557524"/>
                    <a:gd name="connsiteX7" fmla="*/ 200097 w 400153"/>
                    <a:gd name="connsiteY7" fmla="*/ 557525 h 557524"/>
                    <a:gd name="connsiteX8" fmla="*/ 338591 w 400153"/>
                    <a:gd name="connsiteY8" fmla="*/ 469704 h 557524"/>
                    <a:gd name="connsiteX9" fmla="*/ 398122 w 400153"/>
                    <a:gd name="connsiteY9" fmla="*/ 321400 h 557524"/>
                    <a:gd name="connsiteX10" fmla="*/ 398979 w 400153"/>
                    <a:gd name="connsiteY10" fmla="*/ 188336 h 5575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00153" h="557524">
                      <a:moveTo>
                        <a:pt x="398979" y="188336"/>
                      </a:moveTo>
                      <a:cubicBezTo>
                        <a:pt x="398979" y="188336"/>
                        <a:pt x="394217" y="105278"/>
                        <a:pt x="346687" y="49080"/>
                      </a:cubicBezTo>
                      <a:cubicBezTo>
                        <a:pt x="307540" y="2789"/>
                        <a:pt x="227148" y="-355"/>
                        <a:pt x="200097" y="26"/>
                      </a:cubicBezTo>
                      <a:cubicBezTo>
                        <a:pt x="173046" y="-355"/>
                        <a:pt x="92655" y="2789"/>
                        <a:pt x="53507" y="49080"/>
                      </a:cubicBezTo>
                      <a:cubicBezTo>
                        <a:pt x="5978" y="105278"/>
                        <a:pt x="1215" y="188336"/>
                        <a:pt x="1215" y="188336"/>
                      </a:cubicBezTo>
                      <a:cubicBezTo>
                        <a:pt x="1215" y="188336"/>
                        <a:pt x="-2023" y="284252"/>
                        <a:pt x="2073" y="321400"/>
                      </a:cubicBezTo>
                      <a:cubicBezTo>
                        <a:pt x="6073" y="358452"/>
                        <a:pt x="1882" y="409316"/>
                        <a:pt x="61604" y="469704"/>
                      </a:cubicBezTo>
                      <a:cubicBezTo>
                        <a:pt x="119802" y="528664"/>
                        <a:pt x="159711" y="556191"/>
                        <a:pt x="200097" y="557525"/>
                      </a:cubicBezTo>
                      <a:cubicBezTo>
                        <a:pt x="240483" y="556191"/>
                        <a:pt x="280393" y="528664"/>
                        <a:pt x="338591" y="469704"/>
                      </a:cubicBezTo>
                      <a:cubicBezTo>
                        <a:pt x="398217" y="409316"/>
                        <a:pt x="394026" y="358452"/>
                        <a:pt x="398122" y="321400"/>
                      </a:cubicBezTo>
                      <a:cubicBezTo>
                        <a:pt x="402123" y="284348"/>
                        <a:pt x="398979" y="188336"/>
                        <a:pt x="398979" y="18833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8" name="Freihandform: Form 117">
                  <a:extLst>
                    <a:ext uri="{FF2B5EF4-FFF2-40B4-BE49-F238E27FC236}">
                      <a16:creationId xmlns:a16="http://schemas.microsoft.com/office/drawing/2014/main" id="{91B26D5F-758C-13F5-4A17-EBFD1112D69A}"/>
                    </a:ext>
                  </a:extLst>
                </p:cNvPr>
                <p:cNvSpPr/>
                <p:nvPr/>
              </p:nvSpPr>
              <p:spPr>
                <a:xfrm rot="18018600">
                  <a:off x="9397508" y="7761554"/>
                  <a:ext cx="196214" cy="136778"/>
                </a:xfrm>
                <a:custGeom>
                  <a:avLst/>
                  <a:gdLst>
                    <a:gd name="connsiteX0" fmla="*/ 196215 w 196214"/>
                    <a:gd name="connsiteY0" fmla="*/ 68389 h 136778"/>
                    <a:gd name="connsiteX1" fmla="*/ 98107 w 196214"/>
                    <a:gd name="connsiteY1" fmla="*/ 136779 h 136778"/>
                    <a:gd name="connsiteX2" fmla="*/ 0 w 196214"/>
                    <a:gd name="connsiteY2" fmla="*/ 68389 h 136778"/>
                    <a:gd name="connsiteX3" fmla="*/ 98107 w 196214"/>
                    <a:gd name="connsiteY3" fmla="*/ 0 h 136778"/>
                    <a:gd name="connsiteX4" fmla="*/ 196215 w 196214"/>
                    <a:gd name="connsiteY4" fmla="*/ 68389 h 136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6214" h="136778">
                      <a:moveTo>
                        <a:pt x="196215" y="68389"/>
                      </a:moveTo>
                      <a:cubicBezTo>
                        <a:pt x="196215" y="106160"/>
                        <a:pt x="152291" y="136779"/>
                        <a:pt x="98107" y="136779"/>
                      </a:cubicBezTo>
                      <a:cubicBezTo>
                        <a:pt x="43924" y="136779"/>
                        <a:pt x="0" y="106160"/>
                        <a:pt x="0" y="68389"/>
                      </a:cubicBezTo>
                      <a:cubicBezTo>
                        <a:pt x="0" y="30619"/>
                        <a:pt x="43924" y="0"/>
                        <a:pt x="98107" y="0"/>
                      </a:cubicBezTo>
                      <a:cubicBezTo>
                        <a:pt x="152291" y="0"/>
                        <a:pt x="196215" y="30619"/>
                        <a:pt x="196215" y="68389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9" name="Freihandform: Form 118">
                  <a:extLst>
                    <a:ext uri="{FF2B5EF4-FFF2-40B4-BE49-F238E27FC236}">
                      <a16:creationId xmlns:a16="http://schemas.microsoft.com/office/drawing/2014/main" id="{13428BB7-5E8E-B0A7-C6E4-9F420DA2BFC4}"/>
                    </a:ext>
                  </a:extLst>
                </p:cNvPr>
                <p:cNvSpPr/>
                <p:nvPr/>
              </p:nvSpPr>
              <p:spPr>
                <a:xfrm rot="20184000">
                  <a:off x="9013384" y="7733298"/>
                  <a:ext cx="138112" cy="194310"/>
                </a:xfrm>
                <a:custGeom>
                  <a:avLst/>
                  <a:gdLst>
                    <a:gd name="connsiteX0" fmla="*/ 138113 w 138112"/>
                    <a:gd name="connsiteY0" fmla="*/ 97155 h 194310"/>
                    <a:gd name="connsiteX1" fmla="*/ 69056 w 138112"/>
                    <a:gd name="connsiteY1" fmla="*/ 194310 h 194310"/>
                    <a:gd name="connsiteX2" fmla="*/ 0 w 138112"/>
                    <a:gd name="connsiteY2" fmla="*/ 97155 h 194310"/>
                    <a:gd name="connsiteX3" fmla="*/ 69056 w 138112"/>
                    <a:gd name="connsiteY3" fmla="*/ 0 h 194310"/>
                    <a:gd name="connsiteX4" fmla="*/ 138113 w 138112"/>
                    <a:gd name="connsiteY4" fmla="*/ 97155 h 1943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8112" h="194310">
                      <a:moveTo>
                        <a:pt x="138113" y="97155"/>
                      </a:moveTo>
                      <a:cubicBezTo>
                        <a:pt x="138113" y="150812"/>
                        <a:pt x="107195" y="194310"/>
                        <a:pt x="69056" y="194310"/>
                      </a:cubicBezTo>
                      <a:cubicBezTo>
                        <a:pt x="30917" y="194310"/>
                        <a:pt x="0" y="150812"/>
                        <a:pt x="0" y="97155"/>
                      </a:cubicBezTo>
                      <a:cubicBezTo>
                        <a:pt x="0" y="43498"/>
                        <a:pt x="30917" y="0"/>
                        <a:pt x="69056" y="0"/>
                      </a:cubicBezTo>
                      <a:cubicBezTo>
                        <a:pt x="107195" y="0"/>
                        <a:pt x="138113" y="43498"/>
                        <a:pt x="138113" y="97155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0" name="Freihandform: Form 119">
                  <a:extLst>
                    <a:ext uri="{FF2B5EF4-FFF2-40B4-BE49-F238E27FC236}">
                      <a16:creationId xmlns:a16="http://schemas.microsoft.com/office/drawing/2014/main" id="{86E09787-667C-C4AE-0CE2-D1CF0CB94BBF}"/>
                    </a:ext>
                  </a:extLst>
                </p:cNvPr>
                <p:cNvSpPr/>
                <p:nvPr/>
              </p:nvSpPr>
              <p:spPr>
                <a:xfrm>
                  <a:off x="9023349" y="7397083"/>
                  <a:ext cx="538162" cy="562546"/>
                </a:xfrm>
                <a:custGeom>
                  <a:avLst/>
                  <a:gdLst>
                    <a:gd name="connsiteX0" fmla="*/ 538163 w 538162"/>
                    <a:gd name="connsiteY0" fmla="*/ 281273 h 562546"/>
                    <a:gd name="connsiteX1" fmla="*/ 269081 w 538162"/>
                    <a:gd name="connsiteY1" fmla="*/ 562547 h 562546"/>
                    <a:gd name="connsiteX2" fmla="*/ 0 w 538162"/>
                    <a:gd name="connsiteY2" fmla="*/ 281273 h 562546"/>
                    <a:gd name="connsiteX3" fmla="*/ 269081 w 538162"/>
                    <a:gd name="connsiteY3" fmla="*/ 0 h 562546"/>
                    <a:gd name="connsiteX4" fmla="*/ 538163 w 538162"/>
                    <a:gd name="connsiteY4" fmla="*/ 281273 h 562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8162" h="562546">
                      <a:moveTo>
                        <a:pt x="538163" y="281273"/>
                      </a:moveTo>
                      <a:cubicBezTo>
                        <a:pt x="538163" y="436616"/>
                        <a:pt x="417691" y="562547"/>
                        <a:pt x="269081" y="562547"/>
                      </a:cubicBezTo>
                      <a:cubicBezTo>
                        <a:pt x="120472" y="562547"/>
                        <a:pt x="0" y="436616"/>
                        <a:pt x="0" y="281273"/>
                      </a:cubicBezTo>
                      <a:cubicBezTo>
                        <a:pt x="0" y="125930"/>
                        <a:pt x="120472" y="0"/>
                        <a:pt x="269081" y="0"/>
                      </a:cubicBezTo>
                      <a:cubicBezTo>
                        <a:pt x="417691" y="0"/>
                        <a:pt x="538163" y="125930"/>
                        <a:pt x="538163" y="281273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1" name="Freihandform: Form 120">
                  <a:extLst>
                    <a:ext uri="{FF2B5EF4-FFF2-40B4-BE49-F238E27FC236}">
                      <a16:creationId xmlns:a16="http://schemas.microsoft.com/office/drawing/2014/main" id="{756205D1-73F1-86DC-6062-86338FFC72ED}"/>
                    </a:ext>
                  </a:extLst>
                </p:cNvPr>
                <p:cNvSpPr/>
                <p:nvPr/>
              </p:nvSpPr>
              <p:spPr>
                <a:xfrm>
                  <a:off x="9011639" y="7401845"/>
                  <a:ext cx="530631" cy="404621"/>
                </a:xfrm>
                <a:custGeom>
                  <a:avLst/>
                  <a:gdLst>
                    <a:gd name="connsiteX0" fmla="*/ 267647 w 530631"/>
                    <a:gd name="connsiteY0" fmla="*/ 127540 h 404621"/>
                    <a:gd name="connsiteX1" fmla="*/ 491770 w 530631"/>
                    <a:gd name="connsiteY1" fmla="*/ 404622 h 404621"/>
                    <a:gd name="connsiteX2" fmla="*/ 530632 w 530631"/>
                    <a:gd name="connsiteY2" fmla="*/ 281273 h 404621"/>
                    <a:gd name="connsiteX3" fmla="*/ 266408 w 530631"/>
                    <a:gd name="connsiteY3" fmla="*/ 0 h 404621"/>
                    <a:gd name="connsiteX4" fmla="*/ 87814 w 530631"/>
                    <a:gd name="connsiteY4" fmla="*/ 74009 h 404621"/>
                    <a:gd name="connsiteX5" fmla="*/ 54382 w 530631"/>
                    <a:gd name="connsiteY5" fmla="*/ 389858 h 404621"/>
                    <a:gd name="connsiteX6" fmla="*/ 267647 w 530631"/>
                    <a:gd name="connsiteY6" fmla="*/ 127540 h 4046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0631" h="404621">
                      <a:moveTo>
                        <a:pt x="267647" y="127540"/>
                      </a:moveTo>
                      <a:cubicBezTo>
                        <a:pt x="459099" y="139637"/>
                        <a:pt x="435572" y="297085"/>
                        <a:pt x="491770" y="404622"/>
                      </a:cubicBezTo>
                      <a:cubicBezTo>
                        <a:pt x="502343" y="374142"/>
                        <a:pt x="530632" y="315659"/>
                        <a:pt x="530632" y="281273"/>
                      </a:cubicBezTo>
                      <a:cubicBezTo>
                        <a:pt x="530632" y="125920"/>
                        <a:pt x="412331" y="0"/>
                        <a:pt x="266408" y="0"/>
                      </a:cubicBezTo>
                      <a:cubicBezTo>
                        <a:pt x="197543" y="0"/>
                        <a:pt x="134773" y="28004"/>
                        <a:pt x="87814" y="74009"/>
                      </a:cubicBezTo>
                      <a:cubicBezTo>
                        <a:pt x="17520" y="108204"/>
                        <a:pt x="-51250" y="297085"/>
                        <a:pt x="54382" y="389858"/>
                      </a:cubicBezTo>
                      <a:cubicBezTo>
                        <a:pt x="94958" y="311753"/>
                        <a:pt x="95244" y="116681"/>
                        <a:pt x="267647" y="12754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2" name="Freihandform: Form 121">
                  <a:extLst>
                    <a:ext uri="{FF2B5EF4-FFF2-40B4-BE49-F238E27FC236}">
                      <a16:creationId xmlns:a16="http://schemas.microsoft.com/office/drawing/2014/main" id="{9090493D-3C68-EA4D-35B5-667E293ADB14}"/>
                    </a:ext>
                  </a:extLst>
                </p:cNvPr>
                <p:cNvSpPr/>
                <p:nvPr/>
              </p:nvSpPr>
              <p:spPr>
                <a:xfrm>
                  <a:off x="9240995" y="7883810"/>
                  <a:ext cx="78793" cy="32099"/>
                </a:xfrm>
                <a:custGeom>
                  <a:avLst/>
                  <a:gdLst>
                    <a:gd name="connsiteX0" fmla="*/ 1143 w 78793"/>
                    <a:gd name="connsiteY0" fmla="*/ 0 h 32099"/>
                    <a:gd name="connsiteX1" fmla="*/ 35814 w 78793"/>
                    <a:gd name="connsiteY1" fmla="*/ 10573 h 32099"/>
                    <a:gd name="connsiteX2" fmla="*/ 77820 w 78793"/>
                    <a:gd name="connsiteY2" fmla="*/ 0 h 32099"/>
                    <a:gd name="connsiteX3" fmla="*/ 77820 w 78793"/>
                    <a:gd name="connsiteY3" fmla="*/ 9239 h 32099"/>
                    <a:gd name="connsiteX4" fmla="*/ 37148 w 78793"/>
                    <a:gd name="connsiteY4" fmla="*/ 32099 h 32099"/>
                    <a:gd name="connsiteX5" fmla="*/ 1143 w 78793"/>
                    <a:gd name="connsiteY5" fmla="*/ 10192 h 32099"/>
                    <a:gd name="connsiteX6" fmla="*/ 1143 w 78793"/>
                    <a:gd name="connsiteY6" fmla="*/ 95 h 32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8793" h="32099">
                      <a:moveTo>
                        <a:pt x="1143" y="0"/>
                      </a:moveTo>
                      <a:cubicBezTo>
                        <a:pt x="1143" y="0"/>
                        <a:pt x="11049" y="10573"/>
                        <a:pt x="35814" y="10573"/>
                      </a:cubicBezTo>
                      <a:cubicBezTo>
                        <a:pt x="67152" y="10573"/>
                        <a:pt x="77820" y="0"/>
                        <a:pt x="77820" y="0"/>
                      </a:cubicBezTo>
                      <a:cubicBezTo>
                        <a:pt x="77820" y="0"/>
                        <a:pt x="80010" y="3143"/>
                        <a:pt x="77820" y="9239"/>
                      </a:cubicBezTo>
                      <a:cubicBezTo>
                        <a:pt x="76295" y="13525"/>
                        <a:pt x="62675" y="32099"/>
                        <a:pt x="37148" y="32099"/>
                      </a:cubicBezTo>
                      <a:cubicBezTo>
                        <a:pt x="17240" y="32099"/>
                        <a:pt x="3715" y="16383"/>
                        <a:pt x="1143" y="10192"/>
                      </a:cubicBezTo>
                      <a:cubicBezTo>
                        <a:pt x="-1429" y="4000"/>
                        <a:pt x="1143" y="95"/>
                        <a:pt x="1143" y="95"/>
                      </a:cubicBezTo>
                      <a:close/>
                    </a:path>
                  </a:pathLst>
                </a:custGeom>
                <a:solidFill>
                  <a:srgbClr val="4B2E1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3" name="Freihandform: Form 122">
                  <a:extLst>
                    <a:ext uri="{FF2B5EF4-FFF2-40B4-BE49-F238E27FC236}">
                      <a16:creationId xmlns:a16="http://schemas.microsoft.com/office/drawing/2014/main" id="{49C62122-9D11-E523-71B2-7013062F6D39}"/>
                    </a:ext>
                  </a:extLst>
                </p:cNvPr>
                <p:cNvSpPr/>
                <p:nvPr/>
              </p:nvSpPr>
              <p:spPr>
                <a:xfrm>
                  <a:off x="9312056" y="7699025"/>
                  <a:ext cx="140203" cy="47053"/>
                </a:xfrm>
                <a:custGeom>
                  <a:avLst/>
                  <a:gdLst>
                    <a:gd name="connsiteX0" fmla="*/ 109438 w 140203"/>
                    <a:gd name="connsiteY0" fmla="*/ 17716 h 47053"/>
                    <a:gd name="connsiteX1" fmla="*/ 55812 w 140203"/>
                    <a:gd name="connsiteY1" fmla="*/ 762 h 47053"/>
                    <a:gd name="connsiteX2" fmla="*/ 55812 w 140203"/>
                    <a:gd name="connsiteY2" fmla="*/ 762 h 47053"/>
                    <a:gd name="connsiteX3" fmla="*/ 7711 w 140203"/>
                    <a:gd name="connsiteY3" fmla="*/ 6191 h 47053"/>
                    <a:gd name="connsiteX4" fmla="*/ 4282 w 140203"/>
                    <a:gd name="connsiteY4" fmla="*/ 8858 h 47053"/>
                    <a:gd name="connsiteX5" fmla="*/ 13902 w 140203"/>
                    <a:gd name="connsiteY5" fmla="*/ 33242 h 47053"/>
                    <a:gd name="connsiteX6" fmla="*/ 41239 w 140203"/>
                    <a:gd name="connsiteY6" fmla="*/ 30766 h 47053"/>
                    <a:gd name="connsiteX7" fmla="*/ 105533 w 140203"/>
                    <a:gd name="connsiteY7" fmla="*/ 34480 h 47053"/>
                    <a:gd name="connsiteX8" fmla="*/ 140204 w 140203"/>
                    <a:gd name="connsiteY8" fmla="*/ 47053 h 47053"/>
                    <a:gd name="connsiteX9" fmla="*/ 109438 w 140203"/>
                    <a:gd name="connsiteY9" fmla="*/ 17716 h 4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0203" h="47053">
                      <a:moveTo>
                        <a:pt x="109438" y="17716"/>
                      </a:moveTo>
                      <a:cubicBezTo>
                        <a:pt x="90864" y="5905"/>
                        <a:pt x="70671" y="1429"/>
                        <a:pt x="55812" y="762"/>
                      </a:cubicBezTo>
                      <a:lnTo>
                        <a:pt x="55812" y="762"/>
                      </a:lnTo>
                      <a:cubicBezTo>
                        <a:pt x="30285" y="-1810"/>
                        <a:pt x="13236" y="2667"/>
                        <a:pt x="7711" y="6191"/>
                      </a:cubicBezTo>
                      <a:cubicBezTo>
                        <a:pt x="6377" y="7048"/>
                        <a:pt x="5234" y="7906"/>
                        <a:pt x="4282" y="8858"/>
                      </a:cubicBezTo>
                      <a:cubicBezTo>
                        <a:pt x="-4862" y="17526"/>
                        <a:pt x="1710" y="33623"/>
                        <a:pt x="13902" y="33242"/>
                      </a:cubicBezTo>
                      <a:cubicBezTo>
                        <a:pt x="19522" y="33147"/>
                        <a:pt x="33333" y="31528"/>
                        <a:pt x="41239" y="30766"/>
                      </a:cubicBezTo>
                      <a:cubicBezTo>
                        <a:pt x="55050" y="29337"/>
                        <a:pt x="94293" y="31432"/>
                        <a:pt x="105533" y="34480"/>
                      </a:cubicBezTo>
                      <a:cubicBezTo>
                        <a:pt x="127536" y="40481"/>
                        <a:pt x="140204" y="47053"/>
                        <a:pt x="140204" y="47053"/>
                      </a:cubicBezTo>
                      <a:cubicBezTo>
                        <a:pt x="140204" y="47053"/>
                        <a:pt x="134203" y="33528"/>
                        <a:pt x="109438" y="1771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4" name="Freihandform: Form 123">
                  <a:extLst>
                    <a:ext uri="{FF2B5EF4-FFF2-40B4-BE49-F238E27FC236}">
                      <a16:creationId xmlns:a16="http://schemas.microsoft.com/office/drawing/2014/main" id="{69631DEF-C31A-2B50-2720-80AF17A1E993}"/>
                    </a:ext>
                  </a:extLst>
                </p:cNvPr>
                <p:cNvSpPr/>
                <p:nvPr/>
              </p:nvSpPr>
              <p:spPr>
                <a:xfrm rot="16434000">
                  <a:off x="9156216" y="7772737"/>
                  <a:ext cx="40385" cy="37909"/>
                </a:xfrm>
                <a:custGeom>
                  <a:avLst/>
                  <a:gdLst>
                    <a:gd name="connsiteX0" fmla="*/ 40386 w 40385"/>
                    <a:gd name="connsiteY0" fmla="*/ 18955 h 37909"/>
                    <a:gd name="connsiteX1" fmla="*/ 20193 w 40385"/>
                    <a:gd name="connsiteY1" fmla="*/ 37910 h 37909"/>
                    <a:gd name="connsiteX2" fmla="*/ 0 w 40385"/>
                    <a:gd name="connsiteY2" fmla="*/ 18955 h 37909"/>
                    <a:gd name="connsiteX3" fmla="*/ 20193 w 40385"/>
                    <a:gd name="connsiteY3" fmla="*/ 0 h 37909"/>
                    <a:gd name="connsiteX4" fmla="*/ 40386 w 40385"/>
                    <a:gd name="connsiteY4" fmla="*/ 18955 h 37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385" h="37909">
                      <a:moveTo>
                        <a:pt x="40386" y="18955"/>
                      </a:moveTo>
                      <a:cubicBezTo>
                        <a:pt x="40386" y="29423"/>
                        <a:pt x="31345" y="37910"/>
                        <a:pt x="20193" y="37910"/>
                      </a:cubicBezTo>
                      <a:cubicBezTo>
                        <a:pt x="9041" y="37910"/>
                        <a:pt x="0" y="29423"/>
                        <a:pt x="0" y="18955"/>
                      </a:cubicBezTo>
                      <a:cubicBezTo>
                        <a:pt x="0" y="8486"/>
                        <a:pt x="9041" y="0"/>
                        <a:pt x="20193" y="0"/>
                      </a:cubicBezTo>
                      <a:cubicBezTo>
                        <a:pt x="31345" y="0"/>
                        <a:pt x="40386" y="8486"/>
                        <a:pt x="40386" y="18955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5" name="Freihandform: Form 124">
                  <a:extLst>
                    <a:ext uri="{FF2B5EF4-FFF2-40B4-BE49-F238E27FC236}">
                      <a16:creationId xmlns:a16="http://schemas.microsoft.com/office/drawing/2014/main" id="{EBE8FCDB-262D-14AC-1E63-1E90EE200942}"/>
                    </a:ext>
                  </a:extLst>
                </p:cNvPr>
                <p:cNvSpPr/>
                <p:nvPr/>
              </p:nvSpPr>
              <p:spPr>
                <a:xfrm>
                  <a:off x="9106502" y="7700645"/>
                  <a:ext cx="140013" cy="47053"/>
                </a:xfrm>
                <a:custGeom>
                  <a:avLst/>
                  <a:gdLst>
                    <a:gd name="connsiteX0" fmla="*/ 30766 w 140013"/>
                    <a:gd name="connsiteY0" fmla="*/ 17716 h 47053"/>
                    <a:gd name="connsiteX1" fmla="*/ 84297 w 140013"/>
                    <a:gd name="connsiteY1" fmla="*/ 762 h 47053"/>
                    <a:gd name="connsiteX2" fmla="*/ 84297 w 140013"/>
                    <a:gd name="connsiteY2" fmla="*/ 762 h 47053"/>
                    <a:gd name="connsiteX3" fmla="*/ 132302 w 140013"/>
                    <a:gd name="connsiteY3" fmla="*/ 6191 h 47053"/>
                    <a:gd name="connsiteX4" fmla="*/ 135731 w 140013"/>
                    <a:gd name="connsiteY4" fmla="*/ 8858 h 47053"/>
                    <a:gd name="connsiteX5" fmla="*/ 126111 w 140013"/>
                    <a:gd name="connsiteY5" fmla="*/ 33242 h 47053"/>
                    <a:gd name="connsiteX6" fmla="*/ 98774 w 140013"/>
                    <a:gd name="connsiteY6" fmla="*/ 30766 h 47053"/>
                    <a:gd name="connsiteX7" fmla="*/ 34576 w 140013"/>
                    <a:gd name="connsiteY7" fmla="*/ 34480 h 47053"/>
                    <a:gd name="connsiteX8" fmla="*/ 0 w 140013"/>
                    <a:gd name="connsiteY8" fmla="*/ 47053 h 47053"/>
                    <a:gd name="connsiteX9" fmla="*/ 30766 w 140013"/>
                    <a:gd name="connsiteY9" fmla="*/ 17716 h 4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0013" h="47053">
                      <a:moveTo>
                        <a:pt x="30766" y="17716"/>
                      </a:moveTo>
                      <a:cubicBezTo>
                        <a:pt x="49339" y="5905"/>
                        <a:pt x="69438" y="1429"/>
                        <a:pt x="84297" y="762"/>
                      </a:cubicBezTo>
                      <a:lnTo>
                        <a:pt x="84297" y="762"/>
                      </a:lnTo>
                      <a:cubicBezTo>
                        <a:pt x="109824" y="-1810"/>
                        <a:pt x="126778" y="2667"/>
                        <a:pt x="132302" y="6191"/>
                      </a:cubicBezTo>
                      <a:cubicBezTo>
                        <a:pt x="133636" y="7048"/>
                        <a:pt x="134684" y="7906"/>
                        <a:pt x="135731" y="8858"/>
                      </a:cubicBezTo>
                      <a:cubicBezTo>
                        <a:pt x="144875" y="17526"/>
                        <a:pt x="138303" y="33623"/>
                        <a:pt x="126111" y="33242"/>
                      </a:cubicBezTo>
                      <a:cubicBezTo>
                        <a:pt x="120491" y="33147"/>
                        <a:pt x="106680" y="31528"/>
                        <a:pt x="98774" y="30766"/>
                      </a:cubicBezTo>
                      <a:cubicBezTo>
                        <a:pt x="84963" y="29337"/>
                        <a:pt x="45815" y="31432"/>
                        <a:pt x="34576" y="34480"/>
                      </a:cubicBezTo>
                      <a:cubicBezTo>
                        <a:pt x="12573" y="40481"/>
                        <a:pt x="0" y="47053"/>
                        <a:pt x="0" y="47053"/>
                      </a:cubicBezTo>
                      <a:cubicBezTo>
                        <a:pt x="0" y="47053"/>
                        <a:pt x="6001" y="33528"/>
                        <a:pt x="30766" y="1771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6" name="Freihandform: Form 125">
                  <a:extLst>
                    <a:ext uri="{FF2B5EF4-FFF2-40B4-BE49-F238E27FC236}">
                      <a16:creationId xmlns:a16="http://schemas.microsoft.com/office/drawing/2014/main" id="{19DC9FEE-20FB-D943-234A-744DBB1ACDEE}"/>
                    </a:ext>
                  </a:extLst>
                </p:cNvPr>
                <p:cNvSpPr/>
                <p:nvPr/>
              </p:nvSpPr>
              <p:spPr>
                <a:xfrm>
                  <a:off x="9123564" y="7762192"/>
                  <a:ext cx="103635" cy="27457"/>
                </a:xfrm>
                <a:custGeom>
                  <a:avLst/>
                  <a:gdLst>
                    <a:gd name="connsiteX0" fmla="*/ 3227 w 103635"/>
                    <a:gd name="connsiteY0" fmla="*/ 17795 h 27457"/>
                    <a:gd name="connsiteX1" fmla="*/ 46185 w 103635"/>
                    <a:gd name="connsiteY1" fmla="*/ 174 h 27457"/>
                    <a:gd name="connsiteX2" fmla="*/ 101239 w 103635"/>
                    <a:gd name="connsiteY2" fmla="*/ 17509 h 27457"/>
                    <a:gd name="connsiteX3" fmla="*/ 97905 w 103635"/>
                    <a:gd name="connsiteY3" fmla="*/ 26939 h 27457"/>
                    <a:gd name="connsiteX4" fmla="*/ 54281 w 103635"/>
                    <a:gd name="connsiteY4" fmla="*/ 11699 h 27457"/>
                    <a:gd name="connsiteX5" fmla="*/ 10847 w 103635"/>
                    <a:gd name="connsiteY5" fmla="*/ 21415 h 27457"/>
                    <a:gd name="connsiteX6" fmla="*/ 1322 w 103635"/>
                    <a:gd name="connsiteY6" fmla="*/ 25606 h 27457"/>
                    <a:gd name="connsiteX7" fmla="*/ 3417 w 103635"/>
                    <a:gd name="connsiteY7" fmla="*/ 17795 h 274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3635" h="27457">
                      <a:moveTo>
                        <a:pt x="3227" y="17795"/>
                      </a:moveTo>
                      <a:cubicBezTo>
                        <a:pt x="7989" y="12938"/>
                        <a:pt x="23896" y="1412"/>
                        <a:pt x="46185" y="174"/>
                      </a:cubicBezTo>
                      <a:cubicBezTo>
                        <a:pt x="76569" y="-1541"/>
                        <a:pt x="94000" y="9794"/>
                        <a:pt x="101239" y="17509"/>
                      </a:cubicBezTo>
                      <a:cubicBezTo>
                        <a:pt x="106478" y="23034"/>
                        <a:pt x="102096" y="29321"/>
                        <a:pt x="97905" y="26939"/>
                      </a:cubicBezTo>
                      <a:cubicBezTo>
                        <a:pt x="86952" y="20748"/>
                        <a:pt x="81046" y="14843"/>
                        <a:pt x="54281" y="11699"/>
                      </a:cubicBezTo>
                      <a:cubicBezTo>
                        <a:pt x="35517" y="9413"/>
                        <a:pt x="17705" y="17605"/>
                        <a:pt x="10847" y="21415"/>
                      </a:cubicBezTo>
                      <a:cubicBezTo>
                        <a:pt x="5608" y="24368"/>
                        <a:pt x="2941" y="26844"/>
                        <a:pt x="1322" y="25606"/>
                      </a:cubicBezTo>
                      <a:cubicBezTo>
                        <a:pt x="-1631" y="23415"/>
                        <a:pt x="941" y="20272"/>
                        <a:pt x="3417" y="17795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7" name="Freihandform: Form 126">
                  <a:extLst>
                    <a:ext uri="{FF2B5EF4-FFF2-40B4-BE49-F238E27FC236}">
                      <a16:creationId xmlns:a16="http://schemas.microsoft.com/office/drawing/2014/main" id="{22C5B982-9729-1B85-E5E7-FCE6891A7C42}"/>
                    </a:ext>
                  </a:extLst>
                </p:cNvPr>
                <p:cNvSpPr/>
                <p:nvPr/>
              </p:nvSpPr>
              <p:spPr>
                <a:xfrm rot="21366000">
                  <a:off x="9358240" y="7771675"/>
                  <a:ext cx="37909" cy="40385"/>
                </a:xfrm>
                <a:custGeom>
                  <a:avLst/>
                  <a:gdLst>
                    <a:gd name="connsiteX0" fmla="*/ 37910 w 37909"/>
                    <a:gd name="connsiteY0" fmla="*/ 20193 h 40385"/>
                    <a:gd name="connsiteX1" fmla="*/ 18955 w 37909"/>
                    <a:gd name="connsiteY1" fmla="*/ 40386 h 40385"/>
                    <a:gd name="connsiteX2" fmla="*/ 0 w 37909"/>
                    <a:gd name="connsiteY2" fmla="*/ 20193 h 40385"/>
                    <a:gd name="connsiteX3" fmla="*/ 18955 w 37909"/>
                    <a:gd name="connsiteY3" fmla="*/ 0 h 40385"/>
                    <a:gd name="connsiteX4" fmla="*/ 37910 w 37909"/>
                    <a:gd name="connsiteY4" fmla="*/ 20193 h 40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7909" h="40385">
                      <a:moveTo>
                        <a:pt x="37910" y="20193"/>
                      </a:moveTo>
                      <a:cubicBezTo>
                        <a:pt x="37910" y="31345"/>
                        <a:pt x="29424" y="40386"/>
                        <a:pt x="18955" y="40386"/>
                      </a:cubicBezTo>
                      <a:cubicBezTo>
                        <a:pt x="8486" y="40386"/>
                        <a:pt x="0" y="31345"/>
                        <a:pt x="0" y="20193"/>
                      </a:cubicBezTo>
                      <a:cubicBezTo>
                        <a:pt x="0" y="9041"/>
                        <a:pt x="8486" y="0"/>
                        <a:pt x="18955" y="0"/>
                      </a:cubicBezTo>
                      <a:cubicBezTo>
                        <a:pt x="29424" y="0"/>
                        <a:pt x="37910" y="9041"/>
                        <a:pt x="37910" y="20193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8" name="Freihandform: Form 127">
                  <a:extLst>
                    <a:ext uri="{FF2B5EF4-FFF2-40B4-BE49-F238E27FC236}">
                      <a16:creationId xmlns:a16="http://schemas.microsoft.com/office/drawing/2014/main" id="{6FC37FC6-F10A-4C8C-D3CB-FE929BFB1478}"/>
                    </a:ext>
                  </a:extLst>
                </p:cNvPr>
                <p:cNvSpPr/>
                <p:nvPr/>
              </p:nvSpPr>
              <p:spPr>
                <a:xfrm>
                  <a:off x="9326515" y="7762192"/>
                  <a:ext cx="103634" cy="27457"/>
                </a:xfrm>
                <a:custGeom>
                  <a:avLst/>
                  <a:gdLst>
                    <a:gd name="connsiteX0" fmla="*/ 100408 w 103634"/>
                    <a:gd name="connsiteY0" fmla="*/ 17795 h 27457"/>
                    <a:gd name="connsiteX1" fmla="*/ 57450 w 103634"/>
                    <a:gd name="connsiteY1" fmla="*/ 174 h 27457"/>
                    <a:gd name="connsiteX2" fmla="*/ 2396 w 103634"/>
                    <a:gd name="connsiteY2" fmla="*/ 17509 h 27457"/>
                    <a:gd name="connsiteX3" fmla="*/ 5730 w 103634"/>
                    <a:gd name="connsiteY3" fmla="*/ 26939 h 27457"/>
                    <a:gd name="connsiteX4" fmla="*/ 49354 w 103634"/>
                    <a:gd name="connsiteY4" fmla="*/ 11699 h 27457"/>
                    <a:gd name="connsiteX5" fmla="*/ 92788 w 103634"/>
                    <a:gd name="connsiteY5" fmla="*/ 21415 h 27457"/>
                    <a:gd name="connsiteX6" fmla="*/ 102313 w 103634"/>
                    <a:gd name="connsiteY6" fmla="*/ 25606 h 27457"/>
                    <a:gd name="connsiteX7" fmla="*/ 100218 w 103634"/>
                    <a:gd name="connsiteY7" fmla="*/ 17795 h 274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3634" h="27457">
                      <a:moveTo>
                        <a:pt x="100408" y="17795"/>
                      </a:moveTo>
                      <a:cubicBezTo>
                        <a:pt x="95646" y="12938"/>
                        <a:pt x="79739" y="1412"/>
                        <a:pt x="57450" y="174"/>
                      </a:cubicBezTo>
                      <a:cubicBezTo>
                        <a:pt x="27066" y="-1541"/>
                        <a:pt x="9635" y="9794"/>
                        <a:pt x="2396" y="17509"/>
                      </a:cubicBezTo>
                      <a:cubicBezTo>
                        <a:pt x="-2842" y="23034"/>
                        <a:pt x="1539" y="29321"/>
                        <a:pt x="5730" y="26939"/>
                      </a:cubicBezTo>
                      <a:cubicBezTo>
                        <a:pt x="16684" y="20748"/>
                        <a:pt x="22589" y="14843"/>
                        <a:pt x="49354" y="11699"/>
                      </a:cubicBezTo>
                      <a:cubicBezTo>
                        <a:pt x="68118" y="9413"/>
                        <a:pt x="85930" y="17605"/>
                        <a:pt x="92788" y="21415"/>
                      </a:cubicBezTo>
                      <a:cubicBezTo>
                        <a:pt x="98027" y="24368"/>
                        <a:pt x="100694" y="26844"/>
                        <a:pt x="102313" y="25606"/>
                      </a:cubicBezTo>
                      <a:cubicBezTo>
                        <a:pt x="105266" y="23415"/>
                        <a:pt x="102694" y="20272"/>
                        <a:pt x="100218" y="17795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9" name="Freihandform: Form 128">
                  <a:extLst>
                    <a:ext uri="{FF2B5EF4-FFF2-40B4-BE49-F238E27FC236}">
                      <a16:creationId xmlns:a16="http://schemas.microsoft.com/office/drawing/2014/main" id="{FC4B430F-F670-E1E8-527B-F83C3610805E}"/>
                    </a:ext>
                  </a:extLst>
                </p:cNvPr>
                <p:cNvSpPr/>
                <p:nvPr/>
              </p:nvSpPr>
              <p:spPr>
                <a:xfrm>
                  <a:off x="9123366" y="7360423"/>
                  <a:ext cx="508630" cy="429280"/>
                </a:xfrm>
                <a:custGeom>
                  <a:avLst/>
                  <a:gdLst>
                    <a:gd name="connsiteX0" fmla="*/ 91 w 508630"/>
                    <a:gd name="connsiteY0" fmla="*/ 94667 h 429280"/>
                    <a:gd name="connsiteX1" fmla="*/ 318131 w 508630"/>
                    <a:gd name="connsiteY1" fmla="*/ 352223 h 429280"/>
                    <a:gd name="connsiteX2" fmla="*/ 508631 w 508630"/>
                    <a:gd name="connsiteY2" fmla="*/ 429281 h 429280"/>
                    <a:gd name="connsiteX3" fmla="*/ 449956 w 508630"/>
                    <a:gd name="connsiteY3" fmla="*/ 231446 h 429280"/>
                    <a:gd name="connsiteX4" fmla="*/ 91 w 508630"/>
                    <a:gd name="connsiteY4" fmla="*/ 94667 h 429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8630" h="429280">
                      <a:moveTo>
                        <a:pt x="91" y="94667"/>
                      </a:moveTo>
                      <a:cubicBezTo>
                        <a:pt x="-4576" y="204586"/>
                        <a:pt x="171731" y="297931"/>
                        <a:pt x="318131" y="352223"/>
                      </a:cubicBezTo>
                      <a:cubicBezTo>
                        <a:pt x="464530" y="406516"/>
                        <a:pt x="508631" y="429281"/>
                        <a:pt x="508631" y="429281"/>
                      </a:cubicBezTo>
                      <a:cubicBezTo>
                        <a:pt x="508631" y="429281"/>
                        <a:pt x="454338" y="371464"/>
                        <a:pt x="449956" y="231446"/>
                      </a:cubicBezTo>
                      <a:cubicBezTo>
                        <a:pt x="445003" y="73236"/>
                        <a:pt x="191067" y="-118597"/>
                        <a:pt x="91" y="94667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130" name="Grafik 23">
                  <a:extLst>
                    <a:ext uri="{FF2B5EF4-FFF2-40B4-BE49-F238E27FC236}">
                      <a16:creationId xmlns:a16="http://schemas.microsoft.com/office/drawing/2014/main" id="{AFE154A5-8EF4-98B5-F5D2-6D37BFEAEA70}"/>
                    </a:ext>
                  </a:extLst>
                </p:cNvPr>
                <p:cNvGrpSpPr/>
                <p:nvPr/>
              </p:nvGrpSpPr>
              <p:grpSpPr>
                <a:xfrm>
                  <a:off x="8395080" y="9884441"/>
                  <a:ext cx="234464" cy="670178"/>
                  <a:chOff x="8395080" y="3305841"/>
                  <a:chExt cx="234464" cy="670178"/>
                </a:xfrm>
                <a:solidFill>
                  <a:srgbClr val="8A5942"/>
                </a:solidFill>
              </p:grpSpPr>
              <p:sp>
                <p:nvSpPr>
                  <p:cNvPr id="131" name="Freihandform: Form 130">
                    <a:extLst>
                      <a:ext uri="{FF2B5EF4-FFF2-40B4-BE49-F238E27FC236}">
                        <a16:creationId xmlns:a16="http://schemas.microsoft.com/office/drawing/2014/main" id="{4E59A560-B845-0F99-D595-A32B432DD518}"/>
                      </a:ext>
                    </a:extLst>
                  </p:cNvPr>
                  <p:cNvSpPr/>
                  <p:nvPr/>
                </p:nvSpPr>
                <p:spPr>
                  <a:xfrm>
                    <a:off x="8433275" y="3305841"/>
                    <a:ext cx="191738" cy="211264"/>
                  </a:xfrm>
                  <a:custGeom>
                    <a:avLst/>
                    <a:gdLst>
                      <a:gd name="connsiteX0" fmla="*/ 95 w 191738"/>
                      <a:gd name="connsiteY0" fmla="*/ 0 h 211264"/>
                      <a:gd name="connsiteX1" fmla="*/ 21431 w 191738"/>
                      <a:gd name="connsiteY1" fmla="*/ 211264 h 211264"/>
                      <a:gd name="connsiteX2" fmla="*/ 156782 w 191738"/>
                      <a:gd name="connsiteY2" fmla="*/ 200406 h 211264"/>
                      <a:gd name="connsiteX3" fmla="*/ 191738 w 191738"/>
                      <a:gd name="connsiteY3" fmla="*/ 10763 h 211264"/>
                      <a:gd name="connsiteX4" fmla="*/ 0 w 191738"/>
                      <a:gd name="connsiteY4" fmla="*/ 0 h 2112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1738" h="211264">
                        <a:moveTo>
                          <a:pt x="95" y="0"/>
                        </a:moveTo>
                        <a:cubicBezTo>
                          <a:pt x="5239" y="79629"/>
                          <a:pt x="13525" y="148495"/>
                          <a:pt x="21431" y="211264"/>
                        </a:cubicBezTo>
                        <a:lnTo>
                          <a:pt x="156782" y="200406"/>
                        </a:lnTo>
                        <a:cubicBezTo>
                          <a:pt x="156782" y="200406"/>
                          <a:pt x="172212" y="119158"/>
                          <a:pt x="191738" y="10763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132" name="Grafik 23">
                    <a:extLst>
                      <a:ext uri="{FF2B5EF4-FFF2-40B4-BE49-F238E27FC236}">
                        <a16:creationId xmlns:a16="http://schemas.microsoft.com/office/drawing/2014/main" id="{672348D4-031B-83BE-F823-0237FCED8900}"/>
                      </a:ext>
                    </a:extLst>
                  </p:cNvPr>
                  <p:cNvGrpSpPr/>
                  <p:nvPr/>
                </p:nvGrpSpPr>
                <p:grpSpPr>
                  <a:xfrm>
                    <a:off x="8395080" y="3436239"/>
                    <a:ext cx="234464" cy="539781"/>
                    <a:chOff x="8395080" y="3436239"/>
                    <a:chExt cx="234464" cy="539781"/>
                  </a:xfrm>
                  <a:solidFill>
                    <a:srgbClr val="8A5942"/>
                  </a:solidFill>
                </p:grpSpPr>
                <p:sp>
                  <p:nvSpPr>
                    <p:cNvPr id="133" name="Freihandform: Form 132">
                      <a:extLst>
                        <a:ext uri="{FF2B5EF4-FFF2-40B4-BE49-F238E27FC236}">
                          <a16:creationId xmlns:a16="http://schemas.microsoft.com/office/drawing/2014/main" id="{7084E740-C481-911C-7A96-6CDB4A77575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66681" y="3802691"/>
                      <a:ext cx="54546" cy="83127"/>
                    </a:xfrm>
                    <a:custGeom>
                      <a:avLst/>
                      <a:gdLst>
                        <a:gd name="connsiteX0" fmla="*/ 47557 w 54546"/>
                        <a:gd name="connsiteY0" fmla="*/ 83128 h 83127"/>
                        <a:gd name="connsiteX1" fmla="*/ 13648 w 54546"/>
                        <a:gd name="connsiteY1" fmla="*/ 55791 h 83127"/>
                        <a:gd name="connsiteX2" fmla="*/ 2885 w 54546"/>
                        <a:gd name="connsiteY2" fmla="*/ 9595 h 83127"/>
                        <a:gd name="connsiteX3" fmla="*/ 7838 w 54546"/>
                        <a:gd name="connsiteY3" fmla="*/ 70 h 83127"/>
                        <a:gd name="connsiteX4" fmla="*/ 43747 w 54546"/>
                        <a:gd name="connsiteY4" fmla="*/ 39694 h 83127"/>
                        <a:gd name="connsiteX5" fmla="*/ 47557 w 54546"/>
                        <a:gd name="connsiteY5" fmla="*/ 83128 h 83127"/>
                        <a:gd name="connsiteX6" fmla="*/ 47557 w 54546"/>
                        <a:gd name="connsiteY6" fmla="*/ 83128 h 831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54546" h="83127">
                          <a:moveTo>
                            <a:pt x="47557" y="83128"/>
                          </a:moveTo>
                          <a:lnTo>
                            <a:pt x="13648" y="55791"/>
                          </a:lnTo>
                          <a:cubicBezTo>
                            <a:pt x="979" y="45218"/>
                            <a:pt x="-3497" y="28264"/>
                            <a:pt x="2885" y="9595"/>
                          </a:cubicBezTo>
                          <a:cubicBezTo>
                            <a:pt x="4980" y="3594"/>
                            <a:pt x="6790" y="-597"/>
                            <a:pt x="7838" y="70"/>
                          </a:cubicBezTo>
                          <a:cubicBezTo>
                            <a:pt x="9743" y="1499"/>
                            <a:pt x="25173" y="18262"/>
                            <a:pt x="43747" y="39694"/>
                          </a:cubicBezTo>
                          <a:cubicBezTo>
                            <a:pt x="55463" y="53219"/>
                            <a:pt x="58987" y="64744"/>
                            <a:pt x="47557" y="83128"/>
                          </a:cubicBezTo>
                          <a:lnTo>
                            <a:pt x="47557" y="83128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4" name="Freihandform: Form 133">
                      <a:extLst>
                        <a:ext uri="{FF2B5EF4-FFF2-40B4-BE49-F238E27FC236}">
                          <a16:creationId xmlns:a16="http://schemas.microsoft.com/office/drawing/2014/main" id="{F7BDB574-4460-98DE-95DB-12095F3D45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19369" y="3769457"/>
                      <a:ext cx="73352" cy="89024"/>
                    </a:xfrm>
                    <a:custGeom>
                      <a:avLst/>
                      <a:gdLst>
                        <a:gd name="connsiteX0" fmla="*/ 60960 w 73352"/>
                        <a:gd name="connsiteY0" fmla="*/ 89025 h 89024"/>
                        <a:gd name="connsiteX1" fmla="*/ 9525 w 73352"/>
                        <a:gd name="connsiteY1" fmla="*/ 44448 h 89024"/>
                        <a:gd name="connsiteX2" fmla="*/ 0 w 73352"/>
                        <a:gd name="connsiteY2" fmla="*/ 31494 h 89024"/>
                        <a:gd name="connsiteX3" fmla="*/ 40291 w 73352"/>
                        <a:gd name="connsiteY3" fmla="*/ 537 h 89024"/>
                        <a:gd name="connsiteX4" fmla="*/ 66675 w 73352"/>
                        <a:gd name="connsiteY4" fmla="*/ 44829 h 89024"/>
                        <a:gd name="connsiteX5" fmla="*/ 60864 w 73352"/>
                        <a:gd name="connsiteY5" fmla="*/ 89025 h 89024"/>
                        <a:gd name="connsiteX6" fmla="*/ 60864 w 73352"/>
                        <a:gd name="connsiteY6" fmla="*/ 89025 h 8902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73352" h="89024">
                          <a:moveTo>
                            <a:pt x="60960" y="89025"/>
                          </a:moveTo>
                          <a:lnTo>
                            <a:pt x="9525" y="44448"/>
                          </a:lnTo>
                          <a:cubicBezTo>
                            <a:pt x="3334" y="38637"/>
                            <a:pt x="1524" y="34446"/>
                            <a:pt x="0" y="31494"/>
                          </a:cubicBezTo>
                          <a:cubicBezTo>
                            <a:pt x="1048" y="12063"/>
                            <a:pt x="25432" y="-3082"/>
                            <a:pt x="40291" y="537"/>
                          </a:cubicBezTo>
                          <a:lnTo>
                            <a:pt x="66675" y="44829"/>
                          </a:lnTo>
                          <a:cubicBezTo>
                            <a:pt x="78105" y="57307"/>
                            <a:pt x="74009" y="72261"/>
                            <a:pt x="60864" y="89025"/>
                          </a:cubicBezTo>
                          <a:lnTo>
                            <a:pt x="60864" y="89025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5" name="Freihandform: Form 134">
                      <a:extLst>
                        <a:ext uri="{FF2B5EF4-FFF2-40B4-BE49-F238E27FC236}">
                          <a16:creationId xmlns:a16="http://schemas.microsoft.com/office/drawing/2014/main" id="{AD5B7AA4-2FB0-32DC-2659-15DBD0AAB03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55898" y="3838165"/>
                      <a:ext cx="63906" cy="105660"/>
                    </a:xfrm>
                    <a:custGeom>
                      <a:avLst/>
                      <a:gdLst>
                        <a:gd name="connsiteX0" fmla="*/ 55673 w 63906"/>
                        <a:gd name="connsiteY0" fmla="*/ 105660 h 105660"/>
                        <a:gd name="connsiteX1" fmla="*/ 15954 w 63906"/>
                        <a:gd name="connsiteY1" fmla="*/ 67179 h 105660"/>
                        <a:gd name="connsiteX2" fmla="*/ 3476 w 63906"/>
                        <a:gd name="connsiteY2" fmla="*/ 10506 h 105660"/>
                        <a:gd name="connsiteX3" fmla="*/ 9287 w 63906"/>
                        <a:gd name="connsiteY3" fmla="*/ 123 h 105660"/>
                        <a:gd name="connsiteX4" fmla="*/ 51292 w 63906"/>
                        <a:gd name="connsiteY4" fmla="*/ 53559 h 105660"/>
                        <a:gd name="connsiteX5" fmla="*/ 55673 w 63906"/>
                        <a:gd name="connsiteY5" fmla="*/ 105565 h 105660"/>
                        <a:gd name="connsiteX6" fmla="*/ 55673 w 63906"/>
                        <a:gd name="connsiteY6" fmla="*/ 105565 h 10566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63906" h="105660">
                          <a:moveTo>
                            <a:pt x="55673" y="105660"/>
                          </a:moveTo>
                          <a:lnTo>
                            <a:pt x="15954" y="67179"/>
                          </a:lnTo>
                          <a:cubicBezTo>
                            <a:pt x="1095" y="52321"/>
                            <a:pt x="-4144" y="31556"/>
                            <a:pt x="3476" y="10506"/>
                          </a:cubicBezTo>
                          <a:cubicBezTo>
                            <a:pt x="5953" y="3838"/>
                            <a:pt x="8144" y="-829"/>
                            <a:pt x="9287" y="123"/>
                          </a:cubicBezTo>
                          <a:cubicBezTo>
                            <a:pt x="11573" y="2124"/>
                            <a:pt x="29575" y="24793"/>
                            <a:pt x="51292" y="53559"/>
                          </a:cubicBezTo>
                          <a:cubicBezTo>
                            <a:pt x="65008" y="71656"/>
                            <a:pt x="69103" y="85944"/>
                            <a:pt x="55673" y="105565"/>
                          </a:cubicBezTo>
                          <a:lnTo>
                            <a:pt x="55673" y="105565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6" name="Freihandform: Form 135">
                      <a:extLst>
                        <a:ext uri="{FF2B5EF4-FFF2-40B4-BE49-F238E27FC236}">
                          <a16:creationId xmlns:a16="http://schemas.microsoft.com/office/drawing/2014/main" id="{8A27D2F2-49B1-A7DB-C54D-DE2309C116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00115" y="3774757"/>
                      <a:ext cx="87440" cy="131349"/>
                    </a:xfrm>
                    <a:custGeom>
                      <a:avLst/>
                      <a:gdLst>
                        <a:gd name="connsiteX0" fmla="*/ 72689 w 87440"/>
                        <a:gd name="connsiteY0" fmla="*/ 131350 h 131349"/>
                        <a:gd name="connsiteX1" fmla="*/ 12205 w 87440"/>
                        <a:gd name="connsiteY1" fmla="*/ 71628 h 131349"/>
                        <a:gd name="connsiteX2" fmla="*/ 17349 w 87440"/>
                        <a:gd name="connsiteY2" fmla="*/ 4001 h 131349"/>
                        <a:gd name="connsiteX3" fmla="*/ 26112 w 87440"/>
                        <a:gd name="connsiteY3" fmla="*/ 0 h 131349"/>
                        <a:gd name="connsiteX4" fmla="*/ 79642 w 87440"/>
                        <a:gd name="connsiteY4" fmla="*/ 80010 h 131349"/>
                        <a:gd name="connsiteX5" fmla="*/ 72689 w 87440"/>
                        <a:gd name="connsiteY5" fmla="*/ 131254 h 131349"/>
                        <a:gd name="connsiteX6" fmla="*/ 72689 w 87440"/>
                        <a:gd name="connsiteY6" fmla="*/ 131254 h 1313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87440" h="131349">
                          <a:moveTo>
                            <a:pt x="72689" y="131350"/>
                          </a:moveTo>
                          <a:lnTo>
                            <a:pt x="12205" y="71628"/>
                          </a:lnTo>
                          <a:cubicBezTo>
                            <a:pt x="-5892" y="53340"/>
                            <a:pt x="-3606" y="22479"/>
                            <a:pt x="17349" y="4001"/>
                          </a:cubicBezTo>
                          <a:lnTo>
                            <a:pt x="26112" y="0"/>
                          </a:lnTo>
                          <a:lnTo>
                            <a:pt x="79642" y="80010"/>
                          </a:lnTo>
                          <a:cubicBezTo>
                            <a:pt x="93073" y="96869"/>
                            <a:pt x="88120" y="113729"/>
                            <a:pt x="72689" y="131254"/>
                          </a:cubicBezTo>
                          <a:lnTo>
                            <a:pt x="72689" y="131254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7" name="Freihandform: Form 136">
                      <a:extLst>
                        <a:ext uri="{FF2B5EF4-FFF2-40B4-BE49-F238E27FC236}">
                          <a16:creationId xmlns:a16="http://schemas.microsoft.com/office/drawing/2014/main" id="{3043CB75-638D-D048-1CC1-E4645B6398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95080" y="3720421"/>
                      <a:ext cx="62960" cy="111771"/>
                    </a:xfrm>
                    <a:custGeom>
                      <a:avLst/>
                      <a:gdLst>
                        <a:gd name="connsiteX0" fmla="*/ 0 w 62960"/>
                        <a:gd name="connsiteY0" fmla="*/ 9378 h 111771"/>
                        <a:gd name="connsiteX1" fmla="*/ 4191 w 62960"/>
                        <a:gd name="connsiteY1" fmla="*/ 100628 h 111771"/>
                        <a:gd name="connsiteX2" fmla="*/ 8287 w 62960"/>
                        <a:gd name="connsiteY2" fmla="*/ 111772 h 111771"/>
                        <a:gd name="connsiteX3" fmla="*/ 57150 w 62960"/>
                        <a:gd name="connsiteY3" fmla="*/ 67100 h 111771"/>
                        <a:gd name="connsiteX4" fmla="*/ 62961 w 62960"/>
                        <a:gd name="connsiteY4" fmla="*/ 18236 h 111771"/>
                        <a:gd name="connsiteX5" fmla="*/ 0 w 62960"/>
                        <a:gd name="connsiteY5" fmla="*/ 9378 h 1117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62960" h="111771">
                          <a:moveTo>
                            <a:pt x="0" y="9378"/>
                          </a:moveTo>
                          <a:cubicBezTo>
                            <a:pt x="477" y="28142"/>
                            <a:pt x="4191" y="100628"/>
                            <a:pt x="4191" y="100628"/>
                          </a:cubicBezTo>
                          <a:lnTo>
                            <a:pt x="8287" y="111772"/>
                          </a:lnTo>
                          <a:cubicBezTo>
                            <a:pt x="34957" y="111296"/>
                            <a:pt x="54674" y="91484"/>
                            <a:pt x="57150" y="67100"/>
                          </a:cubicBezTo>
                          <a:lnTo>
                            <a:pt x="62961" y="18236"/>
                          </a:lnTo>
                          <a:cubicBezTo>
                            <a:pt x="55436" y="1568"/>
                            <a:pt x="8192" y="-8338"/>
                            <a:pt x="0" y="9378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138" name="Grafik 23">
                      <a:extLst>
                        <a:ext uri="{FF2B5EF4-FFF2-40B4-BE49-F238E27FC236}">
                          <a16:creationId xmlns:a16="http://schemas.microsoft.com/office/drawing/2014/main" id="{AFD5768D-42F7-3C4F-6819-3AA542E55BC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415082" y="3708417"/>
                      <a:ext cx="91882" cy="267603"/>
                      <a:chOff x="8415082" y="3708417"/>
                      <a:chExt cx="91882" cy="267603"/>
                    </a:xfrm>
                    <a:solidFill>
                      <a:srgbClr val="8A5942"/>
                    </a:solidFill>
                  </p:grpSpPr>
                  <p:sp>
                    <p:nvSpPr>
                      <p:cNvPr id="139" name="Freihandform: Form 138">
                        <a:extLst>
                          <a:ext uri="{FF2B5EF4-FFF2-40B4-BE49-F238E27FC236}">
                            <a16:creationId xmlns:a16="http://schemas.microsoft.com/office/drawing/2014/main" id="{64489C81-027D-70D3-E0B3-2BBFE7984AB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56624" y="3848906"/>
                        <a:ext cx="50341" cy="127114"/>
                      </a:xfrm>
                      <a:custGeom>
                        <a:avLst/>
                        <a:gdLst>
                          <a:gd name="connsiteX0" fmla="*/ 30182 w 50341"/>
                          <a:gd name="connsiteY0" fmla="*/ 127114 h 127114"/>
                          <a:gd name="connsiteX1" fmla="*/ 5131 w 50341"/>
                          <a:gd name="connsiteY1" fmla="*/ 71584 h 127114"/>
                          <a:gd name="connsiteX2" fmla="*/ 15323 w 50341"/>
                          <a:gd name="connsiteY2" fmla="*/ 8528 h 127114"/>
                          <a:gd name="connsiteX3" fmla="*/ 25515 w 50341"/>
                          <a:gd name="connsiteY3" fmla="*/ 337 h 127114"/>
                          <a:gd name="connsiteX4" fmla="*/ 46851 w 50341"/>
                          <a:gd name="connsiteY4" fmla="*/ 72060 h 127114"/>
                          <a:gd name="connsiteX5" fmla="*/ 30182 w 50341"/>
                          <a:gd name="connsiteY5" fmla="*/ 127114 h 127114"/>
                          <a:gd name="connsiteX6" fmla="*/ 30182 w 50341"/>
                          <a:gd name="connsiteY6" fmla="*/ 127114 h 12711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0341" h="127114">
                            <a:moveTo>
                              <a:pt x="30182" y="127114"/>
                            </a:moveTo>
                            <a:lnTo>
                              <a:pt x="5131" y="71584"/>
                            </a:lnTo>
                            <a:cubicBezTo>
                              <a:pt x="-4108" y="50343"/>
                              <a:pt x="-964" y="26912"/>
                              <a:pt x="15323" y="8528"/>
                            </a:cubicBezTo>
                            <a:cubicBezTo>
                              <a:pt x="20562" y="2623"/>
                              <a:pt x="24658" y="-1187"/>
                              <a:pt x="25515" y="337"/>
                            </a:cubicBezTo>
                            <a:cubicBezTo>
                              <a:pt x="27039" y="3385"/>
                              <a:pt x="36278" y="33865"/>
                              <a:pt x="46851" y="72060"/>
                            </a:cubicBezTo>
                            <a:cubicBezTo>
                              <a:pt x="53518" y="96158"/>
                              <a:pt x="51995" y="112446"/>
                              <a:pt x="30182" y="127114"/>
                            </a:cubicBezTo>
                            <a:lnTo>
                              <a:pt x="30182" y="127114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0" name="Freihandform: Form 139">
                        <a:extLst>
                          <a:ext uri="{FF2B5EF4-FFF2-40B4-BE49-F238E27FC236}">
                            <a16:creationId xmlns:a16="http://schemas.microsoft.com/office/drawing/2014/main" id="{9CA1BE31-E09A-839D-6AD2-9A25B27FF1A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22907" y="3799998"/>
                        <a:ext cx="71113" cy="124396"/>
                      </a:xfrm>
                      <a:custGeom>
                        <a:avLst/>
                        <a:gdLst>
                          <a:gd name="connsiteX0" fmla="*/ 40563 w 71113"/>
                          <a:gd name="connsiteY0" fmla="*/ 124396 h 124396"/>
                          <a:gd name="connsiteX1" fmla="*/ 3415 w 71113"/>
                          <a:gd name="connsiteY1" fmla="*/ 38290 h 124396"/>
                          <a:gd name="connsiteX2" fmla="*/ 41135 w 71113"/>
                          <a:gd name="connsiteY2" fmla="*/ 2000 h 124396"/>
                          <a:gd name="connsiteX3" fmla="*/ 45325 w 71113"/>
                          <a:gd name="connsiteY3" fmla="*/ 0 h 124396"/>
                          <a:gd name="connsiteX4" fmla="*/ 69043 w 71113"/>
                          <a:gd name="connsiteY4" fmla="*/ 74295 h 124396"/>
                          <a:gd name="connsiteX5" fmla="*/ 42087 w 71113"/>
                          <a:gd name="connsiteY5" fmla="*/ 123634 h 124396"/>
                          <a:gd name="connsiteX6" fmla="*/ 40563 w 71113"/>
                          <a:gd name="connsiteY6" fmla="*/ 124396 h 12439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1113" h="124396">
                            <a:moveTo>
                              <a:pt x="40563" y="124396"/>
                            </a:moveTo>
                            <a:lnTo>
                              <a:pt x="3415" y="38290"/>
                            </a:lnTo>
                            <a:cubicBezTo>
                              <a:pt x="-7729" y="12192"/>
                              <a:pt x="9321" y="3238"/>
                              <a:pt x="41135" y="2000"/>
                            </a:cubicBezTo>
                            <a:lnTo>
                              <a:pt x="45325" y="0"/>
                            </a:lnTo>
                            <a:lnTo>
                              <a:pt x="69043" y="74295"/>
                            </a:lnTo>
                            <a:cubicBezTo>
                              <a:pt x="75996" y="97060"/>
                              <a:pt x="65042" y="112014"/>
                              <a:pt x="42087" y="123634"/>
                            </a:cubicBezTo>
                            <a:lnTo>
                              <a:pt x="40563" y="124396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1" name="Freihandform: Form 140">
                        <a:extLst>
                          <a:ext uri="{FF2B5EF4-FFF2-40B4-BE49-F238E27FC236}">
                            <a16:creationId xmlns:a16="http://schemas.microsoft.com/office/drawing/2014/main" id="{6232A221-A762-18A0-3488-CAE3294FEFC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15082" y="3708417"/>
                        <a:ext cx="63532" cy="120728"/>
                      </a:xfrm>
                      <a:custGeom>
                        <a:avLst/>
                        <a:gdLst>
                          <a:gd name="connsiteX0" fmla="*/ 1 w 63532"/>
                          <a:gd name="connsiteY0" fmla="*/ 12715 h 120728"/>
                          <a:gd name="connsiteX1" fmla="*/ 8573 w 63532"/>
                          <a:gd name="connsiteY1" fmla="*/ 120728 h 120728"/>
                          <a:gd name="connsiteX2" fmla="*/ 54674 w 63532"/>
                          <a:gd name="connsiteY2" fmla="*/ 92629 h 120728"/>
                          <a:gd name="connsiteX3" fmla="*/ 63532 w 63532"/>
                          <a:gd name="connsiteY3" fmla="*/ 16048 h 120728"/>
                          <a:gd name="connsiteX4" fmla="*/ 1 w 63532"/>
                          <a:gd name="connsiteY4" fmla="*/ 12619 h 12072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63532" h="120728">
                            <a:moveTo>
                              <a:pt x="1" y="12715"/>
                            </a:moveTo>
                            <a:cubicBezTo>
                              <a:pt x="-95" y="14715"/>
                              <a:pt x="8573" y="120728"/>
                              <a:pt x="8573" y="120728"/>
                            </a:cubicBezTo>
                            <a:cubicBezTo>
                              <a:pt x="37910" y="120347"/>
                              <a:pt x="51817" y="119585"/>
                              <a:pt x="54674" y="92629"/>
                            </a:cubicBezTo>
                            <a:lnTo>
                              <a:pt x="63532" y="16048"/>
                            </a:lnTo>
                            <a:cubicBezTo>
                              <a:pt x="55341" y="-2335"/>
                              <a:pt x="9144" y="-6812"/>
                              <a:pt x="1" y="12619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142" name="Freihandform: Form 141">
                      <a:extLst>
                        <a:ext uri="{FF2B5EF4-FFF2-40B4-BE49-F238E27FC236}">
                          <a16:creationId xmlns:a16="http://schemas.microsoft.com/office/drawing/2014/main" id="{3E9AAA7C-E82F-4398-76BD-E68050BC27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63914" y="3855038"/>
                      <a:ext cx="46483" cy="113934"/>
                    </a:xfrm>
                    <a:custGeom>
                      <a:avLst/>
                      <a:gdLst>
                        <a:gd name="connsiteX0" fmla="*/ 22320 w 46483"/>
                        <a:gd name="connsiteY0" fmla="*/ 113744 h 113934"/>
                        <a:gd name="connsiteX1" fmla="*/ 3366 w 46483"/>
                        <a:gd name="connsiteY1" fmla="*/ 60784 h 113934"/>
                        <a:gd name="connsiteX2" fmla="*/ 17844 w 46483"/>
                        <a:gd name="connsiteY2" fmla="*/ 6587 h 113934"/>
                        <a:gd name="connsiteX3" fmla="*/ 28893 w 46483"/>
                        <a:gd name="connsiteY3" fmla="*/ 396 h 113934"/>
                        <a:gd name="connsiteX4" fmla="*/ 44990 w 46483"/>
                        <a:gd name="connsiteY4" fmla="*/ 66214 h 113934"/>
                        <a:gd name="connsiteX5" fmla="*/ 22416 w 46483"/>
                        <a:gd name="connsiteY5" fmla="*/ 113934 h 113934"/>
                        <a:gd name="connsiteX6" fmla="*/ 22416 w 46483"/>
                        <a:gd name="connsiteY6" fmla="*/ 113934 h 1139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6483" h="113934">
                          <a:moveTo>
                            <a:pt x="22320" y="113744"/>
                          </a:moveTo>
                          <a:lnTo>
                            <a:pt x="3366" y="60784"/>
                          </a:lnTo>
                          <a:cubicBezTo>
                            <a:pt x="-3492" y="40591"/>
                            <a:pt x="-444" y="21161"/>
                            <a:pt x="17844" y="6587"/>
                          </a:cubicBezTo>
                          <a:cubicBezTo>
                            <a:pt x="23749" y="1920"/>
                            <a:pt x="28321" y="-1128"/>
                            <a:pt x="28893" y="396"/>
                          </a:cubicBezTo>
                          <a:cubicBezTo>
                            <a:pt x="30036" y="3254"/>
                            <a:pt x="38608" y="30495"/>
                            <a:pt x="44990" y="66214"/>
                          </a:cubicBezTo>
                          <a:cubicBezTo>
                            <a:pt x="49086" y="88788"/>
                            <a:pt x="45752" y="103171"/>
                            <a:pt x="22416" y="113934"/>
                          </a:cubicBezTo>
                          <a:lnTo>
                            <a:pt x="22416" y="113934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3" name="Freihandform: Form 142">
                      <a:extLst>
                        <a:ext uri="{FF2B5EF4-FFF2-40B4-BE49-F238E27FC236}">
                          <a16:creationId xmlns:a16="http://schemas.microsoft.com/office/drawing/2014/main" id="{C1E554D7-B79F-9601-06CB-E78D68ECFE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36560" y="3794759"/>
                      <a:ext cx="62340" cy="120967"/>
                    </a:xfrm>
                    <a:custGeom>
                      <a:avLst/>
                      <a:gdLst>
                        <a:gd name="connsiteX0" fmla="*/ 30624 w 62340"/>
                        <a:gd name="connsiteY0" fmla="*/ 120968 h 120967"/>
                        <a:gd name="connsiteX1" fmla="*/ 2335 w 62340"/>
                        <a:gd name="connsiteY1" fmla="*/ 39338 h 120967"/>
                        <a:gd name="connsiteX2" fmla="*/ 38244 w 62340"/>
                        <a:gd name="connsiteY2" fmla="*/ 0 h 120967"/>
                        <a:gd name="connsiteX3" fmla="*/ 43864 w 62340"/>
                        <a:gd name="connsiteY3" fmla="*/ 9335 h 120967"/>
                        <a:gd name="connsiteX4" fmla="*/ 61390 w 62340"/>
                        <a:gd name="connsiteY4" fmla="*/ 80867 h 120967"/>
                        <a:gd name="connsiteX5" fmla="*/ 30719 w 62340"/>
                        <a:gd name="connsiteY5" fmla="*/ 120968 h 120967"/>
                        <a:gd name="connsiteX6" fmla="*/ 30719 w 62340"/>
                        <a:gd name="connsiteY6" fmla="*/ 120968 h 12096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62340" h="120967">
                          <a:moveTo>
                            <a:pt x="30624" y="120968"/>
                          </a:moveTo>
                          <a:lnTo>
                            <a:pt x="2335" y="39338"/>
                          </a:lnTo>
                          <a:cubicBezTo>
                            <a:pt x="-5952" y="14573"/>
                            <a:pt x="8240" y="6001"/>
                            <a:pt x="38244" y="0"/>
                          </a:cubicBezTo>
                          <a:lnTo>
                            <a:pt x="43864" y="9335"/>
                          </a:lnTo>
                          <a:lnTo>
                            <a:pt x="61390" y="80867"/>
                          </a:lnTo>
                          <a:cubicBezTo>
                            <a:pt x="65771" y="102203"/>
                            <a:pt x="54912" y="113157"/>
                            <a:pt x="30719" y="120968"/>
                          </a:cubicBezTo>
                          <a:lnTo>
                            <a:pt x="30719" y="120968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4" name="Freihandform: Form 143">
                      <a:extLst>
                        <a:ext uri="{FF2B5EF4-FFF2-40B4-BE49-F238E27FC236}">
                          <a16:creationId xmlns:a16="http://schemas.microsoft.com/office/drawing/2014/main" id="{74237269-5DE5-6299-0F13-088F9948556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35054" y="3713098"/>
                      <a:ext cx="53751" cy="112434"/>
                    </a:xfrm>
                    <a:custGeom>
                      <a:avLst/>
                      <a:gdLst>
                        <a:gd name="connsiteX0" fmla="*/ 31 w 53751"/>
                        <a:gd name="connsiteY0" fmla="*/ 7176 h 112434"/>
                        <a:gd name="connsiteX1" fmla="*/ 1555 w 53751"/>
                        <a:gd name="connsiteY1" fmla="*/ 110046 h 112434"/>
                        <a:gd name="connsiteX2" fmla="*/ 44989 w 53751"/>
                        <a:gd name="connsiteY2" fmla="*/ 94806 h 112434"/>
                        <a:gd name="connsiteX3" fmla="*/ 53752 w 53751"/>
                        <a:gd name="connsiteY3" fmla="*/ 23654 h 112434"/>
                        <a:gd name="connsiteX4" fmla="*/ 31 w 53751"/>
                        <a:gd name="connsiteY4" fmla="*/ 7176 h 1124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3751" h="112434">
                          <a:moveTo>
                            <a:pt x="31" y="7176"/>
                          </a:moveTo>
                          <a:cubicBezTo>
                            <a:pt x="-255" y="8986"/>
                            <a:pt x="1555" y="110046"/>
                            <a:pt x="1555" y="110046"/>
                          </a:cubicBezTo>
                          <a:cubicBezTo>
                            <a:pt x="30987" y="111856"/>
                            <a:pt x="40512" y="119000"/>
                            <a:pt x="44989" y="94806"/>
                          </a:cubicBezTo>
                          <a:lnTo>
                            <a:pt x="53752" y="23654"/>
                          </a:lnTo>
                          <a:cubicBezTo>
                            <a:pt x="46703" y="6414"/>
                            <a:pt x="10318" y="-9778"/>
                            <a:pt x="31" y="7176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145" name="Grafik 23">
                      <a:extLst>
                        <a:ext uri="{FF2B5EF4-FFF2-40B4-BE49-F238E27FC236}">
                          <a16:creationId xmlns:a16="http://schemas.microsoft.com/office/drawing/2014/main" id="{29224C71-D6C2-1B58-C61F-31C107041F4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483816" y="3539440"/>
                      <a:ext cx="145001" cy="336662"/>
                      <a:chOff x="8483816" y="3539440"/>
                      <a:chExt cx="145001" cy="336662"/>
                    </a:xfrm>
                    <a:solidFill>
                      <a:srgbClr val="8A5942"/>
                    </a:solidFill>
                  </p:grpSpPr>
                  <p:sp>
                    <p:nvSpPr>
                      <p:cNvPr id="146" name="Freihandform: Form 145">
                        <a:extLst>
                          <a:ext uri="{FF2B5EF4-FFF2-40B4-BE49-F238E27FC236}">
                            <a16:creationId xmlns:a16="http://schemas.microsoft.com/office/drawing/2014/main" id="{5E8C416D-9517-8BCB-EEB9-A1CA11AD317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529038" y="3738176"/>
                        <a:ext cx="60495" cy="137927"/>
                      </a:xfrm>
                      <a:custGeom>
                        <a:avLst/>
                        <a:gdLst>
                          <a:gd name="connsiteX0" fmla="*/ 24158 w 60495"/>
                          <a:gd name="connsiteY0" fmla="*/ 137927 h 137927"/>
                          <a:gd name="connsiteX1" fmla="*/ 57685 w 60495"/>
                          <a:gd name="connsiteY1" fmla="*/ 75253 h 137927"/>
                          <a:gd name="connsiteX2" fmla="*/ 53304 w 60495"/>
                          <a:gd name="connsiteY2" fmla="*/ 5815 h 137927"/>
                          <a:gd name="connsiteX3" fmla="*/ 40350 w 60495"/>
                          <a:gd name="connsiteY3" fmla="*/ 958 h 137927"/>
                          <a:gd name="connsiteX4" fmla="*/ 4726 w 60495"/>
                          <a:gd name="connsiteY4" fmla="*/ 77824 h 137927"/>
                          <a:gd name="connsiteX5" fmla="*/ 24062 w 60495"/>
                          <a:gd name="connsiteY5" fmla="*/ 137832 h 137927"/>
                          <a:gd name="connsiteX6" fmla="*/ 24062 w 60495"/>
                          <a:gd name="connsiteY6" fmla="*/ 137832 h 1379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0495" h="137927">
                            <a:moveTo>
                              <a:pt x="24158" y="137927"/>
                            </a:moveTo>
                            <a:lnTo>
                              <a:pt x="57685" y="75253"/>
                            </a:lnTo>
                            <a:cubicBezTo>
                              <a:pt x="59876" y="52964"/>
                              <a:pt x="64448" y="18579"/>
                              <a:pt x="53304" y="5815"/>
                            </a:cubicBezTo>
                            <a:cubicBezTo>
                              <a:pt x="47017" y="-1424"/>
                              <a:pt x="41398" y="-376"/>
                              <a:pt x="40350" y="958"/>
                            </a:cubicBezTo>
                            <a:cubicBezTo>
                              <a:pt x="33111" y="11149"/>
                              <a:pt x="17204" y="44868"/>
                              <a:pt x="4726" y="77824"/>
                            </a:cubicBezTo>
                            <a:cubicBezTo>
                              <a:pt x="-3941" y="100780"/>
                              <a:pt x="-2417" y="117639"/>
                              <a:pt x="24062" y="137832"/>
                            </a:cubicBezTo>
                            <a:lnTo>
                              <a:pt x="24062" y="137832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7" name="Freihandform: Form 146">
                        <a:extLst>
                          <a:ext uri="{FF2B5EF4-FFF2-40B4-BE49-F238E27FC236}">
                            <a16:creationId xmlns:a16="http://schemas.microsoft.com/office/drawing/2014/main" id="{ABBDED4A-28A6-4635-1BF6-8D03689783B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548242" y="3697576"/>
                        <a:ext cx="80486" cy="117625"/>
                      </a:xfrm>
                      <a:custGeom>
                        <a:avLst/>
                        <a:gdLst>
                          <a:gd name="connsiteX0" fmla="*/ 80486 w 80486"/>
                          <a:gd name="connsiteY0" fmla="*/ 17269 h 117625"/>
                          <a:gd name="connsiteX1" fmla="*/ 0 w 80486"/>
                          <a:gd name="connsiteY1" fmla="*/ 10982 h 117625"/>
                          <a:gd name="connsiteX2" fmla="*/ 5810 w 80486"/>
                          <a:gd name="connsiteY2" fmla="*/ 70608 h 117625"/>
                          <a:gd name="connsiteX3" fmla="*/ 38481 w 80486"/>
                          <a:gd name="connsiteY3" fmla="*/ 115948 h 117625"/>
                          <a:gd name="connsiteX4" fmla="*/ 80486 w 80486"/>
                          <a:gd name="connsiteY4" fmla="*/ 17269 h 11762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80486" h="117625">
                            <a:moveTo>
                              <a:pt x="80486" y="17269"/>
                            </a:moveTo>
                            <a:cubicBezTo>
                              <a:pt x="61627" y="-17498"/>
                              <a:pt x="0" y="10982"/>
                              <a:pt x="0" y="10982"/>
                            </a:cubicBezTo>
                            <a:lnTo>
                              <a:pt x="5810" y="70608"/>
                            </a:lnTo>
                            <a:cubicBezTo>
                              <a:pt x="3429" y="95659"/>
                              <a:pt x="15907" y="124996"/>
                              <a:pt x="38481" y="115948"/>
                            </a:cubicBezTo>
                            <a:cubicBezTo>
                              <a:pt x="38481" y="115948"/>
                              <a:pt x="80582" y="16221"/>
                              <a:pt x="80486" y="17269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8" name="Freihandform: Form 147">
                        <a:extLst>
                          <a:ext uri="{FF2B5EF4-FFF2-40B4-BE49-F238E27FC236}">
                            <a16:creationId xmlns:a16="http://schemas.microsoft.com/office/drawing/2014/main" id="{AD80B3D3-8A54-E0B5-BFD7-25BC7E526D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83816" y="3539440"/>
                        <a:ext cx="145001" cy="187300"/>
                      </a:xfrm>
                      <a:custGeom>
                        <a:avLst/>
                        <a:gdLst>
                          <a:gd name="connsiteX0" fmla="*/ 142151 w 145001"/>
                          <a:gd name="connsiteY0" fmla="*/ 88632 h 187300"/>
                          <a:gd name="connsiteX1" fmla="*/ 144913 w 145001"/>
                          <a:gd name="connsiteY1" fmla="*/ 175405 h 187300"/>
                          <a:gd name="connsiteX2" fmla="*/ 144913 w 145001"/>
                          <a:gd name="connsiteY2" fmla="*/ 175405 h 187300"/>
                          <a:gd name="connsiteX3" fmla="*/ 64712 w 145001"/>
                          <a:gd name="connsiteY3" fmla="*/ 170642 h 187300"/>
                          <a:gd name="connsiteX4" fmla="*/ 9848 w 145001"/>
                          <a:gd name="connsiteY4" fmla="*/ 67486 h 187300"/>
                          <a:gd name="connsiteX5" fmla="*/ 104717 w 145001"/>
                          <a:gd name="connsiteY5" fmla="*/ 431 h 187300"/>
                          <a:gd name="connsiteX6" fmla="*/ 142151 w 145001"/>
                          <a:gd name="connsiteY6" fmla="*/ 88632 h 1873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145001" h="187300">
                            <a:moveTo>
                              <a:pt x="142151" y="88632"/>
                            </a:moveTo>
                            <a:cubicBezTo>
                              <a:pt x="145770" y="113302"/>
                              <a:pt x="144913" y="175405"/>
                              <a:pt x="144913" y="175405"/>
                            </a:cubicBezTo>
                            <a:lnTo>
                              <a:pt x="144913" y="175405"/>
                            </a:lnTo>
                            <a:cubicBezTo>
                              <a:pt x="107289" y="175214"/>
                              <a:pt x="108813" y="205218"/>
                              <a:pt x="64712" y="170642"/>
                            </a:cubicBezTo>
                            <a:cubicBezTo>
                              <a:pt x="64712" y="170642"/>
                              <a:pt x="53472" y="104253"/>
                              <a:pt x="9848" y="67486"/>
                            </a:cubicBezTo>
                            <a:cubicBezTo>
                              <a:pt x="-27871" y="35768"/>
                              <a:pt x="51186" y="-4618"/>
                              <a:pt x="104717" y="431"/>
                            </a:cubicBezTo>
                            <a:cubicBezTo>
                              <a:pt x="128815" y="38244"/>
                              <a:pt x="142151" y="88632"/>
                              <a:pt x="142151" y="88632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149" name="Freihandform: Form 148">
                      <a:extLst>
                        <a:ext uri="{FF2B5EF4-FFF2-40B4-BE49-F238E27FC236}">
                          <a16:creationId xmlns:a16="http://schemas.microsoft.com/office/drawing/2014/main" id="{839A98A6-CBDB-DA06-AA7A-2F96EA353C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95080" y="3494722"/>
                      <a:ext cx="234464" cy="282987"/>
                    </a:xfrm>
                    <a:custGeom>
                      <a:avLst/>
                      <a:gdLst>
                        <a:gd name="connsiteX0" fmla="*/ 4382 w 234464"/>
                        <a:gd name="connsiteY0" fmla="*/ 195644 h 282987"/>
                        <a:gd name="connsiteX1" fmla="*/ 59341 w 234464"/>
                        <a:gd name="connsiteY1" fmla="*/ 0 h 282987"/>
                        <a:gd name="connsiteX2" fmla="*/ 194977 w 234464"/>
                        <a:gd name="connsiteY2" fmla="*/ 11430 h 282987"/>
                        <a:gd name="connsiteX3" fmla="*/ 200787 w 234464"/>
                        <a:gd name="connsiteY3" fmla="*/ 47625 h 282987"/>
                        <a:gd name="connsiteX4" fmla="*/ 232601 w 234464"/>
                        <a:gd name="connsiteY4" fmla="*/ 177832 h 282987"/>
                        <a:gd name="connsiteX5" fmla="*/ 152877 w 234464"/>
                        <a:gd name="connsiteY5" fmla="*/ 204883 h 282987"/>
                        <a:gd name="connsiteX6" fmla="*/ 88678 w 234464"/>
                        <a:gd name="connsiteY6" fmla="*/ 282988 h 282987"/>
                        <a:gd name="connsiteX7" fmla="*/ 0 w 234464"/>
                        <a:gd name="connsiteY7" fmla="*/ 234982 h 282987"/>
                        <a:gd name="connsiteX8" fmla="*/ 4382 w 234464"/>
                        <a:gd name="connsiteY8" fmla="*/ 195548 h 28298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234464" h="282987">
                          <a:moveTo>
                            <a:pt x="4382" y="195644"/>
                          </a:moveTo>
                          <a:cubicBezTo>
                            <a:pt x="21431" y="145828"/>
                            <a:pt x="40958" y="87154"/>
                            <a:pt x="59341" y="0"/>
                          </a:cubicBezTo>
                          <a:lnTo>
                            <a:pt x="194977" y="11430"/>
                          </a:lnTo>
                          <a:cubicBezTo>
                            <a:pt x="194977" y="32099"/>
                            <a:pt x="197739" y="44005"/>
                            <a:pt x="200787" y="47625"/>
                          </a:cubicBezTo>
                          <a:cubicBezTo>
                            <a:pt x="246031" y="101727"/>
                            <a:pt x="232601" y="177832"/>
                            <a:pt x="232601" y="177832"/>
                          </a:cubicBezTo>
                          <a:cubicBezTo>
                            <a:pt x="230981" y="184976"/>
                            <a:pt x="183261" y="168688"/>
                            <a:pt x="152877" y="204883"/>
                          </a:cubicBezTo>
                          <a:cubicBezTo>
                            <a:pt x="144304" y="215075"/>
                            <a:pt x="102394" y="222885"/>
                            <a:pt x="88678" y="282988"/>
                          </a:cubicBezTo>
                          <a:cubicBezTo>
                            <a:pt x="33909" y="215837"/>
                            <a:pt x="3048" y="234125"/>
                            <a:pt x="0" y="234982"/>
                          </a:cubicBezTo>
                          <a:cubicBezTo>
                            <a:pt x="2572" y="219551"/>
                            <a:pt x="2667" y="206026"/>
                            <a:pt x="4382" y="195548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0" name="Freihandform: Form 149">
                      <a:extLst>
                        <a:ext uri="{FF2B5EF4-FFF2-40B4-BE49-F238E27FC236}">
                          <a16:creationId xmlns:a16="http://schemas.microsoft.com/office/drawing/2014/main" id="{8A5C9B05-F056-D1F4-A5B0-0402375B1DE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53659" y="3436239"/>
                      <a:ext cx="136397" cy="136398"/>
                    </a:xfrm>
                    <a:custGeom>
                      <a:avLst/>
                      <a:gdLst>
                        <a:gd name="connsiteX0" fmla="*/ 136398 w 136397"/>
                        <a:gd name="connsiteY0" fmla="*/ 68199 h 136398"/>
                        <a:gd name="connsiteX1" fmla="*/ 68199 w 136397"/>
                        <a:gd name="connsiteY1" fmla="*/ 136398 h 136398"/>
                        <a:gd name="connsiteX2" fmla="*/ 1 w 136397"/>
                        <a:gd name="connsiteY2" fmla="*/ 68199 h 136398"/>
                        <a:gd name="connsiteX3" fmla="*/ 68199 w 136397"/>
                        <a:gd name="connsiteY3" fmla="*/ 0 h 136398"/>
                        <a:gd name="connsiteX4" fmla="*/ 136398 w 136397"/>
                        <a:gd name="connsiteY4" fmla="*/ 68199 h 1363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36397" h="136398">
                          <a:moveTo>
                            <a:pt x="136398" y="68199"/>
                          </a:moveTo>
                          <a:cubicBezTo>
                            <a:pt x="136398" y="105864"/>
                            <a:pt x="105864" y="136398"/>
                            <a:pt x="68199" y="136398"/>
                          </a:cubicBezTo>
                          <a:cubicBezTo>
                            <a:pt x="30534" y="136398"/>
                            <a:pt x="1" y="105865"/>
                            <a:pt x="1" y="68199"/>
                          </a:cubicBezTo>
                          <a:cubicBezTo>
                            <a:pt x="1" y="30534"/>
                            <a:pt x="30534" y="0"/>
                            <a:pt x="68199" y="0"/>
                          </a:cubicBezTo>
                          <a:cubicBezTo>
                            <a:pt x="105864" y="0"/>
                            <a:pt x="136398" y="30534"/>
                            <a:pt x="136398" y="68199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sp>
              <p:nvSpPr>
                <p:cNvPr id="151" name="Freihandform: Form 150">
                  <a:extLst>
                    <a:ext uri="{FF2B5EF4-FFF2-40B4-BE49-F238E27FC236}">
                      <a16:creationId xmlns:a16="http://schemas.microsoft.com/office/drawing/2014/main" id="{985B5F64-D098-FC9F-8B69-1EB448DF1B1A}"/>
                    </a:ext>
                  </a:extLst>
                </p:cNvPr>
                <p:cNvSpPr/>
                <p:nvPr/>
              </p:nvSpPr>
              <p:spPr>
                <a:xfrm>
                  <a:off x="8688572" y="8112484"/>
                  <a:ext cx="1208416" cy="1222459"/>
                </a:xfrm>
                <a:custGeom>
                  <a:avLst/>
                  <a:gdLst>
                    <a:gd name="connsiteX0" fmla="*/ 1189550 w 1208416"/>
                    <a:gd name="connsiteY0" fmla="*/ 262626 h 1222459"/>
                    <a:gd name="connsiteX1" fmla="*/ 821695 w 1208416"/>
                    <a:gd name="connsiteY1" fmla="*/ 114131 h 1222459"/>
                    <a:gd name="connsiteX2" fmla="*/ 766641 w 1208416"/>
                    <a:gd name="connsiteY2" fmla="*/ 15071 h 1222459"/>
                    <a:gd name="connsiteX3" fmla="*/ 747971 w 1208416"/>
                    <a:gd name="connsiteY3" fmla="*/ 6879 h 1222459"/>
                    <a:gd name="connsiteX4" fmla="*/ 454506 w 1208416"/>
                    <a:gd name="connsiteY4" fmla="*/ 1164 h 1222459"/>
                    <a:gd name="connsiteX5" fmla="*/ 438885 w 1208416"/>
                    <a:gd name="connsiteY5" fmla="*/ 8975 h 1222459"/>
                    <a:gd name="connsiteX6" fmla="*/ 424026 w 1208416"/>
                    <a:gd name="connsiteY6" fmla="*/ 67744 h 1222459"/>
                    <a:gd name="connsiteX7" fmla="*/ 390879 w 1208416"/>
                    <a:gd name="connsiteY7" fmla="*/ 96986 h 1222459"/>
                    <a:gd name="connsiteX8" fmla="*/ 17594 w 1208416"/>
                    <a:gd name="connsiteY8" fmla="*/ 279771 h 1222459"/>
                    <a:gd name="connsiteX9" fmla="*/ 143896 w 1208416"/>
                    <a:gd name="connsiteY9" fmla="*/ 680868 h 1222459"/>
                    <a:gd name="connsiteX10" fmla="*/ 240384 w 1208416"/>
                    <a:gd name="connsiteY10" fmla="*/ 1222460 h 1222459"/>
                    <a:gd name="connsiteX11" fmla="*/ 955235 w 1208416"/>
                    <a:gd name="connsiteY11" fmla="*/ 1220364 h 1222459"/>
                    <a:gd name="connsiteX12" fmla="*/ 1093729 w 1208416"/>
                    <a:gd name="connsiteY12" fmla="*/ 696870 h 1222459"/>
                    <a:gd name="connsiteX13" fmla="*/ 1189455 w 1208416"/>
                    <a:gd name="connsiteY13" fmla="*/ 262530 h 1222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208416" h="1222459">
                      <a:moveTo>
                        <a:pt x="1189550" y="262626"/>
                      </a:moveTo>
                      <a:cubicBezTo>
                        <a:pt x="1103921" y="179663"/>
                        <a:pt x="966475" y="205666"/>
                        <a:pt x="821695" y="114131"/>
                      </a:cubicBezTo>
                      <a:cubicBezTo>
                        <a:pt x="785500" y="80793"/>
                        <a:pt x="771689" y="38597"/>
                        <a:pt x="766641" y="15071"/>
                      </a:cubicBezTo>
                      <a:cubicBezTo>
                        <a:pt x="764831" y="6689"/>
                        <a:pt x="755401" y="2593"/>
                        <a:pt x="747971" y="6879"/>
                      </a:cubicBezTo>
                      <a:cubicBezTo>
                        <a:pt x="655769" y="60791"/>
                        <a:pt x="553947" y="49837"/>
                        <a:pt x="454506" y="1164"/>
                      </a:cubicBezTo>
                      <a:cubicBezTo>
                        <a:pt x="447934" y="-2074"/>
                        <a:pt x="440123" y="1736"/>
                        <a:pt x="438885" y="8975"/>
                      </a:cubicBezTo>
                      <a:cubicBezTo>
                        <a:pt x="436504" y="22500"/>
                        <a:pt x="431932" y="44122"/>
                        <a:pt x="424026" y="67744"/>
                      </a:cubicBezTo>
                      <a:cubicBezTo>
                        <a:pt x="421073" y="74316"/>
                        <a:pt x="412501" y="88223"/>
                        <a:pt x="390879" y="96986"/>
                      </a:cubicBezTo>
                      <a:cubicBezTo>
                        <a:pt x="225049" y="164137"/>
                        <a:pt x="111987" y="195188"/>
                        <a:pt x="17594" y="279771"/>
                      </a:cubicBezTo>
                      <a:cubicBezTo>
                        <a:pt x="-59939" y="349303"/>
                        <a:pt x="143896" y="680868"/>
                        <a:pt x="143896" y="680868"/>
                      </a:cubicBezTo>
                      <a:lnTo>
                        <a:pt x="240384" y="1222460"/>
                      </a:lnTo>
                      <a:lnTo>
                        <a:pt x="955235" y="1220364"/>
                      </a:lnTo>
                      <a:lnTo>
                        <a:pt x="1093729" y="696870"/>
                      </a:lnTo>
                      <a:cubicBezTo>
                        <a:pt x="1093729" y="696870"/>
                        <a:pt x="1264227" y="335016"/>
                        <a:pt x="1189455" y="262530"/>
                      </a:cubicBezTo>
                      <a:close/>
                    </a:path>
                  </a:pathLst>
                </a:custGeom>
                <a:solidFill>
                  <a:srgbClr val="FFE98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2" name="Freihandform: Form 151">
                  <a:extLst>
                    <a:ext uri="{FF2B5EF4-FFF2-40B4-BE49-F238E27FC236}">
                      <a16:creationId xmlns:a16="http://schemas.microsoft.com/office/drawing/2014/main" id="{0225C28A-0ADB-46D7-A84D-CB7F75D56FC8}"/>
                    </a:ext>
                  </a:extLst>
                </p:cNvPr>
                <p:cNvSpPr/>
                <p:nvPr/>
              </p:nvSpPr>
              <p:spPr>
                <a:xfrm>
                  <a:off x="9209944" y="7953627"/>
                  <a:ext cx="147256" cy="49531"/>
                </a:xfrm>
                <a:custGeom>
                  <a:avLst/>
                  <a:gdLst>
                    <a:gd name="connsiteX0" fmla="*/ 0 w 147256"/>
                    <a:gd name="connsiteY0" fmla="*/ 5431 h 49531"/>
                    <a:gd name="connsiteX1" fmla="*/ 55721 w 147256"/>
                    <a:gd name="connsiteY1" fmla="*/ 573 h 49531"/>
                    <a:gd name="connsiteX2" fmla="*/ 70294 w 147256"/>
                    <a:gd name="connsiteY2" fmla="*/ 4002 h 49531"/>
                    <a:gd name="connsiteX3" fmla="*/ 84010 w 147256"/>
                    <a:gd name="connsiteY3" fmla="*/ 2 h 49531"/>
                    <a:gd name="connsiteX4" fmla="*/ 147256 w 147256"/>
                    <a:gd name="connsiteY4" fmla="*/ 5812 h 49531"/>
                    <a:gd name="connsiteX5" fmla="*/ 68389 w 147256"/>
                    <a:gd name="connsiteY5" fmla="*/ 49532 h 49531"/>
                    <a:gd name="connsiteX6" fmla="*/ 0 w 147256"/>
                    <a:gd name="connsiteY6" fmla="*/ 5431 h 49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7256" h="49531">
                      <a:moveTo>
                        <a:pt x="0" y="5431"/>
                      </a:moveTo>
                      <a:cubicBezTo>
                        <a:pt x="0" y="5431"/>
                        <a:pt x="19050" y="2859"/>
                        <a:pt x="55721" y="573"/>
                      </a:cubicBezTo>
                      <a:cubicBezTo>
                        <a:pt x="58578" y="383"/>
                        <a:pt x="61817" y="4193"/>
                        <a:pt x="70294" y="4002"/>
                      </a:cubicBezTo>
                      <a:cubicBezTo>
                        <a:pt x="80296" y="3812"/>
                        <a:pt x="80676" y="-94"/>
                        <a:pt x="84010" y="2"/>
                      </a:cubicBezTo>
                      <a:cubicBezTo>
                        <a:pt x="123539" y="1049"/>
                        <a:pt x="147256" y="5812"/>
                        <a:pt x="147256" y="5812"/>
                      </a:cubicBezTo>
                      <a:cubicBezTo>
                        <a:pt x="147256" y="5812"/>
                        <a:pt x="127635" y="49532"/>
                        <a:pt x="68389" y="49532"/>
                      </a:cubicBezTo>
                      <a:cubicBezTo>
                        <a:pt x="15049" y="49532"/>
                        <a:pt x="0" y="5431"/>
                        <a:pt x="0" y="5431"/>
                      </a:cubicBezTo>
                      <a:close/>
                    </a:path>
                  </a:pathLst>
                </a:custGeom>
                <a:solidFill>
                  <a:srgbClr val="4B2E1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3" name="Freihandform: Form 152">
                  <a:extLst>
                    <a:ext uri="{FF2B5EF4-FFF2-40B4-BE49-F238E27FC236}">
                      <a16:creationId xmlns:a16="http://schemas.microsoft.com/office/drawing/2014/main" id="{11498922-06B2-0A90-1733-3C1D8DFB854A}"/>
                    </a:ext>
                  </a:extLst>
                </p:cNvPr>
                <p:cNvSpPr/>
                <p:nvPr/>
              </p:nvSpPr>
              <p:spPr>
                <a:xfrm>
                  <a:off x="8620918" y="8339391"/>
                  <a:ext cx="314705" cy="314706"/>
                </a:xfrm>
                <a:custGeom>
                  <a:avLst/>
                  <a:gdLst>
                    <a:gd name="connsiteX0" fmla="*/ 314706 w 314705"/>
                    <a:gd name="connsiteY0" fmla="*/ 157353 h 314706"/>
                    <a:gd name="connsiteX1" fmla="*/ 157353 w 314705"/>
                    <a:gd name="connsiteY1" fmla="*/ 314706 h 314706"/>
                    <a:gd name="connsiteX2" fmla="*/ -1 w 314705"/>
                    <a:gd name="connsiteY2" fmla="*/ 157353 h 314706"/>
                    <a:gd name="connsiteX3" fmla="*/ 157353 w 314705"/>
                    <a:gd name="connsiteY3" fmla="*/ 0 h 314706"/>
                    <a:gd name="connsiteX4" fmla="*/ 314706 w 314705"/>
                    <a:gd name="connsiteY4" fmla="*/ 157353 h 314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4705" h="314706">
                      <a:moveTo>
                        <a:pt x="314706" y="157353"/>
                      </a:moveTo>
                      <a:cubicBezTo>
                        <a:pt x="314706" y="244257"/>
                        <a:pt x="244257" y="314706"/>
                        <a:pt x="157353" y="314706"/>
                      </a:cubicBezTo>
                      <a:cubicBezTo>
                        <a:pt x="70449" y="314706"/>
                        <a:pt x="-1" y="244257"/>
                        <a:pt x="-1" y="157353"/>
                      </a:cubicBezTo>
                      <a:cubicBezTo>
                        <a:pt x="-1" y="70449"/>
                        <a:pt x="70449" y="0"/>
                        <a:pt x="157353" y="0"/>
                      </a:cubicBezTo>
                      <a:cubicBezTo>
                        <a:pt x="244256" y="0"/>
                        <a:pt x="314706" y="70449"/>
                        <a:pt x="314706" y="15735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4" name="Freihandform: Form 153">
                  <a:extLst>
                    <a:ext uri="{FF2B5EF4-FFF2-40B4-BE49-F238E27FC236}">
                      <a16:creationId xmlns:a16="http://schemas.microsoft.com/office/drawing/2014/main" id="{187E0055-EE41-8421-7AE0-5ED8AD912C28}"/>
                    </a:ext>
                  </a:extLst>
                </p:cNvPr>
                <p:cNvSpPr/>
                <p:nvPr/>
              </p:nvSpPr>
              <p:spPr>
                <a:xfrm>
                  <a:off x="8398795" y="8394827"/>
                  <a:ext cx="523018" cy="989647"/>
                </a:xfrm>
                <a:custGeom>
                  <a:avLst/>
                  <a:gdLst>
                    <a:gd name="connsiteX0" fmla="*/ 0 w 523018"/>
                    <a:gd name="connsiteY0" fmla="*/ 947261 h 989647"/>
                    <a:gd name="connsiteX1" fmla="*/ 307467 w 523018"/>
                    <a:gd name="connsiteY1" fmla="*/ 989648 h 989647"/>
                    <a:gd name="connsiteX2" fmla="*/ 523018 w 523018"/>
                    <a:gd name="connsiteY2" fmla="*/ 167259 h 989647"/>
                    <a:gd name="connsiteX3" fmla="*/ 259747 w 523018"/>
                    <a:gd name="connsiteY3" fmla="*/ 0 h 989647"/>
                    <a:gd name="connsiteX4" fmla="*/ 0 w 523018"/>
                    <a:gd name="connsiteY4" fmla="*/ 947261 h 9896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3018" h="989647">
                      <a:moveTo>
                        <a:pt x="0" y="947261"/>
                      </a:moveTo>
                      <a:lnTo>
                        <a:pt x="307467" y="989648"/>
                      </a:lnTo>
                      <a:lnTo>
                        <a:pt x="523018" y="167259"/>
                      </a:lnTo>
                      <a:lnTo>
                        <a:pt x="259747" y="0"/>
                      </a:lnTo>
                      <a:cubicBezTo>
                        <a:pt x="171069" y="80486"/>
                        <a:pt x="0" y="947261"/>
                        <a:pt x="0" y="94726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5" name="Freihandform: Form 154">
                  <a:extLst>
                    <a:ext uri="{FF2B5EF4-FFF2-40B4-BE49-F238E27FC236}">
                      <a16:creationId xmlns:a16="http://schemas.microsoft.com/office/drawing/2014/main" id="{AC2D8300-597A-BCDC-C56D-1E149E70B5B9}"/>
                    </a:ext>
                  </a:extLst>
                </p:cNvPr>
                <p:cNvSpPr/>
                <p:nvPr/>
              </p:nvSpPr>
              <p:spPr>
                <a:xfrm>
                  <a:off x="8398128" y="9204071"/>
                  <a:ext cx="310133" cy="310134"/>
                </a:xfrm>
                <a:custGeom>
                  <a:avLst/>
                  <a:gdLst>
                    <a:gd name="connsiteX0" fmla="*/ 310134 w 310133"/>
                    <a:gd name="connsiteY0" fmla="*/ 155067 h 310134"/>
                    <a:gd name="connsiteX1" fmla="*/ 155067 w 310133"/>
                    <a:gd name="connsiteY1" fmla="*/ 310134 h 310134"/>
                    <a:gd name="connsiteX2" fmla="*/ -1 w 310133"/>
                    <a:gd name="connsiteY2" fmla="*/ 155067 h 310134"/>
                    <a:gd name="connsiteX3" fmla="*/ 155067 w 310133"/>
                    <a:gd name="connsiteY3" fmla="*/ 0 h 310134"/>
                    <a:gd name="connsiteX4" fmla="*/ 310134 w 310133"/>
                    <a:gd name="connsiteY4" fmla="*/ 155067 h 3101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0133" h="310134">
                      <a:moveTo>
                        <a:pt x="310134" y="155067"/>
                      </a:moveTo>
                      <a:cubicBezTo>
                        <a:pt x="310134" y="240708"/>
                        <a:pt x="240708" y="310134"/>
                        <a:pt x="155067" y="310134"/>
                      </a:cubicBezTo>
                      <a:cubicBezTo>
                        <a:pt x="69425" y="310134"/>
                        <a:pt x="-1" y="240708"/>
                        <a:pt x="-1" y="155067"/>
                      </a:cubicBezTo>
                      <a:cubicBezTo>
                        <a:pt x="-1" y="69426"/>
                        <a:pt x="69425" y="0"/>
                        <a:pt x="155067" y="0"/>
                      </a:cubicBezTo>
                      <a:cubicBezTo>
                        <a:pt x="240708" y="0"/>
                        <a:pt x="310134" y="69426"/>
                        <a:pt x="310134" y="15506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6" name="Freihandform: Form 155">
                  <a:extLst>
                    <a:ext uri="{FF2B5EF4-FFF2-40B4-BE49-F238E27FC236}">
                      <a16:creationId xmlns:a16="http://schemas.microsoft.com/office/drawing/2014/main" id="{5ED076B0-4F74-B6DA-C9C8-A4EAA0A2B706}"/>
                    </a:ext>
                  </a:extLst>
                </p:cNvPr>
                <p:cNvSpPr/>
                <p:nvPr/>
              </p:nvSpPr>
              <p:spPr>
                <a:xfrm>
                  <a:off x="8616251" y="8188610"/>
                  <a:ext cx="575214" cy="3144202"/>
                </a:xfrm>
                <a:custGeom>
                  <a:avLst/>
                  <a:gdLst>
                    <a:gd name="connsiteX0" fmla="*/ 197358 w 575214"/>
                    <a:gd name="connsiteY0" fmla="*/ 1136999 h 3144202"/>
                    <a:gd name="connsiteX1" fmla="*/ 0 w 575214"/>
                    <a:gd name="connsiteY1" fmla="*/ 3144203 h 3144202"/>
                    <a:gd name="connsiteX2" fmla="*/ 527590 w 575214"/>
                    <a:gd name="connsiteY2" fmla="*/ 3144203 h 3144202"/>
                    <a:gd name="connsiteX3" fmla="*/ 575215 w 575214"/>
                    <a:gd name="connsiteY3" fmla="*/ 576167 h 3144202"/>
                    <a:gd name="connsiteX4" fmla="*/ 467868 w 575214"/>
                    <a:gd name="connsiteY4" fmla="*/ 0 h 3144202"/>
                    <a:gd name="connsiteX5" fmla="*/ 28194 w 575214"/>
                    <a:gd name="connsiteY5" fmla="*/ 225647 h 3144202"/>
                    <a:gd name="connsiteX6" fmla="*/ 216312 w 575214"/>
                    <a:gd name="connsiteY6" fmla="*/ 604838 h 3144202"/>
                    <a:gd name="connsiteX7" fmla="*/ 197453 w 575214"/>
                    <a:gd name="connsiteY7" fmla="*/ 1137095 h 3144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75214" h="3144202">
                      <a:moveTo>
                        <a:pt x="197358" y="1136999"/>
                      </a:moveTo>
                      <a:cubicBezTo>
                        <a:pt x="-28861" y="1726597"/>
                        <a:pt x="51340" y="2820543"/>
                        <a:pt x="0" y="3144203"/>
                      </a:cubicBezTo>
                      <a:lnTo>
                        <a:pt x="527590" y="3144203"/>
                      </a:lnTo>
                      <a:lnTo>
                        <a:pt x="575215" y="576167"/>
                      </a:lnTo>
                      <a:lnTo>
                        <a:pt x="467868" y="0"/>
                      </a:lnTo>
                      <a:cubicBezTo>
                        <a:pt x="302037" y="67151"/>
                        <a:pt x="69437" y="144590"/>
                        <a:pt x="28194" y="225647"/>
                      </a:cubicBezTo>
                      <a:cubicBezTo>
                        <a:pt x="120682" y="378047"/>
                        <a:pt x="216312" y="604838"/>
                        <a:pt x="216312" y="604838"/>
                      </a:cubicBezTo>
                      <a:cubicBezTo>
                        <a:pt x="216312" y="604838"/>
                        <a:pt x="200406" y="745903"/>
                        <a:pt x="197453" y="113709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7" name="Freihandform: Form 156">
                  <a:extLst>
                    <a:ext uri="{FF2B5EF4-FFF2-40B4-BE49-F238E27FC236}">
                      <a16:creationId xmlns:a16="http://schemas.microsoft.com/office/drawing/2014/main" id="{428B9EF3-D082-6A9A-5217-A7DEF58B5FFC}"/>
                    </a:ext>
                  </a:extLst>
                </p:cNvPr>
                <p:cNvSpPr/>
                <p:nvPr/>
              </p:nvSpPr>
              <p:spPr>
                <a:xfrm>
                  <a:off x="8923527" y="8237759"/>
                  <a:ext cx="199834" cy="706945"/>
                </a:xfrm>
                <a:custGeom>
                  <a:avLst/>
                  <a:gdLst>
                    <a:gd name="connsiteX0" fmla="*/ 35528 w 199834"/>
                    <a:gd name="connsiteY0" fmla="*/ 0 h 706945"/>
                    <a:gd name="connsiteX1" fmla="*/ 0 w 199834"/>
                    <a:gd name="connsiteY1" fmla="*/ 13906 h 706945"/>
                    <a:gd name="connsiteX2" fmla="*/ 88106 w 199834"/>
                    <a:gd name="connsiteY2" fmla="*/ 352234 h 706945"/>
                    <a:gd name="connsiteX3" fmla="*/ 199834 w 199834"/>
                    <a:gd name="connsiteY3" fmla="*/ 706946 h 706945"/>
                    <a:gd name="connsiteX4" fmla="*/ 123539 w 199834"/>
                    <a:gd name="connsiteY4" fmla="*/ 352234 h 706945"/>
                    <a:gd name="connsiteX5" fmla="*/ 35623 w 199834"/>
                    <a:gd name="connsiteY5" fmla="*/ 0 h 706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99834" h="706945">
                      <a:moveTo>
                        <a:pt x="35528" y="0"/>
                      </a:moveTo>
                      <a:lnTo>
                        <a:pt x="0" y="13906"/>
                      </a:lnTo>
                      <a:cubicBezTo>
                        <a:pt x="0" y="13906"/>
                        <a:pt x="76009" y="206692"/>
                        <a:pt x="88106" y="352234"/>
                      </a:cubicBezTo>
                      <a:cubicBezTo>
                        <a:pt x="100108" y="497776"/>
                        <a:pt x="199834" y="706946"/>
                        <a:pt x="199834" y="706946"/>
                      </a:cubicBezTo>
                      <a:cubicBezTo>
                        <a:pt x="199834" y="706946"/>
                        <a:pt x="128968" y="398050"/>
                        <a:pt x="123539" y="352234"/>
                      </a:cubicBezTo>
                      <a:cubicBezTo>
                        <a:pt x="118110" y="306419"/>
                        <a:pt x="35623" y="0"/>
                        <a:pt x="35623" y="0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8" name="Freihandform: Form 157">
                  <a:extLst>
                    <a:ext uri="{FF2B5EF4-FFF2-40B4-BE49-F238E27FC236}">
                      <a16:creationId xmlns:a16="http://schemas.microsoft.com/office/drawing/2014/main" id="{18507769-A6D6-D035-0333-5AC014C97E8C}"/>
                    </a:ext>
                  </a:extLst>
                </p:cNvPr>
                <p:cNvSpPr/>
                <p:nvPr/>
              </p:nvSpPr>
              <p:spPr>
                <a:xfrm>
                  <a:off x="8664457" y="8777255"/>
                  <a:ext cx="159748" cy="575881"/>
                </a:xfrm>
                <a:custGeom>
                  <a:avLst/>
                  <a:gdLst>
                    <a:gd name="connsiteX0" fmla="*/ 132483 w 159748"/>
                    <a:gd name="connsiteY0" fmla="*/ 0 h 575881"/>
                    <a:gd name="connsiteX1" fmla="*/ 6753 w 159748"/>
                    <a:gd name="connsiteY1" fmla="*/ 303467 h 575881"/>
                    <a:gd name="connsiteX2" fmla="*/ 50568 w 159748"/>
                    <a:gd name="connsiteY2" fmla="*/ 575881 h 575881"/>
                    <a:gd name="connsiteX3" fmla="*/ 50568 w 159748"/>
                    <a:gd name="connsiteY3" fmla="*/ 575881 h 575881"/>
                    <a:gd name="connsiteX4" fmla="*/ 157343 w 159748"/>
                    <a:gd name="connsiteY4" fmla="*/ 197834 h 575881"/>
                    <a:gd name="connsiteX5" fmla="*/ 132387 w 159748"/>
                    <a:gd name="connsiteY5" fmla="*/ 0 h 575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59748" h="575881">
                      <a:moveTo>
                        <a:pt x="132483" y="0"/>
                      </a:moveTo>
                      <a:cubicBezTo>
                        <a:pt x="80191" y="30004"/>
                        <a:pt x="-28013" y="139351"/>
                        <a:pt x="6753" y="303467"/>
                      </a:cubicBezTo>
                      <a:cubicBezTo>
                        <a:pt x="41614" y="467582"/>
                        <a:pt x="50568" y="575881"/>
                        <a:pt x="50568" y="575881"/>
                      </a:cubicBezTo>
                      <a:lnTo>
                        <a:pt x="50568" y="575881"/>
                      </a:lnTo>
                      <a:lnTo>
                        <a:pt x="157343" y="197834"/>
                      </a:lnTo>
                      <a:cubicBezTo>
                        <a:pt x="160201" y="166592"/>
                        <a:pt x="166582" y="73057"/>
                        <a:pt x="132387" y="0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9" name="Freihandform: Form 158">
                  <a:extLst>
                    <a:ext uri="{FF2B5EF4-FFF2-40B4-BE49-F238E27FC236}">
                      <a16:creationId xmlns:a16="http://schemas.microsoft.com/office/drawing/2014/main" id="{9724B1A0-2EC5-CA8A-1856-A5CE13B9B99A}"/>
                    </a:ext>
                  </a:extLst>
                </p:cNvPr>
                <p:cNvSpPr/>
                <p:nvPr/>
              </p:nvSpPr>
              <p:spPr>
                <a:xfrm>
                  <a:off x="8695689" y="9943306"/>
                  <a:ext cx="330837" cy="409959"/>
                </a:xfrm>
                <a:custGeom>
                  <a:avLst/>
                  <a:gdLst>
                    <a:gd name="connsiteX0" fmla="*/ 49911 w 330837"/>
                    <a:gd name="connsiteY0" fmla="*/ 0 h 409959"/>
                    <a:gd name="connsiteX1" fmla="*/ 37338 w 330837"/>
                    <a:gd name="connsiteY1" fmla="*/ 351377 h 409959"/>
                    <a:gd name="connsiteX2" fmla="*/ 330804 w 330837"/>
                    <a:gd name="connsiteY2" fmla="*/ 359093 h 409959"/>
                    <a:gd name="connsiteX3" fmla="*/ 0 w 330837"/>
                    <a:gd name="connsiteY3" fmla="*/ 388715 h 409959"/>
                    <a:gd name="connsiteX4" fmla="*/ 25146 w 330837"/>
                    <a:gd name="connsiteY4" fmla="*/ 81724 h 409959"/>
                    <a:gd name="connsiteX5" fmla="*/ 49911 w 330837"/>
                    <a:gd name="connsiteY5" fmla="*/ 0 h 409959"/>
                    <a:gd name="connsiteX6" fmla="*/ 49911 w 330837"/>
                    <a:gd name="connsiteY6" fmla="*/ 0 h 409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30837" h="409959">
                      <a:moveTo>
                        <a:pt x="49911" y="0"/>
                      </a:moveTo>
                      <a:cubicBezTo>
                        <a:pt x="49911" y="0"/>
                        <a:pt x="33909" y="310229"/>
                        <a:pt x="37338" y="351377"/>
                      </a:cubicBezTo>
                      <a:cubicBezTo>
                        <a:pt x="43149" y="368713"/>
                        <a:pt x="307372" y="358616"/>
                        <a:pt x="330804" y="359093"/>
                      </a:cubicBezTo>
                      <a:cubicBezTo>
                        <a:pt x="334709" y="393859"/>
                        <a:pt x="0" y="436340"/>
                        <a:pt x="0" y="388715"/>
                      </a:cubicBezTo>
                      <a:cubicBezTo>
                        <a:pt x="0" y="341090"/>
                        <a:pt x="20193" y="122015"/>
                        <a:pt x="25146" y="81724"/>
                      </a:cubicBezTo>
                      <a:cubicBezTo>
                        <a:pt x="31909" y="25813"/>
                        <a:pt x="32861" y="8572"/>
                        <a:pt x="49911" y="0"/>
                      </a:cubicBezTo>
                      <a:lnTo>
                        <a:pt x="49911" y="0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0" name="Freihandform: Form 159">
                  <a:extLst>
                    <a:ext uri="{FF2B5EF4-FFF2-40B4-BE49-F238E27FC236}">
                      <a16:creationId xmlns:a16="http://schemas.microsoft.com/office/drawing/2014/main" id="{ECD1431D-A7A3-E30B-0D66-4FF18466F40D}"/>
                    </a:ext>
                  </a:extLst>
                </p:cNvPr>
                <p:cNvSpPr/>
                <p:nvPr/>
              </p:nvSpPr>
              <p:spPr>
                <a:xfrm>
                  <a:off x="9393395" y="8211756"/>
                  <a:ext cx="575977" cy="3121056"/>
                </a:xfrm>
                <a:custGeom>
                  <a:avLst/>
                  <a:gdLst>
                    <a:gd name="connsiteX0" fmla="*/ 575977 w 575977"/>
                    <a:gd name="connsiteY0" fmla="*/ 3121057 h 3121056"/>
                    <a:gd name="connsiteX1" fmla="*/ 377857 w 575977"/>
                    <a:gd name="connsiteY1" fmla="*/ 1113854 h 3121056"/>
                    <a:gd name="connsiteX2" fmla="*/ 358997 w 575977"/>
                    <a:gd name="connsiteY2" fmla="*/ 581597 h 3121056"/>
                    <a:gd name="connsiteX3" fmla="*/ 540925 w 575977"/>
                    <a:gd name="connsiteY3" fmla="*/ 220123 h 3121056"/>
                    <a:gd name="connsiteX4" fmla="*/ 102680 w 575977"/>
                    <a:gd name="connsiteY4" fmla="*/ 0 h 3121056"/>
                    <a:gd name="connsiteX5" fmla="*/ 0 w 575977"/>
                    <a:gd name="connsiteY5" fmla="*/ 552926 h 3121056"/>
                    <a:gd name="connsiteX6" fmla="*/ 47816 w 575977"/>
                    <a:gd name="connsiteY6" fmla="*/ 3120962 h 3121056"/>
                    <a:gd name="connsiteX7" fmla="*/ 575977 w 575977"/>
                    <a:gd name="connsiteY7" fmla="*/ 3120962 h 3121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75977" h="3121056">
                      <a:moveTo>
                        <a:pt x="575977" y="3121057"/>
                      </a:moveTo>
                      <a:cubicBezTo>
                        <a:pt x="522923" y="2803493"/>
                        <a:pt x="605219" y="1706594"/>
                        <a:pt x="377857" y="1113854"/>
                      </a:cubicBezTo>
                      <a:cubicBezTo>
                        <a:pt x="374904" y="722757"/>
                        <a:pt x="358997" y="581597"/>
                        <a:pt x="358997" y="581597"/>
                      </a:cubicBezTo>
                      <a:cubicBezTo>
                        <a:pt x="358997" y="581597"/>
                        <a:pt x="448437" y="372523"/>
                        <a:pt x="540925" y="220123"/>
                      </a:cubicBezTo>
                      <a:cubicBezTo>
                        <a:pt x="496729" y="112681"/>
                        <a:pt x="254889" y="58102"/>
                        <a:pt x="102680" y="0"/>
                      </a:cubicBezTo>
                      <a:lnTo>
                        <a:pt x="0" y="552926"/>
                      </a:lnTo>
                      <a:lnTo>
                        <a:pt x="47816" y="3120962"/>
                      </a:lnTo>
                      <a:lnTo>
                        <a:pt x="575977" y="312096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1" name="Freihandform: Form 160">
                  <a:extLst>
                    <a:ext uri="{FF2B5EF4-FFF2-40B4-BE49-F238E27FC236}">
                      <a16:creationId xmlns:a16="http://schemas.microsoft.com/office/drawing/2014/main" id="{E94B8753-FD2E-50BC-C29D-31EA77A7B3D5}"/>
                    </a:ext>
                  </a:extLst>
                </p:cNvPr>
                <p:cNvSpPr/>
                <p:nvPr/>
              </p:nvSpPr>
              <p:spPr>
                <a:xfrm>
                  <a:off x="9346962" y="8048069"/>
                  <a:ext cx="321998" cy="541925"/>
                </a:xfrm>
                <a:custGeom>
                  <a:avLst/>
                  <a:gdLst>
                    <a:gd name="connsiteX0" fmla="*/ 108251 w 321998"/>
                    <a:gd name="connsiteY0" fmla="*/ 79486 h 541925"/>
                    <a:gd name="connsiteX1" fmla="*/ 300084 w 321998"/>
                    <a:gd name="connsiteY1" fmla="*/ 216265 h 541925"/>
                    <a:gd name="connsiteX2" fmla="*/ 180641 w 321998"/>
                    <a:gd name="connsiteY2" fmla="*/ 354378 h 541925"/>
                    <a:gd name="connsiteX3" fmla="*/ 149113 w 321998"/>
                    <a:gd name="connsiteY3" fmla="*/ 541925 h 541925"/>
                    <a:gd name="connsiteX4" fmla="*/ 35289 w 321998"/>
                    <a:gd name="connsiteY4" fmla="*/ 264176 h 541925"/>
                    <a:gd name="connsiteX5" fmla="*/ 108251 w 321998"/>
                    <a:gd name="connsiteY5" fmla="*/ 79486 h 541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1998" h="541925">
                      <a:moveTo>
                        <a:pt x="108251" y="79486"/>
                      </a:moveTo>
                      <a:cubicBezTo>
                        <a:pt x="82534" y="-113585"/>
                        <a:pt x="407717" y="89964"/>
                        <a:pt x="300084" y="216265"/>
                      </a:cubicBezTo>
                      <a:cubicBezTo>
                        <a:pt x="300084" y="216265"/>
                        <a:pt x="221217" y="286750"/>
                        <a:pt x="180641" y="354378"/>
                      </a:cubicBezTo>
                      <a:cubicBezTo>
                        <a:pt x="140064" y="422005"/>
                        <a:pt x="146256" y="484870"/>
                        <a:pt x="149113" y="541925"/>
                      </a:cubicBezTo>
                      <a:cubicBezTo>
                        <a:pt x="-20336" y="527161"/>
                        <a:pt x="-25194" y="321612"/>
                        <a:pt x="35289" y="264176"/>
                      </a:cubicBezTo>
                      <a:cubicBezTo>
                        <a:pt x="133968" y="170450"/>
                        <a:pt x="123015" y="126635"/>
                        <a:pt x="108251" y="7948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2" name="Freihandform: Form 161">
                  <a:extLst>
                    <a:ext uri="{FF2B5EF4-FFF2-40B4-BE49-F238E27FC236}">
                      <a16:creationId xmlns:a16="http://schemas.microsoft.com/office/drawing/2014/main" id="{EF20A702-583F-A000-508D-7D09859DA7CB}"/>
                    </a:ext>
                  </a:extLst>
                </p:cNvPr>
                <p:cNvSpPr/>
                <p:nvPr/>
              </p:nvSpPr>
              <p:spPr>
                <a:xfrm>
                  <a:off x="8386350" y="9342088"/>
                  <a:ext cx="319816" cy="722471"/>
                </a:xfrm>
                <a:custGeom>
                  <a:avLst/>
                  <a:gdLst>
                    <a:gd name="connsiteX0" fmla="*/ 11778 w 319816"/>
                    <a:gd name="connsiteY0" fmla="*/ 722471 h 722471"/>
                    <a:gd name="connsiteX1" fmla="*/ 243998 w 319816"/>
                    <a:gd name="connsiteY1" fmla="*/ 722471 h 722471"/>
                    <a:gd name="connsiteX2" fmla="*/ 319817 w 319816"/>
                    <a:gd name="connsiteY2" fmla="*/ 42386 h 722471"/>
                    <a:gd name="connsiteX3" fmla="*/ 12350 w 319816"/>
                    <a:gd name="connsiteY3" fmla="*/ 0 h 722471"/>
                    <a:gd name="connsiteX4" fmla="*/ 11683 w 319816"/>
                    <a:gd name="connsiteY4" fmla="*/ 722471 h 7224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9816" h="722471">
                      <a:moveTo>
                        <a:pt x="11778" y="722471"/>
                      </a:moveTo>
                      <a:lnTo>
                        <a:pt x="243998" y="722471"/>
                      </a:lnTo>
                      <a:cubicBezTo>
                        <a:pt x="243998" y="722471"/>
                        <a:pt x="304100" y="215360"/>
                        <a:pt x="319817" y="42386"/>
                      </a:cubicBezTo>
                      <a:lnTo>
                        <a:pt x="12350" y="0"/>
                      </a:lnTo>
                      <a:cubicBezTo>
                        <a:pt x="12350" y="339566"/>
                        <a:pt x="-14987" y="531781"/>
                        <a:pt x="11683" y="72247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3" name="Freihandform: Form 162">
                  <a:extLst>
                    <a:ext uri="{FF2B5EF4-FFF2-40B4-BE49-F238E27FC236}">
                      <a16:creationId xmlns:a16="http://schemas.microsoft.com/office/drawing/2014/main" id="{A9858B92-41E1-D564-8C3B-907D068FCFBF}"/>
                    </a:ext>
                  </a:extLst>
                </p:cNvPr>
                <p:cNvSpPr/>
                <p:nvPr/>
              </p:nvSpPr>
              <p:spPr>
                <a:xfrm>
                  <a:off x="9633235" y="8339391"/>
                  <a:ext cx="314705" cy="314706"/>
                </a:xfrm>
                <a:custGeom>
                  <a:avLst/>
                  <a:gdLst>
                    <a:gd name="connsiteX0" fmla="*/ 314706 w 314705"/>
                    <a:gd name="connsiteY0" fmla="*/ 157353 h 314706"/>
                    <a:gd name="connsiteX1" fmla="*/ 157353 w 314705"/>
                    <a:gd name="connsiteY1" fmla="*/ 314706 h 314706"/>
                    <a:gd name="connsiteX2" fmla="*/ 0 w 314705"/>
                    <a:gd name="connsiteY2" fmla="*/ 157353 h 314706"/>
                    <a:gd name="connsiteX3" fmla="*/ 157353 w 314705"/>
                    <a:gd name="connsiteY3" fmla="*/ 0 h 314706"/>
                    <a:gd name="connsiteX4" fmla="*/ 314706 w 314705"/>
                    <a:gd name="connsiteY4" fmla="*/ 157353 h 314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4705" h="314706">
                      <a:moveTo>
                        <a:pt x="314706" y="157353"/>
                      </a:moveTo>
                      <a:cubicBezTo>
                        <a:pt x="314706" y="244257"/>
                        <a:pt x="244257" y="314706"/>
                        <a:pt x="157353" y="314706"/>
                      </a:cubicBezTo>
                      <a:cubicBezTo>
                        <a:pt x="70449" y="314706"/>
                        <a:pt x="0" y="244257"/>
                        <a:pt x="0" y="157353"/>
                      </a:cubicBezTo>
                      <a:cubicBezTo>
                        <a:pt x="0" y="70449"/>
                        <a:pt x="70449" y="0"/>
                        <a:pt x="157353" y="0"/>
                      </a:cubicBezTo>
                      <a:cubicBezTo>
                        <a:pt x="244256" y="0"/>
                        <a:pt x="314706" y="70449"/>
                        <a:pt x="314706" y="15735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4" name="Freihandform: Form 163">
                  <a:extLst>
                    <a:ext uri="{FF2B5EF4-FFF2-40B4-BE49-F238E27FC236}">
                      <a16:creationId xmlns:a16="http://schemas.microsoft.com/office/drawing/2014/main" id="{1BC5C391-05AC-9562-1452-E6FD39E1ED8C}"/>
                    </a:ext>
                  </a:extLst>
                </p:cNvPr>
                <p:cNvSpPr/>
                <p:nvPr/>
              </p:nvSpPr>
              <p:spPr>
                <a:xfrm>
                  <a:off x="9658000" y="8417591"/>
                  <a:ext cx="625982" cy="890015"/>
                </a:xfrm>
                <a:custGeom>
                  <a:avLst/>
                  <a:gdLst>
                    <a:gd name="connsiteX0" fmla="*/ 625888 w 625982"/>
                    <a:gd name="connsiteY0" fmla="*/ 774287 h 890015"/>
                    <a:gd name="connsiteX1" fmla="*/ 334518 w 625982"/>
                    <a:gd name="connsiteY1" fmla="*/ 890016 h 890015"/>
                    <a:gd name="connsiteX2" fmla="*/ 135064 w 625982"/>
                    <a:gd name="connsiteY2" fmla="*/ 426720 h 890015"/>
                    <a:gd name="connsiteX3" fmla="*/ 0 w 625982"/>
                    <a:gd name="connsiteY3" fmla="*/ 163163 h 890015"/>
                    <a:gd name="connsiteX4" fmla="*/ 268986 w 625982"/>
                    <a:gd name="connsiteY4" fmla="*/ 0 h 890015"/>
                    <a:gd name="connsiteX5" fmla="*/ 430339 w 625982"/>
                    <a:gd name="connsiteY5" fmla="*/ 315373 h 890015"/>
                    <a:gd name="connsiteX6" fmla="*/ 625983 w 625982"/>
                    <a:gd name="connsiteY6" fmla="*/ 774287 h 890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5982" h="890015">
                      <a:moveTo>
                        <a:pt x="625888" y="774287"/>
                      </a:moveTo>
                      <a:lnTo>
                        <a:pt x="334518" y="890016"/>
                      </a:lnTo>
                      <a:lnTo>
                        <a:pt x="135064" y="426720"/>
                      </a:lnTo>
                      <a:lnTo>
                        <a:pt x="0" y="163163"/>
                      </a:lnTo>
                      <a:lnTo>
                        <a:pt x="268986" y="0"/>
                      </a:lnTo>
                      <a:cubicBezTo>
                        <a:pt x="311182" y="74009"/>
                        <a:pt x="367665" y="187928"/>
                        <a:pt x="430339" y="315373"/>
                      </a:cubicBezTo>
                      <a:cubicBezTo>
                        <a:pt x="529780" y="517589"/>
                        <a:pt x="625983" y="774287"/>
                        <a:pt x="625983" y="77428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5" name="Freihandform: Form 164">
                  <a:extLst>
                    <a:ext uri="{FF2B5EF4-FFF2-40B4-BE49-F238E27FC236}">
                      <a16:creationId xmlns:a16="http://schemas.microsoft.com/office/drawing/2014/main" id="{FC2F2DBD-EF16-FDCF-5CD0-F1C7EADFA2F8}"/>
                    </a:ext>
                  </a:extLst>
                </p:cNvPr>
                <p:cNvSpPr/>
                <p:nvPr/>
              </p:nvSpPr>
              <p:spPr>
                <a:xfrm>
                  <a:off x="9381870" y="8729059"/>
                  <a:ext cx="596360" cy="785241"/>
                </a:xfrm>
                <a:custGeom>
                  <a:avLst/>
                  <a:gdLst>
                    <a:gd name="connsiteX0" fmla="*/ 572548 w 596360"/>
                    <a:gd name="connsiteY0" fmla="*/ 0 h 785241"/>
                    <a:gd name="connsiteX1" fmla="*/ 596360 w 596360"/>
                    <a:gd name="connsiteY1" fmla="*/ 23813 h 785241"/>
                    <a:gd name="connsiteX2" fmla="*/ 596360 w 596360"/>
                    <a:gd name="connsiteY2" fmla="*/ 761429 h 785241"/>
                    <a:gd name="connsiteX3" fmla="*/ 572548 w 596360"/>
                    <a:gd name="connsiteY3" fmla="*/ 785241 h 785241"/>
                    <a:gd name="connsiteX4" fmla="*/ 23813 w 596360"/>
                    <a:gd name="connsiteY4" fmla="*/ 785241 h 785241"/>
                    <a:gd name="connsiteX5" fmla="*/ 0 w 596360"/>
                    <a:gd name="connsiteY5" fmla="*/ 761429 h 785241"/>
                    <a:gd name="connsiteX6" fmla="*/ 0 w 596360"/>
                    <a:gd name="connsiteY6" fmla="*/ 23813 h 785241"/>
                    <a:gd name="connsiteX7" fmla="*/ 23813 w 596360"/>
                    <a:gd name="connsiteY7" fmla="*/ 0 h 785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96360" h="785241">
                      <a:moveTo>
                        <a:pt x="572548" y="0"/>
                      </a:moveTo>
                      <a:cubicBezTo>
                        <a:pt x="585699" y="0"/>
                        <a:pt x="596360" y="10661"/>
                        <a:pt x="596360" y="23813"/>
                      </a:cubicBezTo>
                      <a:lnTo>
                        <a:pt x="596360" y="761429"/>
                      </a:lnTo>
                      <a:cubicBezTo>
                        <a:pt x="596360" y="774580"/>
                        <a:pt x="585699" y="785241"/>
                        <a:pt x="572548" y="785241"/>
                      </a:cubicBezTo>
                      <a:lnTo>
                        <a:pt x="23813" y="785241"/>
                      </a:lnTo>
                      <a:cubicBezTo>
                        <a:pt x="10661" y="785241"/>
                        <a:pt x="0" y="774580"/>
                        <a:pt x="0" y="761429"/>
                      </a:cubicBezTo>
                      <a:lnTo>
                        <a:pt x="0" y="23813"/>
                      </a:lnTo>
                      <a:cubicBezTo>
                        <a:pt x="0" y="10661"/>
                        <a:pt x="10661" y="0"/>
                        <a:pt x="23813" y="0"/>
                      </a:cubicBezTo>
                      <a:close/>
                    </a:path>
                  </a:pathLst>
                </a:custGeom>
                <a:solidFill>
                  <a:srgbClr val="EDEDE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6" name="Freihandform: Form 165">
                  <a:extLst>
                    <a:ext uri="{FF2B5EF4-FFF2-40B4-BE49-F238E27FC236}">
                      <a16:creationId xmlns:a16="http://schemas.microsoft.com/office/drawing/2014/main" id="{74F51648-D0C5-7588-444D-05093F679C0E}"/>
                    </a:ext>
                  </a:extLst>
                </p:cNvPr>
                <p:cNvSpPr/>
                <p:nvPr/>
              </p:nvSpPr>
              <p:spPr>
                <a:xfrm>
                  <a:off x="9348914" y="8729059"/>
                  <a:ext cx="596360" cy="785241"/>
                </a:xfrm>
                <a:custGeom>
                  <a:avLst/>
                  <a:gdLst>
                    <a:gd name="connsiteX0" fmla="*/ 0 w 596360"/>
                    <a:gd name="connsiteY0" fmla="*/ 0 h 785241"/>
                    <a:gd name="connsiteX1" fmla="*/ 596360 w 596360"/>
                    <a:gd name="connsiteY1" fmla="*/ 0 h 785241"/>
                    <a:gd name="connsiteX2" fmla="*/ 596360 w 596360"/>
                    <a:gd name="connsiteY2" fmla="*/ 785241 h 785241"/>
                    <a:gd name="connsiteX3" fmla="*/ 0 w 596360"/>
                    <a:gd name="connsiteY3" fmla="*/ 785241 h 785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96360" h="785241">
                      <a:moveTo>
                        <a:pt x="0" y="0"/>
                      </a:moveTo>
                      <a:lnTo>
                        <a:pt x="596360" y="0"/>
                      </a:lnTo>
                      <a:lnTo>
                        <a:pt x="596360" y="785241"/>
                      </a:lnTo>
                      <a:lnTo>
                        <a:pt x="0" y="785241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7" name="Freihandform: Form 166">
                  <a:extLst>
                    <a:ext uri="{FF2B5EF4-FFF2-40B4-BE49-F238E27FC236}">
                      <a16:creationId xmlns:a16="http://schemas.microsoft.com/office/drawing/2014/main" id="{E6236043-A530-38BD-D818-F119299DE817}"/>
                    </a:ext>
                  </a:extLst>
                </p:cNvPr>
                <p:cNvSpPr/>
                <p:nvPr/>
              </p:nvSpPr>
              <p:spPr>
                <a:xfrm>
                  <a:off x="9578942" y="8850693"/>
                  <a:ext cx="123253" cy="123253"/>
                </a:xfrm>
                <a:custGeom>
                  <a:avLst/>
                  <a:gdLst>
                    <a:gd name="connsiteX0" fmla="*/ 123254 w 123253"/>
                    <a:gd name="connsiteY0" fmla="*/ 61627 h 123253"/>
                    <a:gd name="connsiteX1" fmla="*/ 61627 w 123253"/>
                    <a:gd name="connsiteY1" fmla="*/ 123253 h 123253"/>
                    <a:gd name="connsiteX2" fmla="*/ 1 w 123253"/>
                    <a:gd name="connsiteY2" fmla="*/ 61627 h 123253"/>
                    <a:gd name="connsiteX3" fmla="*/ 61627 w 123253"/>
                    <a:gd name="connsiteY3" fmla="*/ 0 h 123253"/>
                    <a:gd name="connsiteX4" fmla="*/ 123254 w 123253"/>
                    <a:gd name="connsiteY4" fmla="*/ 61627 h 1232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3253" h="123253">
                      <a:moveTo>
                        <a:pt x="123254" y="61627"/>
                      </a:moveTo>
                      <a:cubicBezTo>
                        <a:pt x="123254" y="95662"/>
                        <a:pt x="95662" y="123253"/>
                        <a:pt x="61627" y="123253"/>
                      </a:cubicBezTo>
                      <a:cubicBezTo>
                        <a:pt x="27592" y="123253"/>
                        <a:pt x="1" y="95662"/>
                        <a:pt x="1" y="61627"/>
                      </a:cubicBezTo>
                      <a:cubicBezTo>
                        <a:pt x="1" y="27591"/>
                        <a:pt x="27592" y="0"/>
                        <a:pt x="61627" y="0"/>
                      </a:cubicBezTo>
                      <a:cubicBezTo>
                        <a:pt x="95663" y="0"/>
                        <a:pt x="123254" y="27591"/>
                        <a:pt x="123254" y="61627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8" name="Freihandform: Form 167">
                  <a:extLst>
                    <a:ext uri="{FF2B5EF4-FFF2-40B4-BE49-F238E27FC236}">
                      <a16:creationId xmlns:a16="http://schemas.microsoft.com/office/drawing/2014/main" id="{8E3FA608-B7E8-8DD6-4AB6-F61DC357A081}"/>
                    </a:ext>
                  </a:extLst>
                </p:cNvPr>
                <p:cNvSpPr/>
                <p:nvPr/>
              </p:nvSpPr>
              <p:spPr>
                <a:xfrm>
                  <a:off x="9852024" y="8764778"/>
                  <a:ext cx="24955" cy="24955"/>
                </a:xfrm>
                <a:custGeom>
                  <a:avLst/>
                  <a:gdLst>
                    <a:gd name="connsiteX0" fmla="*/ 24955 w 24955"/>
                    <a:gd name="connsiteY0" fmla="*/ 12478 h 24955"/>
                    <a:gd name="connsiteX1" fmla="*/ 12478 w 24955"/>
                    <a:gd name="connsiteY1" fmla="*/ 24955 h 24955"/>
                    <a:gd name="connsiteX2" fmla="*/ 0 w 24955"/>
                    <a:gd name="connsiteY2" fmla="*/ 12478 h 24955"/>
                    <a:gd name="connsiteX3" fmla="*/ 12478 w 24955"/>
                    <a:gd name="connsiteY3" fmla="*/ 0 h 24955"/>
                    <a:gd name="connsiteX4" fmla="*/ 24955 w 24955"/>
                    <a:gd name="connsiteY4" fmla="*/ 12478 h 24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955" h="24955">
                      <a:moveTo>
                        <a:pt x="24955" y="12478"/>
                      </a:moveTo>
                      <a:cubicBezTo>
                        <a:pt x="24955" y="19369"/>
                        <a:pt x="19369" y="24955"/>
                        <a:pt x="12478" y="24955"/>
                      </a:cubicBezTo>
                      <a:cubicBezTo>
                        <a:pt x="5586" y="24955"/>
                        <a:pt x="0" y="19369"/>
                        <a:pt x="0" y="12478"/>
                      </a:cubicBezTo>
                      <a:cubicBezTo>
                        <a:pt x="0" y="5586"/>
                        <a:pt x="5586" y="0"/>
                        <a:pt x="12478" y="0"/>
                      </a:cubicBezTo>
                      <a:cubicBezTo>
                        <a:pt x="19369" y="0"/>
                        <a:pt x="24955" y="5586"/>
                        <a:pt x="24955" y="12478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9" name="Freihandform: Form 168">
                  <a:extLst>
                    <a:ext uri="{FF2B5EF4-FFF2-40B4-BE49-F238E27FC236}">
                      <a16:creationId xmlns:a16="http://schemas.microsoft.com/office/drawing/2014/main" id="{CB385690-8B69-8E62-847B-E8CA154DE699}"/>
                    </a:ext>
                  </a:extLst>
                </p:cNvPr>
                <p:cNvSpPr/>
                <p:nvPr/>
              </p:nvSpPr>
              <p:spPr>
                <a:xfrm>
                  <a:off x="9472929" y="9031097"/>
                  <a:ext cx="135255" cy="135254"/>
                </a:xfrm>
                <a:custGeom>
                  <a:avLst/>
                  <a:gdLst>
                    <a:gd name="connsiteX0" fmla="*/ 135255 w 135255"/>
                    <a:gd name="connsiteY0" fmla="*/ 67628 h 135254"/>
                    <a:gd name="connsiteX1" fmla="*/ 67628 w 135255"/>
                    <a:gd name="connsiteY1" fmla="*/ 135255 h 135254"/>
                    <a:gd name="connsiteX2" fmla="*/ 1 w 135255"/>
                    <a:gd name="connsiteY2" fmla="*/ 67628 h 135254"/>
                    <a:gd name="connsiteX3" fmla="*/ 67628 w 135255"/>
                    <a:gd name="connsiteY3" fmla="*/ 0 h 135254"/>
                    <a:gd name="connsiteX4" fmla="*/ 135255 w 135255"/>
                    <a:gd name="connsiteY4" fmla="*/ 67628 h 1352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255" h="135254">
                      <a:moveTo>
                        <a:pt x="135255" y="67628"/>
                      </a:moveTo>
                      <a:cubicBezTo>
                        <a:pt x="135255" y="104977"/>
                        <a:pt x="104977" y="135255"/>
                        <a:pt x="67628" y="135255"/>
                      </a:cubicBezTo>
                      <a:cubicBezTo>
                        <a:pt x="30279" y="135255"/>
                        <a:pt x="1" y="104977"/>
                        <a:pt x="1" y="67628"/>
                      </a:cubicBezTo>
                      <a:cubicBezTo>
                        <a:pt x="1" y="30278"/>
                        <a:pt x="30279" y="0"/>
                        <a:pt x="67628" y="0"/>
                      </a:cubicBezTo>
                      <a:cubicBezTo>
                        <a:pt x="104977" y="0"/>
                        <a:pt x="135255" y="30278"/>
                        <a:pt x="135255" y="6762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0" name="Freihandform: Form 169">
                  <a:extLst>
                    <a:ext uri="{FF2B5EF4-FFF2-40B4-BE49-F238E27FC236}">
                      <a16:creationId xmlns:a16="http://schemas.microsoft.com/office/drawing/2014/main" id="{9ACC2546-94E8-6ACA-417C-4F295F918A47}"/>
                    </a:ext>
                  </a:extLst>
                </p:cNvPr>
                <p:cNvSpPr/>
                <p:nvPr/>
              </p:nvSpPr>
              <p:spPr>
                <a:xfrm>
                  <a:off x="9261970" y="8864885"/>
                  <a:ext cx="308150" cy="265148"/>
                </a:xfrm>
                <a:custGeom>
                  <a:avLst/>
                  <a:gdLst>
                    <a:gd name="connsiteX0" fmla="*/ 167049 w 308150"/>
                    <a:gd name="connsiteY0" fmla="*/ 59246 h 265148"/>
                    <a:gd name="connsiteX1" fmla="*/ 245725 w 308150"/>
                    <a:gd name="connsiteY1" fmla="*/ 106299 h 265148"/>
                    <a:gd name="connsiteX2" fmla="*/ 306685 w 308150"/>
                    <a:gd name="connsiteY2" fmla="*/ 206788 h 265148"/>
                    <a:gd name="connsiteX3" fmla="*/ 197338 w 308150"/>
                    <a:gd name="connsiteY3" fmla="*/ 239173 h 265148"/>
                    <a:gd name="connsiteX4" fmla="*/ 131520 w 308150"/>
                    <a:gd name="connsiteY4" fmla="*/ 136588 h 265148"/>
                    <a:gd name="connsiteX5" fmla="*/ 67322 w 308150"/>
                    <a:gd name="connsiteY5" fmla="*/ 96012 h 265148"/>
                    <a:gd name="connsiteX6" fmla="*/ 67322 w 308150"/>
                    <a:gd name="connsiteY6" fmla="*/ 96012 h 265148"/>
                    <a:gd name="connsiteX7" fmla="*/ 22269 w 308150"/>
                    <a:gd name="connsiteY7" fmla="*/ 64579 h 265148"/>
                    <a:gd name="connsiteX8" fmla="*/ 5790 w 308150"/>
                    <a:gd name="connsiteY8" fmla="*/ 0 h 265148"/>
                    <a:gd name="connsiteX9" fmla="*/ 71036 w 308150"/>
                    <a:gd name="connsiteY9" fmla="*/ 37147 h 265148"/>
                    <a:gd name="connsiteX10" fmla="*/ 166000 w 308150"/>
                    <a:gd name="connsiteY10" fmla="*/ 58674 h 265148"/>
                    <a:gd name="connsiteX11" fmla="*/ 166572 w 308150"/>
                    <a:gd name="connsiteY11" fmla="*/ 59912 h 265148"/>
                    <a:gd name="connsiteX12" fmla="*/ 167049 w 308150"/>
                    <a:gd name="connsiteY12" fmla="*/ 59150 h 265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08150" h="265148">
                      <a:moveTo>
                        <a:pt x="167049" y="59246"/>
                      </a:moveTo>
                      <a:cubicBezTo>
                        <a:pt x="167049" y="59246"/>
                        <a:pt x="224770" y="90297"/>
                        <a:pt x="245725" y="106299"/>
                      </a:cubicBezTo>
                      <a:cubicBezTo>
                        <a:pt x="245725" y="106299"/>
                        <a:pt x="319353" y="177927"/>
                        <a:pt x="306685" y="206788"/>
                      </a:cubicBezTo>
                      <a:cubicBezTo>
                        <a:pt x="283920" y="258699"/>
                        <a:pt x="207244" y="290322"/>
                        <a:pt x="197338" y="239173"/>
                      </a:cubicBezTo>
                      <a:cubicBezTo>
                        <a:pt x="186765" y="184975"/>
                        <a:pt x="139331" y="143256"/>
                        <a:pt x="131520" y="136588"/>
                      </a:cubicBezTo>
                      <a:lnTo>
                        <a:pt x="67322" y="96012"/>
                      </a:lnTo>
                      <a:cubicBezTo>
                        <a:pt x="67322" y="96012"/>
                        <a:pt x="67322" y="96012"/>
                        <a:pt x="67322" y="96012"/>
                      </a:cubicBezTo>
                      <a:cubicBezTo>
                        <a:pt x="53606" y="87154"/>
                        <a:pt x="37508" y="76009"/>
                        <a:pt x="22269" y="64579"/>
                      </a:cubicBezTo>
                      <a:cubicBezTo>
                        <a:pt x="1599" y="48958"/>
                        <a:pt x="-6497" y="32957"/>
                        <a:pt x="5790" y="0"/>
                      </a:cubicBezTo>
                      <a:lnTo>
                        <a:pt x="71036" y="37147"/>
                      </a:lnTo>
                      <a:cubicBezTo>
                        <a:pt x="71036" y="37147"/>
                        <a:pt x="167049" y="59150"/>
                        <a:pt x="166000" y="58674"/>
                      </a:cubicBezTo>
                      <a:cubicBezTo>
                        <a:pt x="166286" y="59055"/>
                        <a:pt x="166382" y="59531"/>
                        <a:pt x="166572" y="59912"/>
                      </a:cubicBezTo>
                      <a:cubicBezTo>
                        <a:pt x="166763" y="59626"/>
                        <a:pt x="166858" y="59436"/>
                        <a:pt x="167049" y="59150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1" name="Freihandform: Form 170">
                  <a:extLst>
                    <a:ext uri="{FF2B5EF4-FFF2-40B4-BE49-F238E27FC236}">
                      <a16:creationId xmlns:a16="http://schemas.microsoft.com/office/drawing/2014/main" id="{79F30F25-5747-1D05-31B3-B0E840E7A98A}"/>
                    </a:ext>
                  </a:extLst>
                </p:cNvPr>
                <p:cNvSpPr/>
                <p:nvPr/>
              </p:nvSpPr>
              <p:spPr>
                <a:xfrm>
                  <a:off x="9265221" y="8967683"/>
                  <a:ext cx="295814" cy="221737"/>
                </a:xfrm>
                <a:custGeom>
                  <a:avLst/>
                  <a:gdLst>
                    <a:gd name="connsiteX0" fmla="*/ 209422 w 295814"/>
                    <a:gd name="connsiteY0" fmla="*/ 11026 h 221737"/>
                    <a:gd name="connsiteX1" fmla="*/ 68357 w 295814"/>
                    <a:gd name="connsiteY1" fmla="*/ 15598 h 221737"/>
                    <a:gd name="connsiteX2" fmla="*/ 6158 w 295814"/>
                    <a:gd name="connsiteY2" fmla="*/ 29790 h 221737"/>
                    <a:gd name="connsiteX3" fmla="*/ 63785 w 295814"/>
                    <a:gd name="connsiteY3" fmla="*/ 220290 h 221737"/>
                    <a:gd name="connsiteX4" fmla="*/ 268382 w 295814"/>
                    <a:gd name="connsiteY4" fmla="*/ 198573 h 221737"/>
                    <a:gd name="connsiteX5" fmla="*/ 295814 w 295814"/>
                    <a:gd name="connsiteY5" fmla="*/ 73034 h 221737"/>
                    <a:gd name="connsiteX6" fmla="*/ 209422 w 295814"/>
                    <a:gd name="connsiteY6" fmla="*/ 11026 h 2217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95814" h="221737">
                      <a:moveTo>
                        <a:pt x="209422" y="11026"/>
                      </a:moveTo>
                      <a:cubicBezTo>
                        <a:pt x="153224" y="-16216"/>
                        <a:pt x="68357" y="15598"/>
                        <a:pt x="68357" y="15598"/>
                      </a:cubicBezTo>
                      <a:lnTo>
                        <a:pt x="6158" y="29790"/>
                      </a:lnTo>
                      <a:cubicBezTo>
                        <a:pt x="-10986" y="83416"/>
                        <a:pt x="7492" y="164188"/>
                        <a:pt x="63785" y="220290"/>
                      </a:cubicBezTo>
                      <a:cubicBezTo>
                        <a:pt x="156559" y="228577"/>
                        <a:pt x="268382" y="198573"/>
                        <a:pt x="268382" y="198573"/>
                      </a:cubicBezTo>
                      <a:lnTo>
                        <a:pt x="295814" y="73034"/>
                      </a:lnTo>
                      <a:cubicBezTo>
                        <a:pt x="295814" y="73034"/>
                        <a:pt x="265620" y="38172"/>
                        <a:pt x="209422" y="1102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2" name="Freihandform: Form 171">
                  <a:extLst>
                    <a:ext uri="{FF2B5EF4-FFF2-40B4-BE49-F238E27FC236}">
                      <a16:creationId xmlns:a16="http://schemas.microsoft.com/office/drawing/2014/main" id="{6DED3D6A-92C1-77E7-FFB1-F1A5144D74CF}"/>
                    </a:ext>
                  </a:extLst>
                </p:cNvPr>
                <p:cNvSpPr/>
                <p:nvPr/>
              </p:nvSpPr>
              <p:spPr>
                <a:xfrm>
                  <a:off x="9533603" y="9032430"/>
                  <a:ext cx="239553" cy="198405"/>
                </a:xfrm>
                <a:custGeom>
                  <a:avLst/>
                  <a:gdLst>
                    <a:gd name="connsiteX0" fmla="*/ 0 w 239553"/>
                    <a:gd name="connsiteY0" fmla="*/ 133826 h 198405"/>
                    <a:gd name="connsiteX1" fmla="*/ 20478 w 239553"/>
                    <a:gd name="connsiteY1" fmla="*/ 0 h 198405"/>
                    <a:gd name="connsiteX2" fmla="*/ 239553 w 239553"/>
                    <a:gd name="connsiteY2" fmla="*/ 49721 h 198405"/>
                    <a:gd name="connsiteX3" fmla="*/ 200406 w 239553"/>
                    <a:gd name="connsiteY3" fmla="*/ 198406 h 198405"/>
                    <a:gd name="connsiteX4" fmla="*/ 0 w 239553"/>
                    <a:gd name="connsiteY4" fmla="*/ 133826 h 198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9553" h="198405">
                      <a:moveTo>
                        <a:pt x="0" y="133826"/>
                      </a:moveTo>
                      <a:lnTo>
                        <a:pt x="20478" y="0"/>
                      </a:lnTo>
                      <a:lnTo>
                        <a:pt x="239553" y="49721"/>
                      </a:lnTo>
                      <a:lnTo>
                        <a:pt x="200406" y="198406"/>
                      </a:lnTo>
                      <a:lnTo>
                        <a:pt x="0" y="133826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3" name="Freihandform: Form 172">
                  <a:extLst>
                    <a:ext uri="{FF2B5EF4-FFF2-40B4-BE49-F238E27FC236}">
                      <a16:creationId xmlns:a16="http://schemas.microsoft.com/office/drawing/2014/main" id="{A8B23441-EC8B-C244-F244-F1E9075E26B1}"/>
                    </a:ext>
                  </a:extLst>
                </p:cNvPr>
                <p:cNvSpPr/>
                <p:nvPr/>
              </p:nvSpPr>
              <p:spPr>
                <a:xfrm>
                  <a:off x="9549034" y="9025226"/>
                  <a:ext cx="631316" cy="372202"/>
                </a:xfrm>
                <a:custGeom>
                  <a:avLst/>
                  <a:gdLst>
                    <a:gd name="connsiteX0" fmla="*/ 0 w 631316"/>
                    <a:gd name="connsiteY0" fmla="*/ 261998 h 372202"/>
                    <a:gd name="connsiteX1" fmla="*/ 59912 w 631316"/>
                    <a:gd name="connsiteY1" fmla="*/ 5776 h 372202"/>
                    <a:gd name="connsiteX2" fmla="*/ 173831 w 631316"/>
                    <a:gd name="connsiteY2" fmla="*/ 1585 h 372202"/>
                    <a:gd name="connsiteX3" fmla="*/ 631317 w 631316"/>
                    <a:gd name="connsiteY3" fmla="*/ 68069 h 372202"/>
                    <a:gd name="connsiteX4" fmla="*/ 555403 w 631316"/>
                    <a:gd name="connsiteY4" fmla="*/ 372202 h 372202"/>
                    <a:gd name="connsiteX5" fmla="*/ 0 w 631316"/>
                    <a:gd name="connsiteY5" fmla="*/ 261998 h 372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31316" h="372202">
                      <a:moveTo>
                        <a:pt x="0" y="261998"/>
                      </a:moveTo>
                      <a:lnTo>
                        <a:pt x="59912" y="5776"/>
                      </a:lnTo>
                      <a:cubicBezTo>
                        <a:pt x="59912" y="5776"/>
                        <a:pt x="102203" y="-3654"/>
                        <a:pt x="173831" y="1585"/>
                      </a:cubicBezTo>
                      <a:cubicBezTo>
                        <a:pt x="414051" y="19015"/>
                        <a:pt x="495585" y="31588"/>
                        <a:pt x="631317" y="68069"/>
                      </a:cubicBezTo>
                      <a:lnTo>
                        <a:pt x="555403" y="372202"/>
                      </a:lnTo>
                      <a:cubicBezTo>
                        <a:pt x="227171" y="313719"/>
                        <a:pt x="191929" y="311623"/>
                        <a:pt x="0" y="26199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4" name="Freihandform: Form 173">
                  <a:extLst>
                    <a:ext uri="{FF2B5EF4-FFF2-40B4-BE49-F238E27FC236}">
                      <a16:creationId xmlns:a16="http://schemas.microsoft.com/office/drawing/2014/main" id="{0E2E43BA-5289-EF1E-083B-DE6063896678}"/>
                    </a:ext>
                  </a:extLst>
                </p:cNvPr>
                <p:cNvSpPr/>
                <p:nvPr/>
              </p:nvSpPr>
              <p:spPr>
                <a:xfrm>
                  <a:off x="9978992" y="9086913"/>
                  <a:ext cx="313753" cy="313753"/>
                </a:xfrm>
                <a:custGeom>
                  <a:avLst/>
                  <a:gdLst>
                    <a:gd name="connsiteX0" fmla="*/ 313754 w 313753"/>
                    <a:gd name="connsiteY0" fmla="*/ 156877 h 313753"/>
                    <a:gd name="connsiteX1" fmla="*/ 156877 w 313753"/>
                    <a:gd name="connsiteY1" fmla="*/ 313754 h 313753"/>
                    <a:gd name="connsiteX2" fmla="*/ 1 w 313753"/>
                    <a:gd name="connsiteY2" fmla="*/ 156877 h 313753"/>
                    <a:gd name="connsiteX3" fmla="*/ 156877 w 313753"/>
                    <a:gd name="connsiteY3" fmla="*/ 0 h 313753"/>
                    <a:gd name="connsiteX4" fmla="*/ 313754 w 313753"/>
                    <a:gd name="connsiteY4" fmla="*/ 156877 h 313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3753" h="313753">
                      <a:moveTo>
                        <a:pt x="313754" y="156877"/>
                      </a:moveTo>
                      <a:cubicBezTo>
                        <a:pt x="313754" y="243517"/>
                        <a:pt x="243518" y="313754"/>
                        <a:pt x="156877" y="313754"/>
                      </a:cubicBezTo>
                      <a:cubicBezTo>
                        <a:pt x="70237" y="313754"/>
                        <a:pt x="1" y="243517"/>
                        <a:pt x="1" y="156877"/>
                      </a:cubicBezTo>
                      <a:cubicBezTo>
                        <a:pt x="1" y="70236"/>
                        <a:pt x="70237" y="0"/>
                        <a:pt x="156877" y="0"/>
                      </a:cubicBezTo>
                      <a:cubicBezTo>
                        <a:pt x="243518" y="0"/>
                        <a:pt x="313754" y="70236"/>
                        <a:pt x="313754" y="15687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5" name="Freihandform: Form 174">
                  <a:extLst>
                    <a:ext uri="{FF2B5EF4-FFF2-40B4-BE49-F238E27FC236}">
                      <a16:creationId xmlns:a16="http://schemas.microsoft.com/office/drawing/2014/main" id="{10391BBF-40C9-C432-8C03-88B1CB11431E}"/>
                    </a:ext>
                  </a:extLst>
                </p:cNvPr>
                <p:cNvSpPr/>
                <p:nvPr/>
              </p:nvSpPr>
              <p:spPr>
                <a:xfrm>
                  <a:off x="9533603" y="9032430"/>
                  <a:ext cx="239553" cy="198405"/>
                </a:xfrm>
                <a:custGeom>
                  <a:avLst/>
                  <a:gdLst>
                    <a:gd name="connsiteX0" fmla="*/ 0 w 239553"/>
                    <a:gd name="connsiteY0" fmla="*/ 133826 h 198405"/>
                    <a:gd name="connsiteX1" fmla="*/ 20478 w 239553"/>
                    <a:gd name="connsiteY1" fmla="*/ 0 h 198405"/>
                    <a:gd name="connsiteX2" fmla="*/ 239553 w 239553"/>
                    <a:gd name="connsiteY2" fmla="*/ 49721 h 198405"/>
                    <a:gd name="connsiteX3" fmla="*/ 200406 w 239553"/>
                    <a:gd name="connsiteY3" fmla="*/ 198406 h 198405"/>
                    <a:gd name="connsiteX4" fmla="*/ 0 w 239553"/>
                    <a:gd name="connsiteY4" fmla="*/ 133826 h 198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9553" h="198405">
                      <a:moveTo>
                        <a:pt x="0" y="133826"/>
                      </a:moveTo>
                      <a:lnTo>
                        <a:pt x="20478" y="0"/>
                      </a:lnTo>
                      <a:lnTo>
                        <a:pt x="239553" y="49721"/>
                      </a:lnTo>
                      <a:lnTo>
                        <a:pt x="200406" y="198406"/>
                      </a:lnTo>
                      <a:lnTo>
                        <a:pt x="0" y="133826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6" name="Freihandform: Form 175">
                  <a:extLst>
                    <a:ext uri="{FF2B5EF4-FFF2-40B4-BE49-F238E27FC236}">
                      <a16:creationId xmlns:a16="http://schemas.microsoft.com/office/drawing/2014/main" id="{1F2D9368-7508-98D3-6A61-0BCE20E6C1E6}"/>
                    </a:ext>
                  </a:extLst>
                </p:cNvPr>
                <p:cNvSpPr/>
                <p:nvPr/>
              </p:nvSpPr>
              <p:spPr>
                <a:xfrm>
                  <a:off x="9549034" y="9025226"/>
                  <a:ext cx="631316" cy="372202"/>
                </a:xfrm>
                <a:custGeom>
                  <a:avLst/>
                  <a:gdLst>
                    <a:gd name="connsiteX0" fmla="*/ 0 w 631316"/>
                    <a:gd name="connsiteY0" fmla="*/ 261998 h 372202"/>
                    <a:gd name="connsiteX1" fmla="*/ 59912 w 631316"/>
                    <a:gd name="connsiteY1" fmla="*/ 5776 h 372202"/>
                    <a:gd name="connsiteX2" fmla="*/ 173831 w 631316"/>
                    <a:gd name="connsiteY2" fmla="*/ 1585 h 372202"/>
                    <a:gd name="connsiteX3" fmla="*/ 631317 w 631316"/>
                    <a:gd name="connsiteY3" fmla="*/ 68069 h 372202"/>
                    <a:gd name="connsiteX4" fmla="*/ 555403 w 631316"/>
                    <a:gd name="connsiteY4" fmla="*/ 372202 h 372202"/>
                    <a:gd name="connsiteX5" fmla="*/ 0 w 631316"/>
                    <a:gd name="connsiteY5" fmla="*/ 261998 h 372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31316" h="372202">
                      <a:moveTo>
                        <a:pt x="0" y="261998"/>
                      </a:moveTo>
                      <a:lnTo>
                        <a:pt x="59912" y="5776"/>
                      </a:lnTo>
                      <a:cubicBezTo>
                        <a:pt x="59912" y="5776"/>
                        <a:pt x="102203" y="-3654"/>
                        <a:pt x="173831" y="1585"/>
                      </a:cubicBezTo>
                      <a:cubicBezTo>
                        <a:pt x="414051" y="19015"/>
                        <a:pt x="495585" y="31588"/>
                        <a:pt x="631317" y="68069"/>
                      </a:cubicBezTo>
                      <a:lnTo>
                        <a:pt x="555403" y="372202"/>
                      </a:lnTo>
                      <a:cubicBezTo>
                        <a:pt x="227171" y="313719"/>
                        <a:pt x="191929" y="311623"/>
                        <a:pt x="0" y="26199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7" name="Freihandform: Form 176">
                  <a:extLst>
                    <a:ext uri="{FF2B5EF4-FFF2-40B4-BE49-F238E27FC236}">
                      <a16:creationId xmlns:a16="http://schemas.microsoft.com/office/drawing/2014/main" id="{8B73AB5C-DF66-3E55-A2CE-9C6C01490669}"/>
                    </a:ext>
                  </a:extLst>
                </p:cNvPr>
                <p:cNvSpPr/>
                <p:nvPr/>
              </p:nvSpPr>
              <p:spPr>
                <a:xfrm>
                  <a:off x="9978992" y="9086913"/>
                  <a:ext cx="313753" cy="313753"/>
                </a:xfrm>
                <a:custGeom>
                  <a:avLst/>
                  <a:gdLst>
                    <a:gd name="connsiteX0" fmla="*/ 313754 w 313753"/>
                    <a:gd name="connsiteY0" fmla="*/ 156877 h 313753"/>
                    <a:gd name="connsiteX1" fmla="*/ 156877 w 313753"/>
                    <a:gd name="connsiteY1" fmla="*/ 313754 h 313753"/>
                    <a:gd name="connsiteX2" fmla="*/ 1 w 313753"/>
                    <a:gd name="connsiteY2" fmla="*/ 156877 h 313753"/>
                    <a:gd name="connsiteX3" fmla="*/ 156877 w 313753"/>
                    <a:gd name="connsiteY3" fmla="*/ 0 h 313753"/>
                    <a:gd name="connsiteX4" fmla="*/ 313754 w 313753"/>
                    <a:gd name="connsiteY4" fmla="*/ 156877 h 313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3753" h="313753">
                      <a:moveTo>
                        <a:pt x="313754" y="156877"/>
                      </a:moveTo>
                      <a:cubicBezTo>
                        <a:pt x="313754" y="243517"/>
                        <a:pt x="243518" y="313754"/>
                        <a:pt x="156877" y="313754"/>
                      </a:cubicBezTo>
                      <a:cubicBezTo>
                        <a:pt x="70237" y="313754"/>
                        <a:pt x="1" y="243517"/>
                        <a:pt x="1" y="156877"/>
                      </a:cubicBezTo>
                      <a:cubicBezTo>
                        <a:pt x="1" y="70236"/>
                        <a:pt x="70237" y="0"/>
                        <a:pt x="156877" y="0"/>
                      </a:cubicBezTo>
                      <a:cubicBezTo>
                        <a:pt x="243518" y="0"/>
                        <a:pt x="313754" y="70236"/>
                        <a:pt x="313754" y="15687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78" name="Grafik 23">
                <a:extLst>
                  <a:ext uri="{FF2B5EF4-FFF2-40B4-BE49-F238E27FC236}">
                    <a16:creationId xmlns:a16="http://schemas.microsoft.com/office/drawing/2014/main" id="{27BF7DDB-6FC1-6901-7629-C1105CC8EB35}"/>
                  </a:ext>
                </a:extLst>
              </p:cNvPr>
              <p:cNvGrpSpPr/>
              <p:nvPr/>
            </p:nvGrpSpPr>
            <p:grpSpPr>
              <a:xfrm>
                <a:off x="9633988" y="1862812"/>
                <a:ext cx="257205" cy="824026"/>
                <a:chOff x="5217159" y="666564"/>
                <a:chExt cx="1715547" cy="5496224"/>
              </a:xfrm>
            </p:grpSpPr>
            <p:grpSp>
              <p:nvGrpSpPr>
                <p:cNvPr id="179" name="Grafik 23">
                  <a:extLst>
                    <a:ext uri="{FF2B5EF4-FFF2-40B4-BE49-F238E27FC236}">
                      <a16:creationId xmlns:a16="http://schemas.microsoft.com/office/drawing/2014/main" id="{728D4977-71F5-DBF6-11FE-06241AE61071}"/>
                    </a:ext>
                  </a:extLst>
                </p:cNvPr>
                <p:cNvGrpSpPr/>
                <p:nvPr/>
              </p:nvGrpSpPr>
              <p:grpSpPr>
                <a:xfrm>
                  <a:off x="5934296" y="1562671"/>
                  <a:ext cx="563308" cy="1157858"/>
                  <a:chOff x="5934296" y="1562671"/>
                  <a:chExt cx="563308" cy="1157858"/>
                </a:xfrm>
                <a:solidFill>
                  <a:srgbClr val="E6E6E6"/>
                </a:solidFill>
              </p:grpSpPr>
              <p:sp>
                <p:nvSpPr>
                  <p:cNvPr id="180" name="Freihandform: Form 179">
                    <a:extLst>
                      <a:ext uri="{FF2B5EF4-FFF2-40B4-BE49-F238E27FC236}">
                        <a16:creationId xmlns:a16="http://schemas.microsoft.com/office/drawing/2014/main" id="{BAD27138-BDD1-EEEE-E087-40217B9E3ACD}"/>
                      </a:ext>
                    </a:extLst>
                  </p:cNvPr>
                  <p:cNvSpPr/>
                  <p:nvPr/>
                </p:nvSpPr>
                <p:spPr>
                  <a:xfrm>
                    <a:off x="6100984" y="1562671"/>
                    <a:ext cx="396620" cy="396620"/>
                  </a:xfrm>
                  <a:custGeom>
                    <a:avLst/>
                    <a:gdLst>
                      <a:gd name="connsiteX0" fmla="*/ 396621 w 396620"/>
                      <a:gd name="connsiteY0" fmla="*/ 198310 h 396620"/>
                      <a:gd name="connsiteX1" fmla="*/ 198310 w 396620"/>
                      <a:gd name="connsiteY1" fmla="*/ 396621 h 396620"/>
                      <a:gd name="connsiteX2" fmla="*/ 0 w 396620"/>
                      <a:gd name="connsiteY2" fmla="*/ 198310 h 396620"/>
                      <a:gd name="connsiteX3" fmla="*/ 198310 w 396620"/>
                      <a:gd name="connsiteY3" fmla="*/ 0 h 396620"/>
                      <a:gd name="connsiteX4" fmla="*/ 396621 w 396620"/>
                      <a:gd name="connsiteY4" fmla="*/ 198310 h 396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6620" h="396620">
                        <a:moveTo>
                          <a:pt x="396621" y="198310"/>
                        </a:moveTo>
                        <a:cubicBezTo>
                          <a:pt x="396621" y="307834"/>
                          <a:pt x="307834" y="396621"/>
                          <a:pt x="198310" y="396621"/>
                        </a:cubicBezTo>
                        <a:cubicBezTo>
                          <a:pt x="88786" y="396621"/>
                          <a:pt x="0" y="307834"/>
                          <a:pt x="0" y="198310"/>
                        </a:cubicBezTo>
                        <a:cubicBezTo>
                          <a:pt x="0" y="88787"/>
                          <a:pt x="88786" y="0"/>
                          <a:pt x="198310" y="0"/>
                        </a:cubicBezTo>
                        <a:cubicBezTo>
                          <a:pt x="307834" y="0"/>
                          <a:pt x="396621" y="88787"/>
                          <a:pt x="396621" y="198310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1" name="Freihandform: Form 180">
                    <a:extLst>
                      <a:ext uri="{FF2B5EF4-FFF2-40B4-BE49-F238E27FC236}">
                        <a16:creationId xmlns:a16="http://schemas.microsoft.com/office/drawing/2014/main" id="{B341C712-A5FC-A016-DB6E-84BB657DD566}"/>
                      </a:ext>
                    </a:extLst>
                  </p:cNvPr>
                  <p:cNvSpPr/>
                  <p:nvPr/>
                </p:nvSpPr>
                <p:spPr>
                  <a:xfrm>
                    <a:off x="5934296" y="1725453"/>
                    <a:ext cx="558736" cy="995076"/>
                  </a:xfrm>
                  <a:custGeom>
                    <a:avLst/>
                    <a:gdLst>
                      <a:gd name="connsiteX0" fmla="*/ 339566 w 558736"/>
                      <a:gd name="connsiteY0" fmla="*/ 995077 h 995076"/>
                      <a:gd name="connsiteX1" fmla="*/ 0 w 558736"/>
                      <a:gd name="connsiteY1" fmla="*/ 930211 h 995076"/>
                      <a:gd name="connsiteX2" fmla="*/ 110204 w 558736"/>
                      <a:gd name="connsiteY2" fmla="*/ 327184 h 995076"/>
                      <a:gd name="connsiteX3" fmla="*/ 169926 w 558736"/>
                      <a:gd name="connsiteY3" fmla="*/ 0 h 995076"/>
                      <a:gd name="connsiteX4" fmla="*/ 558737 w 558736"/>
                      <a:gd name="connsiteY4" fmla="*/ 78010 h 995076"/>
                      <a:gd name="connsiteX5" fmla="*/ 478441 w 558736"/>
                      <a:gd name="connsiteY5" fmla="*/ 413194 h 995076"/>
                      <a:gd name="connsiteX6" fmla="*/ 339566 w 558736"/>
                      <a:gd name="connsiteY6" fmla="*/ 995077 h 9950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58736" h="995076">
                        <a:moveTo>
                          <a:pt x="339566" y="995077"/>
                        </a:moveTo>
                        <a:lnTo>
                          <a:pt x="0" y="930211"/>
                        </a:lnTo>
                        <a:lnTo>
                          <a:pt x="110204" y="327184"/>
                        </a:lnTo>
                        <a:lnTo>
                          <a:pt x="169926" y="0"/>
                        </a:lnTo>
                        <a:lnTo>
                          <a:pt x="558737" y="78010"/>
                        </a:lnTo>
                        <a:lnTo>
                          <a:pt x="478441" y="413194"/>
                        </a:lnTo>
                        <a:lnTo>
                          <a:pt x="339566" y="995077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82" name="Grafik 23">
                  <a:extLst>
                    <a:ext uri="{FF2B5EF4-FFF2-40B4-BE49-F238E27FC236}">
                      <a16:creationId xmlns:a16="http://schemas.microsoft.com/office/drawing/2014/main" id="{25E1B8E9-1EA3-88DB-94E1-5B2EB83A4877}"/>
                    </a:ext>
                  </a:extLst>
                </p:cNvPr>
                <p:cNvGrpSpPr/>
                <p:nvPr/>
              </p:nvGrpSpPr>
              <p:grpSpPr>
                <a:xfrm>
                  <a:off x="5435186" y="2434208"/>
                  <a:ext cx="841914" cy="425196"/>
                  <a:chOff x="5435186" y="2434208"/>
                  <a:chExt cx="841914" cy="425196"/>
                </a:xfrm>
                <a:solidFill>
                  <a:srgbClr val="E6E6E6"/>
                </a:solidFill>
              </p:grpSpPr>
              <p:sp>
                <p:nvSpPr>
                  <p:cNvPr id="183" name="Freihandform: Form 182">
                    <a:extLst>
                      <a:ext uri="{FF2B5EF4-FFF2-40B4-BE49-F238E27FC236}">
                        <a16:creationId xmlns:a16="http://schemas.microsoft.com/office/drawing/2014/main" id="{602B54DD-E88F-83A4-4438-F48DC09A16E2}"/>
                      </a:ext>
                    </a:extLst>
                  </p:cNvPr>
                  <p:cNvSpPr/>
                  <p:nvPr/>
                </p:nvSpPr>
                <p:spPr>
                  <a:xfrm>
                    <a:off x="5435186" y="2434208"/>
                    <a:ext cx="703611" cy="423481"/>
                  </a:xfrm>
                  <a:custGeom>
                    <a:avLst/>
                    <a:gdLst>
                      <a:gd name="connsiteX0" fmla="*/ 0 w 703611"/>
                      <a:gd name="connsiteY0" fmla="*/ 329946 h 423481"/>
                      <a:gd name="connsiteX1" fmla="*/ 52483 w 703611"/>
                      <a:gd name="connsiteY1" fmla="*/ 0 h 423481"/>
                      <a:gd name="connsiteX2" fmla="*/ 703612 w 703611"/>
                      <a:gd name="connsiteY2" fmla="*/ 83058 h 423481"/>
                      <a:gd name="connsiteX3" fmla="*/ 644462 w 703611"/>
                      <a:gd name="connsiteY3" fmla="*/ 423482 h 423481"/>
                      <a:gd name="connsiteX4" fmla="*/ 0 w 703611"/>
                      <a:gd name="connsiteY4" fmla="*/ 329946 h 4234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03611" h="423481">
                        <a:moveTo>
                          <a:pt x="0" y="329946"/>
                        </a:moveTo>
                        <a:lnTo>
                          <a:pt x="52483" y="0"/>
                        </a:lnTo>
                        <a:lnTo>
                          <a:pt x="703612" y="83058"/>
                        </a:lnTo>
                        <a:lnTo>
                          <a:pt x="644462" y="423482"/>
                        </a:lnTo>
                        <a:lnTo>
                          <a:pt x="0" y="329946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4" name="Freihandform: Form 183">
                    <a:extLst>
                      <a:ext uri="{FF2B5EF4-FFF2-40B4-BE49-F238E27FC236}">
                        <a16:creationId xmlns:a16="http://schemas.microsoft.com/office/drawing/2014/main" id="{BCAF9815-9411-6FCE-64F3-F4A707C6798E}"/>
                      </a:ext>
                    </a:extLst>
                  </p:cNvPr>
                  <p:cNvSpPr/>
                  <p:nvPr/>
                </p:nvSpPr>
                <p:spPr>
                  <a:xfrm>
                    <a:off x="5931534" y="2513838"/>
                    <a:ext cx="345566" cy="345566"/>
                  </a:xfrm>
                  <a:custGeom>
                    <a:avLst/>
                    <a:gdLst>
                      <a:gd name="connsiteX0" fmla="*/ 345567 w 345566"/>
                      <a:gd name="connsiteY0" fmla="*/ 172783 h 345566"/>
                      <a:gd name="connsiteX1" fmla="*/ 172783 w 345566"/>
                      <a:gd name="connsiteY1" fmla="*/ 345567 h 345566"/>
                      <a:gd name="connsiteX2" fmla="*/ 0 w 345566"/>
                      <a:gd name="connsiteY2" fmla="*/ 172783 h 345566"/>
                      <a:gd name="connsiteX3" fmla="*/ 172783 w 345566"/>
                      <a:gd name="connsiteY3" fmla="*/ 0 h 345566"/>
                      <a:gd name="connsiteX4" fmla="*/ 345567 w 345566"/>
                      <a:gd name="connsiteY4" fmla="*/ 172783 h 3455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45566" h="345566">
                        <a:moveTo>
                          <a:pt x="345567" y="172783"/>
                        </a:moveTo>
                        <a:cubicBezTo>
                          <a:pt x="345567" y="268209"/>
                          <a:pt x="268209" y="345567"/>
                          <a:pt x="172783" y="345567"/>
                        </a:cubicBezTo>
                        <a:cubicBezTo>
                          <a:pt x="77358" y="345567"/>
                          <a:pt x="0" y="268209"/>
                          <a:pt x="0" y="172783"/>
                        </a:cubicBezTo>
                        <a:cubicBezTo>
                          <a:pt x="0" y="77358"/>
                          <a:pt x="77357" y="0"/>
                          <a:pt x="172783" y="0"/>
                        </a:cubicBezTo>
                        <a:cubicBezTo>
                          <a:pt x="268209" y="0"/>
                          <a:pt x="345567" y="77358"/>
                          <a:pt x="345567" y="172783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85" name="Grafik 23">
                  <a:extLst>
                    <a:ext uri="{FF2B5EF4-FFF2-40B4-BE49-F238E27FC236}">
                      <a16:creationId xmlns:a16="http://schemas.microsoft.com/office/drawing/2014/main" id="{8F7FE62C-0461-5499-BF9F-21E0940619CC}"/>
                    </a:ext>
                  </a:extLst>
                </p:cNvPr>
                <p:cNvGrpSpPr/>
                <p:nvPr/>
              </p:nvGrpSpPr>
              <p:grpSpPr>
                <a:xfrm>
                  <a:off x="5217159" y="2156745"/>
                  <a:ext cx="790670" cy="894492"/>
                  <a:chOff x="5217159" y="2156745"/>
                  <a:chExt cx="790670" cy="894492"/>
                </a:xfrm>
              </p:grpSpPr>
              <p:grpSp>
                <p:nvGrpSpPr>
                  <p:cNvPr id="186" name="Grafik 23">
                    <a:extLst>
                      <a:ext uri="{FF2B5EF4-FFF2-40B4-BE49-F238E27FC236}">
                        <a16:creationId xmlns:a16="http://schemas.microsoft.com/office/drawing/2014/main" id="{5625795B-5773-71E4-AE07-BF8529E4CE3E}"/>
                      </a:ext>
                    </a:extLst>
                  </p:cNvPr>
                  <p:cNvGrpSpPr/>
                  <p:nvPr/>
                </p:nvGrpSpPr>
                <p:grpSpPr>
                  <a:xfrm>
                    <a:off x="5247163" y="2156745"/>
                    <a:ext cx="760666" cy="894492"/>
                    <a:chOff x="5247163" y="2156745"/>
                    <a:chExt cx="760666" cy="894492"/>
                  </a:xfrm>
                </p:grpSpPr>
                <p:sp>
                  <p:nvSpPr>
                    <p:cNvPr id="187" name="Freihandform: Form 186">
                      <a:extLst>
                        <a:ext uri="{FF2B5EF4-FFF2-40B4-BE49-F238E27FC236}">
                          <a16:creationId xmlns:a16="http://schemas.microsoft.com/office/drawing/2014/main" id="{C1903A77-BDCC-58AF-AC6A-48B0EF716B42}"/>
                        </a:ext>
                      </a:extLst>
                    </p:cNvPr>
                    <p:cNvSpPr/>
                    <p:nvPr/>
                  </p:nvSpPr>
                  <p:spPr>
                    <a:xfrm rot="-864001">
                      <a:off x="5348448" y="2231745"/>
                      <a:ext cx="558069" cy="743997"/>
                    </a:xfrm>
                    <a:custGeom>
                      <a:avLst/>
                      <a:gdLst>
                        <a:gd name="connsiteX0" fmla="*/ 0 w 558069"/>
                        <a:gd name="connsiteY0" fmla="*/ 0 h 743997"/>
                        <a:gd name="connsiteX1" fmla="*/ 558070 w 558069"/>
                        <a:gd name="connsiteY1" fmla="*/ 0 h 743997"/>
                        <a:gd name="connsiteX2" fmla="*/ 558070 w 558069"/>
                        <a:gd name="connsiteY2" fmla="*/ 743998 h 743997"/>
                        <a:gd name="connsiteX3" fmla="*/ 0 w 558069"/>
                        <a:gd name="connsiteY3" fmla="*/ 743998 h 7439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558069" h="743997">
                          <a:moveTo>
                            <a:pt x="0" y="0"/>
                          </a:moveTo>
                          <a:lnTo>
                            <a:pt x="558070" y="0"/>
                          </a:lnTo>
                          <a:lnTo>
                            <a:pt x="558070" y="743998"/>
                          </a:lnTo>
                          <a:lnTo>
                            <a:pt x="0" y="743998"/>
                          </a:lnTo>
                          <a:close/>
                        </a:path>
                      </a:pathLst>
                    </a:custGeom>
                    <a:solidFill>
                      <a:srgbClr val="EC660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88" name="Freihandform: Form 187">
                      <a:extLst>
                        <a:ext uri="{FF2B5EF4-FFF2-40B4-BE49-F238E27FC236}">
                          <a16:creationId xmlns:a16="http://schemas.microsoft.com/office/drawing/2014/main" id="{6D6CF672-CBF5-E9A5-2A6A-520BF9F4C6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47163" y="2156745"/>
                      <a:ext cx="760666" cy="894492"/>
                    </a:xfrm>
                    <a:custGeom>
                      <a:avLst/>
                      <a:gdLst>
                        <a:gd name="connsiteX0" fmla="*/ 547688 w 760666"/>
                        <a:gd name="connsiteY0" fmla="*/ 35147 h 894492"/>
                        <a:gd name="connsiteX1" fmla="*/ 725519 w 760666"/>
                        <a:gd name="connsiteY1" fmla="*/ 727805 h 894492"/>
                        <a:gd name="connsiteX2" fmla="*/ 212979 w 760666"/>
                        <a:gd name="connsiteY2" fmla="*/ 859346 h 894492"/>
                        <a:gd name="connsiteX3" fmla="*/ 35147 w 760666"/>
                        <a:gd name="connsiteY3" fmla="*/ 166688 h 894492"/>
                        <a:gd name="connsiteX4" fmla="*/ 547688 w 760666"/>
                        <a:gd name="connsiteY4" fmla="*/ 35147 h 894492"/>
                        <a:gd name="connsiteX5" fmla="*/ 568452 w 760666"/>
                        <a:gd name="connsiteY5" fmla="*/ 0 h 894492"/>
                        <a:gd name="connsiteX6" fmla="*/ 0 w 760666"/>
                        <a:gd name="connsiteY6" fmla="*/ 145923 h 894492"/>
                        <a:gd name="connsiteX7" fmla="*/ 192119 w 760666"/>
                        <a:gd name="connsiteY7" fmla="*/ 894493 h 894492"/>
                        <a:gd name="connsiteX8" fmla="*/ 760667 w 760666"/>
                        <a:gd name="connsiteY8" fmla="*/ 748570 h 894492"/>
                        <a:gd name="connsiteX9" fmla="*/ 568547 w 760666"/>
                        <a:gd name="connsiteY9" fmla="*/ 0 h 894492"/>
                        <a:gd name="connsiteX10" fmla="*/ 568547 w 760666"/>
                        <a:gd name="connsiteY10" fmla="*/ 0 h 8944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760666" h="894492">
                          <a:moveTo>
                            <a:pt x="547688" y="35147"/>
                          </a:moveTo>
                          <a:lnTo>
                            <a:pt x="725519" y="727805"/>
                          </a:lnTo>
                          <a:lnTo>
                            <a:pt x="212979" y="859346"/>
                          </a:lnTo>
                          <a:lnTo>
                            <a:pt x="35147" y="166688"/>
                          </a:lnTo>
                          <a:lnTo>
                            <a:pt x="547688" y="35147"/>
                          </a:lnTo>
                          <a:moveTo>
                            <a:pt x="568452" y="0"/>
                          </a:moveTo>
                          <a:lnTo>
                            <a:pt x="0" y="145923"/>
                          </a:lnTo>
                          <a:lnTo>
                            <a:pt x="192119" y="894493"/>
                          </a:lnTo>
                          <a:lnTo>
                            <a:pt x="760667" y="748570"/>
                          </a:lnTo>
                          <a:lnTo>
                            <a:pt x="568547" y="0"/>
                          </a:lnTo>
                          <a:lnTo>
                            <a:pt x="568547" y="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189" name="Freihandform: Form 188">
                    <a:extLst>
                      <a:ext uri="{FF2B5EF4-FFF2-40B4-BE49-F238E27FC236}">
                        <a16:creationId xmlns:a16="http://schemas.microsoft.com/office/drawing/2014/main" id="{6A578915-4D13-B0CF-55EC-2455E3DCCA62}"/>
                      </a:ext>
                    </a:extLst>
                  </p:cNvPr>
                  <p:cNvSpPr/>
                  <p:nvPr/>
                </p:nvSpPr>
                <p:spPr>
                  <a:xfrm>
                    <a:off x="5217159" y="2487929"/>
                    <a:ext cx="280518" cy="319373"/>
                  </a:xfrm>
                  <a:custGeom>
                    <a:avLst/>
                    <a:gdLst>
                      <a:gd name="connsiteX0" fmla="*/ 197168 w 280518"/>
                      <a:gd name="connsiteY0" fmla="*/ 99632 h 319373"/>
                      <a:gd name="connsiteX1" fmla="*/ 103727 w 280518"/>
                      <a:gd name="connsiteY1" fmla="*/ 102108 h 319373"/>
                      <a:gd name="connsiteX2" fmla="*/ 77534 w 280518"/>
                      <a:gd name="connsiteY2" fmla="*/ 0 h 319373"/>
                      <a:gd name="connsiteX3" fmla="*/ 0 w 280518"/>
                      <a:gd name="connsiteY3" fmla="*/ 109728 h 319373"/>
                      <a:gd name="connsiteX4" fmla="*/ 71152 w 280518"/>
                      <a:gd name="connsiteY4" fmla="*/ 315278 h 319373"/>
                      <a:gd name="connsiteX5" fmla="*/ 186785 w 280518"/>
                      <a:gd name="connsiteY5" fmla="*/ 319373 h 319373"/>
                      <a:gd name="connsiteX6" fmla="*/ 280226 w 280518"/>
                      <a:gd name="connsiteY6" fmla="*/ 239649 h 319373"/>
                      <a:gd name="connsiteX7" fmla="*/ 280511 w 280518"/>
                      <a:gd name="connsiteY7" fmla="*/ 130778 h 319373"/>
                      <a:gd name="connsiteX8" fmla="*/ 197263 w 280518"/>
                      <a:gd name="connsiteY8" fmla="*/ 99727 h 319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0518" h="319373">
                        <a:moveTo>
                          <a:pt x="197168" y="99632"/>
                        </a:moveTo>
                        <a:cubicBezTo>
                          <a:pt x="183547" y="102013"/>
                          <a:pt x="103727" y="102108"/>
                          <a:pt x="103727" y="102108"/>
                        </a:cubicBezTo>
                        <a:lnTo>
                          <a:pt x="77534" y="0"/>
                        </a:lnTo>
                        <a:lnTo>
                          <a:pt x="0" y="109728"/>
                        </a:lnTo>
                        <a:lnTo>
                          <a:pt x="71152" y="315278"/>
                        </a:lnTo>
                        <a:lnTo>
                          <a:pt x="186785" y="319373"/>
                        </a:lnTo>
                        <a:lnTo>
                          <a:pt x="280226" y="239649"/>
                        </a:lnTo>
                        <a:lnTo>
                          <a:pt x="280511" y="130778"/>
                        </a:lnTo>
                        <a:cubicBezTo>
                          <a:pt x="280511" y="130778"/>
                          <a:pt x="282988" y="84773"/>
                          <a:pt x="197263" y="99727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0" name="Freihandform: Form 189">
                    <a:extLst>
                      <a:ext uri="{FF2B5EF4-FFF2-40B4-BE49-F238E27FC236}">
                        <a16:creationId xmlns:a16="http://schemas.microsoft.com/office/drawing/2014/main" id="{F368E50A-3348-10D6-C01F-DB7D8A3C9534}"/>
                      </a:ext>
                    </a:extLst>
                  </p:cNvPr>
                  <p:cNvSpPr/>
                  <p:nvPr/>
                </p:nvSpPr>
                <p:spPr>
                  <a:xfrm rot="-326400">
                    <a:off x="5311589" y="2643866"/>
                    <a:ext cx="186594" cy="19240"/>
                  </a:xfrm>
                  <a:custGeom>
                    <a:avLst/>
                    <a:gdLst>
                      <a:gd name="connsiteX0" fmla="*/ 0 w 186594"/>
                      <a:gd name="connsiteY0" fmla="*/ 0 h 19240"/>
                      <a:gd name="connsiteX1" fmla="*/ 186595 w 186594"/>
                      <a:gd name="connsiteY1" fmla="*/ 0 h 19240"/>
                      <a:gd name="connsiteX2" fmla="*/ 186595 w 186594"/>
                      <a:gd name="connsiteY2" fmla="*/ 19241 h 19240"/>
                      <a:gd name="connsiteX3" fmla="*/ 0 w 186594"/>
                      <a:gd name="connsiteY3" fmla="*/ 19241 h 192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86594" h="19240">
                        <a:moveTo>
                          <a:pt x="0" y="0"/>
                        </a:moveTo>
                        <a:lnTo>
                          <a:pt x="186595" y="0"/>
                        </a:lnTo>
                        <a:lnTo>
                          <a:pt x="186595" y="19241"/>
                        </a:lnTo>
                        <a:lnTo>
                          <a:pt x="0" y="19241"/>
                        </a:lnTo>
                        <a:close/>
                      </a:path>
                    </a:pathLst>
                  </a:custGeom>
                  <a:solidFill>
                    <a:srgbClr val="F2BBB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91" name="Grafik 23">
                  <a:extLst>
                    <a:ext uri="{FF2B5EF4-FFF2-40B4-BE49-F238E27FC236}">
                      <a16:creationId xmlns:a16="http://schemas.microsoft.com/office/drawing/2014/main" id="{B7EB8C2F-4C94-CC7C-D993-30BE5B2D3483}"/>
                    </a:ext>
                  </a:extLst>
                </p:cNvPr>
                <p:cNvGrpSpPr/>
                <p:nvPr/>
              </p:nvGrpSpPr>
              <p:grpSpPr>
                <a:xfrm>
                  <a:off x="6113093" y="1063436"/>
                  <a:ext cx="443757" cy="556066"/>
                  <a:chOff x="6113093" y="1063436"/>
                  <a:chExt cx="443757" cy="556066"/>
                </a:xfrm>
              </p:grpSpPr>
              <p:sp>
                <p:nvSpPr>
                  <p:cNvPr id="192" name="Freihandform: Form 191">
                    <a:extLst>
                      <a:ext uri="{FF2B5EF4-FFF2-40B4-BE49-F238E27FC236}">
                        <a16:creationId xmlns:a16="http://schemas.microsoft.com/office/drawing/2014/main" id="{C9E9E3B8-62E6-E6AD-9014-7151807708FE}"/>
                      </a:ext>
                    </a:extLst>
                  </p:cNvPr>
                  <p:cNvSpPr/>
                  <p:nvPr/>
                </p:nvSpPr>
                <p:spPr>
                  <a:xfrm>
                    <a:off x="6113093" y="1063436"/>
                    <a:ext cx="443757" cy="556055"/>
                  </a:xfrm>
                  <a:custGeom>
                    <a:avLst/>
                    <a:gdLst>
                      <a:gd name="connsiteX0" fmla="*/ 443757 w 443757"/>
                      <a:gd name="connsiteY0" fmla="*/ 405604 h 556055"/>
                      <a:gd name="connsiteX1" fmla="*/ 129813 w 443757"/>
                      <a:gd name="connsiteY1" fmla="*/ 526953 h 556055"/>
                      <a:gd name="connsiteX2" fmla="*/ 1321 w 443757"/>
                      <a:gd name="connsiteY2" fmla="*/ 166717 h 556055"/>
                      <a:gd name="connsiteX3" fmla="*/ 315170 w 443757"/>
                      <a:gd name="connsiteY3" fmla="*/ 45369 h 556055"/>
                      <a:gd name="connsiteX4" fmla="*/ 443662 w 443757"/>
                      <a:gd name="connsiteY4" fmla="*/ 405604 h 5560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43757" h="556055">
                        <a:moveTo>
                          <a:pt x="443757" y="405604"/>
                        </a:moveTo>
                        <a:cubicBezTo>
                          <a:pt x="419373" y="524095"/>
                          <a:pt x="234779" y="600962"/>
                          <a:pt x="129813" y="526953"/>
                        </a:cubicBezTo>
                        <a:lnTo>
                          <a:pt x="1321" y="166717"/>
                        </a:lnTo>
                        <a:cubicBezTo>
                          <a:pt x="-21825" y="60323"/>
                          <a:pt x="266211" y="-70741"/>
                          <a:pt x="315170" y="45369"/>
                        </a:cubicBezTo>
                        <a:lnTo>
                          <a:pt x="443662" y="405604"/>
                        </a:ln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3" name="Freihandform: Form 192">
                    <a:extLst>
                      <a:ext uri="{FF2B5EF4-FFF2-40B4-BE49-F238E27FC236}">
                        <a16:creationId xmlns:a16="http://schemas.microsoft.com/office/drawing/2014/main" id="{44C073EF-D704-EC18-F678-2E19402D958B}"/>
                      </a:ext>
                    </a:extLst>
                  </p:cNvPr>
                  <p:cNvSpPr/>
                  <p:nvPr/>
                </p:nvSpPr>
                <p:spPr>
                  <a:xfrm>
                    <a:off x="6228307" y="1200626"/>
                    <a:ext cx="328542" cy="418877"/>
                  </a:xfrm>
                  <a:custGeom>
                    <a:avLst/>
                    <a:gdLst>
                      <a:gd name="connsiteX0" fmla="*/ 232817 w 328542"/>
                      <a:gd name="connsiteY0" fmla="*/ 95 h 418877"/>
                      <a:gd name="connsiteX1" fmla="*/ 328543 w 328542"/>
                      <a:gd name="connsiteY1" fmla="*/ 268415 h 418877"/>
                      <a:gd name="connsiteX2" fmla="*/ 14599 w 328542"/>
                      <a:gd name="connsiteY2" fmla="*/ 389763 h 418877"/>
                      <a:gd name="connsiteX3" fmla="*/ 44222 w 328542"/>
                      <a:gd name="connsiteY3" fmla="*/ 223647 h 418877"/>
                      <a:gd name="connsiteX4" fmla="*/ 232817 w 328542"/>
                      <a:gd name="connsiteY4" fmla="*/ 0 h 4188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8542" h="418877">
                        <a:moveTo>
                          <a:pt x="232817" y="95"/>
                        </a:moveTo>
                        <a:lnTo>
                          <a:pt x="328543" y="268415"/>
                        </a:lnTo>
                        <a:cubicBezTo>
                          <a:pt x="304445" y="389001"/>
                          <a:pt x="117850" y="463010"/>
                          <a:pt x="14599" y="389763"/>
                        </a:cubicBezTo>
                        <a:cubicBezTo>
                          <a:pt x="14599" y="389763"/>
                          <a:pt x="-33216" y="270605"/>
                          <a:pt x="44222" y="223647"/>
                        </a:cubicBezTo>
                        <a:cubicBezTo>
                          <a:pt x="235579" y="107728"/>
                          <a:pt x="232817" y="0"/>
                          <a:pt x="232817" y="0"/>
                        </a:cubicBezTo>
                        <a:close/>
                      </a:path>
                    </a:pathLst>
                  </a:custGeom>
                  <a:solidFill>
                    <a:srgbClr val="F2BBB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94" name="Grafik 23">
                  <a:extLst>
                    <a:ext uri="{FF2B5EF4-FFF2-40B4-BE49-F238E27FC236}">
                      <a16:creationId xmlns:a16="http://schemas.microsoft.com/office/drawing/2014/main" id="{B31EC07A-1292-DC1C-DEEF-A7CD02A91B33}"/>
                    </a:ext>
                  </a:extLst>
                </p:cNvPr>
                <p:cNvGrpSpPr/>
                <p:nvPr/>
              </p:nvGrpSpPr>
              <p:grpSpPr>
                <a:xfrm>
                  <a:off x="5641758" y="1283398"/>
                  <a:ext cx="1290948" cy="4879390"/>
                  <a:chOff x="5641758" y="1283398"/>
                  <a:chExt cx="1290948" cy="4879390"/>
                </a:xfrm>
              </p:grpSpPr>
              <p:grpSp>
                <p:nvGrpSpPr>
                  <p:cNvPr id="195" name="Grafik 23">
                    <a:extLst>
                      <a:ext uri="{FF2B5EF4-FFF2-40B4-BE49-F238E27FC236}">
                        <a16:creationId xmlns:a16="http://schemas.microsoft.com/office/drawing/2014/main" id="{160D356B-FC3E-D4CD-5422-253A1CE03580}"/>
                      </a:ext>
                    </a:extLst>
                  </p:cNvPr>
                  <p:cNvGrpSpPr/>
                  <p:nvPr/>
                </p:nvGrpSpPr>
                <p:grpSpPr>
                  <a:xfrm>
                    <a:off x="5641758" y="5790657"/>
                    <a:ext cx="867562" cy="295550"/>
                    <a:chOff x="5641758" y="5790657"/>
                    <a:chExt cx="867562" cy="295550"/>
                  </a:xfrm>
                </p:grpSpPr>
                <p:sp>
                  <p:nvSpPr>
                    <p:cNvPr id="196" name="Freihandform: Form 195">
                      <a:extLst>
                        <a:ext uri="{FF2B5EF4-FFF2-40B4-BE49-F238E27FC236}">
                          <a16:creationId xmlns:a16="http://schemas.microsoft.com/office/drawing/2014/main" id="{46C23275-8C8F-85BB-7E1A-D5188577DB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643447" y="5790657"/>
                      <a:ext cx="865764" cy="289407"/>
                    </a:xfrm>
                    <a:custGeom>
                      <a:avLst/>
                      <a:gdLst>
                        <a:gd name="connsiteX0" fmla="*/ 804913 w 865764"/>
                        <a:gd name="connsiteY0" fmla="*/ 28546 h 289407"/>
                        <a:gd name="connsiteX1" fmla="*/ 865683 w 865764"/>
                        <a:gd name="connsiteY1" fmla="*/ 170088 h 289407"/>
                        <a:gd name="connsiteX2" fmla="*/ 860063 w 865764"/>
                        <a:gd name="connsiteY2" fmla="*/ 253907 h 289407"/>
                        <a:gd name="connsiteX3" fmla="*/ 835393 w 865764"/>
                        <a:gd name="connsiteY3" fmla="*/ 276863 h 289407"/>
                        <a:gd name="connsiteX4" fmla="*/ 54629 w 865764"/>
                        <a:gd name="connsiteY4" fmla="*/ 249716 h 289407"/>
                        <a:gd name="connsiteX5" fmla="*/ 41865 w 865764"/>
                        <a:gd name="connsiteY5" fmla="*/ 132750 h 289407"/>
                        <a:gd name="connsiteX6" fmla="*/ 331140 w 865764"/>
                        <a:gd name="connsiteY6" fmla="*/ 83696 h 289407"/>
                        <a:gd name="connsiteX7" fmla="*/ 535927 w 865764"/>
                        <a:gd name="connsiteY7" fmla="*/ 829 h 289407"/>
                        <a:gd name="connsiteX8" fmla="*/ 592696 w 865764"/>
                        <a:gd name="connsiteY8" fmla="*/ 56931 h 289407"/>
                        <a:gd name="connsiteX9" fmla="*/ 725570 w 865764"/>
                        <a:gd name="connsiteY9" fmla="*/ 56931 h 289407"/>
                        <a:gd name="connsiteX10" fmla="*/ 805009 w 865764"/>
                        <a:gd name="connsiteY10" fmla="*/ 28546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804913" y="28546"/>
                          </a:moveTo>
                          <a:cubicBezTo>
                            <a:pt x="804913" y="28546"/>
                            <a:pt x="868350" y="92078"/>
                            <a:pt x="865683" y="170088"/>
                          </a:cubicBezTo>
                          <a:cubicBezTo>
                            <a:pt x="864254" y="210474"/>
                            <a:pt x="861968" y="237334"/>
                            <a:pt x="860063" y="253907"/>
                          </a:cubicBezTo>
                          <a:cubicBezTo>
                            <a:pt x="858634" y="266576"/>
                            <a:pt x="848157" y="276292"/>
                            <a:pt x="835393" y="276863"/>
                          </a:cubicBezTo>
                          <a:cubicBezTo>
                            <a:pt x="726808" y="281626"/>
                            <a:pt x="175025" y="314487"/>
                            <a:pt x="54629" y="249716"/>
                          </a:cubicBezTo>
                          <a:cubicBezTo>
                            <a:pt x="-60338" y="187899"/>
                            <a:pt x="41865" y="132750"/>
                            <a:pt x="41865" y="132750"/>
                          </a:cubicBezTo>
                          <a:cubicBezTo>
                            <a:pt x="41865" y="132750"/>
                            <a:pt x="216840" y="152752"/>
                            <a:pt x="331140" y="83696"/>
                          </a:cubicBezTo>
                          <a:cubicBezTo>
                            <a:pt x="432867" y="22260"/>
                            <a:pt x="517735" y="-5267"/>
                            <a:pt x="535927" y="829"/>
                          </a:cubicBezTo>
                          <a:cubicBezTo>
                            <a:pt x="554120" y="6924"/>
                            <a:pt x="560502" y="35499"/>
                            <a:pt x="592696" y="56931"/>
                          </a:cubicBezTo>
                          <a:cubicBezTo>
                            <a:pt x="624986" y="78457"/>
                            <a:pt x="663753" y="78457"/>
                            <a:pt x="725570" y="56931"/>
                          </a:cubicBezTo>
                          <a:cubicBezTo>
                            <a:pt x="787387" y="35404"/>
                            <a:pt x="786149" y="20450"/>
                            <a:pt x="805009" y="28546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97" name="Freihandform: Form 196">
                      <a:extLst>
                        <a:ext uri="{FF2B5EF4-FFF2-40B4-BE49-F238E27FC236}">
                          <a16:creationId xmlns:a16="http://schemas.microsoft.com/office/drawing/2014/main" id="{9608C06F-C79C-E690-F2FE-2CCDFAA32D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641758" y="5933027"/>
                      <a:ext cx="867562" cy="153180"/>
                    </a:xfrm>
                    <a:custGeom>
                      <a:avLst/>
                      <a:gdLst>
                        <a:gd name="connsiteX0" fmla="*/ 837463 w 867562"/>
                        <a:gd name="connsiteY0" fmla="*/ 153162 h 153180"/>
                        <a:gd name="connsiteX1" fmla="*/ 174904 w 867562"/>
                        <a:gd name="connsiteY1" fmla="*/ 152781 h 153180"/>
                        <a:gd name="connsiteX2" fmla="*/ 55746 w 867562"/>
                        <a:gd name="connsiteY2" fmla="*/ 116395 h 153180"/>
                        <a:gd name="connsiteX3" fmla="*/ 28600 w 867562"/>
                        <a:gd name="connsiteY3" fmla="*/ 0 h 153180"/>
                        <a:gd name="connsiteX4" fmla="*/ 68700 w 867562"/>
                        <a:gd name="connsiteY4" fmla="*/ 42291 h 153180"/>
                        <a:gd name="connsiteX5" fmla="*/ 867562 w 867562"/>
                        <a:gd name="connsiteY5" fmla="*/ 51245 h 153180"/>
                        <a:gd name="connsiteX6" fmla="*/ 862324 w 867562"/>
                        <a:gd name="connsiteY6" fmla="*/ 130016 h 153180"/>
                        <a:gd name="connsiteX7" fmla="*/ 837559 w 867562"/>
                        <a:gd name="connsiteY7" fmla="*/ 153162 h 15318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0">
                          <a:moveTo>
                            <a:pt x="837463" y="153162"/>
                          </a:moveTo>
                          <a:cubicBezTo>
                            <a:pt x="834987" y="153257"/>
                            <a:pt x="177000" y="152971"/>
                            <a:pt x="174904" y="152781"/>
                          </a:cubicBezTo>
                          <a:cubicBezTo>
                            <a:pt x="116325" y="147066"/>
                            <a:pt x="79750" y="129349"/>
                            <a:pt x="55746" y="116395"/>
                          </a:cubicBezTo>
                          <a:cubicBezTo>
                            <a:pt x="-30359" y="70104"/>
                            <a:pt x="2311" y="15907"/>
                            <a:pt x="28600" y="0"/>
                          </a:cubicBezTo>
                          <a:cubicBezTo>
                            <a:pt x="37173" y="9430"/>
                            <a:pt x="50032" y="32290"/>
                            <a:pt x="68700" y="42291"/>
                          </a:cubicBezTo>
                          <a:cubicBezTo>
                            <a:pt x="195859" y="110680"/>
                            <a:pt x="799173" y="56483"/>
                            <a:pt x="867562" y="51245"/>
                          </a:cubicBezTo>
                          <a:cubicBezTo>
                            <a:pt x="866134" y="85630"/>
                            <a:pt x="864133" y="114871"/>
                            <a:pt x="862324" y="130016"/>
                          </a:cubicBezTo>
                          <a:cubicBezTo>
                            <a:pt x="860895" y="142780"/>
                            <a:pt x="850417" y="152590"/>
                            <a:pt x="837559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198" name="Freihandform: Form 197">
                    <a:extLst>
                      <a:ext uri="{FF2B5EF4-FFF2-40B4-BE49-F238E27FC236}">
                        <a16:creationId xmlns:a16="http://schemas.microsoft.com/office/drawing/2014/main" id="{6C622877-0F49-7130-8374-D30C45826E32}"/>
                      </a:ext>
                    </a:extLst>
                  </p:cNvPr>
                  <p:cNvSpPr/>
                  <p:nvPr/>
                </p:nvSpPr>
                <p:spPr>
                  <a:xfrm>
                    <a:off x="5928417" y="2855975"/>
                    <a:ext cx="818567" cy="1866913"/>
                  </a:xfrm>
                  <a:custGeom>
                    <a:avLst/>
                    <a:gdLst>
                      <a:gd name="connsiteX0" fmla="*/ 781595 w 818567"/>
                      <a:gd name="connsiteY0" fmla="*/ 78581 h 1866913"/>
                      <a:gd name="connsiteX1" fmla="*/ 114750 w 818567"/>
                      <a:gd name="connsiteY1" fmla="*/ 0 h 1866913"/>
                      <a:gd name="connsiteX2" fmla="*/ 16166 w 818567"/>
                      <a:gd name="connsiteY2" fmla="*/ 936117 h 1866913"/>
                      <a:gd name="connsiteX3" fmla="*/ 9308 w 818567"/>
                      <a:gd name="connsiteY3" fmla="*/ 1796606 h 1866913"/>
                      <a:gd name="connsiteX4" fmla="*/ 521182 w 818567"/>
                      <a:gd name="connsiteY4" fmla="*/ 1815084 h 1866913"/>
                      <a:gd name="connsiteX5" fmla="*/ 781595 w 818567"/>
                      <a:gd name="connsiteY5" fmla="*/ 78486 h 18669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8567" h="1866913">
                        <a:moveTo>
                          <a:pt x="781595" y="78581"/>
                        </a:moveTo>
                        <a:cubicBezTo>
                          <a:pt x="772165" y="79820"/>
                          <a:pt x="114750" y="0"/>
                          <a:pt x="114750" y="0"/>
                        </a:cubicBezTo>
                        <a:cubicBezTo>
                          <a:pt x="114750" y="0"/>
                          <a:pt x="24453" y="770858"/>
                          <a:pt x="16166" y="936117"/>
                        </a:cubicBezTo>
                        <a:cubicBezTo>
                          <a:pt x="-15648" y="1569434"/>
                          <a:pt x="9308" y="1796606"/>
                          <a:pt x="9308" y="1796606"/>
                        </a:cubicBezTo>
                        <a:cubicBezTo>
                          <a:pt x="156184" y="1903952"/>
                          <a:pt x="356018" y="1870234"/>
                          <a:pt x="521182" y="1815084"/>
                        </a:cubicBezTo>
                        <a:cubicBezTo>
                          <a:pt x="633767" y="1093470"/>
                          <a:pt x="919898" y="808196"/>
                          <a:pt x="781595" y="78486"/>
                        </a:cubicBezTo>
                        <a:close/>
                      </a:path>
                    </a:pathLst>
                  </a:custGeom>
                  <a:solidFill>
                    <a:srgbClr val="004F4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9" name="Freihandform: Form 198">
                    <a:extLst>
                      <a:ext uri="{FF2B5EF4-FFF2-40B4-BE49-F238E27FC236}">
                        <a16:creationId xmlns:a16="http://schemas.microsoft.com/office/drawing/2014/main" id="{50F5741B-8D98-FA50-E772-A414D5220B6A}"/>
                      </a:ext>
                    </a:extLst>
                  </p:cNvPr>
                  <p:cNvSpPr/>
                  <p:nvPr/>
                </p:nvSpPr>
                <p:spPr>
                  <a:xfrm>
                    <a:off x="5936678" y="4541924"/>
                    <a:ext cx="619474" cy="1380816"/>
                  </a:xfrm>
                  <a:custGeom>
                    <a:avLst/>
                    <a:gdLst>
                      <a:gd name="connsiteX0" fmla="*/ 517588 w 619474"/>
                      <a:gd name="connsiteY0" fmla="*/ 67509 h 1380816"/>
                      <a:gd name="connsiteX1" fmla="*/ 599980 w 619474"/>
                      <a:gd name="connsiteY1" fmla="*/ 1058014 h 1380816"/>
                      <a:gd name="connsiteX2" fmla="*/ 567309 w 619474"/>
                      <a:gd name="connsiteY2" fmla="*/ 1380435 h 1380816"/>
                      <a:gd name="connsiteX3" fmla="*/ 263462 w 619474"/>
                      <a:gd name="connsiteY3" fmla="*/ 1347288 h 1380816"/>
                      <a:gd name="connsiteX4" fmla="*/ 50292 w 619474"/>
                      <a:gd name="connsiteY4" fmla="*/ 1324809 h 1380816"/>
                      <a:gd name="connsiteX5" fmla="*/ 62008 w 619474"/>
                      <a:gd name="connsiteY5" fmla="*/ 870086 h 1380816"/>
                      <a:gd name="connsiteX6" fmla="*/ 0 w 619474"/>
                      <a:gd name="connsiteY6" fmla="*/ 98275 h 1380816"/>
                      <a:gd name="connsiteX7" fmla="*/ 517588 w 619474"/>
                      <a:gd name="connsiteY7" fmla="*/ 67414 h 13808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19474" h="1380816">
                        <a:moveTo>
                          <a:pt x="517588" y="67509"/>
                        </a:moveTo>
                        <a:cubicBezTo>
                          <a:pt x="608171" y="426887"/>
                          <a:pt x="582644" y="878944"/>
                          <a:pt x="599980" y="1058014"/>
                        </a:cubicBezTo>
                        <a:cubicBezTo>
                          <a:pt x="610553" y="1167361"/>
                          <a:pt x="652081" y="1391293"/>
                          <a:pt x="567309" y="1380435"/>
                        </a:cubicBezTo>
                        <a:cubicBezTo>
                          <a:pt x="503491" y="1366910"/>
                          <a:pt x="391287" y="1357956"/>
                          <a:pt x="263462" y="1347288"/>
                        </a:cubicBezTo>
                        <a:cubicBezTo>
                          <a:pt x="135636" y="1336525"/>
                          <a:pt x="50292" y="1324809"/>
                          <a:pt x="50292" y="1324809"/>
                        </a:cubicBezTo>
                        <a:cubicBezTo>
                          <a:pt x="50292" y="1324809"/>
                          <a:pt x="63722" y="926093"/>
                          <a:pt x="62008" y="870086"/>
                        </a:cubicBezTo>
                        <a:cubicBezTo>
                          <a:pt x="60293" y="814079"/>
                          <a:pt x="0" y="98275"/>
                          <a:pt x="0" y="98275"/>
                        </a:cubicBezTo>
                        <a:cubicBezTo>
                          <a:pt x="154305" y="-12501"/>
                          <a:pt x="355473" y="-38980"/>
                          <a:pt x="517588" y="67414"/>
                        </a:cubicBezTo>
                        <a:close/>
                      </a:path>
                    </a:pathLst>
                  </a:custGeom>
                  <a:solidFill>
                    <a:srgbClr val="004F4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0" name="Freihandform: Form 199">
                    <a:extLst>
                      <a:ext uri="{FF2B5EF4-FFF2-40B4-BE49-F238E27FC236}">
                        <a16:creationId xmlns:a16="http://schemas.microsoft.com/office/drawing/2014/main" id="{A92774FD-46D8-8A77-39B5-FCC51236C74C}"/>
                      </a:ext>
                    </a:extLst>
                  </p:cNvPr>
                  <p:cNvSpPr/>
                  <p:nvPr/>
                </p:nvSpPr>
                <p:spPr>
                  <a:xfrm>
                    <a:off x="5935820" y="4361211"/>
                    <a:ext cx="518731" cy="518731"/>
                  </a:xfrm>
                  <a:custGeom>
                    <a:avLst/>
                    <a:gdLst>
                      <a:gd name="connsiteX0" fmla="*/ 518731 w 518731"/>
                      <a:gd name="connsiteY0" fmla="*/ 259366 h 518731"/>
                      <a:gd name="connsiteX1" fmla="*/ 259366 w 518731"/>
                      <a:gd name="connsiteY1" fmla="*/ 518732 h 518731"/>
                      <a:gd name="connsiteX2" fmla="*/ 0 w 518731"/>
                      <a:gd name="connsiteY2" fmla="*/ 259366 h 518731"/>
                      <a:gd name="connsiteX3" fmla="*/ 259366 w 518731"/>
                      <a:gd name="connsiteY3" fmla="*/ 0 h 518731"/>
                      <a:gd name="connsiteX4" fmla="*/ 518731 w 518731"/>
                      <a:gd name="connsiteY4" fmla="*/ 259366 h 5187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8731" h="518731">
                        <a:moveTo>
                          <a:pt x="518731" y="259366"/>
                        </a:moveTo>
                        <a:cubicBezTo>
                          <a:pt x="518731" y="402610"/>
                          <a:pt x="402610" y="518732"/>
                          <a:pt x="259366" y="518732"/>
                        </a:cubicBezTo>
                        <a:cubicBezTo>
                          <a:pt x="116122" y="518732"/>
                          <a:pt x="0" y="402610"/>
                          <a:pt x="0" y="259366"/>
                        </a:cubicBezTo>
                        <a:cubicBezTo>
                          <a:pt x="0" y="116122"/>
                          <a:pt x="116122" y="0"/>
                          <a:pt x="259366" y="0"/>
                        </a:cubicBezTo>
                        <a:cubicBezTo>
                          <a:pt x="402610" y="0"/>
                          <a:pt x="518731" y="116122"/>
                          <a:pt x="518731" y="259366"/>
                        </a:cubicBezTo>
                        <a:close/>
                      </a:path>
                    </a:pathLst>
                  </a:custGeom>
                  <a:solidFill>
                    <a:srgbClr val="004F4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1" name="Freihandform: Form 200">
                    <a:extLst>
                      <a:ext uri="{FF2B5EF4-FFF2-40B4-BE49-F238E27FC236}">
                        <a16:creationId xmlns:a16="http://schemas.microsoft.com/office/drawing/2014/main" id="{61229A6A-53CE-3946-D210-FFA7C0538B7D}"/>
                      </a:ext>
                    </a:extLst>
                  </p:cNvPr>
                  <p:cNvSpPr/>
                  <p:nvPr/>
                </p:nvSpPr>
                <p:spPr>
                  <a:xfrm>
                    <a:off x="5919437" y="2908934"/>
                    <a:ext cx="808810" cy="1901431"/>
                  </a:xfrm>
                  <a:custGeom>
                    <a:avLst/>
                    <a:gdLst>
                      <a:gd name="connsiteX0" fmla="*/ 669798 w 808810"/>
                      <a:gd name="connsiteY0" fmla="*/ 0 h 1901431"/>
                      <a:gd name="connsiteX1" fmla="*/ 0 w 808810"/>
                      <a:gd name="connsiteY1" fmla="*/ 48197 h 1901431"/>
                      <a:gd name="connsiteX2" fmla="*/ 79248 w 808810"/>
                      <a:gd name="connsiteY2" fmla="*/ 986219 h 1901431"/>
                      <a:gd name="connsiteX3" fmla="*/ 239078 w 808810"/>
                      <a:gd name="connsiteY3" fmla="*/ 1844231 h 1901431"/>
                      <a:gd name="connsiteX4" fmla="*/ 750094 w 808810"/>
                      <a:gd name="connsiteY4" fmla="*/ 1836325 h 1901431"/>
                      <a:gd name="connsiteX5" fmla="*/ 669798 w 808810"/>
                      <a:gd name="connsiteY5" fmla="*/ 0 h 19014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08810" h="1901431">
                        <a:moveTo>
                          <a:pt x="669798" y="0"/>
                        </a:moveTo>
                        <a:cubicBezTo>
                          <a:pt x="660749" y="3048"/>
                          <a:pt x="0" y="48197"/>
                          <a:pt x="0" y="48197"/>
                        </a:cubicBezTo>
                        <a:cubicBezTo>
                          <a:pt x="0" y="48197"/>
                          <a:pt x="56293" y="822293"/>
                          <a:pt x="79248" y="986219"/>
                        </a:cubicBezTo>
                        <a:cubicBezTo>
                          <a:pt x="167069" y="1614202"/>
                          <a:pt x="239078" y="1844231"/>
                          <a:pt x="239078" y="1844231"/>
                        </a:cubicBezTo>
                        <a:cubicBezTo>
                          <a:pt x="403574" y="1921955"/>
                          <a:pt x="598265" y="1921574"/>
                          <a:pt x="750094" y="1836325"/>
                        </a:cubicBezTo>
                        <a:cubicBezTo>
                          <a:pt x="724948" y="1106329"/>
                          <a:pt x="942880" y="690658"/>
                          <a:pt x="669798" y="0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202" name="Grafik 23">
                    <a:extLst>
                      <a:ext uri="{FF2B5EF4-FFF2-40B4-BE49-F238E27FC236}">
                        <a16:creationId xmlns:a16="http://schemas.microsoft.com/office/drawing/2014/main" id="{1AB08662-B0F6-E825-865A-C2D81F0E104F}"/>
                      </a:ext>
                    </a:extLst>
                  </p:cNvPr>
                  <p:cNvGrpSpPr/>
                  <p:nvPr/>
                </p:nvGrpSpPr>
                <p:grpSpPr>
                  <a:xfrm>
                    <a:off x="5802540" y="5867238"/>
                    <a:ext cx="867562" cy="295551"/>
                    <a:chOff x="5802540" y="5867238"/>
                    <a:chExt cx="867562" cy="295551"/>
                  </a:xfrm>
                </p:grpSpPr>
                <p:sp>
                  <p:nvSpPr>
                    <p:cNvPr id="203" name="Freihandform: Form 202">
                      <a:extLst>
                        <a:ext uri="{FF2B5EF4-FFF2-40B4-BE49-F238E27FC236}">
                          <a16:creationId xmlns:a16="http://schemas.microsoft.com/office/drawing/2014/main" id="{8CDBEED8-E9C5-46FC-E3BF-046E0498E1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04134" y="5867238"/>
                      <a:ext cx="865764" cy="289407"/>
                    </a:xfrm>
                    <a:custGeom>
                      <a:avLst/>
                      <a:gdLst>
                        <a:gd name="connsiteX0" fmla="*/ 804913 w 865764"/>
                        <a:gd name="connsiteY0" fmla="*/ 28546 h 289407"/>
                        <a:gd name="connsiteX1" fmla="*/ 865683 w 865764"/>
                        <a:gd name="connsiteY1" fmla="*/ 170088 h 289407"/>
                        <a:gd name="connsiteX2" fmla="*/ 860063 w 865764"/>
                        <a:gd name="connsiteY2" fmla="*/ 253908 h 289407"/>
                        <a:gd name="connsiteX3" fmla="*/ 835393 w 865764"/>
                        <a:gd name="connsiteY3" fmla="*/ 276863 h 289407"/>
                        <a:gd name="connsiteX4" fmla="*/ 54629 w 865764"/>
                        <a:gd name="connsiteY4" fmla="*/ 249717 h 289407"/>
                        <a:gd name="connsiteX5" fmla="*/ 41866 w 865764"/>
                        <a:gd name="connsiteY5" fmla="*/ 132750 h 289407"/>
                        <a:gd name="connsiteX6" fmla="*/ 331140 w 865764"/>
                        <a:gd name="connsiteY6" fmla="*/ 83696 h 289407"/>
                        <a:gd name="connsiteX7" fmla="*/ 535927 w 865764"/>
                        <a:gd name="connsiteY7" fmla="*/ 829 h 289407"/>
                        <a:gd name="connsiteX8" fmla="*/ 592696 w 865764"/>
                        <a:gd name="connsiteY8" fmla="*/ 56931 h 289407"/>
                        <a:gd name="connsiteX9" fmla="*/ 725570 w 865764"/>
                        <a:gd name="connsiteY9" fmla="*/ 56931 h 289407"/>
                        <a:gd name="connsiteX10" fmla="*/ 805009 w 865764"/>
                        <a:gd name="connsiteY10" fmla="*/ 28546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804913" y="28546"/>
                          </a:moveTo>
                          <a:cubicBezTo>
                            <a:pt x="804913" y="28546"/>
                            <a:pt x="868350" y="92078"/>
                            <a:pt x="865683" y="170088"/>
                          </a:cubicBezTo>
                          <a:cubicBezTo>
                            <a:pt x="864254" y="210474"/>
                            <a:pt x="861968" y="237335"/>
                            <a:pt x="860063" y="253908"/>
                          </a:cubicBezTo>
                          <a:cubicBezTo>
                            <a:pt x="858634" y="266576"/>
                            <a:pt x="848157" y="276292"/>
                            <a:pt x="835393" y="276863"/>
                          </a:cubicBezTo>
                          <a:cubicBezTo>
                            <a:pt x="726808" y="281626"/>
                            <a:pt x="175025" y="314487"/>
                            <a:pt x="54629" y="249717"/>
                          </a:cubicBezTo>
                          <a:cubicBezTo>
                            <a:pt x="-60338" y="187900"/>
                            <a:pt x="41866" y="132750"/>
                            <a:pt x="41866" y="132750"/>
                          </a:cubicBezTo>
                          <a:cubicBezTo>
                            <a:pt x="41866" y="132750"/>
                            <a:pt x="216840" y="152753"/>
                            <a:pt x="331140" y="83696"/>
                          </a:cubicBezTo>
                          <a:cubicBezTo>
                            <a:pt x="432867" y="22260"/>
                            <a:pt x="517735" y="-5267"/>
                            <a:pt x="535927" y="829"/>
                          </a:cubicBezTo>
                          <a:cubicBezTo>
                            <a:pt x="554120" y="6925"/>
                            <a:pt x="560502" y="35500"/>
                            <a:pt x="592696" y="56931"/>
                          </a:cubicBezTo>
                          <a:cubicBezTo>
                            <a:pt x="624986" y="78457"/>
                            <a:pt x="663753" y="78457"/>
                            <a:pt x="725570" y="56931"/>
                          </a:cubicBezTo>
                          <a:cubicBezTo>
                            <a:pt x="787387" y="35405"/>
                            <a:pt x="786149" y="20450"/>
                            <a:pt x="805009" y="28546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04" name="Freihandform: Form 203">
                      <a:extLst>
                        <a:ext uri="{FF2B5EF4-FFF2-40B4-BE49-F238E27FC236}">
                          <a16:creationId xmlns:a16="http://schemas.microsoft.com/office/drawing/2014/main" id="{D1D62F69-FE8B-4568-968A-A5E01448371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02540" y="6009608"/>
                      <a:ext cx="867562" cy="153181"/>
                    </a:xfrm>
                    <a:custGeom>
                      <a:avLst/>
                      <a:gdLst>
                        <a:gd name="connsiteX0" fmla="*/ 837463 w 867562"/>
                        <a:gd name="connsiteY0" fmla="*/ 153162 h 153181"/>
                        <a:gd name="connsiteX1" fmla="*/ 174904 w 867562"/>
                        <a:gd name="connsiteY1" fmla="*/ 152781 h 153181"/>
                        <a:gd name="connsiteX2" fmla="*/ 55746 w 867562"/>
                        <a:gd name="connsiteY2" fmla="*/ 116396 h 153181"/>
                        <a:gd name="connsiteX3" fmla="*/ 28600 w 867562"/>
                        <a:gd name="connsiteY3" fmla="*/ 0 h 153181"/>
                        <a:gd name="connsiteX4" fmla="*/ 68701 w 867562"/>
                        <a:gd name="connsiteY4" fmla="*/ 42291 h 153181"/>
                        <a:gd name="connsiteX5" fmla="*/ 867562 w 867562"/>
                        <a:gd name="connsiteY5" fmla="*/ 51245 h 153181"/>
                        <a:gd name="connsiteX6" fmla="*/ 862324 w 867562"/>
                        <a:gd name="connsiteY6" fmla="*/ 130016 h 153181"/>
                        <a:gd name="connsiteX7" fmla="*/ 837559 w 867562"/>
                        <a:gd name="connsiteY7" fmla="*/ 153162 h 1531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1">
                          <a:moveTo>
                            <a:pt x="837463" y="153162"/>
                          </a:moveTo>
                          <a:cubicBezTo>
                            <a:pt x="834987" y="153258"/>
                            <a:pt x="177000" y="152971"/>
                            <a:pt x="174904" y="152781"/>
                          </a:cubicBezTo>
                          <a:cubicBezTo>
                            <a:pt x="116326" y="147066"/>
                            <a:pt x="79750" y="129350"/>
                            <a:pt x="55746" y="116396"/>
                          </a:cubicBezTo>
                          <a:cubicBezTo>
                            <a:pt x="-30359" y="70104"/>
                            <a:pt x="2311" y="15907"/>
                            <a:pt x="28600" y="0"/>
                          </a:cubicBezTo>
                          <a:cubicBezTo>
                            <a:pt x="37173" y="9430"/>
                            <a:pt x="50031" y="32290"/>
                            <a:pt x="68701" y="42291"/>
                          </a:cubicBezTo>
                          <a:cubicBezTo>
                            <a:pt x="195859" y="110680"/>
                            <a:pt x="799173" y="56483"/>
                            <a:pt x="867562" y="51245"/>
                          </a:cubicBezTo>
                          <a:cubicBezTo>
                            <a:pt x="866134" y="85630"/>
                            <a:pt x="864133" y="114871"/>
                            <a:pt x="862324" y="130016"/>
                          </a:cubicBezTo>
                          <a:cubicBezTo>
                            <a:pt x="860895" y="142780"/>
                            <a:pt x="850417" y="152591"/>
                            <a:pt x="837559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205" name="Freihandform: Form 204">
                    <a:extLst>
                      <a:ext uri="{FF2B5EF4-FFF2-40B4-BE49-F238E27FC236}">
                        <a16:creationId xmlns:a16="http://schemas.microsoft.com/office/drawing/2014/main" id="{EEBAF1BA-B831-7F75-6C01-E9642E661F4A}"/>
                      </a:ext>
                    </a:extLst>
                  </p:cNvPr>
                  <p:cNvSpPr/>
                  <p:nvPr/>
                </p:nvSpPr>
                <p:spPr>
                  <a:xfrm>
                    <a:off x="6158610" y="4661673"/>
                    <a:ext cx="568148" cy="1321932"/>
                  </a:xfrm>
                  <a:custGeom>
                    <a:avLst/>
                    <a:gdLst>
                      <a:gd name="connsiteX0" fmla="*/ 503015 w 568148"/>
                      <a:gd name="connsiteY0" fmla="*/ 1321932 h 1321932"/>
                      <a:gd name="connsiteX1" fmla="*/ 12763 w 568148"/>
                      <a:gd name="connsiteY1" fmla="*/ 1268402 h 1321932"/>
                      <a:gd name="connsiteX2" fmla="*/ 0 w 568148"/>
                      <a:gd name="connsiteY2" fmla="*/ 91492 h 1321932"/>
                      <a:gd name="connsiteX3" fmla="*/ 510254 w 568148"/>
                      <a:gd name="connsiteY3" fmla="*/ 73109 h 1321932"/>
                      <a:gd name="connsiteX4" fmla="*/ 566547 w 568148"/>
                      <a:gd name="connsiteY4" fmla="*/ 1067710 h 1321932"/>
                      <a:gd name="connsiteX5" fmla="*/ 503015 w 568148"/>
                      <a:gd name="connsiteY5" fmla="*/ 1321932 h 13219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68148" h="1321932">
                        <a:moveTo>
                          <a:pt x="503015" y="1321932"/>
                        </a:moveTo>
                        <a:lnTo>
                          <a:pt x="12763" y="1268402"/>
                        </a:lnTo>
                        <a:cubicBezTo>
                          <a:pt x="13526" y="1249828"/>
                          <a:pt x="0" y="91492"/>
                          <a:pt x="0" y="91492"/>
                        </a:cubicBezTo>
                        <a:cubicBezTo>
                          <a:pt x="157544" y="-14616"/>
                          <a:pt x="351473" y="-38238"/>
                          <a:pt x="510254" y="73109"/>
                        </a:cubicBezTo>
                        <a:cubicBezTo>
                          <a:pt x="589884" y="435059"/>
                          <a:pt x="554641" y="888164"/>
                          <a:pt x="566547" y="1067710"/>
                        </a:cubicBezTo>
                        <a:cubicBezTo>
                          <a:pt x="573596" y="1174295"/>
                          <a:pt x="558260" y="1277069"/>
                          <a:pt x="503015" y="1321932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6" name="Freihandform: Form 205">
                    <a:extLst>
                      <a:ext uri="{FF2B5EF4-FFF2-40B4-BE49-F238E27FC236}">
                        <a16:creationId xmlns:a16="http://schemas.microsoft.com/office/drawing/2014/main" id="{933FD699-59DA-7A3A-9BFF-214620906185}"/>
                      </a:ext>
                    </a:extLst>
                  </p:cNvPr>
                  <p:cNvSpPr/>
                  <p:nvPr/>
                </p:nvSpPr>
                <p:spPr>
                  <a:xfrm>
                    <a:off x="5826187" y="1414081"/>
                    <a:ext cx="1017222" cy="2754820"/>
                  </a:xfrm>
                  <a:custGeom>
                    <a:avLst/>
                    <a:gdLst>
                      <a:gd name="connsiteX0" fmla="*/ 970979 w 1017222"/>
                      <a:gd name="connsiteY0" fmla="*/ 2051971 h 2754820"/>
                      <a:gd name="connsiteX1" fmla="*/ 920591 w 1017222"/>
                      <a:gd name="connsiteY1" fmla="*/ 1125093 h 2754820"/>
                      <a:gd name="connsiteX2" fmla="*/ 1016603 w 1017222"/>
                      <a:gd name="connsiteY2" fmla="*/ 413575 h 2754820"/>
                      <a:gd name="connsiteX3" fmla="*/ 730663 w 1017222"/>
                      <a:gd name="connsiteY3" fmla="*/ 0 h 2754820"/>
                      <a:gd name="connsiteX4" fmla="*/ 304990 w 1017222"/>
                      <a:gd name="connsiteY4" fmla="*/ 152210 h 2754820"/>
                      <a:gd name="connsiteX5" fmla="*/ 89821 w 1017222"/>
                      <a:gd name="connsiteY5" fmla="*/ 676370 h 2754820"/>
                      <a:gd name="connsiteX6" fmla="*/ 47149 w 1017222"/>
                      <a:gd name="connsiteY6" fmla="*/ 1569911 h 2754820"/>
                      <a:gd name="connsiteX7" fmla="*/ 0 w 1017222"/>
                      <a:gd name="connsiteY7" fmla="*/ 2754821 h 2754820"/>
                      <a:gd name="connsiteX8" fmla="*/ 971931 w 1017222"/>
                      <a:gd name="connsiteY8" fmla="*/ 2754821 h 2754820"/>
                      <a:gd name="connsiteX9" fmla="*/ 971074 w 1017222"/>
                      <a:gd name="connsiteY9" fmla="*/ 2051971 h 27548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17222" h="2754820">
                        <a:moveTo>
                          <a:pt x="970979" y="2051971"/>
                        </a:moveTo>
                        <a:cubicBezTo>
                          <a:pt x="955738" y="1788604"/>
                          <a:pt x="920591" y="1125093"/>
                          <a:pt x="920591" y="1125093"/>
                        </a:cubicBezTo>
                        <a:cubicBezTo>
                          <a:pt x="920591" y="1125093"/>
                          <a:pt x="1026224" y="587693"/>
                          <a:pt x="1016603" y="413575"/>
                        </a:cubicBezTo>
                        <a:cubicBezTo>
                          <a:pt x="1004792" y="198882"/>
                          <a:pt x="730663" y="0"/>
                          <a:pt x="730663" y="0"/>
                        </a:cubicBezTo>
                        <a:lnTo>
                          <a:pt x="304990" y="152210"/>
                        </a:lnTo>
                        <a:cubicBezTo>
                          <a:pt x="304990" y="152210"/>
                          <a:pt x="117920" y="422339"/>
                          <a:pt x="89821" y="676370"/>
                        </a:cubicBezTo>
                        <a:cubicBezTo>
                          <a:pt x="79438" y="770477"/>
                          <a:pt x="47149" y="1569911"/>
                          <a:pt x="47149" y="1569911"/>
                        </a:cubicBezTo>
                        <a:lnTo>
                          <a:pt x="0" y="2754821"/>
                        </a:lnTo>
                        <a:lnTo>
                          <a:pt x="971931" y="2754821"/>
                        </a:lnTo>
                        <a:cubicBezTo>
                          <a:pt x="974979" y="2647188"/>
                          <a:pt x="983933" y="2275332"/>
                          <a:pt x="971074" y="205197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7" name="Freihandform: Form 206">
                    <a:extLst>
                      <a:ext uri="{FF2B5EF4-FFF2-40B4-BE49-F238E27FC236}">
                        <a16:creationId xmlns:a16="http://schemas.microsoft.com/office/drawing/2014/main" id="{9463D9C9-2271-5A44-8CA0-F64EA8A62CE3}"/>
                      </a:ext>
                    </a:extLst>
                  </p:cNvPr>
                  <p:cNvSpPr/>
                  <p:nvPr/>
                </p:nvSpPr>
                <p:spPr>
                  <a:xfrm>
                    <a:off x="6305112" y="1691910"/>
                    <a:ext cx="526126" cy="1486891"/>
                  </a:xfrm>
                  <a:custGeom>
                    <a:avLst/>
                    <a:gdLst>
                      <a:gd name="connsiteX0" fmla="*/ 19614 w 526126"/>
                      <a:gd name="connsiteY0" fmla="*/ 1445148 h 1486891"/>
                      <a:gd name="connsiteX1" fmla="*/ 137248 w 526126"/>
                      <a:gd name="connsiteY1" fmla="*/ 933084 h 1486891"/>
                      <a:gd name="connsiteX2" fmla="*/ 138772 w 526126"/>
                      <a:gd name="connsiteY2" fmla="*/ 280431 h 1486891"/>
                      <a:gd name="connsiteX3" fmla="*/ 303745 w 526126"/>
                      <a:gd name="connsiteY3" fmla="*/ 2301 h 1486891"/>
                      <a:gd name="connsiteX4" fmla="*/ 495483 w 526126"/>
                      <a:gd name="connsiteY4" fmla="*/ 907081 h 1486891"/>
                      <a:gd name="connsiteX5" fmla="*/ 19709 w 526126"/>
                      <a:gd name="connsiteY5" fmla="*/ 1445148 h 14868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26126" h="1486891">
                        <a:moveTo>
                          <a:pt x="19614" y="1445148"/>
                        </a:moveTo>
                        <a:cubicBezTo>
                          <a:pt x="-18676" y="1405715"/>
                          <a:pt x="-11342" y="1230740"/>
                          <a:pt x="137248" y="933084"/>
                        </a:cubicBezTo>
                        <a:cubicBezTo>
                          <a:pt x="221640" y="764015"/>
                          <a:pt x="80479" y="592661"/>
                          <a:pt x="138772" y="280431"/>
                        </a:cubicBezTo>
                        <a:cubicBezTo>
                          <a:pt x="187921" y="17160"/>
                          <a:pt x="303745" y="2301"/>
                          <a:pt x="303745" y="2301"/>
                        </a:cubicBezTo>
                        <a:cubicBezTo>
                          <a:pt x="587971" y="-37609"/>
                          <a:pt x="532726" y="448738"/>
                          <a:pt x="495483" y="907081"/>
                        </a:cubicBezTo>
                        <a:cubicBezTo>
                          <a:pt x="458622" y="1164161"/>
                          <a:pt x="197446" y="1628409"/>
                          <a:pt x="19709" y="1445148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8" name="Freihandform: Form 207">
                    <a:extLst>
                      <a:ext uri="{FF2B5EF4-FFF2-40B4-BE49-F238E27FC236}">
                        <a16:creationId xmlns:a16="http://schemas.microsoft.com/office/drawing/2014/main" id="{26BA31B5-3CD1-FF51-008F-CCFDC7CA5CBE}"/>
                      </a:ext>
                    </a:extLst>
                  </p:cNvPr>
                  <p:cNvSpPr/>
                  <p:nvPr/>
                </p:nvSpPr>
                <p:spPr>
                  <a:xfrm>
                    <a:off x="5978873" y="3209639"/>
                    <a:ext cx="629697" cy="576707"/>
                  </a:xfrm>
                  <a:custGeom>
                    <a:avLst/>
                    <a:gdLst>
                      <a:gd name="connsiteX0" fmla="*/ 95 w 629697"/>
                      <a:gd name="connsiteY0" fmla="*/ 504635 h 576707"/>
                      <a:gd name="connsiteX1" fmla="*/ 629698 w 629697"/>
                      <a:gd name="connsiteY1" fmla="*/ 546068 h 576707"/>
                      <a:gd name="connsiteX2" fmla="*/ 581787 w 629697"/>
                      <a:gd name="connsiteY2" fmla="*/ 0 h 576707"/>
                      <a:gd name="connsiteX3" fmla="*/ 176784 w 629697"/>
                      <a:gd name="connsiteY3" fmla="*/ 3143 h 576707"/>
                      <a:gd name="connsiteX4" fmla="*/ 0 w 629697"/>
                      <a:gd name="connsiteY4" fmla="*/ 504635 h 5767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29697" h="576707">
                        <a:moveTo>
                          <a:pt x="95" y="504635"/>
                        </a:moveTo>
                        <a:cubicBezTo>
                          <a:pt x="33719" y="584645"/>
                          <a:pt x="487013" y="597408"/>
                          <a:pt x="629698" y="546068"/>
                        </a:cubicBezTo>
                        <a:lnTo>
                          <a:pt x="581787" y="0"/>
                        </a:lnTo>
                        <a:lnTo>
                          <a:pt x="176784" y="3143"/>
                        </a:lnTo>
                        <a:lnTo>
                          <a:pt x="0" y="504635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9" name="Freihandform: Form 208">
                    <a:extLst>
                      <a:ext uri="{FF2B5EF4-FFF2-40B4-BE49-F238E27FC236}">
                        <a16:creationId xmlns:a16="http://schemas.microsoft.com/office/drawing/2014/main" id="{94CF47DE-F024-36C1-CEA4-CD18F60B8D11}"/>
                      </a:ext>
                    </a:extLst>
                  </p:cNvPr>
                  <p:cNvSpPr/>
                  <p:nvPr/>
                </p:nvSpPr>
                <p:spPr>
                  <a:xfrm>
                    <a:off x="6099654" y="1283398"/>
                    <a:ext cx="466244" cy="530066"/>
                  </a:xfrm>
                  <a:custGeom>
                    <a:avLst/>
                    <a:gdLst>
                      <a:gd name="connsiteX0" fmla="*/ 466245 w 466244"/>
                      <a:gd name="connsiteY0" fmla="*/ 179546 h 530066"/>
                      <a:gd name="connsiteX1" fmla="*/ 449481 w 466244"/>
                      <a:gd name="connsiteY1" fmla="*/ 0 h 530066"/>
                      <a:gd name="connsiteX2" fmla="*/ 5711 w 466244"/>
                      <a:gd name="connsiteY2" fmla="*/ 288417 h 530066"/>
                      <a:gd name="connsiteX3" fmla="*/ 38096 w 466244"/>
                      <a:gd name="connsiteY3" fmla="*/ 530066 h 530066"/>
                      <a:gd name="connsiteX4" fmla="*/ 466245 w 466244"/>
                      <a:gd name="connsiteY4" fmla="*/ 179546 h 5300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66244" h="530066">
                        <a:moveTo>
                          <a:pt x="466245" y="179546"/>
                        </a:moveTo>
                        <a:lnTo>
                          <a:pt x="449481" y="0"/>
                        </a:lnTo>
                        <a:cubicBezTo>
                          <a:pt x="449481" y="0"/>
                          <a:pt x="94579" y="177165"/>
                          <a:pt x="5711" y="288417"/>
                        </a:cubicBezTo>
                        <a:cubicBezTo>
                          <a:pt x="-17625" y="317659"/>
                          <a:pt x="38096" y="530066"/>
                          <a:pt x="38096" y="530066"/>
                        </a:cubicBezTo>
                        <a:lnTo>
                          <a:pt x="466245" y="17954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0" name="Freihandform: Form 209">
                    <a:extLst>
                      <a:ext uri="{FF2B5EF4-FFF2-40B4-BE49-F238E27FC236}">
                        <a16:creationId xmlns:a16="http://schemas.microsoft.com/office/drawing/2014/main" id="{AD379041-4673-FC87-1112-0220EA49AAD3}"/>
                      </a:ext>
                    </a:extLst>
                  </p:cNvPr>
                  <p:cNvSpPr/>
                  <p:nvPr/>
                </p:nvSpPr>
                <p:spPr>
                  <a:xfrm>
                    <a:off x="6263099" y="2990564"/>
                    <a:ext cx="335184" cy="292893"/>
                  </a:xfrm>
                  <a:custGeom>
                    <a:avLst/>
                    <a:gdLst>
                      <a:gd name="connsiteX0" fmla="*/ 145447 w 335184"/>
                      <a:gd name="connsiteY0" fmla="*/ 0 h 292893"/>
                      <a:gd name="connsiteX1" fmla="*/ 0 w 335184"/>
                      <a:gd name="connsiteY1" fmla="*/ 284131 h 292893"/>
                      <a:gd name="connsiteX2" fmla="*/ 207169 w 335184"/>
                      <a:gd name="connsiteY2" fmla="*/ 292894 h 292893"/>
                      <a:gd name="connsiteX3" fmla="*/ 335185 w 335184"/>
                      <a:gd name="connsiteY3" fmla="*/ 101537 h 292893"/>
                      <a:gd name="connsiteX4" fmla="*/ 145447 w 335184"/>
                      <a:gd name="connsiteY4" fmla="*/ 0 h 2928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35184" h="292893">
                        <a:moveTo>
                          <a:pt x="145447" y="0"/>
                        </a:moveTo>
                        <a:lnTo>
                          <a:pt x="0" y="284131"/>
                        </a:lnTo>
                        <a:lnTo>
                          <a:pt x="207169" y="292894"/>
                        </a:lnTo>
                        <a:lnTo>
                          <a:pt x="335185" y="101537"/>
                        </a:lnTo>
                        <a:lnTo>
                          <a:pt x="145447" y="0"/>
                        </a:ln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211" name="Grafik 23">
                    <a:extLst>
                      <a:ext uri="{FF2B5EF4-FFF2-40B4-BE49-F238E27FC236}">
                        <a16:creationId xmlns:a16="http://schemas.microsoft.com/office/drawing/2014/main" id="{FA8ECCC4-457A-AFAD-9DF0-5904CC1084C4}"/>
                      </a:ext>
                    </a:extLst>
                  </p:cNvPr>
                  <p:cNvGrpSpPr/>
                  <p:nvPr/>
                </p:nvGrpSpPr>
                <p:grpSpPr>
                  <a:xfrm>
                    <a:off x="6324726" y="1764506"/>
                    <a:ext cx="607980" cy="1445133"/>
                    <a:chOff x="6324726" y="1764506"/>
                    <a:chExt cx="607980" cy="1445133"/>
                  </a:xfrm>
                  <a:solidFill>
                    <a:srgbClr val="FFFFFF"/>
                  </a:solidFill>
                </p:grpSpPr>
                <p:sp>
                  <p:nvSpPr>
                    <p:cNvPr id="212" name="Freihandform: Form 211">
                      <a:extLst>
                        <a:ext uri="{FF2B5EF4-FFF2-40B4-BE49-F238E27FC236}">
                          <a16:creationId xmlns:a16="http://schemas.microsoft.com/office/drawing/2014/main" id="{54AFB8F0-BD34-CEEC-922A-1EFD4CFA48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0361" y="1764506"/>
                      <a:ext cx="482346" cy="878681"/>
                    </a:xfrm>
                    <a:custGeom>
                      <a:avLst/>
                      <a:gdLst>
                        <a:gd name="connsiteX0" fmla="*/ 383667 w 482346"/>
                        <a:gd name="connsiteY0" fmla="*/ 0 h 878681"/>
                        <a:gd name="connsiteX1" fmla="*/ 482346 w 482346"/>
                        <a:gd name="connsiteY1" fmla="*/ 839438 h 878681"/>
                        <a:gd name="connsiteX2" fmla="*/ 141256 w 482346"/>
                        <a:gd name="connsiteY2" fmla="*/ 878681 h 878681"/>
                        <a:gd name="connsiteX3" fmla="*/ 0 w 482346"/>
                        <a:gd name="connsiteY3" fmla="*/ 85725 h 878681"/>
                        <a:gd name="connsiteX4" fmla="*/ 383667 w 482346"/>
                        <a:gd name="connsiteY4" fmla="*/ 0 h 8786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82346" h="878681">
                          <a:moveTo>
                            <a:pt x="383667" y="0"/>
                          </a:moveTo>
                          <a:cubicBezTo>
                            <a:pt x="451485" y="213170"/>
                            <a:pt x="482346" y="839438"/>
                            <a:pt x="482346" y="839438"/>
                          </a:cubicBezTo>
                          <a:lnTo>
                            <a:pt x="141256" y="878681"/>
                          </a:lnTo>
                          <a:cubicBezTo>
                            <a:pt x="29909" y="639128"/>
                            <a:pt x="0" y="85725"/>
                            <a:pt x="0" y="85725"/>
                          </a:cubicBezTo>
                          <a:lnTo>
                            <a:pt x="383667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3" name="Freihandform: Form 212">
                      <a:extLst>
                        <a:ext uri="{FF2B5EF4-FFF2-40B4-BE49-F238E27FC236}">
                          <a16:creationId xmlns:a16="http://schemas.microsoft.com/office/drawing/2014/main" id="{D0F4EE2B-31E1-F0CA-B4C3-DD2EEE8031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87140" y="2431161"/>
                      <a:ext cx="345566" cy="345566"/>
                    </a:xfrm>
                    <a:custGeom>
                      <a:avLst/>
                      <a:gdLst>
                        <a:gd name="connsiteX0" fmla="*/ 345567 w 345566"/>
                        <a:gd name="connsiteY0" fmla="*/ 172784 h 345566"/>
                        <a:gd name="connsiteX1" fmla="*/ 172783 w 345566"/>
                        <a:gd name="connsiteY1" fmla="*/ 345567 h 345566"/>
                        <a:gd name="connsiteX2" fmla="*/ 0 w 345566"/>
                        <a:gd name="connsiteY2" fmla="*/ 172784 h 345566"/>
                        <a:gd name="connsiteX3" fmla="*/ 172783 w 345566"/>
                        <a:gd name="connsiteY3" fmla="*/ 0 h 345566"/>
                        <a:gd name="connsiteX4" fmla="*/ 345567 w 345566"/>
                        <a:gd name="connsiteY4" fmla="*/ 172784 h 34556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45566" h="345566">
                          <a:moveTo>
                            <a:pt x="345567" y="172784"/>
                          </a:moveTo>
                          <a:cubicBezTo>
                            <a:pt x="345567" y="268209"/>
                            <a:pt x="268209" y="345567"/>
                            <a:pt x="172783" y="345567"/>
                          </a:cubicBezTo>
                          <a:cubicBezTo>
                            <a:pt x="77358" y="345567"/>
                            <a:pt x="0" y="268209"/>
                            <a:pt x="0" y="172784"/>
                          </a:cubicBezTo>
                          <a:cubicBezTo>
                            <a:pt x="0" y="77358"/>
                            <a:pt x="77358" y="0"/>
                            <a:pt x="172783" y="0"/>
                          </a:cubicBezTo>
                          <a:cubicBezTo>
                            <a:pt x="268209" y="0"/>
                            <a:pt x="345567" y="77358"/>
                            <a:pt x="345567" y="172784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4" name="Freihandform: Form 213">
                      <a:extLst>
                        <a:ext uri="{FF2B5EF4-FFF2-40B4-BE49-F238E27FC236}">
                          <a16:creationId xmlns:a16="http://schemas.microsoft.com/office/drawing/2014/main" id="{46D4C672-B67C-473B-E37B-86A8DFCD6C5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24726" y="2522886"/>
                      <a:ext cx="580739" cy="686752"/>
                    </a:xfrm>
                    <a:custGeom>
                      <a:avLst/>
                      <a:gdLst>
                        <a:gd name="connsiteX0" fmla="*/ 580740 w 580739"/>
                        <a:gd name="connsiteY0" fmla="*/ 174308 h 686752"/>
                        <a:gd name="connsiteX1" fmla="*/ 249269 w 580739"/>
                        <a:gd name="connsiteY1" fmla="*/ 686753 h 686752"/>
                        <a:gd name="connsiteX2" fmla="*/ 0 w 580739"/>
                        <a:gd name="connsiteY2" fmla="*/ 520637 h 686752"/>
                        <a:gd name="connsiteX3" fmla="*/ 282607 w 580739"/>
                        <a:gd name="connsiteY3" fmla="*/ 0 h 686752"/>
                        <a:gd name="connsiteX4" fmla="*/ 580740 w 580739"/>
                        <a:gd name="connsiteY4" fmla="*/ 174308 h 6867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80739" h="686752">
                          <a:moveTo>
                            <a:pt x="580740" y="174308"/>
                          </a:moveTo>
                          <a:lnTo>
                            <a:pt x="249269" y="686753"/>
                          </a:lnTo>
                          <a:lnTo>
                            <a:pt x="0" y="520637"/>
                          </a:lnTo>
                          <a:lnTo>
                            <a:pt x="282607" y="0"/>
                          </a:lnTo>
                          <a:lnTo>
                            <a:pt x="580740" y="174308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215" name="Freihandform: Form 214">
                    <a:extLst>
                      <a:ext uri="{FF2B5EF4-FFF2-40B4-BE49-F238E27FC236}">
                        <a16:creationId xmlns:a16="http://schemas.microsoft.com/office/drawing/2014/main" id="{411312AE-2BF3-7101-350F-61C04EE23C0F}"/>
                      </a:ext>
                    </a:extLst>
                  </p:cNvPr>
                  <p:cNvSpPr/>
                  <p:nvPr/>
                </p:nvSpPr>
                <p:spPr>
                  <a:xfrm>
                    <a:off x="6006686" y="2053970"/>
                    <a:ext cx="262032" cy="259856"/>
                  </a:xfrm>
                  <a:custGeom>
                    <a:avLst/>
                    <a:gdLst>
                      <a:gd name="connsiteX0" fmla="*/ 0 w 262032"/>
                      <a:gd name="connsiteY0" fmla="*/ 225266 h 259856"/>
                      <a:gd name="connsiteX1" fmla="*/ 262033 w 262032"/>
                      <a:gd name="connsiteY1" fmla="*/ 252032 h 259856"/>
                      <a:gd name="connsiteX2" fmla="*/ 236887 w 262032"/>
                      <a:gd name="connsiteY2" fmla="*/ 0 h 259856"/>
                      <a:gd name="connsiteX3" fmla="*/ 56483 w 262032"/>
                      <a:gd name="connsiteY3" fmla="*/ 1429 h 259856"/>
                      <a:gd name="connsiteX4" fmla="*/ 0 w 262032"/>
                      <a:gd name="connsiteY4" fmla="*/ 225266 h 2598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2032" h="259856">
                        <a:moveTo>
                          <a:pt x="0" y="225266"/>
                        </a:moveTo>
                        <a:cubicBezTo>
                          <a:pt x="22574" y="242030"/>
                          <a:pt x="198501" y="274892"/>
                          <a:pt x="262033" y="252032"/>
                        </a:cubicBezTo>
                        <a:lnTo>
                          <a:pt x="236887" y="0"/>
                        </a:lnTo>
                        <a:lnTo>
                          <a:pt x="56483" y="1429"/>
                        </a:lnTo>
                        <a:lnTo>
                          <a:pt x="0" y="225266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6" name="Freihandform: Form 215">
                    <a:extLst>
                      <a:ext uri="{FF2B5EF4-FFF2-40B4-BE49-F238E27FC236}">
                        <a16:creationId xmlns:a16="http://schemas.microsoft.com/office/drawing/2014/main" id="{A46C29BC-CE53-EC7A-B504-E6964E35C6D7}"/>
                      </a:ext>
                    </a:extLst>
                  </p:cNvPr>
                  <p:cNvSpPr/>
                  <p:nvPr/>
                </p:nvSpPr>
                <p:spPr>
                  <a:xfrm>
                    <a:off x="6006686" y="2053970"/>
                    <a:ext cx="230885" cy="229076"/>
                  </a:xfrm>
                  <a:custGeom>
                    <a:avLst/>
                    <a:gdLst>
                      <a:gd name="connsiteX0" fmla="*/ 4096 w 230885"/>
                      <a:gd name="connsiteY0" fmla="*/ 0 h 229076"/>
                      <a:gd name="connsiteX1" fmla="*/ 0 w 230885"/>
                      <a:gd name="connsiteY1" fmla="*/ 225266 h 229076"/>
                      <a:gd name="connsiteX2" fmla="*/ 230886 w 230885"/>
                      <a:gd name="connsiteY2" fmla="*/ 229076 h 229076"/>
                      <a:gd name="connsiteX3" fmla="*/ 230886 w 230885"/>
                      <a:gd name="connsiteY3" fmla="*/ 0 h 229076"/>
                      <a:gd name="connsiteX4" fmla="*/ 4096 w 230885"/>
                      <a:gd name="connsiteY4" fmla="*/ 0 h 2290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0885" h="229076">
                        <a:moveTo>
                          <a:pt x="4096" y="0"/>
                        </a:moveTo>
                        <a:lnTo>
                          <a:pt x="0" y="225266"/>
                        </a:lnTo>
                        <a:lnTo>
                          <a:pt x="230886" y="229076"/>
                        </a:lnTo>
                        <a:lnTo>
                          <a:pt x="230886" y="0"/>
                        </a:lnTo>
                        <a:lnTo>
                          <a:pt x="409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7" name="Freihandform: Form 216">
                    <a:extLst>
                      <a:ext uri="{FF2B5EF4-FFF2-40B4-BE49-F238E27FC236}">
                        <a16:creationId xmlns:a16="http://schemas.microsoft.com/office/drawing/2014/main" id="{2A7011E2-A0EA-0B90-9BD7-02B9FE9BA3D1}"/>
                      </a:ext>
                    </a:extLst>
                  </p:cNvPr>
                  <p:cNvSpPr/>
                  <p:nvPr/>
                </p:nvSpPr>
                <p:spPr>
                  <a:xfrm>
                    <a:off x="5978969" y="3209639"/>
                    <a:ext cx="568261" cy="539262"/>
                  </a:xfrm>
                  <a:custGeom>
                    <a:avLst/>
                    <a:gdLst>
                      <a:gd name="connsiteX0" fmla="*/ 59055 w 568261"/>
                      <a:gd name="connsiteY0" fmla="*/ 0 h 539262"/>
                      <a:gd name="connsiteX1" fmla="*/ 0 w 568261"/>
                      <a:gd name="connsiteY1" fmla="*/ 504635 h 539262"/>
                      <a:gd name="connsiteX2" fmla="*/ 568262 w 568261"/>
                      <a:gd name="connsiteY2" fmla="*/ 514064 h 539262"/>
                      <a:gd name="connsiteX3" fmla="*/ 568262 w 568261"/>
                      <a:gd name="connsiteY3" fmla="*/ 0 h 539262"/>
                      <a:gd name="connsiteX4" fmla="*/ 59150 w 568261"/>
                      <a:gd name="connsiteY4" fmla="*/ 0 h 5392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68261" h="539262">
                        <a:moveTo>
                          <a:pt x="59055" y="0"/>
                        </a:moveTo>
                        <a:cubicBezTo>
                          <a:pt x="59055" y="37624"/>
                          <a:pt x="0" y="504635"/>
                          <a:pt x="0" y="504635"/>
                        </a:cubicBezTo>
                        <a:cubicBezTo>
                          <a:pt x="174403" y="550545"/>
                          <a:pt x="365855" y="547783"/>
                          <a:pt x="568262" y="514064"/>
                        </a:cubicBezTo>
                        <a:lnTo>
                          <a:pt x="568262" y="0"/>
                        </a:lnTo>
                        <a:cubicBezTo>
                          <a:pt x="568262" y="0"/>
                          <a:pt x="59150" y="0"/>
                          <a:pt x="59150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8" name="Freihandform: Form 217">
                    <a:extLst>
                      <a:ext uri="{FF2B5EF4-FFF2-40B4-BE49-F238E27FC236}">
                        <a16:creationId xmlns:a16="http://schemas.microsoft.com/office/drawing/2014/main" id="{FDDB8D5A-7127-ECC6-87D7-774C766B7759}"/>
                      </a:ext>
                    </a:extLst>
                  </p:cNvPr>
                  <p:cNvSpPr/>
                  <p:nvPr/>
                </p:nvSpPr>
                <p:spPr>
                  <a:xfrm>
                    <a:off x="6158610" y="4503134"/>
                    <a:ext cx="511301" cy="511301"/>
                  </a:xfrm>
                  <a:custGeom>
                    <a:avLst/>
                    <a:gdLst>
                      <a:gd name="connsiteX0" fmla="*/ 511302 w 511301"/>
                      <a:gd name="connsiteY0" fmla="*/ 255651 h 511301"/>
                      <a:gd name="connsiteX1" fmla="*/ 255651 w 511301"/>
                      <a:gd name="connsiteY1" fmla="*/ 511302 h 511301"/>
                      <a:gd name="connsiteX2" fmla="*/ 0 w 511301"/>
                      <a:gd name="connsiteY2" fmla="*/ 255651 h 511301"/>
                      <a:gd name="connsiteX3" fmla="*/ 255651 w 511301"/>
                      <a:gd name="connsiteY3" fmla="*/ 0 h 511301"/>
                      <a:gd name="connsiteX4" fmla="*/ 511302 w 511301"/>
                      <a:gd name="connsiteY4" fmla="*/ 255651 h 5113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1301" h="511301">
                        <a:moveTo>
                          <a:pt x="511302" y="255651"/>
                        </a:moveTo>
                        <a:cubicBezTo>
                          <a:pt x="511302" y="396843"/>
                          <a:pt x="396843" y="511302"/>
                          <a:pt x="255651" y="511302"/>
                        </a:cubicBezTo>
                        <a:cubicBezTo>
                          <a:pt x="114459" y="511302"/>
                          <a:pt x="0" y="396843"/>
                          <a:pt x="0" y="255651"/>
                        </a:cubicBezTo>
                        <a:cubicBezTo>
                          <a:pt x="0" y="114459"/>
                          <a:pt x="114459" y="0"/>
                          <a:pt x="255651" y="0"/>
                        </a:cubicBezTo>
                        <a:cubicBezTo>
                          <a:pt x="396843" y="0"/>
                          <a:pt x="511302" y="114459"/>
                          <a:pt x="511302" y="255651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9" name="Freihandform: Form 218">
                    <a:extLst>
                      <a:ext uri="{FF2B5EF4-FFF2-40B4-BE49-F238E27FC236}">
                        <a16:creationId xmlns:a16="http://schemas.microsoft.com/office/drawing/2014/main" id="{87D73E35-8DEE-FF5D-247F-A529E777AF5D}"/>
                      </a:ext>
                    </a:extLst>
                  </p:cNvPr>
                  <p:cNvSpPr/>
                  <p:nvPr/>
                </p:nvSpPr>
                <p:spPr>
                  <a:xfrm>
                    <a:off x="6449504" y="1634490"/>
                    <a:ext cx="396621" cy="396621"/>
                  </a:xfrm>
                  <a:custGeom>
                    <a:avLst/>
                    <a:gdLst>
                      <a:gd name="connsiteX0" fmla="*/ 396621 w 396621"/>
                      <a:gd name="connsiteY0" fmla="*/ 198310 h 396621"/>
                      <a:gd name="connsiteX1" fmla="*/ 198310 w 396621"/>
                      <a:gd name="connsiteY1" fmla="*/ 396621 h 396621"/>
                      <a:gd name="connsiteX2" fmla="*/ 0 w 396621"/>
                      <a:gd name="connsiteY2" fmla="*/ 198311 h 396621"/>
                      <a:gd name="connsiteX3" fmla="*/ 198310 w 396621"/>
                      <a:gd name="connsiteY3" fmla="*/ 0 h 396621"/>
                      <a:gd name="connsiteX4" fmla="*/ 396621 w 396621"/>
                      <a:gd name="connsiteY4" fmla="*/ 198310 h 3966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6621" h="396621">
                        <a:moveTo>
                          <a:pt x="396621" y="198310"/>
                        </a:moveTo>
                        <a:cubicBezTo>
                          <a:pt x="396621" y="307834"/>
                          <a:pt x="307834" y="396621"/>
                          <a:pt x="198310" y="396621"/>
                        </a:cubicBezTo>
                        <a:cubicBezTo>
                          <a:pt x="88786" y="396621"/>
                          <a:pt x="0" y="307834"/>
                          <a:pt x="0" y="198311"/>
                        </a:cubicBezTo>
                        <a:cubicBezTo>
                          <a:pt x="0" y="88787"/>
                          <a:pt x="88786" y="0"/>
                          <a:pt x="198310" y="0"/>
                        </a:cubicBezTo>
                        <a:cubicBezTo>
                          <a:pt x="307834" y="0"/>
                          <a:pt x="396621" y="88787"/>
                          <a:pt x="396621" y="19831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20" name="Grafik 23">
                  <a:extLst>
                    <a:ext uri="{FF2B5EF4-FFF2-40B4-BE49-F238E27FC236}">
                      <a16:creationId xmlns:a16="http://schemas.microsoft.com/office/drawing/2014/main" id="{497B2EA9-1B02-D5BF-0402-5DC163C6DF5F}"/>
                    </a:ext>
                  </a:extLst>
                </p:cNvPr>
                <p:cNvGrpSpPr/>
                <p:nvPr/>
              </p:nvGrpSpPr>
              <p:grpSpPr>
                <a:xfrm>
                  <a:off x="5884415" y="666564"/>
                  <a:ext cx="678757" cy="747232"/>
                  <a:chOff x="5884415" y="666564"/>
                  <a:chExt cx="678757" cy="747232"/>
                </a:xfrm>
              </p:grpSpPr>
              <p:grpSp>
                <p:nvGrpSpPr>
                  <p:cNvPr id="221" name="Grafik 23">
                    <a:extLst>
                      <a:ext uri="{FF2B5EF4-FFF2-40B4-BE49-F238E27FC236}">
                        <a16:creationId xmlns:a16="http://schemas.microsoft.com/office/drawing/2014/main" id="{149305F3-1D13-37DC-9CC9-F80D34FABCD7}"/>
                      </a:ext>
                    </a:extLst>
                  </p:cNvPr>
                  <p:cNvGrpSpPr/>
                  <p:nvPr/>
                </p:nvGrpSpPr>
                <p:grpSpPr>
                  <a:xfrm>
                    <a:off x="5890916" y="666564"/>
                    <a:ext cx="672255" cy="747232"/>
                    <a:chOff x="5890916" y="666564"/>
                    <a:chExt cx="672255" cy="747232"/>
                  </a:xfrm>
                </p:grpSpPr>
                <p:sp>
                  <p:nvSpPr>
                    <p:cNvPr id="222" name="Freihandform: Form 221">
                      <a:extLst>
                        <a:ext uri="{FF2B5EF4-FFF2-40B4-BE49-F238E27FC236}">
                          <a16:creationId xmlns:a16="http://schemas.microsoft.com/office/drawing/2014/main" id="{01E3BC18-D797-DF12-2B62-A3D34741675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90916" y="928649"/>
                      <a:ext cx="397931" cy="485147"/>
                    </a:xfrm>
                    <a:custGeom>
                      <a:avLst/>
                      <a:gdLst>
                        <a:gd name="connsiteX0" fmla="*/ 391233 w 397931"/>
                        <a:gd name="connsiteY0" fmla="*/ 125006 h 485147"/>
                        <a:gd name="connsiteX1" fmla="*/ 110722 w 397931"/>
                        <a:gd name="connsiteY1" fmla="*/ 26041 h 485147"/>
                        <a:gd name="connsiteX2" fmla="*/ 63001 w 397931"/>
                        <a:gd name="connsiteY2" fmla="*/ 126339 h 485147"/>
                        <a:gd name="connsiteX3" fmla="*/ 2803 w 397931"/>
                        <a:gd name="connsiteY3" fmla="*/ 242639 h 485147"/>
                        <a:gd name="connsiteX4" fmla="*/ 53000 w 397931"/>
                        <a:gd name="connsiteY4" fmla="*/ 284359 h 485147"/>
                        <a:gd name="connsiteX5" fmla="*/ 63954 w 397931"/>
                        <a:gd name="connsiteY5" fmla="*/ 327888 h 485147"/>
                        <a:gd name="connsiteX6" fmla="*/ 84147 w 397931"/>
                        <a:gd name="connsiteY6" fmla="*/ 342557 h 485147"/>
                        <a:gd name="connsiteX7" fmla="*/ 84623 w 397931"/>
                        <a:gd name="connsiteY7" fmla="*/ 351986 h 485147"/>
                        <a:gd name="connsiteX8" fmla="*/ 81194 w 397931"/>
                        <a:gd name="connsiteY8" fmla="*/ 381323 h 485147"/>
                        <a:gd name="connsiteX9" fmla="*/ 93672 w 397931"/>
                        <a:gd name="connsiteY9" fmla="*/ 398564 h 485147"/>
                        <a:gd name="connsiteX10" fmla="*/ 100435 w 397931"/>
                        <a:gd name="connsiteY10" fmla="*/ 433235 h 485147"/>
                        <a:gd name="connsiteX11" fmla="*/ 150917 w 397931"/>
                        <a:gd name="connsiteY11" fmla="*/ 484955 h 485147"/>
                        <a:gd name="connsiteX12" fmla="*/ 297983 w 397931"/>
                        <a:gd name="connsiteY12" fmla="*/ 460571 h 485147"/>
                        <a:gd name="connsiteX13" fmla="*/ 395805 w 397931"/>
                        <a:gd name="connsiteY13" fmla="*/ 321602 h 485147"/>
                        <a:gd name="connsiteX14" fmla="*/ 391328 w 397931"/>
                        <a:gd name="connsiteY14" fmla="*/ 124815 h 48514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</a:cxnLst>
                      <a:rect l="l" t="t" r="r" b="b"/>
                      <a:pathLst>
                        <a:path w="397931" h="485147">
                          <a:moveTo>
                            <a:pt x="391233" y="125006"/>
                          </a:moveTo>
                          <a:cubicBezTo>
                            <a:pt x="328844" y="-46349"/>
                            <a:pt x="152251" y="-248"/>
                            <a:pt x="110722" y="26041"/>
                          </a:cubicBezTo>
                          <a:cubicBezTo>
                            <a:pt x="69193" y="52330"/>
                            <a:pt x="58143" y="85191"/>
                            <a:pt x="63001" y="126339"/>
                          </a:cubicBezTo>
                          <a:cubicBezTo>
                            <a:pt x="52333" y="145961"/>
                            <a:pt x="21853" y="195300"/>
                            <a:pt x="2803" y="242639"/>
                          </a:cubicBezTo>
                          <a:cubicBezTo>
                            <a:pt x="-10913" y="276644"/>
                            <a:pt x="28902" y="281406"/>
                            <a:pt x="53000" y="284359"/>
                          </a:cubicBezTo>
                          <a:cubicBezTo>
                            <a:pt x="74336" y="287026"/>
                            <a:pt x="58429" y="316268"/>
                            <a:pt x="63954" y="327888"/>
                          </a:cubicBezTo>
                          <a:cubicBezTo>
                            <a:pt x="68145" y="336556"/>
                            <a:pt x="75955" y="338842"/>
                            <a:pt x="84147" y="342557"/>
                          </a:cubicBezTo>
                          <a:cubicBezTo>
                            <a:pt x="84814" y="342842"/>
                            <a:pt x="85290" y="351701"/>
                            <a:pt x="84623" y="351986"/>
                          </a:cubicBezTo>
                          <a:cubicBezTo>
                            <a:pt x="67383" y="359892"/>
                            <a:pt x="68050" y="376751"/>
                            <a:pt x="81194" y="381323"/>
                          </a:cubicBezTo>
                          <a:cubicBezTo>
                            <a:pt x="91957" y="385133"/>
                            <a:pt x="93672" y="398564"/>
                            <a:pt x="93672" y="398564"/>
                          </a:cubicBezTo>
                          <a:cubicBezTo>
                            <a:pt x="93672" y="398564"/>
                            <a:pt x="98720" y="423900"/>
                            <a:pt x="100435" y="433235"/>
                          </a:cubicBezTo>
                          <a:cubicBezTo>
                            <a:pt x="110817" y="491147"/>
                            <a:pt x="150917" y="484955"/>
                            <a:pt x="150917" y="484955"/>
                          </a:cubicBezTo>
                          <a:cubicBezTo>
                            <a:pt x="150917" y="484955"/>
                            <a:pt x="245786" y="473240"/>
                            <a:pt x="297983" y="460571"/>
                          </a:cubicBezTo>
                          <a:cubicBezTo>
                            <a:pt x="358943" y="445617"/>
                            <a:pt x="392757" y="345986"/>
                            <a:pt x="395805" y="321602"/>
                          </a:cubicBezTo>
                          <a:cubicBezTo>
                            <a:pt x="402472" y="267785"/>
                            <a:pt x="391328" y="124815"/>
                            <a:pt x="391328" y="124815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23" name="Freihandform: Form 222">
                      <a:extLst>
                        <a:ext uri="{FF2B5EF4-FFF2-40B4-BE49-F238E27FC236}">
                          <a16:creationId xmlns:a16="http://schemas.microsoft.com/office/drawing/2014/main" id="{E3B81416-C2D8-AF37-AE27-7CCF93CD0F50}"/>
                        </a:ext>
                      </a:extLst>
                    </p:cNvPr>
                    <p:cNvSpPr/>
                    <p:nvPr/>
                  </p:nvSpPr>
                  <p:spPr>
                    <a:xfrm rot="-445201">
                      <a:off x="5939430" y="702581"/>
                      <a:ext cx="592073" cy="528827"/>
                    </a:xfrm>
                    <a:custGeom>
                      <a:avLst/>
                      <a:gdLst>
                        <a:gd name="connsiteX0" fmla="*/ 592074 w 592073"/>
                        <a:gd name="connsiteY0" fmla="*/ 264414 h 528827"/>
                        <a:gd name="connsiteX1" fmla="*/ 296037 w 592073"/>
                        <a:gd name="connsiteY1" fmla="*/ 528828 h 528827"/>
                        <a:gd name="connsiteX2" fmla="*/ 0 w 592073"/>
                        <a:gd name="connsiteY2" fmla="*/ 264414 h 528827"/>
                        <a:gd name="connsiteX3" fmla="*/ 296037 w 592073"/>
                        <a:gd name="connsiteY3" fmla="*/ 0 h 528827"/>
                        <a:gd name="connsiteX4" fmla="*/ 592074 w 592073"/>
                        <a:gd name="connsiteY4" fmla="*/ 264414 h 5288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92073" h="528827">
                          <a:moveTo>
                            <a:pt x="592074" y="264414"/>
                          </a:moveTo>
                          <a:cubicBezTo>
                            <a:pt x="592074" y="410446"/>
                            <a:pt x="459534" y="528828"/>
                            <a:pt x="296037" y="528828"/>
                          </a:cubicBezTo>
                          <a:cubicBezTo>
                            <a:pt x="132541" y="528828"/>
                            <a:pt x="0" y="410446"/>
                            <a:pt x="0" y="264414"/>
                          </a:cubicBezTo>
                          <a:cubicBezTo>
                            <a:pt x="0" y="118382"/>
                            <a:pt x="132541" y="0"/>
                            <a:pt x="296037" y="0"/>
                          </a:cubicBezTo>
                          <a:cubicBezTo>
                            <a:pt x="459534" y="0"/>
                            <a:pt x="592074" y="118382"/>
                            <a:pt x="592074" y="264414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24" name="Freihandform: Form 223">
                      <a:extLst>
                        <a:ext uri="{FF2B5EF4-FFF2-40B4-BE49-F238E27FC236}">
                          <a16:creationId xmlns:a16="http://schemas.microsoft.com/office/drawing/2014/main" id="{8EE51AEF-5B10-D563-2A6E-0167525233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75063" y="1260919"/>
                      <a:ext cx="37147" cy="19811"/>
                    </a:xfrm>
                    <a:custGeom>
                      <a:avLst/>
                      <a:gdLst>
                        <a:gd name="connsiteX0" fmla="*/ 476 w 37147"/>
                        <a:gd name="connsiteY0" fmla="*/ 19812 h 19811"/>
                        <a:gd name="connsiteX1" fmla="*/ 0 w 37147"/>
                        <a:gd name="connsiteY1" fmla="*/ 10382 h 19811"/>
                        <a:gd name="connsiteX2" fmla="*/ 32385 w 37147"/>
                        <a:gd name="connsiteY2" fmla="*/ 0 h 19811"/>
                        <a:gd name="connsiteX3" fmla="*/ 37147 w 37147"/>
                        <a:gd name="connsiteY3" fmla="*/ 8192 h 19811"/>
                        <a:gd name="connsiteX4" fmla="*/ 571 w 37147"/>
                        <a:gd name="connsiteY4" fmla="*/ 19812 h 1981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7147" h="19811">
                          <a:moveTo>
                            <a:pt x="476" y="19812"/>
                          </a:moveTo>
                          <a:lnTo>
                            <a:pt x="0" y="10382"/>
                          </a:lnTo>
                          <a:cubicBezTo>
                            <a:pt x="0" y="10382"/>
                            <a:pt x="16002" y="9430"/>
                            <a:pt x="32385" y="0"/>
                          </a:cubicBezTo>
                          <a:lnTo>
                            <a:pt x="37147" y="8192"/>
                          </a:lnTo>
                          <a:cubicBezTo>
                            <a:pt x="18764" y="18764"/>
                            <a:pt x="1238" y="19812"/>
                            <a:pt x="571" y="19812"/>
                          </a:cubicBezTo>
                          <a:close/>
                        </a:path>
                      </a:pathLst>
                    </a:custGeom>
                    <a:solidFill>
                      <a:srgbClr val="F2BBB3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25" name="Freihandform: Form 224">
                      <a:extLst>
                        <a:ext uri="{FF2B5EF4-FFF2-40B4-BE49-F238E27FC236}">
                          <a16:creationId xmlns:a16="http://schemas.microsoft.com/office/drawing/2014/main" id="{D7220E43-0923-C955-B9D5-BB8C0EC714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60067" y="1011264"/>
                      <a:ext cx="129553" cy="32025"/>
                    </a:xfrm>
                    <a:custGeom>
                      <a:avLst/>
                      <a:gdLst>
                        <a:gd name="connsiteX0" fmla="*/ 98911 w 129553"/>
                        <a:gd name="connsiteY0" fmla="*/ 2672 h 32025"/>
                        <a:gd name="connsiteX1" fmla="*/ 5947 w 129553"/>
                        <a:gd name="connsiteY1" fmla="*/ 10292 h 32025"/>
                        <a:gd name="connsiteX2" fmla="*/ 3090 w 129553"/>
                        <a:gd name="connsiteY2" fmla="*/ 12768 h 32025"/>
                        <a:gd name="connsiteX3" fmla="*/ 13853 w 129553"/>
                        <a:gd name="connsiteY3" fmla="*/ 31913 h 32025"/>
                        <a:gd name="connsiteX4" fmla="*/ 38332 w 129553"/>
                        <a:gd name="connsiteY4" fmla="*/ 27341 h 32025"/>
                        <a:gd name="connsiteX5" fmla="*/ 96720 w 129553"/>
                        <a:gd name="connsiteY5" fmla="*/ 24389 h 32025"/>
                        <a:gd name="connsiteX6" fmla="*/ 129106 w 129553"/>
                        <a:gd name="connsiteY6" fmla="*/ 31532 h 32025"/>
                        <a:gd name="connsiteX7" fmla="*/ 98816 w 129553"/>
                        <a:gd name="connsiteY7" fmla="*/ 2767 h 320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29553" h="32025">
                          <a:moveTo>
                            <a:pt x="98911" y="2672"/>
                          </a:moveTo>
                          <a:cubicBezTo>
                            <a:pt x="81099" y="-5329"/>
                            <a:pt x="10615" y="6863"/>
                            <a:pt x="5947" y="10292"/>
                          </a:cubicBezTo>
                          <a:cubicBezTo>
                            <a:pt x="4804" y="11149"/>
                            <a:pt x="3852" y="11911"/>
                            <a:pt x="3090" y="12768"/>
                          </a:cubicBezTo>
                          <a:cubicBezTo>
                            <a:pt x="-4435" y="20769"/>
                            <a:pt x="2804" y="33342"/>
                            <a:pt x="13853" y="31913"/>
                          </a:cubicBezTo>
                          <a:cubicBezTo>
                            <a:pt x="18901" y="31247"/>
                            <a:pt x="31284" y="28675"/>
                            <a:pt x="38332" y="27341"/>
                          </a:cubicBezTo>
                          <a:cubicBezTo>
                            <a:pt x="50715" y="24865"/>
                            <a:pt x="86338" y="22865"/>
                            <a:pt x="96720" y="24389"/>
                          </a:cubicBezTo>
                          <a:cubicBezTo>
                            <a:pt x="117104" y="27246"/>
                            <a:pt x="126439" y="33628"/>
                            <a:pt x="129106" y="31532"/>
                          </a:cubicBezTo>
                          <a:cubicBezTo>
                            <a:pt x="131773" y="29437"/>
                            <a:pt x="122628" y="13435"/>
                            <a:pt x="98816" y="2767"/>
                          </a:cubicBezTo>
                          <a:close/>
                        </a:path>
                      </a:pathLst>
                    </a:custGeom>
                    <a:solidFill>
                      <a:srgbClr val="4B2E1A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26" name="Freihandform: Form 225">
                      <a:extLst>
                        <a:ext uri="{FF2B5EF4-FFF2-40B4-BE49-F238E27FC236}">
                          <a16:creationId xmlns:a16="http://schemas.microsoft.com/office/drawing/2014/main" id="{166A2BE9-5CCB-9DDC-513C-6A4DED4F50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01638" y="1062418"/>
                      <a:ext cx="25336" cy="32003"/>
                    </a:xfrm>
                    <a:custGeom>
                      <a:avLst/>
                      <a:gdLst>
                        <a:gd name="connsiteX0" fmla="*/ 25337 w 25336"/>
                        <a:gd name="connsiteY0" fmla="*/ 16002 h 32003"/>
                        <a:gd name="connsiteX1" fmla="*/ 12669 w 25336"/>
                        <a:gd name="connsiteY1" fmla="*/ 32004 h 32003"/>
                        <a:gd name="connsiteX2" fmla="*/ 0 w 25336"/>
                        <a:gd name="connsiteY2" fmla="*/ 16002 h 32003"/>
                        <a:gd name="connsiteX3" fmla="*/ 12669 w 25336"/>
                        <a:gd name="connsiteY3" fmla="*/ 0 h 32003"/>
                        <a:gd name="connsiteX4" fmla="*/ 25337 w 25336"/>
                        <a:gd name="connsiteY4" fmla="*/ 16002 h 320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5336" h="32003">
                          <a:moveTo>
                            <a:pt x="25337" y="16002"/>
                          </a:moveTo>
                          <a:cubicBezTo>
                            <a:pt x="25337" y="24840"/>
                            <a:pt x="19665" y="32004"/>
                            <a:pt x="12669" y="32004"/>
                          </a:cubicBezTo>
                          <a:cubicBezTo>
                            <a:pt x="5672" y="32004"/>
                            <a:pt x="0" y="24840"/>
                            <a:pt x="0" y="16002"/>
                          </a:cubicBezTo>
                          <a:cubicBezTo>
                            <a:pt x="0" y="7164"/>
                            <a:pt x="5672" y="0"/>
                            <a:pt x="12669" y="0"/>
                          </a:cubicBezTo>
                          <a:cubicBezTo>
                            <a:pt x="19665" y="0"/>
                            <a:pt x="25337" y="7164"/>
                            <a:pt x="25337" y="16002"/>
                          </a:cubicBezTo>
                          <a:close/>
                        </a:path>
                      </a:pathLst>
                    </a:custGeom>
                    <a:solidFill>
                      <a:srgbClr val="4B2E1A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27" name="Freihandform: Form 226">
                      <a:extLst>
                        <a:ext uri="{FF2B5EF4-FFF2-40B4-BE49-F238E27FC236}">
                          <a16:creationId xmlns:a16="http://schemas.microsoft.com/office/drawing/2014/main" id="{7F13446F-DC7A-6C93-DCE9-8ABF7C4A07E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93256" y="1058562"/>
                      <a:ext cx="66606" cy="16779"/>
                    </a:xfrm>
                    <a:custGeom>
                      <a:avLst/>
                      <a:gdLst>
                        <a:gd name="connsiteX0" fmla="*/ 66104 w 66606"/>
                        <a:gd name="connsiteY0" fmla="*/ 12048 h 16779"/>
                        <a:gd name="connsiteX1" fmla="*/ 15336 w 66606"/>
                        <a:gd name="connsiteY1" fmla="*/ 427 h 16779"/>
                        <a:gd name="connsiteX2" fmla="*/ 4668 w 66606"/>
                        <a:gd name="connsiteY2" fmla="*/ 11857 h 16779"/>
                        <a:gd name="connsiteX3" fmla="*/ 54769 w 66606"/>
                        <a:gd name="connsiteY3" fmla="*/ 16048 h 16779"/>
                        <a:gd name="connsiteX4" fmla="*/ 66199 w 66606"/>
                        <a:gd name="connsiteY4" fmla="*/ 12048 h 167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66606" h="16779">
                          <a:moveTo>
                            <a:pt x="66104" y="12048"/>
                          </a:moveTo>
                          <a:cubicBezTo>
                            <a:pt x="64103" y="9095"/>
                            <a:pt x="36195" y="-2335"/>
                            <a:pt x="15336" y="427"/>
                          </a:cubicBezTo>
                          <a:cubicBezTo>
                            <a:pt x="1905" y="2142"/>
                            <a:pt x="-5334" y="14048"/>
                            <a:pt x="4668" y="11857"/>
                          </a:cubicBezTo>
                          <a:cubicBezTo>
                            <a:pt x="23051" y="7952"/>
                            <a:pt x="46959" y="13762"/>
                            <a:pt x="54769" y="16048"/>
                          </a:cubicBezTo>
                          <a:cubicBezTo>
                            <a:pt x="62580" y="18239"/>
                            <a:pt x="68199" y="15096"/>
                            <a:pt x="66199" y="12048"/>
                          </a:cubicBezTo>
                          <a:close/>
                        </a:path>
                      </a:pathLst>
                    </a:custGeom>
                    <a:solidFill>
                      <a:srgbClr val="4B2E1A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228" name="Freihandform: Form 227">
                    <a:extLst>
                      <a:ext uri="{FF2B5EF4-FFF2-40B4-BE49-F238E27FC236}">
                        <a16:creationId xmlns:a16="http://schemas.microsoft.com/office/drawing/2014/main" id="{DDDC1D7D-A186-BFB8-F15A-567FD3B93E86}"/>
                      </a:ext>
                    </a:extLst>
                  </p:cNvPr>
                  <p:cNvSpPr/>
                  <p:nvPr/>
                </p:nvSpPr>
                <p:spPr>
                  <a:xfrm>
                    <a:off x="5884415" y="693547"/>
                    <a:ext cx="678407" cy="560989"/>
                  </a:xfrm>
                  <a:custGeom>
                    <a:avLst/>
                    <a:gdLst>
                      <a:gd name="connsiteX0" fmla="*/ 92744 w 678407"/>
                      <a:gd name="connsiteY0" fmla="*/ 45116 h 560989"/>
                      <a:gd name="connsiteX1" fmla="*/ 370588 w 678407"/>
                      <a:gd name="connsiteY1" fmla="*/ 1301 h 560989"/>
                      <a:gd name="connsiteX2" fmla="*/ 671387 w 678407"/>
                      <a:gd name="connsiteY2" fmla="*/ 177894 h 560989"/>
                      <a:gd name="connsiteX3" fmla="*/ 605379 w 678407"/>
                      <a:gd name="connsiteY3" fmla="*/ 492315 h 560989"/>
                      <a:gd name="connsiteX4" fmla="*/ 595854 w 678407"/>
                      <a:gd name="connsiteY4" fmla="*/ 560990 h 560989"/>
                      <a:gd name="connsiteX5" fmla="*/ 534704 w 678407"/>
                      <a:gd name="connsiteY5" fmla="*/ 541083 h 560989"/>
                      <a:gd name="connsiteX6" fmla="*/ 471553 w 678407"/>
                      <a:gd name="connsiteY6" fmla="*/ 434688 h 560989"/>
                      <a:gd name="connsiteX7" fmla="*/ 359253 w 678407"/>
                      <a:gd name="connsiteY7" fmla="*/ 466692 h 560989"/>
                      <a:gd name="connsiteX8" fmla="*/ 324963 w 678407"/>
                      <a:gd name="connsiteY8" fmla="*/ 344106 h 560989"/>
                      <a:gd name="connsiteX9" fmla="*/ 229904 w 678407"/>
                      <a:gd name="connsiteY9" fmla="*/ 185229 h 560989"/>
                      <a:gd name="connsiteX10" fmla="*/ 53310 w 678407"/>
                      <a:gd name="connsiteY10" fmla="*/ 212375 h 560989"/>
                      <a:gd name="connsiteX11" fmla="*/ 92553 w 678407"/>
                      <a:gd name="connsiteY11" fmla="*/ 45306 h 5609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678407" h="560989">
                        <a:moveTo>
                          <a:pt x="92744" y="45116"/>
                        </a:moveTo>
                        <a:cubicBezTo>
                          <a:pt x="92744" y="45116"/>
                          <a:pt x="183993" y="-8986"/>
                          <a:pt x="370588" y="1301"/>
                        </a:cubicBezTo>
                        <a:cubicBezTo>
                          <a:pt x="461647" y="6349"/>
                          <a:pt x="643860" y="48450"/>
                          <a:pt x="671387" y="177894"/>
                        </a:cubicBezTo>
                        <a:cubicBezTo>
                          <a:pt x="705773" y="339915"/>
                          <a:pt x="602522" y="437832"/>
                          <a:pt x="605379" y="492315"/>
                        </a:cubicBezTo>
                        <a:cubicBezTo>
                          <a:pt x="608141" y="546798"/>
                          <a:pt x="595854" y="560990"/>
                          <a:pt x="595854" y="560990"/>
                        </a:cubicBezTo>
                        <a:cubicBezTo>
                          <a:pt x="595854" y="560990"/>
                          <a:pt x="556325" y="553275"/>
                          <a:pt x="534704" y="541083"/>
                        </a:cubicBezTo>
                        <a:cubicBezTo>
                          <a:pt x="506319" y="525081"/>
                          <a:pt x="470315" y="485361"/>
                          <a:pt x="471553" y="434688"/>
                        </a:cubicBezTo>
                        <a:cubicBezTo>
                          <a:pt x="472887" y="384015"/>
                          <a:pt x="359253" y="466692"/>
                          <a:pt x="359253" y="466692"/>
                        </a:cubicBezTo>
                        <a:cubicBezTo>
                          <a:pt x="359253" y="466692"/>
                          <a:pt x="274481" y="456405"/>
                          <a:pt x="324963" y="344106"/>
                        </a:cubicBezTo>
                        <a:cubicBezTo>
                          <a:pt x="353348" y="281050"/>
                          <a:pt x="356110" y="128555"/>
                          <a:pt x="229904" y="185229"/>
                        </a:cubicBezTo>
                        <a:cubicBezTo>
                          <a:pt x="132844" y="228758"/>
                          <a:pt x="86838" y="240950"/>
                          <a:pt x="53310" y="212375"/>
                        </a:cubicBezTo>
                        <a:cubicBezTo>
                          <a:pt x="-33177" y="107219"/>
                          <a:pt x="-10412" y="47021"/>
                          <a:pt x="92553" y="45306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9" name="Freihandform: Form 228">
                    <a:extLst>
                      <a:ext uri="{FF2B5EF4-FFF2-40B4-BE49-F238E27FC236}">
                        <a16:creationId xmlns:a16="http://schemas.microsoft.com/office/drawing/2014/main" id="{A34C1CAA-AE87-9F3B-3AEA-55D337694FDD}"/>
                      </a:ext>
                    </a:extLst>
                  </p:cNvPr>
                  <p:cNvSpPr/>
                  <p:nvPr/>
                </p:nvSpPr>
                <p:spPr>
                  <a:xfrm rot="-4891201">
                    <a:off x="6209424" y="1060687"/>
                    <a:ext cx="197357" cy="131254"/>
                  </a:xfrm>
                  <a:custGeom>
                    <a:avLst/>
                    <a:gdLst>
                      <a:gd name="connsiteX0" fmla="*/ 197358 w 197357"/>
                      <a:gd name="connsiteY0" fmla="*/ 65627 h 131254"/>
                      <a:gd name="connsiteX1" fmla="*/ 98679 w 197357"/>
                      <a:gd name="connsiteY1" fmla="*/ 131254 h 131254"/>
                      <a:gd name="connsiteX2" fmla="*/ 0 w 197357"/>
                      <a:gd name="connsiteY2" fmla="*/ 65627 h 131254"/>
                      <a:gd name="connsiteX3" fmla="*/ 98679 w 197357"/>
                      <a:gd name="connsiteY3" fmla="*/ 0 h 131254"/>
                      <a:gd name="connsiteX4" fmla="*/ 197358 w 197357"/>
                      <a:gd name="connsiteY4" fmla="*/ 65627 h 1312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7357" h="131254">
                        <a:moveTo>
                          <a:pt x="197358" y="65627"/>
                        </a:moveTo>
                        <a:cubicBezTo>
                          <a:pt x="197358" y="101872"/>
                          <a:pt x="153178" y="131254"/>
                          <a:pt x="98679" y="131254"/>
                        </a:cubicBezTo>
                        <a:cubicBezTo>
                          <a:pt x="44180" y="131254"/>
                          <a:pt x="0" y="101872"/>
                          <a:pt x="0" y="65627"/>
                        </a:cubicBezTo>
                        <a:cubicBezTo>
                          <a:pt x="0" y="29382"/>
                          <a:pt x="44180" y="0"/>
                          <a:pt x="98679" y="0"/>
                        </a:cubicBezTo>
                        <a:cubicBezTo>
                          <a:pt x="153178" y="0"/>
                          <a:pt x="197358" y="29382"/>
                          <a:pt x="197358" y="65627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230" name="Grafik 23">
                <a:extLst>
                  <a:ext uri="{FF2B5EF4-FFF2-40B4-BE49-F238E27FC236}">
                    <a16:creationId xmlns:a16="http://schemas.microsoft.com/office/drawing/2014/main" id="{39181F7A-9899-47D3-ECE5-CC45A2A5FA2F}"/>
                  </a:ext>
                </a:extLst>
              </p:cNvPr>
              <p:cNvGrpSpPr/>
              <p:nvPr/>
            </p:nvGrpSpPr>
            <p:grpSpPr>
              <a:xfrm>
                <a:off x="9291637" y="1854304"/>
                <a:ext cx="351095" cy="833562"/>
                <a:chOff x="1874837" y="609818"/>
                <a:chExt cx="2341791" cy="5559828"/>
              </a:xfrm>
            </p:grpSpPr>
            <p:grpSp>
              <p:nvGrpSpPr>
                <p:cNvPr id="231" name="Grafik 23">
                  <a:extLst>
                    <a:ext uri="{FF2B5EF4-FFF2-40B4-BE49-F238E27FC236}">
                      <a16:creationId xmlns:a16="http://schemas.microsoft.com/office/drawing/2014/main" id="{A4C4C557-F9AC-AE78-A0B0-8E297D8FCB8D}"/>
                    </a:ext>
                  </a:extLst>
                </p:cNvPr>
                <p:cNvGrpSpPr/>
                <p:nvPr/>
              </p:nvGrpSpPr>
              <p:grpSpPr>
                <a:xfrm>
                  <a:off x="3461130" y="1931860"/>
                  <a:ext cx="755497" cy="464438"/>
                  <a:chOff x="3461130" y="1931860"/>
                  <a:chExt cx="755497" cy="464438"/>
                </a:xfrm>
              </p:grpSpPr>
              <p:grpSp>
                <p:nvGrpSpPr>
                  <p:cNvPr id="232" name="Grafik 23">
                    <a:extLst>
                      <a:ext uri="{FF2B5EF4-FFF2-40B4-BE49-F238E27FC236}">
                        <a16:creationId xmlns:a16="http://schemas.microsoft.com/office/drawing/2014/main" id="{079BF024-3D9F-C663-2040-0055B72A0406}"/>
                      </a:ext>
                    </a:extLst>
                  </p:cNvPr>
                  <p:cNvGrpSpPr/>
                  <p:nvPr/>
                </p:nvGrpSpPr>
                <p:grpSpPr>
                  <a:xfrm>
                    <a:off x="3600659" y="1931860"/>
                    <a:ext cx="615968" cy="410541"/>
                    <a:chOff x="3600659" y="1931860"/>
                    <a:chExt cx="615968" cy="410541"/>
                  </a:xfrm>
                </p:grpSpPr>
                <p:sp>
                  <p:nvSpPr>
                    <p:cNvPr id="233" name="Freihandform: Form 232">
                      <a:extLst>
                        <a:ext uri="{FF2B5EF4-FFF2-40B4-BE49-F238E27FC236}">
                          <a16:creationId xmlns:a16="http://schemas.microsoft.com/office/drawing/2014/main" id="{10B3F673-A9EE-C754-A9C1-02C7ADF4377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600659" y="1931860"/>
                      <a:ext cx="613044" cy="410541"/>
                    </a:xfrm>
                    <a:custGeom>
                      <a:avLst/>
                      <a:gdLst>
                        <a:gd name="connsiteX0" fmla="*/ 1060 w 613044"/>
                        <a:gd name="connsiteY0" fmla="*/ 243173 h 410541"/>
                        <a:gd name="connsiteX1" fmla="*/ 99453 w 613044"/>
                        <a:gd name="connsiteY1" fmla="*/ 135445 h 410541"/>
                        <a:gd name="connsiteX2" fmla="*/ 267474 w 613044"/>
                        <a:gd name="connsiteY2" fmla="*/ 0 h 410541"/>
                        <a:gd name="connsiteX3" fmla="*/ 284143 w 613044"/>
                        <a:gd name="connsiteY3" fmla="*/ 69342 h 410541"/>
                        <a:gd name="connsiteX4" fmla="*/ 220516 w 613044"/>
                        <a:gd name="connsiteY4" fmla="*/ 151543 h 410541"/>
                        <a:gd name="connsiteX5" fmla="*/ 334244 w 613044"/>
                        <a:gd name="connsiteY5" fmla="*/ 194977 h 410541"/>
                        <a:gd name="connsiteX6" fmla="*/ 585133 w 613044"/>
                        <a:gd name="connsiteY6" fmla="*/ 201454 h 410541"/>
                        <a:gd name="connsiteX7" fmla="*/ 612470 w 613044"/>
                        <a:gd name="connsiteY7" fmla="*/ 240601 h 410541"/>
                        <a:gd name="connsiteX8" fmla="*/ 441877 w 613044"/>
                        <a:gd name="connsiteY8" fmla="*/ 266509 h 410541"/>
                        <a:gd name="connsiteX9" fmla="*/ 220421 w 613044"/>
                        <a:gd name="connsiteY9" fmla="*/ 407289 h 410541"/>
                        <a:gd name="connsiteX10" fmla="*/ 63353 w 613044"/>
                        <a:gd name="connsiteY10" fmla="*/ 406908 h 410541"/>
                        <a:gd name="connsiteX11" fmla="*/ 965 w 613044"/>
                        <a:gd name="connsiteY11" fmla="*/ 243173 h 41054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</a:cxnLst>
                      <a:rect l="l" t="t" r="r" b="b"/>
                      <a:pathLst>
                        <a:path w="613044" h="410541">
                          <a:moveTo>
                            <a:pt x="1060" y="243173"/>
                          </a:moveTo>
                          <a:cubicBezTo>
                            <a:pt x="1060" y="243173"/>
                            <a:pt x="28778" y="169259"/>
                            <a:pt x="99453" y="135445"/>
                          </a:cubicBezTo>
                          <a:cubicBezTo>
                            <a:pt x="138506" y="116776"/>
                            <a:pt x="236613" y="43720"/>
                            <a:pt x="267474" y="0"/>
                          </a:cubicBezTo>
                          <a:cubicBezTo>
                            <a:pt x="267474" y="0"/>
                            <a:pt x="310146" y="30861"/>
                            <a:pt x="284143" y="69342"/>
                          </a:cubicBezTo>
                          <a:cubicBezTo>
                            <a:pt x="256235" y="110490"/>
                            <a:pt x="220897" y="137446"/>
                            <a:pt x="220516" y="151543"/>
                          </a:cubicBezTo>
                          <a:cubicBezTo>
                            <a:pt x="220135" y="165640"/>
                            <a:pt x="261093" y="184309"/>
                            <a:pt x="334244" y="194977"/>
                          </a:cubicBezTo>
                          <a:cubicBezTo>
                            <a:pt x="407397" y="205645"/>
                            <a:pt x="568845" y="201073"/>
                            <a:pt x="585133" y="201454"/>
                          </a:cubicBezTo>
                          <a:cubicBezTo>
                            <a:pt x="611612" y="205168"/>
                            <a:pt x="614661" y="222599"/>
                            <a:pt x="612470" y="240601"/>
                          </a:cubicBezTo>
                          <a:cubicBezTo>
                            <a:pt x="605040" y="242792"/>
                            <a:pt x="500551" y="256032"/>
                            <a:pt x="441877" y="266509"/>
                          </a:cubicBezTo>
                          <a:cubicBezTo>
                            <a:pt x="441877" y="266509"/>
                            <a:pt x="247567" y="407956"/>
                            <a:pt x="220421" y="407289"/>
                          </a:cubicBezTo>
                          <a:cubicBezTo>
                            <a:pt x="193274" y="406622"/>
                            <a:pt x="98501" y="415195"/>
                            <a:pt x="63353" y="406908"/>
                          </a:cubicBezTo>
                          <a:cubicBezTo>
                            <a:pt x="63353" y="406908"/>
                            <a:pt x="-9132" y="354711"/>
                            <a:pt x="965" y="243173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34" name="Freihandform: Form 233">
                      <a:extLst>
                        <a:ext uri="{FF2B5EF4-FFF2-40B4-BE49-F238E27FC236}">
                          <a16:creationId xmlns:a16="http://schemas.microsoft.com/office/drawing/2014/main" id="{722B0245-49BA-C2B5-189B-9E018A58878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46131" y="2104548"/>
                      <a:ext cx="370497" cy="93725"/>
                    </a:xfrm>
                    <a:custGeom>
                      <a:avLst/>
                      <a:gdLst>
                        <a:gd name="connsiteX0" fmla="*/ 0 w 370497"/>
                        <a:gd name="connsiteY0" fmla="*/ 0 h 93725"/>
                        <a:gd name="connsiteX1" fmla="*/ 331946 w 370497"/>
                        <a:gd name="connsiteY1" fmla="*/ 28766 h 93725"/>
                        <a:gd name="connsiteX2" fmla="*/ 369665 w 370497"/>
                        <a:gd name="connsiteY2" fmla="*/ 67246 h 93725"/>
                        <a:gd name="connsiteX3" fmla="*/ 196405 w 370497"/>
                        <a:gd name="connsiteY3" fmla="*/ 93726 h 93725"/>
                        <a:gd name="connsiteX4" fmla="*/ 0 w 370497"/>
                        <a:gd name="connsiteY4" fmla="*/ 0 h 937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70497" h="93725">
                          <a:moveTo>
                            <a:pt x="0" y="0"/>
                          </a:moveTo>
                          <a:cubicBezTo>
                            <a:pt x="99631" y="41815"/>
                            <a:pt x="292798" y="27146"/>
                            <a:pt x="331946" y="28766"/>
                          </a:cubicBezTo>
                          <a:cubicBezTo>
                            <a:pt x="367951" y="27051"/>
                            <a:pt x="372904" y="52102"/>
                            <a:pt x="369665" y="67246"/>
                          </a:cubicBezTo>
                          <a:cubicBezTo>
                            <a:pt x="362236" y="69437"/>
                            <a:pt x="255079" y="83249"/>
                            <a:pt x="196405" y="93726"/>
                          </a:cubicBezTo>
                          <a:cubicBezTo>
                            <a:pt x="113538" y="82677"/>
                            <a:pt x="22669" y="33528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35" name="Freihandform: Form 234">
                      <a:extLst>
                        <a:ext uri="{FF2B5EF4-FFF2-40B4-BE49-F238E27FC236}">
                          <a16:creationId xmlns:a16="http://schemas.microsoft.com/office/drawing/2014/main" id="{FC747B1C-40CA-37A7-359F-333D02CC766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38012" y="2099981"/>
                      <a:ext cx="336064" cy="133901"/>
                    </a:xfrm>
                    <a:custGeom>
                      <a:avLst/>
                      <a:gdLst>
                        <a:gd name="connsiteX0" fmla="*/ 38503 w 336064"/>
                        <a:gd name="connsiteY0" fmla="*/ 53621 h 133901"/>
                        <a:gd name="connsiteX1" fmla="*/ 204143 w 336064"/>
                        <a:gd name="connsiteY1" fmla="*/ 33428 h 133901"/>
                        <a:gd name="connsiteX2" fmla="*/ 266151 w 336064"/>
                        <a:gd name="connsiteY2" fmla="*/ 8663 h 133901"/>
                        <a:gd name="connsiteX3" fmla="*/ 336064 w 336064"/>
                        <a:gd name="connsiteY3" fmla="*/ 25236 h 133901"/>
                        <a:gd name="connsiteX4" fmla="*/ 169186 w 336064"/>
                        <a:gd name="connsiteY4" fmla="*/ 118677 h 133901"/>
                        <a:gd name="connsiteX5" fmla="*/ 38503 w 336064"/>
                        <a:gd name="connsiteY5" fmla="*/ 53621 h 1339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336064" h="133901">
                          <a:moveTo>
                            <a:pt x="38503" y="53621"/>
                          </a:moveTo>
                          <a:cubicBezTo>
                            <a:pt x="130610" y="74195"/>
                            <a:pt x="204143" y="33428"/>
                            <a:pt x="204143" y="33428"/>
                          </a:cubicBezTo>
                          <a:cubicBezTo>
                            <a:pt x="204143" y="33428"/>
                            <a:pt x="251959" y="13140"/>
                            <a:pt x="266151" y="8663"/>
                          </a:cubicBezTo>
                          <a:cubicBezTo>
                            <a:pt x="280343" y="4186"/>
                            <a:pt x="318443" y="-15435"/>
                            <a:pt x="336064" y="25236"/>
                          </a:cubicBezTo>
                          <a:cubicBezTo>
                            <a:pt x="320539" y="35523"/>
                            <a:pt x="169186" y="118677"/>
                            <a:pt x="169186" y="118677"/>
                          </a:cubicBezTo>
                          <a:cubicBezTo>
                            <a:pt x="44790" y="180303"/>
                            <a:pt x="-58937" y="33618"/>
                            <a:pt x="38503" y="53621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236" name="Freihandform: Form 235">
                    <a:extLst>
                      <a:ext uri="{FF2B5EF4-FFF2-40B4-BE49-F238E27FC236}">
                        <a16:creationId xmlns:a16="http://schemas.microsoft.com/office/drawing/2014/main" id="{53204479-6EB8-56C5-CA8C-5BD38B49612D}"/>
                      </a:ext>
                    </a:extLst>
                  </p:cNvPr>
                  <p:cNvSpPr/>
                  <p:nvPr/>
                </p:nvSpPr>
                <p:spPr>
                  <a:xfrm rot="-4549200">
                    <a:off x="3542217" y="2170610"/>
                    <a:ext cx="175069" cy="175069"/>
                  </a:xfrm>
                  <a:custGeom>
                    <a:avLst/>
                    <a:gdLst>
                      <a:gd name="connsiteX0" fmla="*/ 175069 w 175069"/>
                      <a:gd name="connsiteY0" fmla="*/ 87535 h 175069"/>
                      <a:gd name="connsiteX1" fmla="*/ 87535 w 175069"/>
                      <a:gd name="connsiteY1" fmla="*/ 175070 h 175069"/>
                      <a:gd name="connsiteX2" fmla="*/ 0 w 175069"/>
                      <a:gd name="connsiteY2" fmla="*/ 87535 h 175069"/>
                      <a:gd name="connsiteX3" fmla="*/ 87535 w 175069"/>
                      <a:gd name="connsiteY3" fmla="*/ 0 h 175069"/>
                      <a:gd name="connsiteX4" fmla="*/ 175069 w 175069"/>
                      <a:gd name="connsiteY4" fmla="*/ 87535 h 1750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75069" h="175069">
                        <a:moveTo>
                          <a:pt x="175069" y="87535"/>
                        </a:moveTo>
                        <a:cubicBezTo>
                          <a:pt x="175069" y="135879"/>
                          <a:pt x="135879" y="175070"/>
                          <a:pt x="87535" y="175070"/>
                        </a:cubicBezTo>
                        <a:cubicBezTo>
                          <a:pt x="39191" y="175070"/>
                          <a:pt x="0" y="135879"/>
                          <a:pt x="0" y="87535"/>
                        </a:cubicBezTo>
                        <a:cubicBezTo>
                          <a:pt x="0" y="39191"/>
                          <a:pt x="39191" y="0"/>
                          <a:pt x="87535" y="0"/>
                        </a:cubicBezTo>
                        <a:cubicBezTo>
                          <a:pt x="135879" y="0"/>
                          <a:pt x="175069" y="39191"/>
                          <a:pt x="175069" y="87535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7" name="Freihandform: Form 236">
                    <a:extLst>
                      <a:ext uri="{FF2B5EF4-FFF2-40B4-BE49-F238E27FC236}">
                        <a16:creationId xmlns:a16="http://schemas.microsoft.com/office/drawing/2014/main" id="{14CB6F4B-EF55-2BF6-0D2F-DB246712A8B9}"/>
                      </a:ext>
                    </a:extLst>
                  </p:cNvPr>
                  <p:cNvSpPr/>
                  <p:nvPr/>
                </p:nvSpPr>
                <p:spPr>
                  <a:xfrm>
                    <a:off x="3461130" y="2175033"/>
                    <a:ext cx="202977" cy="221265"/>
                  </a:xfrm>
                  <a:custGeom>
                    <a:avLst/>
                    <a:gdLst>
                      <a:gd name="connsiteX0" fmla="*/ 202978 w 202977"/>
                      <a:gd name="connsiteY0" fmla="*/ 163735 h 221265"/>
                      <a:gd name="connsiteX1" fmla="*/ 140589 w 202977"/>
                      <a:gd name="connsiteY1" fmla="*/ 0 h 221265"/>
                      <a:gd name="connsiteX2" fmla="*/ 0 w 202977"/>
                      <a:gd name="connsiteY2" fmla="*/ 51435 h 221265"/>
                      <a:gd name="connsiteX3" fmla="*/ 60770 w 202977"/>
                      <a:gd name="connsiteY3" fmla="*/ 221266 h 221265"/>
                      <a:gd name="connsiteX4" fmla="*/ 202978 w 202977"/>
                      <a:gd name="connsiteY4" fmla="*/ 163735 h 2212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02977" h="221265">
                        <a:moveTo>
                          <a:pt x="202978" y="163735"/>
                        </a:moveTo>
                        <a:lnTo>
                          <a:pt x="140589" y="0"/>
                        </a:lnTo>
                        <a:lnTo>
                          <a:pt x="0" y="51435"/>
                        </a:lnTo>
                        <a:lnTo>
                          <a:pt x="60770" y="221266"/>
                        </a:lnTo>
                        <a:lnTo>
                          <a:pt x="202978" y="163735"/>
                        </a:ln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38" name="Grafik 23">
                  <a:extLst>
                    <a:ext uri="{FF2B5EF4-FFF2-40B4-BE49-F238E27FC236}">
                      <a16:creationId xmlns:a16="http://schemas.microsoft.com/office/drawing/2014/main" id="{A46D5C13-9B81-72B8-57F4-9CFBDA131D4E}"/>
                    </a:ext>
                  </a:extLst>
                </p:cNvPr>
                <p:cNvGrpSpPr/>
                <p:nvPr/>
              </p:nvGrpSpPr>
              <p:grpSpPr>
                <a:xfrm>
                  <a:off x="2901155" y="2174271"/>
                  <a:ext cx="790003" cy="520064"/>
                  <a:chOff x="2901155" y="2174271"/>
                  <a:chExt cx="790003" cy="520064"/>
                </a:xfrm>
                <a:solidFill>
                  <a:srgbClr val="FFFFFF"/>
                </a:solidFill>
              </p:grpSpPr>
              <p:sp>
                <p:nvSpPr>
                  <p:cNvPr id="239" name="Freihandform: Form 238">
                    <a:extLst>
                      <a:ext uri="{FF2B5EF4-FFF2-40B4-BE49-F238E27FC236}">
                        <a16:creationId xmlns:a16="http://schemas.microsoft.com/office/drawing/2014/main" id="{DFE1D280-C0F4-5030-B63F-067B3808495D}"/>
                      </a:ext>
                    </a:extLst>
                  </p:cNvPr>
                  <p:cNvSpPr/>
                  <p:nvPr/>
                </p:nvSpPr>
                <p:spPr>
                  <a:xfrm>
                    <a:off x="3013169" y="2174271"/>
                    <a:ext cx="677989" cy="511587"/>
                  </a:xfrm>
                  <a:custGeom>
                    <a:avLst/>
                    <a:gdLst>
                      <a:gd name="connsiteX0" fmla="*/ 677990 w 677989"/>
                      <a:gd name="connsiteY0" fmla="*/ 313277 h 511587"/>
                      <a:gd name="connsiteX1" fmla="*/ 561975 w 677989"/>
                      <a:gd name="connsiteY1" fmla="*/ 0 h 511587"/>
                      <a:gd name="connsiteX2" fmla="*/ 0 w 677989"/>
                      <a:gd name="connsiteY2" fmla="*/ 185547 h 511587"/>
                      <a:gd name="connsiteX3" fmla="*/ 114490 w 677989"/>
                      <a:gd name="connsiteY3" fmla="*/ 511588 h 511587"/>
                      <a:gd name="connsiteX4" fmla="*/ 677990 w 677989"/>
                      <a:gd name="connsiteY4" fmla="*/ 313277 h 5115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77989" h="511587">
                        <a:moveTo>
                          <a:pt x="677990" y="313277"/>
                        </a:moveTo>
                        <a:lnTo>
                          <a:pt x="561975" y="0"/>
                        </a:lnTo>
                        <a:lnTo>
                          <a:pt x="0" y="185547"/>
                        </a:lnTo>
                        <a:lnTo>
                          <a:pt x="114490" y="511588"/>
                        </a:lnTo>
                        <a:lnTo>
                          <a:pt x="677990" y="31327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0" name="Freihandform: Form 239">
                    <a:extLst>
                      <a:ext uri="{FF2B5EF4-FFF2-40B4-BE49-F238E27FC236}">
                        <a16:creationId xmlns:a16="http://schemas.microsoft.com/office/drawing/2014/main" id="{68C44A23-5165-881F-2192-6B3EB5EA1F0E}"/>
                      </a:ext>
                    </a:extLst>
                  </p:cNvPr>
                  <p:cNvSpPr/>
                  <p:nvPr/>
                </p:nvSpPr>
                <p:spPr>
                  <a:xfrm>
                    <a:off x="2901155" y="2348769"/>
                    <a:ext cx="345567" cy="345567"/>
                  </a:xfrm>
                  <a:custGeom>
                    <a:avLst/>
                    <a:gdLst>
                      <a:gd name="connsiteX0" fmla="*/ 345567 w 345567"/>
                      <a:gd name="connsiteY0" fmla="*/ 172783 h 345567"/>
                      <a:gd name="connsiteX1" fmla="*/ 172784 w 345567"/>
                      <a:gd name="connsiteY1" fmla="*/ 345567 h 345567"/>
                      <a:gd name="connsiteX2" fmla="*/ 0 w 345567"/>
                      <a:gd name="connsiteY2" fmla="*/ 172783 h 345567"/>
                      <a:gd name="connsiteX3" fmla="*/ 172784 w 345567"/>
                      <a:gd name="connsiteY3" fmla="*/ 0 h 345567"/>
                      <a:gd name="connsiteX4" fmla="*/ 345567 w 345567"/>
                      <a:gd name="connsiteY4" fmla="*/ 172783 h 3455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45567" h="345567">
                        <a:moveTo>
                          <a:pt x="345567" y="172783"/>
                        </a:moveTo>
                        <a:cubicBezTo>
                          <a:pt x="345567" y="268209"/>
                          <a:pt x="268209" y="345567"/>
                          <a:pt x="172784" y="345567"/>
                        </a:cubicBezTo>
                        <a:cubicBezTo>
                          <a:pt x="77358" y="345567"/>
                          <a:pt x="0" y="268209"/>
                          <a:pt x="0" y="172783"/>
                        </a:cubicBezTo>
                        <a:cubicBezTo>
                          <a:pt x="0" y="77358"/>
                          <a:pt x="77358" y="0"/>
                          <a:pt x="172784" y="0"/>
                        </a:cubicBezTo>
                        <a:cubicBezTo>
                          <a:pt x="268209" y="0"/>
                          <a:pt x="345567" y="77358"/>
                          <a:pt x="345567" y="17278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41" name="Grafik 23">
                  <a:extLst>
                    <a:ext uri="{FF2B5EF4-FFF2-40B4-BE49-F238E27FC236}">
                      <a16:creationId xmlns:a16="http://schemas.microsoft.com/office/drawing/2014/main" id="{B0747197-364A-2118-3A16-3E0DD8A8471B}"/>
                    </a:ext>
                  </a:extLst>
                </p:cNvPr>
                <p:cNvGrpSpPr/>
                <p:nvPr/>
              </p:nvGrpSpPr>
              <p:grpSpPr>
                <a:xfrm>
                  <a:off x="2358897" y="1530286"/>
                  <a:ext cx="861536" cy="1080516"/>
                  <a:chOff x="2358897" y="1530286"/>
                  <a:chExt cx="861536" cy="1080516"/>
                </a:xfrm>
                <a:solidFill>
                  <a:srgbClr val="FFFFFF"/>
                </a:solidFill>
              </p:grpSpPr>
              <p:sp>
                <p:nvSpPr>
                  <p:cNvPr id="242" name="Freihandform: Form 241">
                    <a:extLst>
                      <a:ext uri="{FF2B5EF4-FFF2-40B4-BE49-F238E27FC236}">
                        <a16:creationId xmlns:a16="http://schemas.microsoft.com/office/drawing/2014/main" id="{B6C3A6DC-A001-61CC-03BB-62B9141B3FC0}"/>
                      </a:ext>
                    </a:extLst>
                  </p:cNvPr>
                  <p:cNvSpPr/>
                  <p:nvPr/>
                </p:nvSpPr>
                <p:spPr>
                  <a:xfrm>
                    <a:off x="2358897" y="1530286"/>
                    <a:ext cx="396621" cy="396621"/>
                  </a:xfrm>
                  <a:custGeom>
                    <a:avLst/>
                    <a:gdLst>
                      <a:gd name="connsiteX0" fmla="*/ 396621 w 396621"/>
                      <a:gd name="connsiteY0" fmla="*/ 198311 h 396621"/>
                      <a:gd name="connsiteX1" fmla="*/ 198311 w 396621"/>
                      <a:gd name="connsiteY1" fmla="*/ 396621 h 396621"/>
                      <a:gd name="connsiteX2" fmla="*/ 0 w 396621"/>
                      <a:gd name="connsiteY2" fmla="*/ 198311 h 396621"/>
                      <a:gd name="connsiteX3" fmla="*/ 198311 w 396621"/>
                      <a:gd name="connsiteY3" fmla="*/ 0 h 396621"/>
                      <a:gd name="connsiteX4" fmla="*/ 396621 w 396621"/>
                      <a:gd name="connsiteY4" fmla="*/ 198311 h 3966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6621" h="396621">
                        <a:moveTo>
                          <a:pt x="396621" y="198311"/>
                        </a:moveTo>
                        <a:cubicBezTo>
                          <a:pt x="396621" y="307834"/>
                          <a:pt x="307834" y="396621"/>
                          <a:pt x="198311" y="396621"/>
                        </a:cubicBezTo>
                        <a:cubicBezTo>
                          <a:pt x="88787" y="396621"/>
                          <a:pt x="0" y="307834"/>
                          <a:pt x="0" y="198311"/>
                        </a:cubicBezTo>
                        <a:cubicBezTo>
                          <a:pt x="0" y="88787"/>
                          <a:pt x="88787" y="0"/>
                          <a:pt x="198311" y="0"/>
                        </a:cubicBezTo>
                        <a:cubicBezTo>
                          <a:pt x="307834" y="0"/>
                          <a:pt x="396621" y="88787"/>
                          <a:pt x="396621" y="19831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3" name="Freihandform: Form 242">
                    <a:extLst>
                      <a:ext uri="{FF2B5EF4-FFF2-40B4-BE49-F238E27FC236}">
                        <a16:creationId xmlns:a16="http://schemas.microsoft.com/office/drawing/2014/main" id="{AF79A5D9-1ED5-7465-86BF-B3C64C549031}"/>
                      </a:ext>
                    </a:extLst>
                  </p:cNvPr>
                  <p:cNvSpPr/>
                  <p:nvPr/>
                </p:nvSpPr>
                <p:spPr>
                  <a:xfrm>
                    <a:off x="2388139" y="1624869"/>
                    <a:ext cx="832294" cy="985932"/>
                  </a:xfrm>
                  <a:custGeom>
                    <a:avLst/>
                    <a:gdLst>
                      <a:gd name="connsiteX0" fmla="*/ 537591 w 832294"/>
                      <a:gd name="connsiteY0" fmla="*/ 985933 h 985932"/>
                      <a:gd name="connsiteX1" fmla="*/ 832295 w 832294"/>
                      <a:gd name="connsiteY1" fmla="*/ 805053 h 985932"/>
                      <a:gd name="connsiteX2" fmla="*/ 512064 w 832294"/>
                      <a:gd name="connsiteY2" fmla="*/ 283464 h 985932"/>
                      <a:gd name="connsiteX3" fmla="*/ 338042 w 832294"/>
                      <a:gd name="connsiteY3" fmla="*/ 0 h 985932"/>
                      <a:gd name="connsiteX4" fmla="*/ 0 w 832294"/>
                      <a:gd name="connsiteY4" fmla="*/ 207455 h 985932"/>
                      <a:gd name="connsiteX5" fmla="*/ 199835 w 832294"/>
                      <a:gd name="connsiteY5" fmla="*/ 496824 h 985932"/>
                      <a:gd name="connsiteX6" fmla="*/ 537591 w 832294"/>
                      <a:gd name="connsiteY6" fmla="*/ 985933 h 9859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32294" h="985932">
                        <a:moveTo>
                          <a:pt x="537591" y="985933"/>
                        </a:moveTo>
                        <a:lnTo>
                          <a:pt x="832295" y="805053"/>
                        </a:lnTo>
                        <a:lnTo>
                          <a:pt x="512064" y="283464"/>
                        </a:lnTo>
                        <a:lnTo>
                          <a:pt x="338042" y="0"/>
                        </a:lnTo>
                        <a:lnTo>
                          <a:pt x="0" y="207455"/>
                        </a:lnTo>
                        <a:lnTo>
                          <a:pt x="199835" y="496824"/>
                        </a:lnTo>
                        <a:lnTo>
                          <a:pt x="537591" y="98593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44" name="Grafik 23">
                  <a:extLst>
                    <a:ext uri="{FF2B5EF4-FFF2-40B4-BE49-F238E27FC236}">
                      <a16:creationId xmlns:a16="http://schemas.microsoft.com/office/drawing/2014/main" id="{94B37510-EED9-D111-9641-A71DBF118FB1}"/>
                    </a:ext>
                  </a:extLst>
                </p:cNvPr>
                <p:cNvGrpSpPr/>
                <p:nvPr/>
              </p:nvGrpSpPr>
              <p:grpSpPr>
                <a:xfrm>
                  <a:off x="2248407" y="995518"/>
                  <a:ext cx="483174" cy="622983"/>
                  <a:chOff x="2248407" y="995518"/>
                  <a:chExt cx="483174" cy="622983"/>
                </a:xfrm>
              </p:grpSpPr>
              <p:sp>
                <p:nvSpPr>
                  <p:cNvPr id="245" name="Freihandform: Form 244">
                    <a:extLst>
                      <a:ext uri="{FF2B5EF4-FFF2-40B4-BE49-F238E27FC236}">
                        <a16:creationId xmlns:a16="http://schemas.microsoft.com/office/drawing/2014/main" id="{72BD1A5C-082B-9034-16F4-9DB16CD2CCC3}"/>
                      </a:ext>
                    </a:extLst>
                  </p:cNvPr>
                  <p:cNvSpPr/>
                  <p:nvPr/>
                </p:nvSpPr>
                <p:spPr>
                  <a:xfrm>
                    <a:off x="2248407" y="995518"/>
                    <a:ext cx="483174" cy="622432"/>
                  </a:xfrm>
                  <a:custGeom>
                    <a:avLst/>
                    <a:gdLst>
                      <a:gd name="connsiteX0" fmla="*/ 0 w 483174"/>
                      <a:gd name="connsiteY0" fmla="*/ 470760 h 622432"/>
                      <a:gd name="connsiteX1" fmla="*/ 342995 w 483174"/>
                      <a:gd name="connsiteY1" fmla="*/ 593061 h 622432"/>
                      <a:gd name="connsiteX2" fmla="*/ 472535 w 483174"/>
                      <a:gd name="connsiteY2" fmla="*/ 229873 h 622432"/>
                      <a:gd name="connsiteX3" fmla="*/ 129540 w 483174"/>
                      <a:gd name="connsiteY3" fmla="*/ 107572 h 622432"/>
                      <a:gd name="connsiteX4" fmla="*/ 0 w 483174"/>
                      <a:gd name="connsiteY4" fmla="*/ 470760 h 6224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83174" h="622432">
                        <a:moveTo>
                          <a:pt x="0" y="470760"/>
                        </a:moveTo>
                        <a:cubicBezTo>
                          <a:pt x="24574" y="590203"/>
                          <a:pt x="237268" y="667737"/>
                          <a:pt x="342995" y="593061"/>
                        </a:cubicBezTo>
                        <a:lnTo>
                          <a:pt x="472535" y="229873"/>
                        </a:lnTo>
                        <a:cubicBezTo>
                          <a:pt x="547021" y="7083"/>
                          <a:pt x="208788" y="-91596"/>
                          <a:pt x="129540" y="107572"/>
                        </a:cubicBezTo>
                        <a:lnTo>
                          <a:pt x="0" y="470760"/>
                        </a:ln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6" name="Freihandform: Form 245">
                    <a:extLst>
                      <a:ext uri="{FF2B5EF4-FFF2-40B4-BE49-F238E27FC236}">
                        <a16:creationId xmlns:a16="http://schemas.microsoft.com/office/drawing/2014/main" id="{81C7F2C6-AC76-4F9E-B40C-6C45D7A352F2}"/>
                      </a:ext>
                    </a:extLst>
                  </p:cNvPr>
                  <p:cNvSpPr/>
                  <p:nvPr/>
                </p:nvSpPr>
                <p:spPr>
                  <a:xfrm>
                    <a:off x="2248407" y="1181100"/>
                    <a:ext cx="351219" cy="437402"/>
                  </a:xfrm>
                  <a:custGeom>
                    <a:avLst/>
                    <a:gdLst>
                      <a:gd name="connsiteX0" fmla="*/ 101727 w 351219"/>
                      <a:gd name="connsiteY0" fmla="*/ 0 h 437402"/>
                      <a:gd name="connsiteX1" fmla="*/ 0 w 351219"/>
                      <a:gd name="connsiteY1" fmla="*/ 285274 h 437402"/>
                      <a:gd name="connsiteX2" fmla="*/ 342995 w 351219"/>
                      <a:gd name="connsiteY2" fmla="*/ 407575 h 437402"/>
                      <a:gd name="connsiteX3" fmla="*/ 293942 w 351219"/>
                      <a:gd name="connsiteY3" fmla="*/ 224409 h 437402"/>
                      <a:gd name="connsiteX4" fmla="*/ 101822 w 351219"/>
                      <a:gd name="connsiteY4" fmla="*/ 95 h 4374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1219" h="437402">
                        <a:moveTo>
                          <a:pt x="101727" y="0"/>
                        </a:moveTo>
                        <a:lnTo>
                          <a:pt x="0" y="285274"/>
                        </a:lnTo>
                        <a:cubicBezTo>
                          <a:pt x="27432" y="400621"/>
                          <a:pt x="236220" y="484823"/>
                          <a:pt x="342995" y="407575"/>
                        </a:cubicBezTo>
                        <a:cubicBezTo>
                          <a:pt x="342995" y="407575"/>
                          <a:pt x="380905" y="277368"/>
                          <a:pt x="293942" y="224409"/>
                        </a:cubicBezTo>
                        <a:cubicBezTo>
                          <a:pt x="101346" y="107156"/>
                          <a:pt x="101822" y="95"/>
                          <a:pt x="101822" y="95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47" name="Grafik 23">
                  <a:extLst>
                    <a:ext uri="{FF2B5EF4-FFF2-40B4-BE49-F238E27FC236}">
                      <a16:creationId xmlns:a16="http://schemas.microsoft.com/office/drawing/2014/main" id="{3969AFC6-BE9A-C05A-B0A6-87AD09491FDC}"/>
                    </a:ext>
                  </a:extLst>
                </p:cNvPr>
                <p:cNvGrpSpPr/>
                <p:nvPr/>
              </p:nvGrpSpPr>
              <p:grpSpPr>
                <a:xfrm>
                  <a:off x="2228899" y="609818"/>
                  <a:ext cx="706899" cy="824398"/>
                  <a:chOff x="2228899" y="609818"/>
                  <a:chExt cx="706899" cy="824398"/>
                </a:xfrm>
              </p:grpSpPr>
              <p:sp>
                <p:nvSpPr>
                  <p:cNvPr id="248" name="Freihandform: Form 247">
                    <a:extLst>
                      <a:ext uri="{FF2B5EF4-FFF2-40B4-BE49-F238E27FC236}">
                        <a16:creationId xmlns:a16="http://schemas.microsoft.com/office/drawing/2014/main" id="{8C9B17FD-E1D9-901D-2CE7-462218C7D69F}"/>
                      </a:ext>
                    </a:extLst>
                  </p:cNvPr>
                  <p:cNvSpPr/>
                  <p:nvPr/>
                </p:nvSpPr>
                <p:spPr>
                  <a:xfrm rot="-4474199">
                    <a:off x="2319554" y="647266"/>
                    <a:ext cx="525589" cy="588263"/>
                  </a:xfrm>
                  <a:custGeom>
                    <a:avLst/>
                    <a:gdLst>
                      <a:gd name="connsiteX0" fmla="*/ 525589 w 525589"/>
                      <a:gd name="connsiteY0" fmla="*/ 294132 h 588263"/>
                      <a:gd name="connsiteX1" fmla="*/ 262795 w 525589"/>
                      <a:gd name="connsiteY1" fmla="*/ 588264 h 588263"/>
                      <a:gd name="connsiteX2" fmla="*/ 0 w 525589"/>
                      <a:gd name="connsiteY2" fmla="*/ 294132 h 588263"/>
                      <a:gd name="connsiteX3" fmla="*/ 262795 w 525589"/>
                      <a:gd name="connsiteY3" fmla="*/ 0 h 588263"/>
                      <a:gd name="connsiteX4" fmla="*/ 525589 w 525589"/>
                      <a:gd name="connsiteY4" fmla="*/ 294132 h 5882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25589" h="588263">
                        <a:moveTo>
                          <a:pt x="525589" y="294132"/>
                        </a:moveTo>
                        <a:cubicBezTo>
                          <a:pt x="525589" y="456577"/>
                          <a:pt x="407932" y="588264"/>
                          <a:pt x="262795" y="588264"/>
                        </a:cubicBezTo>
                        <a:cubicBezTo>
                          <a:pt x="117657" y="588264"/>
                          <a:pt x="0" y="456577"/>
                          <a:pt x="0" y="294132"/>
                        </a:cubicBezTo>
                        <a:cubicBezTo>
                          <a:pt x="0" y="131687"/>
                          <a:pt x="117657" y="0"/>
                          <a:pt x="262795" y="0"/>
                        </a:cubicBezTo>
                        <a:cubicBezTo>
                          <a:pt x="407932" y="0"/>
                          <a:pt x="525589" y="131687"/>
                          <a:pt x="525589" y="294132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9" name="Freihandform: Form 248">
                    <a:extLst>
                      <a:ext uri="{FF2B5EF4-FFF2-40B4-BE49-F238E27FC236}">
                        <a16:creationId xmlns:a16="http://schemas.microsoft.com/office/drawing/2014/main" id="{F45F46B3-9C1D-66EC-3480-E98E3ED6B93E}"/>
                      </a:ext>
                    </a:extLst>
                  </p:cNvPr>
                  <p:cNvSpPr/>
                  <p:nvPr/>
                </p:nvSpPr>
                <p:spPr>
                  <a:xfrm>
                    <a:off x="2498816" y="902159"/>
                    <a:ext cx="410138" cy="507459"/>
                  </a:xfrm>
                  <a:custGeom>
                    <a:avLst/>
                    <a:gdLst>
                      <a:gd name="connsiteX0" fmla="*/ 393672 w 410138"/>
                      <a:gd name="connsiteY0" fmla="*/ 224553 h 507459"/>
                      <a:gd name="connsiteX1" fmla="*/ 365573 w 410138"/>
                      <a:gd name="connsiteY1" fmla="*/ 125684 h 507459"/>
                      <a:gd name="connsiteX2" fmla="*/ 31722 w 410138"/>
                      <a:gd name="connsiteY2" fmla="*/ 119778 h 507459"/>
                      <a:gd name="connsiteX3" fmla="*/ 4 w 410138"/>
                      <a:gd name="connsiteY3" fmla="*/ 312755 h 507459"/>
                      <a:gd name="connsiteX4" fmla="*/ 87538 w 410138"/>
                      <a:gd name="connsiteY4" fmla="*/ 470489 h 507459"/>
                      <a:gd name="connsiteX5" fmla="*/ 218317 w 410138"/>
                      <a:gd name="connsiteY5" fmla="*/ 507350 h 507459"/>
                      <a:gd name="connsiteX6" fmla="*/ 280039 w 410138"/>
                      <a:gd name="connsiteY6" fmla="*/ 460297 h 507459"/>
                      <a:gd name="connsiteX7" fmla="*/ 288516 w 410138"/>
                      <a:gd name="connsiteY7" fmla="*/ 430579 h 507459"/>
                      <a:gd name="connsiteX8" fmla="*/ 288516 w 410138"/>
                      <a:gd name="connsiteY8" fmla="*/ 430865 h 507459"/>
                      <a:gd name="connsiteX9" fmla="*/ 300994 w 410138"/>
                      <a:gd name="connsiteY9" fmla="*/ 411243 h 507459"/>
                      <a:gd name="connsiteX10" fmla="*/ 302041 w 410138"/>
                      <a:gd name="connsiteY10" fmla="*/ 378953 h 507459"/>
                      <a:gd name="connsiteX11" fmla="*/ 302041 w 410138"/>
                      <a:gd name="connsiteY11" fmla="*/ 378953 h 507459"/>
                      <a:gd name="connsiteX12" fmla="*/ 321091 w 410138"/>
                      <a:gd name="connsiteY12" fmla="*/ 359427 h 507459"/>
                      <a:gd name="connsiteX13" fmla="*/ 332807 w 410138"/>
                      <a:gd name="connsiteY13" fmla="*/ 315326 h 507459"/>
                      <a:gd name="connsiteX14" fmla="*/ 409579 w 410138"/>
                      <a:gd name="connsiteY14" fmla="*/ 285894 h 507459"/>
                      <a:gd name="connsiteX15" fmla="*/ 393672 w 410138"/>
                      <a:gd name="connsiteY15" fmla="*/ 224648 h 5074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410138" h="507459">
                        <a:moveTo>
                          <a:pt x="393672" y="224553"/>
                        </a:moveTo>
                        <a:cubicBezTo>
                          <a:pt x="383956" y="191787"/>
                          <a:pt x="364144" y="163593"/>
                          <a:pt x="365573" y="125684"/>
                        </a:cubicBezTo>
                        <a:cubicBezTo>
                          <a:pt x="390624" y="-427"/>
                          <a:pt x="83538" y="-76342"/>
                          <a:pt x="31722" y="119778"/>
                        </a:cubicBezTo>
                        <a:cubicBezTo>
                          <a:pt x="31722" y="119778"/>
                          <a:pt x="861" y="258843"/>
                          <a:pt x="4" y="312755"/>
                        </a:cubicBezTo>
                        <a:cubicBezTo>
                          <a:pt x="-377" y="337139"/>
                          <a:pt x="29531" y="447343"/>
                          <a:pt x="87538" y="470489"/>
                        </a:cubicBezTo>
                        <a:cubicBezTo>
                          <a:pt x="137068" y="490205"/>
                          <a:pt x="218317" y="507350"/>
                          <a:pt x="218317" y="507350"/>
                        </a:cubicBezTo>
                        <a:cubicBezTo>
                          <a:pt x="218317" y="507350"/>
                          <a:pt x="261560" y="512018"/>
                          <a:pt x="280039" y="460297"/>
                        </a:cubicBezTo>
                        <a:cubicBezTo>
                          <a:pt x="281467" y="456296"/>
                          <a:pt x="284515" y="445628"/>
                          <a:pt x="288516" y="430579"/>
                        </a:cubicBezTo>
                        <a:lnTo>
                          <a:pt x="288516" y="430865"/>
                        </a:lnTo>
                        <a:cubicBezTo>
                          <a:pt x="288516" y="430865"/>
                          <a:pt x="291469" y="422292"/>
                          <a:pt x="300994" y="411243"/>
                        </a:cubicBezTo>
                        <a:cubicBezTo>
                          <a:pt x="312519" y="397718"/>
                          <a:pt x="318901" y="384287"/>
                          <a:pt x="302041" y="378953"/>
                        </a:cubicBezTo>
                        <a:lnTo>
                          <a:pt x="302041" y="378953"/>
                        </a:lnTo>
                        <a:cubicBezTo>
                          <a:pt x="314805" y="378287"/>
                          <a:pt x="321663" y="365523"/>
                          <a:pt x="321091" y="359427"/>
                        </a:cubicBezTo>
                        <a:cubicBezTo>
                          <a:pt x="319663" y="341806"/>
                          <a:pt x="327949" y="315041"/>
                          <a:pt x="332807" y="315326"/>
                        </a:cubicBezTo>
                        <a:cubicBezTo>
                          <a:pt x="351762" y="316565"/>
                          <a:pt x="416818" y="324185"/>
                          <a:pt x="409579" y="285894"/>
                        </a:cubicBezTo>
                        <a:cubicBezTo>
                          <a:pt x="403864" y="255224"/>
                          <a:pt x="402244" y="253509"/>
                          <a:pt x="393672" y="224648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0" name="Freihandform: Form 249">
                    <a:extLst>
                      <a:ext uri="{FF2B5EF4-FFF2-40B4-BE49-F238E27FC236}">
                        <a16:creationId xmlns:a16="http://schemas.microsoft.com/office/drawing/2014/main" id="{D43B8204-91BE-A0A2-E8B8-1F56D9100B24}"/>
                      </a:ext>
                    </a:extLst>
                  </p:cNvPr>
                  <p:cNvSpPr/>
                  <p:nvPr/>
                </p:nvSpPr>
                <p:spPr>
                  <a:xfrm>
                    <a:off x="2692166" y="978624"/>
                    <a:ext cx="158167" cy="48133"/>
                  </a:xfrm>
                  <a:custGeom>
                    <a:avLst/>
                    <a:gdLst>
                      <a:gd name="connsiteX0" fmla="*/ 140218 w 158167"/>
                      <a:gd name="connsiteY0" fmla="*/ 48075 h 48133"/>
                      <a:gd name="connsiteX1" fmla="*/ 79639 w 158167"/>
                      <a:gd name="connsiteY1" fmla="*/ 28549 h 48133"/>
                      <a:gd name="connsiteX2" fmla="*/ 4963 w 158167"/>
                      <a:gd name="connsiteY2" fmla="*/ 25501 h 48133"/>
                      <a:gd name="connsiteX3" fmla="*/ 1439 w 158167"/>
                      <a:gd name="connsiteY3" fmla="*/ 17405 h 48133"/>
                      <a:gd name="connsiteX4" fmla="*/ 71353 w 158167"/>
                      <a:gd name="connsiteY4" fmla="*/ 260 h 48133"/>
                      <a:gd name="connsiteX5" fmla="*/ 154792 w 158167"/>
                      <a:gd name="connsiteY5" fmla="*/ 19691 h 48133"/>
                      <a:gd name="connsiteX6" fmla="*/ 140218 w 158167"/>
                      <a:gd name="connsiteY6" fmla="*/ 48075 h 481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58167" h="48133">
                        <a:moveTo>
                          <a:pt x="140218" y="48075"/>
                        </a:moveTo>
                        <a:cubicBezTo>
                          <a:pt x="130693" y="46647"/>
                          <a:pt x="91831" y="30359"/>
                          <a:pt x="79639" y="28549"/>
                        </a:cubicBezTo>
                        <a:cubicBezTo>
                          <a:pt x="48207" y="23882"/>
                          <a:pt x="20013" y="25215"/>
                          <a:pt x="4963" y="25501"/>
                        </a:cubicBezTo>
                        <a:cubicBezTo>
                          <a:pt x="677" y="25501"/>
                          <a:pt x="-1704" y="20262"/>
                          <a:pt x="1439" y="17405"/>
                        </a:cubicBezTo>
                        <a:cubicBezTo>
                          <a:pt x="19251" y="1212"/>
                          <a:pt x="50398" y="-883"/>
                          <a:pt x="71353" y="260"/>
                        </a:cubicBezTo>
                        <a:cubicBezTo>
                          <a:pt x="104023" y="2070"/>
                          <a:pt x="144600" y="15309"/>
                          <a:pt x="154792" y="19691"/>
                        </a:cubicBezTo>
                        <a:cubicBezTo>
                          <a:pt x="164983" y="24072"/>
                          <a:pt x="149743" y="49504"/>
                          <a:pt x="140218" y="48075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1" name="Freihandform: Form 250">
                    <a:extLst>
                      <a:ext uri="{FF2B5EF4-FFF2-40B4-BE49-F238E27FC236}">
                        <a16:creationId xmlns:a16="http://schemas.microsoft.com/office/drawing/2014/main" id="{11D061AD-AB2B-BDE0-BE9C-2FD3C6694251}"/>
                      </a:ext>
                    </a:extLst>
                  </p:cNvPr>
                  <p:cNvSpPr/>
                  <p:nvPr/>
                </p:nvSpPr>
                <p:spPr>
                  <a:xfrm rot="-4837802">
                    <a:off x="2748201" y="1039521"/>
                    <a:ext cx="50673" cy="26860"/>
                  </a:xfrm>
                  <a:custGeom>
                    <a:avLst/>
                    <a:gdLst>
                      <a:gd name="connsiteX0" fmla="*/ 50673 w 50673"/>
                      <a:gd name="connsiteY0" fmla="*/ 13430 h 26860"/>
                      <a:gd name="connsiteX1" fmla="*/ 25336 w 50673"/>
                      <a:gd name="connsiteY1" fmla="*/ 26861 h 26860"/>
                      <a:gd name="connsiteX2" fmla="*/ 0 w 50673"/>
                      <a:gd name="connsiteY2" fmla="*/ 13430 h 26860"/>
                      <a:gd name="connsiteX3" fmla="*/ 25336 w 50673"/>
                      <a:gd name="connsiteY3" fmla="*/ 0 h 26860"/>
                      <a:gd name="connsiteX4" fmla="*/ 50673 w 50673"/>
                      <a:gd name="connsiteY4" fmla="*/ 13430 h 268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673" h="26860">
                        <a:moveTo>
                          <a:pt x="50673" y="13430"/>
                        </a:moveTo>
                        <a:cubicBezTo>
                          <a:pt x="50673" y="20848"/>
                          <a:pt x="39329" y="26861"/>
                          <a:pt x="25336" y="26861"/>
                        </a:cubicBezTo>
                        <a:cubicBezTo>
                          <a:pt x="11344" y="26861"/>
                          <a:pt x="0" y="20848"/>
                          <a:pt x="0" y="13430"/>
                        </a:cubicBezTo>
                        <a:cubicBezTo>
                          <a:pt x="0" y="6013"/>
                          <a:pt x="11344" y="0"/>
                          <a:pt x="25336" y="0"/>
                        </a:cubicBezTo>
                        <a:cubicBezTo>
                          <a:pt x="39329" y="0"/>
                          <a:pt x="50673" y="6013"/>
                          <a:pt x="50673" y="1343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2" name="Freihandform: Form 251">
                    <a:extLst>
                      <a:ext uri="{FF2B5EF4-FFF2-40B4-BE49-F238E27FC236}">
                        <a16:creationId xmlns:a16="http://schemas.microsoft.com/office/drawing/2014/main" id="{2516B40A-1AE5-CC94-2462-EA200534054E}"/>
                      </a:ext>
                    </a:extLst>
                  </p:cNvPr>
                  <p:cNvSpPr/>
                  <p:nvPr/>
                </p:nvSpPr>
                <p:spPr>
                  <a:xfrm>
                    <a:off x="2715592" y="1019859"/>
                    <a:ext cx="94079" cy="27890"/>
                  </a:xfrm>
                  <a:custGeom>
                    <a:avLst/>
                    <a:gdLst>
                      <a:gd name="connsiteX0" fmla="*/ 93552 w 94079"/>
                      <a:gd name="connsiteY0" fmla="*/ 27890 h 27890"/>
                      <a:gd name="connsiteX1" fmla="*/ 44022 w 94079"/>
                      <a:gd name="connsiteY1" fmla="*/ 14555 h 27890"/>
                      <a:gd name="connsiteX2" fmla="*/ 1636 w 94079"/>
                      <a:gd name="connsiteY2" fmla="*/ 13984 h 27890"/>
                      <a:gd name="connsiteX3" fmla="*/ 63072 w 94079"/>
                      <a:gd name="connsiteY3" fmla="*/ 1316 h 27890"/>
                      <a:gd name="connsiteX4" fmla="*/ 93552 w 94079"/>
                      <a:gd name="connsiteY4" fmla="*/ 27890 h 278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4079" h="27890">
                        <a:moveTo>
                          <a:pt x="93552" y="27890"/>
                        </a:moveTo>
                        <a:cubicBezTo>
                          <a:pt x="93552" y="27890"/>
                          <a:pt x="73550" y="11222"/>
                          <a:pt x="44022" y="14555"/>
                        </a:cubicBezTo>
                        <a:cubicBezTo>
                          <a:pt x="14399" y="17889"/>
                          <a:pt x="-6079" y="20651"/>
                          <a:pt x="1636" y="13984"/>
                        </a:cubicBezTo>
                        <a:cubicBezTo>
                          <a:pt x="9351" y="7316"/>
                          <a:pt x="31735" y="-3828"/>
                          <a:pt x="63072" y="1316"/>
                        </a:cubicBezTo>
                        <a:cubicBezTo>
                          <a:pt x="72788" y="2935"/>
                          <a:pt x="98029" y="9698"/>
                          <a:pt x="93552" y="2789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3" name="Freihandform: Form 252">
                    <a:extLst>
                      <a:ext uri="{FF2B5EF4-FFF2-40B4-BE49-F238E27FC236}">
                        <a16:creationId xmlns:a16="http://schemas.microsoft.com/office/drawing/2014/main" id="{26CCC20C-EBD4-6530-C86F-B4EB502DF340}"/>
                      </a:ext>
                    </a:extLst>
                  </p:cNvPr>
                  <p:cNvSpPr/>
                  <p:nvPr/>
                </p:nvSpPr>
                <p:spPr>
                  <a:xfrm>
                    <a:off x="2260681" y="819150"/>
                    <a:ext cx="573773" cy="615066"/>
                  </a:xfrm>
                  <a:custGeom>
                    <a:avLst/>
                    <a:gdLst>
                      <a:gd name="connsiteX0" fmla="*/ 571037 w 573773"/>
                      <a:gd name="connsiteY0" fmla="*/ 411480 h 615066"/>
                      <a:gd name="connsiteX1" fmla="*/ 488931 w 573773"/>
                      <a:gd name="connsiteY1" fmla="*/ 422814 h 615066"/>
                      <a:gd name="connsiteX2" fmla="*/ 407302 w 573773"/>
                      <a:gd name="connsiteY2" fmla="*/ 347853 h 615066"/>
                      <a:gd name="connsiteX3" fmla="*/ 286811 w 573773"/>
                      <a:gd name="connsiteY3" fmla="*/ 136398 h 615066"/>
                      <a:gd name="connsiteX4" fmla="*/ 54306 w 573773"/>
                      <a:gd name="connsiteY4" fmla="*/ 1809 h 615066"/>
                      <a:gd name="connsiteX5" fmla="*/ 10586 w 573773"/>
                      <a:gd name="connsiteY5" fmla="*/ 164687 h 615066"/>
                      <a:gd name="connsiteX6" fmla="*/ 89548 w 573773"/>
                      <a:gd name="connsiteY6" fmla="*/ 361950 h 615066"/>
                      <a:gd name="connsiteX7" fmla="*/ 172987 w 573773"/>
                      <a:gd name="connsiteY7" fmla="*/ 246888 h 615066"/>
                      <a:gd name="connsiteX8" fmla="*/ 287001 w 573773"/>
                      <a:gd name="connsiteY8" fmla="*/ 294417 h 615066"/>
                      <a:gd name="connsiteX9" fmla="*/ 325768 w 573773"/>
                      <a:gd name="connsiteY9" fmla="*/ 553402 h 615066"/>
                      <a:gd name="connsiteX10" fmla="*/ 417399 w 573773"/>
                      <a:gd name="connsiteY10" fmla="*/ 602075 h 615066"/>
                      <a:gd name="connsiteX11" fmla="*/ 524460 w 573773"/>
                      <a:gd name="connsiteY11" fmla="*/ 577119 h 615066"/>
                      <a:gd name="connsiteX12" fmla="*/ 526650 w 573773"/>
                      <a:gd name="connsiteY12" fmla="*/ 513588 h 615066"/>
                      <a:gd name="connsiteX13" fmla="*/ 526650 w 573773"/>
                      <a:gd name="connsiteY13" fmla="*/ 513873 h 615066"/>
                      <a:gd name="connsiteX14" fmla="*/ 539128 w 573773"/>
                      <a:gd name="connsiteY14" fmla="*/ 494252 h 615066"/>
                      <a:gd name="connsiteX15" fmla="*/ 540176 w 573773"/>
                      <a:gd name="connsiteY15" fmla="*/ 461962 h 615066"/>
                      <a:gd name="connsiteX16" fmla="*/ 571132 w 573773"/>
                      <a:gd name="connsiteY16" fmla="*/ 411480 h 6150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573773" h="615066">
                        <a:moveTo>
                          <a:pt x="571037" y="411480"/>
                        </a:moveTo>
                        <a:cubicBezTo>
                          <a:pt x="570275" y="402717"/>
                          <a:pt x="553130" y="387000"/>
                          <a:pt x="488931" y="422814"/>
                        </a:cubicBezTo>
                        <a:cubicBezTo>
                          <a:pt x="471120" y="432720"/>
                          <a:pt x="451593" y="369951"/>
                          <a:pt x="407302" y="347853"/>
                        </a:cubicBezTo>
                        <a:cubicBezTo>
                          <a:pt x="286620" y="287750"/>
                          <a:pt x="395205" y="216979"/>
                          <a:pt x="286811" y="136398"/>
                        </a:cubicBezTo>
                        <a:cubicBezTo>
                          <a:pt x="218040" y="85344"/>
                          <a:pt x="135078" y="110109"/>
                          <a:pt x="54306" y="1809"/>
                        </a:cubicBezTo>
                        <a:cubicBezTo>
                          <a:pt x="40875" y="-16098"/>
                          <a:pt x="-25419" y="103346"/>
                          <a:pt x="10586" y="164687"/>
                        </a:cubicBezTo>
                        <a:cubicBezTo>
                          <a:pt x="96501" y="311086"/>
                          <a:pt x="89548" y="361950"/>
                          <a:pt x="89548" y="361950"/>
                        </a:cubicBezTo>
                        <a:cubicBezTo>
                          <a:pt x="89548" y="361950"/>
                          <a:pt x="190608" y="336899"/>
                          <a:pt x="172987" y="246888"/>
                        </a:cubicBezTo>
                        <a:cubicBezTo>
                          <a:pt x="170987" y="170592"/>
                          <a:pt x="296622" y="190023"/>
                          <a:pt x="287001" y="294417"/>
                        </a:cubicBezTo>
                        <a:cubicBezTo>
                          <a:pt x="287001" y="318801"/>
                          <a:pt x="174702" y="503967"/>
                          <a:pt x="325768" y="553402"/>
                        </a:cubicBezTo>
                        <a:cubicBezTo>
                          <a:pt x="349485" y="561117"/>
                          <a:pt x="385585" y="581977"/>
                          <a:pt x="417399" y="602075"/>
                        </a:cubicBezTo>
                        <a:cubicBezTo>
                          <a:pt x="456832" y="626840"/>
                          <a:pt x="511220" y="614934"/>
                          <a:pt x="524460" y="577119"/>
                        </a:cubicBezTo>
                        <a:cubicBezTo>
                          <a:pt x="537699" y="539305"/>
                          <a:pt x="522650" y="528637"/>
                          <a:pt x="526650" y="513588"/>
                        </a:cubicBezTo>
                        <a:lnTo>
                          <a:pt x="526650" y="513873"/>
                        </a:lnTo>
                        <a:cubicBezTo>
                          <a:pt x="526650" y="513873"/>
                          <a:pt x="529603" y="505301"/>
                          <a:pt x="539128" y="494252"/>
                        </a:cubicBezTo>
                        <a:cubicBezTo>
                          <a:pt x="550653" y="480726"/>
                          <a:pt x="557035" y="467296"/>
                          <a:pt x="540176" y="461962"/>
                        </a:cubicBezTo>
                        <a:cubicBezTo>
                          <a:pt x="586467" y="461962"/>
                          <a:pt x="571608" y="417671"/>
                          <a:pt x="571132" y="41148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4" name="Freihandform: Form 253">
                    <a:extLst>
                      <a:ext uri="{FF2B5EF4-FFF2-40B4-BE49-F238E27FC236}">
                        <a16:creationId xmlns:a16="http://schemas.microsoft.com/office/drawing/2014/main" id="{F1A27229-4673-2357-12FB-11C9BBF622D6}"/>
                      </a:ext>
                    </a:extLst>
                  </p:cNvPr>
                  <p:cNvSpPr/>
                  <p:nvPr/>
                </p:nvSpPr>
                <p:spPr>
                  <a:xfrm rot="-571800">
                    <a:off x="2433554" y="969703"/>
                    <a:ext cx="118871" cy="184403"/>
                  </a:xfrm>
                  <a:custGeom>
                    <a:avLst/>
                    <a:gdLst>
                      <a:gd name="connsiteX0" fmla="*/ 118872 w 118871"/>
                      <a:gd name="connsiteY0" fmla="*/ 92202 h 184403"/>
                      <a:gd name="connsiteX1" fmla="*/ 59436 w 118871"/>
                      <a:gd name="connsiteY1" fmla="*/ 184404 h 184403"/>
                      <a:gd name="connsiteX2" fmla="*/ 0 w 118871"/>
                      <a:gd name="connsiteY2" fmla="*/ 92202 h 184403"/>
                      <a:gd name="connsiteX3" fmla="*/ 59436 w 118871"/>
                      <a:gd name="connsiteY3" fmla="*/ 0 h 184403"/>
                      <a:gd name="connsiteX4" fmla="*/ 118872 w 118871"/>
                      <a:gd name="connsiteY4" fmla="*/ 92202 h 1844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8871" h="184403">
                        <a:moveTo>
                          <a:pt x="118872" y="92202"/>
                        </a:moveTo>
                        <a:cubicBezTo>
                          <a:pt x="118872" y="143124"/>
                          <a:pt x="92262" y="184404"/>
                          <a:pt x="59436" y="184404"/>
                        </a:cubicBezTo>
                        <a:cubicBezTo>
                          <a:pt x="26610" y="184404"/>
                          <a:pt x="0" y="143124"/>
                          <a:pt x="0" y="92202"/>
                        </a:cubicBezTo>
                        <a:cubicBezTo>
                          <a:pt x="0" y="41280"/>
                          <a:pt x="26610" y="0"/>
                          <a:pt x="59436" y="0"/>
                        </a:cubicBezTo>
                        <a:cubicBezTo>
                          <a:pt x="92262" y="0"/>
                          <a:pt x="118872" y="41280"/>
                          <a:pt x="118872" y="92202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55" name="Grafik 23">
                  <a:extLst>
                    <a:ext uri="{FF2B5EF4-FFF2-40B4-BE49-F238E27FC236}">
                      <a16:creationId xmlns:a16="http://schemas.microsoft.com/office/drawing/2014/main" id="{F7FE7705-1064-EA28-F7F1-66782B31F3AF}"/>
                    </a:ext>
                  </a:extLst>
                </p:cNvPr>
                <p:cNvGrpSpPr/>
                <p:nvPr/>
              </p:nvGrpSpPr>
              <p:grpSpPr>
                <a:xfrm>
                  <a:off x="1967227" y="1280636"/>
                  <a:ext cx="1281425" cy="4889010"/>
                  <a:chOff x="1967227" y="1280636"/>
                  <a:chExt cx="1281425" cy="4889010"/>
                </a:xfrm>
              </p:grpSpPr>
              <p:grpSp>
                <p:nvGrpSpPr>
                  <p:cNvPr id="256" name="Grafik 23">
                    <a:extLst>
                      <a:ext uri="{FF2B5EF4-FFF2-40B4-BE49-F238E27FC236}">
                        <a16:creationId xmlns:a16="http://schemas.microsoft.com/office/drawing/2014/main" id="{6C63F765-CF1A-1318-1F3F-35056B27A344}"/>
                      </a:ext>
                    </a:extLst>
                  </p:cNvPr>
                  <p:cNvGrpSpPr/>
                  <p:nvPr/>
                </p:nvGrpSpPr>
                <p:grpSpPr>
                  <a:xfrm>
                    <a:off x="2381090" y="5797515"/>
                    <a:ext cx="867562" cy="295551"/>
                    <a:chOff x="2381090" y="5797515"/>
                    <a:chExt cx="867562" cy="295551"/>
                  </a:xfrm>
                </p:grpSpPr>
                <p:sp>
                  <p:nvSpPr>
                    <p:cNvPr id="257" name="Freihandform: Form 256">
                      <a:extLst>
                        <a:ext uri="{FF2B5EF4-FFF2-40B4-BE49-F238E27FC236}">
                          <a16:creationId xmlns:a16="http://schemas.microsoft.com/office/drawing/2014/main" id="{27A1098B-A7B3-FFE8-9E4B-274EE3DD1C5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81199" y="5797515"/>
                      <a:ext cx="865764" cy="289407"/>
                    </a:xfrm>
                    <a:custGeom>
                      <a:avLst/>
                      <a:gdLst>
                        <a:gd name="connsiteX0" fmla="*/ 60851 w 865764"/>
                        <a:gd name="connsiteY0" fmla="*/ 28546 h 289407"/>
                        <a:gd name="connsiteX1" fmla="*/ 82 w 865764"/>
                        <a:gd name="connsiteY1" fmla="*/ 170088 h 289407"/>
                        <a:gd name="connsiteX2" fmla="*/ 5702 w 865764"/>
                        <a:gd name="connsiteY2" fmla="*/ 253908 h 289407"/>
                        <a:gd name="connsiteX3" fmla="*/ 30371 w 865764"/>
                        <a:gd name="connsiteY3" fmla="*/ 276863 h 289407"/>
                        <a:gd name="connsiteX4" fmla="*/ 811136 w 865764"/>
                        <a:gd name="connsiteY4" fmla="*/ 249717 h 289407"/>
                        <a:gd name="connsiteX5" fmla="*/ 823899 w 865764"/>
                        <a:gd name="connsiteY5" fmla="*/ 132750 h 289407"/>
                        <a:gd name="connsiteX6" fmla="*/ 534625 w 865764"/>
                        <a:gd name="connsiteY6" fmla="*/ 83696 h 289407"/>
                        <a:gd name="connsiteX7" fmla="*/ 329837 w 865764"/>
                        <a:gd name="connsiteY7" fmla="*/ 829 h 289407"/>
                        <a:gd name="connsiteX8" fmla="*/ 273068 w 865764"/>
                        <a:gd name="connsiteY8" fmla="*/ 56931 h 289407"/>
                        <a:gd name="connsiteX9" fmla="*/ 140195 w 865764"/>
                        <a:gd name="connsiteY9" fmla="*/ 56931 h 289407"/>
                        <a:gd name="connsiteX10" fmla="*/ 60756 w 865764"/>
                        <a:gd name="connsiteY10" fmla="*/ 28546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60851" y="28546"/>
                          </a:moveTo>
                          <a:cubicBezTo>
                            <a:pt x="60851" y="28546"/>
                            <a:pt x="-2585" y="92078"/>
                            <a:pt x="82" y="170088"/>
                          </a:cubicBezTo>
                          <a:cubicBezTo>
                            <a:pt x="1511" y="210474"/>
                            <a:pt x="3797" y="237335"/>
                            <a:pt x="5702" y="253908"/>
                          </a:cubicBezTo>
                          <a:cubicBezTo>
                            <a:pt x="7130" y="266576"/>
                            <a:pt x="17608" y="276292"/>
                            <a:pt x="30371" y="276863"/>
                          </a:cubicBezTo>
                          <a:cubicBezTo>
                            <a:pt x="138956" y="281626"/>
                            <a:pt x="690740" y="314487"/>
                            <a:pt x="811136" y="249717"/>
                          </a:cubicBezTo>
                          <a:cubicBezTo>
                            <a:pt x="926102" y="187900"/>
                            <a:pt x="823899" y="132750"/>
                            <a:pt x="823899" y="132750"/>
                          </a:cubicBezTo>
                          <a:cubicBezTo>
                            <a:pt x="823899" y="132750"/>
                            <a:pt x="648925" y="152753"/>
                            <a:pt x="534625" y="83696"/>
                          </a:cubicBezTo>
                          <a:cubicBezTo>
                            <a:pt x="432898" y="22260"/>
                            <a:pt x="348030" y="-5267"/>
                            <a:pt x="329837" y="829"/>
                          </a:cubicBezTo>
                          <a:cubicBezTo>
                            <a:pt x="311645" y="6925"/>
                            <a:pt x="305263" y="35500"/>
                            <a:pt x="273068" y="56931"/>
                          </a:cubicBezTo>
                          <a:cubicBezTo>
                            <a:pt x="240779" y="78458"/>
                            <a:pt x="202012" y="78458"/>
                            <a:pt x="140195" y="56931"/>
                          </a:cubicBezTo>
                          <a:cubicBezTo>
                            <a:pt x="78377" y="35405"/>
                            <a:pt x="79616" y="20450"/>
                            <a:pt x="60756" y="28546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58" name="Freihandform: Form 257">
                      <a:extLst>
                        <a:ext uri="{FF2B5EF4-FFF2-40B4-BE49-F238E27FC236}">
                          <a16:creationId xmlns:a16="http://schemas.microsoft.com/office/drawing/2014/main" id="{F4E565F6-3A99-1D3C-3825-74D8658060E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81090" y="5939885"/>
                      <a:ext cx="867562" cy="153181"/>
                    </a:xfrm>
                    <a:custGeom>
                      <a:avLst/>
                      <a:gdLst>
                        <a:gd name="connsiteX0" fmla="*/ 30099 w 867562"/>
                        <a:gd name="connsiteY0" fmla="*/ 153162 h 153181"/>
                        <a:gd name="connsiteX1" fmla="*/ 692658 w 867562"/>
                        <a:gd name="connsiteY1" fmla="*/ 152781 h 153181"/>
                        <a:gd name="connsiteX2" fmla="*/ 811816 w 867562"/>
                        <a:gd name="connsiteY2" fmla="*/ 116396 h 153181"/>
                        <a:gd name="connsiteX3" fmla="*/ 838962 w 867562"/>
                        <a:gd name="connsiteY3" fmla="*/ 0 h 153181"/>
                        <a:gd name="connsiteX4" fmla="*/ 798862 w 867562"/>
                        <a:gd name="connsiteY4" fmla="*/ 42291 h 153181"/>
                        <a:gd name="connsiteX5" fmla="*/ 0 w 867562"/>
                        <a:gd name="connsiteY5" fmla="*/ 51245 h 153181"/>
                        <a:gd name="connsiteX6" fmla="*/ 5239 w 867562"/>
                        <a:gd name="connsiteY6" fmla="*/ 130016 h 153181"/>
                        <a:gd name="connsiteX7" fmla="*/ 30004 w 867562"/>
                        <a:gd name="connsiteY7" fmla="*/ 153162 h 1531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1">
                          <a:moveTo>
                            <a:pt x="30099" y="153162"/>
                          </a:moveTo>
                          <a:cubicBezTo>
                            <a:pt x="32575" y="153258"/>
                            <a:pt x="690563" y="152971"/>
                            <a:pt x="692658" y="152781"/>
                          </a:cubicBezTo>
                          <a:cubicBezTo>
                            <a:pt x="751237" y="147066"/>
                            <a:pt x="787813" y="129350"/>
                            <a:pt x="811816" y="116396"/>
                          </a:cubicBezTo>
                          <a:cubicBezTo>
                            <a:pt x="897922" y="70104"/>
                            <a:pt x="865251" y="15907"/>
                            <a:pt x="838962" y="0"/>
                          </a:cubicBezTo>
                          <a:cubicBezTo>
                            <a:pt x="830390" y="9430"/>
                            <a:pt x="817531" y="32290"/>
                            <a:pt x="798862" y="42291"/>
                          </a:cubicBezTo>
                          <a:cubicBezTo>
                            <a:pt x="671703" y="110680"/>
                            <a:pt x="68390" y="56483"/>
                            <a:pt x="0" y="51245"/>
                          </a:cubicBezTo>
                          <a:cubicBezTo>
                            <a:pt x="1429" y="85630"/>
                            <a:pt x="3429" y="114871"/>
                            <a:pt x="5239" y="130016"/>
                          </a:cubicBezTo>
                          <a:cubicBezTo>
                            <a:pt x="6667" y="142780"/>
                            <a:pt x="17145" y="152591"/>
                            <a:pt x="30004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259" name="Grafik 23">
                    <a:extLst>
                      <a:ext uri="{FF2B5EF4-FFF2-40B4-BE49-F238E27FC236}">
                        <a16:creationId xmlns:a16="http://schemas.microsoft.com/office/drawing/2014/main" id="{482C39C2-0757-555B-65E6-2D198C43F9CA}"/>
                      </a:ext>
                    </a:extLst>
                  </p:cNvPr>
                  <p:cNvGrpSpPr/>
                  <p:nvPr/>
                </p:nvGrpSpPr>
                <p:grpSpPr>
                  <a:xfrm>
                    <a:off x="2220308" y="5874095"/>
                    <a:ext cx="867562" cy="295551"/>
                    <a:chOff x="2220308" y="5874095"/>
                    <a:chExt cx="867562" cy="295551"/>
                  </a:xfrm>
                </p:grpSpPr>
                <p:sp>
                  <p:nvSpPr>
                    <p:cNvPr id="260" name="Freihandform: Form 259">
                      <a:extLst>
                        <a:ext uri="{FF2B5EF4-FFF2-40B4-BE49-F238E27FC236}">
                          <a16:creationId xmlns:a16="http://schemas.microsoft.com/office/drawing/2014/main" id="{92719891-5E70-F219-9BD4-0C93A783FB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20512" y="5874095"/>
                      <a:ext cx="865764" cy="289407"/>
                    </a:xfrm>
                    <a:custGeom>
                      <a:avLst/>
                      <a:gdLst>
                        <a:gd name="connsiteX0" fmla="*/ 60851 w 865764"/>
                        <a:gd name="connsiteY0" fmla="*/ 28547 h 289407"/>
                        <a:gd name="connsiteX1" fmla="*/ 82 w 865764"/>
                        <a:gd name="connsiteY1" fmla="*/ 170088 h 289407"/>
                        <a:gd name="connsiteX2" fmla="*/ 5702 w 865764"/>
                        <a:gd name="connsiteY2" fmla="*/ 253908 h 289407"/>
                        <a:gd name="connsiteX3" fmla="*/ 30371 w 865764"/>
                        <a:gd name="connsiteY3" fmla="*/ 276864 h 289407"/>
                        <a:gd name="connsiteX4" fmla="*/ 811136 w 865764"/>
                        <a:gd name="connsiteY4" fmla="*/ 249717 h 289407"/>
                        <a:gd name="connsiteX5" fmla="*/ 823899 w 865764"/>
                        <a:gd name="connsiteY5" fmla="*/ 132750 h 289407"/>
                        <a:gd name="connsiteX6" fmla="*/ 534625 w 865764"/>
                        <a:gd name="connsiteY6" fmla="*/ 83696 h 289407"/>
                        <a:gd name="connsiteX7" fmla="*/ 329837 w 865764"/>
                        <a:gd name="connsiteY7" fmla="*/ 829 h 289407"/>
                        <a:gd name="connsiteX8" fmla="*/ 273068 w 865764"/>
                        <a:gd name="connsiteY8" fmla="*/ 56931 h 289407"/>
                        <a:gd name="connsiteX9" fmla="*/ 140195 w 865764"/>
                        <a:gd name="connsiteY9" fmla="*/ 56931 h 289407"/>
                        <a:gd name="connsiteX10" fmla="*/ 60756 w 865764"/>
                        <a:gd name="connsiteY10" fmla="*/ 28547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60851" y="28547"/>
                          </a:moveTo>
                          <a:cubicBezTo>
                            <a:pt x="60851" y="28547"/>
                            <a:pt x="-2585" y="92078"/>
                            <a:pt x="82" y="170088"/>
                          </a:cubicBezTo>
                          <a:cubicBezTo>
                            <a:pt x="1511" y="210474"/>
                            <a:pt x="3797" y="237335"/>
                            <a:pt x="5702" y="253908"/>
                          </a:cubicBezTo>
                          <a:cubicBezTo>
                            <a:pt x="7130" y="266576"/>
                            <a:pt x="17608" y="276292"/>
                            <a:pt x="30371" y="276864"/>
                          </a:cubicBezTo>
                          <a:cubicBezTo>
                            <a:pt x="138956" y="281626"/>
                            <a:pt x="690740" y="314487"/>
                            <a:pt x="811136" y="249717"/>
                          </a:cubicBezTo>
                          <a:cubicBezTo>
                            <a:pt x="926102" y="187900"/>
                            <a:pt x="823899" y="132750"/>
                            <a:pt x="823899" y="132750"/>
                          </a:cubicBezTo>
                          <a:cubicBezTo>
                            <a:pt x="823899" y="132750"/>
                            <a:pt x="648925" y="152752"/>
                            <a:pt x="534625" y="83696"/>
                          </a:cubicBezTo>
                          <a:cubicBezTo>
                            <a:pt x="432898" y="22260"/>
                            <a:pt x="348030" y="-5267"/>
                            <a:pt x="329837" y="829"/>
                          </a:cubicBezTo>
                          <a:cubicBezTo>
                            <a:pt x="311645" y="6925"/>
                            <a:pt x="305263" y="35500"/>
                            <a:pt x="273068" y="56931"/>
                          </a:cubicBezTo>
                          <a:cubicBezTo>
                            <a:pt x="240779" y="78458"/>
                            <a:pt x="202012" y="78458"/>
                            <a:pt x="140195" y="56931"/>
                          </a:cubicBezTo>
                          <a:cubicBezTo>
                            <a:pt x="78377" y="35404"/>
                            <a:pt x="79616" y="20450"/>
                            <a:pt x="60756" y="28547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61" name="Freihandform: Form 260">
                      <a:extLst>
                        <a:ext uri="{FF2B5EF4-FFF2-40B4-BE49-F238E27FC236}">
                          <a16:creationId xmlns:a16="http://schemas.microsoft.com/office/drawing/2014/main" id="{93D2A8AB-0D21-E446-2E02-EE7201B84B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20308" y="6016466"/>
                      <a:ext cx="867562" cy="153180"/>
                    </a:xfrm>
                    <a:custGeom>
                      <a:avLst/>
                      <a:gdLst>
                        <a:gd name="connsiteX0" fmla="*/ 30099 w 867562"/>
                        <a:gd name="connsiteY0" fmla="*/ 153162 h 153180"/>
                        <a:gd name="connsiteX1" fmla="*/ 692658 w 867562"/>
                        <a:gd name="connsiteY1" fmla="*/ 152781 h 153180"/>
                        <a:gd name="connsiteX2" fmla="*/ 811816 w 867562"/>
                        <a:gd name="connsiteY2" fmla="*/ 116395 h 153180"/>
                        <a:gd name="connsiteX3" fmla="*/ 838962 w 867562"/>
                        <a:gd name="connsiteY3" fmla="*/ 0 h 153180"/>
                        <a:gd name="connsiteX4" fmla="*/ 798862 w 867562"/>
                        <a:gd name="connsiteY4" fmla="*/ 42291 h 153180"/>
                        <a:gd name="connsiteX5" fmla="*/ 0 w 867562"/>
                        <a:gd name="connsiteY5" fmla="*/ 51245 h 153180"/>
                        <a:gd name="connsiteX6" fmla="*/ 5239 w 867562"/>
                        <a:gd name="connsiteY6" fmla="*/ 130016 h 153180"/>
                        <a:gd name="connsiteX7" fmla="*/ 30004 w 867562"/>
                        <a:gd name="connsiteY7" fmla="*/ 153162 h 15318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0">
                          <a:moveTo>
                            <a:pt x="30099" y="153162"/>
                          </a:moveTo>
                          <a:cubicBezTo>
                            <a:pt x="32575" y="153257"/>
                            <a:pt x="690562" y="152971"/>
                            <a:pt x="692658" y="152781"/>
                          </a:cubicBezTo>
                          <a:cubicBezTo>
                            <a:pt x="751237" y="147066"/>
                            <a:pt x="787813" y="129349"/>
                            <a:pt x="811816" y="116395"/>
                          </a:cubicBezTo>
                          <a:cubicBezTo>
                            <a:pt x="897922" y="70104"/>
                            <a:pt x="865251" y="15907"/>
                            <a:pt x="838962" y="0"/>
                          </a:cubicBezTo>
                          <a:cubicBezTo>
                            <a:pt x="830389" y="9430"/>
                            <a:pt x="817531" y="32289"/>
                            <a:pt x="798862" y="42291"/>
                          </a:cubicBezTo>
                          <a:cubicBezTo>
                            <a:pt x="671703" y="110680"/>
                            <a:pt x="68390" y="56483"/>
                            <a:pt x="0" y="51245"/>
                          </a:cubicBezTo>
                          <a:cubicBezTo>
                            <a:pt x="1429" y="85630"/>
                            <a:pt x="3429" y="114871"/>
                            <a:pt x="5239" y="130016"/>
                          </a:cubicBezTo>
                          <a:cubicBezTo>
                            <a:pt x="6668" y="142780"/>
                            <a:pt x="17145" y="152590"/>
                            <a:pt x="30004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262" name="Freihandform: Form 261">
                    <a:extLst>
                      <a:ext uri="{FF2B5EF4-FFF2-40B4-BE49-F238E27FC236}">
                        <a16:creationId xmlns:a16="http://schemas.microsoft.com/office/drawing/2014/main" id="{04E6D737-F755-ADED-F060-4DE62DE3917B}"/>
                      </a:ext>
                    </a:extLst>
                  </p:cNvPr>
                  <p:cNvSpPr/>
                  <p:nvPr/>
                </p:nvSpPr>
                <p:spPr>
                  <a:xfrm>
                    <a:off x="2143233" y="2862833"/>
                    <a:ext cx="819357" cy="1885252"/>
                  </a:xfrm>
                  <a:custGeom>
                    <a:avLst/>
                    <a:gdLst>
                      <a:gd name="connsiteX0" fmla="*/ 37165 w 819357"/>
                      <a:gd name="connsiteY0" fmla="*/ 78581 h 1885252"/>
                      <a:gd name="connsiteX1" fmla="*/ 704010 w 819357"/>
                      <a:gd name="connsiteY1" fmla="*/ 0 h 1885252"/>
                      <a:gd name="connsiteX2" fmla="*/ 802594 w 819357"/>
                      <a:gd name="connsiteY2" fmla="*/ 936117 h 1885252"/>
                      <a:gd name="connsiteX3" fmla="*/ 811167 w 819357"/>
                      <a:gd name="connsiteY3" fmla="*/ 1804130 h 1885252"/>
                      <a:gd name="connsiteX4" fmla="*/ 296436 w 819357"/>
                      <a:gd name="connsiteY4" fmla="*/ 1843659 h 1885252"/>
                      <a:gd name="connsiteX5" fmla="*/ 37070 w 819357"/>
                      <a:gd name="connsiteY5" fmla="*/ 78677 h 1885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9357" h="1885252">
                        <a:moveTo>
                          <a:pt x="37165" y="78581"/>
                        </a:moveTo>
                        <a:cubicBezTo>
                          <a:pt x="46595" y="79820"/>
                          <a:pt x="704010" y="0"/>
                          <a:pt x="704010" y="0"/>
                        </a:cubicBezTo>
                        <a:cubicBezTo>
                          <a:pt x="704010" y="0"/>
                          <a:pt x="794307" y="770858"/>
                          <a:pt x="802594" y="936117"/>
                        </a:cubicBezTo>
                        <a:cubicBezTo>
                          <a:pt x="834408" y="1569434"/>
                          <a:pt x="811167" y="1804130"/>
                          <a:pt x="811167" y="1804130"/>
                        </a:cubicBezTo>
                        <a:cubicBezTo>
                          <a:pt x="664291" y="1911477"/>
                          <a:pt x="461599" y="1898809"/>
                          <a:pt x="296436" y="1843659"/>
                        </a:cubicBezTo>
                        <a:cubicBezTo>
                          <a:pt x="183850" y="1122045"/>
                          <a:pt x="-101233" y="808292"/>
                          <a:pt x="37070" y="78677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3" name="Freihandform: Form 262">
                    <a:extLst>
                      <a:ext uri="{FF2B5EF4-FFF2-40B4-BE49-F238E27FC236}">
                        <a16:creationId xmlns:a16="http://schemas.microsoft.com/office/drawing/2014/main" id="{782DA1B6-7ED7-3909-0ACF-1771ED776950}"/>
                      </a:ext>
                    </a:extLst>
                  </p:cNvPr>
                  <p:cNvSpPr/>
                  <p:nvPr/>
                </p:nvSpPr>
                <p:spPr>
                  <a:xfrm>
                    <a:off x="2334164" y="4557019"/>
                    <a:ext cx="619855" cy="1372578"/>
                  </a:xfrm>
                  <a:custGeom>
                    <a:avLst/>
                    <a:gdLst>
                      <a:gd name="connsiteX0" fmla="*/ 104648 w 619855"/>
                      <a:gd name="connsiteY0" fmla="*/ 57557 h 1372578"/>
                      <a:gd name="connsiteX1" fmla="*/ 19494 w 619855"/>
                      <a:gd name="connsiteY1" fmla="*/ 1049776 h 1372578"/>
                      <a:gd name="connsiteX2" fmla="*/ 52165 w 619855"/>
                      <a:gd name="connsiteY2" fmla="*/ 1372197 h 1372578"/>
                      <a:gd name="connsiteX3" fmla="*/ 356013 w 619855"/>
                      <a:gd name="connsiteY3" fmla="*/ 1339050 h 1372578"/>
                      <a:gd name="connsiteX4" fmla="*/ 569182 w 619855"/>
                      <a:gd name="connsiteY4" fmla="*/ 1316572 h 1372578"/>
                      <a:gd name="connsiteX5" fmla="*/ 557466 w 619855"/>
                      <a:gd name="connsiteY5" fmla="*/ 861848 h 1372578"/>
                      <a:gd name="connsiteX6" fmla="*/ 619855 w 619855"/>
                      <a:gd name="connsiteY6" fmla="*/ 115945 h 1372578"/>
                      <a:gd name="connsiteX7" fmla="*/ 104553 w 619855"/>
                      <a:gd name="connsiteY7" fmla="*/ 57461 h 13725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19855" h="1372578">
                        <a:moveTo>
                          <a:pt x="104648" y="57557"/>
                        </a:moveTo>
                        <a:cubicBezTo>
                          <a:pt x="14065" y="416935"/>
                          <a:pt x="36830" y="870706"/>
                          <a:pt x="19494" y="1049776"/>
                        </a:cubicBezTo>
                        <a:cubicBezTo>
                          <a:pt x="8922" y="1159123"/>
                          <a:pt x="-32607" y="1383056"/>
                          <a:pt x="52165" y="1372197"/>
                        </a:cubicBezTo>
                        <a:cubicBezTo>
                          <a:pt x="115983" y="1358672"/>
                          <a:pt x="228187" y="1349718"/>
                          <a:pt x="356013" y="1339050"/>
                        </a:cubicBezTo>
                        <a:cubicBezTo>
                          <a:pt x="483838" y="1328287"/>
                          <a:pt x="569182" y="1316572"/>
                          <a:pt x="569182" y="1316572"/>
                        </a:cubicBezTo>
                        <a:cubicBezTo>
                          <a:pt x="569182" y="1316572"/>
                          <a:pt x="555752" y="917855"/>
                          <a:pt x="557466" y="861848"/>
                        </a:cubicBezTo>
                        <a:cubicBezTo>
                          <a:pt x="559181" y="805841"/>
                          <a:pt x="619855" y="115945"/>
                          <a:pt x="619855" y="115945"/>
                        </a:cubicBezTo>
                        <a:cubicBezTo>
                          <a:pt x="465550" y="5169"/>
                          <a:pt x="266668" y="-48933"/>
                          <a:pt x="104553" y="57461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4" name="Freihandform: Form 263">
                    <a:extLst>
                      <a:ext uri="{FF2B5EF4-FFF2-40B4-BE49-F238E27FC236}">
                        <a16:creationId xmlns:a16="http://schemas.microsoft.com/office/drawing/2014/main" id="{C0548BFA-03A8-616F-D0E9-436261FB0DB1}"/>
                      </a:ext>
                    </a:extLst>
                  </p:cNvPr>
                  <p:cNvSpPr/>
                  <p:nvPr/>
                </p:nvSpPr>
                <p:spPr>
                  <a:xfrm>
                    <a:off x="2435192" y="4398359"/>
                    <a:ext cx="519303" cy="519302"/>
                  </a:xfrm>
                  <a:custGeom>
                    <a:avLst/>
                    <a:gdLst>
                      <a:gd name="connsiteX0" fmla="*/ 519303 w 519303"/>
                      <a:gd name="connsiteY0" fmla="*/ 259651 h 519302"/>
                      <a:gd name="connsiteX1" fmla="*/ 259651 w 519303"/>
                      <a:gd name="connsiteY1" fmla="*/ 519303 h 519302"/>
                      <a:gd name="connsiteX2" fmla="*/ 0 w 519303"/>
                      <a:gd name="connsiteY2" fmla="*/ 259651 h 519302"/>
                      <a:gd name="connsiteX3" fmla="*/ 259651 w 519303"/>
                      <a:gd name="connsiteY3" fmla="*/ 0 h 519302"/>
                      <a:gd name="connsiteX4" fmla="*/ 519303 w 519303"/>
                      <a:gd name="connsiteY4" fmla="*/ 259651 h 519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9303" h="519302">
                        <a:moveTo>
                          <a:pt x="519303" y="259651"/>
                        </a:moveTo>
                        <a:cubicBezTo>
                          <a:pt x="519303" y="403053"/>
                          <a:pt x="403053" y="519303"/>
                          <a:pt x="259651" y="519303"/>
                        </a:cubicBezTo>
                        <a:cubicBezTo>
                          <a:pt x="116250" y="519303"/>
                          <a:pt x="0" y="403053"/>
                          <a:pt x="0" y="259651"/>
                        </a:cubicBezTo>
                        <a:cubicBezTo>
                          <a:pt x="0" y="116250"/>
                          <a:pt x="116250" y="0"/>
                          <a:pt x="259651" y="0"/>
                        </a:cubicBezTo>
                        <a:cubicBezTo>
                          <a:pt x="403053" y="0"/>
                          <a:pt x="519303" y="116250"/>
                          <a:pt x="519303" y="259651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5" name="Freihandform: Form 264">
                    <a:extLst>
                      <a:ext uri="{FF2B5EF4-FFF2-40B4-BE49-F238E27FC236}">
                        <a16:creationId xmlns:a16="http://schemas.microsoft.com/office/drawing/2014/main" id="{18AAA699-06B5-66F8-B231-A687872C2DDB}"/>
                      </a:ext>
                    </a:extLst>
                  </p:cNvPr>
                  <p:cNvSpPr/>
                  <p:nvPr/>
                </p:nvSpPr>
                <p:spPr>
                  <a:xfrm>
                    <a:off x="2162261" y="2915792"/>
                    <a:ext cx="808712" cy="1916312"/>
                  </a:xfrm>
                  <a:custGeom>
                    <a:avLst/>
                    <a:gdLst>
                      <a:gd name="connsiteX0" fmla="*/ 138915 w 808712"/>
                      <a:gd name="connsiteY0" fmla="*/ 0 h 1916312"/>
                      <a:gd name="connsiteX1" fmla="*/ 808713 w 808712"/>
                      <a:gd name="connsiteY1" fmla="*/ 48196 h 1916312"/>
                      <a:gd name="connsiteX2" fmla="*/ 729465 w 808712"/>
                      <a:gd name="connsiteY2" fmla="*/ 986219 h 1916312"/>
                      <a:gd name="connsiteX3" fmla="*/ 567635 w 808712"/>
                      <a:gd name="connsiteY3" fmla="*/ 1871186 h 1916312"/>
                      <a:gd name="connsiteX4" fmla="*/ 58905 w 808712"/>
                      <a:gd name="connsiteY4" fmla="*/ 1834325 h 1916312"/>
                      <a:gd name="connsiteX5" fmla="*/ 138915 w 808712"/>
                      <a:gd name="connsiteY5" fmla="*/ 0 h 19163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08712" h="1916312">
                        <a:moveTo>
                          <a:pt x="138915" y="0"/>
                        </a:moveTo>
                        <a:cubicBezTo>
                          <a:pt x="147963" y="3048"/>
                          <a:pt x="808713" y="48196"/>
                          <a:pt x="808713" y="48196"/>
                        </a:cubicBezTo>
                        <a:cubicBezTo>
                          <a:pt x="808713" y="48196"/>
                          <a:pt x="752420" y="822293"/>
                          <a:pt x="729465" y="986219"/>
                        </a:cubicBezTo>
                        <a:cubicBezTo>
                          <a:pt x="641644" y="1614202"/>
                          <a:pt x="567635" y="1871186"/>
                          <a:pt x="567635" y="1871186"/>
                        </a:cubicBezTo>
                        <a:cubicBezTo>
                          <a:pt x="403138" y="1948910"/>
                          <a:pt x="210733" y="1919478"/>
                          <a:pt x="58905" y="1834325"/>
                        </a:cubicBezTo>
                        <a:cubicBezTo>
                          <a:pt x="84051" y="1104329"/>
                          <a:pt x="-134167" y="690658"/>
                          <a:pt x="138915" y="0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6" name="Freihandform: Form 265">
                    <a:extLst>
                      <a:ext uri="{FF2B5EF4-FFF2-40B4-BE49-F238E27FC236}">
                        <a16:creationId xmlns:a16="http://schemas.microsoft.com/office/drawing/2014/main" id="{E0C4D85F-380A-460E-2800-1BBD1AFDCA19}"/>
                      </a:ext>
                    </a:extLst>
                  </p:cNvPr>
                  <p:cNvSpPr/>
                  <p:nvPr/>
                </p:nvSpPr>
                <p:spPr>
                  <a:xfrm>
                    <a:off x="2163652" y="4675131"/>
                    <a:ext cx="566148" cy="1315331"/>
                  </a:xfrm>
                  <a:custGeom>
                    <a:avLst/>
                    <a:gdLst>
                      <a:gd name="connsiteX0" fmla="*/ 65134 w 566148"/>
                      <a:gd name="connsiteY0" fmla="*/ 1315332 h 1315331"/>
                      <a:gd name="connsiteX1" fmla="*/ 555385 w 566148"/>
                      <a:gd name="connsiteY1" fmla="*/ 1261801 h 1315331"/>
                      <a:gd name="connsiteX2" fmla="*/ 566149 w 566148"/>
                      <a:gd name="connsiteY2" fmla="*/ 104800 h 1315331"/>
                      <a:gd name="connsiteX3" fmla="*/ 59133 w 566148"/>
                      <a:gd name="connsiteY3" fmla="*/ 64414 h 1315331"/>
                      <a:gd name="connsiteX4" fmla="*/ 1602 w 566148"/>
                      <a:gd name="connsiteY4" fmla="*/ 1061014 h 1315331"/>
                      <a:gd name="connsiteX5" fmla="*/ 65134 w 566148"/>
                      <a:gd name="connsiteY5" fmla="*/ 1315236 h 13153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66148" h="1315331">
                        <a:moveTo>
                          <a:pt x="65134" y="1315332"/>
                        </a:moveTo>
                        <a:lnTo>
                          <a:pt x="555385" y="1261801"/>
                        </a:lnTo>
                        <a:cubicBezTo>
                          <a:pt x="554623" y="1243228"/>
                          <a:pt x="566149" y="104800"/>
                          <a:pt x="566149" y="104800"/>
                        </a:cubicBezTo>
                        <a:cubicBezTo>
                          <a:pt x="408605" y="-1309"/>
                          <a:pt x="217915" y="-46838"/>
                          <a:pt x="59133" y="64414"/>
                        </a:cubicBezTo>
                        <a:cubicBezTo>
                          <a:pt x="-20496" y="426364"/>
                          <a:pt x="13603" y="881468"/>
                          <a:pt x="1602" y="1061014"/>
                        </a:cubicBezTo>
                        <a:cubicBezTo>
                          <a:pt x="-5447" y="1167599"/>
                          <a:pt x="9889" y="1270374"/>
                          <a:pt x="65134" y="131523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7" name="Freihandform: Form 266">
                    <a:extLst>
                      <a:ext uri="{FF2B5EF4-FFF2-40B4-BE49-F238E27FC236}">
                        <a16:creationId xmlns:a16="http://schemas.microsoft.com/office/drawing/2014/main" id="{408F8DAD-9560-3A1F-6596-0AFAE6A24781}"/>
                      </a:ext>
                    </a:extLst>
                  </p:cNvPr>
                  <p:cNvSpPr/>
                  <p:nvPr/>
                </p:nvSpPr>
                <p:spPr>
                  <a:xfrm>
                    <a:off x="1967227" y="1412557"/>
                    <a:ext cx="1160432" cy="2831687"/>
                  </a:xfrm>
                  <a:custGeom>
                    <a:avLst/>
                    <a:gdLst>
                      <a:gd name="connsiteX0" fmla="*/ 66391 w 1160432"/>
                      <a:gd name="connsiteY0" fmla="*/ 2215706 h 2831687"/>
                      <a:gd name="connsiteX1" fmla="*/ 44102 w 1160432"/>
                      <a:gd name="connsiteY1" fmla="*/ 2831687 h 2831687"/>
                      <a:gd name="connsiteX2" fmla="*/ 1160432 w 1160432"/>
                      <a:gd name="connsiteY2" fmla="*/ 2831687 h 2831687"/>
                      <a:gd name="connsiteX3" fmla="*/ 1117189 w 1160432"/>
                      <a:gd name="connsiteY3" fmla="*/ 1805940 h 2831687"/>
                      <a:gd name="connsiteX4" fmla="*/ 988316 w 1160432"/>
                      <a:gd name="connsiteY4" fmla="*/ 539782 h 2831687"/>
                      <a:gd name="connsiteX5" fmla="*/ 717520 w 1160432"/>
                      <a:gd name="connsiteY5" fmla="*/ 135826 h 2831687"/>
                      <a:gd name="connsiteX6" fmla="*/ 256700 w 1160432"/>
                      <a:gd name="connsiteY6" fmla="*/ 0 h 2831687"/>
                      <a:gd name="connsiteX7" fmla="*/ 2 w 1160432"/>
                      <a:gd name="connsiteY7" fmla="*/ 399288 h 2831687"/>
                      <a:gd name="connsiteX8" fmla="*/ 99062 w 1160432"/>
                      <a:gd name="connsiteY8" fmla="*/ 1187863 h 2831687"/>
                      <a:gd name="connsiteX9" fmla="*/ 66296 w 1160432"/>
                      <a:gd name="connsiteY9" fmla="*/ 2215706 h 28316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160432" h="2831687">
                        <a:moveTo>
                          <a:pt x="66391" y="2215706"/>
                        </a:moveTo>
                        <a:cubicBezTo>
                          <a:pt x="54675" y="2418779"/>
                          <a:pt x="47055" y="2707386"/>
                          <a:pt x="44102" y="2831687"/>
                        </a:cubicBezTo>
                        <a:lnTo>
                          <a:pt x="1160432" y="2831687"/>
                        </a:lnTo>
                        <a:cubicBezTo>
                          <a:pt x="1152908" y="2688717"/>
                          <a:pt x="1132810" y="2286953"/>
                          <a:pt x="1117189" y="1805940"/>
                        </a:cubicBezTo>
                        <a:cubicBezTo>
                          <a:pt x="1097663" y="1202817"/>
                          <a:pt x="1001174" y="634460"/>
                          <a:pt x="988316" y="539782"/>
                        </a:cubicBezTo>
                        <a:cubicBezTo>
                          <a:pt x="970218" y="405860"/>
                          <a:pt x="717520" y="135826"/>
                          <a:pt x="717520" y="135826"/>
                        </a:cubicBezTo>
                        <a:lnTo>
                          <a:pt x="256700" y="0"/>
                        </a:lnTo>
                        <a:cubicBezTo>
                          <a:pt x="256700" y="0"/>
                          <a:pt x="-760" y="184499"/>
                          <a:pt x="2" y="399288"/>
                        </a:cubicBezTo>
                        <a:cubicBezTo>
                          <a:pt x="668" y="575119"/>
                          <a:pt x="99062" y="1187863"/>
                          <a:pt x="99062" y="1187863"/>
                        </a:cubicBezTo>
                        <a:cubicBezTo>
                          <a:pt x="99062" y="1187863"/>
                          <a:pt x="81631" y="1950244"/>
                          <a:pt x="66296" y="221570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8" name="Freihandform: Form 267">
                    <a:extLst>
                      <a:ext uri="{FF2B5EF4-FFF2-40B4-BE49-F238E27FC236}">
                        <a16:creationId xmlns:a16="http://schemas.microsoft.com/office/drawing/2014/main" id="{E3E2201C-3B47-4BC6-7553-2D806EE9F9D3}"/>
                      </a:ext>
                    </a:extLst>
                  </p:cNvPr>
                  <p:cNvSpPr/>
                  <p:nvPr/>
                </p:nvSpPr>
                <p:spPr>
                  <a:xfrm>
                    <a:off x="2203544" y="3205162"/>
                    <a:ext cx="634746" cy="581406"/>
                  </a:xfrm>
                  <a:custGeom>
                    <a:avLst/>
                    <a:gdLst>
                      <a:gd name="connsiteX0" fmla="*/ 634651 w 634746"/>
                      <a:gd name="connsiteY0" fmla="*/ 508730 h 581406"/>
                      <a:gd name="connsiteX1" fmla="*/ 0 w 634746"/>
                      <a:gd name="connsiteY1" fmla="*/ 550545 h 581406"/>
                      <a:gd name="connsiteX2" fmla="*/ 48292 w 634746"/>
                      <a:gd name="connsiteY2" fmla="*/ 0 h 581406"/>
                      <a:gd name="connsiteX3" fmla="*/ 456533 w 634746"/>
                      <a:gd name="connsiteY3" fmla="*/ 3143 h 581406"/>
                      <a:gd name="connsiteX4" fmla="*/ 634746 w 634746"/>
                      <a:gd name="connsiteY4" fmla="*/ 508730 h 5814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34746" h="581406">
                        <a:moveTo>
                          <a:pt x="634651" y="508730"/>
                        </a:moveTo>
                        <a:cubicBezTo>
                          <a:pt x="600742" y="589407"/>
                          <a:pt x="143828" y="602266"/>
                          <a:pt x="0" y="550545"/>
                        </a:cubicBezTo>
                        <a:lnTo>
                          <a:pt x="48292" y="0"/>
                        </a:lnTo>
                        <a:lnTo>
                          <a:pt x="456533" y="3143"/>
                        </a:lnTo>
                        <a:lnTo>
                          <a:pt x="634746" y="50873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9" name="Freihandform: Form 268">
                    <a:extLst>
                      <a:ext uri="{FF2B5EF4-FFF2-40B4-BE49-F238E27FC236}">
                        <a16:creationId xmlns:a16="http://schemas.microsoft.com/office/drawing/2014/main" id="{A3241696-2E1A-1194-F391-CF2118EE5430}"/>
                      </a:ext>
                    </a:extLst>
                  </p:cNvPr>
                  <p:cNvSpPr/>
                  <p:nvPr/>
                </p:nvSpPr>
                <p:spPr>
                  <a:xfrm>
                    <a:off x="2265362" y="3205162"/>
                    <a:ext cx="572833" cy="543657"/>
                  </a:xfrm>
                  <a:custGeom>
                    <a:avLst/>
                    <a:gdLst>
                      <a:gd name="connsiteX0" fmla="*/ 513302 w 572833"/>
                      <a:gd name="connsiteY0" fmla="*/ 0 h 543657"/>
                      <a:gd name="connsiteX1" fmla="*/ 572834 w 572833"/>
                      <a:gd name="connsiteY1" fmla="*/ 508730 h 543657"/>
                      <a:gd name="connsiteX2" fmla="*/ 0 w 572833"/>
                      <a:gd name="connsiteY2" fmla="*/ 518255 h 543657"/>
                      <a:gd name="connsiteX3" fmla="*/ 0 w 572833"/>
                      <a:gd name="connsiteY3" fmla="*/ 0 h 543657"/>
                      <a:gd name="connsiteX4" fmla="*/ 513302 w 572833"/>
                      <a:gd name="connsiteY4" fmla="*/ 0 h 5436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72833" h="543657">
                        <a:moveTo>
                          <a:pt x="513302" y="0"/>
                        </a:moveTo>
                        <a:cubicBezTo>
                          <a:pt x="513302" y="38005"/>
                          <a:pt x="572834" y="508730"/>
                          <a:pt x="572834" y="508730"/>
                        </a:cubicBezTo>
                        <a:cubicBezTo>
                          <a:pt x="397097" y="555022"/>
                          <a:pt x="204025" y="552260"/>
                          <a:pt x="0" y="518255"/>
                        </a:cubicBezTo>
                        <a:lnTo>
                          <a:pt x="0" y="0"/>
                        </a:lnTo>
                        <a:cubicBezTo>
                          <a:pt x="0" y="0"/>
                          <a:pt x="513302" y="0"/>
                          <a:pt x="513302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0" name="Freihandform: Form 269">
                    <a:extLst>
                      <a:ext uri="{FF2B5EF4-FFF2-40B4-BE49-F238E27FC236}">
                        <a16:creationId xmlns:a16="http://schemas.microsoft.com/office/drawing/2014/main" id="{C1624107-5BB4-1C8E-B299-E68F4B804CED}"/>
                      </a:ext>
                    </a:extLst>
                  </p:cNvPr>
                  <p:cNvSpPr/>
                  <p:nvPr/>
                </p:nvSpPr>
                <p:spPr>
                  <a:xfrm>
                    <a:off x="2049737" y="1674208"/>
                    <a:ext cx="709549" cy="1346632"/>
                  </a:xfrm>
                  <a:custGeom>
                    <a:avLst/>
                    <a:gdLst>
                      <a:gd name="connsiteX0" fmla="*/ 110944 w 709549"/>
                      <a:gd name="connsiteY0" fmla="*/ 1154241 h 1346632"/>
                      <a:gd name="connsiteX1" fmla="*/ 556048 w 709549"/>
                      <a:gd name="connsiteY1" fmla="*/ 1339883 h 1346632"/>
                      <a:gd name="connsiteX2" fmla="*/ 707686 w 709549"/>
                      <a:gd name="connsiteY2" fmla="*/ 1232727 h 1346632"/>
                      <a:gd name="connsiteX3" fmla="*/ 430413 w 709549"/>
                      <a:gd name="connsiteY3" fmla="*/ 837249 h 1346632"/>
                      <a:gd name="connsiteX4" fmla="*/ 319732 w 709549"/>
                      <a:gd name="connsiteY4" fmla="*/ 283560 h 1346632"/>
                      <a:gd name="connsiteX5" fmla="*/ 153426 w 709549"/>
                      <a:gd name="connsiteY5" fmla="*/ 3144 h 1346632"/>
                      <a:gd name="connsiteX6" fmla="*/ 110944 w 709549"/>
                      <a:gd name="connsiteY6" fmla="*/ 1154241 h 13466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09549" h="1346632">
                        <a:moveTo>
                          <a:pt x="110944" y="1154241"/>
                        </a:moveTo>
                        <a:cubicBezTo>
                          <a:pt x="110944" y="1154241"/>
                          <a:pt x="179143" y="1226154"/>
                          <a:pt x="556048" y="1339883"/>
                        </a:cubicBezTo>
                        <a:cubicBezTo>
                          <a:pt x="668633" y="1373887"/>
                          <a:pt x="702447" y="1270255"/>
                          <a:pt x="707686" y="1232727"/>
                        </a:cubicBezTo>
                        <a:cubicBezTo>
                          <a:pt x="724831" y="1108521"/>
                          <a:pt x="623008" y="983934"/>
                          <a:pt x="430413" y="837249"/>
                        </a:cubicBezTo>
                        <a:cubicBezTo>
                          <a:pt x="278870" y="721806"/>
                          <a:pt x="311541" y="523781"/>
                          <a:pt x="319732" y="283560"/>
                        </a:cubicBezTo>
                        <a:cubicBezTo>
                          <a:pt x="327924" y="43340"/>
                          <a:pt x="153426" y="3144"/>
                          <a:pt x="153426" y="3144"/>
                        </a:cubicBezTo>
                        <a:cubicBezTo>
                          <a:pt x="-28025" y="-65531"/>
                          <a:pt x="-56505" y="1012032"/>
                          <a:pt x="110944" y="1154241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1" name="Freihandform: Form 270">
                    <a:extLst>
                      <a:ext uri="{FF2B5EF4-FFF2-40B4-BE49-F238E27FC236}">
                        <a16:creationId xmlns:a16="http://schemas.microsoft.com/office/drawing/2014/main" id="{87AE6449-0601-791A-A571-B10FA4B12EFA}"/>
                      </a:ext>
                    </a:extLst>
                  </p:cNvPr>
                  <p:cNvSpPr/>
                  <p:nvPr/>
                </p:nvSpPr>
                <p:spPr>
                  <a:xfrm>
                    <a:off x="2542063" y="2036635"/>
                    <a:ext cx="268223" cy="262472"/>
                  </a:xfrm>
                  <a:custGeom>
                    <a:avLst/>
                    <a:gdLst>
                      <a:gd name="connsiteX0" fmla="*/ 268224 w 268223"/>
                      <a:gd name="connsiteY0" fmla="*/ 230600 h 262472"/>
                      <a:gd name="connsiteX1" fmla="*/ 0 w 268223"/>
                      <a:gd name="connsiteY1" fmla="*/ 253079 h 262472"/>
                      <a:gd name="connsiteX2" fmla="*/ 33909 w 268223"/>
                      <a:gd name="connsiteY2" fmla="*/ 0 h 262472"/>
                      <a:gd name="connsiteX3" fmla="*/ 215646 w 268223"/>
                      <a:gd name="connsiteY3" fmla="*/ 7525 h 262472"/>
                      <a:gd name="connsiteX4" fmla="*/ 268224 w 268223"/>
                      <a:gd name="connsiteY4" fmla="*/ 230600 h 2624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8223" h="262472">
                        <a:moveTo>
                          <a:pt x="268224" y="230600"/>
                        </a:moveTo>
                        <a:cubicBezTo>
                          <a:pt x="244888" y="246697"/>
                          <a:pt x="63246" y="278225"/>
                          <a:pt x="0" y="253079"/>
                        </a:cubicBezTo>
                        <a:lnTo>
                          <a:pt x="33909" y="0"/>
                        </a:lnTo>
                        <a:lnTo>
                          <a:pt x="215646" y="7525"/>
                        </a:lnTo>
                        <a:lnTo>
                          <a:pt x="268224" y="23060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2" name="Freihandform: Form 271">
                    <a:extLst>
                      <a:ext uri="{FF2B5EF4-FFF2-40B4-BE49-F238E27FC236}">
                        <a16:creationId xmlns:a16="http://schemas.microsoft.com/office/drawing/2014/main" id="{8DD76C84-BA69-842F-69DC-00470CC130B4}"/>
                      </a:ext>
                    </a:extLst>
                  </p:cNvPr>
                  <p:cNvSpPr/>
                  <p:nvPr/>
                </p:nvSpPr>
                <p:spPr>
                  <a:xfrm>
                    <a:off x="2577496" y="2040159"/>
                    <a:ext cx="232791" cy="230885"/>
                  </a:xfrm>
                  <a:custGeom>
                    <a:avLst/>
                    <a:gdLst>
                      <a:gd name="connsiteX0" fmla="*/ 228695 w 232791"/>
                      <a:gd name="connsiteY0" fmla="*/ 0 h 230885"/>
                      <a:gd name="connsiteX1" fmla="*/ 232791 w 232791"/>
                      <a:gd name="connsiteY1" fmla="*/ 227076 h 230885"/>
                      <a:gd name="connsiteX2" fmla="*/ 0 w 232791"/>
                      <a:gd name="connsiteY2" fmla="*/ 230886 h 230885"/>
                      <a:gd name="connsiteX3" fmla="*/ 0 w 232791"/>
                      <a:gd name="connsiteY3" fmla="*/ 0 h 230885"/>
                      <a:gd name="connsiteX4" fmla="*/ 228695 w 232791"/>
                      <a:gd name="connsiteY4" fmla="*/ 0 h 2308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2791" h="230885">
                        <a:moveTo>
                          <a:pt x="228695" y="0"/>
                        </a:moveTo>
                        <a:lnTo>
                          <a:pt x="232791" y="227076"/>
                        </a:lnTo>
                        <a:lnTo>
                          <a:pt x="0" y="230886"/>
                        </a:lnTo>
                        <a:lnTo>
                          <a:pt x="0" y="0"/>
                        </a:lnTo>
                        <a:lnTo>
                          <a:pt x="228695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3" name="Freihandform: Form 272">
                    <a:extLst>
                      <a:ext uri="{FF2B5EF4-FFF2-40B4-BE49-F238E27FC236}">
                        <a16:creationId xmlns:a16="http://schemas.microsoft.com/office/drawing/2014/main" id="{6A655F8E-669E-E2A8-8C2E-476B779A5A66}"/>
                      </a:ext>
                    </a:extLst>
                  </p:cNvPr>
                  <p:cNvSpPr/>
                  <p:nvPr/>
                </p:nvSpPr>
                <p:spPr>
                  <a:xfrm>
                    <a:off x="2207830" y="1280636"/>
                    <a:ext cx="532914" cy="439864"/>
                  </a:xfrm>
                  <a:custGeom>
                    <a:avLst/>
                    <a:gdLst>
                      <a:gd name="connsiteX0" fmla="*/ 0 w 532914"/>
                      <a:gd name="connsiteY0" fmla="*/ 164973 h 439864"/>
                      <a:gd name="connsiteX1" fmla="*/ 40481 w 532914"/>
                      <a:gd name="connsiteY1" fmla="*/ 0 h 439864"/>
                      <a:gd name="connsiteX2" fmla="*/ 528733 w 532914"/>
                      <a:gd name="connsiteY2" fmla="*/ 274415 h 439864"/>
                      <a:gd name="connsiteX3" fmla="*/ 513017 w 532914"/>
                      <a:gd name="connsiteY3" fmla="*/ 439864 h 439864"/>
                      <a:gd name="connsiteX4" fmla="*/ 0 w 532914"/>
                      <a:gd name="connsiteY4" fmla="*/ 165068 h 4398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32914" h="439864">
                        <a:moveTo>
                          <a:pt x="0" y="164973"/>
                        </a:moveTo>
                        <a:lnTo>
                          <a:pt x="40481" y="0"/>
                        </a:lnTo>
                        <a:cubicBezTo>
                          <a:pt x="40481" y="0"/>
                          <a:pt x="461772" y="175260"/>
                          <a:pt x="528733" y="274415"/>
                        </a:cubicBezTo>
                        <a:cubicBezTo>
                          <a:pt x="543878" y="296799"/>
                          <a:pt x="513017" y="439864"/>
                          <a:pt x="513017" y="439864"/>
                        </a:cubicBezTo>
                        <a:lnTo>
                          <a:pt x="0" y="16506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4" name="Freihandform: Form 273">
                    <a:extLst>
                      <a:ext uri="{FF2B5EF4-FFF2-40B4-BE49-F238E27FC236}">
                        <a16:creationId xmlns:a16="http://schemas.microsoft.com/office/drawing/2014/main" id="{29716C2D-77CD-CAD2-6F0C-BD60953776E9}"/>
                      </a:ext>
                    </a:extLst>
                  </p:cNvPr>
                  <p:cNvSpPr/>
                  <p:nvPr/>
                </p:nvSpPr>
                <p:spPr>
                  <a:xfrm>
                    <a:off x="2218784" y="4529518"/>
                    <a:ext cx="511111" cy="511111"/>
                  </a:xfrm>
                  <a:custGeom>
                    <a:avLst/>
                    <a:gdLst>
                      <a:gd name="connsiteX0" fmla="*/ 511111 w 511111"/>
                      <a:gd name="connsiteY0" fmla="*/ 255556 h 511111"/>
                      <a:gd name="connsiteX1" fmla="*/ 255556 w 511111"/>
                      <a:gd name="connsiteY1" fmla="*/ 511111 h 511111"/>
                      <a:gd name="connsiteX2" fmla="*/ 0 w 511111"/>
                      <a:gd name="connsiteY2" fmla="*/ 255556 h 511111"/>
                      <a:gd name="connsiteX3" fmla="*/ 255556 w 511111"/>
                      <a:gd name="connsiteY3" fmla="*/ 0 h 511111"/>
                      <a:gd name="connsiteX4" fmla="*/ 511111 w 511111"/>
                      <a:gd name="connsiteY4" fmla="*/ 255556 h 5111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1111" h="511111">
                        <a:moveTo>
                          <a:pt x="511111" y="255556"/>
                        </a:moveTo>
                        <a:cubicBezTo>
                          <a:pt x="511111" y="396695"/>
                          <a:pt x="396695" y="511111"/>
                          <a:pt x="255556" y="511111"/>
                        </a:cubicBezTo>
                        <a:cubicBezTo>
                          <a:pt x="114416" y="511111"/>
                          <a:pt x="0" y="396695"/>
                          <a:pt x="0" y="255556"/>
                        </a:cubicBezTo>
                        <a:cubicBezTo>
                          <a:pt x="0" y="114416"/>
                          <a:pt x="114416" y="0"/>
                          <a:pt x="255556" y="0"/>
                        </a:cubicBezTo>
                        <a:cubicBezTo>
                          <a:pt x="396695" y="0"/>
                          <a:pt x="511111" y="114416"/>
                          <a:pt x="511111" y="25555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75" name="Grafik 23">
                  <a:extLst>
                    <a:ext uri="{FF2B5EF4-FFF2-40B4-BE49-F238E27FC236}">
                      <a16:creationId xmlns:a16="http://schemas.microsoft.com/office/drawing/2014/main" id="{9EAD3F0E-A6BF-2EE3-5490-83607AB77C64}"/>
                    </a:ext>
                  </a:extLst>
                </p:cNvPr>
                <p:cNvGrpSpPr/>
                <p:nvPr/>
              </p:nvGrpSpPr>
              <p:grpSpPr>
                <a:xfrm>
                  <a:off x="2645951" y="2614089"/>
                  <a:ext cx="835086" cy="566403"/>
                  <a:chOff x="2645951" y="2614089"/>
                  <a:chExt cx="835086" cy="566403"/>
                </a:xfrm>
              </p:grpSpPr>
              <p:grpSp>
                <p:nvGrpSpPr>
                  <p:cNvPr id="276" name="Grafik 23">
                    <a:extLst>
                      <a:ext uri="{FF2B5EF4-FFF2-40B4-BE49-F238E27FC236}">
                        <a16:creationId xmlns:a16="http://schemas.microsoft.com/office/drawing/2014/main" id="{040EF8D3-7DA9-FF26-A05C-AF3D368B5385}"/>
                      </a:ext>
                    </a:extLst>
                  </p:cNvPr>
                  <p:cNvGrpSpPr/>
                  <p:nvPr/>
                </p:nvGrpSpPr>
                <p:grpSpPr>
                  <a:xfrm>
                    <a:off x="2748660" y="2614089"/>
                    <a:ext cx="732377" cy="566403"/>
                    <a:chOff x="2748660" y="2614089"/>
                    <a:chExt cx="732377" cy="566403"/>
                  </a:xfrm>
                </p:grpSpPr>
                <p:sp>
                  <p:nvSpPr>
                    <p:cNvPr id="277" name="Freihandform: Form 276">
                      <a:extLst>
                        <a:ext uri="{FF2B5EF4-FFF2-40B4-BE49-F238E27FC236}">
                          <a16:creationId xmlns:a16="http://schemas.microsoft.com/office/drawing/2014/main" id="{A4C60239-D0C9-BF03-B2A3-7BB6C21AF1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22288" y="2658189"/>
                      <a:ext cx="411099" cy="129236"/>
                    </a:xfrm>
                    <a:custGeom>
                      <a:avLst/>
                      <a:gdLst>
                        <a:gd name="connsiteX0" fmla="*/ 95 w 411099"/>
                        <a:gd name="connsiteY0" fmla="*/ 59483 h 129236"/>
                        <a:gd name="connsiteX1" fmla="*/ 130111 w 411099"/>
                        <a:gd name="connsiteY1" fmla="*/ 714 h 129236"/>
                        <a:gd name="connsiteX2" fmla="*/ 235172 w 411099"/>
                        <a:gd name="connsiteY2" fmla="*/ 7858 h 129236"/>
                        <a:gd name="connsiteX3" fmla="*/ 411099 w 411099"/>
                        <a:gd name="connsiteY3" fmla="*/ 41481 h 129236"/>
                        <a:gd name="connsiteX4" fmla="*/ 393668 w 411099"/>
                        <a:gd name="connsiteY4" fmla="*/ 70723 h 129236"/>
                        <a:gd name="connsiteX5" fmla="*/ 184023 w 411099"/>
                        <a:gd name="connsiteY5" fmla="*/ 83010 h 129236"/>
                        <a:gd name="connsiteX6" fmla="*/ 92678 w 411099"/>
                        <a:gd name="connsiteY6" fmla="*/ 128921 h 129236"/>
                        <a:gd name="connsiteX7" fmla="*/ 0 w 411099"/>
                        <a:gd name="connsiteY7" fmla="*/ 59483 h 12923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11099" h="129236">
                          <a:moveTo>
                            <a:pt x="95" y="59483"/>
                          </a:moveTo>
                          <a:cubicBezTo>
                            <a:pt x="5429" y="57674"/>
                            <a:pt x="90964" y="4238"/>
                            <a:pt x="130111" y="714"/>
                          </a:cubicBezTo>
                          <a:cubicBezTo>
                            <a:pt x="169259" y="-2810"/>
                            <a:pt x="235172" y="7858"/>
                            <a:pt x="235172" y="7858"/>
                          </a:cubicBezTo>
                          <a:lnTo>
                            <a:pt x="411099" y="41481"/>
                          </a:lnTo>
                          <a:cubicBezTo>
                            <a:pt x="411099" y="41481"/>
                            <a:pt x="406717" y="58817"/>
                            <a:pt x="393668" y="70723"/>
                          </a:cubicBezTo>
                          <a:cubicBezTo>
                            <a:pt x="361759" y="99869"/>
                            <a:pt x="194691" y="68818"/>
                            <a:pt x="184023" y="83010"/>
                          </a:cubicBezTo>
                          <a:cubicBezTo>
                            <a:pt x="168021" y="104346"/>
                            <a:pt x="146113" y="132540"/>
                            <a:pt x="92678" y="128921"/>
                          </a:cubicBezTo>
                          <a:cubicBezTo>
                            <a:pt x="39243" y="125396"/>
                            <a:pt x="0" y="59483"/>
                            <a:pt x="0" y="59483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78" name="Freihandform: Form 277">
                      <a:extLst>
                        <a:ext uri="{FF2B5EF4-FFF2-40B4-BE49-F238E27FC236}">
                          <a16:creationId xmlns:a16="http://schemas.microsoft.com/office/drawing/2014/main" id="{8C755A21-0D28-B556-B191-C96A575F51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91726" y="2614089"/>
                      <a:ext cx="589311" cy="566403"/>
                    </a:xfrm>
                    <a:custGeom>
                      <a:avLst/>
                      <a:gdLst>
                        <a:gd name="connsiteX0" fmla="*/ 162687 w 589311"/>
                        <a:gd name="connsiteY0" fmla="*/ 25193 h 566403"/>
                        <a:gd name="connsiteX1" fmla="*/ 155924 w 589311"/>
                        <a:gd name="connsiteY1" fmla="*/ 115775 h 566403"/>
                        <a:gd name="connsiteX2" fmla="*/ 952 w 589311"/>
                        <a:gd name="connsiteY2" fmla="*/ 472677 h 566403"/>
                        <a:gd name="connsiteX3" fmla="*/ 0 w 589311"/>
                        <a:gd name="connsiteY3" fmla="*/ 475630 h 566403"/>
                        <a:gd name="connsiteX4" fmla="*/ 232505 w 589311"/>
                        <a:gd name="connsiteY4" fmla="*/ 566403 h 566403"/>
                        <a:gd name="connsiteX5" fmla="*/ 185452 w 589311"/>
                        <a:gd name="connsiteY5" fmla="*/ 423623 h 566403"/>
                        <a:gd name="connsiteX6" fmla="*/ 258223 w 589311"/>
                        <a:gd name="connsiteY6" fmla="*/ 198548 h 566403"/>
                        <a:gd name="connsiteX7" fmla="*/ 555117 w 589311"/>
                        <a:gd name="connsiteY7" fmla="*/ 206453 h 566403"/>
                        <a:gd name="connsiteX8" fmla="*/ 589312 w 589311"/>
                        <a:gd name="connsiteY8" fmla="*/ 35765 h 566403"/>
                        <a:gd name="connsiteX9" fmla="*/ 162687 w 589311"/>
                        <a:gd name="connsiteY9" fmla="*/ 25193 h 5664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589311" h="566403">
                          <a:moveTo>
                            <a:pt x="162687" y="25193"/>
                          </a:moveTo>
                          <a:cubicBezTo>
                            <a:pt x="119063" y="80247"/>
                            <a:pt x="155924" y="115775"/>
                            <a:pt x="155924" y="115775"/>
                          </a:cubicBezTo>
                          <a:lnTo>
                            <a:pt x="952" y="472677"/>
                          </a:lnTo>
                          <a:cubicBezTo>
                            <a:pt x="571" y="473630"/>
                            <a:pt x="286" y="474677"/>
                            <a:pt x="0" y="475630"/>
                          </a:cubicBezTo>
                          <a:lnTo>
                            <a:pt x="232505" y="566403"/>
                          </a:lnTo>
                          <a:cubicBezTo>
                            <a:pt x="252603" y="528779"/>
                            <a:pt x="196405" y="487631"/>
                            <a:pt x="185452" y="423623"/>
                          </a:cubicBezTo>
                          <a:cubicBezTo>
                            <a:pt x="172879" y="350281"/>
                            <a:pt x="258223" y="198548"/>
                            <a:pt x="258223" y="198548"/>
                          </a:cubicBezTo>
                          <a:cubicBezTo>
                            <a:pt x="258223" y="198548"/>
                            <a:pt x="484632" y="210740"/>
                            <a:pt x="555117" y="206453"/>
                          </a:cubicBezTo>
                          <a:lnTo>
                            <a:pt x="589312" y="35765"/>
                          </a:lnTo>
                          <a:cubicBezTo>
                            <a:pt x="532352" y="10905"/>
                            <a:pt x="202406" y="-24814"/>
                            <a:pt x="162687" y="25193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79" name="Freihandform: Form 278">
                      <a:extLst>
                        <a:ext uri="{FF2B5EF4-FFF2-40B4-BE49-F238E27FC236}">
                          <a16:creationId xmlns:a16="http://schemas.microsoft.com/office/drawing/2014/main" id="{3F856690-FED4-BE83-7DD9-8E3FAC97A1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748660" y="2687954"/>
                      <a:ext cx="626027" cy="304133"/>
                    </a:xfrm>
                    <a:custGeom>
                      <a:avLst/>
                      <a:gdLst>
                        <a:gd name="connsiteX0" fmla="*/ 47244 w 626027"/>
                        <a:gd name="connsiteY0" fmla="*/ 0 h 304133"/>
                        <a:gd name="connsiteX1" fmla="*/ 244126 w 626027"/>
                        <a:gd name="connsiteY1" fmla="*/ 30956 h 304133"/>
                        <a:gd name="connsiteX2" fmla="*/ 438626 w 626027"/>
                        <a:gd name="connsiteY2" fmla="*/ 82106 h 304133"/>
                        <a:gd name="connsiteX3" fmla="*/ 527971 w 626027"/>
                        <a:gd name="connsiteY3" fmla="*/ 90202 h 304133"/>
                        <a:gd name="connsiteX4" fmla="*/ 624935 w 626027"/>
                        <a:gd name="connsiteY4" fmla="*/ 132874 h 304133"/>
                        <a:gd name="connsiteX5" fmla="*/ 542449 w 626027"/>
                        <a:gd name="connsiteY5" fmla="*/ 143542 h 304133"/>
                        <a:gd name="connsiteX6" fmla="*/ 490442 w 626027"/>
                        <a:gd name="connsiteY6" fmla="*/ 146399 h 304133"/>
                        <a:gd name="connsiteX7" fmla="*/ 488918 w 626027"/>
                        <a:gd name="connsiteY7" fmla="*/ 166021 h 304133"/>
                        <a:gd name="connsiteX8" fmla="*/ 467106 w 626027"/>
                        <a:gd name="connsiteY8" fmla="*/ 198120 h 304133"/>
                        <a:gd name="connsiteX9" fmla="*/ 417386 w 626027"/>
                        <a:gd name="connsiteY9" fmla="*/ 244221 h 304133"/>
                        <a:gd name="connsiteX10" fmla="*/ 366427 w 626027"/>
                        <a:gd name="connsiteY10" fmla="*/ 304133 h 304133"/>
                        <a:gd name="connsiteX11" fmla="*/ 231553 w 626027"/>
                        <a:gd name="connsiteY11" fmla="*/ 293370 h 304133"/>
                        <a:gd name="connsiteX12" fmla="*/ 0 w 626027"/>
                        <a:gd name="connsiteY12" fmla="*/ 168212 h 304133"/>
                        <a:gd name="connsiteX13" fmla="*/ 47339 w 626027"/>
                        <a:gd name="connsiteY13" fmla="*/ 0 h 3041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</a:cxnLst>
                      <a:rect l="l" t="t" r="r" b="b"/>
                      <a:pathLst>
                        <a:path w="626027" h="304133">
                          <a:moveTo>
                            <a:pt x="47244" y="0"/>
                          </a:moveTo>
                          <a:lnTo>
                            <a:pt x="244126" y="30956"/>
                          </a:lnTo>
                          <a:cubicBezTo>
                            <a:pt x="244126" y="30956"/>
                            <a:pt x="388430" y="66580"/>
                            <a:pt x="438626" y="82106"/>
                          </a:cubicBezTo>
                          <a:cubicBezTo>
                            <a:pt x="484823" y="86678"/>
                            <a:pt x="527971" y="90202"/>
                            <a:pt x="527971" y="90202"/>
                          </a:cubicBezTo>
                          <a:cubicBezTo>
                            <a:pt x="574167" y="84392"/>
                            <a:pt x="634936" y="97346"/>
                            <a:pt x="624935" y="132874"/>
                          </a:cubicBezTo>
                          <a:cubicBezTo>
                            <a:pt x="613315" y="135255"/>
                            <a:pt x="552736" y="142304"/>
                            <a:pt x="542449" y="143542"/>
                          </a:cubicBezTo>
                          <a:cubicBezTo>
                            <a:pt x="523685" y="145733"/>
                            <a:pt x="490442" y="146399"/>
                            <a:pt x="490442" y="146399"/>
                          </a:cubicBezTo>
                          <a:lnTo>
                            <a:pt x="488918" y="166021"/>
                          </a:lnTo>
                          <a:lnTo>
                            <a:pt x="467106" y="198120"/>
                          </a:lnTo>
                          <a:lnTo>
                            <a:pt x="417386" y="244221"/>
                          </a:lnTo>
                          <a:lnTo>
                            <a:pt x="366427" y="304133"/>
                          </a:lnTo>
                          <a:cubicBezTo>
                            <a:pt x="366427" y="304133"/>
                            <a:pt x="244697" y="292703"/>
                            <a:pt x="231553" y="293370"/>
                          </a:cubicBezTo>
                          <a:cubicBezTo>
                            <a:pt x="200787" y="294894"/>
                            <a:pt x="34100" y="193358"/>
                            <a:pt x="0" y="168212"/>
                          </a:cubicBezTo>
                          <a:cubicBezTo>
                            <a:pt x="6668" y="73533"/>
                            <a:pt x="47339" y="0"/>
                            <a:pt x="47339" y="0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80" name="Freihandform: Form 279">
                      <a:extLst>
                        <a:ext uri="{FF2B5EF4-FFF2-40B4-BE49-F238E27FC236}">
                          <a16:creationId xmlns:a16="http://schemas.microsoft.com/office/drawing/2014/main" id="{18504E2E-4F7E-2244-5A93-7F5B07DD0BC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78987" y="2815780"/>
                      <a:ext cx="160115" cy="36816"/>
                    </a:xfrm>
                    <a:custGeom>
                      <a:avLst/>
                      <a:gdLst>
                        <a:gd name="connsiteX0" fmla="*/ 160115 w 160115"/>
                        <a:gd name="connsiteY0" fmla="*/ 18669 h 36816"/>
                        <a:gd name="connsiteX1" fmla="*/ 55912 w 160115"/>
                        <a:gd name="connsiteY1" fmla="*/ 13335 h 36816"/>
                        <a:gd name="connsiteX2" fmla="*/ 0 w 160115"/>
                        <a:gd name="connsiteY2" fmla="*/ 0 h 36816"/>
                        <a:gd name="connsiteX3" fmla="*/ 79629 w 160115"/>
                        <a:gd name="connsiteY3" fmla="*/ 34671 h 36816"/>
                        <a:gd name="connsiteX4" fmla="*/ 158687 w 160115"/>
                        <a:gd name="connsiteY4" fmla="*/ 36576 h 36816"/>
                        <a:gd name="connsiteX5" fmla="*/ 160115 w 160115"/>
                        <a:gd name="connsiteY5" fmla="*/ 18669 h 3681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60115" h="36816">
                          <a:moveTo>
                            <a:pt x="160115" y="18669"/>
                          </a:moveTo>
                          <a:lnTo>
                            <a:pt x="55912" y="13335"/>
                          </a:lnTo>
                          <a:lnTo>
                            <a:pt x="0" y="0"/>
                          </a:lnTo>
                          <a:cubicBezTo>
                            <a:pt x="0" y="0"/>
                            <a:pt x="46958" y="31528"/>
                            <a:pt x="79629" y="34671"/>
                          </a:cubicBezTo>
                          <a:cubicBezTo>
                            <a:pt x="112300" y="37814"/>
                            <a:pt x="158687" y="36576"/>
                            <a:pt x="158687" y="36576"/>
                          </a:cubicBezTo>
                          <a:lnTo>
                            <a:pt x="160115" y="18669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281" name="Freihandform: Form 280">
                    <a:extLst>
                      <a:ext uri="{FF2B5EF4-FFF2-40B4-BE49-F238E27FC236}">
                        <a16:creationId xmlns:a16="http://schemas.microsoft.com/office/drawing/2014/main" id="{73C7FE32-657E-2484-A529-0FC327E30E10}"/>
                      </a:ext>
                    </a:extLst>
                  </p:cNvPr>
                  <p:cNvSpPr/>
                  <p:nvPr/>
                </p:nvSpPr>
                <p:spPr>
                  <a:xfrm rot="-2247599">
                    <a:off x="2681100" y="2683664"/>
                    <a:ext cx="174878" cy="174878"/>
                  </a:xfrm>
                  <a:custGeom>
                    <a:avLst/>
                    <a:gdLst>
                      <a:gd name="connsiteX0" fmla="*/ 174879 w 174878"/>
                      <a:gd name="connsiteY0" fmla="*/ 87439 h 174878"/>
                      <a:gd name="connsiteX1" fmla="*/ 87439 w 174878"/>
                      <a:gd name="connsiteY1" fmla="*/ 174879 h 174878"/>
                      <a:gd name="connsiteX2" fmla="*/ 0 w 174878"/>
                      <a:gd name="connsiteY2" fmla="*/ 87439 h 174878"/>
                      <a:gd name="connsiteX3" fmla="*/ 87439 w 174878"/>
                      <a:gd name="connsiteY3" fmla="*/ 0 h 174878"/>
                      <a:gd name="connsiteX4" fmla="*/ 174879 w 174878"/>
                      <a:gd name="connsiteY4" fmla="*/ 87439 h 174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74878" h="174878">
                        <a:moveTo>
                          <a:pt x="174879" y="87439"/>
                        </a:moveTo>
                        <a:cubicBezTo>
                          <a:pt x="174879" y="135731"/>
                          <a:pt x="135731" y="174879"/>
                          <a:pt x="87439" y="174879"/>
                        </a:cubicBezTo>
                        <a:cubicBezTo>
                          <a:pt x="39148" y="174879"/>
                          <a:pt x="0" y="135731"/>
                          <a:pt x="0" y="87439"/>
                        </a:cubicBezTo>
                        <a:cubicBezTo>
                          <a:pt x="0" y="39148"/>
                          <a:pt x="39148" y="0"/>
                          <a:pt x="87439" y="0"/>
                        </a:cubicBezTo>
                        <a:cubicBezTo>
                          <a:pt x="135731" y="0"/>
                          <a:pt x="174879" y="39148"/>
                          <a:pt x="174879" y="87439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82" name="Grafik 23">
                  <a:extLst>
                    <a:ext uri="{FF2B5EF4-FFF2-40B4-BE49-F238E27FC236}">
                      <a16:creationId xmlns:a16="http://schemas.microsoft.com/office/drawing/2014/main" id="{7734A28E-F96F-73DD-F935-5A41041B1F68}"/>
                    </a:ext>
                  </a:extLst>
                </p:cNvPr>
                <p:cNvGrpSpPr/>
                <p:nvPr/>
              </p:nvGrpSpPr>
              <p:grpSpPr>
                <a:xfrm>
                  <a:off x="1874837" y="2455926"/>
                  <a:ext cx="921353" cy="469868"/>
                  <a:chOff x="1874837" y="2455926"/>
                  <a:chExt cx="921353" cy="469868"/>
                </a:xfrm>
              </p:grpSpPr>
              <p:sp>
                <p:nvSpPr>
                  <p:cNvPr id="283" name="Freihandform: Form 282">
                    <a:extLst>
                      <a:ext uri="{FF2B5EF4-FFF2-40B4-BE49-F238E27FC236}">
                        <a16:creationId xmlns:a16="http://schemas.microsoft.com/office/drawing/2014/main" id="{165A9000-107B-243D-339A-2ADA8272A35F}"/>
                      </a:ext>
                    </a:extLst>
                  </p:cNvPr>
                  <p:cNvSpPr/>
                  <p:nvPr/>
                </p:nvSpPr>
                <p:spPr>
                  <a:xfrm>
                    <a:off x="2638551" y="2652045"/>
                    <a:ext cx="157352" cy="204120"/>
                  </a:xfrm>
                  <a:custGeom>
                    <a:avLst/>
                    <a:gdLst>
                      <a:gd name="connsiteX0" fmla="*/ 110014 w 157352"/>
                      <a:gd name="connsiteY0" fmla="*/ 204121 h 204120"/>
                      <a:gd name="connsiteX1" fmla="*/ 157353 w 157352"/>
                      <a:gd name="connsiteY1" fmla="*/ 35909 h 204120"/>
                      <a:gd name="connsiteX2" fmla="*/ 46387 w 157352"/>
                      <a:gd name="connsiteY2" fmla="*/ 0 h 204120"/>
                      <a:gd name="connsiteX3" fmla="*/ 0 w 157352"/>
                      <a:gd name="connsiteY3" fmla="*/ 187928 h 204120"/>
                      <a:gd name="connsiteX4" fmla="*/ 110014 w 157352"/>
                      <a:gd name="connsiteY4" fmla="*/ 204121 h 2041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7352" h="204120">
                        <a:moveTo>
                          <a:pt x="110014" y="204121"/>
                        </a:moveTo>
                        <a:lnTo>
                          <a:pt x="157353" y="35909"/>
                        </a:lnTo>
                        <a:lnTo>
                          <a:pt x="46387" y="0"/>
                        </a:lnTo>
                        <a:lnTo>
                          <a:pt x="0" y="187928"/>
                        </a:lnTo>
                        <a:lnTo>
                          <a:pt x="110014" y="204121"/>
                        </a:ln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4" name="Freihandform: Form 283">
                    <a:extLst>
                      <a:ext uri="{FF2B5EF4-FFF2-40B4-BE49-F238E27FC236}">
                        <a16:creationId xmlns:a16="http://schemas.microsoft.com/office/drawing/2014/main" id="{04B9EE4C-F2D8-73BC-8A49-BBEA9D400BC3}"/>
                      </a:ext>
                    </a:extLst>
                  </p:cNvPr>
                  <p:cNvSpPr/>
                  <p:nvPr/>
                </p:nvSpPr>
                <p:spPr>
                  <a:xfrm>
                    <a:off x="2012663" y="2463641"/>
                    <a:ext cx="783526" cy="462153"/>
                  </a:xfrm>
                  <a:custGeom>
                    <a:avLst/>
                    <a:gdLst>
                      <a:gd name="connsiteX0" fmla="*/ 0 w 783526"/>
                      <a:gd name="connsiteY0" fmla="*/ 334423 h 462153"/>
                      <a:gd name="connsiteX1" fmla="*/ 742188 w 783526"/>
                      <a:gd name="connsiteY1" fmla="*/ 462153 h 462153"/>
                      <a:gd name="connsiteX2" fmla="*/ 783527 w 783526"/>
                      <a:gd name="connsiteY2" fmla="*/ 163259 h 462153"/>
                      <a:gd name="connsiteX3" fmla="*/ 86201 w 783526"/>
                      <a:gd name="connsiteY3" fmla="*/ 0 h 462153"/>
                      <a:gd name="connsiteX4" fmla="*/ 0 w 783526"/>
                      <a:gd name="connsiteY4" fmla="*/ 334423 h 4621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83526" h="462153">
                        <a:moveTo>
                          <a:pt x="0" y="334423"/>
                        </a:moveTo>
                        <a:lnTo>
                          <a:pt x="742188" y="462153"/>
                        </a:lnTo>
                        <a:lnTo>
                          <a:pt x="783527" y="163259"/>
                        </a:lnTo>
                        <a:lnTo>
                          <a:pt x="86201" y="0"/>
                        </a:lnTo>
                        <a:lnTo>
                          <a:pt x="0" y="33442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5" name="Freihandform: Form 284">
                    <a:extLst>
                      <a:ext uri="{FF2B5EF4-FFF2-40B4-BE49-F238E27FC236}">
                        <a16:creationId xmlns:a16="http://schemas.microsoft.com/office/drawing/2014/main" id="{36B3AEFF-26BD-470B-42F7-3FF8E429964D}"/>
                      </a:ext>
                    </a:extLst>
                  </p:cNvPr>
                  <p:cNvSpPr/>
                  <p:nvPr/>
                </p:nvSpPr>
                <p:spPr>
                  <a:xfrm>
                    <a:off x="1874837" y="2455926"/>
                    <a:ext cx="345567" cy="345567"/>
                  </a:xfrm>
                  <a:custGeom>
                    <a:avLst/>
                    <a:gdLst>
                      <a:gd name="connsiteX0" fmla="*/ 345567 w 345567"/>
                      <a:gd name="connsiteY0" fmla="*/ 172783 h 345567"/>
                      <a:gd name="connsiteX1" fmla="*/ 172784 w 345567"/>
                      <a:gd name="connsiteY1" fmla="*/ 345567 h 345567"/>
                      <a:gd name="connsiteX2" fmla="*/ 0 w 345567"/>
                      <a:gd name="connsiteY2" fmla="*/ 172783 h 345567"/>
                      <a:gd name="connsiteX3" fmla="*/ 172784 w 345567"/>
                      <a:gd name="connsiteY3" fmla="*/ 0 h 345567"/>
                      <a:gd name="connsiteX4" fmla="*/ 345567 w 345567"/>
                      <a:gd name="connsiteY4" fmla="*/ 172783 h 3455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45567" h="345567">
                        <a:moveTo>
                          <a:pt x="345567" y="172783"/>
                        </a:moveTo>
                        <a:cubicBezTo>
                          <a:pt x="345567" y="268209"/>
                          <a:pt x="268209" y="345567"/>
                          <a:pt x="172784" y="345567"/>
                        </a:cubicBezTo>
                        <a:cubicBezTo>
                          <a:pt x="77358" y="345567"/>
                          <a:pt x="0" y="268209"/>
                          <a:pt x="0" y="172783"/>
                        </a:cubicBezTo>
                        <a:cubicBezTo>
                          <a:pt x="0" y="77358"/>
                          <a:pt x="77358" y="0"/>
                          <a:pt x="172784" y="0"/>
                        </a:cubicBezTo>
                        <a:cubicBezTo>
                          <a:pt x="268209" y="0"/>
                          <a:pt x="345567" y="77358"/>
                          <a:pt x="345567" y="17278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86" name="Grafik 23">
                  <a:extLst>
                    <a:ext uri="{FF2B5EF4-FFF2-40B4-BE49-F238E27FC236}">
                      <a16:creationId xmlns:a16="http://schemas.microsoft.com/office/drawing/2014/main" id="{6EC3C075-169A-CDAC-969E-9CE4C45B167A}"/>
                    </a:ext>
                  </a:extLst>
                </p:cNvPr>
                <p:cNvGrpSpPr/>
                <p:nvPr/>
              </p:nvGrpSpPr>
              <p:grpSpPr>
                <a:xfrm>
                  <a:off x="1875789" y="1478509"/>
                  <a:ext cx="599222" cy="1188109"/>
                  <a:chOff x="1875789" y="1478509"/>
                  <a:chExt cx="599222" cy="1188109"/>
                </a:xfrm>
                <a:solidFill>
                  <a:srgbClr val="FFFFFF"/>
                </a:solidFill>
              </p:grpSpPr>
              <p:sp>
                <p:nvSpPr>
                  <p:cNvPr id="287" name="Freihandform: Form 286">
                    <a:extLst>
                      <a:ext uri="{FF2B5EF4-FFF2-40B4-BE49-F238E27FC236}">
                        <a16:creationId xmlns:a16="http://schemas.microsoft.com/office/drawing/2014/main" id="{1912B5F1-7E86-36B7-2430-768DF05FDAA6}"/>
                      </a:ext>
                    </a:extLst>
                  </p:cNvPr>
                  <p:cNvSpPr/>
                  <p:nvPr/>
                </p:nvSpPr>
                <p:spPr>
                  <a:xfrm>
                    <a:off x="1875789" y="1699831"/>
                    <a:ext cx="512349" cy="966787"/>
                  </a:xfrm>
                  <a:custGeom>
                    <a:avLst/>
                    <a:gdLst>
                      <a:gd name="connsiteX0" fmla="*/ 115062 w 512349"/>
                      <a:gd name="connsiteY0" fmla="*/ 0 h 966787"/>
                      <a:gd name="connsiteX1" fmla="*/ 0 w 512349"/>
                      <a:gd name="connsiteY1" fmla="*/ 910971 h 966787"/>
                      <a:gd name="connsiteX2" fmla="*/ 340424 w 512349"/>
                      <a:gd name="connsiteY2" fmla="*/ 966788 h 966787"/>
                      <a:gd name="connsiteX3" fmla="*/ 512350 w 512349"/>
                      <a:gd name="connsiteY3" fmla="*/ 108204 h 966787"/>
                      <a:gd name="connsiteX4" fmla="*/ 115062 w 512349"/>
                      <a:gd name="connsiteY4" fmla="*/ 0 h 9667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2349" h="966787">
                        <a:moveTo>
                          <a:pt x="115062" y="0"/>
                        </a:moveTo>
                        <a:cubicBezTo>
                          <a:pt x="46673" y="214884"/>
                          <a:pt x="0" y="910971"/>
                          <a:pt x="0" y="910971"/>
                        </a:cubicBezTo>
                        <a:cubicBezTo>
                          <a:pt x="148495" y="945070"/>
                          <a:pt x="190024" y="966788"/>
                          <a:pt x="340424" y="966788"/>
                        </a:cubicBezTo>
                        <a:cubicBezTo>
                          <a:pt x="447485" y="721614"/>
                          <a:pt x="512350" y="108204"/>
                          <a:pt x="512350" y="108204"/>
                        </a:cubicBezTo>
                        <a:cubicBezTo>
                          <a:pt x="364046" y="68008"/>
                          <a:pt x="315373" y="50768"/>
                          <a:pt x="115062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8" name="Freihandform: Form 287">
                    <a:extLst>
                      <a:ext uri="{FF2B5EF4-FFF2-40B4-BE49-F238E27FC236}">
                        <a16:creationId xmlns:a16="http://schemas.microsoft.com/office/drawing/2014/main" id="{FA023EFF-A332-CA6A-E594-F53F2C85B2EE}"/>
                      </a:ext>
                    </a:extLst>
                  </p:cNvPr>
                  <p:cNvSpPr/>
                  <p:nvPr/>
                </p:nvSpPr>
                <p:spPr>
                  <a:xfrm rot="-2247599">
                    <a:off x="1979225" y="1561481"/>
                    <a:ext cx="412813" cy="412813"/>
                  </a:xfrm>
                  <a:custGeom>
                    <a:avLst/>
                    <a:gdLst>
                      <a:gd name="connsiteX0" fmla="*/ 412813 w 412813"/>
                      <a:gd name="connsiteY0" fmla="*/ 206407 h 412813"/>
                      <a:gd name="connsiteX1" fmla="*/ 206407 w 412813"/>
                      <a:gd name="connsiteY1" fmla="*/ 412813 h 412813"/>
                      <a:gd name="connsiteX2" fmla="*/ 0 w 412813"/>
                      <a:gd name="connsiteY2" fmla="*/ 206407 h 412813"/>
                      <a:gd name="connsiteX3" fmla="*/ 206407 w 412813"/>
                      <a:gd name="connsiteY3" fmla="*/ 0 h 412813"/>
                      <a:gd name="connsiteX4" fmla="*/ 412813 w 412813"/>
                      <a:gd name="connsiteY4" fmla="*/ 206407 h 4128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2813" h="412813">
                        <a:moveTo>
                          <a:pt x="412813" y="206407"/>
                        </a:moveTo>
                        <a:cubicBezTo>
                          <a:pt x="412813" y="320402"/>
                          <a:pt x="320402" y="412813"/>
                          <a:pt x="206407" y="412813"/>
                        </a:cubicBezTo>
                        <a:cubicBezTo>
                          <a:pt x="92411" y="412813"/>
                          <a:pt x="0" y="320402"/>
                          <a:pt x="0" y="206407"/>
                        </a:cubicBezTo>
                        <a:cubicBezTo>
                          <a:pt x="0" y="92411"/>
                          <a:pt x="92411" y="0"/>
                          <a:pt x="206407" y="0"/>
                        </a:cubicBezTo>
                        <a:cubicBezTo>
                          <a:pt x="320402" y="0"/>
                          <a:pt x="412813" y="92411"/>
                          <a:pt x="412813" y="20640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</p:grpSp>
        <p:sp>
          <p:nvSpPr>
            <p:cNvPr id="514" name="Rechteck 513">
              <a:extLst>
                <a:ext uri="{FF2B5EF4-FFF2-40B4-BE49-F238E27FC236}">
                  <a16:creationId xmlns:a16="http://schemas.microsoft.com/office/drawing/2014/main" id="{6D850EFC-F546-0601-E184-5F30A6BDA963}"/>
                </a:ext>
              </a:extLst>
            </p:cNvPr>
            <p:cNvSpPr>
              <a:spLocks/>
            </p:cNvSpPr>
            <p:nvPr/>
          </p:nvSpPr>
          <p:spPr>
            <a:xfrm>
              <a:off x="9210675" y="1826246"/>
              <a:ext cx="53975" cy="906229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l"/>
              <a:endParaRPr lang="en-US" sz="1000" b="1">
                <a:solidFill>
                  <a:schemeClr val="tx1"/>
                </a:solidFill>
              </a:endParaRPr>
            </a:p>
          </p:txBody>
        </p:sp>
      </p:grpSp>
      <p:grpSp>
        <p:nvGrpSpPr>
          <p:cNvPr id="560" name="Gruppieren 559">
            <a:extLst>
              <a:ext uri="{FF2B5EF4-FFF2-40B4-BE49-F238E27FC236}">
                <a16:creationId xmlns:a16="http://schemas.microsoft.com/office/drawing/2014/main" id="{C04F1BB9-662C-6891-6566-8A35C36CB13D}"/>
              </a:ext>
            </a:extLst>
          </p:cNvPr>
          <p:cNvGrpSpPr>
            <a:grpSpLocks/>
          </p:cNvGrpSpPr>
          <p:nvPr/>
        </p:nvGrpSpPr>
        <p:grpSpPr>
          <a:xfrm>
            <a:off x="9210675" y="2912475"/>
            <a:ext cx="2201842" cy="906229"/>
            <a:chOff x="9210675" y="2912475"/>
            <a:chExt cx="2201842" cy="906229"/>
          </a:xfrm>
        </p:grpSpPr>
        <p:sp>
          <p:nvSpPr>
            <p:cNvPr id="513" name="Rechteck 512">
              <a:extLst>
                <a:ext uri="{FF2B5EF4-FFF2-40B4-BE49-F238E27FC236}">
                  <a16:creationId xmlns:a16="http://schemas.microsoft.com/office/drawing/2014/main" id="{1243F522-6128-5650-BC63-577EE5FCBFCB}"/>
                </a:ext>
              </a:extLst>
            </p:cNvPr>
            <p:cNvSpPr>
              <a:spLocks/>
            </p:cNvSpPr>
            <p:nvPr/>
          </p:nvSpPr>
          <p:spPr>
            <a:xfrm>
              <a:off x="9210675" y="2912475"/>
              <a:ext cx="2201842" cy="90622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tlCol="0" anchor="t"/>
            <a:lstStyle/>
            <a:p>
              <a:r>
                <a:rPr lang="en-US" sz="1200" b="1" err="1">
                  <a:solidFill>
                    <a:schemeClr val="tx1"/>
                  </a:solidFill>
                </a:rPr>
                <a:t>Anwender</a:t>
              </a:r>
              <a:r>
                <a:rPr lang="en-US" sz="1200" b="1">
                  <a:solidFill>
                    <a:schemeClr val="tx1"/>
                  </a:solidFill>
                </a:rPr>
                <a:t>*</a:t>
              </a:r>
              <a:r>
                <a:rPr lang="en-US" sz="1200" b="1" err="1">
                  <a:solidFill>
                    <a:schemeClr val="tx1"/>
                  </a:solidFill>
                </a:rPr>
                <a:t>innen</a:t>
              </a:r>
              <a:endParaRPr lang="en-US" sz="1200" b="1">
                <a:solidFill>
                  <a:schemeClr val="tx1"/>
                </a:solidFill>
              </a:endParaRPr>
            </a:p>
            <a:p>
              <a:pPr algn="l"/>
              <a:endParaRPr lang="en-US" sz="1200" b="1">
                <a:solidFill>
                  <a:schemeClr val="tx1"/>
                </a:solidFill>
              </a:endParaRPr>
            </a:p>
          </p:txBody>
        </p:sp>
        <p:grpSp>
          <p:nvGrpSpPr>
            <p:cNvPr id="504" name="Gruppieren 503">
              <a:extLst>
                <a:ext uri="{FF2B5EF4-FFF2-40B4-BE49-F238E27FC236}">
                  <a16:creationId xmlns:a16="http://schemas.microsoft.com/office/drawing/2014/main" id="{FA1D84E1-ABCD-7B8E-9F51-F516C4766F97}"/>
                </a:ext>
              </a:extLst>
            </p:cNvPr>
            <p:cNvGrpSpPr>
              <a:grpSpLocks/>
            </p:cNvGrpSpPr>
            <p:nvPr/>
          </p:nvGrpSpPr>
          <p:grpSpPr>
            <a:xfrm flipH="1">
              <a:off x="10699750" y="3003018"/>
              <a:ext cx="516340" cy="708249"/>
              <a:chOff x="9590362" y="1659724"/>
              <a:chExt cx="2578928" cy="3537443"/>
            </a:xfrm>
          </p:grpSpPr>
          <p:grpSp>
            <p:nvGrpSpPr>
              <p:cNvPr id="300" name="Grafik 297">
                <a:extLst>
                  <a:ext uri="{FF2B5EF4-FFF2-40B4-BE49-F238E27FC236}">
                    <a16:creationId xmlns:a16="http://schemas.microsoft.com/office/drawing/2014/main" id="{3B76EAE2-ED55-B521-2209-420484A1C451}"/>
                  </a:ext>
                </a:extLst>
              </p:cNvPr>
              <p:cNvGrpSpPr/>
              <p:nvPr/>
            </p:nvGrpSpPr>
            <p:grpSpPr>
              <a:xfrm>
                <a:off x="11138852" y="1928127"/>
                <a:ext cx="1030438" cy="3268937"/>
                <a:chOff x="11138852" y="1928127"/>
                <a:chExt cx="1030438" cy="3268937"/>
              </a:xfrm>
            </p:grpSpPr>
            <p:grpSp>
              <p:nvGrpSpPr>
                <p:cNvPr id="301" name="Grafik 297">
                  <a:extLst>
                    <a:ext uri="{FF2B5EF4-FFF2-40B4-BE49-F238E27FC236}">
                      <a16:creationId xmlns:a16="http://schemas.microsoft.com/office/drawing/2014/main" id="{E97B5F6D-3CF1-FCAB-C1E8-D13FC3CEC591}"/>
                    </a:ext>
                  </a:extLst>
                </p:cNvPr>
                <p:cNvGrpSpPr/>
                <p:nvPr/>
              </p:nvGrpSpPr>
              <p:grpSpPr>
                <a:xfrm>
                  <a:off x="11876781" y="2514754"/>
                  <a:ext cx="292510" cy="1386761"/>
                  <a:chOff x="11876781" y="2514754"/>
                  <a:chExt cx="292510" cy="1386761"/>
                </a:xfrm>
              </p:grpSpPr>
              <p:grpSp>
                <p:nvGrpSpPr>
                  <p:cNvPr id="302" name="Grafik 297">
                    <a:extLst>
                      <a:ext uri="{FF2B5EF4-FFF2-40B4-BE49-F238E27FC236}">
                        <a16:creationId xmlns:a16="http://schemas.microsoft.com/office/drawing/2014/main" id="{03E2DCC8-309D-4243-10BD-3323E7D7FDC7}"/>
                      </a:ext>
                    </a:extLst>
                  </p:cNvPr>
                  <p:cNvGrpSpPr/>
                  <p:nvPr/>
                </p:nvGrpSpPr>
                <p:grpSpPr>
                  <a:xfrm>
                    <a:off x="11972799" y="3056405"/>
                    <a:ext cx="164676" cy="555321"/>
                    <a:chOff x="11972799" y="3056405"/>
                    <a:chExt cx="164676" cy="555321"/>
                  </a:xfrm>
                </p:grpSpPr>
                <p:sp>
                  <p:nvSpPr>
                    <p:cNvPr id="303" name="Freihandform: Form 302">
                      <a:extLst>
                        <a:ext uri="{FF2B5EF4-FFF2-40B4-BE49-F238E27FC236}">
                          <a16:creationId xmlns:a16="http://schemas.microsoft.com/office/drawing/2014/main" id="{43674BC9-E866-8D28-A254-4A73E1311BD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72799" y="3137396"/>
                      <a:ext cx="164494" cy="474330"/>
                    </a:xfrm>
                    <a:custGeom>
                      <a:avLst/>
                      <a:gdLst>
                        <a:gd name="connsiteX0" fmla="*/ 108364 w 164494"/>
                        <a:gd name="connsiteY0" fmla="*/ 474331 h 474330"/>
                        <a:gd name="connsiteX1" fmla="*/ 24047 w 164494"/>
                        <a:gd name="connsiteY1" fmla="*/ 463686 h 474330"/>
                        <a:gd name="connsiteX2" fmla="*/ 1001 w 164494"/>
                        <a:gd name="connsiteY2" fmla="*/ 0 h 474330"/>
                        <a:gd name="connsiteX3" fmla="*/ 164495 w 164494"/>
                        <a:gd name="connsiteY3" fmla="*/ 9012 h 474330"/>
                        <a:gd name="connsiteX4" fmla="*/ 108364 w 164494"/>
                        <a:gd name="connsiteY4" fmla="*/ 474331 h 4743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64494" h="474330">
                          <a:moveTo>
                            <a:pt x="108364" y="474331"/>
                          </a:moveTo>
                          <a:lnTo>
                            <a:pt x="24047" y="463686"/>
                          </a:lnTo>
                          <a:cubicBezTo>
                            <a:pt x="24047" y="463686"/>
                            <a:pt x="-5773" y="46574"/>
                            <a:pt x="1001" y="0"/>
                          </a:cubicBezTo>
                          <a:lnTo>
                            <a:pt x="164495" y="9012"/>
                          </a:lnTo>
                          <a:cubicBezTo>
                            <a:pt x="144353" y="220350"/>
                            <a:pt x="121792" y="349911"/>
                            <a:pt x="108364" y="474331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04" name="Freihandform: Form 303">
                      <a:extLst>
                        <a:ext uri="{FF2B5EF4-FFF2-40B4-BE49-F238E27FC236}">
                          <a16:creationId xmlns:a16="http://schemas.microsoft.com/office/drawing/2014/main" id="{1CCB67D5-CAF0-4FB2-0F7D-E6F3F0C6693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74042" y="3056405"/>
                      <a:ext cx="163433" cy="163433"/>
                    </a:xfrm>
                    <a:custGeom>
                      <a:avLst/>
                      <a:gdLst>
                        <a:gd name="connsiteX0" fmla="*/ 163433 w 163433"/>
                        <a:gd name="connsiteY0" fmla="*/ 81717 h 163433"/>
                        <a:gd name="connsiteX1" fmla="*/ 81717 w 163433"/>
                        <a:gd name="connsiteY1" fmla="*/ 163433 h 163433"/>
                        <a:gd name="connsiteX2" fmla="*/ 0 w 163433"/>
                        <a:gd name="connsiteY2" fmla="*/ 81717 h 163433"/>
                        <a:gd name="connsiteX3" fmla="*/ 81717 w 163433"/>
                        <a:gd name="connsiteY3" fmla="*/ 0 h 163433"/>
                        <a:gd name="connsiteX4" fmla="*/ 163433 w 163433"/>
                        <a:gd name="connsiteY4" fmla="*/ 81717 h 1634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63433" h="163433">
                          <a:moveTo>
                            <a:pt x="163433" y="81717"/>
                          </a:moveTo>
                          <a:cubicBezTo>
                            <a:pt x="163433" y="126847"/>
                            <a:pt x="126848" y="163433"/>
                            <a:pt x="81717" y="163433"/>
                          </a:cubicBezTo>
                          <a:cubicBezTo>
                            <a:pt x="36586" y="163433"/>
                            <a:pt x="0" y="126847"/>
                            <a:pt x="0" y="81717"/>
                          </a:cubicBezTo>
                          <a:cubicBezTo>
                            <a:pt x="0" y="36586"/>
                            <a:pt x="36586" y="0"/>
                            <a:pt x="81717" y="0"/>
                          </a:cubicBezTo>
                          <a:cubicBezTo>
                            <a:pt x="126848" y="0"/>
                            <a:pt x="163433" y="36586"/>
                            <a:pt x="163433" y="81717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05" name="Freihandform: Form 304">
                      <a:extLst>
                        <a:ext uri="{FF2B5EF4-FFF2-40B4-BE49-F238E27FC236}">
                          <a16:creationId xmlns:a16="http://schemas.microsoft.com/office/drawing/2014/main" id="{18ABD3BD-9389-D813-05F9-69AEC7F8718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92974" y="3544769"/>
                      <a:ext cx="94962" cy="66957"/>
                    </a:xfrm>
                    <a:custGeom>
                      <a:avLst/>
                      <a:gdLst>
                        <a:gd name="connsiteX0" fmla="*/ 0 w 94962"/>
                        <a:gd name="connsiteY0" fmla="*/ 0 h 66957"/>
                        <a:gd name="connsiteX1" fmla="*/ 3932 w 94962"/>
                        <a:gd name="connsiteY1" fmla="*/ 56312 h 66957"/>
                        <a:gd name="connsiteX2" fmla="*/ 88249 w 94962"/>
                        <a:gd name="connsiteY2" fmla="*/ 66958 h 66957"/>
                        <a:gd name="connsiteX3" fmla="*/ 94963 w 94962"/>
                        <a:gd name="connsiteY3" fmla="*/ 9617 h 66957"/>
                        <a:gd name="connsiteX4" fmla="*/ 0 w 94962"/>
                        <a:gd name="connsiteY4" fmla="*/ 0 h 66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94962" h="66957">
                          <a:moveTo>
                            <a:pt x="0" y="0"/>
                          </a:moveTo>
                          <a:cubicBezTo>
                            <a:pt x="2359" y="34356"/>
                            <a:pt x="3932" y="56312"/>
                            <a:pt x="3932" y="56312"/>
                          </a:cubicBezTo>
                          <a:lnTo>
                            <a:pt x="88249" y="66958"/>
                          </a:lnTo>
                          <a:cubicBezTo>
                            <a:pt x="90305" y="48026"/>
                            <a:pt x="92543" y="29033"/>
                            <a:pt x="94963" y="9617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306" name="Freihandform: Form 305">
                    <a:extLst>
                      <a:ext uri="{FF2B5EF4-FFF2-40B4-BE49-F238E27FC236}">
                        <a16:creationId xmlns:a16="http://schemas.microsoft.com/office/drawing/2014/main" id="{14EC80C2-DB2B-CBA8-8973-6E23BDDF8B7A}"/>
                      </a:ext>
                    </a:extLst>
                  </p:cNvPr>
                  <p:cNvSpPr/>
                  <p:nvPr/>
                </p:nvSpPr>
                <p:spPr>
                  <a:xfrm>
                    <a:off x="11916157" y="2526609"/>
                    <a:ext cx="253134" cy="668188"/>
                  </a:xfrm>
                  <a:custGeom>
                    <a:avLst/>
                    <a:gdLst>
                      <a:gd name="connsiteX0" fmla="*/ 114258 w 253134"/>
                      <a:gd name="connsiteY0" fmla="*/ 0 h 668188"/>
                      <a:gd name="connsiteX1" fmla="*/ 194644 w 253134"/>
                      <a:gd name="connsiteY1" fmla="*/ 160409 h 668188"/>
                      <a:gd name="connsiteX2" fmla="*/ 253134 w 253134"/>
                      <a:gd name="connsiteY2" fmla="*/ 666434 h 668188"/>
                      <a:gd name="connsiteX3" fmla="*/ 41312 w 253134"/>
                      <a:gd name="connsiteY3" fmla="*/ 668189 h 668188"/>
                      <a:gd name="connsiteX4" fmla="*/ 0 w 253134"/>
                      <a:gd name="connsiteY4" fmla="*/ 175167 h 668188"/>
                      <a:gd name="connsiteX5" fmla="*/ 114198 w 253134"/>
                      <a:gd name="connsiteY5" fmla="*/ 0 h 6681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53134" h="668188">
                        <a:moveTo>
                          <a:pt x="114258" y="0"/>
                        </a:moveTo>
                        <a:cubicBezTo>
                          <a:pt x="114258" y="0"/>
                          <a:pt x="178192" y="18993"/>
                          <a:pt x="194644" y="160409"/>
                        </a:cubicBezTo>
                        <a:cubicBezTo>
                          <a:pt x="211096" y="301825"/>
                          <a:pt x="253134" y="666434"/>
                          <a:pt x="253134" y="666434"/>
                        </a:cubicBezTo>
                        <a:lnTo>
                          <a:pt x="41312" y="668189"/>
                        </a:lnTo>
                        <a:lnTo>
                          <a:pt x="0" y="175167"/>
                        </a:lnTo>
                        <a:lnTo>
                          <a:pt x="114198" y="0"/>
                        </a:ln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07" name="Freihandform: Form 306">
                    <a:extLst>
                      <a:ext uri="{FF2B5EF4-FFF2-40B4-BE49-F238E27FC236}">
                        <a16:creationId xmlns:a16="http://schemas.microsoft.com/office/drawing/2014/main" id="{5CDEBDE1-690D-EE27-10B8-922B2A961742}"/>
                      </a:ext>
                    </a:extLst>
                  </p:cNvPr>
                  <p:cNvSpPr/>
                  <p:nvPr/>
                </p:nvSpPr>
                <p:spPr>
                  <a:xfrm>
                    <a:off x="11876781" y="2514754"/>
                    <a:ext cx="210128" cy="210128"/>
                  </a:xfrm>
                  <a:custGeom>
                    <a:avLst/>
                    <a:gdLst>
                      <a:gd name="connsiteX0" fmla="*/ 210129 w 210128"/>
                      <a:gd name="connsiteY0" fmla="*/ 105064 h 210128"/>
                      <a:gd name="connsiteX1" fmla="*/ 105064 w 210128"/>
                      <a:gd name="connsiteY1" fmla="*/ 210128 h 210128"/>
                      <a:gd name="connsiteX2" fmla="*/ 0 w 210128"/>
                      <a:gd name="connsiteY2" fmla="*/ 105064 h 210128"/>
                      <a:gd name="connsiteX3" fmla="*/ 105064 w 210128"/>
                      <a:gd name="connsiteY3" fmla="*/ 0 h 210128"/>
                      <a:gd name="connsiteX4" fmla="*/ 210129 w 210128"/>
                      <a:gd name="connsiteY4" fmla="*/ 105064 h 2101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0128" h="210128">
                        <a:moveTo>
                          <a:pt x="210129" y="105064"/>
                        </a:moveTo>
                        <a:cubicBezTo>
                          <a:pt x="210129" y="163089"/>
                          <a:pt x="163089" y="210128"/>
                          <a:pt x="105064" y="210128"/>
                        </a:cubicBezTo>
                        <a:cubicBezTo>
                          <a:pt x="47039" y="210128"/>
                          <a:pt x="0" y="163089"/>
                          <a:pt x="0" y="105064"/>
                        </a:cubicBezTo>
                        <a:cubicBezTo>
                          <a:pt x="0" y="47039"/>
                          <a:pt x="47039" y="0"/>
                          <a:pt x="105064" y="0"/>
                        </a:cubicBezTo>
                        <a:cubicBezTo>
                          <a:pt x="163089" y="0"/>
                          <a:pt x="210129" y="47039"/>
                          <a:pt x="210129" y="105064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308" name="Grafik 297">
                    <a:extLst>
                      <a:ext uri="{FF2B5EF4-FFF2-40B4-BE49-F238E27FC236}">
                        <a16:creationId xmlns:a16="http://schemas.microsoft.com/office/drawing/2014/main" id="{4F86260C-4504-EB81-6616-835DCB9F06FC}"/>
                      </a:ext>
                    </a:extLst>
                  </p:cNvPr>
                  <p:cNvGrpSpPr/>
                  <p:nvPr/>
                </p:nvGrpSpPr>
                <p:grpSpPr>
                  <a:xfrm>
                    <a:off x="11946098" y="3566242"/>
                    <a:ext cx="143230" cy="335273"/>
                    <a:chOff x="11946098" y="3566242"/>
                    <a:chExt cx="143230" cy="335273"/>
                  </a:xfrm>
                  <a:solidFill>
                    <a:srgbClr val="02787D"/>
                  </a:solidFill>
                </p:grpSpPr>
                <p:grpSp>
                  <p:nvGrpSpPr>
                    <p:cNvPr id="309" name="Grafik 297">
                      <a:extLst>
                        <a:ext uri="{FF2B5EF4-FFF2-40B4-BE49-F238E27FC236}">
                          <a16:creationId xmlns:a16="http://schemas.microsoft.com/office/drawing/2014/main" id="{ED436F3D-517A-36B9-5267-57D320273D8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91897" y="3779147"/>
                      <a:ext cx="71060" cy="63636"/>
                      <a:chOff x="11991897" y="3779147"/>
                      <a:chExt cx="71060" cy="63636"/>
                    </a:xfrm>
                    <a:solidFill>
                      <a:srgbClr val="02787D"/>
                    </a:solidFill>
                  </p:grpSpPr>
                  <p:sp>
                    <p:nvSpPr>
                      <p:cNvPr id="310" name="Freihandform: Form 309">
                        <a:extLst>
                          <a:ext uri="{FF2B5EF4-FFF2-40B4-BE49-F238E27FC236}">
                            <a16:creationId xmlns:a16="http://schemas.microsoft.com/office/drawing/2014/main" id="{D1E10D74-FFAD-0C29-2D28-92138CAB591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91897" y="3797206"/>
                        <a:ext cx="39028" cy="45577"/>
                      </a:xfrm>
                      <a:custGeom>
                        <a:avLst/>
                        <a:gdLst>
                          <a:gd name="connsiteX0" fmla="*/ 1924 w 39028"/>
                          <a:gd name="connsiteY0" fmla="*/ 45577 h 45577"/>
                          <a:gd name="connsiteX1" fmla="*/ 26179 w 39028"/>
                          <a:gd name="connsiteY1" fmla="*/ 33298 h 45577"/>
                          <a:gd name="connsiteX2" fmla="*/ 38759 w 39028"/>
                          <a:gd name="connsiteY2" fmla="*/ 6443 h 45577"/>
                          <a:gd name="connsiteX3" fmla="*/ 37005 w 39028"/>
                          <a:gd name="connsiteY3" fmla="*/ 31 h 45577"/>
                          <a:gd name="connsiteX4" fmla="*/ 9968 w 39028"/>
                          <a:gd name="connsiteY4" fmla="*/ 19568 h 45577"/>
                          <a:gd name="connsiteX5" fmla="*/ 1984 w 39028"/>
                          <a:gd name="connsiteY5" fmla="*/ 45577 h 45577"/>
                          <a:gd name="connsiteX6" fmla="*/ 1984 w 39028"/>
                          <a:gd name="connsiteY6" fmla="*/ 45577 h 455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9028" h="45577">
                            <a:moveTo>
                              <a:pt x="1924" y="45577"/>
                            </a:moveTo>
                            <a:lnTo>
                              <a:pt x="26179" y="33298"/>
                            </a:lnTo>
                            <a:cubicBezTo>
                              <a:pt x="35312" y="28460"/>
                              <a:pt x="40272" y="18721"/>
                              <a:pt x="38759" y="6443"/>
                            </a:cubicBezTo>
                            <a:cubicBezTo>
                              <a:pt x="38276" y="2511"/>
                              <a:pt x="37670" y="-332"/>
                              <a:pt x="37005" y="31"/>
                            </a:cubicBezTo>
                            <a:cubicBezTo>
                              <a:pt x="35614" y="636"/>
                              <a:pt x="24061" y="8923"/>
                              <a:pt x="9968" y="19568"/>
                            </a:cubicBezTo>
                            <a:cubicBezTo>
                              <a:pt x="1077" y="26343"/>
                              <a:pt x="-2613" y="32875"/>
                              <a:pt x="1984" y="45577"/>
                            </a:cubicBezTo>
                            <a:lnTo>
                              <a:pt x="1984" y="4557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11" name="Freihandform: Form 310">
                        <a:extLst>
                          <a:ext uri="{FF2B5EF4-FFF2-40B4-BE49-F238E27FC236}">
                            <a16:creationId xmlns:a16="http://schemas.microsoft.com/office/drawing/2014/main" id="{FE294465-0C94-2496-FBBC-2CA084C3F4B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13756" y="3779147"/>
                        <a:ext cx="49201" cy="51418"/>
                      </a:xfrm>
                      <a:custGeom>
                        <a:avLst/>
                        <a:gdLst>
                          <a:gd name="connsiteX0" fmla="*/ 4320 w 49201"/>
                          <a:gd name="connsiteY0" fmla="*/ 51358 h 51418"/>
                          <a:gd name="connsiteX1" fmla="*/ 41518 w 49201"/>
                          <a:gd name="connsiteY1" fmla="*/ 30793 h 51418"/>
                          <a:gd name="connsiteX2" fmla="*/ 49019 w 49201"/>
                          <a:gd name="connsiteY2" fmla="*/ 24139 h 51418"/>
                          <a:gd name="connsiteX3" fmla="*/ 28454 w 49201"/>
                          <a:gd name="connsiteY3" fmla="*/ 5 h 51418"/>
                          <a:gd name="connsiteX4" fmla="*/ 6558 w 49201"/>
                          <a:gd name="connsiteY4" fmla="*/ 23655 h 51418"/>
                          <a:gd name="connsiteX5" fmla="*/ 4320 w 49201"/>
                          <a:gd name="connsiteY5" fmla="*/ 51418 h 51418"/>
                          <a:gd name="connsiteX6" fmla="*/ 4320 w 49201"/>
                          <a:gd name="connsiteY6" fmla="*/ 51418 h 514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9201" h="51418">
                            <a:moveTo>
                              <a:pt x="4320" y="51358"/>
                            </a:moveTo>
                            <a:lnTo>
                              <a:pt x="41518" y="30793"/>
                            </a:lnTo>
                            <a:cubicBezTo>
                              <a:pt x="46055" y="28071"/>
                              <a:pt x="47748" y="25712"/>
                              <a:pt x="49019" y="24139"/>
                            </a:cubicBezTo>
                            <a:cubicBezTo>
                              <a:pt x="50894" y="12163"/>
                              <a:pt x="37950" y="-297"/>
                              <a:pt x="28454" y="5"/>
                            </a:cubicBezTo>
                            <a:lnTo>
                              <a:pt x="6558" y="23655"/>
                            </a:lnTo>
                            <a:cubicBezTo>
                              <a:pt x="-2092" y="29825"/>
                              <a:pt x="-1487" y="39442"/>
                              <a:pt x="4320" y="51418"/>
                            </a:cubicBezTo>
                            <a:lnTo>
                              <a:pt x="4320" y="51418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312" name="Grafik 297">
                      <a:extLst>
                        <a:ext uri="{FF2B5EF4-FFF2-40B4-BE49-F238E27FC236}">
                          <a16:creationId xmlns:a16="http://schemas.microsoft.com/office/drawing/2014/main" id="{ED34ECF0-54F8-2E4E-3EE1-62F6E586BA0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85158" y="3753599"/>
                      <a:ext cx="101447" cy="124931"/>
                      <a:chOff x="11985158" y="3753599"/>
                      <a:chExt cx="101447" cy="124931"/>
                    </a:xfrm>
                    <a:solidFill>
                      <a:srgbClr val="02787D"/>
                    </a:solidFill>
                  </p:grpSpPr>
                  <p:sp>
                    <p:nvSpPr>
                      <p:cNvPr id="313" name="Freihandform: Form 312">
                        <a:extLst>
                          <a:ext uri="{FF2B5EF4-FFF2-40B4-BE49-F238E27FC236}">
                            <a16:creationId xmlns:a16="http://schemas.microsoft.com/office/drawing/2014/main" id="{2B690837-479E-7652-0CD1-2E24327308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85158" y="3820113"/>
                        <a:ext cx="47131" cy="58418"/>
                      </a:xfrm>
                      <a:custGeom>
                        <a:avLst/>
                        <a:gdLst>
                          <a:gd name="connsiteX0" fmla="*/ 2493 w 47131"/>
                          <a:gd name="connsiteY0" fmla="*/ 58418 h 58418"/>
                          <a:gd name="connsiteX1" fmla="*/ 31768 w 47131"/>
                          <a:gd name="connsiteY1" fmla="*/ 40091 h 58418"/>
                          <a:gd name="connsiteX2" fmla="*/ 46768 w 47131"/>
                          <a:gd name="connsiteY2" fmla="*/ 7126 h 58418"/>
                          <a:gd name="connsiteX3" fmla="*/ 44530 w 47131"/>
                          <a:gd name="connsiteY3" fmla="*/ 49 h 58418"/>
                          <a:gd name="connsiteX4" fmla="*/ 11928 w 47131"/>
                          <a:gd name="connsiteY4" fmla="*/ 27207 h 58418"/>
                          <a:gd name="connsiteX5" fmla="*/ 2493 w 47131"/>
                          <a:gd name="connsiteY5" fmla="*/ 58418 h 58418"/>
                          <a:gd name="connsiteX6" fmla="*/ 2493 w 47131"/>
                          <a:gd name="connsiteY6" fmla="*/ 58418 h 584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7131" h="58418">
                            <a:moveTo>
                              <a:pt x="2493" y="58418"/>
                            </a:moveTo>
                            <a:lnTo>
                              <a:pt x="31768" y="40091"/>
                            </a:lnTo>
                            <a:cubicBezTo>
                              <a:pt x="42777" y="32953"/>
                              <a:pt x="48704" y="20917"/>
                              <a:pt x="46768" y="7126"/>
                            </a:cubicBezTo>
                            <a:cubicBezTo>
                              <a:pt x="46164" y="2710"/>
                              <a:pt x="45377" y="-435"/>
                              <a:pt x="44530" y="49"/>
                            </a:cubicBezTo>
                            <a:cubicBezTo>
                              <a:pt x="42897" y="1017"/>
                              <a:pt x="28925" y="12509"/>
                              <a:pt x="11928" y="27207"/>
                            </a:cubicBezTo>
                            <a:cubicBezTo>
                              <a:pt x="1223" y="36522"/>
                              <a:pt x="-3193" y="44627"/>
                              <a:pt x="2493" y="58418"/>
                            </a:cubicBezTo>
                            <a:lnTo>
                              <a:pt x="2493" y="58418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14" name="Freihandform: Form 313">
                        <a:extLst>
                          <a:ext uri="{FF2B5EF4-FFF2-40B4-BE49-F238E27FC236}">
                            <a16:creationId xmlns:a16="http://schemas.microsoft.com/office/drawing/2014/main" id="{D5C1333C-E6E2-AE62-B5CE-9EE721DA3C6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10819" y="3786350"/>
                        <a:ext cx="62106" cy="74155"/>
                      </a:xfrm>
                      <a:custGeom>
                        <a:avLst/>
                        <a:gdLst>
                          <a:gd name="connsiteX0" fmla="*/ 5381 w 62106"/>
                          <a:gd name="connsiteY0" fmla="*/ 74156 h 74155"/>
                          <a:gd name="connsiteX1" fmla="*/ 50080 w 62106"/>
                          <a:gd name="connsiteY1" fmla="*/ 45546 h 74155"/>
                          <a:gd name="connsiteX2" fmla="*/ 55766 w 62106"/>
                          <a:gd name="connsiteY2" fmla="*/ 3569 h 74155"/>
                          <a:gd name="connsiteX3" fmla="*/ 50927 w 62106"/>
                          <a:gd name="connsiteY3" fmla="*/ 0 h 74155"/>
                          <a:gd name="connsiteX4" fmla="*/ 7801 w 62106"/>
                          <a:gd name="connsiteY4" fmla="*/ 41917 h 74155"/>
                          <a:gd name="connsiteX5" fmla="*/ 5381 w 62106"/>
                          <a:gd name="connsiteY5" fmla="*/ 74095 h 74155"/>
                          <a:gd name="connsiteX6" fmla="*/ 5381 w 62106"/>
                          <a:gd name="connsiteY6" fmla="*/ 74095 h 7415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2106" h="74155">
                            <a:moveTo>
                              <a:pt x="5381" y="74156"/>
                            </a:moveTo>
                            <a:lnTo>
                              <a:pt x="50080" y="45546"/>
                            </a:lnTo>
                            <a:cubicBezTo>
                              <a:pt x="63508" y="36776"/>
                              <a:pt x="66109" y="17601"/>
                              <a:pt x="55766" y="3569"/>
                            </a:cubicBezTo>
                            <a:lnTo>
                              <a:pt x="50927" y="0"/>
                            </a:lnTo>
                            <a:lnTo>
                              <a:pt x="7801" y="41917"/>
                            </a:lnTo>
                            <a:cubicBezTo>
                              <a:pt x="-2603" y="50506"/>
                              <a:pt x="-1756" y="61393"/>
                              <a:pt x="5381" y="74095"/>
                            </a:cubicBezTo>
                            <a:lnTo>
                              <a:pt x="5381" y="7409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15" name="Freihandform: Form 314">
                        <a:extLst>
                          <a:ext uri="{FF2B5EF4-FFF2-40B4-BE49-F238E27FC236}">
                            <a16:creationId xmlns:a16="http://schemas.microsoft.com/office/drawing/2014/main" id="{4B273918-4317-2EE6-43B5-43F7E8152A7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44011" y="3753599"/>
                        <a:ext cx="42594" cy="70796"/>
                      </a:xfrm>
                      <a:custGeom>
                        <a:avLst/>
                        <a:gdLst>
                          <a:gd name="connsiteX0" fmla="*/ 42595 w 42594"/>
                          <a:gd name="connsiteY0" fmla="*/ 9343 h 70796"/>
                          <a:gd name="connsiteX1" fmla="*/ 28139 w 42594"/>
                          <a:gd name="connsiteY1" fmla="*/ 64506 h 70796"/>
                          <a:gd name="connsiteX2" fmla="*/ 24207 w 42594"/>
                          <a:gd name="connsiteY2" fmla="*/ 70797 h 70796"/>
                          <a:gd name="connsiteX3" fmla="*/ 194 w 42594"/>
                          <a:gd name="connsiteY3" fmla="*/ 37167 h 70796"/>
                          <a:gd name="connsiteX4" fmla="*/ 2976 w 42594"/>
                          <a:gd name="connsiteY4" fmla="*/ 6561 h 70796"/>
                          <a:gd name="connsiteX5" fmla="*/ 42595 w 42594"/>
                          <a:gd name="connsiteY5" fmla="*/ 9343 h 7079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42594" h="70796">
                            <a:moveTo>
                              <a:pt x="42595" y="9343"/>
                            </a:moveTo>
                            <a:cubicBezTo>
                              <a:pt x="39813" y="20775"/>
                              <a:pt x="28139" y="64506"/>
                              <a:pt x="28139" y="64506"/>
                            </a:cubicBezTo>
                            <a:lnTo>
                              <a:pt x="24207" y="70797"/>
                            </a:lnTo>
                            <a:cubicBezTo>
                              <a:pt x="7997" y="67047"/>
                              <a:pt x="-1500" y="52409"/>
                              <a:pt x="194" y="37167"/>
                            </a:cubicBezTo>
                            <a:lnTo>
                              <a:pt x="2976" y="6561"/>
                            </a:lnTo>
                            <a:cubicBezTo>
                              <a:pt x="9751" y="-2633"/>
                              <a:pt x="39873" y="-2573"/>
                              <a:pt x="42595" y="9343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316" name="Grafik 297">
                      <a:extLst>
                        <a:ext uri="{FF2B5EF4-FFF2-40B4-BE49-F238E27FC236}">
                          <a16:creationId xmlns:a16="http://schemas.microsoft.com/office/drawing/2014/main" id="{5AD94133-9E06-DF49-EA1D-D96DA22169F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90326" y="3742989"/>
                      <a:ext cx="85513" cy="158526"/>
                      <a:chOff x="11990326" y="3742989"/>
                      <a:chExt cx="85513" cy="158526"/>
                    </a:xfrm>
                    <a:solidFill>
                      <a:srgbClr val="02787D"/>
                    </a:solidFill>
                  </p:grpSpPr>
                  <p:sp>
                    <p:nvSpPr>
                      <p:cNvPr id="317" name="Freihandform: Form 316">
                        <a:extLst>
                          <a:ext uri="{FF2B5EF4-FFF2-40B4-BE49-F238E27FC236}">
                            <a16:creationId xmlns:a16="http://schemas.microsoft.com/office/drawing/2014/main" id="{32B3E9C1-4530-E7DC-8D1B-1ED852E5EE7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90326" y="3824551"/>
                        <a:ext cx="38110" cy="76964"/>
                      </a:xfrm>
                      <a:custGeom>
                        <a:avLst/>
                        <a:gdLst>
                          <a:gd name="connsiteX0" fmla="*/ 8575 w 38110"/>
                          <a:gd name="connsiteY0" fmla="*/ 76904 h 76964"/>
                          <a:gd name="connsiteX1" fmla="*/ 31076 w 38110"/>
                          <a:gd name="connsiteY1" fmla="*/ 46298 h 76964"/>
                          <a:gd name="connsiteX2" fmla="*/ 33012 w 38110"/>
                          <a:gd name="connsiteY2" fmla="*/ 6498 h 76964"/>
                          <a:gd name="connsiteX3" fmla="*/ 27870 w 38110"/>
                          <a:gd name="connsiteY3" fmla="*/ 147 h 76964"/>
                          <a:gd name="connsiteX4" fmla="*/ 5491 w 38110"/>
                          <a:gd name="connsiteY4" fmla="*/ 41157 h 76964"/>
                          <a:gd name="connsiteX5" fmla="*/ 8515 w 38110"/>
                          <a:gd name="connsiteY5" fmla="*/ 76964 h 76964"/>
                          <a:gd name="connsiteX6" fmla="*/ 8515 w 38110"/>
                          <a:gd name="connsiteY6" fmla="*/ 76964 h 769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8110" h="76964">
                            <a:moveTo>
                              <a:pt x="8575" y="76904"/>
                            </a:moveTo>
                            <a:lnTo>
                              <a:pt x="31076" y="46298"/>
                            </a:lnTo>
                            <a:cubicBezTo>
                              <a:pt x="39484" y="34563"/>
                              <a:pt x="40633" y="19805"/>
                              <a:pt x="33012" y="6498"/>
                            </a:cubicBezTo>
                            <a:cubicBezTo>
                              <a:pt x="30592" y="2204"/>
                              <a:pt x="28536" y="-700"/>
                              <a:pt x="27870" y="147"/>
                            </a:cubicBezTo>
                            <a:cubicBezTo>
                              <a:pt x="26540" y="1780"/>
                              <a:pt x="16922" y="19200"/>
                              <a:pt x="5491" y="41157"/>
                            </a:cubicBezTo>
                            <a:cubicBezTo>
                              <a:pt x="-1707" y="55008"/>
                              <a:pt x="-2917" y="65109"/>
                              <a:pt x="8515" y="76964"/>
                            </a:cubicBezTo>
                            <a:lnTo>
                              <a:pt x="8515" y="76964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18" name="Freihandform: Form 317">
                        <a:extLst>
                          <a:ext uri="{FF2B5EF4-FFF2-40B4-BE49-F238E27FC236}">
                            <a16:creationId xmlns:a16="http://schemas.microsoft.com/office/drawing/2014/main" id="{4D530E5C-51AC-8157-7103-93A1F8DD211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05558" y="3796330"/>
                        <a:ext cx="52356" cy="76575"/>
                      </a:xfrm>
                      <a:custGeom>
                        <a:avLst/>
                        <a:gdLst>
                          <a:gd name="connsiteX0" fmla="*/ 14271 w 52356"/>
                          <a:gd name="connsiteY0" fmla="*/ 76575 h 76575"/>
                          <a:gd name="connsiteX1" fmla="*/ 48144 w 52356"/>
                          <a:gd name="connsiteY1" fmla="*/ 28852 h 76575"/>
                          <a:gd name="connsiteX2" fmla="*/ 29817 w 52356"/>
                          <a:gd name="connsiteY2" fmla="*/ 1815 h 76575"/>
                          <a:gd name="connsiteX3" fmla="*/ 27518 w 52356"/>
                          <a:gd name="connsiteY3" fmla="*/ 0 h 76575"/>
                          <a:gd name="connsiteX4" fmla="*/ 3384 w 52356"/>
                          <a:gd name="connsiteY4" fmla="*/ 42280 h 76575"/>
                          <a:gd name="connsiteX5" fmla="*/ 13425 w 52356"/>
                          <a:gd name="connsiteY5" fmla="*/ 75910 h 76575"/>
                          <a:gd name="connsiteX6" fmla="*/ 14271 w 52356"/>
                          <a:gd name="connsiteY6" fmla="*/ 76575 h 7657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2356" h="76575">
                            <a:moveTo>
                              <a:pt x="14271" y="76575"/>
                            </a:moveTo>
                            <a:lnTo>
                              <a:pt x="48144" y="28852"/>
                            </a:lnTo>
                            <a:cubicBezTo>
                              <a:pt x="58366" y="14396"/>
                              <a:pt x="49111" y="6714"/>
                              <a:pt x="29817" y="1815"/>
                            </a:cubicBezTo>
                            <a:lnTo>
                              <a:pt x="27518" y="0"/>
                            </a:lnTo>
                            <a:lnTo>
                              <a:pt x="3384" y="42280"/>
                            </a:lnTo>
                            <a:cubicBezTo>
                              <a:pt x="-3814" y="55284"/>
                              <a:pt x="904" y="65809"/>
                              <a:pt x="13425" y="75910"/>
                            </a:cubicBezTo>
                            <a:lnTo>
                              <a:pt x="14271" y="7657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19" name="Freihandform: Form 318">
                        <a:extLst>
                          <a:ext uri="{FF2B5EF4-FFF2-40B4-BE49-F238E27FC236}">
                            <a16:creationId xmlns:a16="http://schemas.microsoft.com/office/drawing/2014/main" id="{ED7820B9-B354-240C-B995-54889BD0912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31820" y="3742989"/>
                        <a:ext cx="44019" cy="76991"/>
                      </a:xfrm>
                      <a:custGeom>
                        <a:avLst/>
                        <a:gdLst>
                          <a:gd name="connsiteX0" fmla="*/ 43959 w 44019"/>
                          <a:gd name="connsiteY0" fmla="*/ 12090 h 76991"/>
                          <a:gd name="connsiteX1" fmla="*/ 24725 w 44019"/>
                          <a:gd name="connsiteY1" fmla="*/ 76991 h 76991"/>
                          <a:gd name="connsiteX2" fmla="*/ 228 w 44019"/>
                          <a:gd name="connsiteY2" fmla="*/ 53886 h 76991"/>
                          <a:gd name="connsiteX3" fmla="*/ 4764 w 44019"/>
                          <a:gd name="connsiteY3" fmla="*/ 5981 h 76991"/>
                          <a:gd name="connsiteX4" fmla="*/ 44019 w 44019"/>
                          <a:gd name="connsiteY4" fmla="*/ 12150 h 7699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44019" h="76991">
                            <a:moveTo>
                              <a:pt x="43959" y="12090"/>
                            </a:moveTo>
                            <a:cubicBezTo>
                              <a:pt x="43778" y="13300"/>
                              <a:pt x="24725" y="76991"/>
                              <a:pt x="24725" y="76991"/>
                            </a:cubicBezTo>
                            <a:cubicBezTo>
                              <a:pt x="6881" y="72939"/>
                              <a:pt x="-1527" y="70640"/>
                              <a:pt x="228" y="53886"/>
                            </a:cubicBezTo>
                            <a:lnTo>
                              <a:pt x="4764" y="5981"/>
                            </a:lnTo>
                            <a:cubicBezTo>
                              <a:pt x="12143" y="-4181"/>
                              <a:pt x="40935" y="-915"/>
                              <a:pt x="44019" y="12150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320" name="Grafik 297">
                      <a:extLst>
                        <a:ext uri="{FF2B5EF4-FFF2-40B4-BE49-F238E27FC236}">
                          <a16:creationId xmlns:a16="http://schemas.microsoft.com/office/drawing/2014/main" id="{4AAE05CD-0CB7-E1C3-3476-4128428E962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87985" y="3749196"/>
                      <a:ext cx="74487" cy="151835"/>
                      <a:chOff x="11987985" y="3749196"/>
                      <a:chExt cx="74487" cy="151835"/>
                    </a:xfrm>
                    <a:solidFill>
                      <a:srgbClr val="02787D"/>
                    </a:solidFill>
                  </p:grpSpPr>
                  <p:sp>
                    <p:nvSpPr>
                      <p:cNvPr id="321" name="Freihandform: Form 320">
                        <a:extLst>
                          <a:ext uri="{FF2B5EF4-FFF2-40B4-BE49-F238E27FC236}">
                            <a16:creationId xmlns:a16="http://schemas.microsoft.com/office/drawing/2014/main" id="{209EF6B3-A9D8-93E3-9EDB-B735EB274F6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87985" y="3830759"/>
                        <a:ext cx="34589" cy="70272"/>
                      </a:xfrm>
                      <a:custGeom>
                        <a:avLst/>
                        <a:gdLst>
                          <a:gd name="connsiteX0" fmla="*/ 10917 w 34589"/>
                          <a:gd name="connsiteY0" fmla="*/ 70273 h 70272"/>
                          <a:gd name="connsiteX1" fmla="*/ 29426 w 34589"/>
                          <a:gd name="connsiteY1" fmla="*/ 40393 h 70272"/>
                          <a:gd name="connsiteX2" fmla="*/ 27672 w 34589"/>
                          <a:gd name="connsiteY2" fmla="*/ 5371 h 70272"/>
                          <a:gd name="connsiteX3" fmla="*/ 21744 w 34589"/>
                          <a:gd name="connsiteY3" fmla="*/ 169 h 70272"/>
                          <a:gd name="connsiteX4" fmla="*/ 3356 w 34589"/>
                          <a:gd name="connsiteY4" fmla="*/ 38215 h 70272"/>
                          <a:gd name="connsiteX5" fmla="*/ 10978 w 34589"/>
                          <a:gd name="connsiteY5" fmla="*/ 70273 h 70272"/>
                          <a:gd name="connsiteX6" fmla="*/ 10978 w 34589"/>
                          <a:gd name="connsiteY6" fmla="*/ 70273 h 7027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4589" h="70272">
                            <a:moveTo>
                              <a:pt x="10917" y="70273"/>
                            </a:moveTo>
                            <a:lnTo>
                              <a:pt x="29426" y="40393"/>
                            </a:lnTo>
                            <a:cubicBezTo>
                              <a:pt x="36260" y="28961"/>
                              <a:pt x="36926" y="16743"/>
                              <a:pt x="27672" y="5371"/>
                            </a:cubicBezTo>
                            <a:cubicBezTo>
                              <a:pt x="24708" y="1742"/>
                              <a:pt x="22288" y="-677"/>
                              <a:pt x="21744" y="169"/>
                            </a:cubicBezTo>
                            <a:cubicBezTo>
                              <a:pt x="20655" y="1803"/>
                              <a:pt x="11885" y="17287"/>
                              <a:pt x="3356" y="38215"/>
                            </a:cubicBezTo>
                            <a:cubicBezTo>
                              <a:pt x="-2027" y="51461"/>
                              <a:pt x="-1906" y="60716"/>
                              <a:pt x="10978" y="70273"/>
                            </a:cubicBezTo>
                            <a:lnTo>
                              <a:pt x="10978" y="70273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22" name="Freihandform: Form 321">
                        <a:extLst>
                          <a:ext uri="{FF2B5EF4-FFF2-40B4-BE49-F238E27FC236}">
                            <a16:creationId xmlns:a16="http://schemas.microsoft.com/office/drawing/2014/main" id="{D727BE33-3200-DB74-C4A5-7C53FC98CE1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01678" y="3796330"/>
                        <a:ext cx="46919" cy="74881"/>
                      </a:xfrm>
                      <a:custGeom>
                        <a:avLst/>
                        <a:gdLst>
                          <a:gd name="connsiteX0" fmla="*/ 15672 w 46919"/>
                          <a:gd name="connsiteY0" fmla="*/ 74821 h 74881"/>
                          <a:gd name="connsiteX1" fmla="*/ 43556 w 46919"/>
                          <a:gd name="connsiteY1" fmla="*/ 28670 h 74881"/>
                          <a:gd name="connsiteX2" fmla="*/ 26741 w 46919"/>
                          <a:gd name="connsiteY2" fmla="*/ 0 h 74881"/>
                          <a:gd name="connsiteX3" fmla="*/ 22084 w 46919"/>
                          <a:gd name="connsiteY3" fmla="*/ 4960 h 74881"/>
                          <a:gd name="connsiteX4" fmla="*/ 2124 w 46919"/>
                          <a:gd name="connsiteY4" fmla="*/ 46393 h 74881"/>
                          <a:gd name="connsiteX5" fmla="*/ 15672 w 46919"/>
                          <a:gd name="connsiteY5" fmla="*/ 74881 h 74881"/>
                          <a:gd name="connsiteX6" fmla="*/ 15672 w 46919"/>
                          <a:gd name="connsiteY6" fmla="*/ 74881 h 74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6919" h="74881">
                            <a:moveTo>
                              <a:pt x="15672" y="74821"/>
                            </a:moveTo>
                            <a:lnTo>
                              <a:pt x="43556" y="28670"/>
                            </a:lnTo>
                            <a:cubicBezTo>
                              <a:pt x="51843" y="14577"/>
                              <a:pt x="44282" y="7561"/>
                              <a:pt x="26741" y="0"/>
                            </a:cubicBezTo>
                            <a:lnTo>
                              <a:pt x="22084" y="4960"/>
                            </a:lnTo>
                            <a:lnTo>
                              <a:pt x="2124" y="46393"/>
                            </a:lnTo>
                            <a:cubicBezTo>
                              <a:pt x="-3320" y="58853"/>
                              <a:pt x="1881" y="66958"/>
                              <a:pt x="15672" y="74881"/>
                            </a:cubicBezTo>
                            <a:lnTo>
                              <a:pt x="15672" y="74881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23" name="Freihandform: Form 322">
                        <a:extLst>
                          <a:ext uri="{FF2B5EF4-FFF2-40B4-BE49-F238E27FC236}">
                            <a16:creationId xmlns:a16="http://schemas.microsoft.com/office/drawing/2014/main" id="{A1F7D5EB-2D29-1462-BE0F-2991CE819C5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23561" y="3749196"/>
                        <a:ext cx="38911" cy="69332"/>
                      </a:xfrm>
                      <a:custGeom>
                        <a:avLst/>
                        <a:gdLst>
                          <a:gd name="connsiteX0" fmla="*/ 38851 w 38911"/>
                          <a:gd name="connsiteY0" fmla="*/ 6729 h 69332"/>
                          <a:gd name="connsiteX1" fmla="*/ 24576 w 38911"/>
                          <a:gd name="connsiteY1" fmla="*/ 69332 h 69332"/>
                          <a:gd name="connsiteX2" fmla="*/ 19 w 38911"/>
                          <a:gd name="connsiteY2" fmla="*/ 54392 h 69332"/>
                          <a:gd name="connsiteX3" fmla="*/ 3950 w 38911"/>
                          <a:gd name="connsiteY3" fmla="*/ 9814 h 69332"/>
                          <a:gd name="connsiteX4" fmla="*/ 38911 w 38911"/>
                          <a:gd name="connsiteY4" fmla="*/ 6729 h 6933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38911" h="69332">
                            <a:moveTo>
                              <a:pt x="38851" y="6729"/>
                            </a:moveTo>
                            <a:cubicBezTo>
                              <a:pt x="38790" y="7818"/>
                              <a:pt x="24576" y="69332"/>
                              <a:pt x="24576" y="69332"/>
                            </a:cubicBezTo>
                            <a:cubicBezTo>
                              <a:pt x="6370" y="66611"/>
                              <a:pt x="-405" y="69756"/>
                              <a:pt x="19" y="54392"/>
                            </a:cubicBezTo>
                            <a:lnTo>
                              <a:pt x="3950" y="9814"/>
                            </a:lnTo>
                            <a:cubicBezTo>
                              <a:pt x="10543" y="197"/>
                              <a:pt x="34798" y="-4944"/>
                              <a:pt x="38911" y="6729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324" name="Grafik 297">
                      <a:extLst>
                        <a:ext uri="{FF2B5EF4-FFF2-40B4-BE49-F238E27FC236}">
                          <a16:creationId xmlns:a16="http://schemas.microsoft.com/office/drawing/2014/main" id="{EA59B917-8F56-3759-2E95-638010CF2FA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46098" y="3618585"/>
                      <a:ext cx="105739" cy="213190"/>
                      <a:chOff x="11946098" y="3618585"/>
                      <a:chExt cx="105739" cy="213190"/>
                    </a:xfrm>
                    <a:solidFill>
                      <a:srgbClr val="02787D"/>
                    </a:solidFill>
                  </p:grpSpPr>
                  <p:sp>
                    <p:nvSpPr>
                      <p:cNvPr id="325" name="Freihandform: Form 324">
                        <a:extLst>
                          <a:ext uri="{FF2B5EF4-FFF2-40B4-BE49-F238E27FC236}">
                            <a16:creationId xmlns:a16="http://schemas.microsoft.com/office/drawing/2014/main" id="{F825FD72-9942-FE15-57E3-09E481B40BD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58921" y="3744917"/>
                        <a:ext cx="32671" cy="86858"/>
                      </a:xfrm>
                      <a:custGeom>
                        <a:avLst/>
                        <a:gdLst>
                          <a:gd name="connsiteX0" fmla="*/ 12339 w 32671"/>
                          <a:gd name="connsiteY0" fmla="*/ 86858 h 86858"/>
                          <a:gd name="connsiteX1" fmla="*/ 0 w 32671"/>
                          <a:gd name="connsiteY1" fmla="*/ 44216 h 86858"/>
                          <a:gd name="connsiteX2" fmla="*/ 11673 w 32671"/>
                          <a:gd name="connsiteY2" fmla="*/ 2359 h 86858"/>
                          <a:gd name="connsiteX3" fmla="*/ 20202 w 32671"/>
                          <a:gd name="connsiteY3" fmla="*/ 1089 h 86858"/>
                          <a:gd name="connsiteX4" fmla="*/ 31997 w 32671"/>
                          <a:gd name="connsiteY4" fmla="*/ 52684 h 86858"/>
                          <a:gd name="connsiteX5" fmla="*/ 12399 w 32671"/>
                          <a:gd name="connsiteY5" fmla="*/ 86858 h 86858"/>
                          <a:gd name="connsiteX6" fmla="*/ 12399 w 32671"/>
                          <a:gd name="connsiteY6" fmla="*/ 86858 h 868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2671" h="86858">
                            <a:moveTo>
                              <a:pt x="12339" y="86858"/>
                            </a:moveTo>
                            <a:lnTo>
                              <a:pt x="0" y="44216"/>
                            </a:lnTo>
                            <a:cubicBezTo>
                              <a:pt x="1573" y="30304"/>
                              <a:pt x="3206" y="8771"/>
                              <a:pt x="11673" y="2359"/>
                            </a:cubicBezTo>
                            <a:cubicBezTo>
                              <a:pt x="16452" y="-1270"/>
                              <a:pt x="19779" y="121"/>
                              <a:pt x="20202" y="1089"/>
                            </a:cubicBezTo>
                            <a:cubicBezTo>
                              <a:pt x="23347" y="8226"/>
                              <a:pt x="28610" y="30909"/>
                              <a:pt x="31997" y="52684"/>
                            </a:cubicBezTo>
                            <a:cubicBezTo>
                              <a:pt x="34356" y="67805"/>
                              <a:pt x="31150" y="77906"/>
                              <a:pt x="12399" y="86858"/>
                            </a:cubicBezTo>
                            <a:lnTo>
                              <a:pt x="12399" y="86858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26" name="Freihandform: Form 325">
                        <a:extLst>
                          <a:ext uri="{FF2B5EF4-FFF2-40B4-BE49-F238E27FC236}">
                            <a16:creationId xmlns:a16="http://schemas.microsoft.com/office/drawing/2014/main" id="{22D0EA89-1B05-4DB2-ADBB-27EEDDFFB5E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46098" y="3716544"/>
                        <a:ext cx="49961" cy="74915"/>
                      </a:xfrm>
                      <a:custGeom>
                        <a:avLst/>
                        <a:gdLst>
                          <a:gd name="connsiteX0" fmla="*/ 0 w 49961"/>
                          <a:gd name="connsiteY0" fmla="*/ 6901 h 74915"/>
                          <a:gd name="connsiteX1" fmla="*/ 49961 w 49961"/>
                          <a:gd name="connsiteY1" fmla="*/ 13554 h 74915"/>
                          <a:gd name="connsiteX2" fmla="*/ 38651 w 49961"/>
                          <a:gd name="connsiteY2" fmla="*/ 49180 h 74915"/>
                          <a:gd name="connsiteX3" fmla="*/ 12823 w 49961"/>
                          <a:gd name="connsiteY3" fmla="*/ 72588 h 74915"/>
                          <a:gd name="connsiteX4" fmla="*/ 0 w 49961"/>
                          <a:gd name="connsiteY4" fmla="*/ 6901 h 7491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49961" h="74915">
                            <a:moveTo>
                              <a:pt x="0" y="6901"/>
                            </a:moveTo>
                            <a:cubicBezTo>
                              <a:pt x="16029" y="-11850"/>
                              <a:pt x="49961" y="13554"/>
                              <a:pt x="49961" y="13554"/>
                            </a:cubicBezTo>
                            <a:lnTo>
                              <a:pt x="38651" y="49180"/>
                            </a:lnTo>
                            <a:cubicBezTo>
                              <a:pt x="36836" y="64846"/>
                              <a:pt x="25404" y="81056"/>
                              <a:pt x="12823" y="72588"/>
                            </a:cubicBezTo>
                            <a:cubicBezTo>
                              <a:pt x="12823" y="72588"/>
                              <a:pt x="61" y="6175"/>
                              <a:pt x="0" y="6901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27" name="Freihandform: Form 326">
                        <a:extLst>
                          <a:ext uri="{FF2B5EF4-FFF2-40B4-BE49-F238E27FC236}">
                            <a16:creationId xmlns:a16="http://schemas.microsoft.com/office/drawing/2014/main" id="{7423FC1F-B614-D738-43D9-567CF21A8A0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46098" y="3618585"/>
                        <a:ext cx="105739" cy="122980"/>
                      </a:xfrm>
                      <a:custGeom>
                        <a:avLst/>
                        <a:gdLst>
                          <a:gd name="connsiteX0" fmla="*/ 13005 w 105739"/>
                          <a:gd name="connsiteY0" fmla="*/ 52237 h 122980"/>
                          <a:gd name="connsiteX1" fmla="*/ 0 w 105739"/>
                          <a:gd name="connsiteY1" fmla="*/ 104860 h 122980"/>
                          <a:gd name="connsiteX2" fmla="*/ 0 w 105739"/>
                          <a:gd name="connsiteY2" fmla="*/ 104860 h 122980"/>
                          <a:gd name="connsiteX3" fmla="*/ 49598 w 105739"/>
                          <a:gd name="connsiteY3" fmla="*/ 112360 h 122980"/>
                          <a:gd name="connsiteX4" fmla="*/ 96475 w 105739"/>
                          <a:gd name="connsiteY4" fmla="*/ 56532 h 122980"/>
                          <a:gd name="connsiteX5" fmla="*/ 47300 w 105739"/>
                          <a:gd name="connsiteY5" fmla="*/ 3244 h 122980"/>
                          <a:gd name="connsiteX6" fmla="*/ 12944 w 105739"/>
                          <a:gd name="connsiteY6" fmla="*/ 52237 h 12298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105739" h="122980">
                            <a:moveTo>
                              <a:pt x="13005" y="52237"/>
                            </a:moveTo>
                            <a:cubicBezTo>
                              <a:pt x="7561" y="66875"/>
                              <a:pt x="0" y="104860"/>
                              <a:pt x="0" y="104860"/>
                            </a:cubicBezTo>
                            <a:lnTo>
                              <a:pt x="0" y="104860"/>
                            </a:lnTo>
                            <a:cubicBezTo>
                              <a:pt x="5685" y="123853"/>
                              <a:pt x="34114" y="130385"/>
                              <a:pt x="49598" y="112360"/>
                            </a:cubicBezTo>
                            <a:cubicBezTo>
                              <a:pt x="49598" y="112360"/>
                              <a:pt x="65083" y="73286"/>
                              <a:pt x="96475" y="56532"/>
                            </a:cubicBezTo>
                            <a:cubicBezTo>
                              <a:pt x="123633" y="42015"/>
                              <a:pt x="86192" y="-13934"/>
                              <a:pt x="47300" y="3244"/>
                            </a:cubicBezTo>
                            <a:cubicBezTo>
                              <a:pt x="27642" y="23204"/>
                              <a:pt x="12944" y="52237"/>
                              <a:pt x="12944" y="52237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328" name="Freihandform: Form 327">
                      <a:extLst>
                        <a:ext uri="{FF2B5EF4-FFF2-40B4-BE49-F238E27FC236}">
                          <a16:creationId xmlns:a16="http://schemas.microsoft.com/office/drawing/2014/main" id="{B76100AE-BE60-0D2B-F8FF-C78749A06E7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52267" y="3601082"/>
                      <a:ext cx="137060" cy="179703"/>
                    </a:xfrm>
                    <a:custGeom>
                      <a:avLst/>
                      <a:gdLst>
                        <a:gd name="connsiteX0" fmla="*/ 137061 w 137060"/>
                        <a:gd name="connsiteY0" fmla="*/ 137243 h 179703"/>
                        <a:gd name="connsiteX1" fmla="*/ 128895 w 137060"/>
                        <a:gd name="connsiteY1" fmla="*/ 10645 h 179703"/>
                        <a:gd name="connsiteX2" fmla="*/ 44578 w 137060"/>
                        <a:gd name="connsiteY2" fmla="*/ 0 h 179703"/>
                        <a:gd name="connsiteX3" fmla="*/ 36352 w 137060"/>
                        <a:gd name="connsiteY3" fmla="*/ 21352 h 179703"/>
                        <a:gd name="connsiteX4" fmla="*/ 0 w 137060"/>
                        <a:gd name="connsiteY4" fmla="*/ 96778 h 179703"/>
                        <a:gd name="connsiteX5" fmla="*/ 45183 w 137060"/>
                        <a:gd name="connsiteY5" fmla="*/ 123633 h 179703"/>
                        <a:gd name="connsiteX6" fmla="*/ 74216 w 137060"/>
                        <a:gd name="connsiteY6" fmla="*/ 179704 h 179703"/>
                        <a:gd name="connsiteX7" fmla="*/ 134339 w 137060"/>
                        <a:gd name="connsiteY7" fmla="*/ 161921 h 179703"/>
                        <a:gd name="connsiteX8" fmla="*/ 137061 w 137060"/>
                        <a:gd name="connsiteY8" fmla="*/ 137303 h 1797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37060" h="179703">
                          <a:moveTo>
                            <a:pt x="137061" y="137243"/>
                          </a:moveTo>
                          <a:cubicBezTo>
                            <a:pt x="133130" y="104580"/>
                            <a:pt x="128774" y="66232"/>
                            <a:pt x="128895" y="10645"/>
                          </a:cubicBezTo>
                          <a:lnTo>
                            <a:pt x="44578" y="0"/>
                          </a:lnTo>
                          <a:cubicBezTo>
                            <a:pt x="42219" y="13972"/>
                            <a:pt x="38651" y="19537"/>
                            <a:pt x="36352" y="21352"/>
                          </a:cubicBezTo>
                          <a:cubicBezTo>
                            <a:pt x="1693" y="48510"/>
                            <a:pt x="0" y="96778"/>
                            <a:pt x="0" y="96778"/>
                          </a:cubicBezTo>
                          <a:cubicBezTo>
                            <a:pt x="61" y="101374"/>
                            <a:pt x="31331" y="97624"/>
                            <a:pt x="45183" y="123633"/>
                          </a:cubicBezTo>
                          <a:cubicBezTo>
                            <a:pt x="49115" y="131012"/>
                            <a:pt x="73671" y="141174"/>
                            <a:pt x="74216" y="179704"/>
                          </a:cubicBezTo>
                          <a:cubicBezTo>
                            <a:pt x="116435" y="145832"/>
                            <a:pt x="132585" y="160953"/>
                            <a:pt x="134339" y="161921"/>
                          </a:cubicBezTo>
                          <a:cubicBezTo>
                            <a:pt x="134823" y="152183"/>
                            <a:pt x="136759" y="143957"/>
                            <a:pt x="137061" y="137303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29" name="Freihandform: Form 328">
                      <a:extLst>
                        <a:ext uri="{FF2B5EF4-FFF2-40B4-BE49-F238E27FC236}">
                          <a16:creationId xmlns:a16="http://schemas.microsoft.com/office/drawing/2014/main" id="{E5032B0E-6D7E-9028-5C46-11A01DA64D6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96180" y="3566242"/>
                      <a:ext cx="85164" cy="85164"/>
                    </a:xfrm>
                    <a:custGeom>
                      <a:avLst/>
                      <a:gdLst>
                        <a:gd name="connsiteX0" fmla="*/ 85164 w 85164"/>
                        <a:gd name="connsiteY0" fmla="*/ 42582 h 85164"/>
                        <a:gd name="connsiteX1" fmla="*/ 42582 w 85164"/>
                        <a:gd name="connsiteY1" fmla="*/ 85164 h 85164"/>
                        <a:gd name="connsiteX2" fmla="*/ 0 w 85164"/>
                        <a:gd name="connsiteY2" fmla="*/ 42582 h 85164"/>
                        <a:gd name="connsiteX3" fmla="*/ 42582 w 85164"/>
                        <a:gd name="connsiteY3" fmla="*/ 0 h 85164"/>
                        <a:gd name="connsiteX4" fmla="*/ 85164 w 85164"/>
                        <a:gd name="connsiteY4" fmla="*/ 42582 h 851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5164" h="85164">
                          <a:moveTo>
                            <a:pt x="85164" y="42582"/>
                          </a:moveTo>
                          <a:cubicBezTo>
                            <a:pt x="85164" y="66100"/>
                            <a:pt x="66100" y="85164"/>
                            <a:pt x="42582" y="85164"/>
                          </a:cubicBezTo>
                          <a:cubicBezTo>
                            <a:pt x="19065" y="85164"/>
                            <a:pt x="0" y="66100"/>
                            <a:pt x="0" y="42582"/>
                          </a:cubicBezTo>
                          <a:cubicBezTo>
                            <a:pt x="0" y="19065"/>
                            <a:pt x="19064" y="0"/>
                            <a:pt x="42582" y="0"/>
                          </a:cubicBezTo>
                          <a:cubicBezTo>
                            <a:pt x="66099" y="0"/>
                            <a:pt x="85164" y="19065"/>
                            <a:pt x="85164" y="42582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sp>
              <p:nvSpPr>
                <p:cNvPr id="330" name="Freihandform: Form 329">
                  <a:extLst>
                    <a:ext uri="{FF2B5EF4-FFF2-40B4-BE49-F238E27FC236}">
                      <a16:creationId xmlns:a16="http://schemas.microsoft.com/office/drawing/2014/main" id="{D80F530E-9F07-EBD1-2532-B0B8BB5E27FD}"/>
                    </a:ext>
                  </a:extLst>
                </p:cNvPr>
                <p:cNvSpPr/>
                <p:nvPr/>
              </p:nvSpPr>
              <p:spPr>
                <a:xfrm>
                  <a:off x="11321277" y="3386780"/>
                  <a:ext cx="363036" cy="363036"/>
                </a:xfrm>
                <a:custGeom>
                  <a:avLst/>
                  <a:gdLst>
                    <a:gd name="connsiteX0" fmla="*/ 363037 w 363036"/>
                    <a:gd name="connsiteY0" fmla="*/ 181518 h 363036"/>
                    <a:gd name="connsiteX1" fmla="*/ 181518 w 363036"/>
                    <a:gd name="connsiteY1" fmla="*/ 363037 h 363036"/>
                    <a:gd name="connsiteX2" fmla="*/ 0 w 363036"/>
                    <a:gd name="connsiteY2" fmla="*/ 181518 h 363036"/>
                    <a:gd name="connsiteX3" fmla="*/ 181518 w 363036"/>
                    <a:gd name="connsiteY3" fmla="*/ 0 h 363036"/>
                    <a:gd name="connsiteX4" fmla="*/ 363037 w 363036"/>
                    <a:gd name="connsiteY4" fmla="*/ 181518 h 3630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3036" h="363036">
                      <a:moveTo>
                        <a:pt x="363037" y="181518"/>
                      </a:moveTo>
                      <a:cubicBezTo>
                        <a:pt x="363037" y="281768"/>
                        <a:pt x="281768" y="363037"/>
                        <a:pt x="181518" y="363037"/>
                      </a:cubicBezTo>
                      <a:cubicBezTo>
                        <a:pt x="81268" y="363037"/>
                        <a:pt x="0" y="281768"/>
                        <a:pt x="0" y="181518"/>
                      </a:cubicBezTo>
                      <a:cubicBezTo>
                        <a:pt x="0" y="81269"/>
                        <a:pt x="81268" y="0"/>
                        <a:pt x="181518" y="0"/>
                      </a:cubicBezTo>
                      <a:cubicBezTo>
                        <a:pt x="281768" y="0"/>
                        <a:pt x="363037" y="81269"/>
                        <a:pt x="363037" y="181518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1" name="Freihandform: Form 330">
                  <a:extLst>
                    <a:ext uri="{FF2B5EF4-FFF2-40B4-BE49-F238E27FC236}">
                      <a16:creationId xmlns:a16="http://schemas.microsoft.com/office/drawing/2014/main" id="{88BD23F6-2969-2DA8-BE3B-E8481DF27AB8}"/>
                    </a:ext>
                  </a:extLst>
                </p:cNvPr>
                <p:cNvSpPr/>
                <p:nvPr/>
              </p:nvSpPr>
              <p:spPr>
                <a:xfrm>
                  <a:off x="11686068" y="3386780"/>
                  <a:ext cx="366302" cy="366303"/>
                </a:xfrm>
                <a:custGeom>
                  <a:avLst/>
                  <a:gdLst>
                    <a:gd name="connsiteX0" fmla="*/ 366303 w 366302"/>
                    <a:gd name="connsiteY0" fmla="*/ 183151 h 366303"/>
                    <a:gd name="connsiteX1" fmla="*/ 183151 w 366302"/>
                    <a:gd name="connsiteY1" fmla="*/ 366303 h 366303"/>
                    <a:gd name="connsiteX2" fmla="*/ -1 w 366302"/>
                    <a:gd name="connsiteY2" fmla="*/ 183151 h 366303"/>
                    <a:gd name="connsiteX3" fmla="*/ 183151 w 366302"/>
                    <a:gd name="connsiteY3" fmla="*/ 0 h 366303"/>
                    <a:gd name="connsiteX4" fmla="*/ 366303 w 366302"/>
                    <a:gd name="connsiteY4" fmla="*/ 183151 h 3663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6302" h="366303">
                      <a:moveTo>
                        <a:pt x="366303" y="183151"/>
                      </a:moveTo>
                      <a:cubicBezTo>
                        <a:pt x="366303" y="284303"/>
                        <a:pt x="284303" y="366303"/>
                        <a:pt x="183151" y="366303"/>
                      </a:cubicBezTo>
                      <a:cubicBezTo>
                        <a:pt x="82000" y="366303"/>
                        <a:pt x="-1" y="284303"/>
                        <a:pt x="-1" y="183151"/>
                      </a:cubicBezTo>
                      <a:cubicBezTo>
                        <a:pt x="-1" y="82000"/>
                        <a:pt x="81999" y="0"/>
                        <a:pt x="183151" y="0"/>
                      </a:cubicBezTo>
                      <a:cubicBezTo>
                        <a:pt x="284303" y="0"/>
                        <a:pt x="366303" y="82000"/>
                        <a:pt x="366303" y="183151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2" name="Freihandform: Form 331">
                  <a:extLst>
                    <a:ext uri="{FF2B5EF4-FFF2-40B4-BE49-F238E27FC236}">
                      <a16:creationId xmlns:a16="http://schemas.microsoft.com/office/drawing/2014/main" id="{46631212-16CE-DC13-E1C0-948CF7BEA391}"/>
                    </a:ext>
                  </a:extLst>
                </p:cNvPr>
                <p:cNvSpPr/>
                <p:nvPr/>
              </p:nvSpPr>
              <p:spPr>
                <a:xfrm>
                  <a:off x="11431967" y="2413137"/>
                  <a:ext cx="543949" cy="331530"/>
                </a:xfrm>
                <a:custGeom>
                  <a:avLst/>
                  <a:gdLst>
                    <a:gd name="connsiteX0" fmla="*/ 255129 w 543949"/>
                    <a:gd name="connsiteY0" fmla="*/ 331524 h 331530"/>
                    <a:gd name="connsiteX1" fmla="*/ 543950 w 543949"/>
                    <a:gd name="connsiteY1" fmla="*/ 92544 h 331530"/>
                    <a:gd name="connsiteX2" fmla="*/ 374045 w 543949"/>
                    <a:gd name="connsiteY2" fmla="*/ 35929 h 331530"/>
                    <a:gd name="connsiteX3" fmla="*/ 254706 w 543949"/>
                    <a:gd name="connsiteY3" fmla="*/ 0 h 331530"/>
                    <a:gd name="connsiteX4" fmla="*/ 126960 w 543949"/>
                    <a:gd name="connsiteY4" fmla="*/ 37743 h 331530"/>
                    <a:gd name="connsiteX5" fmla="*/ 0 w 543949"/>
                    <a:gd name="connsiteY5" fmla="*/ 79720 h 331530"/>
                    <a:gd name="connsiteX6" fmla="*/ 255129 w 543949"/>
                    <a:gd name="connsiteY6" fmla="*/ 331524 h 331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43949" h="331530">
                      <a:moveTo>
                        <a:pt x="255129" y="331524"/>
                      </a:moveTo>
                      <a:cubicBezTo>
                        <a:pt x="466710" y="332975"/>
                        <a:pt x="543950" y="92544"/>
                        <a:pt x="543950" y="92544"/>
                      </a:cubicBezTo>
                      <a:lnTo>
                        <a:pt x="374045" y="35929"/>
                      </a:lnTo>
                      <a:lnTo>
                        <a:pt x="254706" y="0"/>
                      </a:lnTo>
                      <a:lnTo>
                        <a:pt x="126960" y="37743"/>
                      </a:lnTo>
                      <a:lnTo>
                        <a:pt x="0" y="79720"/>
                      </a:lnTo>
                      <a:cubicBezTo>
                        <a:pt x="0" y="79720"/>
                        <a:pt x="43610" y="330072"/>
                        <a:pt x="255129" y="331524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3" name="Freihandform: Form 332">
                  <a:extLst>
                    <a:ext uri="{FF2B5EF4-FFF2-40B4-BE49-F238E27FC236}">
                      <a16:creationId xmlns:a16="http://schemas.microsoft.com/office/drawing/2014/main" id="{5B668DBE-4B03-7C3D-FBC7-F4DE748B1E4C}"/>
                    </a:ext>
                  </a:extLst>
                </p:cNvPr>
                <p:cNvSpPr/>
                <p:nvPr/>
              </p:nvSpPr>
              <p:spPr>
                <a:xfrm>
                  <a:off x="11358295" y="2428077"/>
                  <a:ext cx="321746" cy="175911"/>
                </a:xfrm>
                <a:custGeom>
                  <a:avLst/>
                  <a:gdLst>
                    <a:gd name="connsiteX0" fmla="*/ 317370 w 321746"/>
                    <a:gd name="connsiteY0" fmla="*/ 148554 h 175911"/>
                    <a:gd name="connsiteX1" fmla="*/ 275514 w 321746"/>
                    <a:gd name="connsiteY1" fmla="*/ 15122 h 175911"/>
                    <a:gd name="connsiteX2" fmla="*/ 277752 w 321746"/>
                    <a:gd name="connsiteY2" fmla="*/ 0 h 175911"/>
                    <a:gd name="connsiteX3" fmla="*/ 200572 w 321746"/>
                    <a:gd name="connsiteY3" fmla="*/ 22803 h 175911"/>
                    <a:gd name="connsiteX4" fmla="*/ 0 w 321746"/>
                    <a:gd name="connsiteY4" fmla="*/ 89156 h 175911"/>
                    <a:gd name="connsiteX5" fmla="*/ 317310 w 321746"/>
                    <a:gd name="connsiteY5" fmla="*/ 148554 h 1759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1746" h="175911">
                      <a:moveTo>
                        <a:pt x="317370" y="148554"/>
                      </a:moveTo>
                      <a:cubicBezTo>
                        <a:pt x="338721" y="126113"/>
                        <a:pt x="274970" y="91757"/>
                        <a:pt x="275514" y="15122"/>
                      </a:cubicBezTo>
                      <a:cubicBezTo>
                        <a:pt x="275514" y="9496"/>
                        <a:pt x="276482" y="4597"/>
                        <a:pt x="277752" y="0"/>
                      </a:cubicBezTo>
                      <a:lnTo>
                        <a:pt x="200572" y="22803"/>
                      </a:lnTo>
                      <a:lnTo>
                        <a:pt x="0" y="89156"/>
                      </a:lnTo>
                      <a:cubicBezTo>
                        <a:pt x="21110" y="129682"/>
                        <a:pt x="138574" y="221621"/>
                        <a:pt x="317310" y="148554"/>
                      </a:cubicBez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4" name="Freihandform: Form 333">
                  <a:extLst>
                    <a:ext uri="{FF2B5EF4-FFF2-40B4-BE49-F238E27FC236}">
                      <a16:creationId xmlns:a16="http://schemas.microsoft.com/office/drawing/2014/main" id="{F1C0D228-50EC-6FFA-28E6-E9D9B28DE9C0}"/>
                    </a:ext>
                  </a:extLst>
                </p:cNvPr>
                <p:cNvSpPr/>
                <p:nvPr/>
              </p:nvSpPr>
              <p:spPr>
                <a:xfrm>
                  <a:off x="11594311" y="4818059"/>
                  <a:ext cx="146013" cy="183695"/>
                </a:xfrm>
                <a:custGeom>
                  <a:avLst/>
                  <a:gdLst>
                    <a:gd name="connsiteX0" fmla="*/ 0 w 146013"/>
                    <a:gd name="connsiteY0" fmla="*/ 18146 h 183695"/>
                    <a:gd name="connsiteX1" fmla="*/ 54558 w 146013"/>
                    <a:gd name="connsiteY1" fmla="*/ 183696 h 183695"/>
                    <a:gd name="connsiteX2" fmla="*/ 146013 w 146013"/>
                    <a:gd name="connsiteY2" fmla="*/ 170691 h 183695"/>
                    <a:gd name="connsiteX3" fmla="*/ 127807 w 146013"/>
                    <a:gd name="connsiteY3" fmla="*/ 0 h 183695"/>
                    <a:gd name="connsiteX4" fmla="*/ 0 w 146013"/>
                    <a:gd name="connsiteY4" fmla="*/ 18206 h 183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013" h="183695">
                      <a:moveTo>
                        <a:pt x="0" y="18146"/>
                      </a:moveTo>
                      <a:cubicBezTo>
                        <a:pt x="22501" y="79176"/>
                        <a:pt x="43308" y="138876"/>
                        <a:pt x="54558" y="183696"/>
                      </a:cubicBezTo>
                      <a:lnTo>
                        <a:pt x="146013" y="170691"/>
                      </a:lnTo>
                      <a:cubicBezTo>
                        <a:pt x="146013" y="170691"/>
                        <a:pt x="137484" y="91999"/>
                        <a:pt x="127807" y="0"/>
                      </a:cubicBezTo>
                      <a:lnTo>
                        <a:pt x="0" y="18206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5" name="Freihandform: Form 334">
                  <a:extLst>
                    <a:ext uri="{FF2B5EF4-FFF2-40B4-BE49-F238E27FC236}">
                      <a16:creationId xmlns:a16="http://schemas.microsoft.com/office/drawing/2014/main" id="{4B5B6BBC-346C-1027-3210-F2F3DC5BB00C}"/>
                    </a:ext>
                  </a:extLst>
                </p:cNvPr>
                <p:cNvSpPr/>
                <p:nvPr/>
              </p:nvSpPr>
              <p:spPr>
                <a:xfrm>
                  <a:off x="11581075" y="4991110"/>
                  <a:ext cx="189371" cy="147888"/>
                </a:xfrm>
                <a:custGeom>
                  <a:avLst/>
                  <a:gdLst>
                    <a:gd name="connsiteX0" fmla="*/ 67492 w 189371"/>
                    <a:gd name="connsiteY0" fmla="*/ 8287 h 147888"/>
                    <a:gd name="connsiteX1" fmla="*/ 51 w 189371"/>
                    <a:gd name="connsiteY1" fmla="*/ 147888 h 147888"/>
                    <a:gd name="connsiteX2" fmla="*/ 189371 w 189371"/>
                    <a:gd name="connsiteY2" fmla="*/ 130892 h 147888"/>
                    <a:gd name="connsiteX3" fmla="*/ 159492 w 189371"/>
                    <a:gd name="connsiteY3" fmla="*/ 0 h 147888"/>
                    <a:gd name="connsiteX4" fmla="*/ 67492 w 189371"/>
                    <a:gd name="connsiteY4" fmla="*/ 8287 h 147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9371" h="147888">
                      <a:moveTo>
                        <a:pt x="67492" y="8287"/>
                      </a:moveTo>
                      <a:cubicBezTo>
                        <a:pt x="62775" y="101072"/>
                        <a:pt x="-2067" y="123815"/>
                        <a:pt x="51" y="147888"/>
                      </a:cubicBezTo>
                      <a:lnTo>
                        <a:pt x="189371" y="130892"/>
                      </a:lnTo>
                      <a:cubicBezTo>
                        <a:pt x="173766" y="80023"/>
                        <a:pt x="167899" y="41675"/>
                        <a:pt x="159492" y="0"/>
                      </a:cubicBezTo>
                      <a:lnTo>
                        <a:pt x="67492" y="8287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6" name="Freihandform: Form 335">
                  <a:extLst>
                    <a:ext uri="{FF2B5EF4-FFF2-40B4-BE49-F238E27FC236}">
                      <a16:creationId xmlns:a16="http://schemas.microsoft.com/office/drawing/2014/main" id="{46E1A059-08C2-6BB4-A7CC-ABBB5EAD30BE}"/>
                    </a:ext>
                  </a:extLst>
                </p:cNvPr>
                <p:cNvSpPr/>
                <p:nvPr/>
              </p:nvSpPr>
              <p:spPr>
                <a:xfrm>
                  <a:off x="11320709" y="3561947"/>
                  <a:ext cx="366367" cy="731577"/>
                </a:xfrm>
                <a:custGeom>
                  <a:avLst/>
                  <a:gdLst>
                    <a:gd name="connsiteX0" fmla="*/ 342557 w 366367"/>
                    <a:gd name="connsiteY0" fmla="*/ 731517 h 731577"/>
                    <a:gd name="connsiteX1" fmla="*/ 128799 w 366367"/>
                    <a:gd name="connsiteY1" fmla="*/ 731517 h 731577"/>
                    <a:gd name="connsiteX2" fmla="*/ 72124 w 366367"/>
                    <a:gd name="connsiteY2" fmla="*/ 522659 h 731577"/>
                    <a:gd name="connsiteX3" fmla="*/ 14481 w 366367"/>
                    <a:gd name="connsiteY3" fmla="*/ 210612 h 731577"/>
                    <a:gd name="connsiteX4" fmla="*/ 387 w 366367"/>
                    <a:gd name="connsiteY4" fmla="*/ 8589 h 731577"/>
                    <a:gd name="connsiteX5" fmla="*/ 363484 w 366367"/>
                    <a:gd name="connsiteY5" fmla="*/ 0 h 731577"/>
                    <a:gd name="connsiteX6" fmla="*/ 342557 w 366367"/>
                    <a:gd name="connsiteY6" fmla="*/ 731578 h 7315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66367" h="731577">
                      <a:moveTo>
                        <a:pt x="342557" y="731517"/>
                      </a:moveTo>
                      <a:lnTo>
                        <a:pt x="128799" y="731517"/>
                      </a:lnTo>
                      <a:cubicBezTo>
                        <a:pt x="128799" y="731517"/>
                        <a:pt x="93778" y="595303"/>
                        <a:pt x="72124" y="522659"/>
                      </a:cubicBezTo>
                      <a:cubicBezTo>
                        <a:pt x="50470" y="450016"/>
                        <a:pt x="25489" y="306361"/>
                        <a:pt x="14481" y="210612"/>
                      </a:cubicBezTo>
                      <a:cubicBezTo>
                        <a:pt x="6436" y="140932"/>
                        <a:pt x="-1911" y="69377"/>
                        <a:pt x="387" y="8589"/>
                      </a:cubicBezTo>
                      <a:cubicBezTo>
                        <a:pt x="68011" y="8589"/>
                        <a:pt x="363484" y="0"/>
                        <a:pt x="363484" y="0"/>
                      </a:cubicBezTo>
                      <a:cubicBezTo>
                        <a:pt x="372981" y="258215"/>
                        <a:pt x="357194" y="476327"/>
                        <a:pt x="342557" y="731578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7" name="Freihandform: Form 336">
                  <a:extLst>
                    <a:ext uri="{FF2B5EF4-FFF2-40B4-BE49-F238E27FC236}">
                      <a16:creationId xmlns:a16="http://schemas.microsoft.com/office/drawing/2014/main" id="{6F9B5FE6-A8E1-CD14-59C9-C8F2818F16B9}"/>
                    </a:ext>
                  </a:extLst>
                </p:cNvPr>
                <p:cNvSpPr/>
                <p:nvPr/>
              </p:nvSpPr>
              <p:spPr>
                <a:xfrm>
                  <a:off x="11450391" y="4277496"/>
                  <a:ext cx="296163" cy="619860"/>
                </a:xfrm>
                <a:custGeom>
                  <a:avLst/>
                  <a:gdLst>
                    <a:gd name="connsiteX0" fmla="*/ 296103 w 296163"/>
                    <a:gd name="connsiteY0" fmla="*/ 592399 h 619860"/>
                    <a:gd name="connsiteX1" fmla="*/ 103152 w 296163"/>
                    <a:gd name="connsiteY1" fmla="*/ 619860 h 619860"/>
                    <a:gd name="connsiteX2" fmla="*/ 265 w 296163"/>
                    <a:gd name="connsiteY2" fmla="*/ 30122 h 619860"/>
                    <a:gd name="connsiteX3" fmla="*/ 211906 w 296163"/>
                    <a:gd name="connsiteY3" fmla="*/ 0 h 619860"/>
                    <a:gd name="connsiteX4" fmla="*/ 263017 w 296163"/>
                    <a:gd name="connsiteY4" fmla="*/ 265594 h 619860"/>
                    <a:gd name="connsiteX5" fmla="*/ 296163 w 296163"/>
                    <a:gd name="connsiteY5" fmla="*/ 592399 h 6198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96163" h="619860">
                      <a:moveTo>
                        <a:pt x="296103" y="592399"/>
                      </a:moveTo>
                      <a:lnTo>
                        <a:pt x="103152" y="619860"/>
                      </a:lnTo>
                      <a:cubicBezTo>
                        <a:pt x="-10380" y="409853"/>
                        <a:pt x="265" y="30122"/>
                        <a:pt x="265" y="30122"/>
                      </a:cubicBezTo>
                      <a:lnTo>
                        <a:pt x="211906" y="0"/>
                      </a:lnTo>
                      <a:cubicBezTo>
                        <a:pt x="211906" y="0"/>
                        <a:pt x="257452" y="182547"/>
                        <a:pt x="263017" y="265594"/>
                      </a:cubicBezTo>
                      <a:cubicBezTo>
                        <a:pt x="268521" y="348641"/>
                        <a:pt x="296163" y="592399"/>
                        <a:pt x="296163" y="592399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8" name="Freihandform: Form 337">
                  <a:extLst>
                    <a:ext uri="{FF2B5EF4-FFF2-40B4-BE49-F238E27FC236}">
                      <a16:creationId xmlns:a16="http://schemas.microsoft.com/office/drawing/2014/main" id="{72FE9A34-A333-6248-8E26-CCF875D77BA9}"/>
                    </a:ext>
                  </a:extLst>
                </p:cNvPr>
                <p:cNvSpPr/>
                <p:nvPr/>
              </p:nvSpPr>
              <p:spPr>
                <a:xfrm>
                  <a:off x="11449508" y="4184348"/>
                  <a:ext cx="213757" cy="213757"/>
                </a:xfrm>
                <a:custGeom>
                  <a:avLst/>
                  <a:gdLst>
                    <a:gd name="connsiteX0" fmla="*/ 213757 w 213757"/>
                    <a:gd name="connsiteY0" fmla="*/ 106879 h 213757"/>
                    <a:gd name="connsiteX1" fmla="*/ 106878 w 213757"/>
                    <a:gd name="connsiteY1" fmla="*/ 213757 h 213757"/>
                    <a:gd name="connsiteX2" fmla="*/ 0 w 213757"/>
                    <a:gd name="connsiteY2" fmla="*/ 106879 h 213757"/>
                    <a:gd name="connsiteX3" fmla="*/ 106878 w 213757"/>
                    <a:gd name="connsiteY3" fmla="*/ 0 h 213757"/>
                    <a:gd name="connsiteX4" fmla="*/ 213757 w 213757"/>
                    <a:gd name="connsiteY4" fmla="*/ 106879 h 2137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3757" h="213757">
                      <a:moveTo>
                        <a:pt x="213757" y="106879"/>
                      </a:moveTo>
                      <a:cubicBezTo>
                        <a:pt x="213757" y="165906"/>
                        <a:pt x="165906" y="213757"/>
                        <a:pt x="106878" y="213757"/>
                      </a:cubicBezTo>
                      <a:cubicBezTo>
                        <a:pt x="47851" y="213757"/>
                        <a:pt x="0" y="165906"/>
                        <a:pt x="0" y="106879"/>
                      </a:cubicBezTo>
                      <a:cubicBezTo>
                        <a:pt x="0" y="47851"/>
                        <a:pt x="47851" y="0"/>
                        <a:pt x="106878" y="0"/>
                      </a:cubicBezTo>
                      <a:cubicBezTo>
                        <a:pt x="165906" y="0"/>
                        <a:pt x="213757" y="47851"/>
                        <a:pt x="213757" y="106879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9" name="Freihandform: Form 338">
                  <a:extLst>
                    <a:ext uri="{FF2B5EF4-FFF2-40B4-BE49-F238E27FC236}">
                      <a16:creationId xmlns:a16="http://schemas.microsoft.com/office/drawing/2014/main" id="{8DCA6FF5-365B-B45B-949C-4F19E9F58E07}"/>
                    </a:ext>
                  </a:extLst>
                </p:cNvPr>
                <p:cNvSpPr/>
                <p:nvPr/>
              </p:nvSpPr>
              <p:spPr>
                <a:xfrm>
                  <a:off x="11648386" y="4949556"/>
                  <a:ext cx="91454" cy="91454"/>
                </a:xfrm>
                <a:custGeom>
                  <a:avLst/>
                  <a:gdLst>
                    <a:gd name="connsiteX0" fmla="*/ 91455 w 91454"/>
                    <a:gd name="connsiteY0" fmla="*/ 45727 h 91454"/>
                    <a:gd name="connsiteX1" fmla="*/ 45727 w 91454"/>
                    <a:gd name="connsiteY1" fmla="*/ 91455 h 91454"/>
                    <a:gd name="connsiteX2" fmla="*/ 0 w 91454"/>
                    <a:gd name="connsiteY2" fmla="*/ 45727 h 91454"/>
                    <a:gd name="connsiteX3" fmla="*/ 45727 w 91454"/>
                    <a:gd name="connsiteY3" fmla="*/ 0 h 91454"/>
                    <a:gd name="connsiteX4" fmla="*/ 91455 w 91454"/>
                    <a:gd name="connsiteY4" fmla="*/ 45727 h 91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1454" h="91454">
                      <a:moveTo>
                        <a:pt x="91455" y="45727"/>
                      </a:moveTo>
                      <a:cubicBezTo>
                        <a:pt x="91455" y="70982"/>
                        <a:pt x="70982" y="91455"/>
                        <a:pt x="45727" y="91455"/>
                      </a:cubicBezTo>
                      <a:cubicBezTo>
                        <a:pt x="20473" y="91455"/>
                        <a:pt x="0" y="70982"/>
                        <a:pt x="0" y="45727"/>
                      </a:cubicBezTo>
                      <a:cubicBezTo>
                        <a:pt x="0" y="20473"/>
                        <a:pt x="20473" y="0"/>
                        <a:pt x="45727" y="0"/>
                      </a:cubicBezTo>
                      <a:cubicBezTo>
                        <a:pt x="70982" y="0"/>
                        <a:pt x="91455" y="20473"/>
                        <a:pt x="91455" y="45727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0" name="Freihandform: Form 339">
                  <a:extLst>
                    <a:ext uri="{FF2B5EF4-FFF2-40B4-BE49-F238E27FC236}">
                      <a16:creationId xmlns:a16="http://schemas.microsoft.com/office/drawing/2014/main" id="{E1026ADE-FFA7-D3D8-4C16-77AFA14C3351}"/>
                    </a:ext>
                  </a:extLst>
                </p:cNvPr>
                <p:cNvSpPr/>
                <p:nvPr/>
              </p:nvSpPr>
              <p:spPr>
                <a:xfrm>
                  <a:off x="11556024" y="5109420"/>
                  <a:ext cx="230361" cy="86010"/>
                </a:xfrm>
                <a:custGeom>
                  <a:avLst/>
                  <a:gdLst>
                    <a:gd name="connsiteX0" fmla="*/ 0 w 230361"/>
                    <a:gd name="connsiteY0" fmla="*/ 20323 h 86010"/>
                    <a:gd name="connsiteX1" fmla="*/ 4476 w 230361"/>
                    <a:gd name="connsiteY1" fmla="*/ 69922 h 86010"/>
                    <a:gd name="connsiteX2" fmla="*/ 16573 w 230361"/>
                    <a:gd name="connsiteY2" fmla="*/ 86011 h 86010"/>
                    <a:gd name="connsiteX3" fmla="*/ 221621 w 230361"/>
                    <a:gd name="connsiteY3" fmla="*/ 67563 h 86010"/>
                    <a:gd name="connsiteX4" fmla="*/ 230270 w 230361"/>
                    <a:gd name="connsiteY4" fmla="*/ 49719 h 86010"/>
                    <a:gd name="connsiteX5" fmla="*/ 225794 w 230361"/>
                    <a:gd name="connsiteY5" fmla="*/ 0 h 86010"/>
                    <a:gd name="connsiteX6" fmla="*/ 0 w 230361"/>
                    <a:gd name="connsiteY6" fmla="*/ 20323 h 860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0361" h="86010">
                      <a:moveTo>
                        <a:pt x="0" y="20323"/>
                      </a:moveTo>
                      <a:lnTo>
                        <a:pt x="4476" y="69922"/>
                      </a:lnTo>
                      <a:cubicBezTo>
                        <a:pt x="5202" y="77906"/>
                        <a:pt x="10222" y="84378"/>
                        <a:pt x="16573" y="86011"/>
                      </a:cubicBezTo>
                      <a:lnTo>
                        <a:pt x="221621" y="67563"/>
                      </a:lnTo>
                      <a:cubicBezTo>
                        <a:pt x="227367" y="64660"/>
                        <a:pt x="230996" y="57522"/>
                        <a:pt x="230270" y="49719"/>
                      </a:cubicBezTo>
                      <a:lnTo>
                        <a:pt x="225794" y="0"/>
                      </a:lnTo>
                      <a:lnTo>
                        <a:pt x="0" y="20323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1" name="Freihandform: Form 340">
                  <a:extLst>
                    <a:ext uri="{FF2B5EF4-FFF2-40B4-BE49-F238E27FC236}">
                      <a16:creationId xmlns:a16="http://schemas.microsoft.com/office/drawing/2014/main" id="{E159B55B-15A9-5985-8F7C-779C41A0DE6C}"/>
                    </a:ext>
                  </a:extLst>
                </p:cNvPr>
                <p:cNvSpPr/>
                <p:nvPr/>
              </p:nvSpPr>
              <p:spPr>
                <a:xfrm>
                  <a:off x="11556024" y="5028991"/>
                  <a:ext cx="225793" cy="104076"/>
                </a:xfrm>
                <a:custGeom>
                  <a:avLst/>
                  <a:gdLst>
                    <a:gd name="connsiteX0" fmla="*/ 225794 w 225793"/>
                    <a:gd name="connsiteY0" fmla="*/ 80429 h 104076"/>
                    <a:gd name="connsiteX1" fmla="*/ 192527 w 225793"/>
                    <a:gd name="connsiteY1" fmla="*/ 3068 h 104076"/>
                    <a:gd name="connsiteX2" fmla="*/ 181397 w 225793"/>
                    <a:gd name="connsiteY2" fmla="*/ 29197 h 104076"/>
                    <a:gd name="connsiteX3" fmla="*/ 61151 w 225793"/>
                    <a:gd name="connsiteY3" fmla="*/ 26959 h 104076"/>
                    <a:gd name="connsiteX4" fmla="*/ 0 w 225793"/>
                    <a:gd name="connsiteY4" fmla="*/ 100752 h 104076"/>
                    <a:gd name="connsiteX5" fmla="*/ 225794 w 225793"/>
                    <a:gd name="connsiteY5" fmla="*/ 80429 h 1040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25793" h="104076">
                      <a:moveTo>
                        <a:pt x="225794" y="80429"/>
                      </a:moveTo>
                      <a:cubicBezTo>
                        <a:pt x="223193" y="41537"/>
                        <a:pt x="217386" y="12382"/>
                        <a:pt x="192527" y="3068"/>
                      </a:cubicBezTo>
                      <a:lnTo>
                        <a:pt x="181397" y="29197"/>
                      </a:lnTo>
                      <a:cubicBezTo>
                        <a:pt x="181397" y="29197"/>
                        <a:pt x="88370" y="-34978"/>
                        <a:pt x="61151" y="26959"/>
                      </a:cubicBezTo>
                      <a:cubicBezTo>
                        <a:pt x="38045" y="79522"/>
                        <a:pt x="6956" y="63130"/>
                        <a:pt x="0" y="100752"/>
                      </a:cubicBezTo>
                      <a:cubicBezTo>
                        <a:pt x="25102" y="110067"/>
                        <a:pt x="198454" y="98696"/>
                        <a:pt x="225794" y="80429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2" name="Freihandform: Form 341">
                  <a:extLst>
                    <a:ext uri="{FF2B5EF4-FFF2-40B4-BE49-F238E27FC236}">
                      <a16:creationId xmlns:a16="http://schemas.microsoft.com/office/drawing/2014/main" id="{624F2709-EA44-03A4-CC4D-1D3679BF17EB}"/>
                    </a:ext>
                  </a:extLst>
                </p:cNvPr>
                <p:cNvSpPr/>
                <p:nvPr/>
              </p:nvSpPr>
              <p:spPr>
                <a:xfrm>
                  <a:off x="11727198" y="4837112"/>
                  <a:ext cx="129077" cy="171538"/>
                </a:xfrm>
                <a:custGeom>
                  <a:avLst/>
                  <a:gdLst>
                    <a:gd name="connsiteX0" fmla="*/ 0 w 129077"/>
                    <a:gd name="connsiteY0" fmla="*/ 0 h 171538"/>
                    <a:gd name="connsiteX1" fmla="*/ 6049 w 129077"/>
                    <a:gd name="connsiteY1" fmla="*/ 171538 h 171538"/>
                    <a:gd name="connsiteX2" fmla="*/ 98411 w 129077"/>
                    <a:gd name="connsiteY2" fmla="*/ 171538 h 171538"/>
                    <a:gd name="connsiteX3" fmla="*/ 129078 w 129077"/>
                    <a:gd name="connsiteY3" fmla="*/ 0 h 171538"/>
                    <a:gd name="connsiteX4" fmla="*/ 0 w 129077"/>
                    <a:gd name="connsiteY4" fmla="*/ 0 h 171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9077" h="171538">
                      <a:moveTo>
                        <a:pt x="0" y="0"/>
                      </a:moveTo>
                      <a:cubicBezTo>
                        <a:pt x="3448" y="92423"/>
                        <a:pt x="6049" y="171538"/>
                        <a:pt x="6049" y="171538"/>
                      </a:cubicBezTo>
                      <a:lnTo>
                        <a:pt x="98411" y="171538"/>
                      </a:lnTo>
                      <a:cubicBezTo>
                        <a:pt x="103250" y="125629"/>
                        <a:pt x="115408" y="63571"/>
                        <a:pt x="1290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3" name="Freihandform: Form 342">
                  <a:extLst>
                    <a:ext uri="{FF2B5EF4-FFF2-40B4-BE49-F238E27FC236}">
                      <a16:creationId xmlns:a16="http://schemas.microsoft.com/office/drawing/2014/main" id="{7538EA21-3680-1D55-46A0-20325CE268E7}"/>
                    </a:ext>
                  </a:extLst>
                </p:cNvPr>
                <p:cNvSpPr/>
                <p:nvPr/>
              </p:nvSpPr>
              <p:spPr>
                <a:xfrm>
                  <a:off x="11715162" y="5008650"/>
                  <a:ext cx="190107" cy="133008"/>
                </a:xfrm>
                <a:custGeom>
                  <a:avLst/>
                  <a:gdLst>
                    <a:gd name="connsiteX0" fmla="*/ 110447 w 190107"/>
                    <a:gd name="connsiteY0" fmla="*/ 0 h 133008"/>
                    <a:gd name="connsiteX1" fmla="*/ 190108 w 190107"/>
                    <a:gd name="connsiteY1" fmla="*/ 133009 h 133008"/>
                    <a:gd name="connsiteX2" fmla="*/ 0 w 190107"/>
                    <a:gd name="connsiteY2" fmla="*/ 133009 h 133008"/>
                    <a:gd name="connsiteX3" fmla="*/ 18085 w 190107"/>
                    <a:gd name="connsiteY3" fmla="*/ 0 h 133008"/>
                    <a:gd name="connsiteX4" fmla="*/ 110447 w 190107"/>
                    <a:gd name="connsiteY4" fmla="*/ 0 h 133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0107" h="133008">
                      <a:moveTo>
                        <a:pt x="110447" y="0"/>
                      </a:moveTo>
                      <a:cubicBezTo>
                        <a:pt x="123452" y="91999"/>
                        <a:pt x="190108" y="108875"/>
                        <a:pt x="190108" y="133009"/>
                      </a:cubicBezTo>
                      <a:lnTo>
                        <a:pt x="0" y="133009"/>
                      </a:lnTo>
                      <a:cubicBezTo>
                        <a:pt x="11009" y="80930"/>
                        <a:pt x="13428" y="42219"/>
                        <a:pt x="18085" y="0"/>
                      </a:cubicBezTo>
                      <a:lnTo>
                        <a:pt x="110447" y="0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4" name="Freihandform: Form 343">
                  <a:extLst>
                    <a:ext uri="{FF2B5EF4-FFF2-40B4-BE49-F238E27FC236}">
                      <a16:creationId xmlns:a16="http://schemas.microsoft.com/office/drawing/2014/main" id="{EE6CDDDF-29BA-5AA7-261F-794152411745}"/>
                    </a:ext>
                  </a:extLst>
                </p:cNvPr>
                <p:cNvSpPr/>
                <p:nvPr/>
              </p:nvSpPr>
              <p:spPr>
                <a:xfrm>
                  <a:off x="11683757" y="3561887"/>
                  <a:ext cx="368614" cy="731577"/>
                </a:xfrm>
                <a:custGeom>
                  <a:avLst/>
                  <a:gdLst>
                    <a:gd name="connsiteX0" fmla="*/ 26627 w 368614"/>
                    <a:gd name="connsiteY0" fmla="*/ 731578 h 731577"/>
                    <a:gd name="connsiteX1" fmla="*/ 240385 w 368614"/>
                    <a:gd name="connsiteY1" fmla="*/ 731578 h 731577"/>
                    <a:gd name="connsiteX2" fmla="*/ 297060 w 368614"/>
                    <a:gd name="connsiteY2" fmla="*/ 522720 h 731577"/>
                    <a:gd name="connsiteX3" fmla="*/ 354703 w 368614"/>
                    <a:gd name="connsiteY3" fmla="*/ 210673 h 731577"/>
                    <a:gd name="connsiteX4" fmla="*/ 368615 w 368614"/>
                    <a:gd name="connsiteY4" fmla="*/ 12279 h 731577"/>
                    <a:gd name="connsiteX5" fmla="*/ 2553 w 368614"/>
                    <a:gd name="connsiteY5" fmla="*/ 0 h 731577"/>
                    <a:gd name="connsiteX6" fmla="*/ 26688 w 368614"/>
                    <a:gd name="connsiteY6" fmla="*/ 731578 h 7315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68614" h="731577">
                      <a:moveTo>
                        <a:pt x="26627" y="731578"/>
                      </a:moveTo>
                      <a:lnTo>
                        <a:pt x="240385" y="731578"/>
                      </a:lnTo>
                      <a:cubicBezTo>
                        <a:pt x="240385" y="731578"/>
                        <a:pt x="275406" y="595363"/>
                        <a:pt x="297060" y="522720"/>
                      </a:cubicBezTo>
                      <a:cubicBezTo>
                        <a:pt x="318714" y="450076"/>
                        <a:pt x="343694" y="306422"/>
                        <a:pt x="354703" y="210673"/>
                      </a:cubicBezTo>
                      <a:cubicBezTo>
                        <a:pt x="361175" y="154723"/>
                        <a:pt x="366377" y="69861"/>
                        <a:pt x="368615" y="12279"/>
                      </a:cubicBezTo>
                      <a:cubicBezTo>
                        <a:pt x="233126" y="9254"/>
                        <a:pt x="2553" y="0"/>
                        <a:pt x="2553" y="0"/>
                      </a:cubicBezTo>
                      <a:cubicBezTo>
                        <a:pt x="-6943" y="258215"/>
                        <a:pt x="12050" y="476327"/>
                        <a:pt x="26688" y="731578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5" name="Freihandform: Form 344">
                  <a:extLst>
                    <a:ext uri="{FF2B5EF4-FFF2-40B4-BE49-F238E27FC236}">
                      <a16:creationId xmlns:a16="http://schemas.microsoft.com/office/drawing/2014/main" id="{772DA2D6-0AA6-81D0-2F96-484A855C6FC9}"/>
                    </a:ext>
                  </a:extLst>
                </p:cNvPr>
                <p:cNvSpPr/>
                <p:nvPr/>
              </p:nvSpPr>
              <p:spPr>
                <a:xfrm>
                  <a:off x="11695905" y="4293465"/>
                  <a:ext cx="251767" cy="598387"/>
                </a:xfrm>
                <a:custGeom>
                  <a:avLst/>
                  <a:gdLst>
                    <a:gd name="connsiteX0" fmla="*/ 14479 w 251767"/>
                    <a:gd name="connsiteY0" fmla="*/ 598387 h 598387"/>
                    <a:gd name="connsiteX1" fmla="*/ 209365 w 251767"/>
                    <a:gd name="connsiteY1" fmla="*/ 598387 h 598387"/>
                    <a:gd name="connsiteX2" fmla="*/ 228176 w 251767"/>
                    <a:gd name="connsiteY2" fmla="*/ 0 h 598387"/>
                    <a:gd name="connsiteX3" fmla="*/ 14419 w 251767"/>
                    <a:gd name="connsiteY3" fmla="*/ 0 h 598387"/>
                    <a:gd name="connsiteX4" fmla="*/ 1233 w 251767"/>
                    <a:gd name="connsiteY4" fmla="*/ 270130 h 598387"/>
                    <a:gd name="connsiteX5" fmla="*/ 14419 w 251767"/>
                    <a:gd name="connsiteY5" fmla="*/ 598387 h 598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51767" h="598387">
                      <a:moveTo>
                        <a:pt x="14479" y="598387"/>
                      </a:moveTo>
                      <a:lnTo>
                        <a:pt x="209365" y="598387"/>
                      </a:lnTo>
                      <a:cubicBezTo>
                        <a:pt x="292170" y="374529"/>
                        <a:pt x="228176" y="0"/>
                        <a:pt x="228176" y="0"/>
                      </a:cubicBezTo>
                      <a:lnTo>
                        <a:pt x="14419" y="0"/>
                      </a:lnTo>
                      <a:cubicBezTo>
                        <a:pt x="14419" y="0"/>
                        <a:pt x="-4998" y="187143"/>
                        <a:pt x="1233" y="270130"/>
                      </a:cubicBezTo>
                      <a:cubicBezTo>
                        <a:pt x="7463" y="353177"/>
                        <a:pt x="14419" y="598387"/>
                        <a:pt x="14419" y="598387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6" name="Freihandform: Form 345">
                  <a:extLst>
                    <a:ext uri="{FF2B5EF4-FFF2-40B4-BE49-F238E27FC236}">
                      <a16:creationId xmlns:a16="http://schemas.microsoft.com/office/drawing/2014/main" id="{1DD980DD-CE3E-9082-6B5C-515E68E30E29}"/>
                    </a:ext>
                  </a:extLst>
                </p:cNvPr>
                <p:cNvSpPr/>
                <p:nvPr/>
              </p:nvSpPr>
              <p:spPr>
                <a:xfrm>
                  <a:off x="11734215" y="4962923"/>
                  <a:ext cx="91454" cy="91454"/>
                </a:xfrm>
                <a:custGeom>
                  <a:avLst/>
                  <a:gdLst>
                    <a:gd name="connsiteX0" fmla="*/ 91455 w 91454"/>
                    <a:gd name="connsiteY0" fmla="*/ 45727 h 91454"/>
                    <a:gd name="connsiteX1" fmla="*/ 45727 w 91454"/>
                    <a:gd name="connsiteY1" fmla="*/ 91455 h 91454"/>
                    <a:gd name="connsiteX2" fmla="*/ -1 w 91454"/>
                    <a:gd name="connsiteY2" fmla="*/ 45727 h 91454"/>
                    <a:gd name="connsiteX3" fmla="*/ 45727 w 91454"/>
                    <a:gd name="connsiteY3" fmla="*/ 0 h 91454"/>
                    <a:gd name="connsiteX4" fmla="*/ 91455 w 91454"/>
                    <a:gd name="connsiteY4" fmla="*/ 45727 h 91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1454" h="91454">
                      <a:moveTo>
                        <a:pt x="91455" y="45727"/>
                      </a:moveTo>
                      <a:cubicBezTo>
                        <a:pt x="91455" y="70982"/>
                        <a:pt x="70982" y="91455"/>
                        <a:pt x="45727" y="91455"/>
                      </a:cubicBezTo>
                      <a:cubicBezTo>
                        <a:pt x="20472" y="91455"/>
                        <a:pt x="-1" y="70982"/>
                        <a:pt x="-1" y="45727"/>
                      </a:cubicBezTo>
                      <a:cubicBezTo>
                        <a:pt x="-1" y="20473"/>
                        <a:pt x="20472" y="0"/>
                        <a:pt x="45727" y="0"/>
                      </a:cubicBezTo>
                      <a:cubicBezTo>
                        <a:pt x="70982" y="0"/>
                        <a:pt x="91455" y="20473"/>
                        <a:pt x="91455" y="45727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7" name="Freihandform: Form 346">
                  <a:extLst>
                    <a:ext uri="{FF2B5EF4-FFF2-40B4-BE49-F238E27FC236}">
                      <a16:creationId xmlns:a16="http://schemas.microsoft.com/office/drawing/2014/main" id="{9DAEA7AD-64F6-415C-92F9-15537ED3D2C8}"/>
                    </a:ext>
                  </a:extLst>
                </p:cNvPr>
                <p:cNvSpPr/>
                <p:nvPr/>
              </p:nvSpPr>
              <p:spPr>
                <a:xfrm>
                  <a:off x="11702823" y="5130167"/>
                  <a:ext cx="226701" cy="66897"/>
                </a:xfrm>
                <a:custGeom>
                  <a:avLst/>
                  <a:gdLst>
                    <a:gd name="connsiteX0" fmla="*/ 226641 w 226701"/>
                    <a:gd name="connsiteY0" fmla="*/ 0 h 66897"/>
                    <a:gd name="connsiteX1" fmla="*/ 226641 w 226701"/>
                    <a:gd name="connsiteY1" fmla="*/ 49780 h 66897"/>
                    <a:gd name="connsiteX2" fmla="*/ 216056 w 226701"/>
                    <a:gd name="connsiteY2" fmla="*/ 66897 h 66897"/>
                    <a:gd name="connsiteX3" fmla="*/ 10222 w 226701"/>
                    <a:gd name="connsiteY3" fmla="*/ 66897 h 66897"/>
                    <a:gd name="connsiteX4" fmla="*/ 0 w 226701"/>
                    <a:gd name="connsiteY4" fmla="*/ 49901 h 66897"/>
                    <a:gd name="connsiteX5" fmla="*/ 0 w 226701"/>
                    <a:gd name="connsiteY5" fmla="*/ 0 h 66897"/>
                    <a:gd name="connsiteX6" fmla="*/ 226701 w 226701"/>
                    <a:gd name="connsiteY6" fmla="*/ 0 h 668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26701" h="66897">
                      <a:moveTo>
                        <a:pt x="226641" y="0"/>
                      </a:moveTo>
                      <a:lnTo>
                        <a:pt x="226641" y="49780"/>
                      </a:lnTo>
                      <a:cubicBezTo>
                        <a:pt x="226641" y="57764"/>
                        <a:pt x="222225" y="64660"/>
                        <a:pt x="216056" y="66897"/>
                      </a:cubicBezTo>
                      <a:lnTo>
                        <a:pt x="10222" y="66897"/>
                      </a:lnTo>
                      <a:cubicBezTo>
                        <a:pt x="4234" y="64538"/>
                        <a:pt x="0" y="57703"/>
                        <a:pt x="0" y="49901"/>
                      </a:cubicBezTo>
                      <a:lnTo>
                        <a:pt x="0" y="0"/>
                      </a:lnTo>
                      <a:lnTo>
                        <a:pt x="226701" y="0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8" name="Freihandform: Form 347">
                  <a:extLst>
                    <a:ext uri="{FF2B5EF4-FFF2-40B4-BE49-F238E27FC236}">
                      <a16:creationId xmlns:a16="http://schemas.microsoft.com/office/drawing/2014/main" id="{7DBC1B30-050C-BF4E-AA5A-94B9E40F4F2D}"/>
                    </a:ext>
                  </a:extLst>
                </p:cNvPr>
                <p:cNvSpPr/>
                <p:nvPr/>
              </p:nvSpPr>
              <p:spPr>
                <a:xfrm>
                  <a:off x="11702690" y="5038831"/>
                  <a:ext cx="226834" cy="101604"/>
                </a:xfrm>
                <a:custGeom>
                  <a:avLst/>
                  <a:gdLst>
                    <a:gd name="connsiteX0" fmla="*/ 133 w 226834"/>
                    <a:gd name="connsiteY0" fmla="*/ 91336 h 101604"/>
                    <a:gd name="connsiteX1" fmla="*/ 26323 w 226834"/>
                    <a:gd name="connsiteY1" fmla="*/ 11313 h 101604"/>
                    <a:gd name="connsiteX2" fmla="*/ 39751 w 226834"/>
                    <a:gd name="connsiteY2" fmla="*/ 36354 h 101604"/>
                    <a:gd name="connsiteX3" fmla="*/ 159332 w 226834"/>
                    <a:gd name="connsiteY3" fmla="*/ 23350 h 101604"/>
                    <a:gd name="connsiteX4" fmla="*/ 226834 w 226834"/>
                    <a:gd name="connsiteY4" fmla="*/ 91336 h 101604"/>
                    <a:gd name="connsiteX5" fmla="*/ 133 w 226834"/>
                    <a:gd name="connsiteY5" fmla="*/ 91336 h 1016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26834" h="101604">
                      <a:moveTo>
                        <a:pt x="133" y="91336"/>
                      </a:moveTo>
                      <a:cubicBezTo>
                        <a:pt x="-774" y="52383"/>
                        <a:pt x="2432" y="22806"/>
                        <a:pt x="26323" y="11313"/>
                      </a:cubicBezTo>
                      <a:lnTo>
                        <a:pt x="39751" y="36354"/>
                      </a:lnTo>
                      <a:cubicBezTo>
                        <a:pt x="39751" y="36354"/>
                        <a:pt x="126669" y="-35926"/>
                        <a:pt x="159332" y="23350"/>
                      </a:cubicBezTo>
                      <a:cubicBezTo>
                        <a:pt x="187034" y="73614"/>
                        <a:pt x="216551" y="54500"/>
                        <a:pt x="226834" y="91336"/>
                      </a:cubicBezTo>
                      <a:cubicBezTo>
                        <a:pt x="202640" y="102829"/>
                        <a:pt x="29045" y="107062"/>
                        <a:pt x="133" y="91336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9" name="Freihandform: Form 348">
                  <a:extLst>
                    <a:ext uri="{FF2B5EF4-FFF2-40B4-BE49-F238E27FC236}">
                      <a16:creationId xmlns:a16="http://schemas.microsoft.com/office/drawing/2014/main" id="{2C958EC5-1C4F-DF2B-9854-9E200C7BA53D}"/>
                    </a:ext>
                  </a:extLst>
                </p:cNvPr>
                <p:cNvSpPr/>
                <p:nvPr/>
              </p:nvSpPr>
              <p:spPr>
                <a:xfrm>
                  <a:off x="11684193" y="3561887"/>
                  <a:ext cx="367936" cy="83591"/>
                </a:xfrm>
                <a:custGeom>
                  <a:avLst/>
                  <a:gdLst>
                    <a:gd name="connsiteX0" fmla="*/ 0 w 367936"/>
                    <a:gd name="connsiteY0" fmla="*/ 83592 h 83591"/>
                    <a:gd name="connsiteX1" fmla="*/ 365758 w 367936"/>
                    <a:gd name="connsiteY1" fmla="*/ 62784 h 83591"/>
                    <a:gd name="connsiteX2" fmla="*/ 365758 w 367936"/>
                    <a:gd name="connsiteY2" fmla="*/ 62784 h 83591"/>
                    <a:gd name="connsiteX3" fmla="*/ 367937 w 367936"/>
                    <a:gd name="connsiteY3" fmla="*/ 12279 h 83591"/>
                    <a:gd name="connsiteX4" fmla="*/ 2057 w 367936"/>
                    <a:gd name="connsiteY4" fmla="*/ 0 h 83591"/>
                    <a:gd name="connsiteX5" fmla="*/ 0 w 367936"/>
                    <a:gd name="connsiteY5" fmla="*/ 83592 h 835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67936" h="83591">
                      <a:moveTo>
                        <a:pt x="0" y="83592"/>
                      </a:moveTo>
                      <a:cubicBezTo>
                        <a:pt x="107786" y="70527"/>
                        <a:pt x="252892" y="50506"/>
                        <a:pt x="365758" y="62784"/>
                      </a:cubicBezTo>
                      <a:lnTo>
                        <a:pt x="365758" y="62784"/>
                      </a:lnTo>
                      <a:cubicBezTo>
                        <a:pt x="366666" y="45606"/>
                        <a:pt x="367392" y="27158"/>
                        <a:pt x="367937" y="12279"/>
                      </a:cubicBezTo>
                      <a:cubicBezTo>
                        <a:pt x="232448" y="9254"/>
                        <a:pt x="2057" y="0"/>
                        <a:pt x="2057" y="0"/>
                      </a:cubicBezTo>
                      <a:cubicBezTo>
                        <a:pt x="1029" y="28368"/>
                        <a:pt x="363" y="56131"/>
                        <a:pt x="0" y="83592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0" name="Freihandform: Form 349">
                  <a:extLst>
                    <a:ext uri="{FF2B5EF4-FFF2-40B4-BE49-F238E27FC236}">
                      <a16:creationId xmlns:a16="http://schemas.microsoft.com/office/drawing/2014/main" id="{607F19D0-2352-8BED-9FD3-71252EAFA952}"/>
                    </a:ext>
                  </a:extLst>
                </p:cNvPr>
                <p:cNvSpPr/>
                <p:nvPr/>
              </p:nvSpPr>
              <p:spPr>
                <a:xfrm>
                  <a:off x="11320727" y="3561826"/>
                  <a:ext cx="365643" cy="143049"/>
                </a:xfrm>
                <a:custGeom>
                  <a:avLst/>
                  <a:gdLst>
                    <a:gd name="connsiteX0" fmla="*/ 363466 w 365643"/>
                    <a:gd name="connsiteY0" fmla="*/ 61 h 143049"/>
                    <a:gd name="connsiteX1" fmla="*/ 368 w 365643"/>
                    <a:gd name="connsiteY1" fmla="*/ 8650 h 143049"/>
                    <a:gd name="connsiteX2" fmla="*/ 7022 w 365643"/>
                    <a:gd name="connsiteY2" fmla="*/ 143049 h 143049"/>
                    <a:gd name="connsiteX3" fmla="*/ 365643 w 365643"/>
                    <a:gd name="connsiteY3" fmla="*/ 83592 h 143049"/>
                    <a:gd name="connsiteX4" fmla="*/ 363466 w 365643"/>
                    <a:gd name="connsiteY4" fmla="*/ 0 h 143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5643" h="143049">
                      <a:moveTo>
                        <a:pt x="363466" y="61"/>
                      </a:moveTo>
                      <a:cubicBezTo>
                        <a:pt x="363466" y="61"/>
                        <a:pt x="68052" y="8650"/>
                        <a:pt x="368" y="8650"/>
                      </a:cubicBezTo>
                      <a:cubicBezTo>
                        <a:pt x="-1144" y="49841"/>
                        <a:pt x="2183" y="95931"/>
                        <a:pt x="7022" y="143049"/>
                      </a:cubicBezTo>
                      <a:cubicBezTo>
                        <a:pt x="89222" y="125387"/>
                        <a:pt x="233602" y="100104"/>
                        <a:pt x="365643" y="83592"/>
                      </a:cubicBezTo>
                      <a:cubicBezTo>
                        <a:pt x="365159" y="56131"/>
                        <a:pt x="364494" y="28368"/>
                        <a:pt x="363466" y="0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1" name="Freihandform: Form 350">
                  <a:extLst>
                    <a:ext uri="{FF2B5EF4-FFF2-40B4-BE49-F238E27FC236}">
                      <a16:creationId xmlns:a16="http://schemas.microsoft.com/office/drawing/2014/main" id="{A0913F5E-3131-9E9F-B4DF-4C43A0755A27}"/>
                    </a:ext>
                  </a:extLst>
                </p:cNvPr>
                <p:cNvSpPr/>
                <p:nvPr/>
              </p:nvSpPr>
              <p:spPr>
                <a:xfrm>
                  <a:off x="11710384" y="4184348"/>
                  <a:ext cx="213757" cy="213757"/>
                </a:xfrm>
                <a:custGeom>
                  <a:avLst/>
                  <a:gdLst>
                    <a:gd name="connsiteX0" fmla="*/ 213757 w 213757"/>
                    <a:gd name="connsiteY0" fmla="*/ 106879 h 213757"/>
                    <a:gd name="connsiteX1" fmla="*/ 106879 w 213757"/>
                    <a:gd name="connsiteY1" fmla="*/ 213757 h 213757"/>
                    <a:gd name="connsiteX2" fmla="*/ 0 w 213757"/>
                    <a:gd name="connsiteY2" fmla="*/ 106879 h 213757"/>
                    <a:gd name="connsiteX3" fmla="*/ 106879 w 213757"/>
                    <a:gd name="connsiteY3" fmla="*/ 0 h 213757"/>
                    <a:gd name="connsiteX4" fmla="*/ 213757 w 213757"/>
                    <a:gd name="connsiteY4" fmla="*/ 106879 h 2137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3757" h="213757">
                      <a:moveTo>
                        <a:pt x="213757" y="106879"/>
                      </a:moveTo>
                      <a:cubicBezTo>
                        <a:pt x="213757" y="165906"/>
                        <a:pt x="165906" y="213757"/>
                        <a:pt x="106879" y="213757"/>
                      </a:cubicBezTo>
                      <a:cubicBezTo>
                        <a:pt x="47851" y="213757"/>
                        <a:pt x="0" y="165906"/>
                        <a:pt x="0" y="106879"/>
                      </a:cubicBezTo>
                      <a:cubicBezTo>
                        <a:pt x="0" y="47851"/>
                        <a:pt x="47851" y="0"/>
                        <a:pt x="106879" y="0"/>
                      </a:cubicBezTo>
                      <a:cubicBezTo>
                        <a:pt x="165906" y="0"/>
                        <a:pt x="213757" y="47851"/>
                        <a:pt x="213757" y="106879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352" name="Grafik 297">
                  <a:extLst>
                    <a:ext uri="{FF2B5EF4-FFF2-40B4-BE49-F238E27FC236}">
                      <a16:creationId xmlns:a16="http://schemas.microsoft.com/office/drawing/2014/main" id="{82987580-8866-7B3F-C491-819A1C715787}"/>
                    </a:ext>
                  </a:extLst>
                </p:cNvPr>
                <p:cNvGrpSpPr/>
                <p:nvPr/>
              </p:nvGrpSpPr>
              <p:grpSpPr>
                <a:xfrm>
                  <a:off x="11174966" y="3045397"/>
                  <a:ext cx="164094" cy="552660"/>
                  <a:chOff x="11174966" y="3045397"/>
                  <a:chExt cx="164094" cy="552660"/>
                </a:xfrm>
              </p:grpSpPr>
              <p:sp>
                <p:nvSpPr>
                  <p:cNvPr id="353" name="Freihandform: Form 352">
                    <a:extLst>
                      <a:ext uri="{FF2B5EF4-FFF2-40B4-BE49-F238E27FC236}">
                        <a16:creationId xmlns:a16="http://schemas.microsoft.com/office/drawing/2014/main" id="{756BF7D5-AEEF-DCE4-32DA-4BA87C74D53B}"/>
                      </a:ext>
                    </a:extLst>
                  </p:cNvPr>
                  <p:cNvSpPr/>
                  <p:nvPr/>
                </p:nvSpPr>
                <p:spPr>
                  <a:xfrm>
                    <a:off x="11174966" y="3125964"/>
                    <a:ext cx="163973" cy="472093"/>
                  </a:xfrm>
                  <a:custGeom>
                    <a:avLst/>
                    <a:gdLst>
                      <a:gd name="connsiteX0" fmla="*/ 9130 w 163973"/>
                      <a:gd name="connsiteY0" fmla="*/ 472093 h 472093"/>
                      <a:gd name="connsiteX1" fmla="*/ 94294 w 163973"/>
                      <a:gd name="connsiteY1" fmla="*/ 468161 h 472093"/>
                      <a:gd name="connsiteX2" fmla="*/ 163974 w 163973"/>
                      <a:gd name="connsiteY2" fmla="*/ 9133 h 472093"/>
                      <a:gd name="connsiteX3" fmla="*/ 118 w 163973"/>
                      <a:gd name="connsiteY3" fmla="*/ 0 h 472093"/>
                      <a:gd name="connsiteX4" fmla="*/ 9130 w 163973"/>
                      <a:gd name="connsiteY4" fmla="*/ 472093 h 4720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3973" h="472093">
                        <a:moveTo>
                          <a:pt x="9130" y="472093"/>
                        </a:moveTo>
                        <a:lnTo>
                          <a:pt x="94294" y="468161"/>
                        </a:lnTo>
                        <a:cubicBezTo>
                          <a:pt x="94294" y="468161"/>
                          <a:pt x="161071" y="61151"/>
                          <a:pt x="163974" y="9133"/>
                        </a:cubicBezTo>
                        <a:lnTo>
                          <a:pt x="118" y="0"/>
                        </a:lnTo>
                        <a:cubicBezTo>
                          <a:pt x="-1153" y="212306"/>
                          <a:pt x="8283" y="346887"/>
                          <a:pt x="9130" y="472093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4" name="Freihandform: Form 353">
                    <a:extLst>
                      <a:ext uri="{FF2B5EF4-FFF2-40B4-BE49-F238E27FC236}">
                        <a16:creationId xmlns:a16="http://schemas.microsoft.com/office/drawing/2014/main" id="{FD283375-F158-A9A9-D27B-9DB56A4490A8}"/>
                      </a:ext>
                    </a:extLst>
                  </p:cNvPr>
                  <p:cNvSpPr/>
                  <p:nvPr/>
                </p:nvSpPr>
                <p:spPr>
                  <a:xfrm>
                    <a:off x="11175143" y="3045397"/>
                    <a:ext cx="163916" cy="163916"/>
                  </a:xfrm>
                  <a:custGeom>
                    <a:avLst/>
                    <a:gdLst>
                      <a:gd name="connsiteX0" fmla="*/ 163917 w 163916"/>
                      <a:gd name="connsiteY0" fmla="*/ 81959 h 163916"/>
                      <a:gd name="connsiteX1" fmla="*/ 81958 w 163916"/>
                      <a:gd name="connsiteY1" fmla="*/ 163917 h 163916"/>
                      <a:gd name="connsiteX2" fmla="*/ 0 w 163916"/>
                      <a:gd name="connsiteY2" fmla="*/ 81958 h 163916"/>
                      <a:gd name="connsiteX3" fmla="*/ 81958 w 163916"/>
                      <a:gd name="connsiteY3" fmla="*/ 0 h 163916"/>
                      <a:gd name="connsiteX4" fmla="*/ 163917 w 163916"/>
                      <a:gd name="connsiteY4" fmla="*/ 81959 h 1639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3916" h="163916">
                        <a:moveTo>
                          <a:pt x="163917" y="81959"/>
                        </a:moveTo>
                        <a:cubicBezTo>
                          <a:pt x="163917" y="127223"/>
                          <a:pt x="127223" y="163917"/>
                          <a:pt x="81958" y="163917"/>
                        </a:cubicBezTo>
                        <a:cubicBezTo>
                          <a:pt x="36694" y="163917"/>
                          <a:pt x="0" y="127223"/>
                          <a:pt x="0" y="81958"/>
                        </a:cubicBezTo>
                        <a:cubicBezTo>
                          <a:pt x="0" y="36694"/>
                          <a:pt x="36694" y="0"/>
                          <a:pt x="81958" y="0"/>
                        </a:cubicBezTo>
                        <a:cubicBezTo>
                          <a:pt x="127222" y="0"/>
                          <a:pt x="163917" y="36694"/>
                          <a:pt x="163917" y="81959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5" name="Freihandform: Form 354">
                    <a:extLst>
                      <a:ext uri="{FF2B5EF4-FFF2-40B4-BE49-F238E27FC236}">
                        <a16:creationId xmlns:a16="http://schemas.microsoft.com/office/drawing/2014/main" id="{59BC9CA9-174D-B8A3-292D-3E9AD6B1C9A2}"/>
                      </a:ext>
                    </a:extLst>
                  </p:cNvPr>
                  <p:cNvSpPr/>
                  <p:nvPr/>
                </p:nvSpPr>
                <p:spPr>
                  <a:xfrm>
                    <a:off x="11183128" y="3538055"/>
                    <a:ext cx="95265" cy="60002"/>
                  </a:xfrm>
                  <a:custGeom>
                    <a:avLst/>
                    <a:gdLst>
                      <a:gd name="connsiteX0" fmla="*/ 0 w 95265"/>
                      <a:gd name="connsiteY0" fmla="*/ 61 h 60002"/>
                      <a:gd name="connsiteX1" fmla="*/ 968 w 95265"/>
                      <a:gd name="connsiteY1" fmla="*/ 60002 h 60002"/>
                      <a:gd name="connsiteX2" fmla="*/ 86132 w 95265"/>
                      <a:gd name="connsiteY2" fmla="*/ 56070 h 60002"/>
                      <a:gd name="connsiteX3" fmla="*/ 95265 w 95265"/>
                      <a:gd name="connsiteY3" fmla="*/ 0 h 60002"/>
                      <a:gd name="connsiteX4" fmla="*/ 61 w 95265"/>
                      <a:gd name="connsiteY4" fmla="*/ 0 h 600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5265" h="60002">
                        <a:moveTo>
                          <a:pt x="0" y="61"/>
                        </a:moveTo>
                        <a:cubicBezTo>
                          <a:pt x="484" y="20444"/>
                          <a:pt x="847" y="40344"/>
                          <a:pt x="968" y="60002"/>
                        </a:cubicBezTo>
                        <a:lnTo>
                          <a:pt x="86132" y="56070"/>
                        </a:lnTo>
                        <a:cubicBezTo>
                          <a:pt x="86132" y="56070"/>
                          <a:pt x="89700" y="34235"/>
                          <a:pt x="95265" y="0"/>
                        </a:cubicBezTo>
                        <a:lnTo>
                          <a:pt x="61" y="0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56" name="Grafik 297">
                  <a:extLst>
                    <a:ext uri="{FF2B5EF4-FFF2-40B4-BE49-F238E27FC236}">
                      <a16:creationId xmlns:a16="http://schemas.microsoft.com/office/drawing/2014/main" id="{371CA25E-28FC-E9D2-99B4-C64F024EF7E0}"/>
                    </a:ext>
                  </a:extLst>
                </p:cNvPr>
                <p:cNvGrpSpPr/>
                <p:nvPr/>
              </p:nvGrpSpPr>
              <p:grpSpPr>
                <a:xfrm>
                  <a:off x="11138852" y="2513423"/>
                  <a:ext cx="352330" cy="680527"/>
                  <a:chOff x="11138852" y="2513423"/>
                  <a:chExt cx="352330" cy="680527"/>
                </a:xfrm>
              </p:grpSpPr>
              <p:sp>
                <p:nvSpPr>
                  <p:cNvPr id="357" name="Freihandform: Form 356">
                    <a:extLst>
                      <a:ext uri="{FF2B5EF4-FFF2-40B4-BE49-F238E27FC236}">
                        <a16:creationId xmlns:a16="http://schemas.microsoft.com/office/drawing/2014/main" id="{C06F496B-122B-C2DC-2B37-015BC35E9E0C}"/>
                      </a:ext>
                    </a:extLst>
                  </p:cNvPr>
                  <p:cNvSpPr/>
                  <p:nvPr/>
                </p:nvSpPr>
                <p:spPr>
                  <a:xfrm>
                    <a:off x="11279482" y="2513423"/>
                    <a:ext cx="211700" cy="211700"/>
                  </a:xfrm>
                  <a:custGeom>
                    <a:avLst/>
                    <a:gdLst>
                      <a:gd name="connsiteX0" fmla="*/ 211701 w 211700"/>
                      <a:gd name="connsiteY0" fmla="*/ 105850 h 211700"/>
                      <a:gd name="connsiteX1" fmla="*/ 105851 w 211700"/>
                      <a:gd name="connsiteY1" fmla="*/ 211701 h 211700"/>
                      <a:gd name="connsiteX2" fmla="*/ 0 w 211700"/>
                      <a:gd name="connsiteY2" fmla="*/ 105850 h 211700"/>
                      <a:gd name="connsiteX3" fmla="*/ 105851 w 211700"/>
                      <a:gd name="connsiteY3" fmla="*/ 0 h 211700"/>
                      <a:gd name="connsiteX4" fmla="*/ 211701 w 211700"/>
                      <a:gd name="connsiteY4" fmla="*/ 105850 h 2117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1700" h="211700">
                        <a:moveTo>
                          <a:pt x="211701" y="105850"/>
                        </a:moveTo>
                        <a:cubicBezTo>
                          <a:pt x="211701" y="164310"/>
                          <a:pt x="164311" y="211701"/>
                          <a:pt x="105851" y="211701"/>
                        </a:cubicBezTo>
                        <a:cubicBezTo>
                          <a:pt x="47391" y="211701"/>
                          <a:pt x="0" y="164310"/>
                          <a:pt x="0" y="105850"/>
                        </a:cubicBezTo>
                        <a:cubicBezTo>
                          <a:pt x="0" y="47391"/>
                          <a:pt x="47391" y="0"/>
                          <a:pt x="105851" y="0"/>
                        </a:cubicBezTo>
                        <a:cubicBezTo>
                          <a:pt x="164311" y="0"/>
                          <a:pt x="211701" y="47391"/>
                          <a:pt x="211701" y="105850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8" name="Freihandform: Form 357">
                    <a:extLst>
                      <a:ext uri="{FF2B5EF4-FFF2-40B4-BE49-F238E27FC236}">
                        <a16:creationId xmlns:a16="http://schemas.microsoft.com/office/drawing/2014/main" id="{367E8486-85A3-DDF3-5E7F-59EB4389B348}"/>
                      </a:ext>
                    </a:extLst>
                  </p:cNvPr>
                  <p:cNvSpPr/>
                  <p:nvPr/>
                </p:nvSpPr>
                <p:spPr>
                  <a:xfrm>
                    <a:off x="11138852" y="2521286"/>
                    <a:ext cx="309748" cy="672604"/>
                  </a:xfrm>
                  <a:custGeom>
                    <a:avLst/>
                    <a:gdLst>
                      <a:gd name="connsiteX0" fmla="*/ 206196 w 309748"/>
                      <a:gd name="connsiteY0" fmla="*/ 61 h 672604"/>
                      <a:gd name="connsiteX1" fmla="*/ 109237 w 309748"/>
                      <a:gd name="connsiteY1" fmla="*/ 151941 h 672604"/>
                      <a:gd name="connsiteX2" fmla="*/ 0 w 309748"/>
                      <a:gd name="connsiteY2" fmla="*/ 649498 h 672604"/>
                      <a:gd name="connsiteX3" fmla="*/ 210551 w 309748"/>
                      <a:gd name="connsiteY3" fmla="*/ 672604 h 672604"/>
                      <a:gd name="connsiteX4" fmla="*/ 309748 w 309748"/>
                      <a:gd name="connsiteY4" fmla="*/ 182668 h 672604"/>
                      <a:gd name="connsiteX5" fmla="*/ 206196 w 309748"/>
                      <a:gd name="connsiteY5" fmla="*/ 0 h 6726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748" h="672604">
                        <a:moveTo>
                          <a:pt x="206196" y="61"/>
                        </a:moveTo>
                        <a:cubicBezTo>
                          <a:pt x="206196" y="61"/>
                          <a:pt x="139541" y="14880"/>
                          <a:pt x="109237" y="151941"/>
                        </a:cubicBezTo>
                        <a:cubicBezTo>
                          <a:pt x="78511" y="290938"/>
                          <a:pt x="0" y="649498"/>
                          <a:pt x="0" y="649498"/>
                        </a:cubicBezTo>
                        <a:lnTo>
                          <a:pt x="210551" y="672604"/>
                        </a:lnTo>
                        <a:lnTo>
                          <a:pt x="309748" y="182668"/>
                        </a:lnTo>
                        <a:lnTo>
                          <a:pt x="206196" y="0"/>
                        </a:ln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9" name="Freihandform: Form 358">
                    <a:extLst>
                      <a:ext uri="{FF2B5EF4-FFF2-40B4-BE49-F238E27FC236}">
                        <a16:creationId xmlns:a16="http://schemas.microsoft.com/office/drawing/2014/main" id="{8E4B4840-7EB4-1879-1B0E-DEF160F9C1E3}"/>
                      </a:ext>
                    </a:extLst>
                  </p:cNvPr>
                  <p:cNvSpPr/>
                  <p:nvPr/>
                </p:nvSpPr>
                <p:spPr>
                  <a:xfrm>
                    <a:off x="11220790" y="2704014"/>
                    <a:ext cx="227870" cy="489936"/>
                  </a:xfrm>
                  <a:custGeom>
                    <a:avLst/>
                    <a:gdLst>
                      <a:gd name="connsiteX0" fmla="*/ 68853 w 227870"/>
                      <a:gd name="connsiteY0" fmla="*/ 234202 h 489936"/>
                      <a:gd name="connsiteX1" fmla="*/ 46050 w 227870"/>
                      <a:gd name="connsiteY1" fmla="*/ 411426 h 489936"/>
                      <a:gd name="connsiteX2" fmla="*/ 1290 w 227870"/>
                      <a:gd name="connsiteY2" fmla="*/ 475964 h 489936"/>
                      <a:gd name="connsiteX3" fmla="*/ 128674 w 227870"/>
                      <a:gd name="connsiteY3" fmla="*/ 489936 h 489936"/>
                      <a:gd name="connsiteX4" fmla="*/ 227871 w 227870"/>
                      <a:gd name="connsiteY4" fmla="*/ 0 h 489936"/>
                      <a:gd name="connsiteX5" fmla="*/ 68913 w 227870"/>
                      <a:gd name="connsiteY5" fmla="*/ 234202 h 4899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27870" h="489936">
                        <a:moveTo>
                          <a:pt x="68853" y="234202"/>
                        </a:moveTo>
                        <a:cubicBezTo>
                          <a:pt x="96495" y="346403"/>
                          <a:pt x="103996" y="388804"/>
                          <a:pt x="46050" y="411426"/>
                        </a:cubicBezTo>
                        <a:cubicBezTo>
                          <a:pt x="-11896" y="434047"/>
                          <a:pt x="1290" y="475964"/>
                          <a:pt x="1290" y="475964"/>
                        </a:cubicBezTo>
                        <a:lnTo>
                          <a:pt x="128674" y="489936"/>
                        </a:lnTo>
                        <a:lnTo>
                          <a:pt x="227871" y="0"/>
                        </a:lnTo>
                        <a:cubicBezTo>
                          <a:pt x="227871" y="0"/>
                          <a:pt x="43207" y="129742"/>
                          <a:pt x="68913" y="234202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360" name="Freihandform: Form 359">
                  <a:extLst>
                    <a:ext uri="{FF2B5EF4-FFF2-40B4-BE49-F238E27FC236}">
                      <a16:creationId xmlns:a16="http://schemas.microsoft.com/office/drawing/2014/main" id="{8620DAE6-4653-039F-1B33-7E44C34048F2}"/>
                    </a:ext>
                  </a:extLst>
                </p:cNvPr>
                <p:cNvSpPr/>
                <p:nvPr/>
              </p:nvSpPr>
              <p:spPr>
                <a:xfrm>
                  <a:off x="11592799" y="2187522"/>
                  <a:ext cx="184482" cy="347094"/>
                </a:xfrm>
                <a:custGeom>
                  <a:avLst/>
                  <a:gdLst>
                    <a:gd name="connsiteX0" fmla="*/ 0 w 184482"/>
                    <a:gd name="connsiteY0" fmla="*/ 298440 h 347094"/>
                    <a:gd name="connsiteX1" fmla="*/ 184482 w 184482"/>
                    <a:gd name="connsiteY1" fmla="*/ 298440 h 347094"/>
                    <a:gd name="connsiteX2" fmla="*/ 184482 w 184482"/>
                    <a:gd name="connsiteY2" fmla="*/ 60307 h 347094"/>
                    <a:gd name="connsiteX3" fmla="*/ 0 w 184482"/>
                    <a:gd name="connsiteY3" fmla="*/ 60307 h 347094"/>
                    <a:gd name="connsiteX4" fmla="*/ 0 w 184482"/>
                    <a:gd name="connsiteY4" fmla="*/ 298440 h 3470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4482" h="347094">
                      <a:moveTo>
                        <a:pt x="0" y="298440"/>
                      </a:moveTo>
                      <a:cubicBezTo>
                        <a:pt x="32058" y="362858"/>
                        <a:pt x="146739" y="363765"/>
                        <a:pt x="184482" y="298440"/>
                      </a:cubicBezTo>
                      <a:lnTo>
                        <a:pt x="184482" y="60307"/>
                      </a:lnTo>
                      <a:cubicBezTo>
                        <a:pt x="151820" y="-29091"/>
                        <a:pt x="13488" y="-10583"/>
                        <a:pt x="0" y="60307"/>
                      </a:cubicBezTo>
                      <a:lnTo>
                        <a:pt x="0" y="298440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1" name="Freihandform: Form 360">
                  <a:extLst>
                    <a:ext uri="{FF2B5EF4-FFF2-40B4-BE49-F238E27FC236}">
                      <a16:creationId xmlns:a16="http://schemas.microsoft.com/office/drawing/2014/main" id="{CAA0DC40-E6B6-638B-1F78-3CAFB5BDE067}"/>
                    </a:ext>
                  </a:extLst>
                </p:cNvPr>
                <p:cNvSpPr/>
                <p:nvPr/>
              </p:nvSpPr>
              <p:spPr>
                <a:xfrm>
                  <a:off x="11592799" y="2187522"/>
                  <a:ext cx="184482" cy="345619"/>
                </a:xfrm>
                <a:custGeom>
                  <a:avLst/>
                  <a:gdLst>
                    <a:gd name="connsiteX0" fmla="*/ 184482 w 184482"/>
                    <a:gd name="connsiteY0" fmla="*/ 60307 h 345619"/>
                    <a:gd name="connsiteX1" fmla="*/ 0 w 184482"/>
                    <a:gd name="connsiteY1" fmla="*/ 60307 h 345619"/>
                    <a:gd name="connsiteX2" fmla="*/ 0 w 184482"/>
                    <a:gd name="connsiteY2" fmla="*/ 298440 h 345619"/>
                    <a:gd name="connsiteX3" fmla="*/ 0 w 184482"/>
                    <a:gd name="connsiteY3" fmla="*/ 298440 h 345619"/>
                    <a:gd name="connsiteX4" fmla="*/ 5141 w 184482"/>
                    <a:gd name="connsiteY4" fmla="*/ 307090 h 345619"/>
                    <a:gd name="connsiteX5" fmla="*/ 6109 w 184482"/>
                    <a:gd name="connsiteY5" fmla="*/ 308541 h 345619"/>
                    <a:gd name="connsiteX6" fmla="*/ 12097 w 184482"/>
                    <a:gd name="connsiteY6" fmla="*/ 315981 h 345619"/>
                    <a:gd name="connsiteX7" fmla="*/ 13247 w 184482"/>
                    <a:gd name="connsiteY7" fmla="*/ 317191 h 345619"/>
                    <a:gd name="connsiteX8" fmla="*/ 28852 w 184482"/>
                    <a:gd name="connsiteY8" fmla="*/ 330014 h 345619"/>
                    <a:gd name="connsiteX9" fmla="*/ 29759 w 184482"/>
                    <a:gd name="connsiteY9" fmla="*/ 330619 h 345619"/>
                    <a:gd name="connsiteX10" fmla="*/ 38832 w 184482"/>
                    <a:gd name="connsiteY10" fmla="*/ 335639 h 345619"/>
                    <a:gd name="connsiteX11" fmla="*/ 39498 w 184482"/>
                    <a:gd name="connsiteY11" fmla="*/ 335941 h 345619"/>
                    <a:gd name="connsiteX12" fmla="*/ 60304 w 184482"/>
                    <a:gd name="connsiteY12" fmla="*/ 343381 h 345619"/>
                    <a:gd name="connsiteX13" fmla="*/ 60365 w 184482"/>
                    <a:gd name="connsiteY13" fmla="*/ 343381 h 345619"/>
                    <a:gd name="connsiteX14" fmla="*/ 71615 w 184482"/>
                    <a:gd name="connsiteY14" fmla="*/ 345619 h 345619"/>
                    <a:gd name="connsiteX15" fmla="*/ 71615 w 184482"/>
                    <a:gd name="connsiteY15" fmla="*/ 345619 h 345619"/>
                    <a:gd name="connsiteX16" fmla="*/ 41010 w 184482"/>
                    <a:gd name="connsiteY16" fmla="*/ 255556 h 345619"/>
                    <a:gd name="connsiteX17" fmla="*/ 91273 w 184482"/>
                    <a:gd name="connsiteY17" fmla="*/ 220474 h 345619"/>
                    <a:gd name="connsiteX18" fmla="*/ 184422 w 184482"/>
                    <a:gd name="connsiteY18" fmla="*/ 110329 h 345619"/>
                    <a:gd name="connsiteX19" fmla="*/ 184422 w 184482"/>
                    <a:gd name="connsiteY19" fmla="*/ 60246 h 3456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84482" h="345619">
                      <a:moveTo>
                        <a:pt x="184482" y="60307"/>
                      </a:moveTo>
                      <a:cubicBezTo>
                        <a:pt x="151820" y="-29091"/>
                        <a:pt x="13488" y="-10583"/>
                        <a:pt x="0" y="60307"/>
                      </a:cubicBezTo>
                      <a:lnTo>
                        <a:pt x="0" y="298440"/>
                      </a:lnTo>
                      <a:cubicBezTo>
                        <a:pt x="0" y="298440"/>
                        <a:pt x="0" y="298440"/>
                        <a:pt x="0" y="298440"/>
                      </a:cubicBezTo>
                      <a:cubicBezTo>
                        <a:pt x="1512" y="301465"/>
                        <a:pt x="3266" y="304307"/>
                        <a:pt x="5141" y="307090"/>
                      </a:cubicBezTo>
                      <a:cubicBezTo>
                        <a:pt x="5444" y="307574"/>
                        <a:pt x="5806" y="308057"/>
                        <a:pt x="6109" y="308541"/>
                      </a:cubicBezTo>
                      <a:cubicBezTo>
                        <a:pt x="7985" y="311142"/>
                        <a:pt x="9980" y="313622"/>
                        <a:pt x="12097" y="315981"/>
                      </a:cubicBezTo>
                      <a:cubicBezTo>
                        <a:pt x="12460" y="316405"/>
                        <a:pt x="12823" y="316767"/>
                        <a:pt x="13247" y="317191"/>
                      </a:cubicBezTo>
                      <a:cubicBezTo>
                        <a:pt x="17904" y="322030"/>
                        <a:pt x="23106" y="326324"/>
                        <a:pt x="28852" y="330014"/>
                      </a:cubicBezTo>
                      <a:cubicBezTo>
                        <a:pt x="29155" y="330195"/>
                        <a:pt x="29457" y="330437"/>
                        <a:pt x="29759" y="330619"/>
                      </a:cubicBezTo>
                      <a:cubicBezTo>
                        <a:pt x="32663" y="332433"/>
                        <a:pt x="35687" y="334127"/>
                        <a:pt x="38832" y="335639"/>
                      </a:cubicBezTo>
                      <a:cubicBezTo>
                        <a:pt x="39074" y="335760"/>
                        <a:pt x="39316" y="335881"/>
                        <a:pt x="39498" y="335941"/>
                      </a:cubicBezTo>
                      <a:cubicBezTo>
                        <a:pt x="46090" y="339087"/>
                        <a:pt x="53046" y="341567"/>
                        <a:pt x="60304" y="343381"/>
                      </a:cubicBezTo>
                      <a:cubicBezTo>
                        <a:pt x="60304" y="343381"/>
                        <a:pt x="60304" y="343381"/>
                        <a:pt x="60365" y="343381"/>
                      </a:cubicBezTo>
                      <a:cubicBezTo>
                        <a:pt x="64054" y="344289"/>
                        <a:pt x="67805" y="345075"/>
                        <a:pt x="71615" y="345619"/>
                      </a:cubicBezTo>
                      <a:cubicBezTo>
                        <a:pt x="71615" y="345619"/>
                        <a:pt x="71615" y="345619"/>
                        <a:pt x="71615" y="345619"/>
                      </a:cubicBezTo>
                      <a:cubicBezTo>
                        <a:pt x="58066" y="324328"/>
                        <a:pt x="40707" y="295779"/>
                        <a:pt x="41010" y="255556"/>
                      </a:cubicBezTo>
                      <a:cubicBezTo>
                        <a:pt x="41191" y="236079"/>
                        <a:pt x="55345" y="222349"/>
                        <a:pt x="91273" y="220474"/>
                      </a:cubicBezTo>
                      <a:cubicBezTo>
                        <a:pt x="151397" y="217389"/>
                        <a:pt x="179038" y="128535"/>
                        <a:pt x="184422" y="110329"/>
                      </a:cubicBezTo>
                      <a:lnTo>
                        <a:pt x="184422" y="60246"/>
                      </a:ln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2" name="Freihandform: Form 361">
                  <a:extLst>
                    <a:ext uri="{FF2B5EF4-FFF2-40B4-BE49-F238E27FC236}">
                      <a16:creationId xmlns:a16="http://schemas.microsoft.com/office/drawing/2014/main" id="{570300FB-C59D-149A-A64A-EE941167C757}"/>
                    </a:ext>
                  </a:extLst>
                </p:cNvPr>
                <p:cNvSpPr/>
                <p:nvPr/>
              </p:nvSpPr>
              <p:spPr>
                <a:xfrm>
                  <a:off x="11554257" y="2045063"/>
                  <a:ext cx="261685" cy="343154"/>
                </a:xfrm>
                <a:custGeom>
                  <a:avLst/>
                  <a:gdLst>
                    <a:gd name="connsiteX0" fmla="*/ 260888 w 261685"/>
                    <a:gd name="connsiteY0" fmla="*/ 115908 h 343154"/>
                    <a:gd name="connsiteX1" fmla="*/ 226713 w 261685"/>
                    <a:gd name="connsiteY1" fmla="*/ 30200 h 343154"/>
                    <a:gd name="connsiteX2" fmla="*/ 130843 w 261685"/>
                    <a:gd name="connsiteY2" fmla="*/ 17 h 343154"/>
                    <a:gd name="connsiteX3" fmla="*/ 34973 w 261685"/>
                    <a:gd name="connsiteY3" fmla="*/ 30200 h 343154"/>
                    <a:gd name="connsiteX4" fmla="*/ 798 w 261685"/>
                    <a:gd name="connsiteY4" fmla="*/ 115908 h 343154"/>
                    <a:gd name="connsiteX5" fmla="*/ 1342 w 261685"/>
                    <a:gd name="connsiteY5" fmla="*/ 197806 h 343154"/>
                    <a:gd name="connsiteX6" fmla="*/ 40235 w 261685"/>
                    <a:gd name="connsiteY6" fmla="*/ 289080 h 343154"/>
                    <a:gd name="connsiteX7" fmla="*/ 130843 w 261685"/>
                    <a:gd name="connsiteY7" fmla="*/ 343154 h 343154"/>
                    <a:gd name="connsiteX8" fmla="*/ 221451 w 261685"/>
                    <a:gd name="connsiteY8" fmla="*/ 289080 h 343154"/>
                    <a:gd name="connsiteX9" fmla="*/ 260344 w 261685"/>
                    <a:gd name="connsiteY9" fmla="*/ 197806 h 343154"/>
                    <a:gd name="connsiteX10" fmla="*/ 260888 w 261685"/>
                    <a:gd name="connsiteY10" fmla="*/ 115908 h 343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61685" h="343154">
                      <a:moveTo>
                        <a:pt x="260888" y="115908"/>
                      </a:moveTo>
                      <a:cubicBezTo>
                        <a:pt x="260888" y="115908"/>
                        <a:pt x="257803" y="64798"/>
                        <a:pt x="226713" y="30200"/>
                      </a:cubicBezTo>
                      <a:cubicBezTo>
                        <a:pt x="201067" y="1711"/>
                        <a:pt x="148566" y="-225"/>
                        <a:pt x="130843" y="17"/>
                      </a:cubicBezTo>
                      <a:cubicBezTo>
                        <a:pt x="113120" y="-164"/>
                        <a:pt x="60558" y="1711"/>
                        <a:pt x="34973" y="30200"/>
                      </a:cubicBezTo>
                      <a:cubicBezTo>
                        <a:pt x="3883" y="64798"/>
                        <a:pt x="798" y="115908"/>
                        <a:pt x="798" y="115908"/>
                      </a:cubicBezTo>
                      <a:cubicBezTo>
                        <a:pt x="798" y="115908"/>
                        <a:pt x="-1319" y="174943"/>
                        <a:pt x="1342" y="197806"/>
                      </a:cubicBezTo>
                      <a:cubicBezTo>
                        <a:pt x="4004" y="220610"/>
                        <a:pt x="1221" y="251941"/>
                        <a:pt x="40235" y="289080"/>
                      </a:cubicBezTo>
                      <a:cubicBezTo>
                        <a:pt x="78341" y="325371"/>
                        <a:pt x="104411" y="342307"/>
                        <a:pt x="130843" y="343154"/>
                      </a:cubicBezTo>
                      <a:cubicBezTo>
                        <a:pt x="157275" y="342368"/>
                        <a:pt x="183345" y="325371"/>
                        <a:pt x="221451" y="289080"/>
                      </a:cubicBezTo>
                      <a:cubicBezTo>
                        <a:pt x="260465" y="251881"/>
                        <a:pt x="257742" y="220610"/>
                        <a:pt x="260344" y="197806"/>
                      </a:cubicBezTo>
                      <a:cubicBezTo>
                        <a:pt x="263005" y="175003"/>
                        <a:pt x="260888" y="115908"/>
                        <a:pt x="260888" y="115908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3" name="Freihandform: Form 362">
                  <a:extLst>
                    <a:ext uri="{FF2B5EF4-FFF2-40B4-BE49-F238E27FC236}">
                      <a16:creationId xmlns:a16="http://schemas.microsoft.com/office/drawing/2014/main" id="{BCA06138-07B9-DDC4-A671-17E477433BDE}"/>
                    </a:ext>
                  </a:extLst>
                </p:cNvPr>
                <p:cNvSpPr/>
                <p:nvPr/>
              </p:nvSpPr>
              <p:spPr>
                <a:xfrm rot="-3871802">
                  <a:off x="11747236" y="2163336"/>
                  <a:ext cx="128714" cy="86011"/>
                </a:xfrm>
                <a:custGeom>
                  <a:avLst/>
                  <a:gdLst>
                    <a:gd name="connsiteX0" fmla="*/ 128714 w 128714"/>
                    <a:gd name="connsiteY0" fmla="*/ 43006 h 86011"/>
                    <a:gd name="connsiteX1" fmla="*/ 64357 w 128714"/>
                    <a:gd name="connsiteY1" fmla="*/ 86011 h 86011"/>
                    <a:gd name="connsiteX2" fmla="*/ 0 w 128714"/>
                    <a:gd name="connsiteY2" fmla="*/ 43006 h 86011"/>
                    <a:gd name="connsiteX3" fmla="*/ 64357 w 128714"/>
                    <a:gd name="connsiteY3" fmla="*/ 0 h 86011"/>
                    <a:gd name="connsiteX4" fmla="*/ 128714 w 128714"/>
                    <a:gd name="connsiteY4" fmla="*/ 43006 h 860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8714" h="86011">
                      <a:moveTo>
                        <a:pt x="128714" y="43006"/>
                      </a:moveTo>
                      <a:cubicBezTo>
                        <a:pt x="128714" y="66757"/>
                        <a:pt x="99900" y="86011"/>
                        <a:pt x="64357" y="86011"/>
                      </a:cubicBezTo>
                      <a:cubicBezTo>
                        <a:pt x="28813" y="86011"/>
                        <a:pt x="0" y="66757"/>
                        <a:pt x="0" y="43006"/>
                      </a:cubicBezTo>
                      <a:cubicBezTo>
                        <a:pt x="0" y="19254"/>
                        <a:pt x="28813" y="0"/>
                        <a:pt x="64357" y="0"/>
                      </a:cubicBezTo>
                      <a:cubicBezTo>
                        <a:pt x="99900" y="0"/>
                        <a:pt x="128714" y="19254"/>
                        <a:pt x="128714" y="43006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4" name="Freihandform: Form 363">
                  <a:extLst>
                    <a:ext uri="{FF2B5EF4-FFF2-40B4-BE49-F238E27FC236}">
                      <a16:creationId xmlns:a16="http://schemas.microsoft.com/office/drawing/2014/main" id="{6AFD1CD0-FF7F-F59A-ADFC-C6D21E262FF5}"/>
                    </a:ext>
                  </a:extLst>
                </p:cNvPr>
                <p:cNvSpPr/>
                <p:nvPr/>
              </p:nvSpPr>
              <p:spPr>
                <a:xfrm rot="-1168199">
                  <a:off x="11511939" y="2141862"/>
                  <a:ext cx="86252" cy="128230"/>
                </a:xfrm>
                <a:custGeom>
                  <a:avLst/>
                  <a:gdLst>
                    <a:gd name="connsiteX0" fmla="*/ 86253 w 86252"/>
                    <a:gd name="connsiteY0" fmla="*/ 64115 h 128230"/>
                    <a:gd name="connsiteX1" fmla="*/ 43127 w 86252"/>
                    <a:gd name="connsiteY1" fmla="*/ 128230 h 128230"/>
                    <a:gd name="connsiteX2" fmla="*/ 0 w 86252"/>
                    <a:gd name="connsiteY2" fmla="*/ 64115 h 128230"/>
                    <a:gd name="connsiteX3" fmla="*/ 43127 w 86252"/>
                    <a:gd name="connsiteY3" fmla="*/ 0 h 128230"/>
                    <a:gd name="connsiteX4" fmla="*/ 86253 w 86252"/>
                    <a:gd name="connsiteY4" fmla="*/ 64115 h 128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6252" h="128230">
                      <a:moveTo>
                        <a:pt x="86253" y="64115"/>
                      </a:moveTo>
                      <a:cubicBezTo>
                        <a:pt x="86253" y="99525"/>
                        <a:pt x="66944" y="128230"/>
                        <a:pt x="43127" y="128230"/>
                      </a:cubicBezTo>
                      <a:cubicBezTo>
                        <a:pt x="19309" y="128230"/>
                        <a:pt x="0" y="99525"/>
                        <a:pt x="0" y="64115"/>
                      </a:cubicBezTo>
                      <a:cubicBezTo>
                        <a:pt x="0" y="28705"/>
                        <a:pt x="19309" y="0"/>
                        <a:pt x="43127" y="0"/>
                      </a:cubicBezTo>
                      <a:cubicBezTo>
                        <a:pt x="66944" y="0"/>
                        <a:pt x="86253" y="28705"/>
                        <a:pt x="86253" y="64115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5" name="Freihandform: Form 364">
                  <a:extLst>
                    <a:ext uri="{FF2B5EF4-FFF2-40B4-BE49-F238E27FC236}">
                      <a16:creationId xmlns:a16="http://schemas.microsoft.com/office/drawing/2014/main" id="{7A31F45A-38D8-84FB-AC04-96F0E0A6D8CF}"/>
                    </a:ext>
                  </a:extLst>
                </p:cNvPr>
                <p:cNvSpPr/>
                <p:nvPr/>
              </p:nvSpPr>
              <p:spPr>
                <a:xfrm>
                  <a:off x="11518704" y="1942617"/>
                  <a:ext cx="332793" cy="347915"/>
                </a:xfrm>
                <a:custGeom>
                  <a:avLst/>
                  <a:gdLst>
                    <a:gd name="connsiteX0" fmla="*/ 332794 w 332793"/>
                    <a:gd name="connsiteY0" fmla="*/ 173958 h 347915"/>
                    <a:gd name="connsiteX1" fmla="*/ 166397 w 332793"/>
                    <a:gd name="connsiteY1" fmla="*/ 347915 h 347915"/>
                    <a:gd name="connsiteX2" fmla="*/ 0 w 332793"/>
                    <a:gd name="connsiteY2" fmla="*/ 173958 h 347915"/>
                    <a:gd name="connsiteX3" fmla="*/ 166397 w 332793"/>
                    <a:gd name="connsiteY3" fmla="*/ 0 h 347915"/>
                    <a:gd name="connsiteX4" fmla="*/ 332794 w 332793"/>
                    <a:gd name="connsiteY4" fmla="*/ 173958 h 347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793" h="347915">
                      <a:moveTo>
                        <a:pt x="332794" y="173958"/>
                      </a:moveTo>
                      <a:cubicBezTo>
                        <a:pt x="332794" y="270032"/>
                        <a:pt x="258295" y="347915"/>
                        <a:pt x="166397" y="347915"/>
                      </a:cubicBezTo>
                      <a:cubicBezTo>
                        <a:pt x="74498" y="347915"/>
                        <a:pt x="0" y="270032"/>
                        <a:pt x="0" y="173958"/>
                      </a:cubicBezTo>
                      <a:cubicBezTo>
                        <a:pt x="0" y="77883"/>
                        <a:pt x="74498" y="0"/>
                        <a:pt x="166397" y="0"/>
                      </a:cubicBezTo>
                      <a:cubicBezTo>
                        <a:pt x="258295" y="0"/>
                        <a:pt x="332794" y="77883"/>
                        <a:pt x="332794" y="173958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6" name="Freihandform: Form 365">
                  <a:extLst>
                    <a:ext uri="{FF2B5EF4-FFF2-40B4-BE49-F238E27FC236}">
                      <a16:creationId xmlns:a16="http://schemas.microsoft.com/office/drawing/2014/main" id="{8206DBAA-572D-640E-0A3C-DCE009645D2A}"/>
                    </a:ext>
                  </a:extLst>
                </p:cNvPr>
                <p:cNvSpPr/>
                <p:nvPr/>
              </p:nvSpPr>
              <p:spPr>
                <a:xfrm>
                  <a:off x="11511370" y="1945641"/>
                  <a:ext cx="328272" cy="250230"/>
                </a:xfrm>
                <a:custGeom>
                  <a:avLst/>
                  <a:gdLst>
                    <a:gd name="connsiteX0" fmla="*/ 165625 w 328272"/>
                    <a:gd name="connsiteY0" fmla="*/ 78874 h 250230"/>
                    <a:gd name="connsiteX1" fmla="*/ 304198 w 328272"/>
                    <a:gd name="connsiteY1" fmla="*/ 250230 h 250230"/>
                    <a:gd name="connsiteX2" fmla="*/ 328272 w 328272"/>
                    <a:gd name="connsiteY2" fmla="*/ 173958 h 250230"/>
                    <a:gd name="connsiteX3" fmla="*/ 164839 w 328272"/>
                    <a:gd name="connsiteY3" fmla="*/ 0 h 250230"/>
                    <a:gd name="connsiteX4" fmla="*/ 54331 w 328272"/>
                    <a:gd name="connsiteY4" fmla="*/ 45788 h 250230"/>
                    <a:gd name="connsiteX5" fmla="*/ 20277 w 328272"/>
                    <a:gd name="connsiteY5" fmla="*/ 236561 h 250230"/>
                    <a:gd name="connsiteX6" fmla="*/ 165625 w 328272"/>
                    <a:gd name="connsiteY6" fmla="*/ 78874 h 250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8272" h="250230">
                      <a:moveTo>
                        <a:pt x="165625" y="78874"/>
                      </a:moveTo>
                      <a:cubicBezTo>
                        <a:pt x="284057" y="86374"/>
                        <a:pt x="269540" y="183756"/>
                        <a:pt x="304198" y="250230"/>
                      </a:cubicBezTo>
                      <a:cubicBezTo>
                        <a:pt x="310731" y="231419"/>
                        <a:pt x="328272" y="195188"/>
                        <a:pt x="328272" y="173958"/>
                      </a:cubicBezTo>
                      <a:cubicBezTo>
                        <a:pt x="328272" y="77845"/>
                        <a:pt x="255083" y="0"/>
                        <a:pt x="164839" y="0"/>
                      </a:cubicBezTo>
                      <a:cubicBezTo>
                        <a:pt x="122257" y="0"/>
                        <a:pt x="83424" y="17359"/>
                        <a:pt x="54331" y="45788"/>
                      </a:cubicBezTo>
                      <a:cubicBezTo>
                        <a:pt x="10841" y="66958"/>
                        <a:pt x="-23454" y="158655"/>
                        <a:pt x="20277" y="236561"/>
                      </a:cubicBezTo>
                      <a:cubicBezTo>
                        <a:pt x="62860" y="195007"/>
                        <a:pt x="58988" y="72160"/>
                        <a:pt x="165625" y="78874"/>
                      </a:cubicBezTo>
                      <a:close/>
                    </a:path>
                  </a:pathLst>
                </a:custGeom>
                <a:solidFill>
                  <a:srgbClr val="C09066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7" name="Freihandform: Form 366">
                  <a:extLst>
                    <a:ext uri="{FF2B5EF4-FFF2-40B4-BE49-F238E27FC236}">
                      <a16:creationId xmlns:a16="http://schemas.microsoft.com/office/drawing/2014/main" id="{F0588B6E-CC08-9117-9890-9FB0F8682F9A}"/>
                    </a:ext>
                  </a:extLst>
                </p:cNvPr>
                <p:cNvSpPr/>
                <p:nvPr/>
              </p:nvSpPr>
              <p:spPr>
                <a:xfrm>
                  <a:off x="11653285" y="2232163"/>
                  <a:ext cx="48738" cy="19839"/>
                </a:xfrm>
                <a:custGeom>
                  <a:avLst/>
                  <a:gdLst>
                    <a:gd name="connsiteX0" fmla="*/ 665 w 48738"/>
                    <a:gd name="connsiteY0" fmla="*/ 0 h 19839"/>
                    <a:gd name="connsiteX1" fmla="*/ 22138 w 48738"/>
                    <a:gd name="connsiteY1" fmla="*/ 6532 h 19839"/>
                    <a:gd name="connsiteX2" fmla="*/ 48147 w 48738"/>
                    <a:gd name="connsiteY2" fmla="*/ 0 h 19839"/>
                    <a:gd name="connsiteX3" fmla="*/ 48147 w 48738"/>
                    <a:gd name="connsiteY3" fmla="*/ 5686 h 19839"/>
                    <a:gd name="connsiteX4" fmla="*/ 22985 w 48738"/>
                    <a:gd name="connsiteY4" fmla="*/ 19839 h 19839"/>
                    <a:gd name="connsiteX5" fmla="*/ 726 w 48738"/>
                    <a:gd name="connsiteY5" fmla="*/ 6291 h 19839"/>
                    <a:gd name="connsiteX6" fmla="*/ 726 w 48738"/>
                    <a:gd name="connsiteY6" fmla="*/ 0 h 198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8738" h="19839">
                      <a:moveTo>
                        <a:pt x="665" y="0"/>
                      </a:moveTo>
                      <a:cubicBezTo>
                        <a:pt x="665" y="0"/>
                        <a:pt x="6835" y="6532"/>
                        <a:pt x="22138" y="6532"/>
                      </a:cubicBezTo>
                      <a:cubicBezTo>
                        <a:pt x="41493" y="6532"/>
                        <a:pt x="48147" y="0"/>
                        <a:pt x="48147" y="0"/>
                      </a:cubicBezTo>
                      <a:cubicBezTo>
                        <a:pt x="48147" y="0"/>
                        <a:pt x="49478" y="1936"/>
                        <a:pt x="48147" y="5686"/>
                      </a:cubicBezTo>
                      <a:cubicBezTo>
                        <a:pt x="47179" y="8347"/>
                        <a:pt x="38772" y="19839"/>
                        <a:pt x="22985" y="19839"/>
                      </a:cubicBezTo>
                      <a:cubicBezTo>
                        <a:pt x="10646" y="19839"/>
                        <a:pt x="2359" y="10162"/>
                        <a:pt x="726" y="6291"/>
                      </a:cubicBezTo>
                      <a:cubicBezTo>
                        <a:pt x="-907" y="2419"/>
                        <a:pt x="726" y="0"/>
                        <a:pt x="726" y="0"/>
                      </a:cubicBez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8" name="Freihandform: Form 367">
                  <a:extLst>
                    <a:ext uri="{FF2B5EF4-FFF2-40B4-BE49-F238E27FC236}">
                      <a16:creationId xmlns:a16="http://schemas.microsoft.com/office/drawing/2014/main" id="{A11EDB4B-768A-883B-A006-2DE202371D19}"/>
                    </a:ext>
                  </a:extLst>
                </p:cNvPr>
                <p:cNvSpPr/>
                <p:nvPr/>
              </p:nvSpPr>
              <p:spPr>
                <a:xfrm>
                  <a:off x="11697217" y="2129414"/>
                  <a:ext cx="86717" cy="29137"/>
                </a:xfrm>
                <a:custGeom>
                  <a:avLst/>
                  <a:gdLst>
                    <a:gd name="connsiteX0" fmla="*/ 67725 w 86717"/>
                    <a:gd name="connsiteY0" fmla="*/ 10931 h 29137"/>
                    <a:gd name="connsiteX1" fmla="*/ 34518 w 86717"/>
                    <a:gd name="connsiteY1" fmla="*/ 467 h 29137"/>
                    <a:gd name="connsiteX2" fmla="*/ 34518 w 86717"/>
                    <a:gd name="connsiteY2" fmla="*/ 467 h 29137"/>
                    <a:gd name="connsiteX3" fmla="*/ 4760 w 86717"/>
                    <a:gd name="connsiteY3" fmla="*/ 3854 h 29137"/>
                    <a:gd name="connsiteX4" fmla="*/ 2643 w 86717"/>
                    <a:gd name="connsiteY4" fmla="*/ 5487 h 29137"/>
                    <a:gd name="connsiteX5" fmla="*/ 8631 w 86717"/>
                    <a:gd name="connsiteY5" fmla="*/ 20609 h 29137"/>
                    <a:gd name="connsiteX6" fmla="*/ 25567 w 86717"/>
                    <a:gd name="connsiteY6" fmla="*/ 19036 h 29137"/>
                    <a:gd name="connsiteX7" fmla="*/ 65306 w 86717"/>
                    <a:gd name="connsiteY7" fmla="*/ 21335 h 29137"/>
                    <a:gd name="connsiteX8" fmla="*/ 86718 w 86717"/>
                    <a:gd name="connsiteY8" fmla="*/ 29137 h 29137"/>
                    <a:gd name="connsiteX9" fmla="*/ 67665 w 86717"/>
                    <a:gd name="connsiteY9" fmla="*/ 10991 h 29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6717" h="29137">
                      <a:moveTo>
                        <a:pt x="67725" y="10931"/>
                      </a:moveTo>
                      <a:cubicBezTo>
                        <a:pt x="56233" y="3612"/>
                        <a:pt x="43773" y="830"/>
                        <a:pt x="34518" y="467"/>
                      </a:cubicBezTo>
                      <a:lnTo>
                        <a:pt x="34518" y="467"/>
                      </a:lnTo>
                      <a:cubicBezTo>
                        <a:pt x="18671" y="-1106"/>
                        <a:pt x="8207" y="1616"/>
                        <a:pt x="4760" y="3854"/>
                      </a:cubicBezTo>
                      <a:cubicBezTo>
                        <a:pt x="3973" y="4399"/>
                        <a:pt x="3248" y="4943"/>
                        <a:pt x="2643" y="5487"/>
                      </a:cubicBezTo>
                      <a:cubicBezTo>
                        <a:pt x="-2983" y="10871"/>
                        <a:pt x="1010" y="20790"/>
                        <a:pt x="8631" y="20609"/>
                      </a:cubicBezTo>
                      <a:cubicBezTo>
                        <a:pt x="12139" y="20548"/>
                        <a:pt x="20668" y="19580"/>
                        <a:pt x="25567" y="19036"/>
                      </a:cubicBezTo>
                      <a:cubicBezTo>
                        <a:pt x="34095" y="18129"/>
                        <a:pt x="58350" y="19399"/>
                        <a:pt x="65306" y="21335"/>
                      </a:cubicBezTo>
                      <a:cubicBezTo>
                        <a:pt x="78916" y="25024"/>
                        <a:pt x="86718" y="29137"/>
                        <a:pt x="86718" y="29137"/>
                      </a:cubicBezTo>
                      <a:cubicBezTo>
                        <a:pt x="86718" y="29137"/>
                        <a:pt x="83028" y="20790"/>
                        <a:pt x="67665" y="10991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9" name="Freihandform: Form 368">
                  <a:extLst>
                    <a:ext uri="{FF2B5EF4-FFF2-40B4-BE49-F238E27FC236}">
                      <a16:creationId xmlns:a16="http://schemas.microsoft.com/office/drawing/2014/main" id="{220D00EC-33A9-4EBF-4D62-71E0C2AA6E8D}"/>
                    </a:ext>
                  </a:extLst>
                </p:cNvPr>
                <p:cNvSpPr/>
                <p:nvPr/>
              </p:nvSpPr>
              <p:spPr>
                <a:xfrm>
                  <a:off x="11633687" y="2269845"/>
                  <a:ext cx="95568" cy="44941"/>
                </a:xfrm>
                <a:custGeom>
                  <a:avLst/>
                  <a:gdLst>
                    <a:gd name="connsiteX0" fmla="*/ 0 w 95568"/>
                    <a:gd name="connsiteY0" fmla="*/ 4961 h 44941"/>
                    <a:gd name="connsiteX1" fmla="*/ 36170 w 95568"/>
                    <a:gd name="connsiteY1" fmla="*/ 545 h 44941"/>
                    <a:gd name="connsiteX2" fmla="*/ 45607 w 95568"/>
                    <a:gd name="connsiteY2" fmla="*/ 3630 h 44941"/>
                    <a:gd name="connsiteX3" fmla="*/ 54498 w 95568"/>
                    <a:gd name="connsiteY3" fmla="*/ 1 h 44941"/>
                    <a:gd name="connsiteX4" fmla="*/ 95568 w 95568"/>
                    <a:gd name="connsiteY4" fmla="*/ 5263 h 44941"/>
                    <a:gd name="connsiteX5" fmla="*/ 44396 w 95568"/>
                    <a:gd name="connsiteY5" fmla="*/ 44942 h 44941"/>
                    <a:gd name="connsiteX6" fmla="*/ 61 w 95568"/>
                    <a:gd name="connsiteY6" fmla="*/ 4900 h 449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5568" h="44941">
                      <a:moveTo>
                        <a:pt x="0" y="4961"/>
                      </a:moveTo>
                      <a:cubicBezTo>
                        <a:pt x="0" y="4961"/>
                        <a:pt x="12339" y="2602"/>
                        <a:pt x="36170" y="545"/>
                      </a:cubicBezTo>
                      <a:cubicBezTo>
                        <a:pt x="38046" y="364"/>
                        <a:pt x="40163" y="3811"/>
                        <a:pt x="45607" y="3630"/>
                      </a:cubicBezTo>
                      <a:cubicBezTo>
                        <a:pt x="52139" y="3448"/>
                        <a:pt x="52381" y="-60"/>
                        <a:pt x="54498" y="1"/>
                      </a:cubicBezTo>
                      <a:cubicBezTo>
                        <a:pt x="80144" y="908"/>
                        <a:pt x="95568" y="5263"/>
                        <a:pt x="95568" y="5263"/>
                      </a:cubicBezTo>
                      <a:cubicBezTo>
                        <a:pt x="95568" y="5263"/>
                        <a:pt x="82865" y="44942"/>
                        <a:pt x="44396" y="44942"/>
                      </a:cubicBezTo>
                      <a:cubicBezTo>
                        <a:pt x="9799" y="44942"/>
                        <a:pt x="61" y="4900"/>
                        <a:pt x="61" y="4900"/>
                      </a:cubicBez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0" name="Freihandform: Form 369">
                  <a:extLst>
                    <a:ext uri="{FF2B5EF4-FFF2-40B4-BE49-F238E27FC236}">
                      <a16:creationId xmlns:a16="http://schemas.microsoft.com/office/drawing/2014/main" id="{AF125A6C-528C-8F39-4B2C-4A385E335909}"/>
                    </a:ext>
                  </a:extLst>
                </p:cNvPr>
                <p:cNvSpPr/>
                <p:nvPr/>
              </p:nvSpPr>
              <p:spPr>
                <a:xfrm rot="-5166000">
                  <a:off x="11600716" y="2174957"/>
                  <a:ext cx="24920" cy="23468"/>
                </a:xfrm>
                <a:custGeom>
                  <a:avLst/>
                  <a:gdLst>
                    <a:gd name="connsiteX0" fmla="*/ 24920 w 24920"/>
                    <a:gd name="connsiteY0" fmla="*/ 11734 h 23468"/>
                    <a:gd name="connsiteX1" fmla="*/ 12459 w 24920"/>
                    <a:gd name="connsiteY1" fmla="*/ 23469 h 23468"/>
                    <a:gd name="connsiteX2" fmla="*/ -1 w 24920"/>
                    <a:gd name="connsiteY2" fmla="*/ 11734 h 23468"/>
                    <a:gd name="connsiteX3" fmla="*/ 12459 w 24920"/>
                    <a:gd name="connsiteY3" fmla="*/ 0 h 23468"/>
                    <a:gd name="connsiteX4" fmla="*/ 24920 w 24920"/>
                    <a:gd name="connsiteY4" fmla="*/ 11734 h 234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920" h="23468">
                      <a:moveTo>
                        <a:pt x="24920" y="11734"/>
                      </a:moveTo>
                      <a:cubicBezTo>
                        <a:pt x="24920" y="18215"/>
                        <a:pt x="19342" y="23469"/>
                        <a:pt x="12459" y="23469"/>
                      </a:cubicBezTo>
                      <a:cubicBezTo>
                        <a:pt x="5578" y="23469"/>
                        <a:pt x="-1" y="18215"/>
                        <a:pt x="-1" y="11734"/>
                      </a:cubicBezTo>
                      <a:cubicBezTo>
                        <a:pt x="-1" y="5254"/>
                        <a:pt x="5577" y="0"/>
                        <a:pt x="12459" y="0"/>
                      </a:cubicBezTo>
                      <a:cubicBezTo>
                        <a:pt x="19341" y="0"/>
                        <a:pt x="24920" y="5254"/>
                        <a:pt x="24920" y="11734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1" name="Freihandform: Form 370">
                  <a:extLst>
                    <a:ext uri="{FF2B5EF4-FFF2-40B4-BE49-F238E27FC236}">
                      <a16:creationId xmlns:a16="http://schemas.microsoft.com/office/drawing/2014/main" id="{FFFDEBDF-9851-B988-025C-F2790F767C40}"/>
                    </a:ext>
                  </a:extLst>
                </p:cNvPr>
                <p:cNvSpPr/>
                <p:nvPr/>
              </p:nvSpPr>
              <p:spPr>
                <a:xfrm>
                  <a:off x="11570056" y="2130443"/>
                  <a:ext cx="86657" cy="29137"/>
                </a:xfrm>
                <a:custGeom>
                  <a:avLst/>
                  <a:gdLst>
                    <a:gd name="connsiteX0" fmla="*/ 19053 w 86657"/>
                    <a:gd name="connsiteY0" fmla="*/ 10931 h 29137"/>
                    <a:gd name="connsiteX1" fmla="*/ 52199 w 86657"/>
                    <a:gd name="connsiteY1" fmla="*/ 467 h 29137"/>
                    <a:gd name="connsiteX2" fmla="*/ 52199 w 86657"/>
                    <a:gd name="connsiteY2" fmla="*/ 467 h 29137"/>
                    <a:gd name="connsiteX3" fmla="*/ 81898 w 86657"/>
                    <a:gd name="connsiteY3" fmla="*/ 3854 h 29137"/>
                    <a:gd name="connsiteX4" fmla="*/ 84015 w 86657"/>
                    <a:gd name="connsiteY4" fmla="*/ 5487 h 29137"/>
                    <a:gd name="connsiteX5" fmla="*/ 78027 w 86657"/>
                    <a:gd name="connsiteY5" fmla="*/ 20609 h 29137"/>
                    <a:gd name="connsiteX6" fmla="*/ 61151 w 86657"/>
                    <a:gd name="connsiteY6" fmla="*/ 19036 h 29137"/>
                    <a:gd name="connsiteX7" fmla="*/ 21412 w 86657"/>
                    <a:gd name="connsiteY7" fmla="*/ 21335 h 29137"/>
                    <a:gd name="connsiteX8" fmla="*/ 0 w 86657"/>
                    <a:gd name="connsiteY8" fmla="*/ 29137 h 29137"/>
                    <a:gd name="connsiteX9" fmla="*/ 18993 w 86657"/>
                    <a:gd name="connsiteY9" fmla="*/ 10991 h 29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6657" h="29137">
                      <a:moveTo>
                        <a:pt x="19053" y="10931"/>
                      </a:moveTo>
                      <a:cubicBezTo>
                        <a:pt x="30546" y="3612"/>
                        <a:pt x="43005" y="830"/>
                        <a:pt x="52199" y="467"/>
                      </a:cubicBezTo>
                      <a:lnTo>
                        <a:pt x="52199" y="467"/>
                      </a:lnTo>
                      <a:cubicBezTo>
                        <a:pt x="67986" y="-1106"/>
                        <a:pt x="78511" y="1616"/>
                        <a:pt x="81898" y="3854"/>
                      </a:cubicBezTo>
                      <a:cubicBezTo>
                        <a:pt x="82685" y="4399"/>
                        <a:pt x="83410" y="4943"/>
                        <a:pt x="84015" y="5487"/>
                      </a:cubicBezTo>
                      <a:cubicBezTo>
                        <a:pt x="89641" y="10871"/>
                        <a:pt x="85648" y="20790"/>
                        <a:pt x="78027" y="20609"/>
                      </a:cubicBezTo>
                      <a:cubicBezTo>
                        <a:pt x="74519" y="20548"/>
                        <a:pt x="65990" y="19581"/>
                        <a:pt x="61151" y="19036"/>
                      </a:cubicBezTo>
                      <a:cubicBezTo>
                        <a:pt x="52623" y="18129"/>
                        <a:pt x="28368" y="19399"/>
                        <a:pt x="21412" y="21335"/>
                      </a:cubicBezTo>
                      <a:cubicBezTo>
                        <a:pt x="7803" y="25024"/>
                        <a:pt x="0" y="29137"/>
                        <a:pt x="0" y="29137"/>
                      </a:cubicBezTo>
                      <a:cubicBezTo>
                        <a:pt x="0" y="29137"/>
                        <a:pt x="3690" y="20790"/>
                        <a:pt x="18993" y="10991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2" name="Freihandform: Form 371">
                  <a:extLst>
                    <a:ext uri="{FF2B5EF4-FFF2-40B4-BE49-F238E27FC236}">
                      <a16:creationId xmlns:a16="http://schemas.microsoft.com/office/drawing/2014/main" id="{3B5FF6F3-0B30-FF98-16E9-7F9E101083E5}"/>
                    </a:ext>
                  </a:extLst>
                </p:cNvPr>
                <p:cNvSpPr/>
                <p:nvPr/>
              </p:nvSpPr>
              <p:spPr>
                <a:xfrm>
                  <a:off x="11580553" y="2168491"/>
                  <a:ext cx="64100" cy="16950"/>
                </a:xfrm>
                <a:custGeom>
                  <a:avLst/>
                  <a:gdLst>
                    <a:gd name="connsiteX0" fmla="*/ 2085 w 64100"/>
                    <a:gd name="connsiteY0" fmla="*/ 10989 h 16950"/>
                    <a:gd name="connsiteX1" fmla="*/ 28637 w 64100"/>
                    <a:gd name="connsiteY1" fmla="*/ 101 h 16950"/>
                    <a:gd name="connsiteX2" fmla="*/ 62631 w 64100"/>
                    <a:gd name="connsiteY2" fmla="*/ 10807 h 16950"/>
                    <a:gd name="connsiteX3" fmla="*/ 60574 w 64100"/>
                    <a:gd name="connsiteY3" fmla="*/ 16614 h 16950"/>
                    <a:gd name="connsiteX4" fmla="*/ 33598 w 64100"/>
                    <a:gd name="connsiteY4" fmla="*/ 7178 h 16950"/>
                    <a:gd name="connsiteX5" fmla="*/ 6742 w 64100"/>
                    <a:gd name="connsiteY5" fmla="*/ 13166 h 16950"/>
                    <a:gd name="connsiteX6" fmla="*/ 814 w 64100"/>
                    <a:gd name="connsiteY6" fmla="*/ 15767 h 16950"/>
                    <a:gd name="connsiteX7" fmla="*/ 2085 w 64100"/>
                    <a:gd name="connsiteY7" fmla="*/ 10928 h 16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4100" h="16950">
                      <a:moveTo>
                        <a:pt x="2085" y="10989"/>
                      </a:moveTo>
                      <a:cubicBezTo>
                        <a:pt x="5049" y="7965"/>
                        <a:pt x="14847" y="888"/>
                        <a:pt x="28637" y="101"/>
                      </a:cubicBezTo>
                      <a:cubicBezTo>
                        <a:pt x="47449" y="-927"/>
                        <a:pt x="58215" y="6090"/>
                        <a:pt x="62631" y="10807"/>
                      </a:cubicBezTo>
                      <a:cubicBezTo>
                        <a:pt x="65837" y="14255"/>
                        <a:pt x="63175" y="18126"/>
                        <a:pt x="60574" y="16614"/>
                      </a:cubicBezTo>
                      <a:cubicBezTo>
                        <a:pt x="53800" y="12743"/>
                        <a:pt x="50171" y="9174"/>
                        <a:pt x="33598" y="7178"/>
                      </a:cubicBezTo>
                      <a:cubicBezTo>
                        <a:pt x="21984" y="5787"/>
                        <a:pt x="10976" y="10807"/>
                        <a:pt x="6742" y="13166"/>
                      </a:cubicBezTo>
                      <a:cubicBezTo>
                        <a:pt x="3476" y="14981"/>
                        <a:pt x="1843" y="16493"/>
                        <a:pt x="814" y="15767"/>
                      </a:cubicBezTo>
                      <a:cubicBezTo>
                        <a:pt x="-1000" y="14437"/>
                        <a:pt x="573" y="12501"/>
                        <a:pt x="2085" y="1092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3" name="Freihandform: Form 372">
                  <a:extLst>
                    <a:ext uri="{FF2B5EF4-FFF2-40B4-BE49-F238E27FC236}">
                      <a16:creationId xmlns:a16="http://schemas.microsoft.com/office/drawing/2014/main" id="{EDF27732-ACE5-031C-7149-8236B55CCA7C}"/>
                    </a:ext>
                  </a:extLst>
                </p:cNvPr>
                <p:cNvSpPr/>
                <p:nvPr/>
              </p:nvSpPr>
              <p:spPr>
                <a:xfrm rot="-234000">
                  <a:off x="11725754" y="2174535"/>
                  <a:ext cx="23468" cy="24920"/>
                </a:xfrm>
                <a:custGeom>
                  <a:avLst/>
                  <a:gdLst>
                    <a:gd name="connsiteX0" fmla="*/ 23468 w 23468"/>
                    <a:gd name="connsiteY0" fmla="*/ 12460 h 24920"/>
                    <a:gd name="connsiteX1" fmla="*/ 11734 w 23468"/>
                    <a:gd name="connsiteY1" fmla="*/ 24920 h 24920"/>
                    <a:gd name="connsiteX2" fmla="*/ 1 w 23468"/>
                    <a:gd name="connsiteY2" fmla="*/ 12460 h 24920"/>
                    <a:gd name="connsiteX3" fmla="*/ 11734 w 23468"/>
                    <a:gd name="connsiteY3" fmla="*/ 0 h 24920"/>
                    <a:gd name="connsiteX4" fmla="*/ 23468 w 23468"/>
                    <a:gd name="connsiteY4" fmla="*/ 12460 h 249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468" h="24920">
                      <a:moveTo>
                        <a:pt x="23468" y="12460"/>
                      </a:moveTo>
                      <a:cubicBezTo>
                        <a:pt x="23468" y="19342"/>
                        <a:pt x="18215" y="24920"/>
                        <a:pt x="11734" y="24920"/>
                      </a:cubicBezTo>
                      <a:cubicBezTo>
                        <a:pt x="5254" y="24920"/>
                        <a:pt x="1" y="19342"/>
                        <a:pt x="1" y="12460"/>
                      </a:cubicBezTo>
                      <a:cubicBezTo>
                        <a:pt x="1" y="5579"/>
                        <a:pt x="5254" y="0"/>
                        <a:pt x="11734" y="0"/>
                      </a:cubicBezTo>
                      <a:cubicBezTo>
                        <a:pt x="18215" y="0"/>
                        <a:pt x="23468" y="5579"/>
                        <a:pt x="23468" y="12460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4" name="Freihandform: Form 373">
                  <a:extLst>
                    <a:ext uri="{FF2B5EF4-FFF2-40B4-BE49-F238E27FC236}">
                      <a16:creationId xmlns:a16="http://schemas.microsoft.com/office/drawing/2014/main" id="{929624FA-0535-15D4-C59A-F1A38A3D152F}"/>
                    </a:ext>
                  </a:extLst>
                </p:cNvPr>
                <p:cNvSpPr/>
                <p:nvPr/>
              </p:nvSpPr>
              <p:spPr>
                <a:xfrm>
                  <a:off x="11706252" y="2168491"/>
                  <a:ext cx="64101" cy="16950"/>
                </a:xfrm>
                <a:custGeom>
                  <a:avLst/>
                  <a:gdLst>
                    <a:gd name="connsiteX0" fmla="*/ 62017 w 64101"/>
                    <a:gd name="connsiteY0" fmla="*/ 10989 h 16950"/>
                    <a:gd name="connsiteX1" fmla="*/ 35463 w 64101"/>
                    <a:gd name="connsiteY1" fmla="*/ 101 h 16950"/>
                    <a:gd name="connsiteX2" fmla="*/ 1470 w 64101"/>
                    <a:gd name="connsiteY2" fmla="*/ 10807 h 16950"/>
                    <a:gd name="connsiteX3" fmla="*/ 3526 w 64101"/>
                    <a:gd name="connsiteY3" fmla="*/ 16614 h 16950"/>
                    <a:gd name="connsiteX4" fmla="*/ 30504 w 64101"/>
                    <a:gd name="connsiteY4" fmla="*/ 7178 h 16950"/>
                    <a:gd name="connsiteX5" fmla="*/ 57359 w 64101"/>
                    <a:gd name="connsiteY5" fmla="*/ 13166 h 16950"/>
                    <a:gd name="connsiteX6" fmla="*/ 63287 w 64101"/>
                    <a:gd name="connsiteY6" fmla="*/ 15767 h 16950"/>
                    <a:gd name="connsiteX7" fmla="*/ 62017 w 64101"/>
                    <a:gd name="connsiteY7" fmla="*/ 10928 h 16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4101" h="16950">
                      <a:moveTo>
                        <a:pt x="62017" y="10989"/>
                      </a:moveTo>
                      <a:cubicBezTo>
                        <a:pt x="59053" y="7965"/>
                        <a:pt x="49254" y="888"/>
                        <a:pt x="35463" y="101"/>
                      </a:cubicBezTo>
                      <a:cubicBezTo>
                        <a:pt x="16652" y="-927"/>
                        <a:pt x="5885" y="6090"/>
                        <a:pt x="1470" y="10807"/>
                      </a:cubicBezTo>
                      <a:cubicBezTo>
                        <a:pt x="-1736" y="14255"/>
                        <a:pt x="926" y="18126"/>
                        <a:pt x="3526" y="16614"/>
                      </a:cubicBezTo>
                      <a:cubicBezTo>
                        <a:pt x="10301" y="12743"/>
                        <a:pt x="13931" y="9174"/>
                        <a:pt x="30504" y="7178"/>
                      </a:cubicBezTo>
                      <a:cubicBezTo>
                        <a:pt x="42116" y="5787"/>
                        <a:pt x="53125" y="10807"/>
                        <a:pt x="57359" y="13166"/>
                      </a:cubicBezTo>
                      <a:cubicBezTo>
                        <a:pt x="60625" y="14981"/>
                        <a:pt x="62259" y="16493"/>
                        <a:pt x="63287" y="15767"/>
                      </a:cubicBezTo>
                      <a:cubicBezTo>
                        <a:pt x="65101" y="14437"/>
                        <a:pt x="63529" y="12501"/>
                        <a:pt x="62017" y="1092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5" name="Freihandform: Form 374">
                  <a:extLst>
                    <a:ext uri="{FF2B5EF4-FFF2-40B4-BE49-F238E27FC236}">
                      <a16:creationId xmlns:a16="http://schemas.microsoft.com/office/drawing/2014/main" id="{A6E5C98A-4095-D7C8-22F5-519651820B9A}"/>
                    </a:ext>
                  </a:extLst>
                </p:cNvPr>
                <p:cNvSpPr/>
                <p:nvPr/>
              </p:nvSpPr>
              <p:spPr>
                <a:xfrm>
                  <a:off x="11643728" y="2279947"/>
                  <a:ext cx="75425" cy="18026"/>
                </a:xfrm>
                <a:custGeom>
                  <a:avLst/>
                  <a:gdLst>
                    <a:gd name="connsiteX0" fmla="*/ 61 w 75425"/>
                    <a:gd name="connsiteY0" fmla="*/ 0 h 18026"/>
                    <a:gd name="connsiteX1" fmla="*/ 75426 w 75425"/>
                    <a:gd name="connsiteY1" fmla="*/ 0 h 18026"/>
                    <a:gd name="connsiteX2" fmla="*/ 36533 w 75425"/>
                    <a:gd name="connsiteY2" fmla="*/ 18025 h 18026"/>
                    <a:gd name="connsiteX3" fmla="*/ 0 w 75425"/>
                    <a:gd name="connsiteY3" fmla="*/ 0 h 18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5425" h="18026">
                      <a:moveTo>
                        <a:pt x="61" y="0"/>
                      </a:moveTo>
                      <a:cubicBezTo>
                        <a:pt x="28731" y="3266"/>
                        <a:pt x="42340" y="3145"/>
                        <a:pt x="75426" y="0"/>
                      </a:cubicBezTo>
                      <a:cubicBezTo>
                        <a:pt x="75426" y="0"/>
                        <a:pt x="64054" y="17843"/>
                        <a:pt x="36533" y="18025"/>
                      </a:cubicBezTo>
                      <a:cubicBezTo>
                        <a:pt x="19355" y="18146"/>
                        <a:pt x="9012" y="10646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6" name="Freihandform: Form 375">
                  <a:extLst>
                    <a:ext uri="{FF2B5EF4-FFF2-40B4-BE49-F238E27FC236}">
                      <a16:creationId xmlns:a16="http://schemas.microsoft.com/office/drawing/2014/main" id="{EEF9E963-4D4E-9497-8D82-1C091EBCB542}"/>
                    </a:ext>
                  </a:extLst>
                </p:cNvPr>
                <p:cNvSpPr/>
                <p:nvPr/>
              </p:nvSpPr>
              <p:spPr>
                <a:xfrm>
                  <a:off x="11573867" y="1928127"/>
                  <a:ext cx="300796" cy="234231"/>
                </a:xfrm>
                <a:custGeom>
                  <a:avLst/>
                  <a:gdLst>
                    <a:gd name="connsiteX0" fmla="*/ 61 w 300796"/>
                    <a:gd name="connsiteY0" fmla="*/ 61185 h 234231"/>
                    <a:gd name="connsiteX1" fmla="*/ 196458 w 300796"/>
                    <a:gd name="connsiteY1" fmla="*/ 219417 h 234231"/>
                    <a:gd name="connsiteX2" fmla="*/ 300797 w 300796"/>
                    <a:gd name="connsiteY2" fmla="*/ 230123 h 234231"/>
                    <a:gd name="connsiteX3" fmla="*/ 275090 w 300796"/>
                    <a:gd name="connsiteY3" fmla="*/ 135220 h 234231"/>
                    <a:gd name="connsiteX4" fmla="*/ 0 w 300796"/>
                    <a:gd name="connsiteY4" fmla="*/ 61185 h 2342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0796" h="234231">
                      <a:moveTo>
                        <a:pt x="61" y="61185"/>
                      </a:moveTo>
                      <a:cubicBezTo>
                        <a:pt x="-2843" y="129172"/>
                        <a:pt x="103250" y="194254"/>
                        <a:pt x="196458" y="219417"/>
                      </a:cubicBezTo>
                      <a:cubicBezTo>
                        <a:pt x="289667" y="244518"/>
                        <a:pt x="300797" y="230123"/>
                        <a:pt x="300797" y="230123"/>
                      </a:cubicBezTo>
                      <a:cubicBezTo>
                        <a:pt x="300797" y="230123"/>
                        <a:pt x="277812" y="221836"/>
                        <a:pt x="275090" y="135220"/>
                      </a:cubicBezTo>
                      <a:cubicBezTo>
                        <a:pt x="272005" y="37354"/>
                        <a:pt x="118129" y="-70735"/>
                        <a:pt x="0" y="61185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7" name="Freihandform: Form 376">
                  <a:extLst>
                    <a:ext uri="{FF2B5EF4-FFF2-40B4-BE49-F238E27FC236}">
                      <a16:creationId xmlns:a16="http://schemas.microsoft.com/office/drawing/2014/main" id="{683D65E0-E42B-24A5-A68A-C352E75AA11A}"/>
                    </a:ext>
                  </a:extLst>
                </p:cNvPr>
                <p:cNvSpPr/>
                <p:nvPr/>
              </p:nvSpPr>
              <p:spPr>
                <a:xfrm>
                  <a:off x="11301257" y="2440900"/>
                  <a:ext cx="766961" cy="1169315"/>
                </a:xfrm>
                <a:custGeom>
                  <a:avLst/>
                  <a:gdLst>
                    <a:gd name="connsiteX0" fmla="*/ 110749 w 766961"/>
                    <a:gd name="connsiteY0" fmla="*/ 634680 h 1169315"/>
                    <a:gd name="connsiteX1" fmla="*/ 0 w 766961"/>
                    <a:gd name="connsiteY1" fmla="*/ 1169315 h 1169315"/>
                    <a:gd name="connsiteX2" fmla="*/ 766962 w 766961"/>
                    <a:gd name="connsiteY2" fmla="*/ 1169315 h 1169315"/>
                    <a:gd name="connsiteX3" fmla="*/ 659962 w 766961"/>
                    <a:gd name="connsiteY3" fmla="*/ 653794 h 1169315"/>
                    <a:gd name="connsiteX4" fmla="*/ 722565 w 766961"/>
                    <a:gd name="connsiteY4" fmla="*/ 82625 h 1169315"/>
                    <a:gd name="connsiteX5" fmla="*/ 508929 w 766961"/>
                    <a:gd name="connsiteY5" fmla="*/ 908 h 1169315"/>
                    <a:gd name="connsiteX6" fmla="*/ 494594 w 766961"/>
                    <a:gd name="connsiteY6" fmla="*/ 5384 h 1169315"/>
                    <a:gd name="connsiteX7" fmla="*/ 380094 w 766961"/>
                    <a:gd name="connsiteY7" fmla="*/ 133130 h 1169315"/>
                    <a:gd name="connsiteX8" fmla="*/ 272368 w 766961"/>
                    <a:gd name="connsiteY8" fmla="*/ 5082 h 1169315"/>
                    <a:gd name="connsiteX9" fmla="*/ 261360 w 766961"/>
                    <a:gd name="connsiteY9" fmla="*/ 1452 h 1169315"/>
                    <a:gd name="connsiteX10" fmla="*/ 45909 w 766961"/>
                    <a:gd name="connsiteY10" fmla="*/ 79721 h 1169315"/>
                    <a:gd name="connsiteX11" fmla="*/ 110871 w 766961"/>
                    <a:gd name="connsiteY11" fmla="*/ 634801 h 1169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766961" h="1169315">
                      <a:moveTo>
                        <a:pt x="110749" y="634680"/>
                      </a:moveTo>
                      <a:cubicBezTo>
                        <a:pt x="21351" y="876745"/>
                        <a:pt x="3145" y="1117539"/>
                        <a:pt x="0" y="1169315"/>
                      </a:cubicBezTo>
                      <a:lnTo>
                        <a:pt x="766962" y="1169315"/>
                      </a:lnTo>
                      <a:cubicBezTo>
                        <a:pt x="762849" y="1116995"/>
                        <a:pt x="736597" y="804464"/>
                        <a:pt x="659962" y="653794"/>
                      </a:cubicBezTo>
                      <a:cubicBezTo>
                        <a:pt x="619436" y="574134"/>
                        <a:pt x="722565" y="82625"/>
                        <a:pt x="722565" y="82625"/>
                      </a:cubicBezTo>
                      <a:cubicBezTo>
                        <a:pt x="640788" y="50023"/>
                        <a:pt x="609517" y="37381"/>
                        <a:pt x="508929" y="908"/>
                      </a:cubicBezTo>
                      <a:cubicBezTo>
                        <a:pt x="503425" y="-1088"/>
                        <a:pt x="497497" y="122"/>
                        <a:pt x="494594" y="5384"/>
                      </a:cubicBezTo>
                      <a:cubicBezTo>
                        <a:pt x="476568" y="38409"/>
                        <a:pt x="414450" y="134884"/>
                        <a:pt x="380094" y="133130"/>
                      </a:cubicBezTo>
                      <a:cubicBezTo>
                        <a:pt x="339870" y="131013"/>
                        <a:pt x="286461" y="35748"/>
                        <a:pt x="272368" y="5082"/>
                      </a:cubicBezTo>
                      <a:cubicBezTo>
                        <a:pt x="270372" y="727"/>
                        <a:pt x="265714" y="-181"/>
                        <a:pt x="261360" y="1452"/>
                      </a:cubicBezTo>
                      <a:cubicBezTo>
                        <a:pt x="177829" y="32240"/>
                        <a:pt x="141537" y="44700"/>
                        <a:pt x="45909" y="79721"/>
                      </a:cubicBezTo>
                      <a:cubicBezTo>
                        <a:pt x="45909" y="79721"/>
                        <a:pt x="113532" y="475420"/>
                        <a:pt x="110871" y="634801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8" name="Freihandform: Form 377">
                  <a:extLst>
                    <a:ext uri="{FF2B5EF4-FFF2-40B4-BE49-F238E27FC236}">
                      <a16:creationId xmlns:a16="http://schemas.microsoft.com/office/drawing/2014/main" id="{32714B26-9E41-FC22-4DA1-C8695C34F510}"/>
                    </a:ext>
                  </a:extLst>
                </p:cNvPr>
                <p:cNvSpPr/>
                <p:nvPr/>
              </p:nvSpPr>
              <p:spPr>
                <a:xfrm>
                  <a:off x="11815932" y="2760992"/>
                  <a:ext cx="126173" cy="70405"/>
                </a:xfrm>
                <a:custGeom>
                  <a:avLst/>
                  <a:gdLst>
                    <a:gd name="connsiteX0" fmla="*/ 0 w 126173"/>
                    <a:gd name="connsiteY0" fmla="*/ 0 h 70405"/>
                    <a:gd name="connsiteX1" fmla="*/ 126174 w 126173"/>
                    <a:gd name="connsiteY1" fmla="*/ 0 h 70405"/>
                    <a:gd name="connsiteX2" fmla="*/ 126174 w 126173"/>
                    <a:gd name="connsiteY2" fmla="*/ 70406 h 70405"/>
                    <a:gd name="connsiteX3" fmla="*/ 0 w 126173"/>
                    <a:gd name="connsiteY3" fmla="*/ 70406 h 70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6173" h="70405">
                      <a:moveTo>
                        <a:pt x="0" y="0"/>
                      </a:moveTo>
                      <a:lnTo>
                        <a:pt x="126174" y="0"/>
                      </a:lnTo>
                      <a:lnTo>
                        <a:pt x="126174" y="70406"/>
                      </a:lnTo>
                      <a:lnTo>
                        <a:pt x="0" y="7040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9" name="Freihandform: Form 378">
                  <a:extLst>
                    <a:ext uri="{FF2B5EF4-FFF2-40B4-BE49-F238E27FC236}">
                      <a16:creationId xmlns:a16="http://schemas.microsoft.com/office/drawing/2014/main" id="{5F02B349-B0CE-8A37-7D40-B8EFCEFF9FF6}"/>
                    </a:ext>
                  </a:extLst>
                </p:cNvPr>
                <p:cNvSpPr/>
                <p:nvPr/>
              </p:nvSpPr>
              <p:spPr>
                <a:xfrm>
                  <a:off x="11765212" y="2760932"/>
                  <a:ext cx="162195" cy="183574"/>
                </a:xfrm>
                <a:custGeom>
                  <a:avLst/>
                  <a:gdLst>
                    <a:gd name="connsiteX0" fmla="*/ 16183 w 162195"/>
                    <a:gd name="connsiteY0" fmla="*/ 60 h 183574"/>
                    <a:gd name="connsiteX1" fmla="*/ 16848 w 162195"/>
                    <a:gd name="connsiteY1" fmla="*/ 136517 h 183574"/>
                    <a:gd name="connsiteX2" fmla="*/ 95601 w 162195"/>
                    <a:gd name="connsiteY2" fmla="*/ 176075 h 183574"/>
                    <a:gd name="connsiteX3" fmla="*/ 162196 w 162195"/>
                    <a:gd name="connsiteY3" fmla="*/ 171538 h 183574"/>
                    <a:gd name="connsiteX4" fmla="*/ 162196 w 162195"/>
                    <a:gd name="connsiteY4" fmla="*/ 171538 h 183574"/>
                    <a:gd name="connsiteX5" fmla="*/ 94936 w 162195"/>
                    <a:gd name="connsiteY5" fmla="*/ 183575 h 183574"/>
                    <a:gd name="connsiteX6" fmla="*/ 7472 w 162195"/>
                    <a:gd name="connsiteY6" fmla="*/ 143836 h 183574"/>
                    <a:gd name="connsiteX7" fmla="*/ 577 w 162195"/>
                    <a:gd name="connsiteY7" fmla="*/ 6170 h 183574"/>
                    <a:gd name="connsiteX8" fmla="*/ 16183 w 162195"/>
                    <a:gd name="connsiteY8" fmla="*/ 0 h 1835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2195" h="183574">
                      <a:moveTo>
                        <a:pt x="16183" y="60"/>
                      </a:moveTo>
                      <a:lnTo>
                        <a:pt x="16848" y="136517"/>
                      </a:lnTo>
                      <a:lnTo>
                        <a:pt x="95601" y="176075"/>
                      </a:lnTo>
                      <a:lnTo>
                        <a:pt x="162196" y="171538"/>
                      </a:lnTo>
                      <a:lnTo>
                        <a:pt x="162196" y="171538"/>
                      </a:lnTo>
                      <a:lnTo>
                        <a:pt x="94936" y="183575"/>
                      </a:lnTo>
                      <a:cubicBezTo>
                        <a:pt x="94936" y="183575"/>
                        <a:pt x="12191" y="148795"/>
                        <a:pt x="7472" y="143836"/>
                      </a:cubicBezTo>
                      <a:cubicBezTo>
                        <a:pt x="2754" y="138876"/>
                        <a:pt x="-1600" y="10404"/>
                        <a:pt x="577" y="6170"/>
                      </a:cubicBezTo>
                      <a:cubicBezTo>
                        <a:pt x="2754" y="1936"/>
                        <a:pt x="16183" y="0"/>
                        <a:pt x="16183" y="0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0" name="Freihandform: Form 379">
                  <a:extLst>
                    <a:ext uri="{FF2B5EF4-FFF2-40B4-BE49-F238E27FC236}">
                      <a16:creationId xmlns:a16="http://schemas.microsoft.com/office/drawing/2014/main" id="{D218713D-AD01-2505-F198-718128AA77C4}"/>
                    </a:ext>
                  </a:extLst>
                </p:cNvPr>
                <p:cNvSpPr/>
                <p:nvPr/>
              </p:nvSpPr>
              <p:spPr>
                <a:xfrm>
                  <a:off x="11431785" y="2402008"/>
                  <a:ext cx="233899" cy="653611"/>
                </a:xfrm>
                <a:custGeom>
                  <a:avLst/>
                  <a:gdLst>
                    <a:gd name="connsiteX0" fmla="*/ 217266 w 233899"/>
                    <a:gd name="connsiteY0" fmla="*/ 603287 h 653611"/>
                    <a:gd name="connsiteX1" fmla="*/ 217266 w 233899"/>
                    <a:gd name="connsiteY1" fmla="*/ 493082 h 653611"/>
                    <a:gd name="connsiteX2" fmla="*/ 124661 w 233899"/>
                    <a:gd name="connsiteY2" fmla="*/ 304607 h 653611"/>
                    <a:gd name="connsiteX3" fmla="*/ 80870 w 233899"/>
                    <a:gd name="connsiteY3" fmla="*/ 163191 h 653611"/>
                    <a:gd name="connsiteX4" fmla="*/ 56615 w 233899"/>
                    <a:gd name="connsiteY4" fmla="*/ 111778 h 653611"/>
                    <a:gd name="connsiteX5" fmla="*/ 74639 w 233899"/>
                    <a:gd name="connsiteY5" fmla="*/ 45848 h 653611"/>
                    <a:gd name="connsiteX6" fmla="*/ 160953 w 233899"/>
                    <a:gd name="connsiteY6" fmla="*/ 12097 h 653611"/>
                    <a:gd name="connsiteX7" fmla="*/ 160953 w 233899"/>
                    <a:gd name="connsiteY7" fmla="*/ 0 h 653611"/>
                    <a:gd name="connsiteX8" fmla="*/ 65627 w 233899"/>
                    <a:gd name="connsiteY8" fmla="*/ 37743 h 653611"/>
                    <a:gd name="connsiteX9" fmla="*/ 44518 w 233899"/>
                    <a:gd name="connsiteY9" fmla="*/ 113048 h 653611"/>
                    <a:gd name="connsiteX10" fmla="*/ 71192 w 233899"/>
                    <a:gd name="connsiteY10" fmla="*/ 170570 h 653611"/>
                    <a:gd name="connsiteX11" fmla="*/ 112443 w 233899"/>
                    <a:gd name="connsiteY11" fmla="*/ 304668 h 653611"/>
                    <a:gd name="connsiteX12" fmla="*/ 20021 w 233899"/>
                    <a:gd name="connsiteY12" fmla="*/ 493082 h 653611"/>
                    <a:gd name="connsiteX13" fmla="*/ 20021 w 233899"/>
                    <a:gd name="connsiteY13" fmla="*/ 602259 h 653611"/>
                    <a:gd name="connsiteX14" fmla="*/ 0 w 233899"/>
                    <a:gd name="connsiteY14" fmla="*/ 627542 h 653611"/>
                    <a:gd name="connsiteX15" fmla="*/ 26070 w 233899"/>
                    <a:gd name="connsiteY15" fmla="*/ 653611 h 653611"/>
                    <a:gd name="connsiteX16" fmla="*/ 52139 w 233899"/>
                    <a:gd name="connsiteY16" fmla="*/ 627542 h 653611"/>
                    <a:gd name="connsiteX17" fmla="*/ 32118 w 233899"/>
                    <a:gd name="connsiteY17" fmla="*/ 602259 h 653611"/>
                    <a:gd name="connsiteX18" fmla="*/ 32118 w 233899"/>
                    <a:gd name="connsiteY18" fmla="*/ 493082 h 653611"/>
                    <a:gd name="connsiteX19" fmla="*/ 118552 w 233899"/>
                    <a:gd name="connsiteY19" fmla="*/ 406647 h 653611"/>
                    <a:gd name="connsiteX20" fmla="*/ 204987 w 233899"/>
                    <a:gd name="connsiteY20" fmla="*/ 493082 h 653611"/>
                    <a:gd name="connsiteX21" fmla="*/ 204987 w 233899"/>
                    <a:gd name="connsiteY21" fmla="*/ 601775 h 653611"/>
                    <a:gd name="connsiteX22" fmla="*/ 181761 w 233899"/>
                    <a:gd name="connsiteY22" fmla="*/ 627542 h 653611"/>
                    <a:gd name="connsiteX23" fmla="*/ 207830 w 233899"/>
                    <a:gd name="connsiteY23" fmla="*/ 653611 h 653611"/>
                    <a:gd name="connsiteX24" fmla="*/ 233899 w 233899"/>
                    <a:gd name="connsiteY24" fmla="*/ 627542 h 653611"/>
                    <a:gd name="connsiteX25" fmla="*/ 217145 w 233899"/>
                    <a:gd name="connsiteY25" fmla="*/ 603287 h 653611"/>
                    <a:gd name="connsiteX26" fmla="*/ 118734 w 233899"/>
                    <a:gd name="connsiteY26" fmla="*/ 394550 h 653611"/>
                    <a:gd name="connsiteX27" fmla="*/ 43308 w 233899"/>
                    <a:gd name="connsiteY27" fmla="*/ 429813 h 653611"/>
                    <a:gd name="connsiteX28" fmla="*/ 118734 w 233899"/>
                    <a:gd name="connsiteY28" fmla="*/ 316221 h 653611"/>
                    <a:gd name="connsiteX29" fmla="*/ 194160 w 233899"/>
                    <a:gd name="connsiteY29" fmla="*/ 429813 h 653611"/>
                    <a:gd name="connsiteX30" fmla="*/ 118734 w 233899"/>
                    <a:gd name="connsiteY30" fmla="*/ 394550 h 6536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233899" h="653611">
                      <a:moveTo>
                        <a:pt x="217266" y="603287"/>
                      </a:moveTo>
                      <a:lnTo>
                        <a:pt x="217266" y="493082"/>
                      </a:lnTo>
                      <a:cubicBezTo>
                        <a:pt x="217266" y="447596"/>
                        <a:pt x="180127" y="313741"/>
                        <a:pt x="124661" y="304607"/>
                      </a:cubicBezTo>
                      <a:cubicBezTo>
                        <a:pt x="123634" y="218838"/>
                        <a:pt x="99983" y="187990"/>
                        <a:pt x="80870" y="163191"/>
                      </a:cubicBezTo>
                      <a:cubicBezTo>
                        <a:pt x="68712" y="147404"/>
                        <a:pt x="59095" y="134944"/>
                        <a:pt x="56615" y="111778"/>
                      </a:cubicBezTo>
                      <a:cubicBezTo>
                        <a:pt x="53712" y="84559"/>
                        <a:pt x="59821" y="62422"/>
                        <a:pt x="74639" y="45848"/>
                      </a:cubicBezTo>
                      <a:cubicBezTo>
                        <a:pt x="104459" y="12581"/>
                        <a:pt x="160409" y="12097"/>
                        <a:pt x="160953" y="12097"/>
                      </a:cubicBezTo>
                      <a:lnTo>
                        <a:pt x="160953" y="0"/>
                      </a:lnTo>
                      <a:cubicBezTo>
                        <a:pt x="158413" y="0"/>
                        <a:pt x="99137" y="484"/>
                        <a:pt x="65627" y="37743"/>
                      </a:cubicBezTo>
                      <a:cubicBezTo>
                        <a:pt x="48389" y="56978"/>
                        <a:pt x="41252" y="82321"/>
                        <a:pt x="44518" y="113048"/>
                      </a:cubicBezTo>
                      <a:cubicBezTo>
                        <a:pt x="47360" y="139662"/>
                        <a:pt x="58913" y="154663"/>
                        <a:pt x="71192" y="170570"/>
                      </a:cubicBezTo>
                      <a:cubicBezTo>
                        <a:pt x="90124" y="195128"/>
                        <a:pt x="111536" y="223072"/>
                        <a:pt x="112443" y="304668"/>
                      </a:cubicBezTo>
                      <a:cubicBezTo>
                        <a:pt x="57099" y="314043"/>
                        <a:pt x="20021" y="447657"/>
                        <a:pt x="20021" y="493082"/>
                      </a:cubicBezTo>
                      <a:lnTo>
                        <a:pt x="20021" y="602259"/>
                      </a:lnTo>
                      <a:cubicBezTo>
                        <a:pt x="8589" y="604981"/>
                        <a:pt x="0" y="615263"/>
                        <a:pt x="0" y="627542"/>
                      </a:cubicBezTo>
                      <a:cubicBezTo>
                        <a:pt x="0" y="641938"/>
                        <a:pt x="11674" y="653611"/>
                        <a:pt x="26070" y="653611"/>
                      </a:cubicBezTo>
                      <a:cubicBezTo>
                        <a:pt x="40465" y="653611"/>
                        <a:pt x="52139" y="641938"/>
                        <a:pt x="52139" y="627542"/>
                      </a:cubicBezTo>
                      <a:cubicBezTo>
                        <a:pt x="52139" y="615263"/>
                        <a:pt x="43610" y="604981"/>
                        <a:pt x="32118" y="602259"/>
                      </a:cubicBezTo>
                      <a:lnTo>
                        <a:pt x="32118" y="493082"/>
                      </a:lnTo>
                      <a:cubicBezTo>
                        <a:pt x="32118" y="445419"/>
                        <a:pt x="70889" y="406647"/>
                        <a:pt x="118552" y="406647"/>
                      </a:cubicBezTo>
                      <a:cubicBezTo>
                        <a:pt x="166215" y="406647"/>
                        <a:pt x="204987" y="445419"/>
                        <a:pt x="204987" y="493082"/>
                      </a:cubicBezTo>
                      <a:lnTo>
                        <a:pt x="204987" y="601775"/>
                      </a:lnTo>
                      <a:cubicBezTo>
                        <a:pt x="191922" y="603166"/>
                        <a:pt x="181761" y="614114"/>
                        <a:pt x="181761" y="627542"/>
                      </a:cubicBezTo>
                      <a:cubicBezTo>
                        <a:pt x="181761" y="641938"/>
                        <a:pt x="193434" y="653611"/>
                        <a:pt x="207830" y="653611"/>
                      </a:cubicBezTo>
                      <a:cubicBezTo>
                        <a:pt x="222225" y="653611"/>
                        <a:pt x="233899" y="641938"/>
                        <a:pt x="233899" y="627542"/>
                      </a:cubicBezTo>
                      <a:cubicBezTo>
                        <a:pt x="233899" y="616412"/>
                        <a:pt x="226943" y="607037"/>
                        <a:pt x="217145" y="603287"/>
                      </a:cubicBezTo>
                      <a:close/>
                      <a:moveTo>
                        <a:pt x="118734" y="394550"/>
                      </a:moveTo>
                      <a:cubicBezTo>
                        <a:pt x="88491" y="394550"/>
                        <a:pt x="61393" y="408280"/>
                        <a:pt x="43308" y="429813"/>
                      </a:cubicBezTo>
                      <a:cubicBezTo>
                        <a:pt x="58490" y="376162"/>
                        <a:pt x="87644" y="316221"/>
                        <a:pt x="118734" y="316221"/>
                      </a:cubicBezTo>
                      <a:cubicBezTo>
                        <a:pt x="149824" y="316221"/>
                        <a:pt x="178978" y="376223"/>
                        <a:pt x="194160" y="429813"/>
                      </a:cubicBezTo>
                      <a:cubicBezTo>
                        <a:pt x="176075" y="408280"/>
                        <a:pt x="148977" y="394550"/>
                        <a:pt x="118734" y="394550"/>
                      </a:cubicBezTo>
                      <a:close/>
                    </a:path>
                  </a:pathLst>
                </a:custGeom>
                <a:solidFill>
                  <a:srgbClr val="F19E6A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1" name="Freihandform: Form 380">
                  <a:extLst>
                    <a:ext uri="{FF2B5EF4-FFF2-40B4-BE49-F238E27FC236}">
                      <a16:creationId xmlns:a16="http://schemas.microsoft.com/office/drawing/2014/main" id="{1F84D538-B7EF-065C-87EB-6F3B096FD5D2}"/>
                    </a:ext>
                  </a:extLst>
                </p:cNvPr>
                <p:cNvSpPr/>
                <p:nvPr/>
              </p:nvSpPr>
              <p:spPr>
                <a:xfrm>
                  <a:off x="11738570" y="2401947"/>
                  <a:ext cx="135445" cy="330434"/>
                </a:xfrm>
                <a:custGeom>
                  <a:avLst/>
                  <a:gdLst>
                    <a:gd name="connsiteX0" fmla="*/ 135428 w 135445"/>
                    <a:gd name="connsiteY0" fmla="*/ 85830 h 330434"/>
                    <a:gd name="connsiteX1" fmla="*/ 113653 w 135445"/>
                    <a:gd name="connsiteY1" fmla="*/ 27158 h 330434"/>
                    <a:gd name="connsiteX2" fmla="*/ 38651 w 135445"/>
                    <a:gd name="connsiteY2" fmla="*/ 0 h 330434"/>
                    <a:gd name="connsiteX3" fmla="*/ 38651 w 135445"/>
                    <a:gd name="connsiteY3" fmla="*/ 12097 h 330434"/>
                    <a:gd name="connsiteX4" fmla="*/ 105004 w 135445"/>
                    <a:gd name="connsiteY4" fmla="*/ 35626 h 330434"/>
                    <a:gd name="connsiteX5" fmla="*/ 123270 w 135445"/>
                    <a:gd name="connsiteY5" fmla="*/ 85588 h 330434"/>
                    <a:gd name="connsiteX6" fmla="*/ 87463 w 135445"/>
                    <a:gd name="connsiteY6" fmla="*/ 150671 h 330434"/>
                    <a:gd name="connsiteX7" fmla="*/ 37623 w 135445"/>
                    <a:gd name="connsiteY7" fmla="*/ 252045 h 330434"/>
                    <a:gd name="connsiteX8" fmla="*/ 0 w 135445"/>
                    <a:gd name="connsiteY8" fmla="*/ 291179 h 330434"/>
                    <a:gd name="connsiteX9" fmla="*/ 39255 w 135445"/>
                    <a:gd name="connsiteY9" fmla="*/ 330435 h 330434"/>
                    <a:gd name="connsiteX10" fmla="*/ 78511 w 135445"/>
                    <a:gd name="connsiteY10" fmla="*/ 291179 h 330434"/>
                    <a:gd name="connsiteX11" fmla="*/ 49720 w 135445"/>
                    <a:gd name="connsiteY11" fmla="*/ 253376 h 330434"/>
                    <a:gd name="connsiteX12" fmla="*/ 96173 w 135445"/>
                    <a:gd name="connsiteY12" fmla="*/ 159078 h 330434"/>
                    <a:gd name="connsiteX13" fmla="*/ 135428 w 135445"/>
                    <a:gd name="connsiteY13" fmla="*/ 85769 h 330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35445" h="330434">
                      <a:moveTo>
                        <a:pt x="135428" y="85830"/>
                      </a:moveTo>
                      <a:cubicBezTo>
                        <a:pt x="135852" y="62422"/>
                        <a:pt x="128352" y="42098"/>
                        <a:pt x="113653" y="27158"/>
                      </a:cubicBezTo>
                      <a:cubicBezTo>
                        <a:pt x="96476" y="9617"/>
                        <a:pt x="69862" y="0"/>
                        <a:pt x="38651" y="0"/>
                      </a:cubicBezTo>
                      <a:lnTo>
                        <a:pt x="38651" y="12097"/>
                      </a:lnTo>
                      <a:cubicBezTo>
                        <a:pt x="66535" y="12097"/>
                        <a:pt x="90124" y="20444"/>
                        <a:pt x="105004" y="35626"/>
                      </a:cubicBezTo>
                      <a:cubicBezTo>
                        <a:pt x="117525" y="48389"/>
                        <a:pt x="123694" y="65204"/>
                        <a:pt x="123270" y="85588"/>
                      </a:cubicBezTo>
                      <a:cubicBezTo>
                        <a:pt x="122726" y="114500"/>
                        <a:pt x="106395" y="131255"/>
                        <a:pt x="87463" y="150671"/>
                      </a:cubicBezTo>
                      <a:cubicBezTo>
                        <a:pt x="64720" y="174079"/>
                        <a:pt x="39376" y="200209"/>
                        <a:pt x="37623" y="252045"/>
                      </a:cubicBezTo>
                      <a:cubicBezTo>
                        <a:pt x="16694" y="252892"/>
                        <a:pt x="0" y="270070"/>
                        <a:pt x="0" y="291179"/>
                      </a:cubicBezTo>
                      <a:cubicBezTo>
                        <a:pt x="0" y="312289"/>
                        <a:pt x="17541" y="330435"/>
                        <a:pt x="39255" y="330435"/>
                      </a:cubicBezTo>
                      <a:cubicBezTo>
                        <a:pt x="60970" y="330435"/>
                        <a:pt x="78511" y="312894"/>
                        <a:pt x="78511" y="291179"/>
                      </a:cubicBezTo>
                      <a:cubicBezTo>
                        <a:pt x="78511" y="273155"/>
                        <a:pt x="66293" y="257973"/>
                        <a:pt x="49720" y="253376"/>
                      </a:cubicBezTo>
                      <a:cubicBezTo>
                        <a:pt x="51051" y="205531"/>
                        <a:pt x="73914" y="181942"/>
                        <a:pt x="96173" y="159078"/>
                      </a:cubicBezTo>
                      <a:cubicBezTo>
                        <a:pt x="116012" y="138694"/>
                        <a:pt x="134763" y="119460"/>
                        <a:pt x="135428" y="85769"/>
                      </a:cubicBezTo>
                      <a:close/>
                    </a:path>
                  </a:pathLst>
                </a:custGeom>
                <a:solidFill>
                  <a:srgbClr val="F19E6A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382" name="Grafik 297">
                  <a:extLst>
                    <a:ext uri="{FF2B5EF4-FFF2-40B4-BE49-F238E27FC236}">
                      <a16:creationId xmlns:a16="http://schemas.microsoft.com/office/drawing/2014/main" id="{E24B9011-1E06-73EB-4362-F5C6A731AB05}"/>
                    </a:ext>
                  </a:extLst>
                </p:cNvPr>
                <p:cNvGrpSpPr/>
                <p:nvPr/>
              </p:nvGrpSpPr>
              <p:grpSpPr>
                <a:xfrm>
                  <a:off x="11163281" y="3555052"/>
                  <a:ext cx="144145" cy="337753"/>
                  <a:chOff x="11163281" y="3555052"/>
                  <a:chExt cx="144145" cy="337753"/>
                </a:xfrm>
                <a:solidFill>
                  <a:srgbClr val="02787D"/>
                </a:solidFill>
              </p:grpSpPr>
              <p:grpSp>
                <p:nvGrpSpPr>
                  <p:cNvPr id="383" name="Grafik 297">
                    <a:extLst>
                      <a:ext uri="{FF2B5EF4-FFF2-40B4-BE49-F238E27FC236}">
                        <a16:creationId xmlns:a16="http://schemas.microsoft.com/office/drawing/2014/main" id="{949BB993-C474-118C-242F-1F10AF94CCF8}"/>
                      </a:ext>
                    </a:extLst>
                  </p:cNvPr>
                  <p:cNvGrpSpPr/>
                  <p:nvPr/>
                </p:nvGrpSpPr>
                <p:grpSpPr>
                  <a:xfrm>
                    <a:off x="11183347" y="3766601"/>
                    <a:ext cx="67615" cy="68318"/>
                    <a:chOff x="11183347" y="3766601"/>
                    <a:chExt cx="67615" cy="68318"/>
                  </a:xfrm>
                  <a:solidFill>
                    <a:srgbClr val="02787D"/>
                  </a:solidFill>
                </p:grpSpPr>
                <p:sp>
                  <p:nvSpPr>
                    <p:cNvPr id="384" name="Freihandform: Form 383">
                      <a:extLst>
                        <a:ext uri="{FF2B5EF4-FFF2-40B4-BE49-F238E27FC236}">
                          <a16:creationId xmlns:a16="http://schemas.microsoft.com/office/drawing/2014/main" id="{8F95C7A7-FC6E-8AFA-979E-5C68F7F7945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4392" y="3786015"/>
                      <a:ext cx="36570" cy="48905"/>
                    </a:xfrm>
                    <a:custGeom>
                      <a:avLst/>
                      <a:gdLst>
                        <a:gd name="connsiteX0" fmla="*/ 33515 w 36570"/>
                        <a:gd name="connsiteY0" fmla="*/ 48845 h 48905"/>
                        <a:gd name="connsiteX1" fmla="*/ 10652 w 36570"/>
                        <a:gd name="connsiteY1" fmla="*/ 34207 h 48905"/>
                        <a:gd name="connsiteX2" fmla="*/ 853 w 36570"/>
                        <a:gd name="connsiteY2" fmla="*/ 6262 h 48905"/>
                        <a:gd name="connsiteX3" fmla="*/ 3272 w 36570"/>
                        <a:gd name="connsiteY3" fmla="*/ 32 h 48905"/>
                        <a:gd name="connsiteX4" fmla="*/ 28193 w 36570"/>
                        <a:gd name="connsiteY4" fmla="*/ 22231 h 48905"/>
                        <a:gd name="connsiteX5" fmla="*/ 33515 w 36570"/>
                        <a:gd name="connsiteY5" fmla="*/ 48905 h 48905"/>
                        <a:gd name="connsiteX6" fmla="*/ 33515 w 36570"/>
                        <a:gd name="connsiteY6" fmla="*/ 48905 h 4890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6570" h="48905">
                          <a:moveTo>
                            <a:pt x="33515" y="48845"/>
                          </a:moveTo>
                          <a:lnTo>
                            <a:pt x="10652" y="34207"/>
                          </a:lnTo>
                          <a:cubicBezTo>
                            <a:pt x="2063" y="28521"/>
                            <a:pt x="-1869" y="18299"/>
                            <a:pt x="853" y="6262"/>
                          </a:cubicBezTo>
                          <a:cubicBezTo>
                            <a:pt x="1700" y="2391"/>
                            <a:pt x="2607" y="-330"/>
                            <a:pt x="3272" y="32"/>
                          </a:cubicBezTo>
                          <a:cubicBezTo>
                            <a:pt x="4604" y="758"/>
                            <a:pt x="15249" y="10194"/>
                            <a:pt x="28193" y="22231"/>
                          </a:cubicBezTo>
                          <a:cubicBezTo>
                            <a:pt x="36359" y="29852"/>
                            <a:pt x="39383" y="36747"/>
                            <a:pt x="33515" y="48905"/>
                          </a:cubicBezTo>
                          <a:lnTo>
                            <a:pt x="33515" y="48905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5" name="Freihandform: Form 384">
                      <a:extLst>
                        <a:ext uri="{FF2B5EF4-FFF2-40B4-BE49-F238E27FC236}">
                          <a16:creationId xmlns:a16="http://schemas.microsoft.com/office/drawing/2014/main" id="{9BCAB8A0-B051-A487-A47F-9E98F8164B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83347" y="3766601"/>
                      <a:ext cx="47654" cy="53620"/>
                    </a:xfrm>
                    <a:custGeom>
                      <a:avLst/>
                      <a:gdLst>
                        <a:gd name="connsiteX0" fmla="*/ 41698 w 47654"/>
                        <a:gd name="connsiteY0" fmla="*/ 53621 h 53620"/>
                        <a:gd name="connsiteX1" fmla="*/ 6797 w 47654"/>
                        <a:gd name="connsiteY1" fmla="*/ 29426 h 53620"/>
                        <a:gd name="connsiteX2" fmla="*/ 23 w 47654"/>
                        <a:gd name="connsiteY2" fmla="*/ 22047 h 53620"/>
                        <a:gd name="connsiteX3" fmla="*/ 22946 w 47654"/>
                        <a:gd name="connsiteY3" fmla="*/ 91 h 53620"/>
                        <a:gd name="connsiteX4" fmla="*/ 42302 w 47654"/>
                        <a:gd name="connsiteY4" fmla="*/ 25797 h 53620"/>
                        <a:gd name="connsiteX5" fmla="*/ 41698 w 47654"/>
                        <a:gd name="connsiteY5" fmla="*/ 53621 h 53620"/>
                        <a:gd name="connsiteX6" fmla="*/ 41698 w 47654"/>
                        <a:gd name="connsiteY6" fmla="*/ 53621 h 536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7654" h="53620">
                          <a:moveTo>
                            <a:pt x="41698" y="53621"/>
                          </a:moveTo>
                          <a:lnTo>
                            <a:pt x="6797" y="29426"/>
                          </a:lnTo>
                          <a:cubicBezTo>
                            <a:pt x="2563" y="26221"/>
                            <a:pt x="1111" y="23741"/>
                            <a:pt x="23" y="22047"/>
                          </a:cubicBezTo>
                          <a:cubicBezTo>
                            <a:pt x="-643" y="9950"/>
                            <a:pt x="13511" y="-1119"/>
                            <a:pt x="22946" y="91"/>
                          </a:cubicBezTo>
                          <a:lnTo>
                            <a:pt x="42302" y="25797"/>
                          </a:lnTo>
                          <a:cubicBezTo>
                            <a:pt x="50286" y="32814"/>
                            <a:pt x="48713" y="42310"/>
                            <a:pt x="41698" y="53621"/>
                          </a:cubicBezTo>
                          <a:lnTo>
                            <a:pt x="41698" y="53621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386" name="Grafik 297">
                    <a:extLst>
                      <a:ext uri="{FF2B5EF4-FFF2-40B4-BE49-F238E27FC236}">
                        <a16:creationId xmlns:a16="http://schemas.microsoft.com/office/drawing/2014/main" id="{85869E3B-BC14-F485-A352-B531AA9E4850}"/>
                      </a:ext>
                    </a:extLst>
                  </p:cNvPr>
                  <p:cNvGrpSpPr/>
                  <p:nvPr/>
                </p:nvGrpSpPr>
                <p:grpSpPr>
                  <a:xfrm>
                    <a:off x="11163288" y="3738619"/>
                    <a:ext cx="90846" cy="132471"/>
                    <a:chOff x="11163288" y="3738619"/>
                    <a:chExt cx="90846" cy="132471"/>
                  </a:xfrm>
                  <a:solidFill>
                    <a:srgbClr val="02787D"/>
                  </a:solidFill>
                </p:grpSpPr>
                <p:sp>
                  <p:nvSpPr>
                    <p:cNvPr id="387" name="Freihandform: Form 386">
                      <a:extLst>
                        <a:ext uri="{FF2B5EF4-FFF2-40B4-BE49-F238E27FC236}">
                          <a16:creationId xmlns:a16="http://schemas.microsoft.com/office/drawing/2014/main" id="{D6ADD04E-939E-1B28-A0D7-F97E333041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0554" y="3808727"/>
                      <a:ext cx="43580" cy="62363"/>
                    </a:xfrm>
                    <a:custGeom>
                      <a:avLst/>
                      <a:gdLst>
                        <a:gd name="connsiteX0" fmla="*/ 39895 w 43580"/>
                        <a:gd name="connsiteY0" fmla="*/ 62364 h 62363"/>
                        <a:gd name="connsiteX1" fmla="*/ 12615 w 43580"/>
                        <a:gd name="connsiteY1" fmla="*/ 41194 h 62363"/>
                        <a:gd name="connsiteX2" fmla="*/ 1062 w 43580"/>
                        <a:gd name="connsiteY2" fmla="*/ 6898 h 62363"/>
                        <a:gd name="connsiteX3" fmla="*/ 3966 w 43580"/>
                        <a:gd name="connsiteY3" fmla="*/ 63 h 62363"/>
                        <a:gd name="connsiteX4" fmla="*/ 33664 w 43580"/>
                        <a:gd name="connsiteY4" fmla="*/ 30367 h 62363"/>
                        <a:gd name="connsiteX5" fmla="*/ 39895 w 43580"/>
                        <a:gd name="connsiteY5" fmla="*/ 62364 h 62363"/>
                        <a:gd name="connsiteX6" fmla="*/ 39895 w 43580"/>
                        <a:gd name="connsiteY6" fmla="*/ 62364 h 6236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3580" h="62363">
                          <a:moveTo>
                            <a:pt x="39895" y="62364"/>
                          </a:moveTo>
                          <a:lnTo>
                            <a:pt x="12615" y="41194"/>
                          </a:lnTo>
                          <a:cubicBezTo>
                            <a:pt x="2394" y="32968"/>
                            <a:pt x="-2264" y="20447"/>
                            <a:pt x="1062" y="6898"/>
                          </a:cubicBezTo>
                          <a:cubicBezTo>
                            <a:pt x="2151" y="2543"/>
                            <a:pt x="3179" y="-481"/>
                            <a:pt x="3966" y="63"/>
                          </a:cubicBezTo>
                          <a:cubicBezTo>
                            <a:pt x="5538" y="1152"/>
                            <a:pt x="18241" y="14036"/>
                            <a:pt x="33664" y="30367"/>
                          </a:cubicBezTo>
                          <a:cubicBezTo>
                            <a:pt x="43403" y="40710"/>
                            <a:pt x="46911" y="49238"/>
                            <a:pt x="39895" y="62364"/>
                          </a:cubicBezTo>
                          <a:lnTo>
                            <a:pt x="39895" y="62364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8" name="Freihandform: Form 387">
                      <a:extLst>
                        <a:ext uri="{FF2B5EF4-FFF2-40B4-BE49-F238E27FC236}">
                          <a16:creationId xmlns:a16="http://schemas.microsoft.com/office/drawing/2014/main" id="{DA6422EE-E5C8-F6DE-E089-3DB1D29B89F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72474" y="3771894"/>
                      <a:ext cx="58537" cy="78389"/>
                    </a:xfrm>
                    <a:custGeom>
                      <a:avLst/>
                      <a:gdLst>
                        <a:gd name="connsiteX0" fmla="*/ 51360 w 58537"/>
                        <a:gd name="connsiteY0" fmla="*/ 78390 h 78389"/>
                        <a:gd name="connsiteX1" fmla="*/ 9807 w 58537"/>
                        <a:gd name="connsiteY1" fmla="*/ 45425 h 78389"/>
                        <a:gd name="connsiteX2" fmla="*/ 8415 w 58537"/>
                        <a:gd name="connsiteY2" fmla="*/ 3085 h 78389"/>
                        <a:gd name="connsiteX3" fmla="*/ 13557 w 58537"/>
                        <a:gd name="connsiteY3" fmla="*/ 0 h 78389"/>
                        <a:gd name="connsiteX4" fmla="*/ 52207 w 58537"/>
                        <a:gd name="connsiteY4" fmla="*/ 46030 h 78389"/>
                        <a:gd name="connsiteX5" fmla="*/ 51360 w 58537"/>
                        <a:gd name="connsiteY5" fmla="*/ 78329 h 78389"/>
                        <a:gd name="connsiteX6" fmla="*/ 51360 w 58537"/>
                        <a:gd name="connsiteY6" fmla="*/ 78329 h 7838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58537" h="78389">
                          <a:moveTo>
                            <a:pt x="51360" y="78390"/>
                          </a:moveTo>
                          <a:lnTo>
                            <a:pt x="9807" y="45425"/>
                          </a:lnTo>
                          <a:cubicBezTo>
                            <a:pt x="-2714" y="35324"/>
                            <a:pt x="-3319" y="15968"/>
                            <a:pt x="8415" y="3085"/>
                          </a:cubicBezTo>
                          <a:lnTo>
                            <a:pt x="13557" y="0"/>
                          </a:lnTo>
                          <a:lnTo>
                            <a:pt x="52207" y="46030"/>
                          </a:lnTo>
                          <a:cubicBezTo>
                            <a:pt x="61703" y="55587"/>
                            <a:pt x="59768" y="66414"/>
                            <a:pt x="51360" y="78329"/>
                          </a:cubicBezTo>
                          <a:lnTo>
                            <a:pt x="51360" y="78329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9" name="Freihandform: Form 388">
                      <a:extLst>
                        <a:ext uri="{FF2B5EF4-FFF2-40B4-BE49-F238E27FC236}">
                          <a16:creationId xmlns:a16="http://schemas.microsoft.com/office/drawing/2014/main" id="{2E7D34B8-A241-B499-4A1F-606EE74880D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63288" y="3738619"/>
                      <a:ext cx="39981" cy="70534"/>
                    </a:xfrm>
                    <a:custGeom>
                      <a:avLst/>
                      <a:gdLst>
                        <a:gd name="connsiteX0" fmla="*/ 61 w 39981"/>
                        <a:gd name="connsiteY0" fmla="*/ 7508 h 70534"/>
                        <a:gd name="connsiteX1" fmla="*/ 9133 w 39981"/>
                        <a:gd name="connsiteY1" fmla="*/ 63881 h 70534"/>
                        <a:gd name="connsiteX2" fmla="*/ 12400 w 39981"/>
                        <a:gd name="connsiteY2" fmla="*/ 70534 h 70534"/>
                        <a:gd name="connsiteX3" fmla="*/ 39679 w 39981"/>
                        <a:gd name="connsiteY3" fmla="*/ 39444 h 70534"/>
                        <a:gd name="connsiteX4" fmla="*/ 39981 w 39981"/>
                        <a:gd name="connsiteY4" fmla="*/ 8718 h 70534"/>
                        <a:gd name="connsiteX5" fmla="*/ 0 w 39981"/>
                        <a:gd name="connsiteY5" fmla="*/ 7447 h 705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39981" h="70534">
                          <a:moveTo>
                            <a:pt x="61" y="7508"/>
                          </a:moveTo>
                          <a:cubicBezTo>
                            <a:pt x="1633" y="19121"/>
                            <a:pt x="9133" y="63881"/>
                            <a:pt x="9133" y="63881"/>
                          </a:cubicBezTo>
                          <a:lnTo>
                            <a:pt x="12400" y="70534"/>
                          </a:lnTo>
                          <a:cubicBezTo>
                            <a:pt x="28912" y="68417"/>
                            <a:pt x="39860" y="54808"/>
                            <a:pt x="39679" y="39444"/>
                          </a:cubicBezTo>
                          <a:lnTo>
                            <a:pt x="39981" y="8718"/>
                          </a:lnTo>
                          <a:cubicBezTo>
                            <a:pt x="34175" y="-1142"/>
                            <a:pt x="3871" y="-4045"/>
                            <a:pt x="0" y="7447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390" name="Grafik 297">
                    <a:extLst>
                      <a:ext uri="{FF2B5EF4-FFF2-40B4-BE49-F238E27FC236}">
                        <a16:creationId xmlns:a16="http://schemas.microsoft.com/office/drawing/2014/main" id="{8E7C9462-4069-2F43-80E7-C996721EF8CA}"/>
                      </a:ext>
                    </a:extLst>
                  </p:cNvPr>
                  <p:cNvGrpSpPr/>
                  <p:nvPr/>
                </p:nvGrpSpPr>
                <p:grpSpPr>
                  <a:xfrm>
                    <a:off x="11175204" y="3729413"/>
                    <a:ext cx="72144" cy="163391"/>
                    <a:chOff x="11175204" y="3729413"/>
                    <a:chExt cx="72144" cy="163391"/>
                  </a:xfrm>
                  <a:solidFill>
                    <a:srgbClr val="02787D"/>
                  </a:solidFill>
                </p:grpSpPr>
                <p:sp>
                  <p:nvSpPr>
                    <p:cNvPr id="391" name="Freihandform: Form 390">
                      <a:extLst>
                        <a:ext uri="{FF2B5EF4-FFF2-40B4-BE49-F238E27FC236}">
                          <a16:creationId xmlns:a16="http://schemas.microsoft.com/office/drawing/2014/main" id="{BE813FF5-AFD8-334E-2F2C-7858B9A3C1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2650" y="3814241"/>
                      <a:ext cx="34698" cy="78564"/>
                    </a:xfrm>
                    <a:custGeom>
                      <a:avLst/>
                      <a:gdLst>
                        <a:gd name="connsiteX0" fmla="*/ 24310 w 34698"/>
                        <a:gd name="connsiteY0" fmla="*/ 78504 h 78564"/>
                        <a:gd name="connsiteX1" fmla="*/ 5015 w 34698"/>
                        <a:gd name="connsiteY1" fmla="*/ 45781 h 78564"/>
                        <a:gd name="connsiteX2" fmla="*/ 7072 w 34698"/>
                        <a:gd name="connsiteY2" fmla="*/ 5982 h 78564"/>
                        <a:gd name="connsiteX3" fmla="*/ 12818 w 34698"/>
                        <a:gd name="connsiteY3" fmla="*/ 175 h 78564"/>
                        <a:gd name="connsiteX4" fmla="*/ 30903 w 34698"/>
                        <a:gd name="connsiteY4" fmla="*/ 43241 h 78564"/>
                        <a:gd name="connsiteX5" fmla="*/ 24310 w 34698"/>
                        <a:gd name="connsiteY5" fmla="*/ 78565 h 78564"/>
                        <a:gd name="connsiteX6" fmla="*/ 24310 w 34698"/>
                        <a:gd name="connsiteY6" fmla="*/ 78565 h 785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4698" h="78564">
                          <a:moveTo>
                            <a:pt x="24310" y="78504"/>
                          </a:moveTo>
                          <a:lnTo>
                            <a:pt x="5015" y="45781"/>
                          </a:lnTo>
                          <a:cubicBezTo>
                            <a:pt x="-2122" y="33261"/>
                            <a:pt x="-1820" y="18502"/>
                            <a:pt x="7072" y="5982"/>
                          </a:cubicBezTo>
                          <a:cubicBezTo>
                            <a:pt x="9915" y="1990"/>
                            <a:pt x="12213" y="-732"/>
                            <a:pt x="12818" y="175"/>
                          </a:cubicBezTo>
                          <a:cubicBezTo>
                            <a:pt x="13967" y="1929"/>
                            <a:pt x="21770" y="20256"/>
                            <a:pt x="30903" y="43241"/>
                          </a:cubicBezTo>
                          <a:cubicBezTo>
                            <a:pt x="36710" y="57758"/>
                            <a:pt x="36831" y="67919"/>
                            <a:pt x="24310" y="78565"/>
                          </a:cubicBezTo>
                          <a:lnTo>
                            <a:pt x="24310" y="78565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92" name="Freihandform: Form 391">
                      <a:extLst>
                        <a:ext uri="{FF2B5EF4-FFF2-40B4-BE49-F238E27FC236}">
                          <a16:creationId xmlns:a16="http://schemas.microsoft.com/office/drawing/2014/main" id="{AD238B6D-DC67-C8DD-ED23-55CA3FC2044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86914" y="3784717"/>
                      <a:ext cx="48550" cy="77543"/>
                    </a:xfrm>
                    <a:custGeom>
                      <a:avLst/>
                      <a:gdLst>
                        <a:gd name="connsiteX0" fmla="*/ 32082 w 48550"/>
                        <a:gd name="connsiteY0" fmla="*/ 77543 h 77543"/>
                        <a:gd name="connsiteX1" fmla="*/ 3169 w 48550"/>
                        <a:gd name="connsiteY1" fmla="*/ 26614 h 77543"/>
                        <a:gd name="connsiteX2" fmla="*/ 24097 w 48550"/>
                        <a:gd name="connsiteY2" fmla="*/ 1573 h 77543"/>
                        <a:gd name="connsiteX3" fmla="*/ 26577 w 48550"/>
                        <a:gd name="connsiteY3" fmla="*/ 0 h 77543"/>
                        <a:gd name="connsiteX4" fmla="*/ 46296 w 48550"/>
                        <a:gd name="connsiteY4" fmla="*/ 44457 h 77543"/>
                        <a:gd name="connsiteX5" fmla="*/ 32928 w 48550"/>
                        <a:gd name="connsiteY5" fmla="*/ 76938 h 77543"/>
                        <a:gd name="connsiteX6" fmla="*/ 32021 w 48550"/>
                        <a:gd name="connsiteY6" fmla="*/ 77543 h 7754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8550" h="77543">
                          <a:moveTo>
                            <a:pt x="32082" y="77543"/>
                          </a:moveTo>
                          <a:lnTo>
                            <a:pt x="3169" y="26614"/>
                          </a:lnTo>
                          <a:cubicBezTo>
                            <a:pt x="-5541" y="11190"/>
                            <a:pt x="4439" y="4476"/>
                            <a:pt x="24097" y="1573"/>
                          </a:cubicBezTo>
                          <a:lnTo>
                            <a:pt x="26577" y="0"/>
                          </a:lnTo>
                          <a:lnTo>
                            <a:pt x="46296" y="44457"/>
                          </a:lnTo>
                          <a:cubicBezTo>
                            <a:pt x="52102" y="58127"/>
                            <a:pt x="46356" y="68107"/>
                            <a:pt x="32928" y="76938"/>
                          </a:cubicBezTo>
                          <a:lnTo>
                            <a:pt x="32021" y="77543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93" name="Freihandform: Form 392">
                      <a:extLst>
                        <a:ext uri="{FF2B5EF4-FFF2-40B4-BE49-F238E27FC236}">
                          <a16:creationId xmlns:a16="http://schemas.microsoft.com/office/drawing/2014/main" id="{A3DAE052-1E03-8EB4-2CC0-E4F22E1C3CD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75204" y="3729413"/>
                      <a:ext cx="39679" cy="76473"/>
                    </a:xfrm>
                    <a:custGeom>
                      <a:avLst/>
                      <a:gdLst>
                        <a:gd name="connsiteX0" fmla="*/ 0 w 39679"/>
                        <a:gd name="connsiteY0" fmla="*/ 10000 h 76473"/>
                        <a:gd name="connsiteX1" fmla="*/ 12642 w 39679"/>
                        <a:gd name="connsiteY1" fmla="*/ 76474 h 76473"/>
                        <a:gd name="connsiteX2" fmla="*/ 39376 w 39679"/>
                        <a:gd name="connsiteY2" fmla="*/ 55908 h 76473"/>
                        <a:gd name="connsiteX3" fmla="*/ 39679 w 39679"/>
                        <a:gd name="connsiteY3" fmla="*/ 7762 h 76473"/>
                        <a:gd name="connsiteX4" fmla="*/ 0 w 39679"/>
                        <a:gd name="connsiteY4" fmla="*/ 9939 h 764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9679" h="76473">
                          <a:moveTo>
                            <a:pt x="0" y="10000"/>
                          </a:moveTo>
                          <a:cubicBezTo>
                            <a:pt x="0" y="11209"/>
                            <a:pt x="12642" y="76474"/>
                            <a:pt x="12642" y="76474"/>
                          </a:cubicBezTo>
                          <a:cubicBezTo>
                            <a:pt x="30848" y="74236"/>
                            <a:pt x="39376" y="72844"/>
                            <a:pt x="39376" y="55908"/>
                          </a:cubicBezTo>
                          <a:lnTo>
                            <a:pt x="39679" y="7762"/>
                          </a:lnTo>
                          <a:cubicBezTo>
                            <a:pt x="33388" y="-3126"/>
                            <a:pt x="4356" y="-2702"/>
                            <a:pt x="0" y="9939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394" name="Grafik 297">
                    <a:extLst>
                      <a:ext uri="{FF2B5EF4-FFF2-40B4-BE49-F238E27FC236}">
                        <a16:creationId xmlns:a16="http://schemas.microsoft.com/office/drawing/2014/main" id="{B189E286-C055-C728-1160-CC2F98FB753E}"/>
                      </a:ext>
                    </a:extLst>
                  </p:cNvPr>
                  <p:cNvGrpSpPr/>
                  <p:nvPr/>
                </p:nvGrpSpPr>
                <p:grpSpPr>
                  <a:xfrm>
                    <a:off x="11188390" y="3736015"/>
                    <a:ext cx="61520" cy="156366"/>
                    <a:chOff x="11188390" y="3736015"/>
                    <a:chExt cx="61520" cy="156366"/>
                  </a:xfrm>
                  <a:solidFill>
                    <a:srgbClr val="02787D"/>
                  </a:solidFill>
                </p:grpSpPr>
                <p:sp>
                  <p:nvSpPr>
                    <p:cNvPr id="395" name="Freihandform: Form 394">
                      <a:extLst>
                        <a:ext uri="{FF2B5EF4-FFF2-40B4-BE49-F238E27FC236}">
                          <a16:creationId xmlns:a16="http://schemas.microsoft.com/office/drawing/2014/main" id="{B886DB75-5241-81E7-82D9-8A7363526A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8103" y="3821286"/>
                      <a:ext cx="31807" cy="71096"/>
                    </a:xfrm>
                    <a:custGeom>
                      <a:avLst/>
                      <a:gdLst>
                        <a:gd name="connsiteX0" fmla="*/ 18917 w 31807"/>
                        <a:gd name="connsiteY0" fmla="*/ 71096 h 71096"/>
                        <a:gd name="connsiteX1" fmla="*/ 3554 w 31807"/>
                        <a:gd name="connsiteY1" fmla="*/ 39462 h 71096"/>
                        <a:gd name="connsiteX2" fmla="*/ 8877 w 31807"/>
                        <a:gd name="connsiteY2" fmla="*/ 4804 h 71096"/>
                        <a:gd name="connsiteX3" fmla="*/ 15288 w 31807"/>
                        <a:gd name="connsiteY3" fmla="*/ 207 h 71096"/>
                        <a:gd name="connsiteX4" fmla="*/ 29744 w 31807"/>
                        <a:gd name="connsiteY4" fmla="*/ 39946 h 71096"/>
                        <a:gd name="connsiteX5" fmla="*/ 18917 w 31807"/>
                        <a:gd name="connsiteY5" fmla="*/ 71096 h 71096"/>
                        <a:gd name="connsiteX6" fmla="*/ 18917 w 31807"/>
                        <a:gd name="connsiteY6" fmla="*/ 71096 h 7109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1807" h="71096">
                          <a:moveTo>
                            <a:pt x="18917" y="71096"/>
                          </a:moveTo>
                          <a:lnTo>
                            <a:pt x="3554" y="39462"/>
                          </a:lnTo>
                          <a:cubicBezTo>
                            <a:pt x="-2072" y="27365"/>
                            <a:pt x="-1527" y="15147"/>
                            <a:pt x="8877" y="4804"/>
                          </a:cubicBezTo>
                          <a:cubicBezTo>
                            <a:pt x="12204" y="1477"/>
                            <a:pt x="14804" y="-701"/>
                            <a:pt x="15288" y="207"/>
                          </a:cubicBezTo>
                          <a:cubicBezTo>
                            <a:pt x="16195" y="1900"/>
                            <a:pt x="23333" y="18232"/>
                            <a:pt x="29744" y="39946"/>
                          </a:cubicBezTo>
                          <a:cubicBezTo>
                            <a:pt x="33797" y="53676"/>
                            <a:pt x="32708" y="62870"/>
                            <a:pt x="18917" y="71096"/>
                          </a:cubicBezTo>
                          <a:lnTo>
                            <a:pt x="18917" y="71096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96" name="Freihandform: Form 395">
                      <a:extLst>
                        <a:ext uri="{FF2B5EF4-FFF2-40B4-BE49-F238E27FC236}">
                          <a16:creationId xmlns:a16="http://schemas.microsoft.com/office/drawing/2014/main" id="{30FB23E6-3402-D93C-AA95-2515CFD9B80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96102" y="3785140"/>
                      <a:ext cx="43119" cy="75607"/>
                    </a:xfrm>
                    <a:custGeom>
                      <a:avLst/>
                      <a:gdLst>
                        <a:gd name="connsiteX0" fmla="*/ 25495 w 43119"/>
                        <a:gd name="connsiteY0" fmla="*/ 75607 h 75607"/>
                        <a:gd name="connsiteX1" fmla="*/ 2389 w 43119"/>
                        <a:gd name="connsiteY1" fmla="*/ 26856 h 75607"/>
                        <a:gd name="connsiteX2" fmla="*/ 21987 w 43119"/>
                        <a:gd name="connsiteY2" fmla="*/ 0 h 75607"/>
                        <a:gd name="connsiteX3" fmla="*/ 26099 w 43119"/>
                        <a:gd name="connsiteY3" fmla="*/ 5444 h 75607"/>
                        <a:gd name="connsiteX4" fmla="*/ 41826 w 43119"/>
                        <a:gd name="connsiteY4" fmla="*/ 48631 h 75607"/>
                        <a:gd name="connsiteX5" fmla="*/ 25495 w 43119"/>
                        <a:gd name="connsiteY5" fmla="*/ 75607 h 75607"/>
                        <a:gd name="connsiteX6" fmla="*/ 25495 w 43119"/>
                        <a:gd name="connsiteY6" fmla="*/ 75607 h 756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3119" h="75607">
                          <a:moveTo>
                            <a:pt x="25495" y="75607"/>
                          </a:moveTo>
                          <a:lnTo>
                            <a:pt x="2389" y="26856"/>
                          </a:lnTo>
                          <a:cubicBezTo>
                            <a:pt x="-4446" y="12037"/>
                            <a:pt x="3780" y="5746"/>
                            <a:pt x="21987" y="0"/>
                          </a:cubicBezTo>
                          <a:lnTo>
                            <a:pt x="26099" y="5444"/>
                          </a:lnTo>
                          <a:lnTo>
                            <a:pt x="41826" y="48631"/>
                          </a:lnTo>
                          <a:cubicBezTo>
                            <a:pt x="46000" y="61575"/>
                            <a:pt x="39951" y="69075"/>
                            <a:pt x="25495" y="75607"/>
                          </a:cubicBezTo>
                          <a:lnTo>
                            <a:pt x="25495" y="75607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97" name="Freihandform: Form 396">
                      <a:extLst>
                        <a:ext uri="{FF2B5EF4-FFF2-40B4-BE49-F238E27FC236}">
                          <a16:creationId xmlns:a16="http://schemas.microsoft.com/office/drawing/2014/main" id="{BC7402CD-75C1-0E35-DD64-2E1F953D6CD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88390" y="3736015"/>
                      <a:ext cx="34476" cy="69266"/>
                    </a:xfrm>
                    <a:custGeom>
                      <a:avLst/>
                      <a:gdLst>
                        <a:gd name="connsiteX0" fmla="*/ 0 w 34476"/>
                        <a:gd name="connsiteY0" fmla="*/ 5575 h 69266"/>
                        <a:gd name="connsiteX1" fmla="*/ 7924 w 34476"/>
                        <a:gd name="connsiteY1" fmla="*/ 69267 h 69266"/>
                        <a:gd name="connsiteX2" fmla="*/ 33872 w 34476"/>
                        <a:gd name="connsiteY2" fmla="*/ 56867 h 69266"/>
                        <a:gd name="connsiteX3" fmla="*/ 34477 w 34476"/>
                        <a:gd name="connsiteY3" fmla="*/ 12168 h 69266"/>
                        <a:gd name="connsiteX4" fmla="*/ 0 w 34476"/>
                        <a:gd name="connsiteY4" fmla="*/ 5575 h 6926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4476" h="69266">
                          <a:moveTo>
                            <a:pt x="0" y="5575"/>
                          </a:moveTo>
                          <a:cubicBezTo>
                            <a:pt x="0" y="6724"/>
                            <a:pt x="7924" y="69267"/>
                            <a:pt x="7924" y="69267"/>
                          </a:cubicBezTo>
                          <a:cubicBezTo>
                            <a:pt x="26311" y="68420"/>
                            <a:pt x="32723" y="72170"/>
                            <a:pt x="33872" y="56867"/>
                          </a:cubicBezTo>
                          <a:lnTo>
                            <a:pt x="34477" y="12168"/>
                          </a:lnTo>
                          <a:cubicBezTo>
                            <a:pt x="28912" y="1946"/>
                            <a:pt x="5262" y="-5675"/>
                            <a:pt x="0" y="557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398" name="Grafik 297">
                    <a:extLst>
                      <a:ext uri="{FF2B5EF4-FFF2-40B4-BE49-F238E27FC236}">
                        <a16:creationId xmlns:a16="http://schemas.microsoft.com/office/drawing/2014/main" id="{1AED2AE7-A47A-6F19-9EB3-9B47070AC0BF}"/>
                      </a:ext>
                    </a:extLst>
                  </p:cNvPr>
                  <p:cNvGrpSpPr/>
                  <p:nvPr/>
                </p:nvGrpSpPr>
                <p:grpSpPr>
                  <a:xfrm>
                    <a:off x="11208616" y="3610134"/>
                    <a:ext cx="98810" cy="216076"/>
                    <a:chOff x="11208616" y="3610134"/>
                    <a:chExt cx="98810" cy="216076"/>
                  </a:xfrm>
                  <a:solidFill>
                    <a:srgbClr val="02787D"/>
                  </a:solidFill>
                </p:grpSpPr>
                <p:sp>
                  <p:nvSpPr>
                    <p:cNvPr id="399" name="Freihandform: Form 398">
                      <a:extLst>
                        <a:ext uri="{FF2B5EF4-FFF2-40B4-BE49-F238E27FC236}">
                          <a16:creationId xmlns:a16="http://schemas.microsoft.com/office/drawing/2014/main" id="{73A4382B-4FD3-0421-0BA4-553E147B324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53713" y="3739314"/>
                      <a:ext cx="34296" cy="86896"/>
                    </a:xfrm>
                    <a:custGeom>
                      <a:avLst/>
                      <a:gdLst>
                        <a:gd name="connsiteX0" fmla="*/ 17724 w 34296"/>
                        <a:gd name="connsiteY0" fmla="*/ 86896 h 86896"/>
                        <a:gd name="connsiteX1" fmla="*/ 34297 w 34296"/>
                        <a:gd name="connsiteY1" fmla="*/ 45766 h 86896"/>
                        <a:gd name="connsiteX2" fmla="*/ 26918 w 34296"/>
                        <a:gd name="connsiteY2" fmla="*/ 2942 h 86896"/>
                        <a:gd name="connsiteX3" fmla="*/ 18571 w 34296"/>
                        <a:gd name="connsiteY3" fmla="*/ 825 h 86896"/>
                        <a:gd name="connsiteX4" fmla="*/ 1634 w 34296"/>
                        <a:gd name="connsiteY4" fmla="*/ 50968 h 86896"/>
                        <a:gd name="connsiteX5" fmla="*/ 17724 w 34296"/>
                        <a:gd name="connsiteY5" fmla="*/ 86896 h 86896"/>
                        <a:gd name="connsiteX6" fmla="*/ 17724 w 34296"/>
                        <a:gd name="connsiteY6" fmla="*/ 86896 h 8689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4296" h="86896">
                          <a:moveTo>
                            <a:pt x="17724" y="86896"/>
                          </a:moveTo>
                          <a:lnTo>
                            <a:pt x="34297" y="45766"/>
                          </a:lnTo>
                          <a:cubicBezTo>
                            <a:pt x="34176" y="31794"/>
                            <a:pt x="34660" y="10140"/>
                            <a:pt x="26918" y="2942"/>
                          </a:cubicBezTo>
                          <a:cubicBezTo>
                            <a:pt x="22503" y="-1111"/>
                            <a:pt x="19115" y="-82"/>
                            <a:pt x="18571" y="825"/>
                          </a:cubicBezTo>
                          <a:cubicBezTo>
                            <a:pt x="14760" y="7599"/>
                            <a:pt x="7199" y="29616"/>
                            <a:pt x="1634" y="50968"/>
                          </a:cubicBezTo>
                          <a:cubicBezTo>
                            <a:pt x="-2236" y="65787"/>
                            <a:pt x="-119" y="76190"/>
                            <a:pt x="17724" y="86896"/>
                          </a:cubicBezTo>
                          <a:lnTo>
                            <a:pt x="17724" y="86896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00" name="Freihandform: Form 399">
                      <a:extLst>
                        <a:ext uri="{FF2B5EF4-FFF2-40B4-BE49-F238E27FC236}">
                          <a16:creationId xmlns:a16="http://schemas.microsoft.com/office/drawing/2014/main" id="{FCD495F1-C29F-6677-618D-EFC4DE1A9E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57041" y="3712410"/>
                      <a:ext cx="50385" cy="74325"/>
                    </a:xfrm>
                    <a:custGeom>
                      <a:avLst/>
                      <a:gdLst>
                        <a:gd name="connsiteX0" fmla="*/ 50385 w 50385"/>
                        <a:gd name="connsiteY0" fmla="*/ 8615 h 74325"/>
                        <a:gd name="connsiteX1" fmla="*/ 0 w 50385"/>
                        <a:gd name="connsiteY1" fmla="*/ 10188 h 74325"/>
                        <a:gd name="connsiteX2" fmla="*/ 7682 w 50385"/>
                        <a:gd name="connsiteY2" fmla="*/ 46782 h 74325"/>
                        <a:gd name="connsiteX3" fmla="*/ 31029 w 50385"/>
                        <a:gd name="connsiteY3" fmla="*/ 72670 h 74325"/>
                        <a:gd name="connsiteX4" fmla="*/ 50385 w 50385"/>
                        <a:gd name="connsiteY4" fmla="*/ 8615 h 743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0385" h="74325">
                          <a:moveTo>
                            <a:pt x="50385" y="8615"/>
                          </a:moveTo>
                          <a:cubicBezTo>
                            <a:pt x="36352" y="-11648"/>
                            <a:pt x="0" y="10188"/>
                            <a:pt x="0" y="10188"/>
                          </a:cubicBezTo>
                          <a:lnTo>
                            <a:pt x="7682" y="46782"/>
                          </a:lnTo>
                          <a:cubicBezTo>
                            <a:pt x="7924" y="62508"/>
                            <a:pt x="17602" y="79807"/>
                            <a:pt x="31029" y="72670"/>
                          </a:cubicBezTo>
                          <a:cubicBezTo>
                            <a:pt x="31029" y="72670"/>
                            <a:pt x="50385" y="7890"/>
                            <a:pt x="50385" y="861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01" name="Freihandform: Form 400">
                      <a:extLst>
                        <a:ext uri="{FF2B5EF4-FFF2-40B4-BE49-F238E27FC236}">
                          <a16:creationId xmlns:a16="http://schemas.microsoft.com/office/drawing/2014/main" id="{EC7F333F-AC27-C194-ECB6-1699EB6812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08616" y="3610134"/>
                      <a:ext cx="98810" cy="121421"/>
                    </a:xfrm>
                    <a:custGeom>
                      <a:avLst/>
                      <a:gdLst>
                        <a:gd name="connsiteX0" fmla="*/ 91190 w 98810"/>
                        <a:gd name="connsiteY0" fmla="*/ 57180 h 121421"/>
                        <a:gd name="connsiteX1" fmla="*/ 98811 w 98810"/>
                        <a:gd name="connsiteY1" fmla="*/ 110831 h 121421"/>
                        <a:gd name="connsiteX2" fmla="*/ 98811 w 98810"/>
                        <a:gd name="connsiteY2" fmla="*/ 110831 h 121421"/>
                        <a:gd name="connsiteX3" fmla="*/ 48728 w 98810"/>
                        <a:gd name="connsiteY3" fmla="*/ 113311 h 121421"/>
                        <a:gd name="connsiteX4" fmla="*/ 7719 w 98810"/>
                        <a:gd name="connsiteY4" fmla="*/ 53006 h 121421"/>
                        <a:gd name="connsiteX5" fmla="*/ 62035 w 98810"/>
                        <a:gd name="connsiteY5" fmla="*/ 4920 h 121421"/>
                        <a:gd name="connsiteX6" fmla="*/ 91250 w 98810"/>
                        <a:gd name="connsiteY6" fmla="*/ 57119 h 1214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98810" h="121421">
                          <a:moveTo>
                            <a:pt x="91190" y="57180"/>
                          </a:moveTo>
                          <a:cubicBezTo>
                            <a:pt x="95121" y="72241"/>
                            <a:pt x="98811" y="110831"/>
                            <a:pt x="98811" y="110831"/>
                          </a:cubicBezTo>
                          <a:lnTo>
                            <a:pt x="98811" y="110831"/>
                          </a:lnTo>
                          <a:cubicBezTo>
                            <a:pt x="75463" y="113311"/>
                            <a:pt x="78427" y="131759"/>
                            <a:pt x="48728" y="113311"/>
                          </a:cubicBezTo>
                          <a:cubicBezTo>
                            <a:pt x="48728" y="113311"/>
                            <a:pt x="37296" y="72906"/>
                            <a:pt x="7719" y="53006"/>
                          </a:cubicBezTo>
                          <a:cubicBezTo>
                            <a:pt x="-17806" y="35828"/>
                            <a:pt x="25078" y="-16069"/>
                            <a:pt x="62035" y="4920"/>
                          </a:cubicBezTo>
                          <a:cubicBezTo>
                            <a:pt x="79576" y="26755"/>
                            <a:pt x="91250" y="57119"/>
                            <a:pt x="91250" y="57119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402" name="Freihandform: Form 401">
                    <a:extLst>
                      <a:ext uri="{FF2B5EF4-FFF2-40B4-BE49-F238E27FC236}">
                        <a16:creationId xmlns:a16="http://schemas.microsoft.com/office/drawing/2014/main" id="{09DA4B66-DB8A-4D6F-7A71-6C442002533F}"/>
                      </a:ext>
                    </a:extLst>
                  </p:cNvPr>
                  <p:cNvSpPr/>
                  <p:nvPr/>
                </p:nvSpPr>
                <p:spPr>
                  <a:xfrm>
                    <a:off x="11163281" y="3594186"/>
                    <a:ext cx="140662" cy="175772"/>
                  </a:xfrm>
                  <a:custGeom>
                    <a:avLst/>
                    <a:gdLst>
                      <a:gd name="connsiteX0" fmla="*/ 128 w 140662"/>
                      <a:gd name="connsiteY0" fmla="*/ 127202 h 175772"/>
                      <a:gd name="connsiteX1" fmla="*/ 20995 w 140662"/>
                      <a:gd name="connsiteY1" fmla="*/ 2057 h 175772"/>
                      <a:gd name="connsiteX2" fmla="*/ 105978 w 140662"/>
                      <a:gd name="connsiteY2" fmla="*/ 0 h 175772"/>
                      <a:gd name="connsiteX3" fmla="*/ 112027 w 140662"/>
                      <a:gd name="connsiteY3" fmla="*/ 22077 h 175772"/>
                      <a:gd name="connsiteX4" fmla="*/ 140576 w 140662"/>
                      <a:gd name="connsiteY4" fmla="*/ 100770 h 175772"/>
                      <a:gd name="connsiteX5" fmla="*/ 92913 w 140662"/>
                      <a:gd name="connsiteY5" fmla="*/ 122968 h 175772"/>
                      <a:gd name="connsiteX6" fmla="*/ 58376 w 140662"/>
                      <a:gd name="connsiteY6" fmla="*/ 175772 h 175772"/>
                      <a:gd name="connsiteX7" fmla="*/ 67 w 140662"/>
                      <a:gd name="connsiteY7" fmla="*/ 152001 h 175772"/>
                      <a:gd name="connsiteX8" fmla="*/ 67 w 140662"/>
                      <a:gd name="connsiteY8" fmla="*/ 127263 h 1757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40662" h="175772">
                        <a:moveTo>
                          <a:pt x="128" y="127202"/>
                        </a:moveTo>
                        <a:cubicBezTo>
                          <a:pt x="7326" y="95144"/>
                          <a:pt x="15491" y="57341"/>
                          <a:pt x="20995" y="2057"/>
                        </a:cubicBezTo>
                        <a:lnTo>
                          <a:pt x="105978" y="0"/>
                        </a:lnTo>
                        <a:cubicBezTo>
                          <a:pt x="106160" y="16089"/>
                          <a:pt x="109910" y="20021"/>
                          <a:pt x="112027" y="22077"/>
                        </a:cubicBezTo>
                        <a:cubicBezTo>
                          <a:pt x="143721" y="52562"/>
                          <a:pt x="140576" y="100770"/>
                          <a:pt x="140576" y="100770"/>
                        </a:cubicBezTo>
                        <a:cubicBezTo>
                          <a:pt x="140032" y="105306"/>
                          <a:pt x="109366" y="98411"/>
                          <a:pt x="92913" y="122968"/>
                        </a:cubicBezTo>
                        <a:cubicBezTo>
                          <a:pt x="88255" y="129863"/>
                          <a:pt x="62791" y="137545"/>
                          <a:pt x="58376" y="175772"/>
                        </a:cubicBezTo>
                        <a:cubicBezTo>
                          <a:pt x="19786" y="137848"/>
                          <a:pt x="1943" y="151215"/>
                          <a:pt x="67" y="152001"/>
                        </a:cubicBezTo>
                        <a:cubicBezTo>
                          <a:pt x="611" y="142263"/>
                          <a:pt x="-235" y="133855"/>
                          <a:pt x="67" y="127263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03" name="Freihandform: Form 402">
                    <a:extLst>
                      <a:ext uri="{FF2B5EF4-FFF2-40B4-BE49-F238E27FC236}">
                        <a16:creationId xmlns:a16="http://schemas.microsoft.com/office/drawing/2014/main" id="{641B8E1F-29F0-3DE6-320E-43D40E965D7A}"/>
                      </a:ext>
                    </a:extLst>
                  </p:cNvPr>
                  <p:cNvSpPr/>
                  <p:nvPr/>
                </p:nvSpPr>
                <p:spPr>
                  <a:xfrm>
                    <a:off x="11184216" y="3555052"/>
                    <a:ext cx="85164" cy="85164"/>
                  </a:xfrm>
                  <a:custGeom>
                    <a:avLst/>
                    <a:gdLst>
                      <a:gd name="connsiteX0" fmla="*/ 85164 w 85164"/>
                      <a:gd name="connsiteY0" fmla="*/ 42582 h 85164"/>
                      <a:gd name="connsiteX1" fmla="*/ 42582 w 85164"/>
                      <a:gd name="connsiteY1" fmla="*/ 85164 h 85164"/>
                      <a:gd name="connsiteX2" fmla="*/ 0 w 85164"/>
                      <a:gd name="connsiteY2" fmla="*/ 42582 h 85164"/>
                      <a:gd name="connsiteX3" fmla="*/ 42582 w 85164"/>
                      <a:gd name="connsiteY3" fmla="*/ 0 h 85164"/>
                      <a:gd name="connsiteX4" fmla="*/ 85164 w 85164"/>
                      <a:gd name="connsiteY4" fmla="*/ 42582 h 85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5164" h="85164">
                        <a:moveTo>
                          <a:pt x="85164" y="42582"/>
                        </a:moveTo>
                        <a:cubicBezTo>
                          <a:pt x="85164" y="66100"/>
                          <a:pt x="66100" y="85164"/>
                          <a:pt x="42582" y="85164"/>
                        </a:cubicBezTo>
                        <a:cubicBezTo>
                          <a:pt x="19065" y="85164"/>
                          <a:pt x="0" y="66100"/>
                          <a:pt x="0" y="42582"/>
                        </a:cubicBezTo>
                        <a:cubicBezTo>
                          <a:pt x="0" y="19065"/>
                          <a:pt x="19064" y="0"/>
                          <a:pt x="42582" y="0"/>
                        </a:cubicBezTo>
                        <a:cubicBezTo>
                          <a:pt x="66099" y="0"/>
                          <a:pt x="85164" y="19065"/>
                          <a:pt x="85164" y="42582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404" name="Freihandform: Form 403">
                  <a:extLst>
                    <a:ext uri="{FF2B5EF4-FFF2-40B4-BE49-F238E27FC236}">
                      <a16:creationId xmlns:a16="http://schemas.microsoft.com/office/drawing/2014/main" id="{0F017A4C-E966-4F4D-247B-87D042F362C9}"/>
                    </a:ext>
                  </a:extLst>
                </p:cNvPr>
                <p:cNvSpPr/>
                <p:nvPr/>
              </p:nvSpPr>
              <p:spPr>
                <a:xfrm>
                  <a:off x="11554269" y="2207424"/>
                  <a:ext cx="268013" cy="182791"/>
                </a:xfrm>
                <a:custGeom>
                  <a:avLst/>
                  <a:gdLst>
                    <a:gd name="connsiteX0" fmla="*/ 0 w 268013"/>
                    <a:gd name="connsiteY0" fmla="*/ 0 h 182791"/>
                    <a:gd name="connsiteX1" fmla="*/ 9133 w 268013"/>
                    <a:gd name="connsiteY1" fmla="*/ 120125 h 182791"/>
                    <a:gd name="connsiteX2" fmla="*/ 135186 w 268013"/>
                    <a:gd name="connsiteY2" fmla="*/ 182789 h 182791"/>
                    <a:gd name="connsiteX3" fmla="*/ 259606 w 268013"/>
                    <a:gd name="connsiteY3" fmla="*/ 101374 h 182791"/>
                    <a:gd name="connsiteX4" fmla="*/ 268014 w 268013"/>
                    <a:gd name="connsiteY4" fmla="*/ 7440 h 182791"/>
                    <a:gd name="connsiteX5" fmla="*/ 0 w 268013"/>
                    <a:gd name="connsiteY5" fmla="*/ 121 h 182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68013" h="182791">
                      <a:moveTo>
                        <a:pt x="0" y="0"/>
                      </a:moveTo>
                      <a:cubicBezTo>
                        <a:pt x="1694" y="2903"/>
                        <a:pt x="9133" y="120125"/>
                        <a:pt x="9133" y="120125"/>
                      </a:cubicBezTo>
                      <a:cubicBezTo>
                        <a:pt x="9133" y="120125"/>
                        <a:pt x="13670" y="182244"/>
                        <a:pt x="135186" y="182789"/>
                      </a:cubicBezTo>
                      <a:cubicBezTo>
                        <a:pt x="268014" y="183333"/>
                        <a:pt x="259606" y="101374"/>
                        <a:pt x="259606" y="101374"/>
                      </a:cubicBezTo>
                      <a:lnTo>
                        <a:pt x="268014" y="7440"/>
                      </a:lnTo>
                      <a:cubicBezTo>
                        <a:pt x="182547" y="25646"/>
                        <a:pt x="96838" y="27219"/>
                        <a:pt x="0" y="121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05" name="Grafik 297">
                <a:extLst>
                  <a:ext uri="{FF2B5EF4-FFF2-40B4-BE49-F238E27FC236}">
                    <a16:creationId xmlns:a16="http://schemas.microsoft.com/office/drawing/2014/main" id="{8D8C3F3B-6853-BAB3-0E8A-81B39A0FF7EC}"/>
                  </a:ext>
                </a:extLst>
              </p:cNvPr>
              <p:cNvGrpSpPr/>
              <p:nvPr/>
            </p:nvGrpSpPr>
            <p:grpSpPr>
              <a:xfrm>
                <a:off x="9590362" y="1659724"/>
                <a:ext cx="1540851" cy="3537443"/>
                <a:chOff x="48" y="1659724"/>
                <a:chExt cx="1540851" cy="3537443"/>
              </a:xfrm>
            </p:grpSpPr>
            <p:grpSp>
              <p:nvGrpSpPr>
                <p:cNvPr id="406" name="Grafik 297">
                  <a:extLst>
                    <a:ext uri="{FF2B5EF4-FFF2-40B4-BE49-F238E27FC236}">
                      <a16:creationId xmlns:a16="http://schemas.microsoft.com/office/drawing/2014/main" id="{9267AD3B-3978-93CF-2F04-0391F2212197}"/>
                    </a:ext>
                  </a:extLst>
                </p:cNvPr>
                <p:cNvGrpSpPr/>
                <p:nvPr/>
              </p:nvGrpSpPr>
              <p:grpSpPr>
                <a:xfrm>
                  <a:off x="134278" y="3425249"/>
                  <a:ext cx="206694" cy="389892"/>
                  <a:chOff x="134278" y="3425249"/>
                  <a:chExt cx="206694" cy="389892"/>
                </a:xfrm>
                <a:solidFill>
                  <a:srgbClr val="02787D"/>
                </a:solidFill>
              </p:grpSpPr>
              <p:sp>
                <p:nvSpPr>
                  <p:cNvPr id="407" name="Freihandform: Form 406">
                    <a:extLst>
                      <a:ext uri="{FF2B5EF4-FFF2-40B4-BE49-F238E27FC236}">
                        <a16:creationId xmlns:a16="http://schemas.microsoft.com/office/drawing/2014/main" id="{F1EFB7FA-9645-1CCA-D76A-2B04286F0456}"/>
                      </a:ext>
                    </a:extLst>
                  </p:cNvPr>
                  <p:cNvSpPr/>
                  <p:nvPr/>
                </p:nvSpPr>
                <p:spPr>
                  <a:xfrm>
                    <a:off x="194341" y="3425249"/>
                    <a:ext cx="116254" cy="116254"/>
                  </a:xfrm>
                  <a:custGeom>
                    <a:avLst/>
                    <a:gdLst>
                      <a:gd name="connsiteX0" fmla="*/ 116254 w 116254"/>
                      <a:gd name="connsiteY0" fmla="*/ 58127 h 116254"/>
                      <a:gd name="connsiteX1" fmla="*/ 58127 w 116254"/>
                      <a:gd name="connsiteY1" fmla="*/ 116254 h 116254"/>
                      <a:gd name="connsiteX2" fmla="*/ 0 w 116254"/>
                      <a:gd name="connsiteY2" fmla="*/ 58127 h 116254"/>
                      <a:gd name="connsiteX3" fmla="*/ 58127 w 116254"/>
                      <a:gd name="connsiteY3" fmla="*/ 0 h 116254"/>
                      <a:gd name="connsiteX4" fmla="*/ 116254 w 116254"/>
                      <a:gd name="connsiteY4" fmla="*/ 58127 h 1162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6254" h="116254">
                        <a:moveTo>
                          <a:pt x="116254" y="58127"/>
                        </a:moveTo>
                        <a:cubicBezTo>
                          <a:pt x="116254" y="90230"/>
                          <a:pt x="90230" y="116254"/>
                          <a:pt x="58127" y="116254"/>
                        </a:cubicBezTo>
                        <a:cubicBezTo>
                          <a:pt x="26024" y="116254"/>
                          <a:pt x="0" y="90229"/>
                          <a:pt x="0" y="58127"/>
                        </a:cubicBezTo>
                        <a:cubicBezTo>
                          <a:pt x="0" y="26024"/>
                          <a:pt x="26024" y="0"/>
                          <a:pt x="58127" y="0"/>
                        </a:cubicBezTo>
                        <a:cubicBezTo>
                          <a:pt x="90230" y="0"/>
                          <a:pt x="116254" y="26024"/>
                          <a:pt x="116254" y="58127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408" name="Grafik 297">
                    <a:extLst>
                      <a:ext uri="{FF2B5EF4-FFF2-40B4-BE49-F238E27FC236}">
                        <a16:creationId xmlns:a16="http://schemas.microsoft.com/office/drawing/2014/main" id="{96E041D4-6E70-C70C-392E-C213804505E7}"/>
                      </a:ext>
                    </a:extLst>
                  </p:cNvPr>
                  <p:cNvGrpSpPr/>
                  <p:nvPr/>
                </p:nvGrpSpPr>
                <p:grpSpPr>
                  <a:xfrm>
                    <a:off x="134278" y="3462369"/>
                    <a:ext cx="206694" cy="352772"/>
                    <a:chOff x="134278" y="3462369"/>
                    <a:chExt cx="206694" cy="352772"/>
                  </a:xfrm>
                  <a:solidFill>
                    <a:srgbClr val="02787D"/>
                  </a:solidFill>
                </p:grpSpPr>
                <p:grpSp>
                  <p:nvGrpSpPr>
                    <p:cNvPr id="409" name="Grafik 297">
                      <a:extLst>
                        <a:ext uri="{FF2B5EF4-FFF2-40B4-BE49-F238E27FC236}">
                          <a16:creationId xmlns:a16="http://schemas.microsoft.com/office/drawing/2014/main" id="{BEF07FCA-6CC6-0364-5F87-3FC7BBF9F58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17870" y="3649645"/>
                      <a:ext cx="45684" cy="153097"/>
                      <a:chOff x="217870" y="3649645"/>
                      <a:chExt cx="45684" cy="153097"/>
                    </a:xfrm>
                    <a:solidFill>
                      <a:srgbClr val="02787D"/>
                    </a:solidFill>
                  </p:grpSpPr>
                  <p:sp>
                    <p:nvSpPr>
                      <p:cNvPr id="410" name="Freihandform: Form 409">
                        <a:extLst>
                          <a:ext uri="{FF2B5EF4-FFF2-40B4-BE49-F238E27FC236}">
                            <a16:creationId xmlns:a16="http://schemas.microsoft.com/office/drawing/2014/main" id="{106B5EC0-B51C-26F2-FCAF-3488F8B337C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17870" y="3649645"/>
                        <a:ext cx="45684" cy="70664"/>
                      </a:xfrm>
                      <a:custGeom>
                        <a:avLst/>
                        <a:gdLst>
                          <a:gd name="connsiteX0" fmla="*/ 0 w 45684"/>
                          <a:gd name="connsiteY0" fmla="*/ 57227 h 70664"/>
                          <a:gd name="connsiteX1" fmla="*/ 18388 w 45684"/>
                          <a:gd name="connsiteY1" fmla="*/ 70655 h 70664"/>
                          <a:gd name="connsiteX2" fmla="*/ 36050 w 45684"/>
                          <a:gd name="connsiteY2" fmla="*/ 55594 h 70664"/>
                          <a:gd name="connsiteX3" fmla="*/ 45485 w 45684"/>
                          <a:gd name="connsiteY3" fmla="*/ 18818 h 70664"/>
                          <a:gd name="connsiteX4" fmla="*/ 32300 w 45684"/>
                          <a:gd name="connsiteY4" fmla="*/ 914 h 70664"/>
                          <a:gd name="connsiteX5" fmla="*/ 9073 w 45684"/>
                          <a:gd name="connsiteY5" fmla="*/ 13435 h 70664"/>
                          <a:gd name="connsiteX6" fmla="*/ 0 w 45684"/>
                          <a:gd name="connsiteY6" fmla="*/ 57227 h 706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5684" h="70664">
                            <a:moveTo>
                              <a:pt x="0" y="57227"/>
                            </a:moveTo>
                            <a:cubicBezTo>
                              <a:pt x="0" y="57227"/>
                              <a:pt x="5262" y="71078"/>
                              <a:pt x="18388" y="70655"/>
                            </a:cubicBezTo>
                            <a:cubicBezTo>
                              <a:pt x="32179" y="70231"/>
                              <a:pt x="36050" y="55594"/>
                              <a:pt x="36050" y="55594"/>
                            </a:cubicBezTo>
                            <a:lnTo>
                              <a:pt x="45485" y="18818"/>
                            </a:lnTo>
                            <a:cubicBezTo>
                              <a:pt x="46816" y="7568"/>
                              <a:pt x="41372" y="2971"/>
                              <a:pt x="32300" y="914"/>
                            </a:cubicBezTo>
                            <a:cubicBezTo>
                              <a:pt x="23287" y="-1566"/>
                              <a:pt x="12339" y="491"/>
                              <a:pt x="9073" y="13435"/>
                            </a:cubicBezTo>
                            <a:lnTo>
                              <a:pt x="0" y="5722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11" name="Freihandform: Form 410">
                        <a:extLst>
                          <a:ext uri="{FF2B5EF4-FFF2-40B4-BE49-F238E27FC236}">
                            <a16:creationId xmlns:a16="http://schemas.microsoft.com/office/drawing/2014/main" id="{0DD2EC8F-8D60-3009-5B1B-9F669EAB25A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17870" y="3693202"/>
                        <a:ext cx="36856" cy="56556"/>
                      </a:xfrm>
                      <a:custGeom>
                        <a:avLst/>
                        <a:gdLst>
                          <a:gd name="connsiteX0" fmla="*/ 7016 w 36856"/>
                          <a:gd name="connsiteY0" fmla="*/ 49175 h 56556"/>
                          <a:gd name="connsiteX1" fmla="*/ 22985 w 36856"/>
                          <a:gd name="connsiteY1" fmla="*/ 56554 h 56556"/>
                          <a:gd name="connsiteX2" fmla="*/ 36775 w 36856"/>
                          <a:gd name="connsiteY2" fmla="*/ 43187 h 56556"/>
                          <a:gd name="connsiteX3" fmla="*/ 36110 w 36856"/>
                          <a:gd name="connsiteY3" fmla="*/ 12037 h 56556"/>
                          <a:gd name="connsiteX4" fmla="*/ 19356 w 36856"/>
                          <a:gd name="connsiteY4" fmla="*/ 0 h 56556"/>
                          <a:gd name="connsiteX5" fmla="*/ 0 w 36856"/>
                          <a:gd name="connsiteY5" fmla="*/ 13670 h 56556"/>
                          <a:gd name="connsiteX6" fmla="*/ 6956 w 36856"/>
                          <a:gd name="connsiteY6" fmla="*/ 49175 h 5655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6856" h="56556">
                            <a:moveTo>
                              <a:pt x="7016" y="49175"/>
                            </a:moveTo>
                            <a:cubicBezTo>
                              <a:pt x="7016" y="49175"/>
                              <a:pt x="7198" y="56192"/>
                              <a:pt x="22985" y="56554"/>
                            </a:cubicBezTo>
                            <a:cubicBezTo>
                              <a:pt x="38772" y="56736"/>
                              <a:pt x="36775" y="43187"/>
                              <a:pt x="36775" y="43187"/>
                            </a:cubicBezTo>
                            <a:lnTo>
                              <a:pt x="36110" y="12037"/>
                            </a:lnTo>
                            <a:cubicBezTo>
                              <a:pt x="32179" y="4899"/>
                              <a:pt x="31392" y="0"/>
                              <a:pt x="19356" y="0"/>
                            </a:cubicBezTo>
                            <a:cubicBezTo>
                              <a:pt x="8649" y="665"/>
                              <a:pt x="4234" y="6653"/>
                              <a:pt x="0" y="13670"/>
                            </a:cubicBezTo>
                            <a:lnTo>
                              <a:pt x="6956" y="4917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12" name="Freihandform: Form 411">
                        <a:extLst>
                          <a:ext uri="{FF2B5EF4-FFF2-40B4-BE49-F238E27FC236}">
                            <a16:creationId xmlns:a16="http://schemas.microsoft.com/office/drawing/2014/main" id="{A214FEDE-85F4-3140-8438-9F452A726FF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24826" y="3726462"/>
                        <a:ext cx="35970" cy="76279"/>
                      </a:xfrm>
                      <a:custGeom>
                        <a:avLst/>
                        <a:gdLst>
                          <a:gd name="connsiteX0" fmla="*/ 10404 w 35970"/>
                          <a:gd name="connsiteY0" fmla="*/ 52086 h 76279"/>
                          <a:gd name="connsiteX1" fmla="*/ 18146 w 35970"/>
                          <a:gd name="connsiteY1" fmla="*/ 76280 h 76279"/>
                          <a:gd name="connsiteX2" fmla="*/ 35747 w 35970"/>
                          <a:gd name="connsiteY2" fmla="*/ 41319 h 76279"/>
                          <a:gd name="connsiteX3" fmla="*/ 30062 w 35970"/>
                          <a:gd name="connsiteY3" fmla="*/ 10713 h 76279"/>
                          <a:gd name="connsiteX4" fmla="*/ 11795 w 35970"/>
                          <a:gd name="connsiteY4" fmla="*/ 854 h 76279"/>
                          <a:gd name="connsiteX5" fmla="*/ 0 w 35970"/>
                          <a:gd name="connsiteY5" fmla="*/ 15915 h 76279"/>
                          <a:gd name="connsiteX6" fmla="*/ 10343 w 35970"/>
                          <a:gd name="connsiteY6" fmla="*/ 52146 h 7627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5970" h="76279">
                            <a:moveTo>
                              <a:pt x="10404" y="52086"/>
                            </a:moveTo>
                            <a:lnTo>
                              <a:pt x="18146" y="76280"/>
                            </a:lnTo>
                            <a:cubicBezTo>
                              <a:pt x="33993" y="72106"/>
                              <a:pt x="36896" y="53779"/>
                              <a:pt x="35747" y="41319"/>
                            </a:cubicBezTo>
                            <a:cubicBezTo>
                              <a:pt x="34598" y="28859"/>
                              <a:pt x="30062" y="10713"/>
                              <a:pt x="30062" y="10713"/>
                            </a:cubicBezTo>
                            <a:cubicBezTo>
                              <a:pt x="26372" y="-477"/>
                              <a:pt x="17420" y="-1082"/>
                              <a:pt x="11795" y="854"/>
                            </a:cubicBezTo>
                            <a:cubicBezTo>
                              <a:pt x="5625" y="2971"/>
                              <a:pt x="0" y="6963"/>
                              <a:pt x="0" y="15915"/>
                            </a:cubicBezTo>
                            <a:lnTo>
                              <a:pt x="10343" y="52146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13" name="Grafik 297">
                      <a:extLst>
                        <a:ext uri="{FF2B5EF4-FFF2-40B4-BE49-F238E27FC236}">
                          <a16:creationId xmlns:a16="http://schemas.microsoft.com/office/drawing/2014/main" id="{CFFBB6AC-1003-FEFA-D1D7-A44023C75CE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85994" y="3644681"/>
                      <a:ext cx="53203" cy="170460"/>
                      <a:chOff x="185994" y="3644681"/>
                      <a:chExt cx="53203" cy="170460"/>
                    </a:xfrm>
                    <a:solidFill>
                      <a:srgbClr val="02787D"/>
                    </a:solidFill>
                  </p:grpSpPr>
                  <p:sp>
                    <p:nvSpPr>
                      <p:cNvPr id="414" name="Freihandform: Form 413">
                        <a:extLst>
                          <a:ext uri="{FF2B5EF4-FFF2-40B4-BE49-F238E27FC236}">
                            <a16:creationId xmlns:a16="http://schemas.microsoft.com/office/drawing/2014/main" id="{FD2882AD-6F0E-E7D8-3D73-B00A51C07F1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85994" y="3644681"/>
                        <a:ext cx="50168" cy="77084"/>
                      </a:xfrm>
                      <a:custGeom>
                        <a:avLst/>
                        <a:gdLst>
                          <a:gd name="connsiteX0" fmla="*/ 0 w 50168"/>
                          <a:gd name="connsiteY0" fmla="*/ 63098 h 77084"/>
                          <a:gd name="connsiteX1" fmla="*/ 18932 w 50168"/>
                          <a:gd name="connsiteY1" fmla="*/ 77070 h 77084"/>
                          <a:gd name="connsiteX2" fmla="*/ 38892 w 50168"/>
                          <a:gd name="connsiteY2" fmla="*/ 63702 h 77084"/>
                          <a:gd name="connsiteX3" fmla="*/ 49840 w 50168"/>
                          <a:gd name="connsiteY3" fmla="*/ 20999 h 77084"/>
                          <a:gd name="connsiteX4" fmla="*/ 38106 w 50168"/>
                          <a:gd name="connsiteY4" fmla="*/ 918 h 77084"/>
                          <a:gd name="connsiteX5" fmla="*/ 10041 w 50168"/>
                          <a:gd name="connsiteY5" fmla="*/ 15072 h 77084"/>
                          <a:gd name="connsiteX6" fmla="*/ 60 w 50168"/>
                          <a:gd name="connsiteY6" fmla="*/ 63037 h 7708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0168" h="77084">
                            <a:moveTo>
                              <a:pt x="0" y="63098"/>
                            </a:moveTo>
                            <a:cubicBezTo>
                              <a:pt x="0" y="63098"/>
                              <a:pt x="3932" y="77614"/>
                              <a:pt x="18932" y="77070"/>
                            </a:cubicBezTo>
                            <a:cubicBezTo>
                              <a:pt x="34054" y="76525"/>
                              <a:pt x="38892" y="63702"/>
                              <a:pt x="38892" y="63702"/>
                            </a:cubicBezTo>
                            <a:lnTo>
                              <a:pt x="49840" y="20999"/>
                            </a:lnTo>
                            <a:cubicBezTo>
                              <a:pt x="51292" y="8721"/>
                              <a:pt x="48026" y="3156"/>
                              <a:pt x="38106" y="918"/>
                            </a:cubicBezTo>
                            <a:cubicBezTo>
                              <a:pt x="28247" y="-1743"/>
                              <a:pt x="13549" y="918"/>
                              <a:pt x="10041" y="15072"/>
                            </a:cubicBezTo>
                            <a:lnTo>
                              <a:pt x="60" y="6303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15" name="Freihandform: Form 414">
                        <a:extLst>
                          <a:ext uri="{FF2B5EF4-FFF2-40B4-BE49-F238E27FC236}">
                            <a16:creationId xmlns:a16="http://schemas.microsoft.com/office/drawing/2014/main" id="{310DD638-5EFB-DC20-5C8F-F33CD3C34B3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86054" y="3694653"/>
                        <a:ext cx="41227" cy="66339"/>
                      </a:xfrm>
                      <a:custGeom>
                        <a:avLst/>
                        <a:gdLst>
                          <a:gd name="connsiteX0" fmla="*/ 6291 w 41227"/>
                          <a:gd name="connsiteY0" fmla="*/ 58248 h 66339"/>
                          <a:gd name="connsiteX1" fmla="*/ 29699 w 41227"/>
                          <a:gd name="connsiteY1" fmla="*/ 64478 h 66339"/>
                          <a:gd name="connsiteX2" fmla="*/ 40284 w 41227"/>
                          <a:gd name="connsiteY2" fmla="*/ 45485 h 66339"/>
                          <a:gd name="connsiteX3" fmla="*/ 38832 w 41227"/>
                          <a:gd name="connsiteY3" fmla="*/ 13730 h 66339"/>
                          <a:gd name="connsiteX4" fmla="*/ 21533 w 41227"/>
                          <a:gd name="connsiteY4" fmla="*/ 0 h 66339"/>
                          <a:gd name="connsiteX5" fmla="*/ 0 w 41227"/>
                          <a:gd name="connsiteY5" fmla="*/ 13065 h 66339"/>
                          <a:gd name="connsiteX6" fmla="*/ 6351 w 41227"/>
                          <a:gd name="connsiteY6" fmla="*/ 58187 h 6633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1227" h="66339">
                            <a:moveTo>
                              <a:pt x="6291" y="58248"/>
                            </a:moveTo>
                            <a:cubicBezTo>
                              <a:pt x="6291" y="58248"/>
                              <a:pt x="12279" y="71010"/>
                              <a:pt x="29699" y="64478"/>
                            </a:cubicBezTo>
                            <a:cubicBezTo>
                              <a:pt x="45909" y="58429"/>
                              <a:pt x="40284" y="45485"/>
                              <a:pt x="40284" y="45485"/>
                            </a:cubicBezTo>
                            <a:lnTo>
                              <a:pt x="38832" y="13730"/>
                            </a:lnTo>
                            <a:cubicBezTo>
                              <a:pt x="36957" y="5323"/>
                              <a:pt x="31392" y="0"/>
                              <a:pt x="21533" y="0"/>
                            </a:cubicBezTo>
                            <a:cubicBezTo>
                              <a:pt x="7258" y="0"/>
                              <a:pt x="2964" y="4657"/>
                              <a:pt x="0" y="13065"/>
                            </a:cubicBezTo>
                            <a:lnTo>
                              <a:pt x="6351" y="5818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16" name="Freihandform: Form 415">
                        <a:extLst>
                          <a:ext uri="{FF2B5EF4-FFF2-40B4-BE49-F238E27FC236}">
                            <a16:creationId xmlns:a16="http://schemas.microsoft.com/office/drawing/2014/main" id="{FF2C60BF-0FD1-8F48-AF87-F6B1AB3B4A8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92405" y="3728005"/>
                        <a:ext cx="46792" cy="87136"/>
                      </a:xfrm>
                      <a:custGeom>
                        <a:avLst/>
                        <a:gdLst>
                          <a:gd name="connsiteX0" fmla="*/ 19356 w 46792"/>
                          <a:gd name="connsiteY0" fmla="*/ 61974 h 87136"/>
                          <a:gd name="connsiteX1" fmla="*/ 31271 w 46792"/>
                          <a:gd name="connsiteY1" fmla="*/ 87136 h 87136"/>
                          <a:gd name="connsiteX2" fmla="*/ 45364 w 46792"/>
                          <a:gd name="connsiteY2" fmla="*/ 46671 h 87136"/>
                          <a:gd name="connsiteX3" fmla="*/ 32783 w 46792"/>
                          <a:gd name="connsiteY3" fmla="*/ 9351 h 87136"/>
                          <a:gd name="connsiteX4" fmla="*/ 7682 w 46792"/>
                          <a:gd name="connsiteY4" fmla="*/ 702 h 87136"/>
                          <a:gd name="connsiteX5" fmla="*/ 0 w 46792"/>
                          <a:gd name="connsiteY5" fmla="*/ 25017 h 87136"/>
                          <a:gd name="connsiteX6" fmla="*/ 19416 w 46792"/>
                          <a:gd name="connsiteY6" fmla="*/ 62035 h 8713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6792" h="87136">
                            <a:moveTo>
                              <a:pt x="19356" y="61974"/>
                            </a:moveTo>
                            <a:lnTo>
                              <a:pt x="31271" y="87136"/>
                            </a:lnTo>
                            <a:cubicBezTo>
                              <a:pt x="47844" y="80362"/>
                              <a:pt x="48389" y="59978"/>
                              <a:pt x="45364" y="46671"/>
                            </a:cubicBezTo>
                            <a:cubicBezTo>
                              <a:pt x="42340" y="33304"/>
                              <a:pt x="32783" y="9351"/>
                              <a:pt x="32783" y="9351"/>
                            </a:cubicBezTo>
                            <a:cubicBezTo>
                              <a:pt x="26130" y="3666"/>
                              <a:pt x="14275" y="-2020"/>
                              <a:pt x="7682" y="702"/>
                            </a:cubicBezTo>
                            <a:cubicBezTo>
                              <a:pt x="1089" y="3363"/>
                              <a:pt x="726" y="16307"/>
                              <a:pt x="0" y="25017"/>
                            </a:cubicBezTo>
                            <a:lnTo>
                              <a:pt x="19416" y="6203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17" name="Grafik 297">
                      <a:extLst>
                        <a:ext uri="{FF2B5EF4-FFF2-40B4-BE49-F238E27FC236}">
                          <a16:creationId xmlns:a16="http://schemas.microsoft.com/office/drawing/2014/main" id="{7FF42A81-F4E3-4D64-ADC8-E812AA5C602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1880" y="3632666"/>
                      <a:ext cx="59919" cy="164209"/>
                      <a:chOff x="151880" y="3632666"/>
                      <a:chExt cx="59919" cy="164209"/>
                    </a:xfrm>
                    <a:solidFill>
                      <a:srgbClr val="02787D"/>
                    </a:solidFill>
                  </p:grpSpPr>
                  <p:sp>
                    <p:nvSpPr>
                      <p:cNvPr id="418" name="Freihandform: Form 417">
                        <a:extLst>
                          <a:ext uri="{FF2B5EF4-FFF2-40B4-BE49-F238E27FC236}">
                            <a16:creationId xmlns:a16="http://schemas.microsoft.com/office/drawing/2014/main" id="{9145AB4A-E206-3BFB-E542-8C1C1008E4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880" y="3632666"/>
                        <a:ext cx="47698" cy="76503"/>
                      </a:xfrm>
                      <a:custGeom>
                        <a:avLst/>
                        <a:gdLst>
                          <a:gd name="connsiteX0" fmla="*/ 0 w 47698"/>
                          <a:gd name="connsiteY0" fmla="*/ 67492 h 76503"/>
                          <a:gd name="connsiteX1" fmla="*/ 20505 w 47698"/>
                          <a:gd name="connsiteY1" fmla="*/ 76202 h 76503"/>
                          <a:gd name="connsiteX2" fmla="*/ 37562 w 47698"/>
                          <a:gd name="connsiteY2" fmla="*/ 60355 h 76503"/>
                          <a:gd name="connsiteX3" fmla="*/ 47542 w 47698"/>
                          <a:gd name="connsiteY3" fmla="*/ 21160 h 76503"/>
                          <a:gd name="connsiteX4" fmla="*/ 36231 w 47698"/>
                          <a:gd name="connsiteY4" fmla="*/ 897 h 76503"/>
                          <a:gd name="connsiteX5" fmla="*/ 8770 w 47698"/>
                          <a:gd name="connsiteY5" fmla="*/ 14748 h 76503"/>
                          <a:gd name="connsiteX6" fmla="*/ 0 w 47698"/>
                          <a:gd name="connsiteY6" fmla="*/ 67492 h 7650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7698" h="76503">
                            <a:moveTo>
                              <a:pt x="0" y="67492"/>
                            </a:moveTo>
                            <a:cubicBezTo>
                              <a:pt x="0" y="67492"/>
                              <a:pt x="4960" y="78440"/>
                              <a:pt x="20505" y="76202"/>
                            </a:cubicBezTo>
                            <a:cubicBezTo>
                              <a:pt x="35142" y="74085"/>
                              <a:pt x="37562" y="60355"/>
                              <a:pt x="37562" y="60355"/>
                            </a:cubicBezTo>
                            <a:lnTo>
                              <a:pt x="47542" y="21160"/>
                            </a:lnTo>
                            <a:cubicBezTo>
                              <a:pt x="48389" y="11361"/>
                              <a:pt x="45969" y="3074"/>
                              <a:pt x="36231" y="897"/>
                            </a:cubicBezTo>
                            <a:cubicBezTo>
                              <a:pt x="26614" y="-1704"/>
                              <a:pt x="12218" y="897"/>
                              <a:pt x="8770" y="14748"/>
                            </a:cubicBezTo>
                            <a:lnTo>
                              <a:pt x="0" y="67492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19" name="Freihandform: Form 418">
                        <a:extLst>
                          <a:ext uri="{FF2B5EF4-FFF2-40B4-BE49-F238E27FC236}">
                            <a16:creationId xmlns:a16="http://schemas.microsoft.com/office/drawing/2014/main" id="{3BB86A11-311D-D0FD-C00A-D8AE416DFE9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880" y="3683991"/>
                        <a:ext cx="48902" cy="63864"/>
                      </a:xfrm>
                      <a:custGeom>
                        <a:avLst/>
                        <a:gdLst>
                          <a:gd name="connsiteX0" fmla="*/ 18267 w 48902"/>
                          <a:gd name="connsiteY0" fmla="*/ 55603 h 63864"/>
                          <a:gd name="connsiteX1" fmla="*/ 38772 w 48902"/>
                          <a:gd name="connsiteY1" fmla="*/ 62801 h 63864"/>
                          <a:gd name="connsiteX2" fmla="*/ 46877 w 48902"/>
                          <a:gd name="connsiteY2" fmla="*/ 37276 h 63864"/>
                          <a:gd name="connsiteX3" fmla="*/ 37562 w 48902"/>
                          <a:gd name="connsiteY3" fmla="*/ 9089 h 63864"/>
                          <a:gd name="connsiteX4" fmla="*/ 19295 w 48902"/>
                          <a:gd name="connsiteY4" fmla="*/ 319 h 63864"/>
                          <a:gd name="connsiteX5" fmla="*/ 0 w 48902"/>
                          <a:gd name="connsiteY5" fmla="*/ 16227 h 63864"/>
                          <a:gd name="connsiteX6" fmla="*/ 18267 w 48902"/>
                          <a:gd name="connsiteY6" fmla="*/ 55603 h 638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8902" h="63864">
                            <a:moveTo>
                              <a:pt x="18267" y="55603"/>
                            </a:moveTo>
                            <a:cubicBezTo>
                              <a:pt x="18267" y="55603"/>
                              <a:pt x="22561" y="67398"/>
                              <a:pt x="38772" y="62801"/>
                            </a:cubicBezTo>
                            <a:cubicBezTo>
                              <a:pt x="54982" y="58083"/>
                              <a:pt x="46877" y="37276"/>
                              <a:pt x="46877" y="37276"/>
                            </a:cubicBezTo>
                            <a:lnTo>
                              <a:pt x="37562" y="9089"/>
                            </a:lnTo>
                            <a:cubicBezTo>
                              <a:pt x="35324" y="137"/>
                              <a:pt x="28065" y="-649"/>
                              <a:pt x="19295" y="319"/>
                            </a:cubicBezTo>
                            <a:cubicBezTo>
                              <a:pt x="10525" y="1287"/>
                              <a:pt x="2117" y="7759"/>
                              <a:pt x="0" y="16227"/>
                            </a:cubicBezTo>
                            <a:lnTo>
                              <a:pt x="18267" y="55603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20" name="Freihandform: Form 419">
                        <a:extLst>
                          <a:ext uri="{FF2B5EF4-FFF2-40B4-BE49-F238E27FC236}">
                            <a16:creationId xmlns:a16="http://schemas.microsoft.com/office/drawing/2014/main" id="{881CA624-3D6E-3DD5-C79E-E6878E2C50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68150" y="3716396"/>
                        <a:ext cx="43649" cy="80478"/>
                      </a:xfrm>
                      <a:custGeom>
                        <a:avLst/>
                        <a:gdLst>
                          <a:gd name="connsiteX0" fmla="*/ 16815 w 43649"/>
                          <a:gd name="connsiteY0" fmla="*/ 55800 h 80478"/>
                          <a:gd name="connsiteX1" fmla="*/ 28307 w 43649"/>
                          <a:gd name="connsiteY1" fmla="*/ 80479 h 80478"/>
                          <a:gd name="connsiteX2" fmla="*/ 42340 w 43649"/>
                          <a:gd name="connsiteY2" fmla="*/ 40981 h 80478"/>
                          <a:gd name="connsiteX3" fmla="*/ 30606 w 43649"/>
                          <a:gd name="connsiteY3" fmla="*/ 4871 h 80478"/>
                          <a:gd name="connsiteX4" fmla="*/ 10162 w 43649"/>
                          <a:gd name="connsiteY4" fmla="*/ 1605 h 80478"/>
                          <a:gd name="connsiteX5" fmla="*/ 0 w 43649"/>
                          <a:gd name="connsiteY5" fmla="*/ 18722 h 80478"/>
                          <a:gd name="connsiteX6" fmla="*/ 16876 w 43649"/>
                          <a:gd name="connsiteY6" fmla="*/ 55861 h 8047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3649" h="80478">
                            <a:moveTo>
                              <a:pt x="16815" y="55800"/>
                            </a:moveTo>
                            <a:lnTo>
                              <a:pt x="28307" y="80479"/>
                            </a:lnTo>
                            <a:cubicBezTo>
                              <a:pt x="44578" y="73946"/>
                              <a:pt x="45183" y="54046"/>
                              <a:pt x="42340" y="40981"/>
                            </a:cubicBezTo>
                            <a:cubicBezTo>
                              <a:pt x="39497" y="27916"/>
                              <a:pt x="30606" y="4871"/>
                              <a:pt x="30606" y="4871"/>
                            </a:cubicBezTo>
                            <a:cubicBezTo>
                              <a:pt x="24134" y="-694"/>
                              <a:pt x="16634" y="-1057"/>
                              <a:pt x="10162" y="1605"/>
                            </a:cubicBezTo>
                            <a:cubicBezTo>
                              <a:pt x="3690" y="4206"/>
                              <a:pt x="786" y="10194"/>
                              <a:pt x="0" y="18722"/>
                            </a:cubicBezTo>
                            <a:lnTo>
                              <a:pt x="16876" y="55861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21" name="Grafik 297">
                      <a:extLst>
                        <a:ext uri="{FF2B5EF4-FFF2-40B4-BE49-F238E27FC236}">
                          <a16:creationId xmlns:a16="http://schemas.microsoft.com/office/drawing/2014/main" id="{E8FAD5B3-0B89-ED00-88F5-67869CFF5A3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278" y="3599477"/>
                      <a:ext cx="56322" cy="153424"/>
                      <a:chOff x="134278" y="3599477"/>
                      <a:chExt cx="56322" cy="153424"/>
                    </a:xfrm>
                    <a:solidFill>
                      <a:srgbClr val="02787D"/>
                    </a:solidFill>
                  </p:grpSpPr>
                  <p:sp>
                    <p:nvSpPr>
                      <p:cNvPr id="422" name="Freihandform: Form 421">
                        <a:extLst>
                          <a:ext uri="{FF2B5EF4-FFF2-40B4-BE49-F238E27FC236}">
                            <a16:creationId xmlns:a16="http://schemas.microsoft.com/office/drawing/2014/main" id="{4E881F46-C9F0-F5E9-CF2C-A6C31BAB5AC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278" y="3599477"/>
                        <a:ext cx="44676" cy="72318"/>
                      </a:xfrm>
                      <a:custGeom>
                        <a:avLst/>
                        <a:gdLst>
                          <a:gd name="connsiteX0" fmla="*/ 0 w 44676"/>
                          <a:gd name="connsiteY0" fmla="*/ 63301 h 72318"/>
                          <a:gd name="connsiteX1" fmla="*/ 19537 w 44676"/>
                          <a:gd name="connsiteY1" fmla="*/ 72071 h 72318"/>
                          <a:gd name="connsiteX2" fmla="*/ 34719 w 44676"/>
                          <a:gd name="connsiteY2" fmla="*/ 55256 h 72318"/>
                          <a:gd name="connsiteX3" fmla="*/ 44397 w 44676"/>
                          <a:gd name="connsiteY3" fmla="*/ 19085 h 72318"/>
                          <a:gd name="connsiteX4" fmla="*/ 33570 w 44676"/>
                          <a:gd name="connsiteY4" fmla="*/ 819 h 72318"/>
                          <a:gd name="connsiteX5" fmla="*/ 7984 w 44676"/>
                          <a:gd name="connsiteY5" fmla="*/ 13884 h 72318"/>
                          <a:gd name="connsiteX6" fmla="*/ 60 w 44676"/>
                          <a:gd name="connsiteY6" fmla="*/ 63301 h 723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4676" h="72318">
                            <a:moveTo>
                              <a:pt x="0" y="63301"/>
                            </a:moveTo>
                            <a:cubicBezTo>
                              <a:pt x="0" y="63301"/>
                              <a:pt x="5867" y="74067"/>
                              <a:pt x="19537" y="72071"/>
                            </a:cubicBezTo>
                            <a:cubicBezTo>
                              <a:pt x="32904" y="70075"/>
                              <a:pt x="34719" y="55256"/>
                              <a:pt x="34719" y="55256"/>
                            </a:cubicBezTo>
                            <a:lnTo>
                              <a:pt x="44397" y="19085"/>
                            </a:lnTo>
                            <a:cubicBezTo>
                              <a:pt x="45667" y="7835"/>
                              <a:pt x="42703" y="2815"/>
                              <a:pt x="33570" y="819"/>
                            </a:cubicBezTo>
                            <a:cubicBezTo>
                              <a:pt x="24557" y="-1601"/>
                              <a:pt x="11129" y="940"/>
                              <a:pt x="7984" y="13884"/>
                            </a:cubicBezTo>
                            <a:lnTo>
                              <a:pt x="60" y="63301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23" name="Freihandform: Form 422">
                        <a:extLst>
                          <a:ext uri="{FF2B5EF4-FFF2-40B4-BE49-F238E27FC236}">
                            <a16:creationId xmlns:a16="http://schemas.microsoft.com/office/drawing/2014/main" id="{4C41643D-B859-8C82-353C-9320CB6432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339" y="3644143"/>
                        <a:ext cx="45538" cy="61600"/>
                      </a:xfrm>
                      <a:custGeom>
                        <a:avLst/>
                        <a:gdLst>
                          <a:gd name="connsiteX0" fmla="*/ 17239 w 45538"/>
                          <a:gd name="connsiteY0" fmla="*/ 55349 h 61600"/>
                          <a:gd name="connsiteX1" fmla="*/ 35808 w 45538"/>
                          <a:gd name="connsiteY1" fmla="*/ 60430 h 61600"/>
                          <a:gd name="connsiteX2" fmla="*/ 43913 w 45538"/>
                          <a:gd name="connsiteY2" fmla="*/ 39562 h 61600"/>
                          <a:gd name="connsiteX3" fmla="*/ 34719 w 45538"/>
                          <a:gd name="connsiteY3" fmla="*/ 10590 h 61600"/>
                          <a:gd name="connsiteX4" fmla="*/ 13972 w 45538"/>
                          <a:gd name="connsiteY4" fmla="*/ 1033 h 61600"/>
                          <a:gd name="connsiteX5" fmla="*/ 0 w 45538"/>
                          <a:gd name="connsiteY5" fmla="*/ 18634 h 61600"/>
                          <a:gd name="connsiteX6" fmla="*/ 17239 w 45538"/>
                          <a:gd name="connsiteY6" fmla="*/ 55349 h 616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5538" h="61600">
                            <a:moveTo>
                              <a:pt x="17239" y="55349"/>
                            </a:moveTo>
                            <a:cubicBezTo>
                              <a:pt x="17239" y="55349"/>
                              <a:pt x="20686" y="64846"/>
                              <a:pt x="35808" y="60430"/>
                            </a:cubicBezTo>
                            <a:cubicBezTo>
                              <a:pt x="50929" y="55894"/>
                              <a:pt x="43913" y="39562"/>
                              <a:pt x="43913" y="39562"/>
                            </a:cubicBezTo>
                            <a:lnTo>
                              <a:pt x="34719" y="10590"/>
                            </a:lnTo>
                            <a:cubicBezTo>
                              <a:pt x="31029" y="3513"/>
                              <a:pt x="24920" y="-2475"/>
                              <a:pt x="13972" y="1033"/>
                            </a:cubicBezTo>
                            <a:cubicBezTo>
                              <a:pt x="3932" y="4843"/>
                              <a:pt x="1936" y="10711"/>
                              <a:pt x="0" y="18634"/>
                            </a:cubicBezTo>
                            <a:lnTo>
                              <a:pt x="17239" y="55349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24" name="Freihandform: Form 423">
                        <a:extLst>
                          <a:ext uri="{FF2B5EF4-FFF2-40B4-BE49-F238E27FC236}">
                            <a16:creationId xmlns:a16="http://schemas.microsoft.com/office/drawing/2014/main" id="{54F5F9D4-DAF9-8652-7832-285BF4EF8CC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581" y="3678059"/>
                        <a:ext cx="41019" cy="74842"/>
                      </a:xfrm>
                      <a:custGeom>
                        <a:avLst/>
                        <a:gdLst>
                          <a:gd name="connsiteX0" fmla="*/ 15968 w 41019"/>
                          <a:gd name="connsiteY0" fmla="*/ 51858 h 74842"/>
                          <a:gd name="connsiteX1" fmla="*/ 26795 w 41019"/>
                          <a:gd name="connsiteY1" fmla="*/ 74842 h 74842"/>
                          <a:gd name="connsiteX2" fmla="*/ 39739 w 41019"/>
                          <a:gd name="connsiteY2" fmla="*/ 37825 h 74842"/>
                          <a:gd name="connsiteX3" fmla="*/ 28610 w 41019"/>
                          <a:gd name="connsiteY3" fmla="*/ 5586 h 74842"/>
                          <a:gd name="connsiteX4" fmla="*/ 9436 w 41019"/>
                          <a:gd name="connsiteY4" fmla="*/ 1110 h 74842"/>
                          <a:gd name="connsiteX5" fmla="*/ 0 w 41019"/>
                          <a:gd name="connsiteY5" fmla="*/ 17139 h 74842"/>
                          <a:gd name="connsiteX6" fmla="*/ 15968 w 41019"/>
                          <a:gd name="connsiteY6" fmla="*/ 51797 h 7484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1019" h="74842">
                            <a:moveTo>
                              <a:pt x="15968" y="51858"/>
                            </a:moveTo>
                            <a:lnTo>
                              <a:pt x="26795" y="74842"/>
                            </a:lnTo>
                            <a:cubicBezTo>
                              <a:pt x="41977" y="68673"/>
                              <a:pt x="42461" y="50043"/>
                              <a:pt x="39739" y="37825"/>
                            </a:cubicBezTo>
                            <a:cubicBezTo>
                              <a:pt x="37017" y="25607"/>
                              <a:pt x="28610" y="5586"/>
                              <a:pt x="28610" y="5586"/>
                            </a:cubicBezTo>
                            <a:cubicBezTo>
                              <a:pt x="22561" y="384"/>
                              <a:pt x="15484" y="-1370"/>
                              <a:pt x="9436" y="1110"/>
                            </a:cubicBezTo>
                            <a:cubicBezTo>
                              <a:pt x="3387" y="3530"/>
                              <a:pt x="726" y="9155"/>
                              <a:pt x="0" y="17139"/>
                            </a:cubicBezTo>
                            <a:lnTo>
                              <a:pt x="15968" y="5179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425" name="Freihandform: Form 424">
                      <a:extLst>
                        <a:ext uri="{FF2B5EF4-FFF2-40B4-BE49-F238E27FC236}">
                          <a16:creationId xmlns:a16="http://schemas.microsoft.com/office/drawing/2014/main" id="{D357EBCB-CC64-D119-FEFE-7D5C4F34F9C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537" y="3462369"/>
                      <a:ext cx="174817" cy="206099"/>
                    </a:xfrm>
                    <a:custGeom>
                      <a:avLst/>
                      <a:gdLst>
                        <a:gd name="connsiteX0" fmla="*/ 52804 w 174817"/>
                        <a:gd name="connsiteY0" fmla="*/ 17257 h 206099"/>
                        <a:gd name="connsiteX1" fmla="*/ 23831 w 174817"/>
                        <a:gd name="connsiteY1" fmla="*/ 59174 h 206099"/>
                        <a:gd name="connsiteX2" fmla="*/ 0 w 174817"/>
                        <a:gd name="connsiteY2" fmla="*/ 154742 h 206099"/>
                        <a:gd name="connsiteX3" fmla="*/ 121879 w 174817"/>
                        <a:gd name="connsiteY3" fmla="*/ 206034 h 206099"/>
                        <a:gd name="connsiteX4" fmla="*/ 137787 w 174817"/>
                        <a:gd name="connsiteY4" fmla="*/ 181174 h 206099"/>
                        <a:gd name="connsiteX5" fmla="*/ 174623 w 174817"/>
                        <a:gd name="connsiteY5" fmla="*/ 68670 h 206099"/>
                        <a:gd name="connsiteX6" fmla="*/ 168332 w 174817"/>
                        <a:gd name="connsiteY6" fmla="*/ 27721 h 206099"/>
                        <a:gd name="connsiteX7" fmla="*/ 52804 w 174817"/>
                        <a:gd name="connsiteY7" fmla="*/ 17257 h 2060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74817" h="206099">
                          <a:moveTo>
                            <a:pt x="52804" y="17257"/>
                          </a:moveTo>
                          <a:cubicBezTo>
                            <a:pt x="38892" y="30201"/>
                            <a:pt x="35021" y="36068"/>
                            <a:pt x="23831" y="59174"/>
                          </a:cubicBezTo>
                          <a:cubicBezTo>
                            <a:pt x="3327" y="112462"/>
                            <a:pt x="302" y="153472"/>
                            <a:pt x="0" y="154742"/>
                          </a:cubicBezTo>
                          <a:cubicBezTo>
                            <a:pt x="1210" y="158129"/>
                            <a:pt x="24920" y="208151"/>
                            <a:pt x="121879" y="206034"/>
                          </a:cubicBezTo>
                          <a:cubicBezTo>
                            <a:pt x="127988" y="172585"/>
                            <a:pt x="137666" y="181235"/>
                            <a:pt x="137787" y="181174"/>
                          </a:cubicBezTo>
                          <a:cubicBezTo>
                            <a:pt x="137787" y="181174"/>
                            <a:pt x="167667" y="127886"/>
                            <a:pt x="174623" y="68670"/>
                          </a:cubicBezTo>
                          <a:cubicBezTo>
                            <a:pt x="176135" y="55847"/>
                            <a:pt x="168332" y="27721"/>
                            <a:pt x="168332" y="27721"/>
                          </a:cubicBezTo>
                          <a:cubicBezTo>
                            <a:pt x="164038" y="-5667"/>
                            <a:pt x="76152" y="-8570"/>
                            <a:pt x="52804" y="17257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26" name="Freihandform: Form 425">
                      <a:extLst>
                        <a:ext uri="{FF2B5EF4-FFF2-40B4-BE49-F238E27FC236}">
                          <a16:creationId xmlns:a16="http://schemas.microsoft.com/office/drawing/2014/main" id="{C44C81AD-A4BA-B470-4011-A7FB3670E7F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3920" y="3485840"/>
                      <a:ext cx="87053" cy="155308"/>
                    </a:xfrm>
                    <a:custGeom>
                      <a:avLst/>
                      <a:gdLst>
                        <a:gd name="connsiteX0" fmla="*/ 55950 w 87053"/>
                        <a:gd name="connsiteY0" fmla="*/ 4250 h 155308"/>
                        <a:gd name="connsiteX1" fmla="*/ 85043 w 87053"/>
                        <a:gd name="connsiteY1" fmla="*/ 131331 h 155308"/>
                        <a:gd name="connsiteX2" fmla="*/ 21835 w 87053"/>
                        <a:gd name="connsiteY2" fmla="*/ 146150 h 155308"/>
                        <a:gd name="connsiteX3" fmla="*/ 0 w 87053"/>
                        <a:gd name="connsiteY3" fmla="*/ 76107 h 155308"/>
                        <a:gd name="connsiteX4" fmla="*/ 55950 w 87053"/>
                        <a:gd name="connsiteY4" fmla="*/ 4190 h 15530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7053" h="155308">
                          <a:moveTo>
                            <a:pt x="55950" y="4250"/>
                          </a:moveTo>
                          <a:cubicBezTo>
                            <a:pt x="77120" y="30682"/>
                            <a:pt x="92785" y="95644"/>
                            <a:pt x="85043" y="131331"/>
                          </a:cubicBezTo>
                          <a:cubicBezTo>
                            <a:pt x="80507" y="158368"/>
                            <a:pt x="26916" y="161392"/>
                            <a:pt x="21835" y="146150"/>
                          </a:cubicBezTo>
                          <a:cubicBezTo>
                            <a:pt x="21835" y="146150"/>
                            <a:pt x="0" y="101028"/>
                            <a:pt x="0" y="76107"/>
                          </a:cubicBezTo>
                          <a:cubicBezTo>
                            <a:pt x="0" y="30924"/>
                            <a:pt x="41312" y="-14138"/>
                            <a:pt x="55950" y="4190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27" name="Freihandform: Form 426">
                      <a:extLst>
                        <a:ext uri="{FF2B5EF4-FFF2-40B4-BE49-F238E27FC236}">
                          <a16:creationId xmlns:a16="http://schemas.microsoft.com/office/drawing/2014/main" id="{3F73E6A5-8A52-DEE0-F606-2468C1C373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67523" y="3590194"/>
                      <a:ext cx="71027" cy="149944"/>
                    </a:xfrm>
                    <a:custGeom>
                      <a:avLst/>
                      <a:gdLst>
                        <a:gd name="connsiteX0" fmla="*/ 70956 w 71027"/>
                        <a:gd name="connsiteY0" fmla="*/ 29336 h 149944"/>
                        <a:gd name="connsiteX1" fmla="*/ 51722 w 71027"/>
                        <a:gd name="connsiteY1" fmla="*/ 90910 h 149944"/>
                        <a:gd name="connsiteX2" fmla="*/ 14704 w 71027"/>
                        <a:gd name="connsiteY2" fmla="*/ 149945 h 149944"/>
                        <a:gd name="connsiteX3" fmla="*/ 6 w 71027"/>
                        <a:gd name="connsiteY3" fmla="*/ 123996 h 149944"/>
                        <a:gd name="connsiteX4" fmla="*/ 16035 w 71027"/>
                        <a:gd name="connsiteY4" fmla="*/ 85346 h 149944"/>
                        <a:gd name="connsiteX5" fmla="*/ 8293 w 71027"/>
                        <a:gd name="connsiteY5" fmla="*/ 41796 h 149944"/>
                        <a:gd name="connsiteX6" fmla="*/ 34725 w 71027"/>
                        <a:gd name="connsiteY6" fmla="*/ 423 h 149944"/>
                        <a:gd name="connsiteX7" fmla="*/ 71017 w 71027"/>
                        <a:gd name="connsiteY7" fmla="*/ 29275 h 14994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71027" h="149944">
                          <a:moveTo>
                            <a:pt x="70956" y="29336"/>
                          </a:moveTo>
                          <a:lnTo>
                            <a:pt x="51722" y="90910"/>
                          </a:lnTo>
                          <a:lnTo>
                            <a:pt x="14704" y="149945"/>
                          </a:lnTo>
                          <a:cubicBezTo>
                            <a:pt x="14704" y="149945"/>
                            <a:pt x="974" y="147646"/>
                            <a:pt x="6" y="123996"/>
                          </a:cubicBezTo>
                          <a:cubicBezTo>
                            <a:pt x="-296" y="117040"/>
                            <a:pt x="10349" y="98108"/>
                            <a:pt x="16035" y="85346"/>
                          </a:cubicBezTo>
                          <a:cubicBezTo>
                            <a:pt x="16398" y="62664"/>
                            <a:pt x="8293" y="41796"/>
                            <a:pt x="8293" y="41796"/>
                          </a:cubicBezTo>
                          <a:cubicBezTo>
                            <a:pt x="8293" y="41796"/>
                            <a:pt x="10652" y="4416"/>
                            <a:pt x="34725" y="423"/>
                          </a:cubicBezTo>
                          <a:cubicBezTo>
                            <a:pt x="55895" y="-3085"/>
                            <a:pt x="71501" y="15968"/>
                            <a:pt x="71017" y="2927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28" name="Freihandform: Form 427">
                      <a:extLst>
                        <a:ext uri="{FF2B5EF4-FFF2-40B4-BE49-F238E27FC236}">
                          <a16:creationId xmlns:a16="http://schemas.microsoft.com/office/drawing/2014/main" id="{E2895B75-2F18-59DC-BD69-5D8C32CA58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78856" y="3541362"/>
                      <a:ext cx="93208" cy="118390"/>
                    </a:xfrm>
                    <a:custGeom>
                      <a:avLst/>
                      <a:gdLst>
                        <a:gd name="connsiteX0" fmla="*/ 66837 w 93208"/>
                        <a:gd name="connsiteY0" fmla="*/ 23609 h 118390"/>
                        <a:gd name="connsiteX1" fmla="*/ 37078 w 93208"/>
                        <a:gd name="connsiteY1" fmla="*/ 17198 h 118390"/>
                        <a:gd name="connsiteX2" fmla="*/ 0 w 93208"/>
                        <a:gd name="connsiteY2" fmla="*/ 74478 h 118390"/>
                        <a:gd name="connsiteX3" fmla="*/ 86374 w 93208"/>
                        <a:gd name="connsiteY3" fmla="*/ 118391 h 118390"/>
                        <a:gd name="connsiteX4" fmla="*/ 93209 w 93208"/>
                        <a:gd name="connsiteY4" fmla="*/ 103390 h 118390"/>
                        <a:gd name="connsiteX5" fmla="*/ 66837 w 93208"/>
                        <a:gd name="connsiteY5" fmla="*/ 23609 h 11839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93208" h="118390">
                          <a:moveTo>
                            <a:pt x="66837" y="23609"/>
                          </a:moveTo>
                          <a:cubicBezTo>
                            <a:pt x="69861" y="-2400"/>
                            <a:pt x="47844" y="-10263"/>
                            <a:pt x="37078" y="17198"/>
                          </a:cubicBezTo>
                          <a:cubicBezTo>
                            <a:pt x="29941" y="35344"/>
                            <a:pt x="32904" y="48711"/>
                            <a:pt x="0" y="74478"/>
                          </a:cubicBezTo>
                          <a:cubicBezTo>
                            <a:pt x="35445" y="68792"/>
                            <a:pt x="57401" y="83490"/>
                            <a:pt x="86374" y="118391"/>
                          </a:cubicBezTo>
                          <a:cubicBezTo>
                            <a:pt x="90547" y="107080"/>
                            <a:pt x="93148" y="103390"/>
                            <a:pt x="93209" y="103390"/>
                          </a:cubicBezTo>
                          <a:cubicBezTo>
                            <a:pt x="79600" y="95345"/>
                            <a:pt x="62059" y="64619"/>
                            <a:pt x="66837" y="23609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grpSp>
              <p:nvGrpSpPr>
                <p:cNvPr id="429" name="Grafik 297">
                  <a:extLst>
                    <a:ext uri="{FF2B5EF4-FFF2-40B4-BE49-F238E27FC236}">
                      <a16:creationId xmlns:a16="http://schemas.microsoft.com/office/drawing/2014/main" id="{34675A6E-D9C7-D8AC-0EE5-27AE7AE89CFD}"/>
                    </a:ext>
                  </a:extLst>
                </p:cNvPr>
                <p:cNvGrpSpPr/>
                <p:nvPr/>
              </p:nvGrpSpPr>
              <p:grpSpPr>
                <a:xfrm>
                  <a:off x="194280" y="2857225"/>
                  <a:ext cx="247629" cy="636603"/>
                  <a:chOff x="194280" y="2857225"/>
                  <a:chExt cx="247629" cy="636603"/>
                </a:xfrm>
              </p:grpSpPr>
              <p:sp>
                <p:nvSpPr>
                  <p:cNvPr id="430" name="Freihandform: Form 429">
                    <a:extLst>
                      <a:ext uri="{FF2B5EF4-FFF2-40B4-BE49-F238E27FC236}">
                        <a16:creationId xmlns:a16="http://schemas.microsoft.com/office/drawing/2014/main" id="{0FC2DA7E-7E70-61B5-37C6-DC536A77B913}"/>
                      </a:ext>
                    </a:extLst>
                  </p:cNvPr>
                  <p:cNvSpPr/>
                  <p:nvPr/>
                </p:nvSpPr>
                <p:spPr>
                  <a:xfrm>
                    <a:off x="194280" y="2955333"/>
                    <a:ext cx="244484" cy="537175"/>
                  </a:xfrm>
                  <a:custGeom>
                    <a:avLst/>
                    <a:gdLst>
                      <a:gd name="connsiteX0" fmla="*/ 0 w 244484"/>
                      <a:gd name="connsiteY0" fmla="*/ 526712 h 537175"/>
                      <a:gd name="connsiteX1" fmla="*/ 115589 w 244484"/>
                      <a:gd name="connsiteY1" fmla="*/ 537176 h 537175"/>
                      <a:gd name="connsiteX2" fmla="*/ 244484 w 244484"/>
                      <a:gd name="connsiteY2" fmla="*/ 34356 h 537175"/>
                      <a:gd name="connsiteX3" fmla="*/ 34114 w 244484"/>
                      <a:gd name="connsiteY3" fmla="*/ 0 h 537175"/>
                      <a:gd name="connsiteX4" fmla="*/ 0 w 244484"/>
                      <a:gd name="connsiteY4" fmla="*/ 526712 h 537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4484" h="537175">
                        <a:moveTo>
                          <a:pt x="0" y="526712"/>
                        </a:moveTo>
                        <a:lnTo>
                          <a:pt x="115589" y="537176"/>
                        </a:lnTo>
                        <a:lnTo>
                          <a:pt x="244484" y="34356"/>
                        </a:lnTo>
                        <a:lnTo>
                          <a:pt x="34114" y="0"/>
                        </a:lnTo>
                        <a:lnTo>
                          <a:pt x="0" y="526712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1" name="Freihandform: Form 430">
                    <a:extLst>
                      <a:ext uri="{FF2B5EF4-FFF2-40B4-BE49-F238E27FC236}">
                        <a16:creationId xmlns:a16="http://schemas.microsoft.com/office/drawing/2014/main" id="{7946848D-7B34-E8D7-BDF3-A920E41851C5}"/>
                      </a:ext>
                    </a:extLst>
                  </p:cNvPr>
                  <p:cNvSpPr/>
                  <p:nvPr/>
                </p:nvSpPr>
                <p:spPr>
                  <a:xfrm>
                    <a:off x="228032" y="2857225"/>
                    <a:ext cx="213878" cy="213878"/>
                  </a:xfrm>
                  <a:custGeom>
                    <a:avLst/>
                    <a:gdLst>
                      <a:gd name="connsiteX0" fmla="*/ 213878 w 213878"/>
                      <a:gd name="connsiteY0" fmla="*/ 106939 h 213878"/>
                      <a:gd name="connsiteX1" fmla="*/ 106939 w 213878"/>
                      <a:gd name="connsiteY1" fmla="*/ 213878 h 213878"/>
                      <a:gd name="connsiteX2" fmla="*/ 0 w 213878"/>
                      <a:gd name="connsiteY2" fmla="*/ 106939 h 213878"/>
                      <a:gd name="connsiteX3" fmla="*/ 106939 w 213878"/>
                      <a:gd name="connsiteY3" fmla="*/ 0 h 213878"/>
                      <a:gd name="connsiteX4" fmla="*/ 213878 w 213878"/>
                      <a:gd name="connsiteY4" fmla="*/ 106939 h 21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3878" h="213878">
                        <a:moveTo>
                          <a:pt x="213878" y="106939"/>
                        </a:moveTo>
                        <a:cubicBezTo>
                          <a:pt x="213878" y="166000"/>
                          <a:pt x="166000" y="213878"/>
                          <a:pt x="106939" y="213878"/>
                        </a:cubicBezTo>
                        <a:cubicBezTo>
                          <a:pt x="47878" y="213878"/>
                          <a:pt x="0" y="166000"/>
                          <a:pt x="0" y="106939"/>
                        </a:cubicBezTo>
                        <a:cubicBezTo>
                          <a:pt x="0" y="47878"/>
                          <a:pt x="47878" y="0"/>
                          <a:pt x="106939" y="0"/>
                        </a:cubicBezTo>
                        <a:cubicBezTo>
                          <a:pt x="166000" y="0"/>
                          <a:pt x="213878" y="47878"/>
                          <a:pt x="213878" y="106939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2" name="Freihandform: Form 431">
                    <a:extLst>
                      <a:ext uri="{FF2B5EF4-FFF2-40B4-BE49-F238E27FC236}">
                        <a16:creationId xmlns:a16="http://schemas.microsoft.com/office/drawing/2014/main" id="{34014B00-1BCC-908E-A72C-11134A04F520}"/>
                      </a:ext>
                    </a:extLst>
                  </p:cNvPr>
                  <p:cNvSpPr/>
                  <p:nvPr/>
                </p:nvSpPr>
                <p:spPr>
                  <a:xfrm>
                    <a:off x="194280" y="3406377"/>
                    <a:ext cx="134944" cy="87451"/>
                  </a:xfrm>
                  <a:custGeom>
                    <a:avLst/>
                    <a:gdLst>
                      <a:gd name="connsiteX0" fmla="*/ 4899 w 134944"/>
                      <a:gd name="connsiteY0" fmla="*/ 0 h 87451"/>
                      <a:gd name="connsiteX1" fmla="*/ 0 w 134944"/>
                      <a:gd name="connsiteY1" fmla="*/ 75607 h 87451"/>
                      <a:gd name="connsiteX2" fmla="*/ 115528 w 134944"/>
                      <a:gd name="connsiteY2" fmla="*/ 86071 h 87451"/>
                      <a:gd name="connsiteX3" fmla="*/ 134944 w 134944"/>
                      <a:gd name="connsiteY3" fmla="*/ 10283 h 87451"/>
                      <a:gd name="connsiteX4" fmla="*/ 4839 w 134944"/>
                      <a:gd name="connsiteY4" fmla="*/ 0 h 874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4944" h="87451">
                        <a:moveTo>
                          <a:pt x="4899" y="0"/>
                        </a:moveTo>
                        <a:lnTo>
                          <a:pt x="0" y="75607"/>
                        </a:lnTo>
                        <a:cubicBezTo>
                          <a:pt x="36655" y="86676"/>
                          <a:pt x="75305" y="89519"/>
                          <a:pt x="115528" y="86071"/>
                        </a:cubicBezTo>
                        <a:lnTo>
                          <a:pt x="134944" y="10283"/>
                        </a:lnTo>
                        <a:lnTo>
                          <a:pt x="4839" y="0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33" name="Grafik 297">
                  <a:extLst>
                    <a:ext uri="{FF2B5EF4-FFF2-40B4-BE49-F238E27FC236}">
                      <a16:creationId xmlns:a16="http://schemas.microsoft.com/office/drawing/2014/main" id="{9C0B225F-D16E-1184-465F-D45B0308871A}"/>
                    </a:ext>
                  </a:extLst>
                </p:cNvPr>
                <p:cNvGrpSpPr/>
                <p:nvPr/>
              </p:nvGrpSpPr>
              <p:grpSpPr>
                <a:xfrm>
                  <a:off x="228455" y="2290411"/>
                  <a:ext cx="494351" cy="698612"/>
                  <a:chOff x="228455" y="2290411"/>
                  <a:chExt cx="494351" cy="698612"/>
                </a:xfrm>
              </p:grpSpPr>
              <p:sp>
                <p:nvSpPr>
                  <p:cNvPr id="434" name="Freihandform: Form 433">
                    <a:extLst>
                      <a:ext uri="{FF2B5EF4-FFF2-40B4-BE49-F238E27FC236}">
                        <a16:creationId xmlns:a16="http://schemas.microsoft.com/office/drawing/2014/main" id="{6AC75045-2628-3103-5DAA-2D44DAA1D762}"/>
                      </a:ext>
                    </a:extLst>
                  </p:cNvPr>
                  <p:cNvSpPr/>
                  <p:nvPr/>
                </p:nvSpPr>
                <p:spPr>
                  <a:xfrm>
                    <a:off x="237467" y="2772000"/>
                    <a:ext cx="265472" cy="217023"/>
                  </a:xfrm>
                  <a:custGeom>
                    <a:avLst/>
                    <a:gdLst>
                      <a:gd name="connsiteX0" fmla="*/ 0 w 265472"/>
                      <a:gd name="connsiteY0" fmla="*/ 148191 h 217023"/>
                      <a:gd name="connsiteX1" fmla="*/ 201297 w 265472"/>
                      <a:gd name="connsiteY1" fmla="*/ 217024 h 217023"/>
                      <a:gd name="connsiteX2" fmla="*/ 265473 w 265472"/>
                      <a:gd name="connsiteY2" fmla="*/ 95084 h 217023"/>
                      <a:gd name="connsiteX3" fmla="*/ 65567 w 265472"/>
                      <a:gd name="connsiteY3" fmla="*/ 0 h 217023"/>
                      <a:gd name="connsiteX4" fmla="*/ 0 w 265472"/>
                      <a:gd name="connsiteY4" fmla="*/ 148191 h 2170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5472" h="217023">
                        <a:moveTo>
                          <a:pt x="0" y="148191"/>
                        </a:moveTo>
                        <a:lnTo>
                          <a:pt x="201297" y="217024"/>
                        </a:lnTo>
                        <a:lnTo>
                          <a:pt x="265473" y="95084"/>
                        </a:lnTo>
                        <a:lnTo>
                          <a:pt x="65567" y="0"/>
                        </a:lnTo>
                        <a:lnTo>
                          <a:pt x="0" y="148191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5" name="Freihandform: Form 434">
                    <a:extLst>
                      <a:ext uri="{FF2B5EF4-FFF2-40B4-BE49-F238E27FC236}">
                        <a16:creationId xmlns:a16="http://schemas.microsoft.com/office/drawing/2014/main" id="{E484419E-9962-F876-2832-8C1D11CCE5F0}"/>
                      </a:ext>
                    </a:extLst>
                  </p:cNvPr>
                  <p:cNvSpPr/>
                  <p:nvPr/>
                </p:nvSpPr>
                <p:spPr>
                  <a:xfrm>
                    <a:off x="228455" y="2356643"/>
                    <a:ext cx="479532" cy="616231"/>
                  </a:xfrm>
                  <a:custGeom>
                    <a:avLst/>
                    <a:gdLst>
                      <a:gd name="connsiteX0" fmla="*/ 213576 w 479532"/>
                      <a:gd name="connsiteY0" fmla="*/ 60 h 616231"/>
                      <a:gd name="connsiteX1" fmla="*/ 0 w 479532"/>
                      <a:gd name="connsiteY1" fmla="*/ 525321 h 616231"/>
                      <a:gd name="connsiteX2" fmla="*/ 252347 w 479532"/>
                      <a:gd name="connsiteY2" fmla="*/ 616231 h 616231"/>
                      <a:gd name="connsiteX3" fmla="*/ 479533 w 479532"/>
                      <a:gd name="connsiteY3" fmla="*/ 153574 h 616231"/>
                      <a:gd name="connsiteX4" fmla="*/ 213515 w 479532"/>
                      <a:gd name="connsiteY4" fmla="*/ 0 h 6162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79532" h="616231">
                        <a:moveTo>
                          <a:pt x="213576" y="60"/>
                        </a:moveTo>
                        <a:cubicBezTo>
                          <a:pt x="130650" y="109963"/>
                          <a:pt x="0" y="525321"/>
                          <a:pt x="0" y="525321"/>
                        </a:cubicBezTo>
                        <a:lnTo>
                          <a:pt x="252347" y="616231"/>
                        </a:lnTo>
                        <a:lnTo>
                          <a:pt x="479533" y="153574"/>
                        </a:lnTo>
                        <a:cubicBezTo>
                          <a:pt x="397272" y="103854"/>
                          <a:pt x="353359" y="77785"/>
                          <a:pt x="213515" y="0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6" name="Freihandform: Form 435">
                    <a:extLst>
                      <a:ext uri="{FF2B5EF4-FFF2-40B4-BE49-F238E27FC236}">
                        <a16:creationId xmlns:a16="http://schemas.microsoft.com/office/drawing/2014/main" id="{15F28F44-AB44-F59F-E144-8414F2D692F5}"/>
                      </a:ext>
                    </a:extLst>
                  </p:cNvPr>
                  <p:cNvSpPr/>
                  <p:nvPr/>
                </p:nvSpPr>
                <p:spPr>
                  <a:xfrm>
                    <a:off x="414570" y="2290411"/>
                    <a:ext cx="308236" cy="308236"/>
                  </a:xfrm>
                  <a:custGeom>
                    <a:avLst/>
                    <a:gdLst>
                      <a:gd name="connsiteX0" fmla="*/ 308236 w 308236"/>
                      <a:gd name="connsiteY0" fmla="*/ 154118 h 308236"/>
                      <a:gd name="connsiteX1" fmla="*/ 154118 w 308236"/>
                      <a:gd name="connsiteY1" fmla="*/ 308237 h 308236"/>
                      <a:gd name="connsiteX2" fmla="*/ 0 w 308236"/>
                      <a:gd name="connsiteY2" fmla="*/ 154118 h 308236"/>
                      <a:gd name="connsiteX3" fmla="*/ 154118 w 308236"/>
                      <a:gd name="connsiteY3" fmla="*/ 0 h 308236"/>
                      <a:gd name="connsiteX4" fmla="*/ 308236 w 308236"/>
                      <a:gd name="connsiteY4" fmla="*/ 154118 h 3082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8236" h="308236">
                        <a:moveTo>
                          <a:pt x="308236" y="154118"/>
                        </a:moveTo>
                        <a:cubicBezTo>
                          <a:pt x="308236" y="239235"/>
                          <a:pt x="239235" y="308237"/>
                          <a:pt x="154118" y="308237"/>
                        </a:cubicBezTo>
                        <a:cubicBezTo>
                          <a:pt x="69001" y="308237"/>
                          <a:pt x="0" y="239235"/>
                          <a:pt x="0" y="154118"/>
                        </a:cubicBezTo>
                        <a:cubicBezTo>
                          <a:pt x="0" y="69001"/>
                          <a:pt x="69001" y="0"/>
                          <a:pt x="154118" y="0"/>
                        </a:cubicBezTo>
                        <a:cubicBezTo>
                          <a:pt x="239235" y="0"/>
                          <a:pt x="308236" y="69001"/>
                          <a:pt x="308236" y="15411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37" name="Grafik 297">
                  <a:extLst>
                    <a:ext uri="{FF2B5EF4-FFF2-40B4-BE49-F238E27FC236}">
                      <a16:creationId xmlns:a16="http://schemas.microsoft.com/office/drawing/2014/main" id="{350E551F-2075-A471-9F9C-DA200AC653B4}"/>
                    </a:ext>
                  </a:extLst>
                </p:cNvPr>
                <p:cNvGrpSpPr/>
                <p:nvPr/>
              </p:nvGrpSpPr>
              <p:grpSpPr>
                <a:xfrm>
                  <a:off x="1011981" y="4899413"/>
                  <a:ext cx="528917" cy="254497"/>
                  <a:chOff x="1011981" y="4899413"/>
                  <a:chExt cx="528917" cy="254497"/>
                </a:xfrm>
              </p:grpSpPr>
              <p:sp>
                <p:nvSpPr>
                  <p:cNvPr id="438" name="Freihandform: Form 437">
                    <a:extLst>
                      <a:ext uri="{FF2B5EF4-FFF2-40B4-BE49-F238E27FC236}">
                        <a16:creationId xmlns:a16="http://schemas.microsoft.com/office/drawing/2014/main" id="{AC218323-0BCF-3C67-2B26-E0282E13A7E7}"/>
                      </a:ext>
                    </a:extLst>
                  </p:cNvPr>
                  <p:cNvSpPr/>
                  <p:nvPr/>
                </p:nvSpPr>
                <p:spPr>
                  <a:xfrm>
                    <a:off x="1011981" y="4899413"/>
                    <a:ext cx="527136" cy="243225"/>
                  </a:xfrm>
                  <a:custGeom>
                    <a:avLst/>
                    <a:gdLst>
                      <a:gd name="connsiteX0" fmla="*/ 14162 w 527136"/>
                      <a:gd name="connsiteY0" fmla="*/ 88430 h 243225"/>
                      <a:gd name="connsiteX1" fmla="*/ 5876 w 527136"/>
                      <a:gd name="connsiteY1" fmla="*/ 184845 h 243225"/>
                      <a:gd name="connsiteX2" fmla="*/ 25776 w 527136"/>
                      <a:gd name="connsiteY2" fmla="*/ 233778 h 243225"/>
                      <a:gd name="connsiteX3" fmla="*/ 45071 w 527136"/>
                      <a:gd name="connsiteY3" fmla="*/ 242609 h 243225"/>
                      <a:gd name="connsiteX4" fmla="*/ 505550 w 527136"/>
                      <a:gd name="connsiteY4" fmla="*/ 72281 h 243225"/>
                      <a:gd name="connsiteX5" fmla="*/ 490066 w 527136"/>
                      <a:gd name="connsiteY5" fmla="*/ 0 h 243225"/>
                      <a:gd name="connsiteX6" fmla="*/ 307822 w 527136"/>
                      <a:gd name="connsiteY6" fmla="*/ 27824 h 243225"/>
                      <a:gd name="connsiteX7" fmla="*/ 169309 w 527136"/>
                      <a:gd name="connsiteY7" fmla="*/ 18811 h 243225"/>
                      <a:gd name="connsiteX8" fmla="*/ 146506 w 527136"/>
                      <a:gd name="connsiteY8" fmla="*/ 63510 h 243225"/>
                      <a:gd name="connsiteX9" fmla="*/ 14223 w 527136"/>
                      <a:gd name="connsiteY9" fmla="*/ 88491 h 2432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527136" h="243225">
                        <a:moveTo>
                          <a:pt x="14162" y="88430"/>
                        </a:moveTo>
                        <a:cubicBezTo>
                          <a:pt x="14162" y="88430"/>
                          <a:pt x="-11121" y="138876"/>
                          <a:pt x="5876" y="184845"/>
                        </a:cubicBezTo>
                        <a:cubicBezTo>
                          <a:pt x="14646" y="208616"/>
                          <a:pt x="21360" y="224222"/>
                          <a:pt x="25776" y="233778"/>
                        </a:cubicBezTo>
                        <a:cubicBezTo>
                          <a:pt x="29163" y="241037"/>
                          <a:pt x="37329" y="244787"/>
                          <a:pt x="45071" y="242609"/>
                        </a:cubicBezTo>
                        <a:cubicBezTo>
                          <a:pt x="110819" y="223980"/>
                          <a:pt x="446516" y="134702"/>
                          <a:pt x="505550" y="72281"/>
                        </a:cubicBezTo>
                        <a:cubicBezTo>
                          <a:pt x="561923" y="12702"/>
                          <a:pt x="490066" y="0"/>
                          <a:pt x="490066" y="0"/>
                        </a:cubicBezTo>
                        <a:cubicBezTo>
                          <a:pt x="490066" y="0"/>
                          <a:pt x="389599" y="46454"/>
                          <a:pt x="307822" y="27824"/>
                        </a:cubicBezTo>
                        <a:cubicBezTo>
                          <a:pt x="234997" y="11251"/>
                          <a:pt x="178926" y="11614"/>
                          <a:pt x="169309" y="18811"/>
                        </a:cubicBezTo>
                        <a:cubicBezTo>
                          <a:pt x="159692" y="26009"/>
                          <a:pt x="161506" y="44336"/>
                          <a:pt x="146506" y="63510"/>
                        </a:cubicBezTo>
                        <a:cubicBezTo>
                          <a:pt x="131505" y="82685"/>
                          <a:pt x="23840" y="79963"/>
                          <a:pt x="14223" y="88491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9" name="Freihandform: Form 438">
                    <a:extLst>
                      <a:ext uri="{FF2B5EF4-FFF2-40B4-BE49-F238E27FC236}">
                        <a16:creationId xmlns:a16="http://schemas.microsoft.com/office/drawing/2014/main" id="{DAFD54A2-D098-ECCA-3B3B-C138E65B8743}"/>
                      </a:ext>
                    </a:extLst>
                  </p:cNvPr>
                  <p:cNvSpPr/>
                  <p:nvPr/>
                </p:nvSpPr>
                <p:spPr>
                  <a:xfrm>
                    <a:off x="1023059" y="4902195"/>
                    <a:ext cx="517840" cy="251715"/>
                  </a:xfrm>
                  <a:custGeom>
                    <a:avLst/>
                    <a:gdLst>
                      <a:gd name="connsiteX0" fmla="*/ 37380 w 517840"/>
                      <a:gd name="connsiteY0" fmla="*/ 251077 h 251715"/>
                      <a:gd name="connsiteX1" fmla="*/ 432596 w 517840"/>
                      <a:gd name="connsiteY1" fmla="*/ 120004 h 251715"/>
                      <a:gd name="connsiteX2" fmla="*/ 496469 w 517840"/>
                      <a:gd name="connsiteY2" fmla="*/ 74761 h 251715"/>
                      <a:gd name="connsiteX3" fmla="*/ 489694 w 517840"/>
                      <a:gd name="connsiteY3" fmla="*/ 0 h 251715"/>
                      <a:gd name="connsiteX4" fmla="*/ 474149 w 517840"/>
                      <a:gd name="connsiteY4" fmla="*/ 33146 h 251715"/>
                      <a:gd name="connsiteX5" fmla="*/ 0 w 517840"/>
                      <a:gd name="connsiteY5" fmla="*/ 196035 h 251715"/>
                      <a:gd name="connsiteX6" fmla="*/ 17964 w 517840"/>
                      <a:gd name="connsiteY6" fmla="*/ 242186 h 251715"/>
                      <a:gd name="connsiteX7" fmla="*/ 37320 w 517840"/>
                      <a:gd name="connsiteY7" fmla="*/ 251077 h 2517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17840" h="251715">
                        <a:moveTo>
                          <a:pt x="37380" y="251077"/>
                        </a:moveTo>
                        <a:cubicBezTo>
                          <a:pt x="38832" y="250654"/>
                          <a:pt x="431386" y="120609"/>
                          <a:pt x="432596" y="120004"/>
                        </a:cubicBezTo>
                        <a:cubicBezTo>
                          <a:pt x="466407" y="105004"/>
                          <a:pt x="484734" y="87221"/>
                          <a:pt x="496469" y="74761"/>
                        </a:cubicBezTo>
                        <a:cubicBezTo>
                          <a:pt x="538688" y="30122"/>
                          <a:pt x="508506" y="4234"/>
                          <a:pt x="489694" y="0"/>
                        </a:cubicBezTo>
                        <a:cubicBezTo>
                          <a:pt x="486428" y="7319"/>
                          <a:pt x="483283" y="23469"/>
                          <a:pt x="474149" y="33146"/>
                        </a:cubicBezTo>
                        <a:cubicBezTo>
                          <a:pt x="411788" y="99076"/>
                          <a:pt x="41856" y="185631"/>
                          <a:pt x="0" y="196035"/>
                        </a:cubicBezTo>
                        <a:cubicBezTo>
                          <a:pt x="7621" y="216298"/>
                          <a:pt x="13972" y="233476"/>
                          <a:pt x="17964" y="242186"/>
                        </a:cubicBezTo>
                        <a:cubicBezTo>
                          <a:pt x="21352" y="249505"/>
                          <a:pt x="29517" y="253315"/>
                          <a:pt x="37320" y="251077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40" name="Grafik 297">
                  <a:extLst>
                    <a:ext uri="{FF2B5EF4-FFF2-40B4-BE49-F238E27FC236}">
                      <a16:creationId xmlns:a16="http://schemas.microsoft.com/office/drawing/2014/main" id="{18743901-C8B4-CA59-1F5C-C158022821E7}"/>
                    </a:ext>
                  </a:extLst>
                </p:cNvPr>
                <p:cNvGrpSpPr/>
                <p:nvPr/>
              </p:nvGrpSpPr>
              <p:grpSpPr>
                <a:xfrm>
                  <a:off x="741194" y="4087994"/>
                  <a:ext cx="551329" cy="969001"/>
                  <a:chOff x="741194" y="4087994"/>
                  <a:chExt cx="551329" cy="969001"/>
                </a:xfrm>
                <a:solidFill>
                  <a:srgbClr val="02787D"/>
                </a:solidFill>
              </p:grpSpPr>
              <p:sp>
                <p:nvSpPr>
                  <p:cNvPr id="441" name="Freihandform: Form 440">
                    <a:extLst>
                      <a:ext uri="{FF2B5EF4-FFF2-40B4-BE49-F238E27FC236}">
                        <a16:creationId xmlns:a16="http://schemas.microsoft.com/office/drawing/2014/main" id="{EDD8BBA0-D9F3-780E-7AB4-2B3BFC3F9537}"/>
                      </a:ext>
                    </a:extLst>
                  </p:cNvPr>
                  <p:cNvSpPr/>
                  <p:nvPr/>
                </p:nvSpPr>
                <p:spPr>
                  <a:xfrm>
                    <a:off x="753352" y="4197221"/>
                    <a:ext cx="539171" cy="859774"/>
                  </a:xfrm>
                  <a:custGeom>
                    <a:avLst/>
                    <a:gdLst>
                      <a:gd name="connsiteX0" fmla="*/ 258638 w 539171"/>
                      <a:gd name="connsiteY0" fmla="*/ 859637 h 859774"/>
                      <a:gd name="connsiteX1" fmla="*/ 539172 w 539171"/>
                      <a:gd name="connsiteY1" fmla="*/ 728141 h 859774"/>
                      <a:gd name="connsiteX2" fmla="*/ 437253 w 539171"/>
                      <a:gd name="connsiteY2" fmla="*/ 484685 h 859774"/>
                      <a:gd name="connsiteX3" fmla="*/ 309930 w 539171"/>
                      <a:gd name="connsiteY3" fmla="*/ 10535 h 859774"/>
                      <a:gd name="connsiteX4" fmla="*/ 0 w 539171"/>
                      <a:gd name="connsiteY4" fmla="*/ 117172 h 859774"/>
                      <a:gd name="connsiteX5" fmla="*/ 169905 w 539171"/>
                      <a:gd name="connsiteY5" fmla="*/ 715257 h 859774"/>
                      <a:gd name="connsiteX6" fmla="*/ 258638 w 539171"/>
                      <a:gd name="connsiteY6" fmla="*/ 859637 h 8597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39171" h="859774">
                        <a:moveTo>
                          <a:pt x="258638" y="859637"/>
                        </a:moveTo>
                        <a:lnTo>
                          <a:pt x="539172" y="728141"/>
                        </a:lnTo>
                        <a:cubicBezTo>
                          <a:pt x="539172" y="728141"/>
                          <a:pt x="448685" y="518133"/>
                          <a:pt x="437253" y="484685"/>
                        </a:cubicBezTo>
                        <a:cubicBezTo>
                          <a:pt x="425821" y="451236"/>
                          <a:pt x="309930" y="10535"/>
                          <a:pt x="309930" y="10535"/>
                        </a:cubicBezTo>
                        <a:cubicBezTo>
                          <a:pt x="194099" y="-20676"/>
                          <a:pt x="72160" y="18217"/>
                          <a:pt x="0" y="117172"/>
                        </a:cubicBezTo>
                        <a:cubicBezTo>
                          <a:pt x="26372" y="349740"/>
                          <a:pt x="140327" y="605535"/>
                          <a:pt x="169905" y="715257"/>
                        </a:cubicBezTo>
                        <a:cubicBezTo>
                          <a:pt x="187930" y="782276"/>
                          <a:pt x="222407" y="863569"/>
                          <a:pt x="258638" y="859637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2" name="Freihandform: Form 441">
                    <a:extLst>
                      <a:ext uri="{FF2B5EF4-FFF2-40B4-BE49-F238E27FC236}">
                        <a16:creationId xmlns:a16="http://schemas.microsoft.com/office/drawing/2014/main" id="{691B106E-B2F2-4620-A188-DBEC1AF28681}"/>
                      </a:ext>
                    </a:extLst>
                  </p:cNvPr>
                  <p:cNvSpPr/>
                  <p:nvPr/>
                </p:nvSpPr>
                <p:spPr>
                  <a:xfrm>
                    <a:off x="741194" y="4087994"/>
                    <a:ext cx="328196" cy="328196"/>
                  </a:xfrm>
                  <a:custGeom>
                    <a:avLst/>
                    <a:gdLst>
                      <a:gd name="connsiteX0" fmla="*/ 328197 w 328196"/>
                      <a:gd name="connsiteY0" fmla="*/ 164098 h 328196"/>
                      <a:gd name="connsiteX1" fmla="*/ 164098 w 328196"/>
                      <a:gd name="connsiteY1" fmla="*/ 328197 h 328196"/>
                      <a:gd name="connsiteX2" fmla="*/ 0 w 328196"/>
                      <a:gd name="connsiteY2" fmla="*/ 164098 h 328196"/>
                      <a:gd name="connsiteX3" fmla="*/ 164098 w 328196"/>
                      <a:gd name="connsiteY3" fmla="*/ 0 h 328196"/>
                      <a:gd name="connsiteX4" fmla="*/ 328197 w 328196"/>
                      <a:gd name="connsiteY4" fmla="*/ 164098 h 3281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8196" h="328196">
                        <a:moveTo>
                          <a:pt x="328197" y="164098"/>
                        </a:moveTo>
                        <a:cubicBezTo>
                          <a:pt x="328197" y="254727"/>
                          <a:pt x="254727" y="328197"/>
                          <a:pt x="164098" y="328197"/>
                        </a:cubicBezTo>
                        <a:cubicBezTo>
                          <a:pt x="73469" y="328197"/>
                          <a:pt x="0" y="254727"/>
                          <a:pt x="0" y="164098"/>
                        </a:cubicBezTo>
                        <a:cubicBezTo>
                          <a:pt x="0" y="73469"/>
                          <a:pt x="73469" y="0"/>
                          <a:pt x="164098" y="0"/>
                        </a:cubicBezTo>
                        <a:cubicBezTo>
                          <a:pt x="254727" y="0"/>
                          <a:pt x="328197" y="73469"/>
                          <a:pt x="328197" y="16409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43" name="Grafik 297">
                  <a:extLst>
                    <a:ext uri="{FF2B5EF4-FFF2-40B4-BE49-F238E27FC236}">
                      <a16:creationId xmlns:a16="http://schemas.microsoft.com/office/drawing/2014/main" id="{7F182C8F-B976-6A77-380B-3E0A6BAA7389}"/>
                    </a:ext>
                  </a:extLst>
                </p:cNvPr>
                <p:cNvGrpSpPr/>
                <p:nvPr/>
              </p:nvGrpSpPr>
              <p:grpSpPr>
                <a:xfrm>
                  <a:off x="415417" y="3058220"/>
                  <a:ext cx="647865" cy="1260991"/>
                  <a:chOff x="415417" y="3058220"/>
                  <a:chExt cx="647865" cy="1260991"/>
                </a:xfrm>
                <a:solidFill>
                  <a:srgbClr val="02787D"/>
                </a:solidFill>
              </p:grpSpPr>
              <p:sp>
                <p:nvSpPr>
                  <p:cNvPr id="444" name="Freihandform: Form 443">
                    <a:extLst>
                      <a:ext uri="{FF2B5EF4-FFF2-40B4-BE49-F238E27FC236}">
                        <a16:creationId xmlns:a16="http://schemas.microsoft.com/office/drawing/2014/main" id="{EB0DE10F-920D-C1D0-C328-3B039D26F312}"/>
                      </a:ext>
                    </a:extLst>
                  </p:cNvPr>
                  <p:cNvSpPr/>
                  <p:nvPr/>
                </p:nvSpPr>
                <p:spPr>
                  <a:xfrm>
                    <a:off x="422857" y="3262239"/>
                    <a:ext cx="640425" cy="1056972"/>
                  </a:xfrm>
                  <a:custGeom>
                    <a:avLst/>
                    <a:gdLst>
                      <a:gd name="connsiteX0" fmla="*/ 60 w 640425"/>
                      <a:gd name="connsiteY0" fmla="*/ 100588 h 1056972"/>
                      <a:gd name="connsiteX1" fmla="*/ 478021 w 640425"/>
                      <a:gd name="connsiteY1" fmla="*/ 0 h 1056972"/>
                      <a:gd name="connsiteX2" fmla="*/ 559616 w 640425"/>
                      <a:gd name="connsiteY2" fmla="*/ 405861 h 1056972"/>
                      <a:gd name="connsiteX3" fmla="*/ 640425 w 640425"/>
                      <a:gd name="connsiteY3" fmla="*/ 945517 h 1056972"/>
                      <a:gd name="connsiteX4" fmla="*/ 330616 w 640425"/>
                      <a:gd name="connsiteY4" fmla="*/ 1052396 h 1056972"/>
                      <a:gd name="connsiteX5" fmla="*/ 0 w 640425"/>
                      <a:gd name="connsiteY5" fmla="*/ 100588 h 10569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40425" h="1056972">
                        <a:moveTo>
                          <a:pt x="60" y="100588"/>
                        </a:moveTo>
                        <a:cubicBezTo>
                          <a:pt x="6049" y="100588"/>
                          <a:pt x="478021" y="0"/>
                          <a:pt x="478021" y="0"/>
                        </a:cubicBezTo>
                        <a:cubicBezTo>
                          <a:pt x="478021" y="0"/>
                          <a:pt x="539837" y="303216"/>
                          <a:pt x="559616" y="405861"/>
                        </a:cubicBezTo>
                        <a:cubicBezTo>
                          <a:pt x="635466" y="799141"/>
                          <a:pt x="640425" y="945517"/>
                          <a:pt x="640425" y="945517"/>
                        </a:cubicBezTo>
                        <a:cubicBezTo>
                          <a:pt x="558043" y="1025600"/>
                          <a:pt x="438765" y="1072295"/>
                          <a:pt x="330616" y="1052396"/>
                        </a:cubicBezTo>
                        <a:cubicBezTo>
                          <a:pt x="265654" y="932149"/>
                          <a:pt x="64055" y="315555"/>
                          <a:pt x="0" y="10058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5" name="Freihandform: Form 444">
                    <a:extLst>
                      <a:ext uri="{FF2B5EF4-FFF2-40B4-BE49-F238E27FC236}">
                        <a16:creationId xmlns:a16="http://schemas.microsoft.com/office/drawing/2014/main" id="{DDAC25BC-8211-019E-7578-D3B500E8CE3A}"/>
                      </a:ext>
                    </a:extLst>
                  </p:cNvPr>
                  <p:cNvSpPr/>
                  <p:nvPr/>
                </p:nvSpPr>
                <p:spPr>
                  <a:xfrm>
                    <a:off x="415417" y="3058220"/>
                    <a:ext cx="488847" cy="488847"/>
                  </a:xfrm>
                  <a:custGeom>
                    <a:avLst/>
                    <a:gdLst>
                      <a:gd name="connsiteX0" fmla="*/ 488848 w 488847"/>
                      <a:gd name="connsiteY0" fmla="*/ 244424 h 488847"/>
                      <a:gd name="connsiteX1" fmla="*/ 244424 w 488847"/>
                      <a:gd name="connsiteY1" fmla="*/ 488848 h 488847"/>
                      <a:gd name="connsiteX2" fmla="*/ 0 w 488847"/>
                      <a:gd name="connsiteY2" fmla="*/ 244424 h 488847"/>
                      <a:gd name="connsiteX3" fmla="*/ 244424 w 488847"/>
                      <a:gd name="connsiteY3" fmla="*/ 0 h 488847"/>
                      <a:gd name="connsiteX4" fmla="*/ 488848 w 488847"/>
                      <a:gd name="connsiteY4" fmla="*/ 244424 h 4888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88847" h="488847">
                        <a:moveTo>
                          <a:pt x="488848" y="244424"/>
                        </a:moveTo>
                        <a:cubicBezTo>
                          <a:pt x="488848" y="379415"/>
                          <a:pt x="379415" y="488848"/>
                          <a:pt x="244424" y="488848"/>
                        </a:cubicBezTo>
                        <a:cubicBezTo>
                          <a:pt x="109432" y="488848"/>
                          <a:pt x="0" y="379415"/>
                          <a:pt x="0" y="244424"/>
                        </a:cubicBezTo>
                        <a:cubicBezTo>
                          <a:pt x="0" y="109432"/>
                          <a:pt x="109432" y="0"/>
                          <a:pt x="244424" y="0"/>
                        </a:cubicBezTo>
                        <a:cubicBezTo>
                          <a:pt x="379415" y="0"/>
                          <a:pt x="488848" y="109432"/>
                          <a:pt x="488848" y="244424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46" name="Grafik 297">
                  <a:extLst>
                    <a:ext uri="{FF2B5EF4-FFF2-40B4-BE49-F238E27FC236}">
                      <a16:creationId xmlns:a16="http://schemas.microsoft.com/office/drawing/2014/main" id="{85BF5121-1219-0FC2-7ED8-15976E2A0E1C}"/>
                    </a:ext>
                  </a:extLst>
                </p:cNvPr>
                <p:cNvGrpSpPr/>
                <p:nvPr/>
              </p:nvGrpSpPr>
              <p:grpSpPr>
                <a:xfrm>
                  <a:off x="48" y="4970823"/>
                  <a:ext cx="543691" cy="226344"/>
                  <a:chOff x="48" y="4970823"/>
                  <a:chExt cx="543691" cy="226344"/>
                </a:xfrm>
              </p:grpSpPr>
              <p:sp>
                <p:nvSpPr>
                  <p:cNvPr id="447" name="Freihandform: Form 446">
                    <a:extLst>
                      <a:ext uri="{FF2B5EF4-FFF2-40B4-BE49-F238E27FC236}">
                        <a16:creationId xmlns:a16="http://schemas.microsoft.com/office/drawing/2014/main" id="{95E220C9-A200-AF2C-3BB6-222A2991B0DB}"/>
                      </a:ext>
                    </a:extLst>
                  </p:cNvPr>
                  <p:cNvSpPr/>
                  <p:nvPr/>
                </p:nvSpPr>
                <p:spPr>
                  <a:xfrm>
                    <a:off x="2105" y="4970823"/>
                    <a:ext cx="540897" cy="215866"/>
                  </a:xfrm>
                  <a:custGeom>
                    <a:avLst/>
                    <a:gdLst>
                      <a:gd name="connsiteX0" fmla="*/ 55780 w 540897"/>
                      <a:gd name="connsiteY0" fmla="*/ 23 h 215866"/>
                      <a:gd name="connsiteX1" fmla="*/ 4548 w 540897"/>
                      <a:gd name="connsiteY1" fmla="*/ 82163 h 215866"/>
                      <a:gd name="connsiteX2" fmla="*/ 12 w 540897"/>
                      <a:gd name="connsiteY2" fmla="*/ 134786 h 215866"/>
                      <a:gd name="connsiteX3" fmla="*/ 13198 w 540897"/>
                      <a:gd name="connsiteY3" fmla="*/ 151420 h 215866"/>
                      <a:gd name="connsiteX4" fmla="*/ 500775 w 540897"/>
                      <a:gd name="connsiteY4" fmla="*/ 209244 h 215866"/>
                      <a:gd name="connsiteX5" fmla="*/ 519889 w 540897"/>
                      <a:gd name="connsiteY5" fmla="*/ 137810 h 215866"/>
                      <a:gd name="connsiteX6" fmla="*/ 344903 w 540897"/>
                      <a:gd name="connsiteY6" fmla="*/ 79683 h 215866"/>
                      <a:gd name="connsiteX7" fmla="*/ 225685 w 540897"/>
                      <a:gd name="connsiteY7" fmla="*/ 8612 h 215866"/>
                      <a:gd name="connsiteX8" fmla="*/ 185038 w 540897"/>
                      <a:gd name="connsiteY8" fmla="*/ 38069 h 215866"/>
                      <a:gd name="connsiteX9" fmla="*/ 55901 w 540897"/>
                      <a:gd name="connsiteY9" fmla="*/ 144 h 2158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540897" h="215866">
                        <a:moveTo>
                          <a:pt x="55780" y="23"/>
                        </a:moveTo>
                        <a:cubicBezTo>
                          <a:pt x="55780" y="23"/>
                          <a:pt x="10294" y="33472"/>
                          <a:pt x="4548" y="82163"/>
                        </a:cubicBezTo>
                        <a:cubicBezTo>
                          <a:pt x="1524" y="107386"/>
                          <a:pt x="435" y="124322"/>
                          <a:pt x="12" y="134786"/>
                        </a:cubicBezTo>
                        <a:cubicBezTo>
                          <a:pt x="-291" y="142831"/>
                          <a:pt x="5274" y="149847"/>
                          <a:pt x="13198" y="151420"/>
                        </a:cubicBezTo>
                        <a:cubicBezTo>
                          <a:pt x="80216" y="164727"/>
                          <a:pt x="419784" y="237975"/>
                          <a:pt x="500775" y="209244"/>
                        </a:cubicBezTo>
                        <a:cubicBezTo>
                          <a:pt x="578076" y="181844"/>
                          <a:pt x="519889" y="137810"/>
                          <a:pt x="519889" y="137810"/>
                        </a:cubicBezTo>
                        <a:cubicBezTo>
                          <a:pt x="519889" y="137810"/>
                          <a:pt x="409260" y="133455"/>
                          <a:pt x="344903" y="79683"/>
                        </a:cubicBezTo>
                        <a:cubicBezTo>
                          <a:pt x="287623" y="31778"/>
                          <a:pt x="237480" y="6616"/>
                          <a:pt x="225685" y="8612"/>
                        </a:cubicBezTo>
                        <a:cubicBezTo>
                          <a:pt x="213830" y="10608"/>
                          <a:pt x="207116" y="27786"/>
                          <a:pt x="185038" y="38069"/>
                        </a:cubicBezTo>
                        <a:cubicBezTo>
                          <a:pt x="162961" y="48352"/>
                          <a:pt x="68361" y="-3061"/>
                          <a:pt x="55901" y="144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8" name="Freihandform: Form 447">
                    <a:extLst>
                      <a:ext uri="{FF2B5EF4-FFF2-40B4-BE49-F238E27FC236}">
                        <a16:creationId xmlns:a16="http://schemas.microsoft.com/office/drawing/2014/main" id="{01D95072-F151-5EFE-80A1-7E55AFDA9254}"/>
                      </a:ext>
                    </a:extLst>
                  </p:cNvPr>
                  <p:cNvSpPr/>
                  <p:nvPr/>
                </p:nvSpPr>
                <p:spPr>
                  <a:xfrm>
                    <a:off x="48" y="5067745"/>
                    <a:ext cx="543691" cy="129422"/>
                  </a:xfrm>
                  <a:custGeom>
                    <a:avLst/>
                    <a:gdLst>
                      <a:gd name="connsiteX0" fmla="*/ 13137 w 543691"/>
                      <a:gd name="connsiteY0" fmla="*/ 65990 h 129422"/>
                      <a:gd name="connsiteX1" fmla="*/ 424744 w 543691"/>
                      <a:gd name="connsiteY1" fmla="*/ 129077 h 129422"/>
                      <a:gd name="connsiteX2" fmla="*/ 502227 w 543691"/>
                      <a:gd name="connsiteY2" fmla="*/ 117887 h 129422"/>
                      <a:gd name="connsiteX3" fmla="*/ 530232 w 543691"/>
                      <a:gd name="connsiteY3" fmla="*/ 48208 h 129422"/>
                      <a:gd name="connsiteX4" fmla="*/ 501319 w 543691"/>
                      <a:gd name="connsiteY4" fmla="*/ 70648 h 129422"/>
                      <a:gd name="connsiteX5" fmla="*/ 4972 w 543691"/>
                      <a:gd name="connsiteY5" fmla="*/ 0 h 129422"/>
                      <a:gd name="connsiteX6" fmla="*/ 12 w 543691"/>
                      <a:gd name="connsiteY6" fmla="*/ 49236 h 129422"/>
                      <a:gd name="connsiteX7" fmla="*/ 13198 w 543691"/>
                      <a:gd name="connsiteY7" fmla="*/ 65930 h 129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43691" h="129422">
                        <a:moveTo>
                          <a:pt x="13137" y="65990"/>
                        </a:moveTo>
                        <a:cubicBezTo>
                          <a:pt x="14649" y="66293"/>
                          <a:pt x="423353" y="129017"/>
                          <a:pt x="424744" y="129077"/>
                        </a:cubicBezTo>
                        <a:cubicBezTo>
                          <a:pt x="461701" y="131134"/>
                          <a:pt x="486077" y="123573"/>
                          <a:pt x="502227" y="117887"/>
                        </a:cubicBezTo>
                        <a:cubicBezTo>
                          <a:pt x="560112" y="97322"/>
                          <a:pt x="544990" y="60547"/>
                          <a:pt x="530232" y="48208"/>
                        </a:cubicBezTo>
                        <a:cubicBezTo>
                          <a:pt x="524002" y="53228"/>
                          <a:pt x="513840" y="66232"/>
                          <a:pt x="501319" y="70648"/>
                        </a:cubicBezTo>
                        <a:cubicBezTo>
                          <a:pt x="415792" y="101012"/>
                          <a:pt x="46949" y="9799"/>
                          <a:pt x="4972" y="0"/>
                        </a:cubicBezTo>
                        <a:cubicBezTo>
                          <a:pt x="2552" y="21533"/>
                          <a:pt x="375" y="39679"/>
                          <a:pt x="12" y="49236"/>
                        </a:cubicBezTo>
                        <a:cubicBezTo>
                          <a:pt x="-291" y="57280"/>
                          <a:pt x="5274" y="64357"/>
                          <a:pt x="13198" y="65930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49" name="Grafik 297">
                  <a:extLst>
                    <a:ext uri="{FF2B5EF4-FFF2-40B4-BE49-F238E27FC236}">
                      <a16:creationId xmlns:a16="http://schemas.microsoft.com/office/drawing/2014/main" id="{5F0F7808-B71B-9E72-7695-B30E90208A80}"/>
                    </a:ext>
                  </a:extLst>
                </p:cNvPr>
                <p:cNvGrpSpPr/>
                <p:nvPr/>
              </p:nvGrpSpPr>
              <p:grpSpPr>
                <a:xfrm>
                  <a:off x="16751" y="4091502"/>
                  <a:ext cx="531069" cy="960275"/>
                  <a:chOff x="16751" y="4091502"/>
                  <a:chExt cx="531069" cy="960275"/>
                </a:xfrm>
                <a:solidFill>
                  <a:srgbClr val="009999"/>
                </a:solidFill>
              </p:grpSpPr>
              <p:sp>
                <p:nvSpPr>
                  <p:cNvPr id="450" name="Freihandform: Form 449">
                    <a:extLst>
                      <a:ext uri="{FF2B5EF4-FFF2-40B4-BE49-F238E27FC236}">
                        <a16:creationId xmlns:a16="http://schemas.microsoft.com/office/drawing/2014/main" id="{68E79449-6B33-494D-9AA3-ABA12D527170}"/>
                      </a:ext>
                    </a:extLst>
                  </p:cNvPr>
                  <p:cNvSpPr/>
                  <p:nvPr/>
                </p:nvSpPr>
                <p:spPr>
                  <a:xfrm>
                    <a:off x="16751" y="4199963"/>
                    <a:ext cx="525868" cy="851813"/>
                  </a:xfrm>
                  <a:custGeom>
                    <a:avLst/>
                    <a:gdLst>
                      <a:gd name="connsiteX0" fmla="*/ 206926 w 525868"/>
                      <a:gd name="connsiteY0" fmla="*/ 20132 h 851813"/>
                      <a:gd name="connsiteX1" fmla="*/ 29944 w 525868"/>
                      <a:gd name="connsiteY1" fmla="*/ 616221 h 851813"/>
                      <a:gd name="connsiteX2" fmla="*/ 9802 w 525868"/>
                      <a:gd name="connsiteY2" fmla="*/ 803788 h 851813"/>
                      <a:gd name="connsiteX3" fmla="*/ 331406 w 525868"/>
                      <a:gd name="connsiteY3" fmla="*/ 851814 h 851813"/>
                      <a:gd name="connsiteX4" fmla="*/ 384634 w 525868"/>
                      <a:gd name="connsiteY4" fmla="*/ 568498 h 851813"/>
                      <a:gd name="connsiteX5" fmla="*/ 525868 w 525868"/>
                      <a:gd name="connsiteY5" fmla="*/ 96042 h 851813"/>
                      <a:gd name="connsiteX6" fmla="*/ 206926 w 525868"/>
                      <a:gd name="connsiteY6" fmla="*/ 20071 h 8518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25868" h="851813">
                        <a:moveTo>
                          <a:pt x="206926" y="20132"/>
                        </a:moveTo>
                        <a:cubicBezTo>
                          <a:pt x="104463" y="230623"/>
                          <a:pt x="63816" y="507770"/>
                          <a:pt x="29944" y="616221"/>
                        </a:cubicBezTo>
                        <a:cubicBezTo>
                          <a:pt x="9258" y="682453"/>
                          <a:pt x="-13425" y="774271"/>
                          <a:pt x="9802" y="803788"/>
                        </a:cubicBezTo>
                        <a:lnTo>
                          <a:pt x="331406" y="851814"/>
                        </a:lnTo>
                        <a:cubicBezTo>
                          <a:pt x="331406" y="851814"/>
                          <a:pt x="365762" y="636605"/>
                          <a:pt x="384634" y="568498"/>
                        </a:cubicBezTo>
                        <a:cubicBezTo>
                          <a:pt x="394069" y="534383"/>
                          <a:pt x="525868" y="96042"/>
                          <a:pt x="525868" y="96042"/>
                        </a:cubicBezTo>
                        <a:cubicBezTo>
                          <a:pt x="444817" y="7611"/>
                          <a:pt x="320881" y="-24749"/>
                          <a:pt x="206926" y="20071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1" name="Freihandform: Form 450">
                    <a:extLst>
                      <a:ext uri="{FF2B5EF4-FFF2-40B4-BE49-F238E27FC236}">
                        <a16:creationId xmlns:a16="http://schemas.microsoft.com/office/drawing/2014/main" id="{AB53CBC1-70F3-D340-4B31-2F7100F6B540}"/>
                      </a:ext>
                    </a:extLst>
                  </p:cNvPr>
                  <p:cNvSpPr/>
                  <p:nvPr/>
                </p:nvSpPr>
                <p:spPr>
                  <a:xfrm>
                    <a:off x="220350" y="4091502"/>
                    <a:ext cx="327470" cy="327471"/>
                  </a:xfrm>
                  <a:custGeom>
                    <a:avLst/>
                    <a:gdLst>
                      <a:gd name="connsiteX0" fmla="*/ 327471 w 327470"/>
                      <a:gd name="connsiteY0" fmla="*/ 163736 h 327471"/>
                      <a:gd name="connsiteX1" fmla="*/ 163735 w 327470"/>
                      <a:gd name="connsiteY1" fmla="*/ 327471 h 327471"/>
                      <a:gd name="connsiteX2" fmla="*/ 0 w 327470"/>
                      <a:gd name="connsiteY2" fmla="*/ 163736 h 327471"/>
                      <a:gd name="connsiteX3" fmla="*/ 163735 w 327470"/>
                      <a:gd name="connsiteY3" fmla="*/ 0 h 327471"/>
                      <a:gd name="connsiteX4" fmla="*/ 327471 w 327470"/>
                      <a:gd name="connsiteY4" fmla="*/ 163736 h 3274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7470" h="327471">
                        <a:moveTo>
                          <a:pt x="327471" y="163736"/>
                        </a:moveTo>
                        <a:cubicBezTo>
                          <a:pt x="327471" y="254164"/>
                          <a:pt x="254164" y="327471"/>
                          <a:pt x="163735" y="327471"/>
                        </a:cubicBezTo>
                        <a:cubicBezTo>
                          <a:pt x="73307" y="327471"/>
                          <a:pt x="0" y="254164"/>
                          <a:pt x="0" y="163736"/>
                        </a:cubicBezTo>
                        <a:cubicBezTo>
                          <a:pt x="0" y="73307"/>
                          <a:pt x="73307" y="0"/>
                          <a:pt x="163735" y="0"/>
                        </a:cubicBezTo>
                        <a:cubicBezTo>
                          <a:pt x="254164" y="0"/>
                          <a:pt x="327471" y="73307"/>
                          <a:pt x="327471" y="16373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52" name="Grafik 297">
                  <a:extLst>
                    <a:ext uri="{FF2B5EF4-FFF2-40B4-BE49-F238E27FC236}">
                      <a16:creationId xmlns:a16="http://schemas.microsoft.com/office/drawing/2014/main" id="{0A337FE6-24E1-C424-CAF3-EF8A0CCBBCCE}"/>
                    </a:ext>
                  </a:extLst>
                </p:cNvPr>
                <p:cNvGrpSpPr/>
                <p:nvPr/>
              </p:nvGrpSpPr>
              <p:grpSpPr>
                <a:xfrm>
                  <a:off x="223798" y="3058220"/>
                  <a:ext cx="680467" cy="1246379"/>
                  <a:chOff x="223798" y="3058220"/>
                  <a:chExt cx="680467" cy="1246379"/>
                </a:xfrm>
              </p:grpSpPr>
              <p:sp>
                <p:nvSpPr>
                  <p:cNvPr id="453" name="Freihandform: Form 452">
                    <a:extLst>
                      <a:ext uri="{FF2B5EF4-FFF2-40B4-BE49-F238E27FC236}">
                        <a16:creationId xmlns:a16="http://schemas.microsoft.com/office/drawing/2014/main" id="{04445AE5-9D29-2DCC-AF0C-C737E4A478A8}"/>
                      </a:ext>
                    </a:extLst>
                  </p:cNvPr>
                  <p:cNvSpPr/>
                  <p:nvPr/>
                </p:nvSpPr>
                <p:spPr>
                  <a:xfrm>
                    <a:off x="415417" y="3058220"/>
                    <a:ext cx="488847" cy="488847"/>
                  </a:xfrm>
                  <a:custGeom>
                    <a:avLst/>
                    <a:gdLst>
                      <a:gd name="connsiteX0" fmla="*/ 488848 w 488847"/>
                      <a:gd name="connsiteY0" fmla="*/ 244424 h 488847"/>
                      <a:gd name="connsiteX1" fmla="*/ 244424 w 488847"/>
                      <a:gd name="connsiteY1" fmla="*/ 488848 h 488847"/>
                      <a:gd name="connsiteX2" fmla="*/ 0 w 488847"/>
                      <a:gd name="connsiteY2" fmla="*/ 244424 h 488847"/>
                      <a:gd name="connsiteX3" fmla="*/ 244424 w 488847"/>
                      <a:gd name="connsiteY3" fmla="*/ 0 h 488847"/>
                      <a:gd name="connsiteX4" fmla="*/ 488848 w 488847"/>
                      <a:gd name="connsiteY4" fmla="*/ 244424 h 4888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88847" h="488847">
                        <a:moveTo>
                          <a:pt x="488848" y="244424"/>
                        </a:moveTo>
                        <a:cubicBezTo>
                          <a:pt x="488848" y="379415"/>
                          <a:pt x="379415" y="488848"/>
                          <a:pt x="244424" y="488848"/>
                        </a:cubicBezTo>
                        <a:cubicBezTo>
                          <a:pt x="109432" y="488848"/>
                          <a:pt x="0" y="379415"/>
                          <a:pt x="0" y="244424"/>
                        </a:cubicBezTo>
                        <a:cubicBezTo>
                          <a:pt x="0" y="109432"/>
                          <a:pt x="109432" y="0"/>
                          <a:pt x="244424" y="0"/>
                        </a:cubicBezTo>
                        <a:cubicBezTo>
                          <a:pt x="379415" y="0"/>
                          <a:pt x="488848" y="109432"/>
                          <a:pt x="488848" y="244424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4" name="Freihandform: Form 453">
                    <a:extLst>
                      <a:ext uri="{FF2B5EF4-FFF2-40B4-BE49-F238E27FC236}">
                        <a16:creationId xmlns:a16="http://schemas.microsoft.com/office/drawing/2014/main" id="{E416457E-0D19-CA88-F0B3-F2F8E8340A4D}"/>
                      </a:ext>
                    </a:extLst>
                  </p:cNvPr>
                  <p:cNvSpPr/>
                  <p:nvPr/>
                </p:nvSpPr>
                <p:spPr>
                  <a:xfrm>
                    <a:off x="223798" y="3286434"/>
                    <a:ext cx="674539" cy="1018166"/>
                  </a:xfrm>
                  <a:custGeom>
                    <a:avLst/>
                    <a:gdLst>
                      <a:gd name="connsiteX0" fmla="*/ 192164 w 674539"/>
                      <a:gd name="connsiteY0" fmla="*/ 0 h 1018166"/>
                      <a:gd name="connsiteX1" fmla="*/ 674539 w 674539"/>
                      <a:gd name="connsiteY1" fmla="*/ 69740 h 1018166"/>
                      <a:gd name="connsiteX2" fmla="*/ 540321 w 674539"/>
                      <a:gd name="connsiteY2" fmla="*/ 510865 h 1018166"/>
                      <a:gd name="connsiteX3" fmla="*/ 318942 w 674539"/>
                      <a:gd name="connsiteY3" fmla="*/ 1009632 h 1018166"/>
                      <a:gd name="connsiteX4" fmla="*/ 0 w 674539"/>
                      <a:gd name="connsiteY4" fmla="*/ 933661 h 1018166"/>
                      <a:gd name="connsiteX5" fmla="*/ 192164 w 674539"/>
                      <a:gd name="connsiteY5" fmla="*/ 0 h 1018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4539" h="1018166">
                        <a:moveTo>
                          <a:pt x="192164" y="0"/>
                        </a:moveTo>
                        <a:cubicBezTo>
                          <a:pt x="197245" y="3206"/>
                          <a:pt x="674539" y="69740"/>
                          <a:pt x="674539" y="69740"/>
                        </a:cubicBezTo>
                        <a:cubicBezTo>
                          <a:pt x="674539" y="69740"/>
                          <a:pt x="578609" y="413603"/>
                          <a:pt x="540321" y="510865"/>
                        </a:cubicBezTo>
                        <a:cubicBezTo>
                          <a:pt x="393522" y="883519"/>
                          <a:pt x="318942" y="1009632"/>
                          <a:pt x="318942" y="1009632"/>
                        </a:cubicBezTo>
                        <a:cubicBezTo>
                          <a:pt x="206439" y="1033040"/>
                          <a:pt x="80567" y="1008483"/>
                          <a:pt x="0" y="933661"/>
                        </a:cubicBezTo>
                        <a:cubicBezTo>
                          <a:pt x="9617" y="797326"/>
                          <a:pt x="136577" y="272429"/>
                          <a:pt x="192164" y="0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5" name="Freihandform: Form 454">
                    <a:extLst>
                      <a:ext uri="{FF2B5EF4-FFF2-40B4-BE49-F238E27FC236}">
                        <a16:creationId xmlns:a16="http://schemas.microsoft.com/office/drawing/2014/main" id="{DAC89785-F42E-51B3-CBBE-A676C62F1F69}"/>
                      </a:ext>
                    </a:extLst>
                  </p:cNvPr>
                  <p:cNvSpPr/>
                  <p:nvPr/>
                </p:nvSpPr>
                <p:spPr>
                  <a:xfrm>
                    <a:off x="378884" y="3286434"/>
                    <a:ext cx="519392" cy="173110"/>
                  </a:xfrm>
                  <a:custGeom>
                    <a:avLst/>
                    <a:gdLst>
                      <a:gd name="connsiteX0" fmla="*/ 490239 w 519392"/>
                      <a:gd name="connsiteY0" fmla="*/ 172566 h 173110"/>
                      <a:gd name="connsiteX1" fmla="*/ 519393 w 519392"/>
                      <a:gd name="connsiteY1" fmla="*/ 69740 h 173110"/>
                      <a:gd name="connsiteX2" fmla="*/ 37017 w 519392"/>
                      <a:gd name="connsiteY2" fmla="*/ 0 h 173110"/>
                      <a:gd name="connsiteX3" fmla="*/ 0 w 519392"/>
                      <a:gd name="connsiteY3" fmla="*/ 173111 h 173110"/>
                      <a:gd name="connsiteX4" fmla="*/ 490178 w 519392"/>
                      <a:gd name="connsiteY4" fmla="*/ 172566 h 1731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9392" h="173110">
                        <a:moveTo>
                          <a:pt x="490239" y="172566"/>
                        </a:moveTo>
                        <a:cubicBezTo>
                          <a:pt x="507417" y="112685"/>
                          <a:pt x="519393" y="69740"/>
                          <a:pt x="519393" y="69740"/>
                        </a:cubicBezTo>
                        <a:cubicBezTo>
                          <a:pt x="519393" y="69740"/>
                          <a:pt x="42098" y="3206"/>
                          <a:pt x="37017" y="0"/>
                        </a:cubicBezTo>
                        <a:cubicBezTo>
                          <a:pt x="26735" y="50385"/>
                          <a:pt x="13972" y="109480"/>
                          <a:pt x="0" y="173111"/>
                        </a:cubicBezTo>
                        <a:cubicBezTo>
                          <a:pt x="109963" y="109782"/>
                          <a:pt x="360012" y="115468"/>
                          <a:pt x="490178" y="172566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56" name="Grafik 297">
                  <a:extLst>
                    <a:ext uri="{FF2B5EF4-FFF2-40B4-BE49-F238E27FC236}">
                      <a16:creationId xmlns:a16="http://schemas.microsoft.com/office/drawing/2014/main" id="{ABD05A6F-E92E-61F0-023B-E2B4796413F8}"/>
                    </a:ext>
                  </a:extLst>
                </p:cNvPr>
                <p:cNvGrpSpPr/>
                <p:nvPr/>
              </p:nvGrpSpPr>
              <p:grpSpPr>
                <a:xfrm>
                  <a:off x="477899" y="1918236"/>
                  <a:ext cx="322234" cy="429852"/>
                  <a:chOff x="477899" y="1918236"/>
                  <a:chExt cx="322234" cy="429852"/>
                </a:xfrm>
              </p:grpSpPr>
              <p:sp>
                <p:nvSpPr>
                  <p:cNvPr id="457" name="Freihandform: Form 456">
                    <a:extLst>
                      <a:ext uri="{FF2B5EF4-FFF2-40B4-BE49-F238E27FC236}">
                        <a16:creationId xmlns:a16="http://schemas.microsoft.com/office/drawing/2014/main" id="{AF9293BB-6702-4A40-6D50-72E5A0AB4709}"/>
                      </a:ext>
                    </a:extLst>
                  </p:cNvPr>
                  <p:cNvSpPr/>
                  <p:nvPr/>
                </p:nvSpPr>
                <p:spPr>
                  <a:xfrm>
                    <a:off x="477899" y="1918236"/>
                    <a:ext cx="322234" cy="429852"/>
                  </a:xfrm>
                  <a:custGeom>
                    <a:avLst/>
                    <a:gdLst>
                      <a:gd name="connsiteX0" fmla="*/ 0 w 322234"/>
                      <a:gd name="connsiteY0" fmla="*/ 329049 h 429852"/>
                      <a:gd name="connsiteX1" fmla="*/ 227972 w 322234"/>
                      <a:gd name="connsiteY1" fmla="*/ 410342 h 429852"/>
                      <a:gd name="connsiteX2" fmla="*/ 314043 w 322234"/>
                      <a:gd name="connsiteY2" fmla="*/ 168943 h 429852"/>
                      <a:gd name="connsiteX3" fmla="*/ 86071 w 322234"/>
                      <a:gd name="connsiteY3" fmla="*/ 87649 h 429852"/>
                      <a:gd name="connsiteX4" fmla="*/ 0 w 322234"/>
                      <a:gd name="connsiteY4" fmla="*/ 329049 h 4298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2234" h="429852">
                        <a:moveTo>
                          <a:pt x="0" y="329049"/>
                        </a:moveTo>
                        <a:cubicBezTo>
                          <a:pt x="16331" y="408467"/>
                          <a:pt x="157687" y="459941"/>
                          <a:pt x="227972" y="410342"/>
                        </a:cubicBezTo>
                        <a:lnTo>
                          <a:pt x="314043" y="168943"/>
                        </a:lnTo>
                        <a:cubicBezTo>
                          <a:pt x="366968" y="-5076"/>
                          <a:pt x="148493" y="-65441"/>
                          <a:pt x="86071" y="87649"/>
                        </a:cubicBezTo>
                        <a:lnTo>
                          <a:pt x="0" y="329049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8" name="Freihandform: Form 457">
                    <a:extLst>
                      <a:ext uri="{FF2B5EF4-FFF2-40B4-BE49-F238E27FC236}">
                        <a16:creationId xmlns:a16="http://schemas.microsoft.com/office/drawing/2014/main" id="{78859A30-7E72-8C42-D436-F91A3E108856}"/>
                      </a:ext>
                    </a:extLst>
                  </p:cNvPr>
                  <p:cNvSpPr/>
                  <p:nvPr/>
                </p:nvSpPr>
                <p:spPr>
                  <a:xfrm>
                    <a:off x="663707" y="2057624"/>
                    <a:ext cx="118237" cy="209535"/>
                  </a:xfrm>
                  <a:custGeom>
                    <a:avLst/>
                    <a:gdLst>
                      <a:gd name="connsiteX0" fmla="*/ 64060 w 118237"/>
                      <a:gd name="connsiteY0" fmla="*/ 209500 h 209535"/>
                      <a:gd name="connsiteX1" fmla="*/ 114505 w 118237"/>
                      <a:gd name="connsiteY1" fmla="*/ 68567 h 209535"/>
                      <a:gd name="connsiteX2" fmla="*/ 10772 w 118237"/>
                      <a:gd name="connsiteY2" fmla="*/ 97903 h 209535"/>
                      <a:gd name="connsiteX3" fmla="*/ 21599 w 118237"/>
                      <a:gd name="connsiteY3" fmla="*/ 160325 h 209535"/>
                      <a:gd name="connsiteX4" fmla="*/ 64060 w 118237"/>
                      <a:gd name="connsiteY4" fmla="*/ 209500 h 2095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8237" h="209535">
                        <a:moveTo>
                          <a:pt x="64060" y="209500"/>
                        </a:moveTo>
                        <a:lnTo>
                          <a:pt x="114505" y="68567"/>
                        </a:lnTo>
                        <a:cubicBezTo>
                          <a:pt x="147168" y="-43816"/>
                          <a:pt x="-46871" y="-6677"/>
                          <a:pt x="10772" y="97903"/>
                        </a:cubicBezTo>
                        <a:cubicBezTo>
                          <a:pt x="22990" y="118226"/>
                          <a:pt x="26256" y="127360"/>
                          <a:pt x="21599" y="160325"/>
                        </a:cubicBezTo>
                        <a:cubicBezTo>
                          <a:pt x="14159" y="212645"/>
                          <a:pt x="64060" y="209500"/>
                          <a:pt x="64060" y="20950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59" name="Grafik 297">
                  <a:extLst>
                    <a:ext uri="{FF2B5EF4-FFF2-40B4-BE49-F238E27FC236}">
                      <a16:creationId xmlns:a16="http://schemas.microsoft.com/office/drawing/2014/main" id="{318177A8-49CC-20B6-3865-A234305CAAD4}"/>
                    </a:ext>
                  </a:extLst>
                </p:cNvPr>
                <p:cNvGrpSpPr/>
                <p:nvPr/>
              </p:nvGrpSpPr>
              <p:grpSpPr>
                <a:xfrm>
                  <a:off x="443945" y="1659724"/>
                  <a:ext cx="481759" cy="506110"/>
                  <a:chOff x="443945" y="1659724"/>
                  <a:chExt cx="481759" cy="506110"/>
                </a:xfrm>
              </p:grpSpPr>
              <p:sp>
                <p:nvSpPr>
                  <p:cNvPr id="460" name="Freihandform: Form 459">
                    <a:extLst>
                      <a:ext uri="{FF2B5EF4-FFF2-40B4-BE49-F238E27FC236}">
                        <a16:creationId xmlns:a16="http://schemas.microsoft.com/office/drawing/2014/main" id="{EA5A0E55-3BE9-C6B7-11F8-91A8BEB81D5C}"/>
                      </a:ext>
                    </a:extLst>
                  </p:cNvPr>
                  <p:cNvSpPr/>
                  <p:nvPr/>
                </p:nvSpPr>
                <p:spPr>
                  <a:xfrm rot="-274200">
                    <a:off x="468855" y="1719942"/>
                    <a:ext cx="390981" cy="349246"/>
                  </a:xfrm>
                  <a:custGeom>
                    <a:avLst/>
                    <a:gdLst>
                      <a:gd name="connsiteX0" fmla="*/ 390981 w 390981"/>
                      <a:gd name="connsiteY0" fmla="*/ 174623 h 349246"/>
                      <a:gd name="connsiteX1" fmla="*/ 195491 w 390981"/>
                      <a:gd name="connsiteY1" fmla="*/ 349246 h 349246"/>
                      <a:gd name="connsiteX2" fmla="*/ 0 w 390981"/>
                      <a:gd name="connsiteY2" fmla="*/ 174623 h 349246"/>
                      <a:gd name="connsiteX3" fmla="*/ 195491 w 390981"/>
                      <a:gd name="connsiteY3" fmla="*/ 0 h 349246"/>
                      <a:gd name="connsiteX4" fmla="*/ 390981 w 390981"/>
                      <a:gd name="connsiteY4" fmla="*/ 174623 h 3492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0981" h="349246">
                        <a:moveTo>
                          <a:pt x="390981" y="174623"/>
                        </a:moveTo>
                        <a:cubicBezTo>
                          <a:pt x="390981" y="271065"/>
                          <a:pt x="303457" y="349246"/>
                          <a:pt x="195491" y="349246"/>
                        </a:cubicBezTo>
                        <a:cubicBezTo>
                          <a:pt x="87524" y="349246"/>
                          <a:pt x="0" y="271065"/>
                          <a:pt x="0" y="174623"/>
                        </a:cubicBezTo>
                        <a:cubicBezTo>
                          <a:pt x="0" y="78181"/>
                          <a:pt x="87524" y="0"/>
                          <a:pt x="195491" y="0"/>
                        </a:cubicBezTo>
                        <a:cubicBezTo>
                          <a:pt x="303457" y="0"/>
                          <a:pt x="390981" y="78181"/>
                          <a:pt x="390981" y="174623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1" name="Freihandform: Form 460">
                    <a:extLst>
                      <a:ext uri="{FF2B5EF4-FFF2-40B4-BE49-F238E27FC236}">
                        <a16:creationId xmlns:a16="http://schemas.microsoft.com/office/drawing/2014/main" id="{D67AC327-3DD1-5AFE-1261-FE9B7E10F015}"/>
                      </a:ext>
                    </a:extLst>
                  </p:cNvPr>
                  <p:cNvSpPr/>
                  <p:nvPr/>
                </p:nvSpPr>
                <p:spPr>
                  <a:xfrm>
                    <a:off x="650224" y="1870436"/>
                    <a:ext cx="272366" cy="292635"/>
                  </a:xfrm>
                  <a:custGeom>
                    <a:avLst/>
                    <a:gdLst>
                      <a:gd name="connsiteX0" fmla="*/ 232448 w 272366"/>
                      <a:gd name="connsiteY0" fmla="*/ 139925 h 292635"/>
                      <a:gd name="connsiteX1" fmla="*/ 268255 w 272366"/>
                      <a:gd name="connsiteY1" fmla="*/ 105629 h 292635"/>
                      <a:gd name="connsiteX2" fmla="*/ 209221 w 272366"/>
                      <a:gd name="connsiteY2" fmla="*/ 13570 h 292635"/>
                      <a:gd name="connsiteX3" fmla="*/ 0 w 272366"/>
                      <a:gd name="connsiteY3" fmla="*/ 86153 h 292635"/>
                      <a:gd name="connsiteX4" fmla="*/ 24073 w 272366"/>
                      <a:gd name="connsiteY4" fmla="*/ 213899 h 292635"/>
                      <a:gd name="connsiteX5" fmla="*/ 114560 w 272366"/>
                      <a:gd name="connsiteY5" fmla="*/ 292531 h 292635"/>
                      <a:gd name="connsiteX6" fmla="*/ 204624 w 272366"/>
                      <a:gd name="connsiteY6" fmla="*/ 285878 h 292635"/>
                      <a:gd name="connsiteX7" fmla="*/ 232448 w 272366"/>
                      <a:gd name="connsiteY7" fmla="*/ 242509 h 292635"/>
                      <a:gd name="connsiteX8" fmla="*/ 230996 w 272366"/>
                      <a:gd name="connsiteY8" fmla="*/ 222004 h 292635"/>
                      <a:gd name="connsiteX9" fmla="*/ 230996 w 272366"/>
                      <a:gd name="connsiteY9" fmla="*/ 222186 h 292635"/>
                      <a:gd name="connsiteX10" fmla="*/ 234383 w 272366"/>
                      <a:gd name="connsiteY10" fmla="*/ 207125 h 292635"/>
                      <a:gd name="connsiteX11" fmla="*/ 227730 w 272366"/>
                      <a:gd name="connsiteY11" fmla="*/ 186681 h 292635"/>
                      <a:gd name="connsiteX12" fmla="*/ 227730 w 272366"/>
                      <a:gd name="connsiteY12" fmla="*/ 186681 h 292635"/>
                      <a:gd name="connsiteX13" fmla="*/ 235230 w 272366"/>
                      <a:gd name="connsiteY13" fmla="*/ 170107 h 292635"/>
                      <a:gd name="connsiteX14" fmla="*/ 232508 w 272366"/>
                      <a:gd name="connsiteY14" fmla="*/ 139925 h 2926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72366" h="292635">
                        <a:moveTo>
                          <a:pt x="232448" y="139925"/>
                        </a:moveTo>
                        <a:cubicBezTo>
                          <a:pt x="244545" y="136356"/>
                          <a:pt x="285312" y="122868"/>
                          <a:pt x="268255" y="105629"/>
                        </a:cubicBezTo>
                        <a:cubicBezTo>
                          <a:pt x="239282" y="76415"/>
                          <a:pt x="213697" y="23792"/>
                          <a:pt x="209221" y="13570"/>
                        </a:cubicBezTo>
                        <a:cubicBezTo>
                          <a:pt x="208072" y="2682"/>
                          <a:pt x="16815" y="-33125"/>
                          <a:pt x="0" y="86153"/>
                        </a:cubicBezTo>
                        <a:cubicBezTo>
                          <a:pt x="0" y="86153"/>
                          <a:pt x="0" y="150691"/>
                          <a:pt x="24073" y="213899"/>
                        </a:cubicBezTo>
                        <a:cubicBezTo>
                          <a:pt x="29820" y="229021"/>
                          <a:pt x="73128" y="291261"/>
                          <a:pt x="114560" y="292531"/>
                        </a:cubicBezTo>
                        <a:cubicBezTo>
                          <a:pt x="150005" y="293620"/>
                          <a:pt x="204624" y="285878"/>
                          <a:pt x="204624" y="285878"/>
                        </a:cubicBezTo>
                        <a:cubicBezTo>
                          <a:pt x="204624" y="285878"/>
                          <a:pt x="232690" y="278982"/>
                          <a:pt x="232448" y="242509"/>
                        </a:cubicBezTo>
                        <a:cubicBezTo>
                          <a:pt x="232448" y="239666"/>
                          <a:pt x="231903" y="232347"/>
                          <a:pt x="230996" y="222004"/>
                        </a:cubicBezTo>
                        <a:lnTo>
                          <a:pt x="230996" y="222186"/>
                        </a:lnTo>
                        <a:cubicBezTo>
                          <a:pt x="230996" y="222186"/>
                          <a:pt x="230996" y="216137"/>
                          <a:pt x="234383" y="207125"/>
                        </a:cubicBezTo>
                        <a:cubicBezTo>
                          <a:pt x="238496" y="196056"/>
                          <a:pt x="239403" y="186197"/>
                          <a:pt x="227730" y="186681"/>
                        </a:cubicBezTo>
                        <a:lnTo>
                          <a:pt x="227730" y="186681"/>
                        </a:lnTo>
                        <a:cubicBezTo>
                          <a:pt x="236077" y="184382"/>
                          <a:pt x="236923" y="173858"/>
                          <a:pt x="235230" y="170107"/>
                        </a:cubicBezTo>
                        <a:cubicBezTo>
                          <a:pt x="230331" y="159401"/>
                          <a:pt x="229423" y="140832"/>
                          <a:pt x="232508" y="139925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2" name="Freihandform: Form 461">
                    <a:extLst>
                      <a:ext uri="{FF2B5EF4-FFF2-40B4-BE49-F238E27FC236}">
                        <a16:creationId xmlns:a16="http://schemas.microsoft.com/office/drawing/2014/main" id="{EF2E4258-E22C-291E-49DE-89DAC9DC4133}"/>
                      </a:ext>
                    </a:extLst>
                  </p:cNvPr>
                  <p:cNvSpPr/>
                  <p:nvPr/>
                </p:nvSpPr>
                <p:spPr>
                  <a:xfrm>
                    <a:off x="837065" y="1919511"/>
                    <a:ext cx="21653" cy="31694"/>
                  </a:xfrm>
                  <a:custGeom>
                    <a:avLst/>
                    <a:gdLst>
                      <a:gd name="connsiteX0" fmla="*/ 21654 w 21653"/>
                      <a:gd name="connsiteY0" fmla="*/ 15847 h 31694"/>
                      <a:gd name="connsiteX1" fmla="*/ 10827 w 21653"/>
                      <a:gd name="connsiteY1" fmla="*/ 31695 h 31694"/>
                      <a:gd name="connsiteX2" fmla="*/ 0 w 21653"/>
                      <a:gd name="connsiteY2" fmla="*/ 15847 h 31694"/>
                      <a:gd name="connsiteX3" fmla="*/ 10827 w 21653"/>
                      <a:gd name="connsiteY3" fmla="*/ 0 h 31694"/>
                      <a:gd name="connsiteX4" fmla="*/ 21654 w 21653"/>
                      <a:gd name="connsiteY4" fmla="*/ 15847 h 316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653" h="31694">
                        <a:moveTo>
                          <a:pt x="21654" y="15847"/>
                        </a:moveTo>
                        <a:cubicBezTo>
                          <a:pt x="21654" y="24600"/>
                          <a:pt x="16807" y="31695"/>
                          <a:pt x="10827" y="31695"/>
                        </a:cubicBezTo>
                        <a:cubicBezTo>
                          <a:pt x="4847" y="31695"/>
                          <a:pt x="0" y="24600"/>
                          <a:pt x="0" y="15847"/>
                        </a:cubicBezTo>
                        <a:cubicBezTo>
                          <a:pt x="0" y="7095"/>
                          <a:pt x="4847" y="0"/>
                          <a:pt x="10827" y="0"/>
                        </a:cubicBezTo>
                        <a:cubicBezTo>
                          <a:pt x="16807" y="0"/>
                          <a:pt x="21654" y="7095"/>
                          <a:pt x="21654" y="15847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3" name="Freihandform: Form 462">
                    <a:extLst>
                      <a:ext uri="{FF2B5EF4-FFF2-40B4-BE49-F238E27FC236}">
                        <a16:creationId xmlns:a16="http://schemas.microsoft.com/office/drawing/2014/main" id="{2A48A769-A14C-828C-FEAF-7410EBADFD16}"/>
                      </a:ext>
                    </a:extLst>
                  </p:cNvPr>
                  <p:cNvSpPr/>
                  <p:nvPr/>
                </p:nvSpPr>
                <p:spPr>
                  <a:xfrm>
                    <a:off x="767336" y="1853119"/>
                    <a:ext cx="83261" cy="40843"/>
                  </a:xfrm>
                  <a:custGeom>
                    <a:avLst/>
                    <a:gdLst>
                      <a:gd name="connsiteX0" fmla="*/ 16139 w 83261"/>
                      <a:gd name="connsiteY0" fmla="*/ 19455 h 40843"/>
                      <a:gd name="connsiteX1" fmla="*/ 47047 w 83261"/>
                      <a:gd name="connsiteY1" fmla="*/ 3245 h 40843"/>
                      <a:gd name="connsiteX2" fmla="*/ 47047 w 83261"/>
                      <a:gd name="connsiteY2" fmla="*/ 3245 h 40843"/>
                      <a:gd name="connsiteX3" fmla="*/ 77048 w 83261"/>
                      <a:gd name="connsiteY3" fmla="*/ 1249 h 40843"/>
                      <a:gd name="connsiteX4" fmla="*/ 79407 w 83261"/>
                      <a:gd name="connsiteY4" fmla="*/ 2519 h 40843"/>
                      <a:gd name="connsiteX5" fmla="*/ 76201 w 83261"/>
                      <a:gd name="connsiteY5" fmla="*/ 18427 h 40843"/>
                      <a:gd name="connsiteX6" fmla="*/ 59205 w 83261"/>
                      <a:gd name="connsiteY6" fmla="*/ 19939 h 40843"/>
                      <a:gd name="connsiteX7" fmla="*/ 20312 w 83261"/>
                      <a:gd name="connsiteY7" fmla="*/ 29254 h 40843"/>
                      <a:gd name="connsiteX8" fmla="*/ 533 w 83261"/>
                      <a:gd name="connsiteY8" fmla="*/ 40746 h 40843"/>
                      <a:gd name="connsiteX9" fmla="*/ 16139 w 83261"/>
                      <a:gd name="connsiteY9" fmla="*/ 19515 h 408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83261" h="40843">
                        <a:moveTo>
                          <a:pt x="16139" y="19455"/>
                        </a:moveTo>
                        <a:cubicBezTo>
                          <a:pt x="26179" y="10201"/>
                          <a:pt x="38034" y="5241"/>
                          <a:pt x="47047" y="3245"/>
                        </a:cubicBezTo>
                        <a:lnTo>
                          <a:pt x="47047" y="3245"/>
                        </a:lnTo>
                        <a:cubicBezTo>
                          <a:pt x="62410" y="-1110"/>
                          <a:pt x="73237" y="-324"/>
                          <a:pt x="77048" y="1249"/>
                        </a:cubicBezTo>
                        <a:cubicBezTo>
                          <a:pt x="77955" y="1612"/>
                          <a:pt x="78742" y="2035"/>
                          <a:pt x="79407" y="2519"/>
                        </a:cubicBezTo>
                        <a:cubicBezTo>
                          <a:pt x="85939" y="6813"/>
                          <a:pt x="83701" y="17277"/>
                          <a:pt x="76201" y="18427"/>
                        </a:cubicBezTo>
                        <a:cubicBezTo>
                          <a:pt x="72753" y="18971"/>
                          <a:pt x="64104" y="19576"/>
                          <a:pt x="59205" y="19939"/>
                        </a:cubicBezTo>
                        <a:cubicBezTo>
                          <a:pt x="50616" y="20604"/>
                          <a:pt x="26845" y="26169"/>
                          <a:pt x="20312" y="29254"/>
                        </a:cubicBezTo>
                        <a:cubicBezTo>
                          <a:pt x="7489" y="35302"/>
                          <a:pt x="2711" y="41714"/>
                          <a:pt x="533" y="40746"/>
                        </a:cubicBezTo>
                        <a:cubicBezTo>
                          <a:pt x="-1644" y="39778"/>
                          <a:pt x="2711" y="31854"/>
                          <a:pt x="16139" y="1951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4" name="Freihandform: Form 463">
                    <a:extLst>
                      <a:ext uri="{FF2B5EF4-FFF2-40B4-BE49-F238E27FC236}">
                        <a16:creationId xmlns:a16="http://schemas.microsoft.com/office/drawing/2014/main" id="{39212651-155C-EBF7-CA4F-15E7EC97A141}"/>
                      </a:ext>
                    </a:extLst>
                  </p:cNvPr>
                  <p:cNvSpPr/>
                  <p:nvPr/>
                </p:nvSpPr>
                <p:spPr>
                  <a:xfrm>
                    <a:off x="806812" y="1909914"/>
                    <a:ext cx="51859" cy="18055"/>
                  </a:xfrm>
                  <a:custGeom>
                    <a:avLst/>
                    <a:gdLst>
                      <a:gd name="connsiteX0" fmla="*/ 312 w 51859"/>
                      <a:gd name="connsiteY0" fmla="*/ 14496 h 18055"/>
                      <a:gd name="connsiteX1" fmla="*/ 38176 w 51859"/>
                      <a:gd name="connsiteY1" fmla="*/ 40 h 18055"/>
                      <a:gd name="connsiteX2" fmla="*/ 45192 w 51859"/>
                      <a:gd name="connsiteY2" fmla="*/ 10625 h 18055"/>
                      <a:gd name="connsiteX3" fmla="*/ 8840 w 51859"/>
                      <a:gd name="connsiteY3" fmla="*/ 17520 h 18055"/>
                      <a:gd name="connsiteX4" fmla="*/ 312 w 51859"/>
                      <a:gd name="connsiteY4" fmla="*/ 14496 h 180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859" h="18055">
                        <a:moveTo>
                          <a:pt x="312" y="14496"/>
                        </a:moveTo>
                        <a:cubicBezTo>
                          <a:pt x="1824" y="12258"/>
                          <a:pt x="20454" y="887"/>
                          <a:pt x="38176" y="40"/>
                        </a:cubicBezTo>
                        <a:cubicBezTo>
                          <a:pt x="52935" y="-686"/>
                          <a:pt x="56503" y="8689"/>
                          <a:pt x="45192" y="10625"/>
                        </a:cubicBezTo>
                        <a:cubicBezTo>
                          <a:pt x="31281" y="12984"/>
                          <a:pt x="14707" y="15887"/>
                          <a:pt x="8840" y="17520"/>
                        </a:cubicBezTo>
                        <a:cubicBezTo>
                          <a:pt x="2973" y="19154"/>
                          <a:pt x="-1200" y="16734"/>
                          <a:pt x="312" y="1449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5" name="Freihandform: Form 464">
                    <a:extLst>
                      <a:ext uri="{FF2B5EF4-FFF2-40B4-BE49-F238E27FC236}">
                        <a16:creationId xmlns:a16="http://schemas.microsoft.com/office/drawing/2014/main" id="{2FB705D3-0F02-0153-FFA2-D0AF5E08D3A3}"/>
                      </a:ext>
                    </a:extLst>
                  </p:cNvPr>
                  <p:cNvSpPr/>
                  <p:nvPr/>
                </p:nvSpPr>
                <p:spPr>
                  <a:xfrm>
                    <a:off x="701939" y="1951595"/>
                    <a:ext cx="223765" cy="214238"/>
                  </a:xfrm>
                  <a:custGeom>
                    <a:avLst/>
                    <a:gdLst>
                      <a:gd name="connsiteX0" fmla="*/ 15303 w 223765"/>
                      <a:gd name="connsiteY0" fmla="*/ 20962 h 214238"/>
                      <a:gd name="connsiteX1" fmla="*/ 0 w 223765"/>
                      <a:gd name="connsiteY1" fmla="*/ 121490 h 214238"/>
                      <a:gd name="connsiteX2" fmla="*/ 62784 w 223765"/>
                      <a:gd name="connsiteY2" fmla="*/ 211432 h 214238"/>
                      <a:gd name="connsiteX3" fmla="*/ 191378 w 223765"/>
                      <a:gd name="connsiteY3" fmla="*/ 203690 h 214238"/>
                      <a:gd name="connsiteX4" fmla="*/ 211459 w 223765"/>
                      <a:gd name="connsiteY4" fmla="*/ 3300 h 214238"/>
                      <a:gd name="connsiteX5" fmla="*/ 15242 w 223765"/>
                      <a:gd name="connsiteY5" fmla="*/ 20962 h 2142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23765" h="214238">
                        <a:moveTo>
                          <a:pt x="15303" y="20962"/>
                        </a:moveTo>
                        <a:lnTo>
                          <a:pt x="0" y="121490"/>
                        </a:lnTo>
                        <a:cubicBezTo>
                          <a:pt x="0" y="121490"/>
                          <a:pt x="9617" y="172358"/>
                          <a:pt x="62784" y="211432"/>
                        </a:cubicBezTo>
                        <a:cubicBezTo>
                          <a:pt x="117403" y="220808"/>
                          <a:pt x="191378" y="203690"/>
                          <a:pt x="191378" y="203690"/>
                        </a:cubicBezTo>
                        <a:cubicBezTo>
                          <a:pt x="191378" y="203690"/>
                          <a:pt x="248053" y="74492"/>
                          <a:pt x="211459" y="3300"/>
                        </a:cubicBezTo>
                        <a:cubicBezTo>
                          <a:pt x="205713" y="-9946"/>
                          <a:pt x="15242" y="20962"/>
                          <a:pt x="15242" y="20962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6" name="Freihandform: Form 465">
                    <a:extLst>
                      <a:ext uri="{FF2B5EF4-FFF2-40B4-BE49-F238E27FC236}">
                        <a16:creationId xmlns:a16="http://schemas.microsoft.com/office/drawing/2014/main" id="{E6A57E3B-5962-F4D0-DF06-DB46BF061C35}"/>
                      </a:ext>
                    </a:extLst>
                  </p:cNvPr>
                  <p:cNvSpPr/>
                  <p:nvPr/>
                </p:nvSpPr>
                <p:spPr>
                  <a:xfrm>
                    <a:off x="601944" y="1942055"/>
                    <a:ext cx="146387" cy="143187"/>
                  </a:xfrm>
                  <a:custGeom>
                    <a:avLst/>
                    <a:gdLst>
                      <a:gd name="connsiteX0" fmla="*/ 108282 w 146387"/>
                      <a:gd name="connsiteY0" fmla="*/ 143127 h 143187"/>
                      <a:gd name="connsiteX1" fmla="*/ 28259 w 146387"/>
                      <a:gd name="connsiteY1" fmla="*/ 110586 h 143187"/>
                      <a:gd name="connsiteX2" fmla="*/ 133 w 146387"/>
                      <a:gd name="connsiteY2" fmla="*/ 68185 h 143187"/>
                      <a:gd name="connsiteX3" fmla="*/ 30134 w 146387"/>
                      <a:gd name="connsiteY3" fmla="*/ 8304 h 143187"/>
                      <a:gd name="connsiteX4" fmla="*/ 120500 w 146387"/>
                      <a:gd name="connsiteY4" fmla="*/ 31893 h 143187"/>
                      <a:gd name="connsiteX5" fmla="*/ 146388 w 146387"/>
                      <a:gd name="connsiteY5" fmla="*/ 49555 h 143187"/>
                      <a:gd name="connsiteX6" fmla="*/ 108282 w 146387"/>
                      <a:gd name="connsiteY6" fmla="*/ 143188 h 143187"/>
                      <a:gd name="connsiteX7" fmla="*/ 55417 w 146387"/>
                      <a:gd name="connsiteY7" fmla="*/ 12961 h 143187"/>
                      <a:gd name="connsiteX8" fmla="*/ 38118 w 146387"/>
                      <a:gd name="connsiteY8" fmla="*/ 18587 h 143187"/>
                      <a:gd name="connsiteX9" fmla="*/ 13137 w 146387"/>
                      <a:gd name="connsiteY9" fmla="*/ 67278 h 143187"/>
                      <a:gd name="connsiteX10" fmla="*/ 34731 w 146387"/>
                      <a:gd name="connsiteY10" fmla="*/ 99275 h 143187"/>
                      <a:gd name="connsiteX11" fmla="*/ 101084 w 146387"/>
                      <a:gd name="connsiteY11" fmla="*/ 128066 h 143187"/>
                      <a:gd name="connsiteX12" fmla="*/ 130057 w 146387"/>
                      <a:gd name="connsiteY12" fmla="*/ 53971 h 143187"/>
                      <a:gd name="connsiteX13" fmla="*/ 112092 w 146387"/>
                      <a:gd name="connsiteY13" fmla="*/ 41632 h 143187"/>
                      <a:gd name="connsiteX14" fmla="*/ 55477 w 146387"/>
                      <a:gd name="connsiteY14" fmla="*/ 12901 h 1431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146387" h="143187">
                        <a:moveTo>
                          <a:pt x="108282" y="143127"/>
                        </a:moveTo>
                        <a:cubicBezTo>
                          <a:pt x="108282" y="143127"/>
                          <a:pt x="66546" y="132300"/>
                          <a:pt x="28259" y="110586"/>
                        </a:cubicBezTo>
                        <a:cubicBezTo>
                          <a:pt x="11383" y="100968"/>
                          <a:pt x="1403" y="85907"/>
                          <a:pt x="133" y="68185"/>
                        </a:cubicBezTo>
                        <a:cubicBezTo>
                          <a:pt x="-1379" y="46652"/>
                          <a:pt x="10113" y="23667"/>
                          <a:pt x="30134" y="8304"/>
                        </a:cubicBezTo>
                        <a:cubicBezTo>
                          <a:pt x="64671" y="-18249"/>
                          <a:pt x="115056" y="26934"/>
                          <a:pt x="120500" y="31893"/>
                        </a:cubicBezTo>
                        <a:lnTo>
                          <a:pt x="146388" y="49555"/>
                        </a:lnTo>
                        <a:lnTo>
                          <a:pt x="108282" y="143188"/>
                        </a:lnTo>
                        <a:close/>
                        <a:moveTo>
                          <a:pt x="55417" y="12961"/>
                        </a:moveTo>
                        <a:cubicBezTo>
                          <a:pt x="49247" y="12961"/>
                          <a:pt x="43320" y="14594"/>
                          <a:pt x="38118" y="18587"/>
                        </a:cubicBezTo>
                        <a:cubicBezTo>
                          <a:pt x="21484" y="31349"/>
                          <a:pt x="11928" y="50039"/>
                          <a:pt x="13137" y="67278"/>
                        </a:cubicBezTo>
                        <a:cubicBezTo>
                          <a:pt x="14045" y="80766"/>
                          <a:pt x="21545" y="91835"/>
                          <a:pt x="34731" y="99275"/>
                        </a:cubicBezTo>
                        <a:cubicBezTo>
                          <a:pt x="62494" y="115062"/>
                          <a:pt x="91043" y="125284"/>
                          <a:pt x="101084" y="128066"/>
                        </a:cubicBezTo>
                        <a:lnTo>
                          <a:pt x="130057" y="53971"/>
                        </a:lnTo>
                        <a:lnTo>
                          <a:pt x="112092" y="41632"/>
                        </a:lnTo>
                        <a:cubicBezTo>
                          <a:pt x="111729" y="41269"/>
                          <a:pt x="81365" y="12901"/>
                          <a:pt x="55477" y="12901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7" name="Freihandform: Form 466">
                    <a:extLst>
                      <a:ext uri="{FF2B5EF4-FFF2-40B4-BE49-F238E27FC236}">
                        <a16:creationId xmlns:a16="http://schemas.microsoft.com/office/drawing/2014/main" id="{098914F6-1F93-327B-118D-166124E158EE}"/>
                      </a:ext>
                    </a:extLst>
                  </p:cNvPr>
                  <p:cNvSpPr/>
                  <p:nvPr/>
                </p:nvSpPr>
                <p:spPr>
                  <a:xfrm>
                    <a:off x="443945" y="1659724"/>
                    <a:ext cx="397535" cy="386565"/>
                  </a:xfrm>
                  <a:custGeom>
                    <a:avLst/>
                    <a:gdLst>
                      <a:gd name="connsiteX0" fmla="*/ 105690 w 397535"/>
                      <a:gd name="connsiteY0" fmla="*/ 386566 h 386565"/>
                      <a:gd name="connsiteX1" fmla="*/ 397535 w 397535"/>
                      <a:gd name="connsiteY1" fmla="*/ 158352 h 386565"/>
                      <a:gd name="connsiteX2" fmla="*/ 206279 w 397535"/>
                      <a:gd name="connsiteY2" fmla="*/ 0 h 386565"/>
                      <a:gd name="connsiteX3" fmla="*/ 263 w 397535"/>
                      <a:gd name="connsiteY3" fmla="*/ 246057 h 386565"/>
                      <a:gd name="connsiteX4" fmla="*/ 105690 w 397535"/>
                      <a:gd name="connsiteY4" fmla="*/ 386505 h 3865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7535" h="386565">
                        <a:moveTo>
                          <a:pt x="105690" y="386566"/>
                        </a:moveTo>
                        <a:cubicBezTo>
                          <a:pt x="207972" y="341504"/>
                          <a:pt x="277894" y="163917"/>
                          <a:pt x="397535" y="158352"/>
                        </a:cubicBezTo>
                        <a:cubicBezTo>
                          <a:pt x="393785" y="80688"/>
                          <a:pt x="324650" y="0"/>
                          <a:pt x="206279" y="0"/>
                        </a:cubicBezTo>
                        <a:cubicBezTo>
                          <a:pt x="155107" y="0"/>
                          <a:pt x="-7418" y="149945"/>
                          <a:pt x="263" y="246057"/>
                        </a:cubicBezTo>
                        <a:cubicBezTo>
                          <a:pt x="4195" y="295172"/>
                          <a:pt x="66495" y="357774"/>
                          <a:pt x="105690" y="386505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8" name="Freihandform: Form 467">
                    <a:extLst>
                      <a:ext uri="{FF2B5EF4-FFF2-40B4-BE49-F238E27FC236}">
                        <a16:creationId xmlns:a16="http://schemas.microsoft.com/office/drawing/2014/main" id="{94F5C81E-F13E-A69A-05C8-38C30F2340A0}"/>
                      </a:ext>
                    </a:extLst>
                  </p:cNvPr>
                  <p:cNvSpPr/>
                  <p:nvPr/>
                </p:nvSpPr>
                <p:spPr>
                  <a:xfrm>
                    <a:off x="618710" y="1863562"/>
                    <a:ext cx="284700" cy="113350"/>
                  </a:xfrm>
                  <a:custGeom>
                    <a:avLst/>
                    <a:gdLst>
                      <a:gd name="connsiteX0" fmla="*/ 115589 w 284700"/>
                      <a:gd name="connsiteY0" fmla="*/ 113351 h 113350"/>
                      <a:gd name="connsiteX1" fmla="*/ 106032 w 284700"/>
                      <a:gd name="connsiteY1" fmla="*/ 59579 h 113350"/>
                      <a:gd name="connsiteX2" fmla="*/ 4415 w 284700"/>
                      <a:gd name="connsiteY2" fmla="*/ 86737 h 113350"/>
                      <a:gd name="connsiteX3" fmla="*/ 0 w 284700"/>
                      <a:gd name="connsiteY3" fmla="*/ 70224 h 113350"/>
                      <a:gd name="connsiteX4" fmla="*/ 262993 w 284700"/>
                      <a:gd name="connsiteY4" fmla="*/ 0 h 113350"/>
                      <a:gd name="connsiteX5" fmla="*/ 266320 w 284700"/>
                      <a:gd name="connsiteY5" fmla="*/ 5444 h 113350"/>
                      <a:gd name="connsiteX6" fmla="*/ 279748 w 284700"/>
                      <a:gd name="connsiteY6" fmla="*/ 97685 h 113350"/>
                      <a:gd name="connsiteX7" fmla="*/ 278114 w 284700"/>
                      <a:gd name="connsiteY7" fmla="*/ 103491 h 113350"/>
                      <a:gd name="connsiteX8" fmla="*/ 115649 w 284700"/>
                      <a:gd name="connsiteY8" fmla="*/ 113290 h 113350"/>
                      <a:gd name="connsiteX9" fmla="*/ 122545 w 284700"/>
                      <a:gd name="connsiteY9" fmla="*/ 55163 h 113350"/>
                      <a:gd name="connsiteX10" fmla="*/ 129742 w 284700"/>
                      <a:gd name="connsiteY10" fmla="*/ 95386 h 113350"/>
                      <a:gd name="connsiteX11" fmla="*/ 264808 w 284700"/>
                      <a:gd name="connsiteY11" fmla="*/ 87221 h 113350"/>
                      <a:gd name="connsiteX12" fmla="*/ 254888 w 284700"/>
                      <a:gd name="connsiteY12" fmla="*/ 19839 h 113350"/>
                      <a:gd name="connsiteX13" fmla="*/ 122545 w 284700"/>
                      <a:gd name="connsiteY13" fmla="*/ 55163 h 113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284700" h="113350">
                        <a:moveTo>
                          <a:pt x="115589" y="113351"/>
                        </a:moveTo>
                        <a:lnTo>
                          <a:pt x="106032" y="59579"/>
                        </a:lnTo>
                        <a:lnTo>
                          <a:pt x="4415" y="86737"/>
                        </a:lnTo>
                        <a:lnTo>
                          <a:pt x="0" y="70224"/>
                        </a:lnTo>
                        <a:lnTo>
                          <a:pt x="262993" y="0"/>
                        </a:lnTo>
                        <a:lnTo>
                          <a:pt x="266320" y="5444"/>
                        </a:lnTo>
                        <a:cubicBezTo>
                          <a:pt x="285252" y="36655"/>
                          <a:pt x="289244" y="64236"/>
                          <a:pt x="279748" y="97685"/>
                        </a:cubicBezTo>
                        <a:lnTo>
                          <a:pt x="278114" y="103491"/>
                        </a:lnTo>
                        <a:lnTo>
                          <a:pt x="115649" y="113290"/>
                        </a:lnTo>
                        <a:close/>
                        <a:moveTo>
                          <a:pt x="122545" y="55163"/>
                        </a:moveTo>
                        <a:lnTo>
                          <a:pt x="129742" y="95386"/>
                        </a:lnTo>
                        <a:lnTo>
                          <a:pt x="264808" y="87221"/>
                        </a:lnTo>
                        <a:cubicBezTo>
                          <a:pt x="270614" y="62724"/>
                          <a:pt x="267711" y="43006"/>
                          <a:pt x="254888" y="19839"/>
                        </a:cubicBezTo>
                        <a:lnTo>
                          <a:pt x="122545" y="55163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9" name="Freihandform: Form 468">
                    <a:extLst>
                      <a:ext uri="{FF2B5EF4-FFF2-40B4-BE49-F238E27FC236}">
                        <a16:creationId xmlns:a16="http://schemas.microsoft.com/office/drawing/2014/main" id="{AFD20B0A-CD7F-5E6D-EB36-54425BFFE64C}"/>
                      </a:ext>
                    </a:extLst>
                  </p:cNvPr>
                  <p:cNvSpPr/>
                  <p:nvPr/>
                </p:nvSpPr>
                <p:spPr>
                  <a:xfrm rot="-1304998">
                    <a:off x="588752" y="1930189"/>
                    <a:ext cx="87099" cy="135004"/>
                  </a:xfrm>
                  <a:custGeom>
                    <a:avLst/>
                    <a:gdLst>
                      <a:gd name="connsiteX0" fmla="*/ 87100 w 87099"/>
                      <a:gd name="connsiteY0" fmla="*/ 67502 h 135004"/>
                      <a:gd name="connsiteX1" fmla="*/ 43550 w 87099"/>
                      <a:gd name="connsiteY1" fmla="*/ 135005 h 135004"/>
                      <a:gd name="connsiteX2" fmla="*/ 0 w 87099"/>
                      <a:gd name="connsiteY2" fmla="*/ 67502 h 135004"/>
                      <a:gd name="connsiteX3" fmla="*/ 43550 w 87099"/>
                      <a:gd name="connsiteY3" fmla="*/ 0 h 135004"/>
                      <a:gd name="connsiteX4" fmla="*/ 87100 w 87099"/>
                      <a:gd name="connsiteY4" fmla="*/ 67502 h 1350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7099" h="135004">
                        <a:moveTo>
                          <a:pt x="87100" y="67502"/>
                        </a:moveTo>
                        <a:cubicBezTo>
                          <a:pt x="87100" y="104783"/>
                          <a:pt x="67602" y="135005"/>
                          <a:pt x="43550" y="135005"/>
                        </a:cubicBezTo>
                        <a:cubicBezTo>
                          <a:pt x="19498" y="135005"/>
                          <a:pt x="0" y="104783"/>
                          <a:pt x="0" y="67502"/>
                        </a:cubicBezTo>
                        <a:cubicBezTo>
                          <a:pt x="0" y="30222"/>
                          <a:pt x="19498" y="0"/>
                          <a:pt x="43550" y="0"/>
                        </a:cubicBezTo>
                        <a:cubicBezTo>
                          <a:pt x="67602" y="0"/>
                          <a:pt x="87100" y="30222"/>
                          <a:pt x="87100" y="67502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70" name="Grafik 297">
                  <a:extLst>
                    <a:ext uri="{FF2B5EF4-FFF2-40B4-BE49-F238E27FC236}">
                      <a16:creationId xmlns:a16="http://schemas.microsoft.com/office/drawing/2014/main" id="{36A1CD4A-BD06-DB8B-E426-91894D46EA2D}"/>
                    </a:ext>
                  </a:extLst>
                </p:cNvPr>
                <p:cNvGrpSpPr/>
                <p:nvPr/>
              </p:nvGrpSpPr>
              <p:grpSpPr>
                <a:xfrm>
                  <a:off x="372895" y="2175735"/>
                  <a:ext cx="581693" cy="1213887"/>
                  <a:chOff x="372895" y="2175735"/>
                  <a:chExt cx="581693" cy="1213887"/>
                </a:xfrm>
              </p:grpSpPr>
              <p:sp>
                <p:nvSpPr>
                  <p:cNvPr id="471" name="Freihandform: Form 470">
                    <a:extLst>
                      <a:ext uri="{FF2B5EF4-FFF2-40B4-BE49-F238E27FC236}">
                        <a16:creationId xmlns:a16="http://schemas.microsoft.com/office/drawing/2014/main" id="{AC7F5AA1-1C22-A00E-FCC8-76C758CBC93B}"/>
                      </a:ext>
                    </a:extLst>
                  </p:cNvPr>
                  <p:cNvSpPr/>
                  <p:nvPr/>
                </p:nvSpPr>
                <p:spPr>
                  <a:xfrm>
                    <a:off x="372895" y="2175735"/>
                    <a:ext cx="581693" cy="1213887"/>
                  </a:xfrm>
                  <a:custGeom>
                    <a:avLst/>
                    <a:gdLst>
                      <a:gd name="connsiteX0" fmla="*/ 0 w 581693"/>
                      <a:gd name="connsiteY0" fmla="*/ 1177656 h 1213887"/>
                      <a:gd name="connsiteX1" fmla="*/ 561189 w 581693"/>
                      <a:gd name="connsiteY1" fmla="*/ 1213888 h 1213887"/>
                      <a:gd name="connsiteX2" fmla="*/ 579637 w 581693"/>
                      <a:gd name="connsiteY2" fmla="*/ 480616 h 1213887"/>
                      <a:gd name="connsiteX3" fmla="*/ 434894 w 581693"/>
                      <a:gd name="connsiteY3" fmla="*/ 178610 h 1213887"/>
                      <a:gd name="connsiteX4" fmla="*/ 342230 w 581693"/>
                      <a:gd name="connsiteY4" fmla="*/ 70158 h 1213887"/>
                      <a:gd name="connsiteX5" fmla="*/ 125871 w 581693"/>
                      <a:gd name="connsiteY5" fmla="*/ 2535 h 1213887"/>
                      <a:gd name="connsiteX6" fmla="*/ 49296 w 581693"/>
                      <a:gd name="connsiteY6" fmla="*/ 803248 h 1213887"/>
                      <a:gd name="connsiteX7" fmla="*/ 0 w 581693"/>
                      <a:gd name="connsiteY7" fmla="*/ 1177596 h 12138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81693" h="1213887">
                        <a:moveTo>
                          <a:pt x="0" y="1177656"/>
                        </a:moveTo>
                        <a:lnTo>
                          <a:pt x="561189" y="1213888"/>
                        </a:lnTo>
                        <a:cubicBezTo>
                          <a:pt x="571229" y="1059769"/>
                          <a:pt x="587440" y="576063"/>
                          <a:pt x="579637" y="480616"/>
                        </a:cubicBezTo>
                        <a:cubicBezTo>
                          <a:pt x="567782" y="336055"/>
                          <a:pt x="434894" y="178610"/>
                          <a:pt x="434894" y="178610"/>
                        </a:cubicBezTo>
                        <a:cubicBezTo>
                          <a:pt x="434894" y="178610"/>
                          <a:pt x="368964" y="95502"/>
                          <a:pt x="342230" y="70158"/>
                        </a:cubicBezTo>
                        <a:cubicBezTo>
                          <a:pt x="338661" y="66771"/>
                          <a:pt x="237226" y="-15308"/>
                          <a:pt x="125871" y="2535"/>
                        </a:cubicBezTo>
                        <a:cubicBezTo>
                          <a:pt x="-63692" y="199477"/>
                          <a:pt x="37259" y="683668"/>
                          <a:pt x="49296" y="803248"/>
                        </a:cubicBezTo>
                        <a:cubicBezTo>
                          <a:pt x="60184" y="911397"/>
                          <a:pt x="8408" y="1132050"/>
                          <a:pt x="0" y="117759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2" name="Freihandform: Form 471">
                    <a:extLst>
                      <a:ext uri="{FF2B5EF4-FFF2-40B4-BE49-F238E27FC236}">
                        <a16:creationId xmlns:a16="http://schemas.microsoft.com/office/drawing/2014/main" id="{E2217F9D-68C2-49B3-653E-366333CF95FC}"/>
                      </a:ext>
                    </a:extLst>
                  </p:cNvPr>
                  <p:cNvSpPr/>
                  <p:nvPr/>
                </p:nvSpPr>
                <p:spPr>
                  <a:xfrm>
                    <a:off x="431918" y="2368973"/>
                    <a:ext cx="299871" cy="833700"/>
                  </a:xfrm>
                  <a:custGeom>
                    <a:avLst/>
                    <a:gdLst>
                      <a:gd name="connsiteX0" fmla="*/ 214737 w 299871"/>
                      <a:gd name="connsiteY0" fmla="*/ 243586 h 833700"/>
                      <a:gd name="connsiteX1" fmla="*/ 69934 w 299871"/>
                      <a:gd name="connsiteY1" fmla="*/ 12953 h 833700"/>
                      <a:gd name="connsiteX2" fmla="*/ 11625 w 299871"/>
                      <a:gd name="connsiteY2" fmla="*/ 413612 h 833700"/>
                      <a:gd name="connsiteX3" fmla="*/ 173062 w 299871"/>
                      <a:gd name="connsiteY3" fmla="*/ 832175 h 833700"/>
                      <a:gd name="connsiteX4" fmla="*/ 214737 w 299871"/>
                      <a:gd name="connsiteY4" fmla="*/ 243586 h 8337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9871" h="833700">
                        <a:moveTo>
                          <a:pt x="214737" y="243586"/>
                        </a:moveTo>
                        <a:cubicBezTo>
                          <a:pt x="198890" y="90315"/>
                          <a:pt x="116205" y="-42815"/>
                          <a:pt x="69934" y="12953"/>
                        </a:cubicBezTo>
                        <a:cubicBezTo>
                          <a:pt x="-45111" y="208323"/>
                          <a:pt x="17976" y="260462"/>
                          <a:pt x="11625" y="413612"/>
                        </a:cubicBezTo>
                        <a:cubicBezTo>
                          <a:pt x="2915" y="624103"/>
                          <a:pt x="31404" y="854676"/>
                          <a:pt x="173062" y="832175"/>
                        </a:cubicBezTo>
                        <a:cubicBezTo>
                          <a:pt x="424200" y="792315"/>
                          <a:pt x="226895" y="361473"/>
                          <a:pt x="214737" y="243586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73" name="Grafik 297">
                  <a:extLst>
                    <a:ext uri="{FF2B5EF4-FFF2-40B4-BE49-F238E27FC236}">
                      <a16:creationId xmlns:a16="http://schemas.microsoft.com/office/drawing/2014/main" id="{BC990033-B12E-225D-C171-DF3C51556DE1}"/>
                    </a:ext>
                  </a:extLst>
                </p:cNvPr>
                <p:cNvGrpSpPr/>
                <p:nvPr/>
              </p:nvGrpSpPr>
              <p:grpSpPr>
                <a:xfrm>
                  <a:off x="1054754" y="3219161"/>
                  <a:ext cx="382210" cy="209656"/>
                  <a:chOff x="1054754" y="3219161"/>
                  <a:chExt cx="382210" cy="209656"/>
                </a:xfrm>
                <a:solidFill>
                  <a:srgbClr val="02787D"/>
                </a:solidFill>
              </p:grpSpPr>
              <p:sp>
                <p:nvSpPr>
                  <p:cNvPr id="474" name="Freihandform: Form 473">
                    <a:extLst>
                      <a:ext uri="{FF2B5EF4-FFF2-40B4-BE49-F238E27FC236}">
                        <a16:creationId xmlns:a16="http://schemas.microsoft.com/office/drawing/2014/main" id="{AB937EF7-27B8-F587-C6B9-80F2FA9494E8}"/>
                      </a:ext>
                    </a:extLst>
                  </p:cNvPr>
                  <p:cNvSpPr/>
                  <p:nvPr/>
                </p:nvSpPr>
                <p:spPr>
                  <a:xfrm>
                    <a:off x="1054754" y="3240041"/>
                    <a:ext cx="118915" cy="118915"/>
                  </a:xfrm>
                  <a:custGeom>
                    <a:avLst/>
                    <a:gdLst>
                      <a:gd name="connsiteX0" fmla="*/ 118915 w 118915"/>
                      <a:gd name="connsiteY0" fmla="*/ 59458 h 118915"/>
                      <a:gd name="connsiteX1" fmla="*/ 59458 w 118915"/>
                      <a:gd name="connsiteY1" fmla="*/ 118915 h 118915"/>
                      <a:gd name="connsiteX2" fmla="*/ 0 w 118915"/>
                      <a:gd name="connsiteY2" fmla="*/ 59458 h 118915"/>
                      <a:gd name="connsiteX3" fmla="*/ 59458 w 118915"/>
                      <a:gd name="connsiteY3" fmla="*/ 0 h 118915"/>
                      <a:gd name="connsiteX4" fmla="*/ 118915 w 118915"/>
                      <a:gd name="connsiteY4" fmla="*/ 59458 h 118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8915" h="118915">
                        <a:moveTo>
                          <a:pt x="118915" y="59458"/>
                        </a:moveTo>
                        <a:cubicBezTo>
                          <a:pt x="118915" y="92295"/>
                          <a:pt x="92295" y="118915"/>
                          <a:pt x="59458" y="118915"/>
                        </a:cubicBezTo>
                        <a:cubicBezTo>
                          <a:pt x="26620" y="118915"/>
                          <a:pt x="0" y="92295"/>
                          <a:pt x="0" y="59458"/>
                        </a:cubicBezTo>
                        <a:cubicBezTo>
                          <a:pt x="0" y="26620"/>
                          <a:pt x="26620" y="0"/>
                          <a:pt x="59458" y="0"/>
                        </a:cubicBezTo>
                        <a:cubicBezTo>
                          <a:pt x="92295" y="0"/>
                          <a:pt x="118915" y="26620"/>
                          <a:pt x="118915" y="5945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475" name="Grafik 297">
                    <a:extLst>
                      <a:ext uri="{FF2B5EF4-FFF2-40B4-BE49-F238E27FC236}">
                        <a16:creationId xmlns:a16="http://schemas.microsoft.com/office/drawing/2014/main" id="{73FC30AC-B150-DA99-CD61-D7A71E6E4558}"/>
                      </a:ext>
                    </a:extLst>
                  </p:cNvPr>
                  <p:cNvGrpSpPr/>
                  <p:nvPr/>
                </p:nvGrpSpPr>
                <p:grpSpPr>
                  <a:xfrm>
                    <a:off x="1069820" y="3219161"/>
                    <a:ext cx="367143" cy="209656"/>
                    <a:chOff x="1069820" y="3219161"/>
                    <a:chExt cx="367143" cy="209656"/>
                  </a:xfrm>
                  <a:solidFill>
                    <a:srgbClr val="02787D"/>
                  </a:solidFill>
                </p:grpSpPr>
                <p:grpSp>
                  <p:nvGrpSpPr>
                    <p:cNvPr id="476" name="Grafik 297">
                      <a:extLst>
                        <a:ext uri="{FF2B5EF4-FFF2-40B4-BE49-F238E27FC236}">
                          <a16:creationId xmlns:a16="http://schemas.microsoft.com/office/drawing/2014/main" id="{98B9A424-AFA2-F455-104F-4D71848BFB4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64829" y="3326989"/>
                      <a:ext cx="172135" cy="51322"/>
                      <a:chOff x="1264829" y="3326989"/>
                      <a:chExt cx="172135" cy="51322"/>
                    </a:xfrm>
                    <a:solidFill>
                      <a:srgbClr val="02787D"/>
                    </a:solidFill>
                  </p:grpSpPr>
                  <p:sp>
                    <p:nvSpPr>
                      <p:cNvPr id="477" name="Freihandform: Form 476">
                        <a:extLst>
                          <a:ext uri="{FF2B5EF4-FFF2-40B4-BE49-F238E27FC236}">
                            <a16:creationId xmlns:a16="http://schemas.microsoft.com/office/drawing/2014/main" id="{7A45278D-E1EF-E357-F7EF-A0F4C0A84B4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64829" y="3326989"/>
                        <a:ext cx="79232" cy="51322"/>
                      </a:xfrm>
                      <a:custGeom>
                        <a:avLst/>
                        <a:gdLst>
                          <a:gd name="connsiteX0" fmla="*/ 63865 w 79232"/>
                          <a:gd name="connsiteY0" fmla="*/ 51323 h 51322"/>
                          <a:gd name="connsiteX1" fmla="*/ 79229 w 79232"/>
                          <a:gd name="connsiteY1" fmla="*/ 30999 h 51322"/>
                          <a:gd name="connsiteX2" fmla="*/ 65559 w 79232"/>
                          <a:gd name="connsiteY2" fmla="*/ 12551 h 51322"/>
                          <a:gd name="connsiteX3" fmla="*/ 23158 w 79232"/>
                          <a:gd name="connsiteY3" fmla="*/ 514 h 51322"/>
                          <a:gd name="connsiteX4" fmla="*/ 900 w 79232"/>
                          <a:gd name="connsiteY4" fmla="*/ 14668 h 51322"/>
                          <a:gd name="connsiteX5" fmla="*/ 16202 w 79232"/>
                          <a:gd name="connsiteY5" fmla="*/ 40133 h 51322"/>
                          <a:gd name="connsiteX6" fmla="*/ 63865 w 79232"/>
                          <a:gd name="connsiteY6" fmla="*/ 51323 h 5132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9232" h="51322">
                            <a:moveTo>
                              <a:pt x="63865" y="51323"/>
                            </a:moveTo>
                            <a:cubicBezTo>
                              <a:pt x="63865" y="51323"/>
                              <a:pt x="78987" y="46544"/>
                              <a:pt x="79229" y="30999"/>
                            </a:cubicBezTo>
                            <a:cubicBezTo>
                              <a:pt x="79471" y="15878"/>
                              <a:pt x="65559" y="12551"/>
                              <a:pt x="65559" y="12551"/>
                            </a:cubicBezTo>
                            <a:lnTo>
                              <a:pt x="23158" y="514"/>
                            </a:lnTo>
                            <a:cubicBezTo>
                              <a:pt x="11243" y="-1966"/>
                              <a:pt x="3440" y="4809"/>
                              <a:pt x="900" y="14668"/>
                            </a:cubicBezTo>
                            <a:cubicBezTo>
                              <a:pt x="-2064" y="24467"/>
                              <a:pt x="2109" y="36262"/>
                              <a:pt x="16202" y="40133"/>
                            </a:cubicBezTo>
                            <a:lnTo>
                              <a:pt x="63865" y="51323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78" name="Freihandform: Form 477">
                        <a:extLst>
                          <a:ext uri="{FF2B5EF4-FFF2-40B4-BE49-F238E27FC236}">
                            <a16:creationId xmlns:a16="http://schemas.microsoft.com/office/drawing/2014/main" id="{7DA27D00-08D0-E4BE-D7F9-27C1DD35C9C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6113" y="3336851"/>
                        <a:ext cx="66300" cy="41461"/>
                      </a:xfrm>
                      <a:custGeom>
                        <a:avLst/>
                        <a:gdLst>
                          <a:gd name="connsiteX0" fmla="*/ 57099 w 66300"/>
                          <a:gd name="connsiteY0" fmla="*/ 34384 h 41461"/>
                          <a:gd name="connsiteX1" fmla="*/ 65325 w 66300"/>
                          <a:gd name="connsiteY1" fmla="*/ 14424 h 41461"/>
                          <a:gd name="connsiteX2" fmla="*/ 51534 w 66300"/>
                          <a:gd name="connsiteY2" fmla="*/ 89 h 41461"/>
                          <a:gd name="connsiteX3" fmla="*/ 14275 w 66300"/>
                          <a:gd name="connsiteY3" fmla="*/ 2629 h 41461"/>
                          <a:gd name="connsiteX4" fmla="*/ 0 w 66300"/>
                          <a:gd name="connsiteY4" fmla="*/ 21319 h 41461"/>
                          <a:gd name="connsiteX5" fmla="*/ 12581 w 66300"/>
                          <a:gd name="connsiteY5" fmla="*/ 41461 h 41461"/>
                          <a:gd name="connsiteX6" fmla="*/ 57099 w 66300"/>
                          <a:gd name="connsiteY6" fmla="*/ 34384 h 4146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6300" h="41461">
                            <a:moveTo>
                              <a:pt x="57099" y="34384"/>
                            </a:moveTo>
                            <a:cubicBezTo>
                              <a:pt x="57099" y="34384"/>
                              <a:pt x="69861" y="28880"/>
                              <a:pt x="65325" y="14424"/>
                            </a:cubicBezTo>
                            <a:cubicBezTo>
                              <a:pt x="60184" y="-2028"/>
                              <a:pt x="51534" y="89"/>
                              <a:pt x="51534" y="89"/>
                            </a:cubicBezTo>
                            <a:lnTo>
                              <a:pt x="14275" y="2629"/>
                            </a:lnTo>
                            <a:cubicBezTo>
                              <a:pt x="5202" y="2629"/>
                              <a:pt x="61" y="13759"/>
                              <a:pt x="0" y="21319"/>
                            </a:cubicBezTo>
                            <a:cubicBezTo>
                              <a:pt x="423" y="33054"/>
                              <a:pt x="2057" y="38074"/>
                              <a:pt x="12581" y="41461"/>
                            </a:cubicBezTo>
                            <a:lnTo>
                              <a:pt x="57099" y="34384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79" name="Freihandform: Form 478">
                        <a:extLst>
                          <a:ext uri="{FF2B5EF4-FFF2-40B4-BE49-F238E27FC236}">
                            <a16:creationId xmlns:a16="http://schemas.microsoft.com/office/drawing/2014/main" id="{FEF10AE2-F1E7-6D8F-1523-CCCB7E0DB9A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780" y="3327234"/>
                        <a:ext cx="82184" cy="44013"/>
                      </a:xfrm>
                      <a:custGeom>
                        <a:avLst/>
                        <a:gdLst>
                          <a:gd name="connsiteX0" fmla="*/ 56720 w 82184"/>
                          <a:gd name="connsiteY0" fmla="*/ 27489 h 44013"/>
                          <a:gd name="connsiteX1" fmla="*/ 82185 w 82184"/>
                          <a:gd name="connsiteY1" fmla="*/ 16238 h 44013"/>
                          <a:gd name="connsiteX2" fmla="*/ 42082 w 82184"/>
                          <a:gd name="connsiteY2" fmla="*/ 1117 h 44013"/>
                          <a:gd name="connsiteX3" fmla="*/ 12868 w 82184"/>
                          <a:gd name="connsiteY3" fmla="*/ 9706 h 44013"/>
                          <a:gd name="connsiteX4" fmla="*/ 165 w 82184"/>
                          <a:gd name="connsiteY4" fmla="*/ 29484 h 44013"/>
                          <a:gd name="connsiteX5" fmla="*/ 18432 w 82184"/>
                          <a:gd name="connsiteY5" fmla="*/ 44001 h 44013"/>
                          <a:gd name="connsiteX6" fmla="*/ 56720 w 82184"/>
                          <a:gd name="connsiteY6" fmla="*/ 27489 h 440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82184" h="44013">
                            <a:moveTo>
                              <a:pt x="56720" y="27489"/>
                            </a:moveTo>
                            <a:lnTo>
                              <a:pt x="82185" y="16238"/>
                            </a:lnTo>
                            <a:cubicBezTo>
                              <a:pt x="75833" y="-517"/>
                              <a:pt x="55510" y="-1545"/>
                              <a:pt x="42082" y="1117"/>
                            </a:cubicBezTo>
                            <a:cubicBezTo>
                              <a:pt x="28654" y="3778"/>
                              <a:pt x="12868" y="9706"/>
                              <a:pt x="12868" y="9706"/>
                            </a:cubicBezTo>
                            <a:cubicBezTo>
                              <a:pt x="3916" y="11460"/>
                              <a:pt x="-984" y="19988"/>
                              <a:pt x="165" y="29484"/>
                            </a:cubicBezTo>
                            <a:cubicBezTo>
                              <a:pt x="1315" y="38981"/>
                              <a:pt x="9299" y="44304"/>
                              <a:pt x="18432" y="44001"/>
                            </a:cubicBezTo>
                            <a:lnTo>
                              <a:pt x="56720" y="27489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0" name="Freihandform: Form 479">
                        <a:extLst>
                          <a:ext uri="{FF2B5EF4-FFF2-40B4-BE49-F238E27FC236}">
                            <a16:creationId xmlns:a16="http://schemas.microsoft.com/office/drawing/2014/main" id="{5A4F0C9C-CD9E-05D5-4C19-4D699F1E2FA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85508" y="3327201"/>
                        <a:ext cx="103672" cy="28807"/>
                      </a:xfrm>
                      <a:custGeom>
                        <a:avLst/>
                        <a:gdLst>
                          <a:gd name="connsiteX0" fmla="*/ 103673 w 103672"/>
                          <a:gd name="connsiteY0" fmla="*/ 2964 h 28807"/>
                          <a:gd name="connsiteX1" fmla="*/ 82140 w 103672"/>
                          <a:gd name="connsiteY1" fmla="*/ 9799 h 28807"/>
                          <a:gd name="connsiteX2" fmla="*/ 44881 w 103672"/>
                          <a:gd name="connsiteY2" fmla="*/ 12339 h 28807"/>
                          <a:gd name="connsiteX3" fmla="*/ 2480 w 103672"/>
                          <a:gd name="connsiteY3" fmla="*/ 302 h 28807"/>
                          <a:gd name="connsiteX4" fmla="*/ 0 w 103672"/>
                          <a:gd name="connsiteY4" fmla="*/ 0 h 28807"/>
                          <a:gd name="connsiteX5" fmla="*/ 16573 w 103672"/>
                          <a:gd name="connsiteY5" fmla="*/ 22864 h 28807"/>
                          <a:gd name="connsiteX6" fmla="*/ 63510 w 103672"/>
                          <a:gd name="connsiteY6" fmla="*/ 26916 h 28807"/>
                          <a:gd name="connsiteX7" fmla="*/ 103673 w 103672"/>
                          <a:gd name="connsiteY7" fmla="*/ 3024 h 28807"/>
                          <a:gd name="connsiteX8" fmla="*/ 103673 w 103672"/>
                          <a:gd name="connsiteY8" fmla="*/ 3024 h 2880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03672" h="28807">
                            <a:moveTo>
                              <a:pt x="103673" y="2964"/>
                            </a:moveTo>
                            <a:cubicBezTo>
                              <a:pt x="92544" y="5867"/>
                              <a:pt x="82140" y="9799"/>
                              <a:pt x="82140" y="9799"/>
                            </a:cubicBezTo>
                            <a:lnTo>
                              <a:pt x="44881" y="12339"/>
                            </a:lnTo>
                            <a:lnTo>
                              <a:pt x="2480" y="302"/>
                            </a:lnTo>
                            <a:cubicBezTo>
                              <a:pt x="1633" y="121"/>
                              <a:pt x="847" y="121"/>
                              <a:pt x="0" y="0"/>
                            </a:cubicBezTo>
                            <a:cubicBezTo>
                              <a:pt x="0" y="0"/>
                              <a:pt x="7803" y="19718"/>
                              <a:pt x="16573" y="22864"/>
                            </a:cubicBezTo>
                            <a:cubicBezTo>
                              <a:pt x="25404" y="26009"/>
                              <a:pt x="32844" y="31815"/>
                              <a:pt x="63510" y="26916"/>
                            </a:cubicBezTo>
                            <a:cubicBezTo>
                              <a:pt x="84196" y="23589"/>
                              <a:pt x="103673" y="3024"/>
                              <a:pt x="103673" y="3024"/>
                            </a:cubicBezTo>
                            <a:lnTo>
                              <a:pt x="103673" y="3024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81" name="Grafik 297">
                      <a:extLst>
                        <a:ext uri="{FF2B5EF4-FFF2-40B4-BE49-F238E27FC236}">
                          <a16:creationId xmlns:a16="http://schemas.microsoft.com/office/drawing/2014/main" id="{E1D8EBF0-CEED-5DB8-4FDF-D9C9B820626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50636" y="3354113"/>
                      <a:ext cx="167214" cy="58191"/>
                      <a:chOff x="1250636" y="3354113"/>
                      <a:chExt cx="167214" cy="58191"/>
                    </a:xfrm>
                    <a:solidFill>
                      <a:srgbClr val="02787D"/>
                    </a:solidFill>
                  </p:grpSpPr>
                  <p:sp>
                    <p:nvSpPr>
                      <p:cNvPr id="482" name="Freihandform: Form 481">
                        <a:extLst>
                          <a:ext uri="{FF2B5EF4-FFF2-40B4-BE49-F238E27FC236}">
                            <a16:creationId xmlns:a16="http://schemas.microsoft.com/office/drawing/2014/main" id="{B46CC4C8-C6B8-97B0-C132-D3890BFE16B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50636" y="3363067"/>
                        <a:ext cx="81268" cy="49237"/>
                      </a:xfrm>
                      <a:custGeom>
                        <a:avLst/>
                        <a:gdLst>
                          <a:gd name="connsiteX0" fmla="*/ 69530 w 81268"/>
                          <a:gd name="connsiteY0" fmla="*/ 49177 h 49237"/>
                          <a:gd name="connsiteX1" fmla="*/ 81022 w 81268"/>
                          <a:gd name="connsiteY1" fmla="*/ 30426 h 49237"/>
                          <a:gd name="connsiteX2" fmla="*/ 64993 w 81268"/>
                          <a:gd name="connsiteY2" fmla="*/ 11131 h 49237"/>
                          <a:gd name="connsiteX3" fmla="*/ 23803 w 81268"/>
                          <a:gd name="connsiteY3" fmla="*/ 304 h 49237"/>
                          <a:gd name="connsiteX4" fmla="*/ 757 w 81268"/>
                          <a:gd name="connsiteY4" fmla="*/ 14216 h 49237"/>
                          <a:gd name="connsiteX5" fmla="*/ 17089 w 81268"/>
                          <a:gd name="connsiteY5" fmla="*/ 39076 h 49237"/>
                          <a:gd name="connsiteX6" fmla="*/ 69590 w 81268"/>
                          <a:gd name="connsiteY6" fmla="*/ 49237 h 492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81268" h="49237">
                            <a:moveTo>
                              <a:pt x="69530" y="49177"/>
                            </a:moveTo>
                            <a:cubicBezTo>
                              <a:pt x="69530" y="49177"/>
                              <a:pt x="83260" y="45003"/>
                              <a:pt x="81022" y="30426"/>
                            </a:cubicBezTo>
                            <a:cubicBezTo>
                              <a:pt x="78361" y="12885"/>
                              <a:pt x="64993" y="11131"/>
                              <a:pt x="64993" y="11131"/>
                            </a:cubicBezTo>
                            <a:lnTo>
                              <a:pt x="23803" y="304"/>
                            </a:lnTo>
                            <a:cubicBezTo>
                              <a:pt x="11826" y="-1450"/>
                              <a:pt x="3177" y="4538"/>
                              <a:pt x="757" y="14216"/>
                            </a:cubicBezTo>
                            <a:cubicBezTo>
                              <a:pt x="-2146" y="23773"/>
                              <a:pt x="3298" y="35265"/>
                              <a:pt x="17089" y="39076"/>
                            </a:cubicBezTo>
                            <a:lnTo>
                              <a:pt x="69590" y="4923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3" name="Freihandform: Form 482">
                        <a:extLst>
                          <a:ext uri="{FF2B5EF4-FFF2-40B4-BE49-F238E27FC236}">
                            <a16:creationId xmlns:a16="http://schemas.microsoft.com/office/drawing/2014/main" id="{344A496B-416F-377F-4403-3CBDB0EA17F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3585" y="3362437"/>
                        <a:ext cx="66097" cy="49807"/>
                      </a:xfrm>
                      <a:custGeom>
                        <a:avLst/>
                        <a:gdLst>
                          <a:gd name="connsiteX0" fmla="*/ 56441 w 66097"/>
                          <a:gd name="connsiteY0" fmla="*/ 32569 h 49807"/>
                          <a:gd name="connsiteX1" fmla="*/ 65272 w 66097"/>
                          <a:gd name="connsiteY1" fmla="*/ 13093 h 49807"/>
                          <a:gd name="connsiteX2" fmla="*/ 48578 w 66097"/>
                          <a:gd name="connsiteY2" fmla="*/ 330 h 49807"/>
                          <a:gd name="connsiteX3" fmla="*/ 11621 w 66097"/>
                          <a:gd name="connsiteY3" fmla="*/ 11762 h 49807"/>
                          <a:gd name="connsiteX4" fmla="*/ 68 w 66097"/>
                          <a:gd name="connsiteY4" fmla="*/ 31057 h 49807"/>
                          <a:gd name="connsiteX5" fmla="*/ 16581 w 66097"/>
                          <a:gd name="connsiteY5" fmla="*/ 49808 h 49807"/>
                          <a:gd name="connsiteX6" fmla="*/ 56441 w 66097"/>
                          <a:gd name="connsiteY6" fmla="*/ 32569 h 4980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6097" h="49807">
                            <a:moveTo>
                              <a:pt x="56441" y="32569"/>
                            </a:moveTo>
                            <a:cubicBezTo>
                              <a:pt x="56441" y="32569"/>
                              <a:pt x="69445" y="29424"/>
                              <a:pt x="65272" y="13093"/>
                            </a:cubicBezTo>
                            <a:cubicBezTo>
                              <a:pt x="60977" y="-3239"/>
                              <a:pt x="48578" y="330"/>
                              <a:pt x="48578" y="330"/>
                            </a:cubicBezTo>
                            <a:lnTo>
                              <a:pt x="11621" y="11762"/>
                            </a:lnTo>
                            <a:cubicBezTo>
                              <a:pt x="5391" y="17871"/>
                              <a:pt x="673" y="23194"/>
                              <a:pt x="68" y="31057"/>
                            </a:cubicBezTo>
                            <a:cubicBezTo>
                              <a:pt x="-537" y="38920"/>
                              <a:pt x="2729" y="47751"/>
                              <a:pt x="16581" y="49808"/>
                            </a:cubicBezTo>
                            <a:lnTo>
                              <a:pt x="56441" y="32569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4" name="Freihandform: Form 483">
                        <a:extLst>
                          <a:ext uri="{FF2B5EF4-FFF2-40B4-BE49-F238E27FC236}">
                            <a16:creationId xmlns:a16="http://schemas.microsoft.com/office/drawing/2014/main" id="{BDB77721-DB70-8551-CDB4-8BE8A1C2B22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3092" y="3354113"/>
                        <a:ext cx="74758" cy="40567"/>
                      </a:xfrm>
                      <a:custGeom>
                        <a:avLst/>
                        <a:gdLst>
                          <a:gd name="connsiteX0" fmla="*/ 49839 w 74758"/>
                          <a:gd name="connsiteY0" fmla="*/ 26920 h 40567"/>
                          <a:gd name="connsiteX1" fmla="*/ 74759 w 74758"/>
                          <a:gd name="connsiteY1" fmla="*/ 16093 h 40567"/>
                          <a:gd name="connsiteX2" fmla="*/ 35685 w 74758"/>
                          <a:gd name="connsiteY2" fmla="*/ 1032 h 40567"/>
                          <a:gd name="connsiteX3" fmla="*/ 7498 w 74758"/>
                          <a:gd name="connsiteY3" fmla="*/ 9137 h 40567"/>
                          <a:gd name="connsiteX4" fmla="*/ 845 w 74758"/>
                          <a:gd name="connsiteY4" fmla="*/ 28977 h 40567"/>
                          <a:gd name="connsiteX5" fmla="*/ 18507 w 74758"/>
                          <a:gd name="connsiteY5" fmla="*/ 40348 h 40567"/>
                          <a:gd name="connsiteX6" fmla="*/ 49899 w 74758"/>
                          <a:gd name="connsiteY6" fmla="*/ 26920 h 4056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4758" h="40567">
                            <a:moveTo>
                              <a:pt x="49839" y="26920"/>
                            </a:moveTo>
                            <a:lnTo>
                              <a:pt x="74759" y="16093"/>
                            </a:lnTo>
                            <a:cubicBezTo>
                              <a:pt x="68650" y="-359"/>
                              <a:pt x="48810" y="-1508"/>
                              <a:pt x="35685" y="1032"/>
                            </a:cubicBezTo>
                            <a:cubicBezTo>
                              <a:pt x="22559" y="3572"/>
                              <a:pt x="7498" y="9137"/>
                              <a:pt x="7498" y="9137"/>
                            </a:cubicBezTo>
                            <a:cubicBezTo>
                              <a:pt x="-1030" y="14400"/>
                              <a:pt x="-667" y="22202"/>
                              <a:pt x="845" y="28977"/>
                            </a:cubicBezTo>
                            <a:cubicBezTo>
                              <a:pt x="2599" y="36840"/>
                              <a:pt x="9676" y="41679"/>
                              <a:pt x="18507" y="40348"/>
                            </a:cubicBezTo>
                            <a:lnTo>
                              <a:pt x="49899" y="26920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85" name="Grafik 297">
                      <a:extLst>
                        <a:ext uri="{FF2B5EF4-FFF2-40B4-BE49-F238E27FC236}">
                          <a16:creationId xmlns:a16="http://schemas.microsoft.com/office/drawing/2014/main" id="{F641BF49-0106-98D8-4960-C17443E6F00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19789" y="3374219"/>
                      <a:ext cx="153786" cy="54598"/>
                      <a:chOff x="1219789" y="3374219"/>
                      <a:chExt cx="153786" cy="54598"/>
                    </a:xfrm>
                    <a:solidFill>
                      <a:srgbClr val="02787D"/>
                    </a:solidFill>
                  </p:grpSpPr>
                  <p:sp>
                    <p:nvSpPr>
                      <p:cNvPr id="486" name="Freihandform: Form 485">
                        <a:extLst>
                          <a:ext uri="{FF2B5EF4-FFF2-40B4-BE49-F238E27FC236}">
                            <a16:creationId xmlns:a16="http://schemas.microsoft.com/office/drawing/2014/main" id="{BCCAD320-23D8-0B40-718C-285C4EE90C6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19789" y="3382861"/>
                        <a:ext cx="71114" cy="45956"/>
                      </a:xfrm>
                      <a:custGeom>
                        <a:avLst/>
                        <a:gdLst>
                          <a:gd name="connsiteX0" fmla="*/ 62513 w 71114"/>
                          <a:gd name="connsiteY0" fmla="*/ 45956 h 45956"/>
                          <a:gd name="connsiteX1" fmla="*/ 70195 w 71114"/>
                          <a:gd name="connsiteY1" fmla="*/ 29746 h 45956"/>
                          <a:gd name="connsiteX2" fmla="*/ 65537 w 71114"/>
                          <a:gd name="connsiteY2" fmla="*/ 13233 h 45956"/>
                          <a:gd name="connsiteX3" fmla="*/ 19568 w 71114"/>
                          <a:gd name="connsiteY3" fmla="*/ 410 h 45956"/>
                          <a:gd name="connsiteX4" fmla="*/ 999 w 71114"/>
                          <a:gd name="connsiteY4" fmla="*/ 10753 h 45956"/>
                          <a:gd name="connsiteX5" fmla="*/ 13399 w 71114"/>
                          <a:gd name="connsiteY5" fmla="*/ 36702 h 45956"/>
                          <a:gd name="connsiteX6" fmla="*/ 62513 w 71114"/>
                          <a:gd name="connsiteY6" fmla="*/ 45956 h 4595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1114" h="45956">
                            <a:moveTo>
                              <a:pt x="62513" y="45956"/>
                            </a:moveTo>
                            <a:cubicBezTo>
                              <a:pt x="62513" y="45956"/>
                              <a:pt x="66566" y="43053"/>
                              <a:pt x="70195" y="29746"/>
                            </a:cubicBezTo>
                            <a:cubicBezTo>
                              <a:pt x="73824" y="16379"/>
                              <a:pt x="65537" y="13233"/>
                              <a:pt x="65537" y="13233"/>
                            </a:cubicBezTo>
                            <a:lnTo>
                              <a:pt x="19568" y="410"/>
                            </a:lnTo>
                            <a:cubicBezTo>
                              <a:pt x="8378" y="-1162"/>
                              <a:pt x="3237" y="1681"/>
                              <a:pt x="999" y="10753"/>
                            </a:cubicBezTo>
                            <a:cubicBezTo>
                              <a:pt x="-1662" y="19705"/>
                              <a:pt x="515" y="33194"/>
                              <a:pt x="13399" y="36702"/>
                            </a:cubicBezTo>
                            <a:lnTo>
                              <a:pt x="62513" y="45956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7" name="Freihandform: Form 486">
                        <a:extLst>
                          <a:ext uri="{FF2B5EF4-FFF2-40B4-BE49-F238E27FC236}">
                            <a16:creationId xmlns:a16="http://schemas.microsoft.com/office/drawing/2014/main" id="{FF070828-4CDE-604C-AD71-F8E8FE53BA2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70181" y="3381975"/>
                        <a:ext cx="59305" cy="46842"/>
                      </a:xfrm>
                      <a:custGeom>
                        <a:avLst/>
                        <a:gdLst>
                          <a:gd name="connsiteX0" fmla="*/ 49320 w 59305"/>
                          <a:gd name="connsiteY0" fmla="*/ 30572 h 46842"/>
                          <a:gd name="connsiteX1" fmla="*/ 58574 w 59305"/>
                          <a:gd name="connsiteY1" fmla="*/ 11338 h 46842"/>
                          <a:gd name="connsiteX2" fmla="*/ 41154 w 59305"/>
                          <a:gd name="connsiteY2" fmla="*/ 632 h 46842"/>
                          <a:gd name="connsiteX3" fmla="*/ 13330 w 59305"/>
                          <a:gd name="connsiteY3" fmla="*/ 13636 h 46842"/>
                          <a:gd name="connsiteX4" fmla="*/ 23 w 59305"/>
                          <a:gd name="connsiteY4" fmla="*/ 28213 h 46842"/>
                          <a:gd name="connsiteX5" fmla="*/ 12121 w 59305"/>
                          <a:gd name="connsiteY5" fmla="*/ 46843 h 46842"/>
                          <a:gd name="connsiteX6" fmla="*/ 49320 w 59305"/>
                          <a:gd name="connsiteY6" fmla="*/ 30572 h 4684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9305" h="46842">
                            <a:moveTo>
                              <a:pt x="49320" y="30572"/>
                            </a:moveTo>
                            <a:cubicBezTo>
                              <a:pt x="49320" y="30572"/>
                              <a:pt x="62506" y="26641"/>
                              <a:pt x="58574" y="11338"/>
                            </a:cubicBezTo>
                            <a:cubicBezTo>
                              <a:pt x="54461" y="-3905"/>
                              <a:pt x="41154" y="632"/>
                              <a:pt x="41154" y="632"/>
                            </a:cubicBezTo>
                            <a:lnTo>
                              <a:pt x="13330" y="13636"/>
                            </a:lnTo>
                            <a:cubicBezTo>
                              <a:pt x="5467" y="14967"/>
                              <a:pt x="326" y="15511"/>
                              <a:pt x="23" y="28213"/>
                            </a:cubicBezTo>
                            <a:cubicBezTo>
                              <a:pt x="-279" y="40915"/>
                              <a:pt x="2261" y="44968"/>
                              <a:pt x="12121" y="46843"/>
                            </a:cubicBezTo>
                            <a:lnTo>
                              <a:pt x="49320" y="30572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8" name="Freihandform: Form 487">
                        <a:extLst>
                          <a:ext uri="{FF2B5EF4-FFF2-40B4-BE49-F238E27FC236}">
                            <a16:creationId xmlns:a16="http://schemas.microsoft.com/office/drawing/2014/main" id="{95A5D970-2A19-EA1E-8346-CD4EC68DA0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4207" y="3374219"/>
                        <a:ext cx="69368" cy="38586"/>
                      </a:xfrm>
                      <a:custGeom>
                        <a:avLst/>
                        <a:gdLst>
                          <a:gd name="connsiteX0" fmla="*/ 46081 w 69368"/>
                          <a:gd name="connsiteY0" fmla="*/ 25142 h 38586"/>
                          <a:gd name="connsiteX1" fmla="*/ 69368 w 69368"/>
                          <a:gd name="connsiteY1" fmla="*/ 14920 h 38586"/>
                          <a:gd name="connsiteX2" fmla="*/ 32714 w 69368"/>
                          <a:gd name="connsiteY2" fmla="*/ 1008 h 38586"/>
                          <a:gd name="connsiteX3" fmla="*/ 7128 w 69368"/>
                          <a:gd name="connsiteY3" fmla="*/ 8447 h 38586"/>
                          <a:gd name="connsiteX4" fmla="*/ 656 w 69368"/>
                          <a:gd name="connsiteY4" fmla="*/ 23569 h 38586"/>
                          <a:gd name="connsiteX5" fmla="*/ 15294 w 69368"/>
                          <a:gd name="connsiteY5" fmla="*/ 38388 h 38586"/>
                          <a:gd name="connsiteX6" fmla="*/ 46081 w 69368"/>
                          <a:gd name="connsiteY6" fmla="*/ 25142 h 385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9368" h="38586">
                            <a:moveTo>
                              <a:pt x="46081" y="25142"/>
                            </a:moveTo>
                            <a:lnTo>
                              <a:pt x="69368" y="14920"/>
                            </a:lnTo>
                            <a:cubicBezTo>
                              <a:pt x="63562" y="-444"/>
                              <a:pt x="44992" y="-1412"/>
                              <a:pt x="32714" y="1008"/>
                            </a:cubicBezTo>
                            <a:cubicBezTo>
                              <a:pt x="20435" y="3427"/>
                              <a:pt x="7128" y="8447"/>
                              <a:pt x="7128" y="8447"/>
                            </a:cubicBezTo>
                            <a:cubicBezTo>
                              <a:pt x="-917" y="12863"/>
                              <a:pt x="-554" y="17157"/>
                              <a:pt x="656" y="23569"/>
                            </a:cubicBezTo>
                            <a:cubicBezTo>
                              <a:pt x="1926" y="30585"/>
                              <a:pt x="7128" y="40082"/>
                              <a:pt x="15294" y="38388"/>
                            </a:cubicBezTo>
                            <a:lnTo>
                              <a:pt x="46081" y="25142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489" name="Freihandform: Form 488">
                      <a:extLst>
                        <a:ext uri="{FF2B5EF4-FFF2-40B4-BE49-F238E27FC236}">
                          <a16:creationId xmlns:a16="http://schemas.microsoft.com/office/drawing/2014/main" id="{835EF62D-8ADC-B10D-4332-7379716CF6C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9820" y="3243005"/>
                      <a:ext cx="221554" cy="177405"/>
                    </a:xfrm>
                    <a:custGeom>
                      <a:avLst/>
                      <a:gdLst>
                        <a:gd name="connsiteX0" fmla="*/ 8644 w 221554"/>
                        <a:gd name="connsiteY0" fmla="*/ 104036 h 177405"/>
                        <a:gd name="connsiteX1" fmla="*/ 72154 w 221554"/>
                        <a:gd name="connsiteY1" fmla="*/ 151094 h 177405"/>
                        <a:gd name="connsiteX2" fmla="*/ 167056 w 221554"/>
                        <a:gd name="connsiteY2" fmla="*/ 177405 h 177405"/>
                        <a:gd name="connsiteX3" fmla="*/ 221554 w 221554"/>
                        <a:gd name="connsiteY3" fmla="*/ 56917 h 177405"/>
                        <a:gd name="connsiteX4" fmla="*/ 195001 w 221554"/>
                        <a:gd name="connsiteY4" fmla="*/ 39739 h 177405"/>
                        <a:gd name="connsiteX5" fmla="*/ 58968 w 221554"/>
                        <a:gd name="connsiteY5" fmla="*/ 0 h 177405"/>
                        <a:gd name="connsiteX6" fmla="*/ 8644 w 221554"/>
                        <a:gd name="connsiteY6" fmla="*/ 104096 h 17740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221554" h="177405">
                          <a:moveTo>
                            <a:pt x="8644" y="104036"/>
                          </a:moveTo>
                          <a:cubicBezTo>
                            <a:pt x="21890" y="119339"/>
                            <a:pt x="47415" y="136396"/>
                            <a:pt x="72154" y="151094"/>
                          </a:cubicBezTo>
                          <a:cubicBezTo>
                            <a:pt x="124898" y="172990"/>
                            <a:pt x="165786" y="177103"/>
                            <a:pt x="167056" y="177405"/>
                          </a:cubicBezTo>
                          <a:cubicBezTo>
                            <a:pt x="170504" y="176317"/>
                            <a:pt x="221131" y="153876"/>
                            <a:pt x="221554" y="56917"/>
                          </a:cubicBezTo>
                          <a:cubicBezTo>
                            <a:pt x="188287" y="49961"/>
                            <a:pt x="195061" y="39860"/>
                            <a:pt x="195001" y="39739"/>
                          </a:cubicBezTo>
                          <a:lnTo>
                            <a:pt x="58968" y="0"/>
                          </a:lnTo>
                          <a:cubicBezTo>
                            <a:pt x="22011" y="0"/>
                            <a:pt x="-17970" y="83229"/>
                            <a:pt x="8644" y="104096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90" name="Freihandform: Form 489">
                      <a:extLst>
                        <a:ext uri="{FF2B5EF4-FFF2-40B4-BE49-F238E27FC236}">
                          <a16:creationId xmlns:a16="http://schemas.microsoft.com/office/drawing/2014/main" id="{AB92DEA1-9D3C-EC90-CAF4-55DF7201FB5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0941" y="3219161"/>
                      <a:ext cx="147269" cy="87642"/>
                    </a:xfrm>
                    <a:custGeom>
                      <a:avLst/>
                      <a:gdLst>
                        <a:gd name="connsiteX0" fmla="*/ 8271 w 147269"/>
                        <a:gd name="connsiteY0" fmla="*/ 22815 h 87642"/>
                        <a:gd name="connsiteX1" fmla="*/ 123497 w 147269"/>
                        <a:gd name="connsiteY1" fmla="*/ 4428 h 87642"/>
                        <a:gd name="connsiteX2" fmla="*/ 134384 w 147269"/>
                        <a:gd name="connsiteY2" fmla="*/ 67454 h 87642"/>
                        <a:gd name="connsiteX3" fmla="*/ 63797 w 147269"/>
                        <a:gd name="connsiteY3" fmla="*/ 87475 h 87642"/>
                        <a:gd name="connsiteX4" fmla="*/ 8271 w 147269"/>
                        <a:gd name="connsiteY4" fmla="*/ 22815 h 8764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47269" h="87642">
                          <a:moveTo>
                            <a:pt x="8271" y="22815"/>
                          </a:moveTo>
                          <a:cubicBezTo>
                            <a:pt x="41720" y="-1258"/>
                            <a:pt x="87992" y="-4222"/>
                            <a:pt x="123497" y="4428"/>
                          </a:cubicBezTo>
                          <a:cubicBezTo>
                            <a:pt x="157006" y="18763"/>
                            <a:pt x="149687" y="62797"/>
                            <a:pt x="134384" y="67454"/>
                          </a:cubicBezTo>
                          <a:cubicBezTo>
                            <a:pt x="134384" y="67454"/>
                            <a:pt x="88717" y="86023"/>
                            <a:pt x="63797" y="87475"/>
                          </a:cubicBezTo>
                          <a:cubicBezTo>
                            <a:pt x="1073" y="91044"/>
                            <a:pt x="-10722" y="36546"/>
                            <a:pt x="8271" y="2281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91" name="Freihandform: Form 490">
                      <a:extLst>
                        <a:ext uri="{FF2B5EF4-FFF2-40B4-BE49-F238E27FC236}">
                          <a16:creationId xmlns:a16="http://schemas.microsoft.com/office/drawing/2014/main" id="{0EF72698-E998-8937-E4B2-A512AD6A70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14311" y="3223039"/>
                      <a:ext cx="149283" cy="73980"/>
                    </a:xfrm>
                    <a:custGeom>
                      <a:avLst/>
                      <a:gdLst>
                        <a:gd name="connsiteX0" fmla="*/ 30126 w 149283"/>
                        <a:gd name="connsiteY0" fmla="*/ 550 h 73980"/>
                        <a:gd name="connsiteX1" fmla="*/ 91217 w 149283"/>
                        <a:gd name="connsiteY1" fmla="*/ 21417 h 73980"/>
                        <a:gd name="connsiteX2" fmla="*/ 149284 w 149283"/>
                        <a:gd name="connsiteY2" fmla="*/ 59947 h 73980"/>
                        <a:gd name="connsiteX3" fmla="*/ 122912 w 149283"/>
                        <a:gd name="connsiteY3" fmla="*/ 73979 h 73980"/>
                        <a:gd name="connsiteX4" fmla="*/ 84685 w 149283"/>
                        <a:gd name="connsiteY4" fmla="*/ 56983 h 73980"/>
                        <a:gd name="connsiteX5" fmla="*/ 50510 w 149283"/>
                        <a:gd name="connsiteY5" fmla="*/ 59705 h 73980"/>
                        <a:gd name="connsiteX6" fmla="*/ 4 w 149283"/>
                        <a:gd name="connsiteY6" fmla="*/ 27526 h 73980"/>
                        <a:gd name="connsiteX7" fmla="*/ 30126 w 149283"/>
                        <a:gd name="connsiteY7" fmla="*/ 550 h 7398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49283" h="73980">
                          <a:moveTo>
                            <a:pt x="30126" y="550"/>
                          </a:moveTo>
                          <a:lnTo>
                            <a:pt x="91217" y="21417"/>
                          </a:lnTo>
                          <a:lnTo>
                            <a:pt x="149284" y="59947"/>
                          </a:lnTo>
                          <a:cubicBezTo>
                            <a:pt x="149284" y="59947"/>
                            <a:pt x="146622" y="73617"/>
                            <a:pt x="122912" y="73979"/>
                          </a:cubicBezTo>
                          <a:cubicBezTo>
                            <a:pt x="115956" y="74101"/>
                            <a:pt x="97266" y="62911"/>
                            <a:pt x="84685" y="56983"/>
                          </a:cubicBezTo>
                          <a:cubicBezTo>
                            <a:pt x="62002" y="56076"/>
                            <a:pt x="50510" y="59705"/>
                            <a:pt x="50510" y="59705"/>
                          </a:cubicBezTo>
                          <a:cubicBezTo>
                            <a:pt x="50510" y="59705"/>
                            <a:pt x="791" y="61398"/>
                            <a:pt x="4" y="27526"/>
                          </a:cubicBezTo>
                          <a:cubicBezTo>
                            <a:pt x="-359" y="12405"/>
                            <a:pt x="21900" y="-3140"/>
                            <a:pt x="30126" y="550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492" name="Grafik 297">
                      <a:extLst>
                        <a:ext uri="{FF2B5EF4-FFF2-40B4-BE49-F238E27FC236}">
                          <a16:creationId xmlns:a16="http://schemas.microsoft.com/office/drawing/2014/main" id="{DDDF0A67-EC11-8CBE-8A58-F2B26F68EC2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66882" y="3299490"/>
                      <a:ext cx="158227" cy="46280"/>
                      <a:chOff x="1266882" y="3299490"/>
                      <a:chExt cx="158227" cy="46280"/>
                    </a:xfrm>
                    <a:solidFill>
                      <a:srgbClr val="02787D"/>
                    </a:solidFill>
                  </p:grpSpPr>
                  <p:sp>
                    <p:nvSpPr>
                      <p:cNvPr id="493" name="Freihandform: Form 492">
                        <a:extLst>
                          <a:ext uri="{FF2B5EF4-FFF2-40B4-BE49-F238E27FC236}">
                            <a16:creationId xmlns:a16="http://schemas.microsoft.com/office/drawing/2014/main" id="{60C40D62-18B2-892E-14A9-C7F5724EA9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66882" y="3299490"/>
                        <a:ext cx="75457" cy="46280"/>
                      </a:xfrm>
                      <a:custGeom>
                        <a:avLst/>
                        <a:gdLst>
                          <a:gd name="connsiteX0" fmla="*/ 58849 w 75457"/>
                          <a:gd name="connsiteY0" fmla="*/ 46280 h 46280"/>
                          <a:gd name="connsiteX1" fmla="*/ 74938 w 75457"/>
                          <a:gd name="connsiteY1" fmla="*/ 30009 h 46280"/>
                          <a:gd name="connsiteX2" fmla="*/ 61450 w 75457"/>
                          <a:gd name="connsiteY2" fmla="*/ 10956 h 46280"/>
                          <a:gd name="connsiteX3" fmla="*/ 24432 w 75457"/>
                          <a:gd name="connsiteY3" fmla="*/ 432 h 46280"/>
                          <a:gd name="connsiteX4" fmla="*/ 540 w 75457"/>
                          <a:gd name="connsiteY4" fmla="*/ 10775 h 46280"/>
                          <a:gd name="connsiteX5" fmla="*/ 18142 w 75457"/>
                          <a:gd name="connsiteY5" fmla="*/ 36663 h 46280"/>
                          <a:gd name="connsiteX6" fmla="*/ 58849 w 75457"/>
                          <a:gd name="connsiteY6" fmla="*/ 46220 h 4628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5457" h="46280">
                            <a:moveTo>
                              <a:pt x="58849" y="46280"/>
                            </a:moveTo>
                            <a:cubicBezTo>
                              <a:pt x="58849" y="46280"/>
                              <a:pt x="71248" y="43316"/>
                              <a:pt x="74938" y="30009"/>
                            </a:cubicBezTo>
                            <a:cubicBezTo>
                              <a:pt x="78628" y="16703"/>
                              <a:pt x="61450" y="10956"/>
                              <a:pt x="61450" y="10956"/>
                            </a:cubicBezTo>
                            <a:lnTo>
                              <a:pt x="24432" y="432"/>
                            </a:lnTo>
                            <a:cubicBezTo>
                              <a:pt x="13242" y="-1201"/>
                              <a:pt x="2778" y="1702"/>
                              <a:pt x="540" y="10775"/>
                            </a:cubicBezTo>
                            <a:cubicBezTo>
                              <a:pt x="-2121" y="19727"/>
                              <a:pt x="5258" y="33094"/>
                              <a:pt x="18142" y="36663"/>
                            </a:cubicBezTo>
                            <a:lnTo>
                              <a:pt x="58849" y="46220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94" name="Freihandform: Form 493">
                        <a:extLst>
                          <a:ext uri="{FF2B5EF4-FFF2-40B4-BE49-F238E27FC236}">
                            <a16:creationId xmlns:a16="http://schemas.microsoft.com/office/drawing/2014/main" id="{21B64AC0-4136-EB30-E9E7-F80D4D0006E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0046" y="3310251"/>
                        <a:ext cx="65362" cy="35519"/>
                      </a:xfrm>
                      <a:custGeom>
                        <a:avLst/>
                        <a:gdLst>
                          <a:gd name="connsiteX0" fmla="*/ 54214 w 65362"/>
                          <a:gd name="connsiteY0" fmla="*/ 30137 h 35519"/>
                          <a:gd name="connsiteX1" fmla="*/ 65344 w 65362"/>
                          <a:gd name="connsiteY1" fmla="*/ 13926 h 35519"/>
                          <a:gd name="connsiteX2" fmla="*/ 51311 w 65362"/>
                          <a:gd name="connsiteY2" fmla="*/ 75 h 35519"/>
                          <a:gd name="connsiteX3" fmla="*/ 17741 w 65362"/>
                          <a:gd name="connsiteY3" fmla="*/ 75 h 35519"/>
                          <a:gd name="connsiteX4" fmla="*/ 382 w 65362"/>
                          <a:gd name="connsiteY4" fmla="*/ 16709 h 35519"/>
                          <a:gd name="connsiteX5" fmla="*/ 15685 w 65362"/>
                          <a:gd name="connsiteY5" fmla="*/ 35520 h 35519"/>
                          <a:gd name="connsiteX6" fmla="*/ 54214 w 65362"/>
                          <a:gd name="connsiteY6" fmla="*/ 30137 h 3551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5362" h="35519">
                            <a:moveTo>
                              <a:pt x="54214" y="30137"/>
                            </a:moveTo>
                            <a:cubicBezTo>
                              <a:pt x="54214" y="30137"/>
                              <a:pt x="64557" y="29653"/>
                              <a:pt x="65344" y="13926"/>
                            </a:cubicBezTo>
                            <a:cubicBezTo>
                              <a:pt x="65949" y="-1861"/>
                              <a:pt x="51311" y="75"/>
                              <a:pt x="51311" y="75"/>
                            </a:cubicBezTo>
                            <a:lnTo>
                              <a:pt x="17741" y="75"/>
                            </a:lnTo>
                            <a:cubicBezTo>
                              <a:pt x="6128" y="982"/>
                              <a:pt x="2680" y="4793"/>
                              <a:pt x="382" y="16709"/>
                            </a:cubicBezTo>
                            <a:cubicBezTo>
                              <a:pt x="-1856" y="28624"/>
                              <a:pt x="6068" y="33282"/>
                              <a:pt x="15685" y="35520"/>
                            </a:cubicBezTo>
                            <a:lnTo>
                              <a:pt x="54214" y="3013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95" name="Freihandform: Form 494">
                        <a:extLst>
                          <a:ext uri="{FF2B5EF4-FFF2-40B4-BE49-F238E27FC236}">
                            <a16:creationId xmlns:a16="http://schemas.microsoft.com/office/drawing/2014/main" id="{1A163C0A-3DBD-15B4-9E2E-C16511831A7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9145" y="3305185"/>
                        <a:ext cx="75964" cy="35201"/>
                      </a:xfrm>
                      <a:custGeom>
                        <a:avLst/>
                        <a:gdLst>
                          <a:gd name="connsiteX0" fmla="*/ 51588 w 75964"/>
                          <a:gd name="connsiteY0" fmla="*/ 25766 h 35201"/>
                          <a:gd name="connsiteX1" fmla="*/ 75964 w 75964"/>
                          <a:gd name="connsiteY1" fmla="*/ 18628 h 35201"/>
                          <a:gd name="connsiteX2" fmla="*/ 41427 w 75964"/>
                          <a:gd name="connsiteY2" fmla="*/ 120 h 35201"/>
                          <a:gd name="connsiteX3" fmla="*/ 12151 w 75964"/>
                          <a:gd name="connsiteY3" fmla="*/ 5080 h 35201"/>
                          <a:gd name="connsiteX4" fmla="*/ 54 w 75964"/>
                          <a:gd name="connsiteY4" fmla="*/ 20987 h 35201"/>
                          <a:gd name="connsiteX5" fmla="*/ 15055 w 75964"/>
                          <a:gd name="connsiteY5" fmla="*/ 35202 h 35201"/>
                          <a:gd name="connsiteX6" fmla="*/ 51528 w 75964"/>
                          <a:gd name="connsiteY6" fmla="*/ 25766 h 3520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5964" h="35201">
                            <a:moveTo>
                              <a:pt x="51588" y="25766"/>
                            </a:moveTo>
                            <a:lnTo>
                              <a:pt x="75964" y="18628"/>
                            </a:lnTo>
                            <a:cubicBezTo>
                              <a:pt x="72214" y="2660"/>
                              <a:pt x="53947" y="-727"/>
                              <a:pt x="41427" y="120"/>
                            </a:cubicBezTo>
                            <a:cubicBezTo>
                              <a:pt x="28967" y="906"/>
                              <a:pt x="12151" y="5080"/>
                              <a:pt x="12151" y="5080"/>
                            </a:cubicBezTo>
                            <a:cubicBezTo>
                              <a:pt x="3925" y="8285"/>
                              <a:pt x="-551" y="12761"/>
                              <a:pt x="54" y="20987"/>
                            </a:cubicBezTo>
                            <a:cubicBezTo>
                              <a:pt x="538" y="27520"/>
                              <a:pt x="5559" y="34294"/>
                              <a:pt x="15055" y="35202"/>
                            </a:cubicBezTo>
                            <a:lnTo>
                              <a:pt x="51528" y="25766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</p:grpSp>
            </p:grpSp>
            <p:grpSp>
              <p:nvGrpSpPr>
                <p:cNvPr id="496" name="Grafik 297">
                  <a:extLst>
                    <a:ext uri="{FF2B5EF4-FFF2-40B4-BE49-F238E27FC236}">
                      <a16:creationId xmlns:a16="http://schemas.microsoft.com/office/drawing/2014/main" id="{EA1885C7-E725-E2BD-7715-7D70C0A05135}"/>
                    </a:ext>
                  </a:extLst>
                </p:cNvPr>
                <p:cNvGrpSpPr/>
                <p:nvPr/>
              </p:nvGrpSpPr>
              <p:grpSpPr>
                <a:xfrm>
                  <a:off x="541712" y="2906158"/>
                  <a:ext cx="587500" cy="440882"/>
                  <a:chOff x="541712" y="2906158"/>
                  <a:chExt cx="587500" cy="440882"/>
                </a:xfrm>
              </p:grpSpPr>
              <p:sp>
                <p:nvSpPr>
                  <p:cNvPr id="497" name="Freihandform: Form 496">
                    <a:extLst>
                      <a:ext uri="{FF2B5EF4-FFF2-40B4-BE49-F238E27FC236}">
                        <a16:creationId xmlns:a16="http://schemas.microsoft.com/office/drawing/2014/main" id="{35E585B1-D87B-68D4-049B-E426DF9899B9}"/>
                      </a:ext>
                    </a:extLst>
                  </p:cNvPr>
                  <p:cNvSpPr/>
                  <p:nvPr/>
                </p:nvSpPr>
                <p:spPr>
                  <a:xfrm>
                    <a:off x="598145" y="2926300"/>
                    <a:ext cx="531066" cy="420740"/>
                  </a:xfrm>
                  <a:custGeom>
                    <a:avLst/>
                    <a:gdLst>
                      <a:gd name="connsiteX0" fmla="*/ 480319 w 531066"/>
                      <a:gd name="connsiteY0" fmla="*/ 420740 h 420740"/>
                      <a:gd name="connsiteX1" fmla="*/ 531067 w 531066"/>
                      <a:gd name="connsiteY1" fmla="*/ 315676 h 420740"/>
                      <a:gd name="connsiteX2" fmla="*/ 112927 w 531066"/>
                      <a:gd name="connsiteY2" fmla="*/ 0 h 420740"/>
                      <a:gd name="connsiteX3" fmla="*/ 0 w 531066"/>
                      <a:gd name="connsiteY3" fmla="*/ 181035 h 420740"/>
                      <a:gd name="connsiteX4" fmla="*/ 480319 w 531066"/>
                      <a:gd name="connsiteY4" fmla="*/ 420740 h 4207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31066" h="420740">
                        <a:moveTo>
                          <a:pt x="480319" y="420740"/>
                        </a:moveTo>
                        <a:lnTo>
                          <a:pt x="531067" y="315676"/>
                        </a:lnTo>
                        <a:lnTo>
                          <a:pt x="112927" y="0"/>
                        </a:lnTo>
                        <a:lnTo>
                          <a:pt x="0" y="181035"/>
                        </a:lnTo>
                        <a:lnTo>
                          <a:pt x="480319" y="420740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8" name="Freihandform: Form 497">
                    <a:extLst>
                      <a:ext uri="{FF2B5EF4-FFF2-40B4-BE49-F238E27FC236}">
                        <a16:creationId xmlns:a16="http://schemas.microsoft.com/office/drawing/2014/main" id="{CDFE11EB-6332-A8F9-00BF-334E58B77A85}"/>
                      </a:ext>
                    </a:extLst>
                  </p:cNvPr>
                  <p:cNvSpPr/>
                  <p:nvPr/>
                </p:nvSpPr>
                <p:spPr>
                  <a:xfrm>
                    <a:off x="541712" y="2906158"/>
                    <a:ext cx="213878" cy="213878"/>
                  </a:xfrm>
                  <a:custGeom>
                    <a:avLst/>
                    <a:gdLst>
                      <a:gd name="connsiteX0" fmla="*/ 213878 w 213878"/>
                      <a:gd name="connsiteY0" fmla="*/ 106939 h 213878"/>
                      <a:gd name="connsiteX1" fmla="*/ 106939 w 213878"/>
                      <a:gd name="connsiteY1" fmla="*/ 213878 h 213878"/>
                      <a:gd name="connsiteX2" fmla="*/ 0 w 213878"/>
                      <a:gd name="connsiteY2" fmla="*/ 106939 h 213878"/>
                      <a:gd name="connsiteX3" fmla="*/ 106939 w 213878"/>
                      <a:gd name="connsiteY3" fmla="*/ 0 h 213878"/>
                      <a:gd name="connsiteX4" fmla="*/ 213878 w 213878"/>
                      <a:gd name="connsiteY4" fmla="*/ 106939 h 21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3878" h="213878">
                        <a:moveTo>
                          <a:pt x="213878" y="106939"/>
                        </a:moveTo>
                        <a:cubicBezTo>
                          <a:pt x="213878" y="166000"/>
                          <a:pt x="166000" y="213878"/>
                          <a:pt x="106939" y="213878"/>
                        </a:cubicBezTo>
                        <a:cubicBezTo>
                          <a:pt x="47878" y="213878"/>
                          <a:pt x="0" y="166000"/>
                          <a:pt x="0" y="106939"/>
                        </a:cubicBezTo>
                        <a:cubicBezTo>
                          <a:pt x="0" y="47878"/>
                          <a:pt x="47878" y="0"/>
                          <a:pt x="106939" y="0"/>
                        </a:cubicBezTo>
                        <a:cubicBezTo>
                          <a:pt x="166000" y="0"/>
                          <a:pt x="213878" y="47878"/>
                          <a:pt x="213878" y="106939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9" name="Freihandform: Form 498">
                    <a:extLst>
                      <a:ext uri="{FF2B5EF4-FFF2-40B4-BE49-F238E27FC236}">
                        <a16:creationId xmlns:a16="http://schemas.microsoft.com/office/drawing/2014/main" id="{C10DAD7F-022C-0763-575D-E76D90B8D019}"/>
                      </a:ext>
                    </a:extLst>
                  </p:cNvPr>
                  <p:cNvSpPr/>
                  <p:nvPr/>
                </p:nvSpPr>
                <p:spPr>
                  <a:xfrm>
                    <a:off x="1001586" y="3186390"/>
                    <a:ext cx="127625" cy="160650"/>
                  </a:xfrm>
                  <a:custGeom>
                    <a:avLst/>
                    <a:gdLst>
                      <a:gd name="connsiteX0" fmla="*/ 53953 w 127625"/>
                      <a:gd name="connsiteY0" fmla="*/ 0 h 160650"/>
                      <a:gd name="connsiteX1" fmla="*/ 0 w 127625"/>
                      <a:gd name="connsiteY1" fmla="*/ 122121 h 160650"/>
                      <a:gd name="connsiteX2" fmla="*/ 76878 w 127625"/>
                      <a:gd name="connsiteY2" fmla="*/ 160651 h 160650"/>
                      <a:gd name="connsiteX3" fmla="*/ 127625 w 127625"/>
                      <a:gd name="connsiteY3" fmla="*/ 55587 h 160650"/>
                      <a:gd name="connsiteX4" fmla="*/ 53953 w 127625"/>
                      <a:gd name="connsiteY4" fmla="*/ 60 h 1606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7625" h="160650">
                        <a:moveTo>
                          <a:pt x="53953" y="0"/>
                        </a:moveTo>
                        <a:cubicBezTo>
                          <a:pt x="35505" y="41493"/>
                          <a:pt x="15182" y="87523"/>
                          <a:pt x="0" y="122121"/>
                        </a:cubicBezTo>
                        <a:lnTo>
                          <a:pt x="76878" y="160651"/>
                        </a:lnTo>
                        <a:cubicBezTo>
                          <a:pt x="102403" y="136094"/>
                          <a:pt x="118250" y="99802"/>
                          <a:pt x="127625" y="55587"/>
                        </a:cubicBezTo>
                        <a:lnTo>
                          <a:pt x="53953" y="60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500" name="Grafik 297">
                  <a:extLst>
                    <a:ext uri="{FF2B5EF4-FFF2-40B4-BE49-F238E27FC236}">
                      <a16:creationId xmlns:a16="http://schemas.microsoft.com/office/drawing/2014/main" id="{1BF3CF7F-5AE1-914C-4D9B-453676997E55}"/>
                    </a:ext>
                  </a:extLst>
                </p:cNvPr>
                <p:cNvGrpSpPr/>
                <p:nvPr/>
              </p:nvGrpSpPr>
              <p:grpSpPr>
                <a:xfrm>
                  <a:off x="469794" y="2286298"/>
                  <a:ext cx="311744" cy="732303"/>
                  <a:chOff x="469794" y="2286298"/>
                  <a:chExt cx="311744" cy="732303"/>
                </a:xfrm>
              </p:grpSpPr>
              <p:sp>
                <p:nvSpPr>
                  <p:cNvPr id="501" name="Freihandform: Form 500">
                    <a:extLst>
                      <a:ext uri="{FF2B5EF4-FFF2-40B4-BE49-F238E27FC236}">
                        <a16:creationId xmlns:a16="http://schemas.microsoft.com/office/drawing/2014/main" id="{43D48E93-F240-A579-4EA0-C1A15F0C7F13}"/>
                      </a:ext>
                    </a:extLst>
                  </p:cNvPr>
                  <p:cNvSpPr/>
                  <p:nvPr/>
                </p:nvSpPr>
                <p:spPr>
                  <a:xfrm>
                    <a:off x="469794" y="2286298"/>
                    <a:ext cx="308236" cy="308236"/>
                  </a:xfrm>
                  <a:custGeom>
                    <a:avLst/>
                    <a:gdLst>
                      <a:gd name="connsiteX0" fmla="*/ 308236 w 308236"/>
                      <a:gd name="connsiteY0" fmla="*/ 154118 h 308236"/>
                      <a:gd name="connsiteX1" fmla="*/ 154118 w 308236"/>
                      <a:gd name="connsiteY1" fmla="*/ 308236 h 308236"/>
                      <a:gd name="connsiteX2" fmla="*/ 0 w 308236"/>
                      <a:gd name="connsiteY2" fmla="*/ 154118 h 308236"/>
                      <a:gd name="connsiteX3" fmla="*/ 154118 w 308236"/>
                      <a:gd name="connsiteY3" fmla="*/ 0 h 308236"/>
                      <a:gd name="connsiteX4" fmla="*/ 308236 w 308236"/>
                      <a:gd name="connsiteY4" fmla="*/ 154118 h 3082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8236" h="308236">
                        <a:moveTo>
                          <a:pt x="308236" y="154118"/>
                        </a:moveTo>
                        <a:cubicBezTo>
                          <a:pt x="308236" y="239235"/>
                          <a:pt x="239235" y="308236"/>
                          <a:pt x="154118" y="308236"/>
                        </a:cubicBezTo>
                        <a:cubicBezTo>
                          <a:pt x="69001" y="308236"/>
                          <a:pt x="0" y="239235"/>
                          <a:pt x="0" y="154118"/>
                        </a:cubicBezTo>
                        <a:cubicBezTo>
                          <a:pt x="0" y="69001"/>
                          <a:pt x="69001" y="0"/>
                          <a:pt x="154118" y="0"/>
                        </a:cubicBezTo>
                        <a:cubicBezTo>
                          <a:pt x="239235" y="0"/>
                          <a:pt x="308236" y="69001"/>
                          <a:pt x="308236" y="154118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2" name="Freihandform: Form 501">
                    <a:extLst>
                      <a:ext uri="{FF2B5EF4-FFF2-40B4-BE49-F238E27FC236}">
                        <a16:creationId xmlns:a16="http://schemas.microsoft.com/office/drawing/2014/main" id="{F1F30D28-D6D1-804C-69BD-04EDF983CA50}"/>
                      </a:ext>
                    </a:extLst>
                  </p:cNvPr>
                  <p:cNvSpPr/>
                  <p:nvPr/>
                </p:nvSpPr>
                <p:spPr>
                  <a:xfrm>
                    <a:off x="519030" y="2805268"/>
                    <a:ext cx="245331" cy="213333"/>
                  </a:xfrm>
                  <a:custGeom>
                    <a:avLst/>
                    <a:gdLst>
                      <a:gd name="connsiteX0" fmla="*/ 22864 w 245331"/>
                      <a:gd name="connsiteY0" fmla="*/ 213334 h 213333"/>
                      <a:gd name="connsiteX1" fmla="*/ 236319 w 245331"/>
                      <a:gd name="connsiteY1" fmla="*/ 203354 h 213333"/>
                      <a:gd name="connsiteX2" fmla="*/ 245331 w 245331"/>
                      <a:gd name="connsiteY2" fmla="*/ 0 h 213333"/>
                      <a:gd name="connsiteX3" fmla="*/ 0 w 245331"/>
                      <a:gd name="connsiteY3" fmla="*/ 5807 h 213333"/>
                      <a:gd name="connsiteX4" fmla="*/ 22864 w 245331"/>
                      <a:gd name="connsiteY4" fmla="*/ 213334 h 2133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5331" h="213333">
                        <a:moveTo>
                          <a:pt x="22864" y="213334"/>
                        </a:moveTo>
                        <a:lnTo>
                          <a:pt x="236319" y="203354"/>
                        </a:lnTo>
                        <a:lnTo>
                          <a:pt x="245331" y="0"/>
                        </a:lnTo>
                        <a:lnTo>
                          <a:pt x="0" y="5807"/>
                        </a:lnTo>
                        <a:lnTo>
                          <a:pt x="22864" y="213334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3" name="Freihandform: Form 502">
                    <a:extLst>
                      <a:ext uri="{FF2B5EF4-FFF2-40B4-BE49-F238E27FC236}">
                        <a16:creationId xmlns:a16="http://schemas.microsoft.com/office/drawing/2014/main" id="{AAF6E9F9-342B-A193-FCF3-433205687F50}"/>
                      </a:ext>
                    </a:extLst>
                  </p:cNvPr>
                  <p:cNvSpPr/>
                  <p:nvPr/>
                </p:nvSpPr>
                <p:spPr>
                  <a:xfrm>
                    <a:off x="470096" y="2439751"/>
                    <a:ext cx="311442" cy="552236"/>
                  </a:xfrm>
                  <a:custGeom>
                    <a:avLst/>
                    <a:gdLst>
                      <a:gd name="connsiteX0" fmla="*/ 0 w 311442"/>
                      <a:gd name="connsiteY0" fmla="*/ 10041 h 552236"/>
                      <a:gd name="connsiteX1" fmla="*/ 46211 w 311442"/>
                      <a:gd name="connsiteY1" fmla="*/ 552237 h 552236"/>
                      <a:gd name="connsiteX2" fmla="*/ 311442 w 311442"/>
                      <a:gd name="connsiteY2" fmla="*/ 512195 h 552236"/>
                      <a:gd name="connsiteX3" fmla="*/ 307995 w 311442"/>
                      <a:gd name="connsiteY3" fmla="*/ 0 h 552236"/>
                      <a:gd name="connsiteX4" fmla="*/ 0 w 311442"/>
                      <a:gd name="connsiteY4" fmla="*/ 10041 h 5522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1442" h="552236">
                        <a:moveTo>
                          <a:pt x="0" y="10041"/>
                        </a:moveTo>
                        <a:cubicBezTo>
                          <a:pt x="4899" y="166881"/>
                          <a:pt x="46211" y="552237"/>
                          <a:pt x="46211" y="552237"/>
                        </a:cubicBezTo>
                        <a:lnTo>
                          <a:pt x="311442" y="512195"/>
                        </a:lnTo>
                        <a:lnTo>
                          <a:pt x="307995" y="0"/>
                        </a:lnTo>
                        <a:cubicBezTo>
                          <a:pt x="195551" y="3024"/>
                          <a:pt x="153876" y="4718"/>
                          <a:pt x="0" y="10041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</p:grpSp>
        <p:sp>
          <p:nvSpPr>
            <p:cNvPr id="515" name="Rechteck 514">
              <a:extLst>
                <a:ext uri="{FF2B5EF4-FFF2-40B4-BE49-F238E27FC236}">
                  <a16:creationId xmlns:a16="http://schemas.microsoft.com/office/drawing/2014/main" id="{6C8B6E2A-E84C-29A3-2AA4-775A92B96541}"/>
                </a:ext>
              </a:extLst>
            </p:cNvPr>
            <p:cNvSpPr>
              <a:spLocks/>
            </p:cNvSpPr>
            <p:nvPr/>
          </p:nvSpPr>
          <p:spPr>
            <a:xfrm>
              <a:off x="9210675" y="2912475"/>
              <a:ext cx="53975" cy="906229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l"/>
              <a:endParaRPr lang="en-US" sz="1000" b="1">
                <a:solidFill>
                  <a:schemeClr val="tx1"/>
                </a:solidFill>
              </a:endParaRPr>
            </a:p>
          </p:txBody>
        </p:sp>
      </p:grpSp>
      <p:cxnSp>
        <p:nvCxnSpPr>
          <p:cNvPr id="540" name="Gerader Verbinder 539">
            <a:extLst>
              <a:ext uri="{FF2B5EF4-FFF2-40B4-BE49-F238E27FC236}">
                <a16:creationId xmlns:a16="http://schemas.microsoft.com/office/drawing/2014/main" id="{9F7ABFFD-B0A9-2076-DABB-E652D8B779FF}"/>
              </a:ext>
            </a:extLst>
          </p:cNvPr>
          <p:cNvCxnSpPr>
            <a:cxnSpLocks/>
          </p:cNvCxnSpPr>
          <p:nvPr/>
        </p:nvCxnSpPr>
        <p:spPr>
          <a:xfrm>
            <a:off x="3176" y="6193877"/>
            <a:ext cx="8759824" cy="0"/>
          </a:xfrm>
          <a:prstGeom prst="line">
            <a:avLst/>
          </a:prstGeom>
          <a:ln w="12700" cap="rnd">
            <a:gradFill flip="none" rotWithShape="1">
              <a:gsLst>
                <a:gs pos="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0" scaled="1"/>
              <a:tileRect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1" name="Gruppieren 560">
            <a:extLst>
              <a:ext uri="{FF2B5EF4-FFF2-40B4-BE49-F238E27FC236}">
                <a16:creationId xmlns:a16="http://schemas.microsoft.com/office/drawing/2014/main" id="{1B311E3E-ECAF-7024-E058-0734B22CD410}"/>
              </a:ext>
            </a:extLst>
          </p:cNvPr>
          <p:cNvGrpSpPr/>
          <p:nvPr/>
        </p:nvGrpSpPr>
        <p:grpSpPr>
          <a:xfrm>
            <a:off x="9210675" y="3998704"/>
            <a:ext cx="2201842" cy="906229"/>
            <a:chOff x="9210675" y="3998704"/>
            <a:chExt cx="2201842" cy="906229"/>
          </a:xfrm>
        </p:grpSpPr>
        <p:sp>
          <p:nvSpPr>
            <p:cNvPr id="549" name="Rechteck 548">
              <a:extLst>
                <a:ext uri="{FF2B5EF4-FFF2-40B4-BE49-F238E27FC236}">
                  <a16:creationId xmlns:a16="http://schemas.microsoft.com/office/drawing/2014/main" id="{43B11274-7C74-3277-78A1-940D4C267EC7}"/>
                </a:ext>
              </a:extLst>
            </p:cNvPr>
            <p:cNvSpPr>
              <a:spLocks/>
            </p:cNvSpPr>
            <p:nvPr/>
          </p:nvSpPr>
          <p:spPr>
            <a:xfrm>
              <a:off x="9210675" y="3998704"/>
              <a:ext cx="2201842" cy="90622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tlCol="0" anchor="t"/>
            <a:lstStyle/>
            <a:p>
              <a:pPr algn="l"/>
              <a:r>
                <a:rPr lang="en-US" sz="1200" b="1" err="1">
                  <a:solidFill>
                    <a:schemeClr val="tx1"/>
                  </a:solidFill>
                </a:rPr>
                <a:t>Patientinnen</a:t>
              </a:r>
              <a:r>
                <a:rPr lang="en-US" sz="1200" b="1">
                  <a:solidFill>
                    <a:schemeClr val="tx1"/>
                  </a:solidFill>
                </a:rPr>
                <a:t> &amp; </a:t>
              </a:r>
              <a:br>
                <a:rPr lang="en-US" sz="1200" b="1">
                  <a:solidFill>
                    <a:schemeClr val="tx1"/>
                  </a:solidFill>
                </a:rPr>
              </a:br>
              <a:r>
                <a:rPr lang="en-US" sz="1200" b="1" err="1">
                  <a:solidFill>
                    <a:schemeClr val="tx1"/>
                  </a:solidFill>
                </a:rPr>
                <a:t>Patienten</a:t>
              </a:r>
              <a:endParaRPr lang="en-US" sz="1200" b="1">
                <a:solidFill>
                  <a:schemeClr val="tx1"/>
                </a:solidFill>
              </a:endParaRPr>
            </a:p>
          </p:txBody>
        </p:sp>
        <p:sp>
          <p:nvSpPr>
            <p:cNvPr id="550" name="Rechteck 549">
              <a:extLst>
                <a:ext uri="{FF2B5EF4-FFF2-40B4-BE49-F238E27FC236}">
                  <a16:creationId xmlns:a16="http://schemas.microsoft.com/office/drawing/2014/main" id="{CCB54E46-8DFF-F83A-DBC6-4C92020378F8}"/>
                </a:ext>
              </a:extLst>
            </p:cNvPr>
            <p:cNvSpPr>
              <a:spLocks/>
            </p:cNvSpPr>
            <p:nvPr/>
          </p:nvSpPr>
          <p:spPr>
            <a:xfrm>
              <a:off x="9210675" y="3998704"/>
              <a:ext cx="53975" cy="906229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l"/>
              <a:endParaRPr lang="en-US" sz="1000" b="1">
                <a:solidFill>
                  <a:schemeClr val="tx1"/>
                </a:solidFill>
              </a:endParaRPr>
            </a:p>
          </p:txBody>
        </p:sp>
        <p:grpSp>
          <p:nvGrpSpPr>
            <p:cNvPr id="558" name="Gruppieren 557">
              <a:extLst>
                <a:ext uri="{FF2B5EF4-FFF2-40B4-BE49-F238E27FC236}">
                  <a16:creationId xmlns:a16="http://schemas.microsoft.com/office/drawing/2014/main" id="{6DD47228-A363-1D21-FD05-4086FB36CCE7}"/>
                </a:ext>
              </a:extLst>
            </p:cNvPr>
            <p:cNvGrpSpPr/>
            <p:nvPr/>
          </p:nvGrpSpPr>
          <p:grpSpPr>
            <a:xfrm>
              <a:off x="10614025" y="4114800"/>
              <a:ext cx="694387" cy="666750"/>
              <a:chOff x="10614025" y="4114800"/>
              <a:chExt cx="694387" cy="666750"/>
            </a:xfrm>
          </p:grpSpPr>
          <p:pic>
            <p:nvPicPr>
              <p:cNvPr id="552" name="Grafik 551">
                <a:extLst>
                  <a:ext uri="{FF2B5EF4-FFF2-40B4-BE49-F238E27FC236}">
                    <a16:creationId xmlns:a16="http://schemas.microsoft.com/office/drawing/2014/main" id="{093FA96E-6CA7-2F39-BF88-7F04D715FB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0829366" y="4114800"/>
                <a:ext cx="229159" cy="666750"/>
              </a:xfrm>
              <a:prstGeom prst="rect">
                <a:avLst/>
              </a:prstGeom>
            </p:spPr>
          </p:pic>
          <p:pic>
            <p:nvPicPr>
              <p:cNvPr id="554" name="Grafik 553">
                <a:extLst>
                  <a:ext uri="{FF2B5EF4-FFF2-40B4-BE49-F238E27FC236}">
                    <a16:creationId xmlns:a16="http://schemas.microsoft.com/office/drawing/2014/main" id="{E2A7F8B3-C647-D818-102A-1AD1D1D6206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 flipH="1">
                <a:off x="10954885" y="4257593"/>
                <a:ext cx="353527" cy="523957"/>
              </a:xfrm>
              <a:prstGeom prst="rect">
                <a:avLst/>
              </a:prstGeom>
            </p:spPr>
          </p:pic>
          <p:pic>
            <p:nvPicPr>
              <p:cNvPr id="556" name="Grafik 555">
                <a:extLst>
                  <a:ext uri="{FF2B5EF4-FFF2-40B4-BE49-F238E27FC236}">
                    <a16:creationId xmlns:a16="http://schemas.microsoft.com/office/drawing/2014/main" id="{D59F338D-3C2B-B7E6-C88D-AF97BBCDAFB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10614025" y="4185045"/>
                <a:ext cx="208431" cy="596505"/>
              </a:xfrm>
              <a:prstGeom prst="rect">
                <a:avLst/>
              </a:prstGeom>
            </p:spPr>
          </p:pic>
        </p:grpSp>
      </p:grpSp>
      <p:sp>
        <p:nvSpPr>
          <p:cNvPr id="563" name="Rechteck 562">
            <a:extLst>
              <a:ext uri="{FF2B5EF4-FFF2-40B4-BE49-F238E27FC236}">
                <a16:creationId xmlns:a16="http://schemas.microsoft.com/office/drawing/2014/main" id="{FB86AA7C-563C-3480-3EEB-DD11D9D5447B}"/>
              </a:ext>
            </a:extLst>
          </p:cNvPr>
          <p:cNvSpPr>
            <a:spLocks/>
          </p:cNvSpPr>
          <p:nvPr/>
        </p:nvSpPr>
        <p:spPr>
          <a:xfrm>
            <a:off x="9210675" y="1826246"/>
            <a:ext cx="2201842" cy="906229"/>
          </a:xfrm>
          <a:prstGeom prst="rect">
            <a:avLst/>
          </a:prstGeom>
          <a:solidFill>
            <a:schemeClr val="bg1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4" name="Rechteck 563">
            <a:extLst>
              <a:ext uri="{FF2B5EF4-FFF2-40B4-BE49-F238E27FC236}">
                <a16:creationId xmlns:a16="http://schemas.microsoft.com/office/drawing/2014/main" id="{9A62BBFC-21AE-0D42-D2F7-544E8508812C}"/>
              </a:ext>
            </a:extLst>
          </p:cNvPr>
          <p:cNvSpPr>
            <a:spLocks/>
          </p:cNvSpPr>
          <p:nvPr/>
        </p:nvSpPr>
        <p:spPr>
          <a:xfrm>
            <a:off x="9210675" y="2912475"/>
            <a:ext cx="2201842" cy="906229"/>
          </a:xfrm>
          <a:prstGeom prst="rect">
            <a:avLst/>
          </a:prstGeom>
          <a:solidFill>
            <a:schemeClr val="bg1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70" name="Gruppieren 569">
            <a:extLst>
              <a:ext uri="{FF2B5EF4-FFF2-40B4-BE49-F238E27FC236}">
                <a16:creationId xmlns:a16="http://schemas.microsoft.com/office/drawing/2014/main" id="{A3BE7F2C-31F5-D0CA-155D-AC21418E7C0A}"/>
              </a:ext>
            </a:extLst>
          </p:cNvPr>
          <p:cNvGrpSpPr/>
          <p:nvPr/>
        </p:nvGrpSpPr>
        <p:grpSpPr>
          <a:xfrm>
            <a:off x="543055" y="1619250"/>
            <a:ext cx="4203519" cy="2560819"/>
            <a:chOff x="543055" y="1619250"/>
            <a:chExt cx="4203519" cy="2560819"/>
          </a:xfrm>
        </p:grpSpPr>
        <p:grpSp>
          <p:nvGrpSpPr>
            <p:cNvPr id="526" name="Gruppieren 525">
              <a:extLst>
                <a:ext uri="{FF2B5EF4-FFF2-40B4-BE49-F238E27FC236}">
                  <a16:creationId xmlns:a16="http://schemas.microsoft.com/office/drawing/2014/main" id="{7AD2DF6B-AB65-EED4-AE74-D04421367E48}"/>
                </a:ext>
              </a:extLst>
            </p:cNvPr>
            <p:cNvGrpSpPr>
              <a:grpSpLocks/>
            </p:cNvGrpSpPr>
            <p:nvPr/>
          </p:nvGrpSpPr>
          <p:grpSpPr>
            <a:xfrm>
              <a:off x="543055" y="1619250"/>
              <a:ext cx="4203519" cy="2560819"/>
              <a:chOff x="3185160" y="3688080"/>
              <a:chExt cx="5153310" cy="3139440"/>
            </a:xfrm>
          </p:grpSpPr>
          <p:sp>
            <p:nvSpPr>
              <p:cNvPr id="527" name="Rechteck 526">
                <a:extLst>
                  <a:ext uri="{FF2B5EF4-FFF2-40B4-BE49-F238E27FC236}">
                    <a16:creationId xmlns:a16="http://schemas.microsoft.com/office/drawing/2014/main" id="{EEBBFF5A-13B7-470E-6EA6-C4FE9C1767A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185160" y="3688080"/>
                <a:ext cx="5153310" cy="25908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8" name="Rechteck 527">
                <a:extLst>
                  <a:ext uri="{FF2B5EF4-FFF2-40B4-BE49-F238E27FC236}">
                    <a16:creationId xmlns:a16="http://schemas.microsoft.com/office/drawing/2014/main" id="{A9B09489-D65C-30D7-309F-58163152DB2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45380" y="6271260"/>
                <a:ext cx="1632870" cy="47244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9" name="Rechteck 528">
                <a:extLst>
                  <a:ext uri="{FF2B5EF4-FFF2-40B4-BE49-F238E27FC236}">
                    <a16:creationId xmlns:a16="http://schemas.microsoft.com/office/drawing/2014/main" id="{0EA01491-4591-2524-A25A-CCD4C1B77EE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482750" y="6736080"/>
                <a:ext cx="2558130" cy="9144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0" name="Rechtwinkliges Dreieck 529">
                <a:extLst>
                  <a:ext uri="{FF2B5EF4-FFF2-40B4-BE49-F238E27FC236}">
                    <a16:creationId xmlns:a16="http://schemas.microsoft.com/office/drawing/2014/main" id="{8E7176EC-B95D-BFD9-6EEA-3FC974D4CDFD}"/>
                  </a:ext>
                </a:extLst>
              </p:cNvPr>
              <p:cNvSpPr/>
              <p:nvPr/>
            </p:nvSpPr>
            <p:spPr>
              <a:xfrm flipH="1" flipV="1">
                <a:off x="4945379" y="6278880"/>
                <a:ext cx="1632870" cy="457200"/>
              </a:xfrm>
              <a:prstGeom prst="rtTriangle">
                <a:avLst/>
              </a:prstGeom>
              <a:solidFill>
                <a:schemeClr val="tx1">
                  <a:alpha val="3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565" name="Grafik 564">
              <a:extLst>
                <a:ext uri="{FF2B5EF4-FFF2-40B4-BE49-F238E27FC236}">
                  <a16:creationId xmlns:a16="http://schemas.microsoft.com/office/drawing/2014/main" id="{F4F758F2-49F0-B7F2-FEFF-C469DCC003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611598" y="1676074"/>
              <a:ext cx="4067348" cy="1987914"/>
            </a:xfrm>
            <a:prstGeom prst="rect">
              <a:avLst/>
            </a:prstGeom>
            <a:ln w="15875">
              <a:solidFill>
                <a:srgbClr val="1B1B1B"/>
              </a:solidFill>
              <a:miter lim="800000"/>
            </a:ln>
          </p:spPr>
        </p:pic>
      </p:grpSp>
      <p:grpSp>
        <p:nvGrpSpPr>
          <p:cNvPr id="569" name="Gruppieren 568">
            <a:extLst>
              <a:ext uri="{FF2B5EF4-FFF2-40B4-BE49-F238E27FC236}">
                <a16:creationId xmlns:a16="http://schemas.microsoft.com/office/drawing/2014/main" id="{F09263A5-95D6-4EC7-B323-E935499301E6}"/>
              </a:ext>
            </a:extLst>
          </p:cNvPr>
          <p:cNvGrpSpPr/>
          <p:nvPr/>
        </p:nvGrpSpPr>
        <p:grpSpPr>
          <a:xfrm>
            <a:off x="2431526" y="2626154"/>
            <a:ext cx="4203519" cy="2560819"/>
            <a:chOff x="2431526" y="2626154"/>
            <a:chExt cx="4203519" cy="2560819"/>
          </a:xfrm>
        </p:grpSpPr>
        <p:grpSp>
          <p:nvGrpSpPr>
            <p:cNvPr id="521" name="Gruppieren 520">
              <a:extLst>
                <a:ext uri="{FF2B5EF4-FFF2-40B4-BE49-F238E27FC236}">
                  <a16:creationId xmlns:a16="http://schemas.microsoft.com/office/drawing/2014/main" id="{5A05FF3B-69A1-C4E5-C7EB-F192E138EDEE}"/>
                </a:ext>
              </a:extLst>
            </p:cNvPr>
            <p:cNvGrpSpPr/>
            <p:nvPr/>
          </p:nvGrpSpPr>
          <p:grpSpPr>
            <a:xfrm>
              <a:off x="2431526" y="2626154"/>
              <a:ext cx="4203519" cy="2560819"/>
              <a:chOff x="3185160" y="3688080"/>
              <a:chExt cx="5153310" cy="3139440"/>
            </a:xfrm>
          </p:grpSpPr>
          <p:sp>
            <p:nvSpPr>
              <p:cNvPr id="522" name="Rechteck 521">
                <a:extLst>
                  <a:ext uri="{FF2B5EF4-FFF2-40B4-BE49-F238E27FC236}">
                    <a16:creationId xmlns:a16="http://schemas.microsoft.com/office/drawing/2014/main" id="{4ED21239-A136-8F86-4DEC-F433CB307C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185160" y="3688080"/>
                <a:ext cx="5153310" cy="25908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3" name="Rechteck 522">
                <a:extLst>
                  <a:ext uri="{FF2B5EF4-FFF2-40B4-BE49-F238E27FC236}">
                    <a16:creationId xmlns:a16="http://schemas.microsoft.com/office/drawing/2014/main" id="{1FA07F6F-EC5F-AE4A-1316-9BF57EEC7B8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45380" y="6271260"/>
                <a:ext cx="1632870" cy="47244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4" name="Rechteck 523">
                <a:extLst>
                  <a:ext uri="{FF2B5EF4-FFF2-40B4-BE49-F238E27FC236}">
                    <a16:creationId xmlns:a16="http://schemas.microsoft.com/office/drawing/2014/main" id="{D777F178-53C5-2C9A-6172-7DD9D32D7DA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482750" y="6736080"/>
                <a:ext cx="2558130" cy="9144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5" name="Rechtwinkliges Dreieck 524">
                <a:extLst>
                  <a:ext uri="{FF2B5EF4-FFF2-40B4-BE49-F238E27FC236}">
                    <a16:creationId xmlns:a16="http://schemas.microsoft.com/office/drawing/2014/main" id="{86DD6B61-8A60-443D-EA09-18801D97308E}"/>
                  </a:ext>
                </a:extLst>
              </p:cNvPr>
              <p:cNvSpPr/>
              <p:nvPr/>
            </p:nvSpPr>
            <p:spPr>
              <a:xfrm flipH="1" flipV="1">
                <a:off x="4945379" y="6278880"/>
                <a:ext cx="1632870" cy="457200"/>
              </a:xfrm>
              <a:prstGeom prst="rtTriangle">
                <a:avLst/>
              </a:prstGeom>
              <a:solidFill>
                <a:schemeClr val="tx1">
                  <a:alpha val="3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566" name="Grafik 565">
              <a:extLst>
                <a:ext uri="{FF2B5EF4-FFF2-40B4-BE49-F238E27FC236}">
                  <a16:creationId xmlns:a16="http://schemas.microsoft.com/office/drawing/2014/main" id="{4A0D0EB5-6B28-9715-4FAD-994DEA173C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2512214" y="2675597"/>
              <a:ext cx="4067348" cy="1987914"/>
            </a:xfrm>
            <a:prstGeom prst="rect">
              <a:avLst/>
            </a:prstGeom>
            <a:ln w="15875">
              <a:solidFill>
                <a:srgbClr val="1B1B1B"/>
              </a:solidFill>
              <a:miter lim="800000"/>
            </a:ln>
          </p:spPr>
        </p:pic>
      </p:grpSp>
      <p:grpSp>
        <p:nvGrpSpPr>
          <p:cNvPr id="568" name="Gruppieren 567">
            <a:extLst>
              <a:ext uri="{FF2B5EF4-FFF2-40B4-BE49-F238E27FC236}">
                <a16:creationId xmlns:a16="http://schemas.microsoft.com/office/drawing/2014/main" id="{A3716C0F-6079-434D-72CD-82EDBBC56A17}"/>
              </a:ext>
            </a:extLst>
          </p:cNvPr>
          <p:cNvGrpSpPr/>
          <p:nvPr/>
        </p:nvGrpSpPr>
        <p:grpSpPr>
          <a:xfrm>
            <a:off x="4319996" y="3633058"/>
            <a:ext cx="4203519" cy="2560819"/>
            <a:chOff x="4319996" y="3633058"/>
            <a:chExt cx="4203519" cy="2560819"/>
          </a:xfrm>
        </p:grpSpPr>
        <p:grpSp>
          <p:nvGrpSpPr>
            <p:cNvPr id="520" name="Gruppieren 519">
              <a:extLst>
                <a:ext uri="{FF2B5EF4-FFF2-40B4-BE49-F238E27FC236}">
                  <a16:creationId xmlns:a16="http://schemas.microsoft.com/office/drawing/2014/main" id="{29D3CDC0-BC3E-1BB3-0441-A192EAE68911}"/>
                </a:ext>
              </a:extLst>
            </p:cNvPr>
            <p:cNvGrpSpPr/>
            <p:nvPr/>
          </p:nvGrpSpPr>
          <p:grpSpPr>
            <a:xfrm>
              <a:off x="4319996" y="3633058"/>
              <a:ext cx="4203519" cy="2560819"/>
              <a:chOff x="3185160" y="3688080"/>
              <a:chExt cx="5153310" cy="3139440"/>
            </a:xfrm>
          </p:grpSpPr>
          <p:sp>
            <p:nvSpPr>
              <p:cNvPr id="516" name="Rechteck 515">
                <a:extLst>
                  <a:ext uri="{FF2B5EF4-FFF2-40B4-BE49-F238E27FC236}">
                    <a16:creationId xmlns:a16="http://schemas.microsoft.com/office/drawing/2014/main" id="{DAAFF312-DACC-B030-E60F-16142270B37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185160" y="3688080"/>
                <a:ext cx="5153310" cy="25908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7" name="Rechteck 516">
                <a:extLst>
                  <a:ext uri="{FF2B5EF4-FFF2-40B4-BE49-F238E27FC236}">
                    <a16:creationId xmlns:a16="http://schemas.microsoft.com/office/drawing/2014/main" id="{F577AC1E-F3E4-4210-7D83-C763C24D84F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45380" y="6271260"/>
                <a:ext cx="1632870" cy="47244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8" name="Rechteck 517">
                <a:extLst>
                  <a:ext uri="{FF2B5EF4-FFF2-40B4-BE49-F238E27FC236}">
                    <a16:creationId xmlns:a16="http://schemas.microsoft.com/office/drawing/2014/main" id="{36F7D23D-E500-C4FD-580D-4D6E8499B09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482750" y="6736080"/>
                <a:ext cx="2558130" cy="9144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9" name="Rechtwinkliges Dreieck 518">
                <a:extLst>
                  <a:ext uri="{FF2B5EF4-FFF2-40B4-BE49-F238E27FC236}">
                    <a16:creationId xmlns:a16="http://schemas.microsoft.com/office/drawing/2014/main" id="{2682F799-6A43-967F-D8E7-D541A87EA492}"/>
                  </a:ext>
                </a:extLst>
              </p:cNvPr>
              <p:cNvSpPr/>
              <p:nvPr/>
            </p:nvSpPr>
            <p:spPr>
              <a:xfrm flipH="1" flipV="1">
                <a:off x="4945379" y="6278880"/>
                <a:ext cx="1632870" cy="457200"/>
              </a:xfrm>
              <a:prstGeom prst="rtTriangle">
                <a:avLst/>
              </a:prstGeom>
              <a:solidFill>
                <a:schemeClr val="tx1">
                  <a:alpha val="3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567" name="Grafik 566">
              <a:extLst>
                <a:ext uri="{FF2B5EF4-FFF2-40B4-BE49-F238E27FC236}">
                  <a16:creationId xmlns:a16="http://schemas.microsoft.com/office/drawing/2014/main" id="{1E5B4B20-025E-5A43-E9C8-31E9CC512BD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4388081" y="3690511"/>
              <a:ext cx="4067348" cy="1987914"/>
            </a:xfrm>
            <a:prstGeom prst="rect">
              <a:avLst/>
            </a:prstGeom>
            <a:ln w="15875">
              <a:solidFill>
                <a:srgbClr val="1B1B1B"/>
              </a:solidFill>
              <a:miter lim="800000"/>
            </a:ln>
          </p:spPr>
        </p:pic>
      </p:grpSp>
      <p:sp>
        <p:nvSpPr>
          <p:cNvPr id="3" name="TextBox 5">
            <a:extLst>
              <a:ext uri="{FF2B5EF4-FFF2-40B4-BE49-F238E27FC236}">
                <a16:creationId xmlns:a16="http://schemas.microsoft.com/office/drawing/2014/main" id="{CAE5BA87-3ACA-66A6-4012-C0CD918B4D45}"/>
              </a:ext>
            </a:extLst>
          </p:cNvPr>
          <p:cNvSpPr txBox="1"/>
          <p:nvPr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11</a:t>
            </a:fld>
            <a:endParaRPr lang="de-DE" sz="1000" b="1" i="0" u="none" kern="1200" spc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5" name="Restricted">
            <a:extLst>
              <a:ext uri="{FF2B5EF4-FFF2-40B4-BE49-F238E27FC236}">
                <a16:creationId xmlns:a16="http://schemas.microsoft.com/office/drawing/2014/main" id="{95E23FB4-8B9B-C4CC-5312-C2EED6C7B31D}"/>
              </a:ext>
            </a:extLst>
          </p:cNvPr>
          <p:cNvSpPr txBox="1"/>
          <p:nvPr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de-DE" sz="1000">
                <a:solidFill>
                  <a:schemeClr val="tx1"/>
                </a:solidFill>
              </a:rPr>
              <a:t>Frei verwendbar © Siemens Healthineers, 2023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0FD02B4-E197-62DF-2258-D51ECC12FD6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544327" y="5734560"/>
            <a:ext cx="1617999" cy="218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8951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CCAE77A-0EFA-1BB7-727F-C68D0388AF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243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CCAE77A-0EFA-1BB7-727F-C68D0388AF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16" name="Gruppieren 515">
            <a:extLst>
              <a:ext uri="{FF2B5EF4-FFF2-40B4-BE49-F238E27FC236}">
                <a16:creationId xmlns:a16="http://schemas.microsoft.com/office/drawing/2014/main" id="{38CA9695-9CD0-9897-CB7E-2B084CCE7C16}"/>
              </a:ext>
            </a:extLst>
          </p:cNvPr>
          <p:cNvGrpSpPr/>
          <p:nvPr/>
        </p:nvGrpSpPr>
        <p:grpSpPr>
          <a:xfrm>
            <a:off x="521376" y="1651623"/>
            <a:ext cx="5390507" cy="3283942"/>
            <a:chOff x="543054" y="1619250"/>
            <a:chExt cx="5390507" cy="3283942"/>
          </a:xfrm>
        </p:grpSpPr>
        <p:grpSp>
          <p:nvGrpSpPr>
            <p:cNvPr id="526" name="Gruppieren 525">
              <a:extLst>
                <a:ext uri="{FF2B5EF4-FFF2-40B4-BE49-F238E27FC236}">
                  <a16:creationId xmlns:a16="http://schemas.microsoft.com/office/drawing/2014/main" id="{7AD2DF6B-AB65-EED4-AE74-D04421367E48}"/>
                </a:ext>
              </a:extLst>
            </p:cNvPr>
            <p:cNvGrpSpPr>
              <a:grpSpLocks/>
            </p:cNvGrpSpPr>
            <p:nvPr/>
          </p:nvGrpSpPr>
          <p:grpSpPr>
            <a:xfrm>
              <a:off x="543054" y="1619250"/>
              <a:ext cx="5390507" cy="3283942"/>
              <a:chOff x="3185160" y="3688080"/>
              <a:chExt cx="5153310" cy="3139440"/>
            </a:xfrm>
          </p:grpSpPr>
          <p:sp>
            <p:nvSpPr>
              <p:cNvPr id="527" name="Rechteck 526">
                <a:extLst>
                  <a:ext uri="{FF2B5EF4-FFF2-40B4-BE49-F238E27FC236}">
                    <a16:creationId xmlns:a16="http://schemas.microsoft.com/office/drawing/2014/main" id="{EEBBFF5A-13B7-470E-6EA6-C4FE9C1767A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185160" y="3688080"/>
                <a:ext cx="5153310" cy="25908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8" name="Rechteck 527">
                <a:extLst>
                  <a:ext uri="{FF2B5EF4-FFF2-40B4-BE49-F238E27FC236}">
                    <a16:creationId xmlns:a16="http://schemas.microsoft.com/office/drawing/2014/main" id="{A9B09489-D65C-30D7-309F-58163152DB2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45380" y="6271260"/>
                <a:ext cx="1632870" cy="47244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9" name="Rechteck 528">
                <a:extLst>
                  <a:ext uri="{FF2B5EF4-FFF2-40B4-BE49-F238E27FC236}">
                    <a16:creationId xmlns:a16="http://schemas.microsoft.com/office/drawing/2014/main" id="{0EA01491-4591-2524-A25A-CCD4C1B77EE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482750" y="6736080"/>
                <a:ext cx="2558130" cy="9144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0" name="Rechtwinkliges Dreieck 529">
                <a:extLst>
                  <a:ext uri="{FF2B5EF4-FFF2-40B4-BE49-F238E27FC236}">
                    <a16:creationId xmlns:a16="http://schemas.microsoft.com/office/drawing/2014/main" id="{8E7176EC-B95D-BFD9-6EEA-3FC974D4CDFD}"/>
                  </a:ext>
                </a:extLst>
              </p:cNvPr>
              <p:cNvSpPr/>
              <p:nvPr/>
            </p:nvSpPr>
            <p:spPr>
              <a:xfrm flipH="1" flipV="1">
                <a:off x="4945379" y="6278880"/>
                <a:ext cx="1632870" cy="457200"/>
              </a:xfrm>
              <a:prstGeom prst="rtTriangle">
                <a:avLst/>
              </a:prstGeom>
              <a:solidFill>
                <a:schemeClr val="tx1">
                  <a:alpha val="3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293" name="Grafik 292">
              <a:extLst>
                <a:ext uri="{FF2B5EF4-FFF2-40B4-BE49-F238E27FC236}">
                  <a16:creationId xmlns:a16="http://schemas.microsoft.com/office/drawing/2014/main" id="{5E5393B0-D794-40B0-ABF4-4DA86EFCDA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870" t="24576" r="19870" b="27164"/>
            <a:stretch/>
          </p:blipFill>
          <p:spPr>
            <a:xfrm>
              <a:off x="630952" y="1692121"/>
              <a:ext cx="5215884" cy="2557230"/>
            </a:xfrm>
            <a:prstGeom prst="rect">
              <a:avLst/>
            </a:prstGeom>
            <a:ln w="15875">
              <a:solidFill>
                <a:srgbClr val="1B1B1B"/>
              </a:solidFill>
              <a:miter lim="800000"/>
            </a:ln>
          </p:spPr>
        </p:pic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E697D4C5-95CA-F09F-FABF-6F4E26B68AC0}"/>
              </a:ext>
            </a:extLst>
          </p:cNvPr>
          <p:cNvGrpSpPr>
            <a:grpSpLocks/>
          </p:cNvGrpSpPr>
          <p:nvPr/>
        </p:nvGrpSpPr>
        <p:grpSpPr>
          <a:xfrm>
            <a:off x="8994773" y="1619250"/>
            <a:ext cx="3175003" cy="5238751"/>
            <a:chOff x="8994773" y="1619250"/>
            <a:chExt cx="3175003" cy="5238751"/>
          </a:xfrm>
        </p:grpSpPr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647D6AC3-ED16-C9A2-3588-E6B20562EC05}"/>
                </a:ext>
              </a:extLst>
            </p:cNvPr>
            <p:cNvSpPr/>
            <p:nvPr/>
          </p:nvSpPr>
          <p:spPr>
            <a:xfrm>
              <a:off x="8994773" y="1619250"/>
              <a:ext cx="3175003" cy="5238751"/>
            </a:xfrm>
            <a:custGeom>
              <a:avLst/>
              <a:gdLst>
                <a:gd name="connsiteX0" fmla="*/ 2641103 w 3175003"/>
                <a:gd name="connsiteY0" fmla="*/ 0 h 5238751"/>
                <a:gd name="connsiteX1" fmla="*/ 3175003 w 3175003"/>
                <a:gd name="connsiteY1" fmla="*/ 1401789 h 5238751"/>
                <a:gd name="connsiteX2" fmla="*/ 3175003 w 3175003"/>
                <a:gd name="connsiteY2" fmla="*/ 5238751 h 5238751"/>
                <a:gd name="connsiteX3" fmla="*/ 252737 w 3175003"/>
                <a:gd name="connsiteY3" fmla="*/ 5238751 h 5238751"/>
                <a:gd name="connsiteX4" fmla="*/ 0 w 3175003"/>
                <a:gd name="connsiteY4" fmla="*/ 4575174 h 5238751"/>
                <a:gd name="connsiteX5" fmla="*/ 2641103 w 3175003"/>
                <a:gd name="connsiteY5" fmla="*/ 4575174 h 5238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5003" h="5238751">
                  <a:moveTo>
                    <a:pt x="2641103" y="0"/>
                  </a:moveTo>
                  <a:lnTo>
                    <a:pt x="3175003" y="1401789"/>
                  </a:lnTo>
                  <a:lnTo>
                    <a:pt x="3175003" y="5238751"/>
                  </a:lnTo>
                  <a:lnTo>
                    <a:pt x="252737" y="5238751"/>
                  </a:lnTo>
                  <a:lnTo>
                    <a:pt x="0" y="4575174"/>
                  </a:lnTo>
                  <a:lnTo>
                    <a:pt x="2641103" y="4575174"/>
                  </a:lnTo>
                  <a:close/>
                </a:path>
              </a:pathLst>
            </a:custGeom>
            <a:pattFill prst="wdDnDiag">
              <a:fgClr>
                <a:srgbClr val="ECECEC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B3CB6A98-B5C3-8D77-68E5-00837CBE2790}"/>
                </a:ext>
              </a:extLst>
            </p:cNvPr>
            <p:cNvSpPr txBox="1">
              <a:spLocks/>
            </p:cNvSpPr>
            <p:nvPr/>
          </p:nvSpPr>
          <p:spPr>
            <a:xfrm>
              <a:off x="8994774" y="1619250"/>
              <a:ext cx="2633663" cy="4575175"/>
            </a:xfrm>
            <a:prstGeom prst="rect">
              <a:avLst/>
            </a:prstGeom>
            <a:solidFill>
              <a:srgbClr val="ECECEC"/>
            </a:solidFill>
            <a:effectLst>
              <a:outerShdw blurRad="50800" dist="38100" dir="2700000" algn="tl" rotWithShape="0">
                <a:prstClr val="black">
                  <a:alpha val="8000"/>
                </a:prstClr>
              </a:outerShdw>
            </a:effectLst>
          </p:spPr>
          <p:txBody>
            <a:bodyPr wrap="square" lIns="180000" tIns="144000" rIns="180000" bIns="0" rtlCol="0" anchor="t">
              <a:noAutofit/>
            </a:bodyPr>
            <a:lstStyle/>
            <a:p>
              <a:pPr>
                <a:spcAft>
                  <a:spcPts val="300"/>
                </a:spcAft>
              </a:pPr>
              <a:endParaRPr lang="de-DE" sz="44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0CF6A715-0F2A-5B18-60BE-FB41B9D72B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Virtuelle Visite – </a:t>
            </a:r>
            <a:br>
              <a:rPr lang="de-DE"/>
            </a:br>
            <a:r>
              <a:rPr lang="de-DE"/>
              <a:t>Videosprechstunde für Patientinnen &amp; Patienten</a:t>
            </a:r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238AD6-11E9-3EB9-935A-B1A9F6684AE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pt-BR"/>
              <a:t>A91GER-H-001672-E4</a:t>
            </a:r>
            <a:endParaRPr lang="de-DE"/>
          </a:p>
        </p:txBody>
      </p:sp>
      <p:grpSp>
        <p:nvGrpSpPr>
          <p:cNvPr id="562" name="Gruppieren 561">
            <a:extLst>
              <a:ext uri="{FF2B5EF4-FFF2-40B4-BE49-F238E27FC236}">
                <a16:creationId xmlns:a16="http://schemas.microsoft.com/office/drawing/2014/main" id="{05BA45E6-3D83-7FBC-CFCD-C92577A68CA4}"/>
              </a:ext>
            </a:extLst>
          </p:cNvPr>
          <p:cNvGrpSpPr/>
          <p:nvPr/>
        </p:nvGrpSpPr>
        <p:grpSpPr>
          <a:xfrm>
            <a:off x="9210675" y="5084932"/>
            <a:ext cx="2201842" cy="906229"/>
            <a:chOff x="9210675" y="5084932"/>
            <a:chExt cx="2201842" cy="906229"/>
          </a:xfrm>
        </p:grpSpPr>
        <p:sp>
          <p:nvSpPr>
            <p:cNvPr id="506" name="Rechteck 505">
              <a:extLst>
                <a:ext uri="{FF2B5EF4-FFF2-40B4-BE49-F238E27FC236}">
                  <a16:creationId xmlns:a16="http://schemas.microsoft.com/office/drawing/2014/main" id="{855ED48A-DA04-D66F-26F9-25B679633F3A}"/>
                </a:ext>
              </a:extLst>
            </p:cNvPr>
            <p:cNvSpPr>
              <a:spLocks/>
            </p:cNvSpPr>
            <p:nvPr/>
          </p:nvSpPr>
          <p:spPr>
            <a:xfrm>
              <a:off x="9210675" y="5084932"/>
              <a:ext cx="2201842" cy="90622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ctr"/>
              <a:r>
                <a:rPr lang="en-US" sz="1000" b="1" i="1">
                  <a:solidFill>
                    <a:schemeClr val="accent5"/>
                  </a:solidFill>
                </a:rPr>
                <a:t>Ein </a:t>
              </a:r>
              <a:r>
                <a:rPr lang="en-US" sz="1000" b="1" i="1" err="1">
                  <a:solidFill>
                    <a:schemeClr val="accent5"/>
                  </a:solidFill>
                </a:rPr>
                <a:t>Mehrwertdienst</a:t>
              </a:r>
              <a:r>
                <a:rPr lang="en-US" sz="1000" b="1" i="1">
                  <a:solidFill>
                    <a:schemeClr val="accent5"/>
                  </a:solidFill>
                </a:rPr>
                <a:t> der</a:t>
              </a:r>
            </a:p>
          </p:txBody>
        </p:sp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893DE335-B8A8-6D76-AC85-7C363D1BC1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b="30378"/>
            <a:stretch/>
          </p:blipFill>
          <p:spPr>
            <a:xfrm>
              <a:off x="9896567" y="5359400"/>
              <a:ext cx="764916" cy="360272"/>
            </a:xfrm>
            <a:prstGeom prst="rect">
              <a:avLst/>
            </a:prstGeom>
          </p:spPr>
        </p:pic>
      </p:grpSp>
      <p:grpSp>
        <p:nvGrpSpPr>
          <p:cNvPr id="559" name="Gruppieren 558">
            <a:extLst>
              <a:ext uri="{FF2B5EF4-FFF2-40B4-BE49-F238E27FC236}">
                <a16:creationId xmlns:a16="http://schemas.microsoft.com/office/drawing/2014/main" id="{CE283433-D750-4D0D-98CB-888E4C69F2EE}"/>
              </a:ext>
            </a:extLst>
          </p:cNvPr>
          <p:cNvGrpSpPr>
            <a:grpSpLocks/>
          </p:cNvGrpSpPr>
          <p:nvPr/>
        </p:nvGrpSpPr>
        <p:grpSpPr>
          <a:xfrm>
            <a:off x="9210675" y="1826246"/>
            <a:ext cx="2201842" cy="906229"/>
            <a:chOff x="9210675" y="1826246"/>
            <a:chExt cx="2201842" cy="906229"/>
          </a:xfrm>
        </p:grpSpPr>
        <p:sp>
          <p:nvSpPr>
            <p:cNvPr id="509" name="Rechteck 508">
              <a:extLst>
                <a:ext uri="{FF2B5EF4-FFF2-40B4-BE49-F238E27FC236}">
                  <a16:creationId xmlns:a16="http://schemas.microsoft.com/office/drawing/2014/main" id="{82756B9B-3349-F1AE-8459-889318524D47}"/>
                </a:ext>
              </a:extLst>
            </p:cNvPr>
            <p:cNvSpPr>
              <a:spLocks/>
            </p:cNvSpPr>
            <p:nvPr/>
          </p:nvSpPr>
          <p:spPr>
            <a:xfrm>
              <a:off x="9210675" y="1826246"/>
              <a:ext cx="2201842" cy="90622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tlCol="0" anchor="t"/>
            <a:lstStyle/>
            <a:p>
              <a:pPr algn="l"/>
              <a:r>
                <a:rPr lang="en-US" sz="1200" b="1" err="1">
                  <a:solidFill>
                    <a:schemeClr val="tx1"/>
                  </a:solidFill>
                </a:rPr>
                <a:t>Medizinische</a:t>
              </a:r>
              <a:r>
                <a:rPr lang="en-US" sz="1200" b="1">
                  <a:solidFill>
                    <a:schemeClr val="tx1"/>
                  </a:solidFill>
                </a:rPr>
                <a:t> </a:t>
              </a:r>
              <a:br>
                <a:rPr lang="en-US" sz="1200" b="1">
                  <a:solidFill>
                    <a:schemeClr val="tx1"/>
                  </a:solidFill>
                </a:rPr>
              </a:br>
              <a:r>
                <a:rPr lang="en-US" sz="1200" b="1">
                  <a:solidFill>
                    <a:schemeClr val="tx1"/>
                  </a:solidFill>
                </a:rPr>
                <a:t>Partner</a:t>
              </a:r>
            </a:p>
          </p:txBody>
        </p:sp>
        <p:grpSp>
          <p:nvGrpSpPr>
            <p:cNvPr id="291" name="Gruppieren 290">
              <a:extLst>
                <a:ext uri="{FF2B5EF4-FFF2-40B4-BE49-F238E27FC236}">
                  <a16:creationId xmlns:a16="http://schemas.microsoft.com/office/drawing/2014/main" id="{C41F10AB-0F43-9F63-4178-0CDC5C14C680}"/>
                </a:ext>
              </a:extLst>
            </p:cNvPr>
            <p:cNvGrpSpPr/>
            <p:nvPr/>
          </p:nvGrpSpPr>
          <p:grpSpPr>
            <a:xfrm>
              <a:off x="10463363" y="1936376"/>
              <a:ext cx="788837" cy="693056"/>
              <a:chOff x="9291637" y="1854304"/>
              <a:chExt cx="950913" cy="835453"/>
            </a:xfrm>
          </p:grpSpPr>
          <p:grpSp>
            <p:nvGrpSpPr>
              <p:cNvPr id="289" name="Gruppieren 288">
                <a:extLst>
                  <a:ext uri="{FF2B5EF4-FFF2-40B4-BE49-F238E27FC236}">
                    <a16:creationId xmlns:a16="http://schemas.microsoft.com/office/drawing/2014/main" id="{09D9AF2C-732A-5056-94BE-941C5AF4F8D9}"/>
                  </a:ext>
                </a:extLst>
              </p:cNvPr>
              <p:cNvGrpSpPr/>
              <p:nvPr/>
            </p:nvGrpSpPr>
            <p:grpSpPr>
              <a:xfrm>
                <a:off x="9956732" y="1880092"/>
                <a:ext cx="285818" cy="809665"/>
                <a:chOff x="8386350" y="7360423"/>
                <a:chExt cx="1906395" cy="5400434"/>
              </a:xfrm>
            </p:grpSpPr>
            <p:grpSp>
              <p:nvGrpSpPr>
                <p:cNvPr id="26" name="Grafik 23">
                  <a:extLst>
                    <a:ext uri="{FF2B5EF4-FFF2-40B4-BE49-F238E27FC236}">
                      <a16:creationId xmlns:a16="http://schemas.microsoft.com/office/drawing/2014/main" id="{FC80289D-3612-D318-79EC-412B3916977F}"/>
                    </a:ext>
                  </a:extLst>
                </p:cNvPr>
                <p:cNvGrpSpPr/>
                <p:nvPr/>
              </p:nvGrpSpPr>
              <p:grpSpPr>
                <a:xfrm>
                  <a:off x="8386350" y="7360423"/>
                  <a:ext cx="1583022" cy="5400434"/>
                  <a:chOff x="8386350" y="781823"/>
                  <a:chExt cx="1583022" cy="5400434"/>
                </a:xfrm>
              </p:grpSpPr>
              <p:sp>
                <p:nvSpPr>
                  <p:cNvPr id="27" name="Freihandform: Form 26">
                    <a:extLst>
                      <a:ext uri="{FF2B5EF4-FFF2-40B4-BE49-F238E27FC236}">
                        <a16:creationId xmlns:a16="http://schemas.microsoft.com/office/drawing/2014/main" id="{E61B68B9-FFC7-B1B7-B212-2BEB8E9D2CAD}"/>
                      </a:ext>
                    </a:extLst>
                  </p:cNvPr>
                  <p:cNvSpPr/>
                  <p:nvPr/>
                </p:nvSpPr>
                <p:spPr>
                  <a:xfrm>
                    <a:off x="9182798" y="5806059"/>
                    <a:ext cx="145732" cy="145732"/>
                  </a:xfrm>
                  <a:custGeom>
                    <a:avLst/>
                    <a:gdLst>
                      <a:gd name="connsiteX0" fmla="*/ 145732 w 145732"/>
                      <a:gd name="connsiteY0" fmla="*/ 72866 h 145732"/>
                      <a:gd name="connsiteX1" fmla="*/ 72866 w 145732"/>
                      <a:gd name="connsiteY1" fmla="*/ 145733 h 145732"/>
                      <a:gd name="connsiteX2" fmla="*/ -1 w 145732"/>
                      <a:gd name="connsiteY2" fmla="*/ 72866 h 145732"/>
                      <a:gd name="connsiteX3" fmla="*/ 72866 w 145732"/>
                      <a:gd name="connsiteY3" fmla="*/ 0 h 145732"/>
                      <a:gd name="connsiteX4" fmla="*/ 145732 w 145732"/>
                      <a:gd name="connsiteY4" fmla="*/ 72866 h 1457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5732" h="145732">
                        <a:moveTo>
                          <a:pt x="145732" y="72866"/>
                        </a:moveTo>
                        <a:cubicBezTo>
                          <a:pt x="145732" y="113109"/>
                          <a:pt x="113109" y="145733"/>
                          <a:pt x="72866" y="145733"/>
                        </a:cubicBezTo>
                        <a:cubicBezTo>
                          <a:pt x="32623" y="145733"/>
                          <a:pt x="-1" y="113109"/>
                          <a:pt x="-1" y="72866"/>
                        </a:cubicBezTo>
                        <a:cubicBezTo>
                          <a:pt x="-1" y="32624"/>
                          <a:pt x="32623" y="0"/>
                          <a:pt x="72866" y="0"/>
                        </a:cubicBezTo>
                        <a:cubicBezTo>
                          <a:pt x="113109" y="0"/>
                          <a:pt x="145732" y="32624"/>
                          <a:pt x="145732" y="7286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" name="Freihandform: Form 27">
                    <a:extLst>
                      <a:ext uri="{FF2B5EF4-FFF2-40B4-BE49-F238E27FC236}">
                        <a16:creationId xmlns:a16="http://schemas.microsoft.com/office/drawing/2014/main" id="{A592A07D-196E-B004-84E2-64C5303D567F}"/>
                      </a:ext>
                    </a:extLst>
                  </p:cNvPr>
                  <p:cNvSpPr/>
                  <p:nvPr/>
                </p:nvSpPr>
                <p:spPr>
                  <a:xfrm>
                    <a:off x="9365963" y="5825680"/>
                    <a:ext cx="145732" cy="145732"/>
                  </a:xfrm>
                  <a:custGeom>
                    <a:avLst/>
                    <a:gdLst>
                      <a:gd name="connsiteX0" fmla="*/ 145733 w 145732"/>
                      <a:gd name="connsiteY0" fmla="*/ 72866 h 145732"/>
                      <a:gd name="connsiteX1" fmla="*/ 72866 w 145732"/>
                      <a:gd name="connsiteY1" fmla="*/ 145733 h 145732"/>
                      <a:gd name="connsiteX2" fmla="*/ 0 w 145732"/>
                      <a:gd name="connsiteY2" fmla="*/ 72866 h 145732"/>
                      <a:gd name="connsiteX3" fmla="*/ 72866 w 145732"/>
                      <a:gd name="connsiteY3" fmla="*/ 0 h 145732"/>
                      <a:gd name="connsiteX4" fmla="*/ 145733 w 145732"/>
                      <a:gd name="connsiteY4" fmla="*/ 72866 h 1457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5732" h="145732">
                        <a:moveTo>
                          <a:pt x="145733" y="72866"/>
                        </a:moveTo>
                        <a:cubicBezTo>
                          <a:pt x="145733" y="113109"/>
                          <a:pt x="113109" y="145733"/>
                          <a:pt x="72866" y="145733"/>
                        </a:cubicBezTo>
                        <a:cubicBezTo>
                          <a:pt x="32623" y="145733"/>
                          <a:pt x="0" y="113109"/>
                          <a:pt x="0" y="72866"/>
                        </a:cubicBezTo>
                        <a:cubicBezTo>
                          <a:pt x="0" y="32624"/>
                          <a:pt x="32623" y="0"/>
                          <a:pt x="72866" y="0"/>
                        </a:cubicBezTo>
                        <a:cubicBezTo>
                          <a:pt x="113109" y="0"/>
                          <a:pt x="145733" y="32624"/>
                          <a:pt x="145733" y="7286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9" name="Freihandform: Form 28">
                    <a:extLst>
                      <a:ext uri="{FF2B5EF4-FFF2-40B4-BE49-F238E27FC236}">
                        <a16:creationId xmlns:a16="http://schemas.microsoft.com/office/drawing/2014/main" id="{D75520E1-259F-A2A8-9D16-3BA3C84038BE}"/>
                      </a:ext>
                    </a:extLst>
                  </p:cNvPr>
                  <p:cNvSpPr/>
                  <p:nvPr/>
                </p:nvSpPr>
                <p:spPr>
                  <a:xfrm>
                    <a:off x="8938672" y="4682013"/>
                    <a:ext cx="389953" cy="1217787"/>
                  </a:xfrm>
                  <a:custGeom>
                    <a:avLst/>
                    <a:gdLst>
                      <a:gd name="connsiteX0" fmla="*/ 389954 w 389953"/>
                      <a:gd name="connsiteY0" fmla="*/ 1196054 h 1217787"/>
                      <a:gd name="connsiteX1" fmla="*/ 245079 w 389953"/>
                      <a:gd name="connsiteY1" fmla="*/ 1208532 h 1217787"/>
                      <a:gd name="connsiteX2" fmla="*/ 52388 w 389953"/>
                      <a:gd name="connsiteY2" fmla="*/ 579406 h 1217787"/>
                      <a:gd name="connsiteX3" fmla="*/ 0 w 389953"/>
                      <a:gd name="connsiteY3" fmla="*/ 44863 h 1217787"/>
                      <a:gd name="connsiteX4" fmla="*/ 306705 w 389953"/>
                      <a:gd name="connsiteY4" fmla="*/ 0 h 1217787"/>
                      <a:gd name="connsiteX5" fmla="*/ 316039 w 389953"/>
                      <a:gd name="connsiteY5" fmla="*/ 166878 h 1217787"/>
                      <a:gd name="connsiteX6" fmla="*/ 351091 w 389953"/>
                      <a:gd name="connsiteY6" fmla="*/ 480251 h 1217787"/>
                      <a:gd name="connsiteX7" fmla="*/ 361760 w 389953"/>
                      <a:gd name="connsiteY7" fmla="*/ 876681 h 1217787"/>
                      <a:gd name="connsiteX8" fmla="*/ 389858 w 389953"/>
                      <a:gd name="connsiteY8" fmla="*/ 1195959 h 12177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89953" h="1217787">
                        <a:moveTo>
                          <a:pt x="389954" y="1196054"/>
                        </a:moveTo>
                        <a:cubicBezTo>
                          <a:pt x="339471" y="1220438"/>
                          <a:pt x="293561" y="1223867"/>
                          <a:pt x="245079" y="1208532"/>
                        </a:cubicBezTo>
                        <a:cubicBezTo>
                          <a:pt x="209550" y="1038987"/>
                          <a:pt x="96964" y="734759"/>
                          <a:pt x="52388" y="579406"/>
                        </a:cubicBezTo>
                        <a:cubicBezTo>
                          <a:pt x="7715" y="423767"/>
                          <a:pt x="0" y="44863"/>
                          <a:pt x="0" y="44863"/>
                        </a:cubicBezTo>
                        <a:lnTo>
                          <a:pt x="306705" y="0"/>
                        </a:lnTo>
                        <a:lnTo>
                          <a:pt x="316039" y="166878"/>
                        </a:lnTo>
                        <a:cubicBezTo>
                          <a:pt x="316039" y="166878"/>
                          <a:pt x="347472" y="345662"/>
                          <a:pt x="351091" y="480251"/>
                        </a:cubicBezTo>
                        <a:cubicBezTo>
                          <a:pt x="354711" y="614839"/>
                          <a:pt x="361760" y="876681"/>
                          <a:pt x="361760" y="876681"/>
                        </a:cubicBezTo>
                        <a:lnTo>
                          <a:pt x="389858" y="1195959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0" name="Freihandform: Form 29">
                    <a:extLst>
                      <a:ext uri="{FF2B5EF4-FFF2-40B4-BE49-F238E27FC236}">
                        <a16:creationId xmlns:a16="http://schemas.microsoft.com/office/drawing/2014/main" id="{B49B46D6-1FB3-A453-808B-826FD673B7ED}"/>
                      </a:ext>
                    </a:extLst>
                  </p:cNvPr>
                  <p:cNvSpPr/>
                  <p:nvPr/>
                </p:nvSpPr>
                <p:spPr>
                  <a:xfrm>
                    <a:off x="8936291" y="4539329"/>
                    <a:ext cx="309943" cy="318515"/>
                  </a:xfrm>
                  <a:custGeom>
                    <a:avLst/>
                    <a:gdLst>
                      <a:gd name="connsiteX0" fmla="*/ 309944 w 309943"/>
                      <a:gd name="connsiteY0" fmla="*/ 159258 h 318515"/>
                      <a:gd name="connsiteX1" fmla="*/ 154972 w 309943"/>
                      <a:gd name="connsiteY1" fmla="*/ 318516 h 318515"/>
                      <a:gd name="connsiteX2" fmla="*/ 0 w 309943"/>
                      <a:gd name="connsiteY2" fmla="*/ 159258 h 318515"/>
                      <a:gd name="connsiteX3" fmla="*/ 154972 w 309943"/>
                      <a:gd name="connsiteY3" fmla="*/ 0 h 318515"/>
                      <a:gd name="connsiteX4" fmla="*/ 309944 w 309943"/>
                      <a:gd name="connsiteY4" fmla="*/ 159258 h 3185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9943" h="318515">
                        <a:moveTo>
                          <a:pt x="309944" y="159258"/>
                        </a:moveTo>
                        <a:cubicBezTo>
                          <a:pt x="309944" y="247214"/>
                          <a:pt x="240561" y="318516"/>
                          <a:pt x="154972" y="318516"/>
                        </a:cubicBezTo>
                        <a:cubicBezTo>
                          <a:pt x="69383" y="318516"/>
                          <a:pt x="0" y="247214"/>
                          <a:pt x="0" y="159258"/>
                        </a:cubicBezTo>
                        <a:cubicBezTo>
                          <a:pt x="0" y="71302"/>
                          <a:pt x="69383" y="0"/>
                          <a:pt x="154972" y="0"/>
                        </a:cubicBezTo>
                        <a:cubicBezTo>
                          <a:pt x="240560" y="0"/>
                          <a:pt x="309944" y="71302"/>
                          <a:pt x="309944" y="159258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1" name="Freihandform: Form 30">
                    <a:extLst>
                      <a:ext uri="{FF2B5EF4-FFF2-40B4-BE49-F238E27FC236}">
                        <a16:creationId xmlns:a16="http://schemas.microsoft.com/office/drawing/2014/main" id="{E6A38647-741A-92BB-087F-C728C9B9CBB9}"/>
                      </a:ext>
                    </a:extLst>
                  </p:cNvPr>
                  <p:cNvSpPr/>
                  <p:nvPr/>
                </p:nvSpPr>
                <p:spPr>
                  <a:xfrm>
                    <a:off x="9325196" y="4544758"/>
                    <a:ext cx="311086" cy="311086"/>
                  </a:xfrm>
                  <a:custGeom>
                    <a:avLst/>
                    <a:gdLst>
                      <a:gd name="connsiteX0" fmla="*/ 311086 w 311086"/>
                      <a:gd name="connsiteY0" fmla="*/ 155543 h 311086"/>
                      <a:gd name="connsiteX1" fmla="*/ 155543 w 311086"/>
                      <a:gd name="connsiteY1" fmla="*/ 311086 h 311086"/>
                      <a:gd name="connsiteX2" fmla="*/ -1 w 311086"/>
                      <a:gd name="connsiteY2" fmla="*/ 155543 h 311086"/>
                      <a:gd name="connsiteX3" fmla="*/ 155543 w 311086"/>
                      <a:gd name="connsiteY3" fmla="*/ 0 h 311086"/>
                      <a:gd name="connsiteX4" fmla="*/ 311086 w 311086"/>
                      <a:gd name="connsiteY4" fmla="*/ 155543 h 3110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1086" h="311086">
                        <a:moveTo>
                          <a:pt x="311086" y="155543"/>
                        </a:moveTo>
                        <a:cubicBezTo>
                          <a:pt x="311086" y="241447"/>
                          <a:pt x="241447" y="311086"/>
                          <a:pt x="155543" y="311086"/>
                        </a:cubicBezTo>
                        <a:cubicBezTo>
                          <a:pt x="69639" y="311086"/>
                          <a:pt x="-1" y="241447"/>
                          <a:pt x="-1" y="155543"/>
                        </a:cubicBezTo>
                        <a:cubicBezTo>
                          <a:pt x="-1" y="69639"/>
                          <a:pt x="69639" y="0"/>
                          <a:pt x="155543" y="0"/>
                        </a:cubicBezTo>
                        <a:cubicBezTo>
                          <a:pt x="241447" y="0"/>
                          <a:pt x="311086" y="69639"/>
                          <a:pt x="311086" y="155543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2" name="Freihandform: Form 31">
                    <a:extLst>
                      <a:ext uri="{FF2B5EF4-FFF2-40B4-BE49-F238E27FC236}">
                        <a16:creationId xmlns:a16="http://schemas.microsoft.com/office/drawing/2014/main" id="{588E08F5-DAB6-2980-EC19-CFE8F03211F0}"/>
                      </a:ext>
                    </a:extLst>
                  </p:cNvPr>
                  <p:cNvSpPr/>
                  <p:nvPr/>
                </p:nvSpPr>
                <p:spPr>
                  <a:xfrm>
                    <a:off x="9111551" y="5873591"/>
                    <a:ext cx="251269" cy="207930"/>
                  </a:xfrm>
                  <a:custGeom>
                    <a:avLst/>
                    <a:gdLst>
                      <a:gd name="connsiteX0" fmla="*/ 72294 w 251269"/>
                      <a:gd name="connsiteY0" fmla="*/ 0 h 207930"/>
                      <a:gd name="connsiteX1" fmla="*/ 0 w 251269"/>
                      <a:gd name="connsiteY1" fmla="*/ 201549 h 207930"/>
                      <a:gd name="connsiteX2" fmla="*/ 251270 w 251269"/>
                      <a:gd name="connsiteY2" fmla="*/ 207930 h 207930"/>
                      <a:gd name="connsiteX3" fmla="*/ 216789 w 251269"/>
                      <a:gd name="connsiteY3" fmla="*/ 3334 h 207930"/>
                      <a:gd name="connsiteX4" fmla="*/ 72294 w 251269"/>
                      <a:gd name="connsiteY4" fmla="*/ 95 h 207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51269" h="207930">
                        <a:moveTo>
                          <a:pt x="72294" y="0"/>
                        </a:moveTo>
                        <a:cubicBezTo>
                          <a:pt x="56579" y="148399"/>
                          <a:pt x="952" y="162496"/>
                          <a:pt x="0" y="201549"/>
                        </a:cubicBezTo>
                        <a:lnTo>
                          <a:pt x="251270" y="207930"/>
                        </a:lnTo>
                        <a:cubicBezTo>
                          <a:pt x="246126" y="145922"/>
                          <a:pt x="216789" y="118300"/>
                          <a:pt x="216789" y="3334"/>
                        </a:cubicBezTo>
                        <a:lnTo>
                          <a:pt x="72294" y="95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3" name="Freihandform: Form 32">
                    <a:extLst>
                      <a:ext uri="{FF2B5EF4-FFF2-40B4-BE49-F238E27FC236}">
                        <a16:creationId xmlns:a16="http://schemas.microsoft.com/office/drawing/2014/main" id="{6E1C5875-E337-B3F8-BCEB-14952D6BB77C}"/>
                      </a:ext>
                    </a:extLst>
                  </p:cNvPr>
                  <p:cNvSpPr/>
                  <p:nvPr/>
                </p:nvSpPr>
                <p:spPr>
                  <a:xfrm>
                    <a:off x="9040208" y="6087713"/>
                    <a:ext cx="343280" cy="94544"/>
                  </a:xfrm>
                  <a:custGeom>
                    <a:avLst/>
                    <a:gdLst>
                      <a:gd name="connsiteX0" fmla="*/ 322326 w 343280"/>
                      <a:gd name="connsiteY0" fmla="*/ 89821 h 94544"/>
                      <a:gd name="connsiteX1" fmla="*/ 21145 w 343280"/>
                      <a:gd name="connsiteY1" fmla="*/ 89630 h 94544"/>
                      <a:gd name="connsiteX2" fmla="*/ 0 w 343280"/>
                      <a:gd name="connsiteY2" fmla="*/ 60960 h 94544"/>
                      <a:gd name="connsiteX3" fmla="*/ 0 w 343280"/>
                      <a:gd name="connsiteY3" fmla="*/ 0 h 94544"/>
                      <a:gd name="connsiteX4" fmla="*/ 343281 w 343280"/>
                      <a:gd name="connsiteY4" fmla="*/ 0 h 94544"/>
                      <a:gd name="connsiteX5" fmla="*/ 343281 w 343280"/>
                      <a:gd name="connsiteY5" fmla="*/ 61150 h 94544"/>
                      <a:gd name="connsiteX6" fmla="*/ 322326 w 343280"/>
                      <a:gd name="connsiteY6" fmla="*/ 89821 h 945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43280" h="94544">
                        <a:moveTo>
                          <a:pt x="322326" y="89821"/>
                        </a:moveTo>
                        <a:cubicBezTo>
                          <a:pt x="218218" y="97822"/>
                          <a:pt x="135160" y="94202"/>
                          <a:pt x="21145" y="89630"/>
                        </a:cubicBezTo>
                        <a:cubicBezTo>
                          <a:pt x="8954" y="89154"/>
                          <a:pt x="0" y="75533"/>
                          <a:pt x="0" y="60960"/>
                        </a:cubicBezTo>
                        <a:lnTo>
                          <a:pt x="0" y="0"/>
                        </a:lnTo>
                        <a:cubicBezTo>
                          <a:pt x="0" y="0"/>
                          <a:pt x="343281" y="0"/>
                          <a:pt x="343281" y="0"/>
                        </a:cubicBezTo>
                        <a:lnTo>
                          <a:pt x="343281" y="61150"/>
                        </a:lnTo>
                        <a:cubicBezTo>
                          <a:pt x="343281" y="75629"/>
                          <a:pt x="334423" y="88868"/>
                          <a:pt x="322326" y="89821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" name="Freihandform: Form 33">
                    <a:extLst>
                      <a:ext uri="{FF2B5EF4-FFF2-40B4-BE49-F238E27FC236}">
                        <a16:creationId xmlns:a16="http://schemas.microsoft.com/office/drawing/2014/main" id="{E3EE99E0-89D8-E49D-96D7-8145A6F81818}"/>
                      </a:ext>
                    </a:extLst>
                  </p:cNvPr>
                  <p:cNvSpPr/>
                  <p:nvPr/>
                </p:nvSpPr>
                <p:spPr>
                  <a:xfrm>
                    <a:off x="9040208" y="5934550"/>
                    <a:ext cx="343280" cy="181734"/>
                  </a:xfrm>
                  <a:custGeom>
                    <a:avLst/>
                    <a:gdLst>
                      <a:gd name="connsiteX0" fmla="*/ 343281 w 343280"/>
                      <a:gd name="connsiteY0" fmla="*/ 153163 h 181734"/>
                      <a:gd name="connsiteX1" fmla="*/ 294227 w 343280"/>
                      <a:gd name="connsiteY1" fmla="*/ 23147 h 181734"/>
                      <a:gd name="connsiteX2" fmla="*/ 279273 w 343280"/>
                      <a:gd name="connsiteY2" fmla="*/ 64199 h 181734"/>
                      <a:gd name="connsiteX3" fmla="*/ 98964 w 343280"/>
                      <a:gd name="connsiteY3" fmla="*/ 59628 h 181734"/>
                      <a:gd name="connsiteX4" fmla="*/ 0 w 343280"/>
                      <a:gd name="connsiteY4" fmla="*/ 153163 h 181734"/>
                      <a:gd name="connsiteX5" fmla="*/ 343281 w 343280"/>
                      <a:gd name="connsiteY5" fmla="*/ 153163 h 1817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43280" h="181734">
                        <a:moveTo>
                          <a:pt x="343281" y="153163"/>
                        </a:moveTo>
                        <a:cubicBezTo>
                          <a:pt x="303847" y="73344"/>
                          <a:pt x="306133" y="10193"/>
                          <a:pt x="294227" y="23147"/>
                        </a:cubicBezTo>
                        <a:cubicBezTo>
                          <a:pt x="301276" y="53055"/>
                          <a:pt x="295656" y="65914"/>
                          <a:pt x="279273" y="64199"/>
                        </a:cubicBezTo>
                        <a:cubicBezTo>
                          <a:pt x="279273" y="64199"/>
                          <a:pt x="167544" y="-77151"/>
                          <a:pt x="98964" y="59628"/>
                        </a:cubicBezTo>
                        <a:cubicBezTo>
                          <a:pt x="57340" y="142591"/>
                          <a:pt x="4096" y="120397"/>
                          <a:pt x="0" y="153163"/>
                        </a:cubicBezTo>
                        <a:cubicBezTo>
                          <a:pt x="16478" y="185738"/>
                          <a:pt x="323945" y="196406"/>
                          <a:pt x="343281" y="15316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" name="Freihandform: Form 34">
                    <a:extLst>
                      <a:ext uri="{FF2B5EF4-FFF2-40B4-BE49-F238E27FC236}">
                        <a16:creationId xmlns:a16="http://schemas.microsoft.com/office/drawing/2014/main" id="{735EB25D-09DE-8829-0CFB-EF4EE5463E0D}"/>
                      </a:ext>
                    </a:extLst>
                  </p:cNvPr>
                  <p:cNvSpPr/>
                  <p:nvPr/>
                </p:nvSpPr>
                <p:spPr>
                  <a:xfrm>
                    <a:off x="9324879" y="4677727"/>
                    <a:ext cx="326797" cy="1236394"/>
                  </a:xfrm>
                  <a:custGeom>
                    <a:avLst/>
                    <a:gdLst>
                      <a:gd name="connsiteX0" fmla="*/ 41084 w 326797"/>
                      <a:gd name="connsiteY0" fmla="*/ 1218819 h 1236394"/>
                      <a:gd name="connsiteX1" fmla="*/ 186626 w 326797"/>
                      <a:gd name="connsiteY1" fmla="*/ 1215199 h 1236394"/>
                      <a:gd name="connsiteX2" fmla="*/ 315405 w 326797"/>
                      <a:gd name="connsiteY2" fmla="*/ 571024 h 1236394"/>
                      <a:gd name="connsiteX3" fmla="*/ 309594 w 326797"/>
                      <a:gd name="connsiteY3" fmla="*/ 0 h 1236394"/>
                      <a:gd name="connsiteX4" fmla="*/ 222 w 326797"/>
                      <a:gd name="connsiteY4" fmla="*/ 286 h 1236394"/>
                      <a:gd name="connsiteX5" fmla="*/ 8033 w 326797"/>
                      <a:gd name="connsiteY5" fmla="*/ 502825 h 1236394"/>
                      <a:gd name="connsiteX6" fmla="*/ 37655 w 326797"/>
                      <a:gd name="connsiteY6" fmla="*/ 898302 h 1236394"/>
                      <a:gd name="connsiteX7" fmla="*/ 40989 w 326797"/>
                      <a:gd name="connsiteY7" fmla="*/ 1218819 h 12363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797" h="1236394">
                        <a:moveTo>
                          <a:pt x="41084" y="1218819"/>
                        </a:moveTo>
                        <a:cubicBezTo>
                          <a:pt x="93853" y="1243870"/>
                          <a:pt x="140049" y="1241679"/>
                          <a:pt x="186626" y="1215199"/>
                        </a:cubicBezTo>
                        <a:cubicBezTo>
                          <a:pt x="204724" y="1042892"/>
                          <a:pt x="286830" y="730091"/>
                          <a:pt x="315405" y="571024"/>
                        </a:cubicBezTo>
                        <a:cubicBezTo>
                          <a:pt x="344075" y="411575"/>
                          <a:pt x="309594" y="0"/>
                          <a:pt x="309594" y="0"/>
                        </a:cubicBezTo>
                        <a:lnTo>
                          <a:pt x="222" y="286"/>
                        </a:lnTo>
                        <a:cubicBezTo>
                          <a:pt x="222" y="286"/>
                          <a:pt x="-2064" y="368617"/>
                          <a:pt x="8033" y="502825"/>
                        </a:cubicBezTo>
                        <a:cubicBezTo>
                          <a:pt x="18129" y="637032"/>
                          <a:pt x="37655" y="898302"/>
                          <a:pt x="37655" y="898302"/>
                        </a:cubicBezTo>
                        <a:lnTo>
                          <a:pt x="40989" y="1218819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6" name="Freihandform: Form 35">
                    <a:extLst>
                      <a:ext uri="{FF2B5EF4-FFF2-40B4-BE49-F238E27FC236}">
                        <a16:creationId xmlns:a16="http://schemas.microsoft.com/office/drawing/2014/main" id="{4891889A-B054-8BDC-EE83-B0E1075F6962}"/>
                      </a:ext>
                    </a:extLst>
                  </p:cNvPr>
                  <p:cNvSpPr/>
                  <p:nvPr/>
                </p:nvSpPr>
                <p:spPr>
                  <a:xfrm>
                    <a:off x="9333007" y="5892926"/>
                    <a:ext cx="284035" cy="215074"/>
                  </a:xfrm>
                  <a:custGeom>
                    <a:avLst/>
                    <a:gdLst>
                      <a:gd name="connsiteX0" fmla="*/ 178498 w 284035"/>
                      <a:gd name="connsiteY0" fmla="*/ 0 h 215074"/>
                      <a:gd name="connsiteX1" fmla="*/ 284036 w 284035"/>
                      <a:gd name="connsiteY1" fmla="*/ 215075 h 215074"/>
                      <a:gd name="connsiteX2" fmla="*/ 0 w 284035"/>
                      <a:gd name="connsiteY2" fmla="*/ 215075 h 215074"/>
                      <a:gd name="connsiteX3" fmla="*/ 32956 w 284035"/>
                      <a:gd name="connsiteY3" fmla="*/ 4477 h 215074"/>
                      <a:gd name="connsiteX4" fmla="*/ 178594 w 284035"/>
                      <a:gd name="connsiteY4" fmla="*/ 0 h 2150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84035" h="215074">
                        <a:moveTo>
                          <a:pt x="178498" y="0"/>
                        </a:moveTo>
                        <a:cubicBezTo>
                          <a:pt x="199549" y="148685"/>
                          <a:pt x="284036" y="176022"/>
                          <a:pt x="284036" y="215075"/>
                        </a:cubicBezTo>
                        <a:lnTo>
                          <a:pt x="0" y="215075"/>
                        </a:lnTo>
                        <a:cubicBezTo>
                          <a:pt x="0" y="139637"/>
                          <a:pt x="37529" y="86963"/>
                          <a:pt x="32956" y="4477"/>
                        </a:cubicBezTo>
                        <a:lnTo>
                          <a:pt x="178594" y="0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7" name="Freihandform: Form 36">
                    <a:extLst>
                      <a:ext uri="{FF2B5EF4-FFF2-40B4-BE49-F238E27FC236}">
                        <a16:creationId xmlns:a16="http://schemas.microsoft.com/office/drawing/2014/main" id="{04425868-2B88-B380-308B-FA513490E376}"/>
                      </a:ext>
                    </a:extLst>
                  </p:cNvPr>
                  <p:cNvSpPr/>
                  <p:nvPr/>
                </p:nvSpPr>
                <p:spPr>
                  <a:xfrm>
                    <a:off x="9312909" y="6089332"/>
                    <a:ext cx="343280" cy="92916"/>
                  </a:xfrm>
                  <a:custGeom>
                    <a:avLst/>
                    <a:gdLst>
                      <a:gd name="connsiteX0" fmla="*/ 20955 w 343280"/>
                      <a:gd name="connsiteY0" fmla="*/ 89821 h 92916"/>
                      <a:gd name="connsiteX1" fmla="*/ 322135 w 343280"/>
                      <a:gd name="connsiteY1" fmla="*/ 89631 h 92916"/>
                      <a:gd name="connsiteX2" fmla="*/ 343281 w 343280"/>
                      <a:gd name="connsiteY2" fmla="*/ 60960 h 92916"/>
                      <a:gd name="connsiteX3" fmla="*/ 343281 w 343280"/>
                      <a:gd name="connsiteY3" fmla="*/ 0 h 92916"/>
                      <a:gd name="connsiteX4" fmla="*/ 0 w 343280"/>
                      <a:gd name="connsiteY4" fmla="*/ 0 h 92916"/>
                      <a:gd name="connsiteX5" fmla="*/ 0 w 343280"/>
                      <a:gd name="connsiteY5" fmla="*/ 61150 h 92916"/>
                      <a:gd name="connsiteX6" fmla="*/ 20955 w 343280"/>
                      <a:gd name="connsiteY6" fmla="*/ 89821 h 929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43280" h="92916">
                        <a:moveTo>
                          <a:pt x="20955" y="89821"/>
                        </a:moveTo>
                        <a:cubicBezTo>
                          <a:pt x="138969" y="93345"/>
                          <a:pt x="221932" y="94583"/>
                          <a:pt x="322135" y="89631"/>
                        </a:cubicBezTo>
                        <a:cubicBezTo>
                          <a:pt x="334327" y="89059"/>
                          <a:pt x="343281" y="75533"/>
                          <a:pt x="343281" y="60960"/>
                        </a:cubicBezTo>
                        <a:lnTo>
                          <a:pt x="343281" y="0"/>
                        </a:lnTo>
                        <a:cubicBezTo>
                          <a:pt x="343281" y="0"/>
                          <a:pt x="0" y="0"/>
                          <a:pt x="0" y="0"/>
                        </a:cubicBezTo>
                        <a:lnTo>
                          <a:pt x="0" y="61150"/>
                        </a:lnTo>
                        <a:cubicBezTo>
                          <a:pt x="0" y="75629"/>
                          <a:pt x="8858" y="89440"/>
                          <a:pt x="20955" y="89821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8" name="Freihandform: Form 37">
                    <a:extLst>
                      <a:ext uri="{FF2B5EF4-FFF2-40B4-BE49-F238E27FC236}">
                        <a16:creationId xmlns:a16="http://schemas.microsoft.com/office/drawing/2014/main" id="{A69FB320-E4AC-6C72-AFDA-4EB0F1A1075D}"/>
                      </a:ext>
                    </a:extLst>
                  </p:cNvPr>
                  <p:cNvSpPr/>
                  <p:nvPr/>
                </p:nvSpPr>
                <p:spPr>
                  <a:xfrm>
                    <a:off x="9312909" y="5936264"/>
                    <a:ext cx="343280" cy="181734"/>
                  </a:xfrm>
                  <a:custGeom>
                    <a:avLst/>
                    <a:gdLst>
                      <a:gd name="connsiteX0" fmla="*/ 0 w 343280"/>
                      <a:gd name="connsiteY0" fmla="*/ 153163 h 181734"/>
                      <a:gd name="connsiteX1" fmla="*/ 49053 w 343280"/>
                      <a:gd name="connsiteY1" fmla="*/ 23147 h 181734"/>
                      <a:gd name="connsiteX2" fmla="*/ 64008 w 343280"/>
                      <a:gd name="connsiteY2" fmla="*/ 64199 h 181734"/>
                      <a:gd name="connsiteX3" fmla="*/ 244316 w 343280"/>
                      <a:gd name="connsiteY3" fmla="*/ 59628 h 181734"/>
                      <a:gd name="connsiteX4" fmla="*/ 343281 w 343280"/>
                      <a:gd name="connsiteY4" fmla="*/ 153163 h 181734"/>
                      <a:gd name="connsiteX5" fmla="*/ 0 w 343280"/>
                      <a:gd name="connsiteY5" fmla="*/ 153163 h 1817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43280" h="181734">
                        <a:moveTo>
                          <a:pt x="0" y="153163"/>
                        </a:moveTo>
                        <a:cubicBezTo>
                          <a:pt x="39433" y="73344"/>
                          <a:pt x="37147" y="10193"/>
                          <a:pt x="49053" y="23147"/>
                        </a:cubicBezTo>
                        <a:cubicBezTo>
                          <a:pt x="42005" y="53055"/>
                          <a:pt x="47625" y="65914"/>
                          <a:pt x="64008" y="64199"/>
                        </a:cubicBezTo>
                        <a:cubicBezTo>
                          <a:pt x="64008" y="64199"/>
                          <a:pt x="175736" y="-77151"/>
                          <a:pt x="244316" y="59628"/>
                        </a:cubicBezTo>
                        <a:cubicBezTo>
                          <a:pt x="285940" y="142591"/>
                          <a:pt x="339185" y="120397"/>
                          <a:pt x="343281" y="153163"/>
                        </a:cubicBezTo>
                        <a:cubicBezTo>
                          <a:pt x="326803" y="185738"/>
                          <a:pt x="19335" y="196406"/>
                          <a:pt x="0" y="15316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9" name="Freihandform: Form 38">
                    <a:extLst>
                      <a:ext uri="{FF2B5EF4-FFF2-40B4-BE49-F238E27FC236}">
                        <a16:creationId xmlns:a16="http://schemas.microsoft.com/office/drawing/2014/main" id="{84EA4B2E-DED4-65DC-36FB-CCABAB302212}"/>
                      </a:ext>
                    </a:extLst>
                  </p:cNvPr>
                  <p:cNvSpPr/>
                  <p:nvPr/>
                </p:nvSpPr>
                <p:spPr>
                  <a:xfrm>
                    <a:off x="8692641" y="2714148"/>
                    <a:ext cx="1197659" cy="1963864"/>
                  </a:xfrm>
                  <a:custGeom>
                    <a:avLst/>
                    <a:gdLst>
                      <a:gd name="connsiteX0" fmla="*/ 1130998 w 1197659"/>
                      <a:gd name="connsiteY0" fmla="*/ 302133 h 1963864"/>
                      <a:gd name="connsiteX1" fmla="*/ 919353 w 1197659"/>
                      <a:gd name="connsiteY1" fmla="*/ 1429 h 1963864"/>
                      <a:gd name="connsiteX2" fmla="*/ 598075 w 1197659"/>
                      <a:gd name="connsiteY2" fmla="*/ 0 h 1963864"/>
                      <a:gd name="connsiteX3" fmla="*/ 598075 w 1197659"/>
                      <a:gd name="connsiteY3" fmla="*/ 0 h 1963864"/>
                      <a:gd name="connsiteX4" fmla="*/ 594646 w 1197659"/>
                      <a:gd name="connsiteY4" fmla="*/ 0 h 1963864"/>
                      <a:gd name="connsiteX5" fmla="*/ 591216 w 1197659"/>
                      <a:gd name="connsiteY5" fmla="*/ 0 h 1963864"/>
                      <a:gd name="connsiteX6" fmla="*/ 591216 w 1197659"/>
                      <a:gd name="connsiteY6" fmla="*/ 0 h 1963864"/>
                      <a:gd name="connsiteX7" fmla="*/ 269938 w 1197659"/>
                      <a:gd name="connsiteY7" fmla="*/ 1429 h 1963864"/>
                      <a:gd name="connsiteX8" fmla="*/ 65531 w 1197659"/>
                      <a:gd name="connsiteY8" fmla="*/ 316421 h 1963864"/>
                      <a:gd name="connsiteX9" fmla="*/ 0 w 1197659"/>
                      <a:gd name="connsiteY9" fmla="*/ 635127 h 1963864"/>
                      <a:gd name="connsiteX10" fmla="*/ 24384 w 1197659"/>
                      <a:gd name="connsiteY10" fmla="*/ 1062895 h 1963864"/>
                      <a:gd name="connsiteX11" fmla="*/ 117634 w 1197659"/>
                      <a:gd name="connsiteY11" fmla="*/ 1567434 h 1963864"/>
                      <a:gd name="connsiteX12" fmla="*/ 209264 w 1197659"/>
                      <a:gd name="connsiteY12" fmla="*/ 1963865 h 1963864"/>
                      <a:gd name="connsiteX13" fmla="*/ 978217 w 1197659"/>
                      <a:gd name="connsiteY13" fmla="*/ 1963865 h 1963864"/>
                      <a:gd name="connsiteX14" fmla="*/ 1069848 w 1197659"/>
                      <a:gd name="connsiteY14" fmla="*/ 1567434 h 1963864"/>
                      <a:gd name="connsiteX15" fmla="*/ 1163098 w 1197659"/>
                      <a:gd name="connsiteY15" fmla="*/ 1062895 h 1963864"/>
                      <a:gd name="connsiteX16" fmla="*/ 1131189 w 1197659"/>
                      <a:gd name="connsiteY16" fmla="*/ 302133 h 19638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1197659" h="1963864">
                        <a:moveTo>
                          <a:pt x="1130998" y="302133"/>
                        </a:moveTo>
                        <a:cubicBezTo>
                          <a:pt x="1066895" y="164021"/>
                          <a:pt x="919353" y="1429"/>
                          <a:pt x="919353" y="1429"/>
                        </a:cubicBezTo>
                        <a:lnTo>
                          <a:pt x="598075" y="0"/>
                        </a:lnTo>
                        <a:lnTo>
                          <a:pt x="598075" y="0"/>
                        </a:lnTo>
                        <a:cubicBezTo>
                          <a:pt x="598075" y="0"/>
                          <a:pt x="594646" y="0"/>
                          <a:pt x="594646" y="0"/>
                        </a:cubicBezTo>
                        <a:lnTo>
                          <a:pt x="591216" y="0"/>
                        </a:lnTo>
                        <a:cubicBezTo>
                          <a:pt x="591216" y="0"/>
                          <a:pt x="591216" y="0"/>
                          <a:pt x="591216" y="0"/>
                        </a:cubicBezTo>
                        <a:lnTo>
                          <a:pt x="269938" y="1429"/>
                        </a:lnTo>
                        <a:cubicBezTo>
                          <a:pt x="269938" y="1429"/>
                          <a:pt x="120205" y="174308"/>
                          <a:pt x="65531" y="316421"/>
                        </a:cubicBezTo>
                        <a:cubicBezTo>
                          <a:pt x="10953" y="458534"/>
                          <a:pt x="0" y="635127"/>
                          <a:pt x="0" y="635127"/>
                        </a:cubicBezTo>
                        <a:cubicBezTo>
                          <a:pt x="0" y="635127"/>
                          <a:pt x="6477" y="908114"/>
                          <a:pt x="24384" y="1062895"/>
                        </a:cubicBezTo>
                        <a:cubicBezTo>
                          <a:pt x="42196" y="1217676"/>
                          <a:pt x="82677" y="1449991"/>
                          <a:pt x="117634" y="1567434"/>
                        </a:cubicBezTo>
                        <a:cubicBezTo>
                          <a:pt x="152590" y="1684877"/>
                          <a:pt x="209264" y="1963865"/>
                          <a:pt x="209264" y="1963865"/>
                        </a:cubicBezTo>
                        <a:lnTo>
                          <a:pt x="978217" y="1963865"/>
                        </a:lnTo>
                        <a:cubicBezTo>
                          <a:pt x="978217" y="1963865"/>
                          <a:pt x="1034891" y="1684973"/>
                          <a:pt x="1069848" y="1567434"/>
                        </a:cubicBezTo>
                        <a:cubicBezTo>
                          <a:pt x="1104805" y="1449991"/>
                          <a:pt x="1134999" y="1216152"/>
                          <a:pt x="1163098" y="1062895"/>
                        </a:cubicBezTo>
                        <a:cubicBezTo>
                          <a:pt x="1214818" y="780859"/>
                          <a:pt x="1211866" y="476059"/>
                          <a:pt x="1131189" y="302133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0" name="Freihandform: Form 39">
                    <a:extLst>
                      <a:ext uri="{FF2B5EF4-FFF2-40B4-BE49-F238E27FC236}">
                        <a16:creationId xmlns:a16="http://schemas.microsoft.com/office/drawing/2014/main" id="{4D3DEEDE-4302-BC58-B628-7C6A674AC117}"/>
                      </a:ext>
                    </a:extLst>
                  </p:cNvPr>
                  <p:cNvSpPr/>
                  <p:nvPr/>
                </p:nvSpPr>
                <p:spPr>
                  <a:xfrm>
                    <a:off x="8910483" y="810018"/>
                    <a:ext cx="817969" cy="1046717"/>
                  </a:xfrm>
                  <a:custGeom>
                    <a:avLst/>
                    <a:gdLst>
                      <a:gd name="connsiteX0" fmla="*/ 720465 w 817969"/>
                      <a:gd name="connsiteY0" fmla="*/ 892765 h 1046717"/>
                      <a:gd name="connsiteX1" fmla="*/ 679603 w 817969"/>
                      <a:gd name="connsiteY1" fmla="*/ 349364 h 1046717"/>
                      <a:gd name="connsiteX2" fmla="*/ 351467 w 817969"/>
                      <a:gd name="connsiteY2" fmla="*/ 1321 h 1046717"/>
                      <a:gd name="connsiteX3" fmla="*/ 212974 w 817969"/>
                      <a:gd name="connsiteY3" fmla="*/ 66472 h 1046717"/>
                      <a:gd name="connsiteX4" fmla="*/ 25522 w 817969"/>
                      <a:gd name="connsiteY4" fmla="*/ 310312 h 1046717"/>
                      <a:gd name="connsiteX5" fmla="*/ 68956 w 817969"/>
                      <a:gd name="connsiteY5" fmla="*/ 866857 h 1046717"/>
                      <a:gd name="connsiteX6" fmla="*/ 720465 w 817969"/>
                      <a:gd name="connsiteY6" fmla="*/ 892765 h 10467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17969" h="1046717">
                        <a:moveTo>
                          <a:pt x="720465" y="892765"/>
                        </a:moveTo>
                        <a:cubicBezTo>
                          <a:pt x="720465" y="892765"/>
                          <a:pt x="964972" y="672262"/>
                          <a:pt x="679603" y="349364"/>
                        </a:cubicBezTo>
                        <a:cubicBezTo>
                          <a:pt x="593307" y="251733"/>
                          <a:pt x="546444" y="-21254"/>
                          <a:pt x="351467" y="1321"/>
                        </a:cubicBezTo>
                        <a:cubicBezTo>
                          <a:pt x="299555" y="8560"/>
                          <a:pt x="250502" y="23038"/>
                          <a:pt x="212974" y="66472"/>
                        </a:cubicBezTo>
                        <a:cubicBezTo>
                          <a:pt x="212974" y="66472"/>
                          <a:pt x="81243" y="74568"/>
                          <a:pt x="25522" y="310312"/>
                        </a:cubicBezTo>
                        <a:cubicBezTo>
                          <a:pt x="-22008" y="511480"/>
                          <a:pt x="-672" y="769036"/>
                          <a:pt x="68956" y="866857"/>
                        </a:cubicBezTo>
                        <a:cubicBezTo>
                          <a:pt x="228975" y="1099363"/>
                          <a:pt x="446907" y="1104792"/>
                          <a:pt x="720465" y="89276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1" name="Freihandform: Form 40">
                    <a:extLst>
                      <a:ext uri="{FF2B5EF4-FFF2-40B4-BE49-F238E27FC236}">
                        <a16:creationId xmlns:a16="http://schemas.microsoft.com/office/drawing/2014/main" id="{957AE813-D5E4-A05E-4132-D4274EE46EB0}"/>
                      </a:ext>
                    </a:extLst>
                  </p:cNvPr>
                  <p:cNvSpPr/>
                  <p:nvPr/>
                </p:nvSpPr>
                <p:spPr>
                  <a:xfrm>
                    <a:off x="9143174" y="1311973"/>
                    <a:ext cx="298227" cy="463654"/>
                  </a:xfrm>
                  <a:custGeom>
                    <a:avLst/>
                    <a:gdLst>
                      <a:gd name="connsiteX0" fmla="*/ 0 w 298227"/>
                      <a:gd name="connsiteY0" fmla="*/ 385001 h 463654"/>
                      <a:gd name="connsiteX1" fmla="*/ 298228 w 298227"/>
                      <a:gd name="connsiteY1" fmla="*/ 385001 h 463654"/>
                      <a:gd name="connsiteX2" fmla="*/ 298228 w 298227"/>
                      <a:gd name="connsiteY2" fmla="*/ 0 h 463654"/>
                      <a:gd name="connsiteX3" fmla="*/ 0 w 298227"/>
                      <a:gd name="connsiteY3" fmla="*/ 0 h 463654"/>
                      <a:gd name="connsiteX4" fmla="*/ 0 w 298227"/>
                      <a:gd name="connsiteY4" fmla="*/ 385001 h 4636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8227" h="463654">
                        <a:moveTo>
                          <a:pt x="0" y="385001"/>
                        </a:moveTo>
                        <a:cubicBezTo>
                          <a:pt x="51816" y="489109"/>
                          <a:pt x="237172" y="490633"/>
                          <a:pt x="298228" y="385001"/>
                        </a:cubicBezTo>
                        <a:lnTo>
                          <a:pt x="298228" y="0"/>
                        </a:lnTo>
                        <a:lnTo>
                          <a:pt x="0" y="0"/>
                        </a:lnTo>
                        <a:cubicBezTo>
                          <a:pt x="0" y="0"/>
                          <a:pt x="0" y="385001"/>
                          <a:pt x="0" y="385001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2" name="Freihandform: Form 41">
                    <a:extLst>
                      <a:ext uri="{FF2B5EF4-FFF2-40B4-BE49-F238E27FC236}">
                        <a16:creationId xmlns:a16="http://schemas.microsoft.com/office/drawing/2014/main" id="{15ED007A-78A3-8D52-D845-FB4756E2E848}"/>
                      </a:ext>
                    </a:extLst>
                  </p:cNvPr>
                  <p:cNvSpPr/>
                  <p:nvPr/>
                </p:nvSpPr>
                <p:spPr>
                  <a:xfrm>
                    <a:off x="9054877" y="1366837"/>
                    <a:ext cx="361378" cy="476350"/>
                  </a:xfrm>
                  <a:custGeom>
                    <a:avLst/>
                    <a:gdLst>
                      <a:gd name="connsiteX0" fmla="*/ 361379 w 361378"/>
                      <a:gd name="connsiteY0" fmla="*/ 0 h 476350"/>
                      <a:gd name="connsiteX1" fmla="*/ 347186 w 361378"/>
                      <a:gd name="connsiteY1" fmla="*/ 72295 h 476350"/>
                      <a:gd name="connsiteX2" fmla="*/ 224790 w 361378"/>
                      <a:gd name="connsiteY2" fmla="*/ 204121 h 476350"/>
                      <a:gd name="connsiteX3" fmla="*/ 143542 w 361378"/>
                      <a:gd name="connsiteY3" fmla="*/ 260890 h 476350"/>
                      <a:gd name="connsiteX4" fmla="*/ 220313 w 361378"/>
                      <a:gd name="connsiteY4" fmla="*/ 473012 h 476350"/>
                      <a:gd name="connsiteX5" fmla="*/ 0 w 361378"/>
                      <a:gd name="connsiteY5" fmla="*/ 278987 h 476350"/>
                      <a:gd name="connsiteX6" fmla="*/ 88106 w 361378"/>
                      <a:gd name="connsiteY6" fmla="*/ 244888 h 476350"/>
                      <a:gd name="connsiteX7" fmla="*/ 88106 w 361378"/>
                      <a:gd name="connsiteY7" fmla="*/ 0 h 476350"/>
                      <a:gd name="connsiteX8" fmla="*/ 361379 w 361378"/>
                      <a:gd name="connsiteY8" fmla="*/ 0 h 476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61378" h="476350">
                        <a:moveTo>
                          <a:pt x="361379" y="0"/>
                        </a:moveTo>
                        <a:lnTo>
                          <a:pt x="347186" y="72295"/>
                        </a:lnTo>
                        <a:cubicBezTo>
                          <a:pt x="347186" y="72295"/>
                          <a:pt x="321945" y="199168"/>
                          <a:pt x="224790" y="204121"/>
                        </a:cubicBezTo>
                        <a:cubicBezTo>
                          <a:pt x="166688" y="207073"/>
                          <a:pt x="143827" y="229362"/>
                          <a:pt x="143542" y="260890"/>
                        </a:cubicBezTo>
                        <a:cubicBezTo>
                          <a:pt x="142590" y="384810"/>
                          <a:pt x="240030" y="440627"/>
                          <a:pt x="220313" y="473012"/>
                        </a:cubicBezTo>
                        <a:cubicBezTo>
                          <a:pt x="147733" y="501110"/>
                          <a:pt x="34100" y="344519"/>
                          <a:pt x="0" y="278987"/>
                        </a:cubicBezTo>
                        <a:lnTo>
                          <a:pt x="88106" y="244888"/>
                        </a:lnTo>
                        <a:lnTo>
                          <a:pt x="88106" y="0"/>
                        </a:lnTo>
                        <a:lnTo>
                          <a:pt x="361379" y="0"/>
                        </a:ln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" name="Freihandform: Form 42">
                    <a:extLst>
                      <a:ext uri="{FF2B5EF4-FFF2-40B4-BE49-F238E27FC236}">
                        <a16:creationId xmlns:a16="http://schemas.microsoft.com/office/drawing/2014/main" id="{E069042B-EB84-3381-B4C9-40CEBB383B6F}"/>
                      </a:ext>
                    </a:extLst>
                  </p:cNvPr>
                  <p:cNvSpPr/>
                  <p:nvPr/>
                </p:nvSpPr>
                <p:spPr>
                  <a:xfrm>
                    <a:off x="9092333" y="984096"/>
                    <a:ext cx="400153" cy="557524"/>
                  </a:xfrm>
                  <a:custGeom>
                    <a:avLst/>
                    <a:gdLst>
                      <a:gd name="connsiteX0" fmla="*/ 398979 w 400153"/>
                      <a:gd name="connsiteY0" fmla="*/ 188336 h 557524"/>
                      <a:gd name="connsiteX1" fmla="*/ 346687 w 400153"/>
                      <a:gd name="connsiteY1" fmla="*/ 49080 h 557524"/>
                      <a:gd name="connsiteX2" fmla="*/ 200097 w 400153"/>
                      <a:gd name="connsiteY2" fmla="*/ 26 h 557524"/>
                      <a:gd name="connsiteX3" fmla="*/ 53507 w 400153"/>
                      <a:gd name="connsiteY3" fmla="*/ 49080 h 557524"/>
                      <a:gd name="connsiteX4" fmla="*/ 1215 w 400153"/>
                      <a:gd name="connsiteY4" fmla="*/ 188336 h 557524"/>
                      <a:gd name="connsiteX5" fmla="*/ 2073 w 400153"/>
                      <a:gd name="connsiteY5" fmla="*/ 321400 h 557524"/>
                      <a:gd name="connsiteX6" fmla="*/ 61604 w 400153"/>
                      <a:gd name="connsiteY6" fmla="*/ 469704 h 557524"/>
                      <a:gd name="connsiteX7" fmla="*/ 200097 w 400153"/>
                      <a:gd name="connsiteY7" fmla="*/ 557525 h 557524"/>
                      <a:gd name="connsiteX8" fmla="*/ 338591 w 400153"/>
                      <a:gd name="connsiteY8" fmla="*/ 469704 h 557524"/>
                      <a:gd name="connsiteX9" fmla="*/ 398122 w 400153"/>
                      <a:gd name="connsiteY9" fmla="*/ 321400 h 557524"/>
                      <a:gd name="connsiteX10" fmla="*/ 398979 w 400153"/>
                      <a:gd name="connsiteY10" fmla="*/ 188336 h 5575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400153" h="557524">
                        <a:moveTo>
                          <a:pt x="398979" y="188336"/>
                        </a:moveTo>
                        <a:cubicBezTo>
                          <a:pt x="398979" y="188336"/>
                          <a:pt x="394217" y="105278"/>
                          <a:pt x="346687" y="49080"/>
                        </a:cubicBezTo>
                        <a:cubicBezTo>
                          <a:pt x="307540" y="2789"/>
                          <a:pt x="227148" y="-355"/>
                          <a:pt x="200097" y="26"/>
                        </a:cubicBezTo>
                        <a:cubicBezTo>
                          <a:pt x="173046" y="-355"/>
                          <a:pt x="92655" y="2789"/>
                          <a:pt x="53507" y="49080"/>
                        </a:cubicBezTo>
                        <a:cubicBezTo>
                          <a:pt x="5978" y="105278"/>
                          <a:pt x="1215" y="188336"/>
                          <a:pt x="1215" y="188336"/>
                        </a:cubicBezTo>
                        <a:cubicBezTo>
                          <a:pt x="1215" y="188336"/>
                          <a:pt x="-2023" y="284252"/>
                          <a:pt x="2073" y="321400"/>
                        </a:cubicBezTo>
                        <a:cubicBezTo>
                          <a:pt x="6073" y="358452"/>
                          <a:pt x="1882" y="409316"/>
                          <a:pt x="61604" y="469704"/>
                        </a:cubicBezTo>
                        <a:cubicBezTo>
                          <a:pt x="119802" y="528664"/>
                          <a:pt x="159711" y="556191"/>
                          <a:pt x="200097" y="557525"/>
                        </a:cubicBezTo>
                        <a:cubicBezTo>
                          <a:pt x="240483" y="556191"/>
                          <a:pt x="280393" y="528664"/>
                          <a:pt x="338591" y="469704"/>
                        </a:cubicBezTo>
                        <a:cubicBezTo>
                          <a:pt x="398217" y="409316"/>
                          <a:pt x="394026" y="358452"/>
                          <a:pt x="398122" y="321400"/>
                        </a:cubicBezTo>
                        <a:cubicBezTo>
                          <a:pt x="402123" y="284348"/>
                          <a:pt x="398979" y="188336"/>
                          <a:pt x="398979" y="18833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" name="Freihandform: Form 43">
                    <a:extLst>
                      <a:ext uri="{FF2B5EF4-FFF2-40B4-BE49-F238E27FC236}">
                        <a16:creationId xmlns:a16="http://schemas.microsoft.com/office/drawing/2014/main" id="{795D31F1-B719-39EE-BCA1-900652C70242}"/>
                      </a:ext>
                    </a:extLst>
                  </p:cNvPr>
                  <p:cNvSpPr/>
                  <p:nvPr/>
                </p:nvSpPr>
                <p:spPr>
                  <a:xfrm rot="-3581400">
                    <a:off x="9397508" y="1182954"/>
                    <a:ext cx="196214" cy="136778"/>
                  </a:xfrm>
                  <a:custGeom>
                    <a:avLst/>
                    <a:gdLst>
                      <a:gd name="connsiteX0" fmla="*/ 196215 w 196214"/>
                      <a:gd name="connsiteY0" fmla="*/ 68389 h 136778"/>
                      <a:gd name="connsiteX1" fmla="*/ 98107 w 196214"/>
                      <a:gd name="connsiteY1" fmla="*/ 136779 h 136778"/>
                      <a:gd name="connsiteX2" fmla="*/ 0 w 196214"/>
                      <a:gd name="connsiteY2" fmla="*/ 68389 h 136778"/>
                      <a:gd name="connsiteX3" fmla="*/ 98107 w 196214"/>
                      <a:gd name="connsiteY3" fmla="*/ 0 h 136778"/>
                      <a:gd name="connsiteX4" fmla="*/ 196215 w 196214"/>
                      <a:gd name="connsiteY4" fmla="*/ 68389 h 1367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6214" h="136778">
                        <a:moveTo>
                          <a:pt x="196215" y="68389"/>
                        </a:moveTo>
                        <a:cubicBezTo>
                          <a:pt x="196215" y="106160"/>
                          <a:pt x="152291" y="136779"/>
                          <a:pt x="98107" y="136779"/>
                        </a:cubicBezTo>
                        <a:cubicBezTo>
                          <a:pt x="43924" y="136779"/>
                          <a:pt x="0" y="106160"/>
                          <a:pt x="0" y="68389"/>
                        </a:cubicBezTo>
                        <a:cubicBezTo>
                          <a:pt x="0" y="30619"/>
                          <a:pt x="43924" y="0"/>
                          <a:pt x="98107" y="0"/>
                        </a:cubicBezTo>
                        <a:cubicBezTo>
                          <a:pt x="152291" y="0"/>
                          <a:pt x="196215" y="30619"/>
                          <a:pt x="196215" y="68389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" name="Freihandform: Form 44">
                    <a:extLst>
                      <a:ext uri="{FF2B5EF4-FFF2-40B4-BE49-F238E27FC236}">
                        <a16:creationId xmlns:a16="http://schemas.microsoft.com/office/drawing/2014/main" id="{381727DC-617E-70A3-9375-C80D3B2C7479}"/>
                      </a:ext>
                    </a:extLst>
                  </p:cNvPr>
                  <p:cNvSpPr/>
                  <p:nvPr/>
                </p:nvSpPr>
                <p:spPr>
                  <a:xfrm rot="-1416000">
                    <a:off x="9013384" y="1154698"/>
                    <a:ext cx="138112" cy="194310"/>
                  </a:xfrm>
                  <a:custGeom>
                    <a:avLst/>
                    <a:gdLst>
                      <a:gd name="connsiteX0" fmla="*/ 138113 w 138112"/>
                      <a:gd name="connsiteY0" fmla="*/ 97155 h 194310"/>
                      <a:gd name="connsiteX1" fmla="*/ 69056 w 138112"/>
                      <a:gd name="connsiteY1" fmla="*/ 194310 h 194310"/>
                      <a:gd name="connsiteX2" fmla="*/ 0 w 138112"/>
                      <a:gd name="connsiteY2" fmla="*/ 97155 h 194310"/>
                      <a:gd name="connsiteX3" fmla="*/ 69056 w 138112"/>
                      <a:gd name="connsiteY3" fmla="*/ 0 h 194310"/>
                      <a:gd name="connsiteX4" fmla="*/ 138113 w 138112"/>
                      <a:gd name="connsiteY4" fmla="*/ 97155 h 1943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8112" h="194310">
                        <a:moveTo>
                          <a:pt x="138113" y="97155"/>
                        </a:moveTo>
                        <a:cubicBezTo>
                          <a:pt x="138113" y="150812"/>
                          <a:pt x="107195" y="194310"/>
                          <a:pt x="69056" y="194310"/>
                        </a:cubicBezTo>
                        <a:cubicBezTo>
                          <a:pt x="30917" y="194310"/>
                          <a:pt x="0" y="150812"/>
                          <a:pt x="0" y="97155"/>
                        </a:cubicBezTo>
                        <a:cubicBezTo>
                          <a:pt x="0" y="43498"/>
                          <a:pt x="30917" y="0"/>
                          <a:pt x="69056" y="0"/>
                        </a:cubicBezTo>
                        <a:cubicBezTo>
                          <a:pt x="107195" y="0"/>
                          <a:pt x="138113" y="43498"/>
                          <a:pt x="138113" y="97155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" name="Freihandform: Form 45">
                    <a:extLst>
                      <a:ext uri="{FF2B5EF4-FFF2-40B4-BE49-F238E27FC236}">
                        <a16:creationId xmlns:a16="http://schemas.microsoft.com/office/drawing/2014/main" id="{E7B9C82E-0B7B-A99E-66F7-B630C7F7785B}"/>
                      </a:ext>
                    </a:extLst>
                  </p:cNvPr>
                  <p:cNvSpPr/>
                  <p:nvPr/>
                </p:nvSpPr>
                <p:spPr>
                  <a:xfrm>
                    <a:off x="9023349" y="818483"/>
                    <a:ext cx="538162" cy="562546"/>
                  </a:xfrm>
                  <a:custGeom>
                    <a:avLst/>
                    <a:gdLst>
                      <a:gd name="connsiteX0" fmla="*/ 538163 w 538162"/>
                      <a:gd name="connsiteY0" fmla="*/ 281273 h 562546"/>
                      <a:gd name="connsiteX1" fmla="*/ 269081 w 538162"/>
                      <a:gd name="connsiteY1" fmla="*/ 562547 h 562546"/>
                      <a:gd name="connsiteX2" fmla="*/ 0 w 538162"/>
                      <a:gd name="connsiteY2" fmla="*/ 281273 h 562546"/>
                      <a:gd name="connsiteX3" fmla="*/ 269081 w 538162"/>
                      <a:gd name="connsiteY3" fmla="*/ 0 h 562546"/>
                      <a:gd name="connsiteX4" fmla="*/ 538163 w 538162"/>
                      <a:gd name="connsiteY4" fmla="*/ 281273 h 5625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38162" h="562546">
                        <a:moveTo>
                          <a:pt x="538163" y="281273"/>
                        </a:moveTo>
                        <a:cubicBezTo>
                          <a:pt x="538163" y="436616"/>
                          <a:pt x="417691" y="562547"/>
                          <a:pt x="269081" y="562547"/>
                        </a:cubicBezTo>
                        <a:cubicBezTo>
                          <a:pt x="120472" y="562547"/>
                          <a:pt x="0" y="436616"/>
                          <a:pt x="0" y="281273"/>
                        </a:cubicBezTo>
                        <a:cubicBezTo>
                          <a:pt x="0" y="125930"/>
                          <a:pt x="120472" y="0"/>
                          <a:pt x="269081" y="0"/>
                        </a:cubicBezTo>
                        <a:cubicBezTo>
                          <a:pt x="417691" y="0"/>
                          <a:pt x="538163" y="125930"/>
                          <a:pt x="538163" y="281273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" name="Freihandform: Form 46">
                    <a:extLst>
                      <a:ext uri="{FF2B5EF4-FFF2-40B4-BE49-F238E27FC236}">
                        <a16:creationId xmlns:a16="http://schemas.microsoft.com/office/drawing/2014/main" id="{B330A15B-864A-53E6-DBD3-0CEEBD1FA839}"/>
                      </a:ext>
                    </a:extLst>
                  </p:cNvPr>
                  <p:cNvSpPr/>
                  <p:nvPr/>
                </p:nvSpPr>
                <p:spPr>
                  <a:xfrm>
                    <a:off x="9011639" y="823245"/>
                    <a:ext cx="530631" cy="404621"/>
                  </a:xfrm>
                  <a:custGeom>
                    <a:avLst/>
                    <a:gdLst>
                      <a:gd name="connsiteX0" fmla="*/ 267647 w 530631"/>
                      <a:gd name="connsiteY0" fmla="*/ 127540 h 404621"/>
                      <a:gd name="connsiteX1" fmla="*/ 491770 w 530631"/>
                      <a:gd name="connsiteY1" fmla="*/ 404622 h 404621"/>
                      <a:gd name="connsiteX2" fmla="*/ 530632 w 530631"/>
                      <a:gd name="connsiteY2" fmla="*/ 281273 h 404621"/>
                      <a:gd name="connsiteX3" fmla="*/ 266408 w 530631"/>
                      <a:gd name="connsiteY3" fmla="*/ 0 h 404621"/>
                      <a:gd name="connsiteX4" fmla="*/ 87814 w 530631"/>
                      <a:gd name="connsiteY4" fmla="*/ 74009 h 404621"/>
                      <a:gd name="connsiteX5" fmla="*/ 54382 w 530631"/>
                      <a:gd name="connsiteY5" fmla="*/ 389858 h 404621"/>
                      <a:gd name="connsiteX6" fmla="*/ 267647 w 530631"/>
                      <a:gd name="connsiteY6" fmla="*/ 127540 h 4046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30631" h="404621">
                        <a:moveTo>
                          <a:pt x="267647" y="127540"/>
                        </a:moveTo>
                        <a:cubicBezTo>
                          <a:pt x="459099" y="139637"/>
                          <a:pt x="435572" y="297085"/>
                          <a:pt x="491770" y="404622"/>
                        </a:cubicBezTo>
                        <a:cubicBezTo>
                          <a:pt x="502343" y="374142"/>
                          <a:pt x="530632" y="315659"/>
                          <a:pt x="530632" y="281273"/>
                        </a:cubicBezTo>
                        <a:cubicBezTo>
                          <a:pt x="530632" y="125920"/>
                          <a:pt x="412331" y="0"/>
                          <a:pt x="266408" y="0"/>
                        </a:cubicBezTo>
                        <a:cubicBezTo>
                          <a:pt x="197543" y="0"/>
                          <a:pt x="134773" y="28004"/>
                          <a:pt x="87814" y="74009"/>
                        </a:cubicBezTo>
                        <a:cubicBezTo>
                          <a:pt x="17520" y="108204"/>
                          <a:pt x="-51250" y="297085"/>
                          <a:pt x="54382" y="389858"/>
                        </a:cubicBezTo>
                        <a:cubicBezTo>
                          <a:pt x="94958" y="311753"/>
                          <a:pt x="95244" y="116681"/>
                          <a:pt x="267647" y="127540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" name="Freihandform: Form 47">
                    <a:extLst>
                      <a:ext uri="{FF2B5EF4-FFF2-40B4-BE49-F238E27FC236}">
                        <a16:creationId xmlns:a16="http://schemas.microsoft.com/office/drawing/2014/main" id="{FB610446-9360-C8FB-4BAA-0ADD397502F3}"/>
                      </a:ext>
                    </a:extLst>
                  </p:cNvPr>
                  <p:cNvSpPr/>
                  <p:nvPr/>
                </p:nvSpPr>
                <p:spPr>
                  <a:xfrm>
                    <a:off x="9240995" y="1305210"/>
                    <a:ext cx="78793" cy="32099"/>
                  </a:xfrm>
                  <a:custGeom>
                    <a:avLst/>
                    <a:gdLst>
                      <a:gd name="connsiteX0" fmla="*/ 1143 w 78793"/>
                      <a:gd name="connsiteY0" fmla="*/ 0 h 32099"/>
                      <a:gd name="connsiteX1" fmla="*/ 35814 w 78793"/>
                      <a:gd name="connsiteY1" fmla="*/ 10573 h 32099"/>
                      <a:gd name="connsiteX2" fmla="*/ 77820 w 78793"/>
                      <a:gd name="connsiteY2" fmla="*/ 0 h 32099"/>
                      <a:gd name="connsiteX3" fmla="*/ 77820 w 78793"/>
                      <a:gd name="connsiteY3" fmla="*/ 9239 h 32099"/>
                      <a:gd name="connsiteX4" fmla="*/ 37148 w 78793"/>
                      <a:gd name="connsiteY4" fmla="*/ 32099 h 32099"/>
                      <a:gd name="connsiteX5" fmla="*/ 1143 w 78793"/>
                      <a:gd name="connsiteY5" fmla="*/ 10192 h 32099"/>
                      <a:gd name="connsiteX6" fmla="*/ 1143 w 78793"/>
                      <a:gd name="connsiteY6" fmla="*/ 95 h 320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793" h="32099">
                        <a:moveTo>
                          <a:pt x="1143" y="0"/>
                        </a:moveTo>
                        <a:cubicBezTo>
                          <a:pt x="1143" y="0"/>
                          <a:pt x="11049" y="10573"/>
                          <a:pt x="35814" y="10573"/>
                        </a:cubicBezTo>
                        <a:cubicBezTo>
                          <a:pt x="67152" y="10573"/>
                          <a:pt x="77820" y="0"/>
                          <a:pt x="77820" y="0"/>
                        </a:cubicBezTo>
                        <a:cubicBezTo>
                          <a:pt x="77820" y="0"/>
                          <a:pt x="80010" y="3143"/>
                          <a:pt x="77820" y="9239"/>
                        </a:cubicBezTo>
                        <a:cubicBezTo>
                          <a:pt x="76295" y="13525"/>
                          <a:pt x="62675" y="32099"/>
                          <a:pt x="37148" y="32099"/>
                        </a:cubicBezTo>
                        <a:cubicBezTo>
                          <a:pt x="17240" y="32099"/>
                          <a:pt x="3715" y="16383"/>
                          <a:pt x="1143" y="10192"/>
                        </a:cubicBezTo>
                        <a:cubicBezTo>
                          <a:pt x="-1429" y="4000"/>
                          <a:pt x="1143" y="95"/>
                          <a:pt x="1143" y="95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" name="Freihandform: Form 48">
                    <a:extLst>
                      <a:ext uri="{FF2B5EF4-FFF2-40B4-BE49-F238E27FC236}">
                        <a16:creationId xmlns:a16="http://schemas.microsoft.com/office/drawing/2014/main" id="{CCD21F1A-8193-BE9A-6894-5FE25785B836}"/>
                      </a:ext>
                    </a:extLst>
                  </p:cNvPr>
                  <p:cNvSpPr/>
                  <p:nvPr/>
                </p:nvSpPr>
                <p:spPr>
                  <a:xfrm>
                    <a:off x="9312056" y="1120425"/>
                    <a:ext cx="140203" cy="47053"/>
                  </a:xfrm>
                  <a:custGeom>
                    <a:avLst/>
                    <a:gdLst>
                      <a:gd name="connsiteX0" fmla="*/ 109438 w 140203"/>
                      <a:gd name="connsiteY0" fmla="*/ 17716 h 47053"/>
                      <a:gd name="connsiteX1" fmla="*/ 55812 w 140203"/>
                      <a:gd name="connsiteY1" fmla="*/ 762 h 47053"/>
                      <a:gd name="connsiteX2" fmla="*/ 55812 w 140203"/>
                      <a:gd name="connsiteY2" fmla="*/ 762 h 47053"/>
                      <a:gd name="connsiteX3" fmla="*/ 7711 w 140203"/>
                      <a:gd name="connsiteY3" fmla="*/ 6191 h 47053"/>
                      <a:gd name="connsiteX4" fmla="*/ 4282 w 140203"/>
                      <a:gd name="connsiteY4" fmla="*/ 8858 h 47053"/>
                      <a:gd name="connsiteX5" fmla="*/ 13902 w 140203"/>
                      <a:gd name="connsiteY5" fmla="*/ 33242 h 47053"/>
                      <a:gd name="connsiteX6" fmla="*/ 41239 w 140203"/>
                      <a:gd name="connsiteY6" fmla="*/ 30766 h 47053"/>
                      <a:gd name="connsiteX7" fmla="*/ 105533 w 140203"/>
                      <a:gd name="connsiteY7" fmla="*/ 34480 h 47053"/>
                      <a:gd name="connsiteX8" fmla="*/ 140204 w 140203"/>
                      <a:gd name="connsiteY8" fmla="*/ 47053 h 47053"/>
                      <a:gd name="connsiteX9" fmla="*/ 109438 w 140203"/>
                      <a:gd name="connsiteY9" fmla="*/ 17716 h 470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40203" h="47053">
                        <a:moveTo>
                          <a:pt x="109438" y="17716"/>
                        </a:moveTo>
                        <a:cubicBezTo>
                          <a:pt x="90864" y="5905"/>
                          <a:pt x="70671" y="1429"/>
                          <a:pt x="55812" y="762"/>
                        </a:cubicBezTo>
                        <a:lnTo>
                          <a:pt x="55812" y="762"/>
                        </a:lnTo>
                        <a:cubicBezTo>
                          <a:pt x="30285" y="-1810"/>
                          <a:pt x="13236" y="2667"/>
                          <a:pt x="7711" y="6191"/>
                        </a:cubicBezTo>
                        <a:cubicBezTo>
                          <a:pt x="6377" y="7048"/>
                          <a:pt x="5234" y="7906"/>
                          <a:pt x="4282" y="8858"/>
                        </a:cubicBezTo>
                        <a:cubicBezTo>
                          <a:pt x="-4862" y="17526"/>
                          <a:pt x="1710" y="33623"/>
                          <a:pt x="13902" y="33242"/>
                        </a:cubicBezTo>
                        <a:cubicBezTo>
                          <a:pt x="19522" y="33147"/>
                          <a:pt x="33333" y="31528"/>
                          <a:pt x="41239" y="30766"/>
                        </a:cubicBezTo>
                        <a:cubicBezTo>
                          <a:pt x="55050" y="29337"/>
                          <a:pt x="94293" y="31432"/>
                          <a:pt x="105533" y="34480"/>
                        </a:cubicBezTo>
                        <a:cubicBezTo>
                          <a:pt x="127536" y="40481"/>
                          <a:pt x="140204" y="47053"/>
                          <a:pt x="140204" y="47053"/>
                        </a:cubicBezTo>
                        <a:cubicBezTo>
                          <a:pt x="140204" y="47053"/>
                          <a:pt x="134203" y="33528"/>
                          <a:pt x="109438" y="1771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" name="Freihandform: Form 49">
                    <a:extLst>
                      <a:ext uri="{FF2B5EF4-FFF2-40B4-BE49-F238E27FC236}">
                        <a16:creationId xmlns:a16="http://schemas.microsoft.com/office/drawing/2014/main" id="{A993ECED-1B37-5516-9616-1A4A683BCD54}"/>
                      </a:ext>
                    </a:extLst>
                  </p:cNvPr>
                  <p:cNvSpPr/>
                  <p:nvPr/>
                </p:nvSpPr>
                <p:spPr>
                  <a:xfrm rot="-5166000">
                    <a:off x="9156216" y="1194137"/>
                    <a:ext cx="40385" cy="37909"/>
                  </a:xfrm>
                  <a:custGeom>
                    <a:avLst/>
                    <a:gdLst>
                      <a:gd name="connsiteX0" fmla="*/ 40386 w 40385"/>
                      <a:gd name="connsiteY0" fmla="*/ 18955 h 37909"/>
                      <a:gd name="connsiteX1" fmla="*/ 20193 w 40385"/>
                      <a:gd name="connsiteY1" fmla="*/ 37910 h 37909"/>
                      <a:gd name="connsiteX2" fmla="*/ 0 w 40385"/>
                      <a:gd name="connsiteY2" fmla="*/ 18955 h 37909"/>
                      <a:gd name="connsiteX3" fmla="*/ 20193 w 40385"/>
                      <a:gd name="connsiteY3" fmla="*/ 0 h 37909"/>
                      <a:gd name="connsiteX4" fmla="*/ 40386 w 40385"/>
                      <a:gd name="connsiteY4" fmla="*/ 18955 h 379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385" h="37909">
                        <a:moveTo>
                          <a:pt x="40386" y="18955"/>
                        </a:moveTo>
                        <a:cubicBezTo>
                          <a:pt x="40386" y="29423"/>
                          <a:pt x="31345" y="37910"/>
                          <a:pt x="20193" y="37910"/>
                        </a:cubicBezTo>
                        <a:cubicBezTo>
                          <a:pt x="9041" y="37910"/>
                          <a:pt x="0" y="29423"/>
                          <a:pt x="0" y="18955"/>
                        </a:cubicBezTo>
                        <a:cubicBezTo>
                          <a:pt x="0" y="8486"/>
                          <a:pt x="9041" y="0"/>
                          <a:pt x="20193" y="0"/>
                        </a:cubicBezTo>
                        <a:cubicBezTo>
                          <a:pt x="31345" y="0"/>
                          <a:pt x="40386" y="8486"/>
                          <a:pt x="40386" y="18955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1" name="Freihandform: Form 50">
                    <a:extLst>
                      <a:ext uri="{FF2B5EF4-FFF2-40B4-BE49-F238E27FC236}">
                        <a16:creationId xmlns:a16="http://schemas.microsoft.com/office/drawing/2014/main" id="{ECD515D3-6962-194F-D723-85BEA4820EBF}"/>
                      </a:ext>
                    </a:extLst>
                  </p:cNvPr>
                  <p:cNvSpPr/>
                  <p:nvPr/>
                </p:nvSpPr>
                <p:spPr>
                  <a:xfrm>
                    <a:off x="9106502" y="1122045"/>
                    <a:ext cx="140013" cy="47053"/>
                  </a:xfrm>
                  <a:custGeom>
                    <a:avLst/>
                    <a:gdLst>
                      <a:gd name="connsiteX0" fmla="*/ 30766 w 140013"/>
                      <a:gd name="connsiteY0" fmla="*/ 17716 h 47053"/>
                      <a:gd name="connsiteX1" fmla="*/ 84297 w 140013"/>
                      <a:gd name="connsiteY1" fmla="*/ 762 h 47053"/>
                      <a:gd name="connsiteX2" fmla="*/ 84297 w 140013"/>
                      <a:gd name="connsiteY2" fmla="*/ 762 h 47053"/>
                      <a:gd name="connsiteX3" fmla="*/ 132302 w 140013"/>
                      <a:gd name="connsiteY3" fmla="*/ 6191 h 47053"/>
                      <a:gd name="connsiteX4" fmla="*/ 135731 w 140013"/>
                      <a:gd name="connsiteY4" fmla="*/ 8858 h 47053"/>
                      <a:gd name="connsiteX5" fmla="*/ 126111 w 140013"/>
                      <a:gd name="connsiteY5" fmla="*/ 33242 h 47053"/>
                      <a:gd name="connsiteX6" fmla="*/ 98774 w 140013"/>
                      <a:gd name="connsiteY6" fmla="*/ 30766 h 47053"/>
                      <a:gd name="connsiteX7" fmla="*/ 34576 w 140013"/>
                      <a:gd name="connsiteY7" fmla="*/ 34480 h 47053"/>
                      <a:gd name="connsiteX8" fmla="*/ 0 w 140013"/>
                      <a:gd name="connsiteY8" fmla="*/ 47053 h 47053"/>
                      <a:gd name="connsiteX9" fmla="*/ 30766 w 140013"/>
                      <a:gd name="connsiteY9" fmla="*/ 17716 h 470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40013" h="47053">
                        <a:moveTo>
                          <a:pt x="30766" y="17716"/>
                        </a:moveTo>
                        <a:cubicBezTo>
                          <a:pt x="49339" y="5905"/>
                          <a:pt x="69438" y="1429"/>
                          <a:pt x="84297" y="762"/>
                        </a:cubicBezTo>
                        <a:lnTo>
                          <a:pt x="84297" y="762"/>
                        </a:lnTo>
                        <a:cubicBezTo>
                          <a:pt x="109824" y="-1810"/>
                          <a:pt x="126778" y="2667"/>
                          <a:pt x="132302" y="6191"/>
                        </a:cubicBezTo>
                        <a:cubicBezTo>
                          <a:pt x="133636" y="7048"/>
                          <a:pt x="134684" y="7906"/>
                          <a:pt x="135731" y="8858"/>
                        </a:cubicBezTo>
                        <a:cubicBezTo>
                          <a:pt x="144875" y="17526"/>
                          <a:pt x="138303" y="33623"/>
                          <a:pt x="126111" y="33242"/>
                        </a:cubicBezTo>
                        <a:cubicBezTo>
                          <a:pt x="120491" y="33147"/>
                          <a:pt x="106680" y="31528"/>
                          <a:pt x="98774" y="30766"/>
                        </a:cubicBezTo>
                        <a:cubicBezTo>
                          <a:pt x="84963" y="29337"/>
                          <a:pt x="45815" y="31432"/>
                          <a:pt x="34576" y="34480"/>
                        </a:cubicBezTo>
                        <a:cubicBezTo>
                          <a:pt x="12573" y="40481"/>
                          <a:pt x="0" y="47053"/>
                          <a:pt x="0" y="47053"/>
                        </a:cubicBezTo>
                        <a:cubicBezTo>
                          <a:pt x="0" y="47053"/>
                          <a:pt x="6001" y="33528"/>
                          <a:pt x="30766" y="1771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2" name="Freihandform: Form 51">
                    <a:extLst>
                      <a:ext uri="{FF2B5EF4-FFF2-40B4-BE49-F238E27FC236}">
                        <a16:creationId xmlns:a16="http://schemas.microsoft.com/office/drawing/2014/main" id="{98F85ADD-1F3D-5B5D-3DB8-A58CBE057AA4}"/>
                      </a:ext>
                    </a:extLst>
                  </p:cNvPr>
                  <p:cNvSpPr/>
                  <p:nvPr/>
                </p:nvSpPr>
                <p:spPr>
                  <a:xfrm>
                    <a:off x="9123564" y="1183592"/>
                    <a:ext cx="103635" cy="27457"/>
                  </a:xfrm>
                  <a:custGeom>
                    <a:avLst/>
                    <a:gdLst>
                      <a:gd name="connsiteX0" fmla="*/ 3227 w 103635"/>
                      <a:gd name="connsiteY0" fmla="*/ 17795 h 27457"/>
                      <a:gd name="connsiteX1" fmla="*/ 46185 w 103635"/>
                      <a:gd name="connsiteY1" fmla="*/ 174 h 27457"/>
                      <a:gd name="connsiteX2" fmla="*/ 101239 w 103635"/>
                      <a:gd name="connsiteY2" fmla="*/ 17509 h 27457"/>
                      <a:gd name="connsiteX3" fmla="*/ 97905 w 103635"/>
                      <a:gd name="connsiteY3" fmla="*/ 26939 h 27457"/>
                      <a:gd name="connsiteX4" fmla="*/ 54281 w 103635"/>
                      <a:gd name="connsiteY4" fmla="*/ 11699 h 27457"/>
                      <a:gd name="connsiteX5" fmla="*/ 10847 w 103635"/>
                      <a:gd name="connsiteY5" fmla="*/ 21415 h 27457"/>
                      <a:gd name="connsiteX6" fmla="*/ 1322 w 103635"/>
                      <a:gd name="connsiteY6" fmla="*/ 25606 h 27457"/>
                      <a:gd name="connsiteX7" fmla="*/ 3417 w 103635"/>
                      <a:gd name="connsiteY7" fmla="*/ 17795 h 274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03635" h="27457">
                        <a:moveTo>
                          <a:pt x="3227" y="17795"/>
                        </a:moveTo>
                        <a:cubicBezTo>
                          <a:pt x="7989" y="12938"/>
                          <a:pt x="23896" y="1412"/>
                          <a:pt x="46185" y="174"/>
                        </a:cubicBezTo>
                        <a:cubicBezTo>
                          <a:pt x="76569" y="-1541"/>
                          <a:pt x="94000" y="9794"/>
                          <a:pt x="101239" y="17509"/>
                        </a:cubicBezTo>
                        <a:cubicBezTo>
                          <a:pt x="106478" y="23034"/>
                          <a:pt x="102096" y="29321"/>
                          <a:pt x="97905" y="26939"/>
                        </a:cubicBezTo>
                        <a:cubicBezTo>
                          <a:pt x="86952" y="20748"/>
                          <a:pt x="81046" y="14843"/>
                          <a:pt x="54281" y="11699"/>
                        </a:cubicBezTo>
                        <a:cubicBezTo>
                          <a:pt x="35517" y="9413"/>
                          <a:pt x="17705" y="17605"/>
                          <a:pt x="10847" y="21415"/>
                        </a:cubicBezTo>
                        <a:cubicBezTo>
                          <a:pt x="5608" y="24368"/>
                          <a:pt x="2941" y="26844"/>
                          <a:pt x="1322" y="25606"/>
                        </a:cubicBezTo>
                        <a:cubicBezTo>
                          <a:pt x="-1631" y="23415"/>
                          <a:pt x="941" y="20272"/>
                          <a:pt x="3417" y="17795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3" name="Freihandform: Form 52">
                    <a:extLst>
                      <a:ext uri="{FF2B5EF4-FFF2-40B4-BE49-F238E27FC236}">
                        <a16:creationId xmlns:a16="http://schemas.microsoft.com/office/drawing/2014/main" id="{53EC35B7-7D61-5377-EF69-8393457061F0}"/>
                      </a:ext>
                    </a:extLst>
                  </p:cNvPr>
                  <p:cNvSpPr/>
                  <p:nvPr/>
                </p:nvSpPr>
                <p:spPr>
                  <a:xfrm rot="-234000">
                    <a:off x="9358240" y="1193075"/>
                    <a:ext cx="37909" cy="40385"/>
                  </a:xfrm>
                  <a:custGeom>
                    <a:avLst/>
                    <a:gdLst>
                      <a:gd name="connsiteX0" fmla="*/ 37910 w 37909"/>
                      <a:gd name="connsiteY0" fmla="*/ 20193 h 40385"/>
                      <a:gd name="connsiteX1" fmla="*/ 18955 w 37909"/>
                      <a:gd name="connsiteY1" fmla="*/ 40386 h 40385"/>
                      <a:gd name="connsiteX2" fmla="*/ 0 w 37909"/>
                      <a:gd name="connsiteY2" fmla="*/ 20193 h 40385"/>
                      <a:gd name="connsiteX3" fmla="*/ 18955 w 37909"/>
                      <a:gd name="connsiteY3" fmla="*/ 0 h 40385"/>
                      <a:gd name="connsiteX4" fmla="*/ 37910 w 37909"/>
                      <a:gd name="connsiteY4" fmla="*/ 20193 h 403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7909" h="40385">
                        <a:moveTo>
                          <a:pt x="37910" y="20193"/>
                        </a:moveTo>
                        <a:cubicBezTo>
                          <a:pt x="37910" y="31345"/>
                          <a:pt x="29424" y="40386"/>
                          <a:pt x="18955" y="40386"/>
                        </a:cubicBezTo>
                        <a:cubicBezTo>
                          <a:pt x="8486" y="40386"/>
                          <a:pt x="0" y="31345"/>
                          <a:pt x="0" y="20193"/>
                        </a:cubicBezTo>
                        <a:cubicBezTo>
                          <a:pt x="0" y="9041"/>
                          <a:pt x="8486" y="0"/>
                          <a:pt x="18955" y="0"/>
                        </a:cubicBezTo>
                        <a:cubicBezTo>
                          <a:pt x="29424" y="0"/>
                          <a:pt x="37910" y="9041"/>
                          <a:pt x="37910" y="20193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4" name="Freihandform: Form 53">
                    <a:extLst>
                      <a:ext uri="{FF2B5EF4-FFF2-40B4-BE49-F238E27FC236}">
                        <a16:creationId xmlns:a16="http://schemas.microsoft.com/office/drawing/2014/main" id="{6E2C35ED-5BDA-CC20-0DC0-4CA98B61DBFC}"/>
                      </a:ext>
                    </a:extLst>
                  </p:cNvPr>
                  <p:cNvSpPr/>
                  <p:nvPr/>
                </p:nvSpPr>
                <p:spPr>
                  <a:xfrm>
                    <a:off x="9326515" y="1183592"/>
                    <a:ext cx="103634" cy="27457"/>
                  </a:xfrm>
                  <a:custGeom>
                    <a:avLst/>
                    <a:gdLst>
                      <a:gd name="connsiteX0" fmla="*/ 100408 w 103634"/>
                      <a:gd name="connsiteY0" fmla="*/ 17795 h 27457"/>
                      <a:gd name="connsiteX1" fmla="*/ 57450 w 103634"/>
                      <a:gd name="connsiteY1" fmla="*/ 174 h 27457"/>
                      <a:gd name="connsiteX2" fmla="*/ 2396 w 103634"/>
                      <a:gd name="connsiteY2" fmla="*/ 17509 h 27457"/>
                      <a:gd name="connsiteX3" fmla="*/ 5730 w 103634"/>
                      <a:gd name="connsiteY3" fmla="*/ 26939 h 27457"/>
                      <a:gd name="connsiteX4" fmla="*/ 49354 w 103634"/>
                      <a:gd name="connsiteY4" fmla="*/ 11699 h 27457"/>
                      <a:gd name="connsiteX5" fmla="*/ 92788 w 103634"/>
                      <a:gd name="connsiteY5" fmla="*/ 21415 h 27457"/>
                      <a:gd name="connsiteX6" fmla="*/ 102313 w 103634"/>
                      <a:gd name="connsiteY6" fmla="*/ 25606 h 27457"/>
                      <a:gd name="connsiteX7" fmla="*/ 100218 w 103634"/>
                      <a:gd name="connsiteY7" fmla="*/ 17795 h 274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03634" h="27457">
                        <a:moveTo>
                          <a:pt x="100408" y="17795"/>
                        </a:moveTo>
                        <a:cubicBezTo>
                          <a:pt x="95646" y="12938"/>
                          <a:pt x="79739" y="1412"/>
                          <a:pt x="57450" y="174"/>
                        </a:cubicBezTo>
                        <a:cubicBezTo>
                          <a:pt x="27066" y="-1541"/>
                          <a:pt x="9635" y="9794"/>
                          <a:pt x="2396" y="17509"/>
                        </a:cubicBezTo>
                        <a:cubicBezTo>
                          <a:pt x="-2842" y="23034"/>
                          <a:pt x="1539" y="29321"/>
                          <a:pt x="5730" y="26939"/>
                        </a:cubicBezTo>
                        <a:cubicBezTo>
                          <a:pt x="16684" y="20748"/>
                          <a:pt x="22589" y="14843"/>
                          <a:pt x="49354" y="11699"/>
                        </a:cubicBezTo>
                        <a:cubicBezTo>
                          <a:pt x="68118" y="9413"/>
                          <a:pt x="85930" y="17605"/>
                          <a:pt x="92788" y="21415"/>
                        </a:cubicBezTo>
                        <a:cubicBezTo>
                          <a:pt x="98027" y="24368"/>
                          <a:pt x="100694" y="26844"/>
                          <a:pt x="102313" y="25606"/>
                        </a:cubicBezTo>
                        <a:cubicBezTo>
                          <a:pt x="105266" y="23415"/>
                          <a:pt x="102694" y="20272"/>
                          <a:pt x="100218" y="17795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5" name="Freihandform: Form 54">
                    <a:extLst>
                      <a:ext uri="{FF2B5EF4-FFF2-40B4-BE49-F238E27FC236}">
                        <a16:creationId xmlns:a16="http://schemas.microsoft.com/office/drawing/2014/main" id="{C327A88E-C59A-1EAC-BDB4-823BED8FAD62}"/>
                      </a:ext>
                    </a:extLst>
                  </p:cNvPr>
                  <p:cNvSpPr/>
                  <p:nvPr/>
                </p:nvSpPr>
                <p:spPr>
                  <a:xfrm>
                    <a:off x="9123366" y="781823"/>
                    <a:ext cx="508630" cy="429280"/>
                  </a:xfrm>
                  <a:custGeom>
                    <a:avLst/>
                    <a:gdLst>
                      <a:gd name="connsiteX0" fmla="*/ 91 w 508630"/>
                      <a:gd name="connsiteY0" fmla="*/ 94667 h 429280"/>
                      <a:gd name="connsiteX1" fmla="*/ 318131 w 508630"/>
                      <a:gd name="connsiteY1" fmla="*/ 352223 h 429280"/>
                      <a:gd name="connsiteX2" fmla="*/ 508631 w 508630"/>
                      <a:gd name="connsiteY2" fmla="*/ 429281 h 429280"/>
                      <a:gd name="connsiteX3" fmla="*/ 449956 w 508630"/>
                      <a:gd name="connsiteY3" fmla="*/ 231446 h 429280"/>
                      <a:gd name="connsiteX4" fmla="*/ 91 w 508630"/>
                      <a:gd name="connsiteY4" fmla="*/ 94667 h 4292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8630" h="429280">
                        <a:moveTo>
                          <a:pt x="91" y="94667"/>
                        </a:moveTo>
                        <a:cubicBezTo>
                          <a:pt x="-4576" y="204586"/>
                          <a:pt x="171731" y="297931"/>
                          <a:pt x="318131" y="352223"/>
                        </a:cubicBezTo>
                        <a:cubicBezTo>
                          <a:pt x="464530" y="406516"/>
                          <a:pt x="508631" y="429281"/>
                          <a:pt x="508631" y="429281"/>
                        </a:cubicBezTo>
                        <a:cubicBezTo>
                          <a:pt x="508631" y="429281"/>
                          <a:pt x="454338" y="371464"/>
                          <a:pt x="449956" y="231446"/>
                        </a:cubicBezTo>
                        <a:cubicBezTo>
                          <a:pt x="445003" y="73236"/>
                          <a:pt x="191067" y="-118597"/>
                          <a:pt x="91" y="94667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56" name="Grafik 23">
                    <a:extLst>
                      <a:ext uri="{FF2B5EF4-FFF2-40B4-BE49-F238E27FC236}">
                        <a16:creationId xmlns:a16="http://schemas.microsoft.com/office/drawing/2014/main" id="{A6A5ABC8-7618-813C-8374-0F9285ABDEB7}"/>
                      </a:ext>
                    </a:extLst>
                  </p:cNvPr>
                  <p:cNvGrpSpPr/>
                  <p:nvPr/>
                </p:nvGrpSpPr>
                <p:grpSpPr>
                  <a:xfrm>
                    <a:off x="8395080" y="3305841"/>
                    <a:ext cx="234464" cy="670178"/>
                    <a:chOff x="8395080" y="3305841"/>
                    <a:chExt cx="234464" cy="670178"/>
                  </a:xfrm>
                  <a:solidFill>
                    <a:srgbClr val="8A5942"/>
                  </a:solidFill>
                </p:grpSpPr>
                <p:sp>
                  <p:nvSpPr>
                    <p:cNvPr id="57" name="Freihandform: Form 56">
                      <a:extLst>
                        <a:ext uri="{FF2B5EF4-FFF2-40B4-BE49-F238E27FC236}">
                          <a16:creationId xmlns:a16="http://schemas.microsoft.com/office/drawing/2014/main" id="{4B9E6B82-F549-77E8-5B56-2A96E212A38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33275" y="3305841"/>
                      <a:ext cx="191738" cy="211264"/>
                    </a:xfrm>
                    <a:custGeom>
                      <a:avLst/>
                      <a:gdLst>
                        <a:gd name="connsiteX0" fmla="*/ 95 w 191738"/>
                        <a:gd name="connsiteY0" fmla="*/ 0 h 211264"/>
                        <a:gd name="connsiteX1" fmla="*/ 21431 w 191738"/>
                        <a:gd name="connsiteY1" fmla="*/ 211264 h 211264"/>
                        <a:gd name="connsiteX2" fmla="*/ 156782 w 191738"/>
                        <a:gd name="connsiteY2" fmla="*/ 200406 h 211264"/>
                        <a:gd name="connsiteX3" fmla="*/ 191738 w 191738"/>
                        <a:gd name="connsiteY3" fmla="*/ 10763 h 211264"/>
                        <a:gd name="connsiteX4" fmla="*/ 0 w 191738"/>
                        <a:gd name="connsiteY4" fmla="*/ 0 h 2112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91738" h="211264">
                          <a:moveTo>
                            <a:pt x="95" y="0"/>
                          </a:moveTo>
                          <a:cubicBezTo>
                            <a:pt x="5239" y="79629"/>
                            <a:pt x="13525" y="148495"/>
                            <a:pt x="21431" y="211264"/>
                          </a:cubicBezTo>
                          <a:lnTo>
                            <a:pt x="156782" y="200406"/>
                          </a:lnTo>
                          <a:cubicBezTo>
                            <a:pt x="156782" y="200406"/>
                            <a:pt x="172212" y="119158"/>
                            <a:pt x="191738" y="10763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58" name="Grafik 23">
                      <a:extLst>
                        <a:ext uri="{FF2B5EF4-FFF2-40B4-BE49-F238E27FC236}">
                          <a16:creationId xmlns:a16="http://schemas.microsoft.com/office/drawing/2014/main" id="{D2B54FFA-5FCE-8A52-681C-DA7C6ED9431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395080" y="3436239"/>
                      <a:ext cx="234464" cy="539781"/>
                      <a:chOff x="8395080" y="3436239"/>
                      <a:chExt cx="234464" cy="539781"/>
                    </a:xfrm>
                    <a:solidFill>
                      <a:srgbClr val="8A5942"/>
                    </a:solidFill>
                  </p:grpSpPr>
                  <p:sp>
                    <p:nvSpPr>
                      <p:cNvPr id="59" name="Freihandform: Form 58">
                        <a:extLst>
                          <a:ext uri="{FF2B5EF4-FFF2-40B4-BE49-F238E27FC236}">
                            <a16:creationId xmlns:a16="http://schemas.microsoft.com/office/drawing/2014/main" id="{CC18B521-95C5-445D-EB08-039A8291F5A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66681" y="3802691"/>
                        <a:ext cx="54546" cy="83127"/>
                      </a:xfrm>
                      <a:custGeom>
                        <a:avLst/>
                        <a:gdLst>
                          <a:gd name="connsiteX0" fmla="*/ 47557 w 54546"/>
                          <a:gd name="connsiteY0" fmla="*/ 83128 h 83127"/>
                          <a:gd name="connsiteX1" fmla="*/ 13648 w 54546"/>
                          <a:gd name="connsiteY1" fmla="*/ 55791 h 83127"/>
                          <a:gd name="connsiteX2" fmla="*/ 2885 w 54546"/>
                          <a:gd name="connsiteY2" fmla="*/ 9595 h 83127"/>
                          <a:gd name="connsiteX3" fmla="*/ 7838 w 54546"/>
                          <a:gd name="connsiteY3" fmla="*/ 70 h 83127"/>
                          <a:gd name="connsiteX4" fmla="*/ 43747 w 54546"/>
                          <a:gd name="connsiteY4" fmla="*/ 39694 h 83127"/>
                          <a:gd name="connsiteX5" fmla="*/ 47557 w 54546"/>
                          <a:gd name="connsiteY5" fmla="*/ 83128 h 83127"/>
                          <a:gd name="connsiteX6" fmla="*/ 47557 w 54546"/>
                          <a:gd name="connsiteY6" fmla="*/ 83128 h 831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4546" h="83127">
                            <a:moveTo>
                              <a:pt x="47557" y="83128"/>
                            </a:moveTo>
                            <a:lnTo>
                              <a:pt x="13648" y="55791"/>
                            </a:lnTo>
                            <a:cubicBezTo>
                              <a:pt x="979" y="45218"/>
                              <a:pt x="-3497" y="28264"/>
                              <a:pt x="2885" y="9595"/>
                            </a:cubicBezTo>
                            <a:cubicBezTo>
                              <a:pt x="4980" y="3594"/>
                              <a:pt x="6790" y="-597"/>
                              <a:pt x="7838" y="70"/>
                            </a:cubicBezTo>
                            <a:cubicBezTo>
                              <a:pt x="9743" y="1499"/>
                              <a:pt x="25173" y="18262"/>
                              <a:pt x="43747" y="39694"/>
                            </a:cubicBezTo>
                            <a:cubicBezTo>
                              <a:pt x="55463" y="53219"/>
                              <a:pt x="58987" y="64744"/>
                              <a:pt x="47557" y="83128"/>
                            </a:cubicBezTo>
                            <a:lnTo>
                              <a:pt x="47557" y="83128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60" name="Freihandform: Form 59">
                        <a:extLst>
                          <a:ext uri="{FF2B5EF4-FFF2-40B4-BE49-F238E27FC236}">
                            <a16:creationId xmlns:a16="http://schemas.microsoft.com/office/drawing/2014/main" id="{8AC3B62C-26E9-ABED-89E7-26DC3F97620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19369" y="3769457"/>
                        <a:ext cx="73352" cy="89024"/>
                      </a:xfrm>
                      <a:custGeom>
                        <a:avLst/>
                        <a:gdLst>
                          <a:gd name="connsiteX0" fmla="*/ 60960 w 73352"/>
                          <a:gd name="connsiteY0" fmla="*/ 89025 h 89024"/>
                          <a:gd name="connsiteX1" fmla="*/ 9525 w 73352"/>
                          <a:gd name="connsiteY1" fmla="*/ 44448 h 89024"/>
                          <a:gd name="connsiteX2" fmla="*/ 0 w 73352"/>
                          <a:gd name="connsiteY2" fmla="*/ 31494 h 89024"/>
                          <a:gd name="connsiteX3" fmla="*/ 40291 w 73352"/>
                          <a:gd name="connsiteY3" fmla="*/ 537 h 89024"/>
                          <a:gd name="connsiteX4" fmla="*/ 66675 w 73352"/>
                          <a:gd name="connsiteY4" fmla="*/ 44829 h 89024"/>
                          <a:gd name="connsiteX5" fmla="*/ 60864 w 73352"/>
                          <a:gd name="connsiteY5" fmla="*/ 89025 h 89024"/>
                          <a:gd name="connsiteX6" fmla="*/ 60864 w 73352"/>
                          <a:gd name="connsiteY6" fmla="*/ 89025 h 8902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3352" h="89024">
                            <a:moveTo>
                              <a:pt x="60960" y="89025"/>
                            </a:moveTo>
                            <a:lnTo>
                              <a:pt x="9525" y="44448"/>
                            </a:lnTo>
                            <a:cubicBezTo>
                              <a:pt x="3334" y="38637"/>
                              <a:pt x="1524" y="34446"/>
                              <a:pt x="0" y="31494"/>
                            </a:cubicBezTo>
                            <a:cubicBezTo>
                              <a:pt x="1048" y="12063"/>
                              <a:pt x="25432" y="-3082"/>
                              <a:pt x="40291" y="537"/>
                            </a:cubicBezTo>
                            <a:lnTo>
                              <a:pt x="66675" y="44829"/>
                            </a:lnTo>
                            <a:cubicBezTo>
                              <a:pt x="78105" y="57307"/>
                              <a:pt x="74009" y="72261"/>
                              <a:pt x="60864" y="89025"/>
                            </a:cubicBezTo>
                            <a:lnTo>
                              <a:pt x="60864" y="89025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61" name="Freihandform: Form 60">
                        <a:extLst>
                          <a:ext uri="{FF2B5EF4-FFF2-40B4-BE49-F238E27FC236}">
                            <a16:creationId xmlns:a16="http://schemas.microsoft.com/office/drawing/2014/main" id="{D3E69C00-87E9-EE0C-8ECC-0B57CD45E59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55898" y="3838165"/>
                        <a:ext cx="63906" cy="105660"/>
                      </a:xfrm>
                      <a:custGeom>
                        <a:avLst/>
                        <a:gdLst>
                          <a:gd name="connsiteX0" fmla="*/ 55673 w 63906"/>
                          <a:gd name="connsiteY0" fmla="*/ 105660 h 105660"/>
                          <a:gd name="connsiteX1" fmla="*/ 15954 w 63906"/>
                          <a:gd name="connsiteY1" fmla="*/ 67179 h 105660"/>
                          <a:gd name="connsiteX2" fmla="*/ 3476 w 63906"/>
                          <a:gd name="connsiteY2" fmla="*/ 10506 h 105660"/>
                          <a:gd name="connsiteX3" fmla="*/ 9287 w 63906"/>
                          <a:gd name="connsiteY3" fmla="*/ 123 h 105660"/>
                          <a:gd name="connsiteX4" fmla="*/ 51292 w 63906"/>
                          <a:gd name="connsiteY4" fmla="*/ 53559 h 105660"/>
                          <a:gd name="connsiteX5" fmla="*/ 55673 w 63906"/>
                          <a:gd name="connsiteY5" fmla="*/ 105565 h 105660"/>
                          <a:gd name="connsiteX6" fmla="*/ 55673 w 63906"/>
                          <a:gd name="connsiteY6" fmla="*/ 105565 h 1056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3906" h="105660">
                            <a:moveTo>
                              <a:pt x="55673" y="105660"/>
                            </a:moveTo>
                            <a:lnTo>
                              <a:pt x="15954" y="67179"/>
                            </a:lnTo>
                            <a:cubicBezTo>
                              <a:pt x="1095" y="52321"/>
                              <a:pt x="-4144" y="31556"/>
                              <a:pt x="3476" y="10506"/>
                            </a:cubicBezTo>
                            <a:cubicBezTo>
                              <a:pt x="5953" y="3838"/>
                              <a:pt x="8144" y="-829"/>
                              <a:pt x="9287" y="123"/>
                            </a:cubicBezTo>
                            <a:cubicBezTo>
                              <a:pt x="11573" y="2124"/>
                              <a:pt x="29575" y="24793"/>
                              <a:pt x="51292" y="53559"/>
                            </a:cubicBezTo>
                            <a:cubicBezTo>
                              <a:pt x="65008" y="71656"/>
                              <a:pt x="69103" y="85944"/>
                              <a:pt x="55673" y="105565"/>
                            </a:cubicBezTo>
                            <a:lnTo>
                              <a:pt x="55673" y="105565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62" name="Freihandform: Form 61">
                        <a:extLst>
                          <a:ext uri="{FF2B5EF4-FFF2-40B4-BE49-F238E27FC236}">
                            <a16:creationId xmlns:a16="http://schemas.microsoft.com/office/drawing/2014/main" id="{DEFA3D49-22FA-A732-5050-9B4D8B14572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00115" y="3774757"/>
                        <a:ext cx="87440" cy="131349"/>
                      </a:xfrm>
                      <a:custGeom>
                        <a:avLst/>
                        <a:gdLst>
                          <a:gd name="connsiteX0" fmla="*/ 72689 w 87440"/>
                          <a:gd name="connsiteY0" fmla="*/ 131350 h 131349"/>
                          <a:gd name="connsiteX1" fmla="*/ 12205 w 87440"/>
                          <a:gd name="connsiteY1" fmla="*/ 71628 h 131349"/>
                          <a:gd name="connsiteX2" fmla="*/ 17349 w 87440"/>
                          <a:gd name="connsiteY2" fmla="*/ 4001 h 131349"/>
                          <a:gd name="connsiteX3" fmla="*/ 26112 w 87440"/>
                          <a:gd name="connsiteY3" fmla="*/ 0 h 131349"/>
                          <a:gd name="connsiteX4" fmla="*/ 79642 w 87440"/>
                          <a:gd name="connsiteY4" fmla="*/ 80010 h 131349"/>
                          <a:gd name="connsiteX5" fmla="*/ 72689 w 87440"/>
                          <a:gd name="connsiteY5" fmla="*/ 131254 h 131349"/>
                          <a:gd name="connsiteX6" fmla="*/ 72689 w 87440"/>
                          <a:gd name="connsiteY6" fmla="*/ 131254 h 13134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87440" h="131349">
                            <a:moveTo>
                              <a:pt x="72689" y="131350"/>
                            </a:moveTo>
                            <a:lnTo>
                              <a:pt x="12205" y="71628"/>
                            </a:lnTo>
                            <a:cubicBezTo>
                              <a:pt x="-5892" y="53340"/>
                              <a:pt x="-3606" y="22479"/>
                              <a:pt x="17349" y="4001"/>
                            </a:cubicBezTo>
                            <a:lnTo>
                              <a:pt x="26112" y="0"/>
                            </a:lnTo>
                            <a:lnTo>
                              <a:pt x="79642" y="80010"/>
                            </a:lnTo>
                            <a:cubicBezTo>
                              <a:pt x="93073" y="96869"/>
                              <a:pt x="88120" y="113729"/>
                              <a:pt x="72689" y="131254"/>
                            </a:cubicBezTo>
                            <a:lnTo>
                              <a:pt x="72689" y="131254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63" name="Freihandform: Form 62">
                        <a:extLst>
                          <a:ext uri="{FF2B5EF4-FFF2-40B4-BE49-F238E27FC236}">
                            <a16:creationId xmlns:a16="http://schemas.microsoft.com/office/drawing/2014/main" id="{7D636039-949B-5FB5-8B8E-127F20B714C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395080" y="3720421"/>
                        <a:ext cx="62960" cy="111771"/>
                      </a:xfrm>
                      <a:custGeom>
                        <a:avLst/>
                        <a:gdLst>
                          <a:gd name="connsiteX0" fmla="*/ 0 w 62960"/>
                          <a:gd name="connsiteY0" fmla="*/ 9378 h 111771"/>
                          <a:gd name="connsiteX1" fmla="*/ 4191 w 62960"/>
                          <a:gd name="connsiteY1" fmla="*/ 100628 h 111771"/>
                          <a:gd name="connsiteX2" fmla="*/ 8287 w 62960"/>
                          <a:gd name="connsiteY2" fmla="*/ 111772 h 111771"/>
                          <a:gd name="connsiteX3" fmla="*/ 57150 w 62960"/>
                          <a:gd name="connsiteY3" fmla="*/ 67100 h 111771"/>
                          <a:gd name="connsiteX4" fmla="*/ 62961 w 62960"/>
                          <a:gd name="connsiteY4" fmla="*/ 18236 h 111771"/>
                          <a:gd name="connsiteX5" fmla="*/ 0 w 62960"/>
                          <a:gd name="connsiteY5" fmla="*/ 9378 h 11177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62960" h="111771">
                            <a:moveTo>
                              <a:pt x="0" y="9378"/>
                            </a:moveTo>
                            <a:cubicBezTo>
                              <a:pt x="477" y="28142"/>
                              <a:pt x="4191" y="100628"/>
                              <a:pt x="4191" y="100628"/>
                            </a:cubicBezTo>
                            <a:lnTo>
                              <a:pt x="8287" y="111772"/>
                            </a:lnTo>
                            <a:cubicBezTo>
                              <a:pt x="34957" y="111296"/>
                              <a:pt x="54674" y="91484"/>
                              <a:pt x="57150" y="67100"/>
                            </a:cubicBezTo>
                            <a:lnTo>
                              <a:pt x="62961" y="18236"/>
                            </a:lnTo>
                            <a:cubicBezTo>
                              <a:pt x="55436" y="1568"/>
                              <a:pt x="8192" y="-8338"/>
                              <a:pt x="0" y="9378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grpSp>
                    <p:nvGrpSpPr>
                      <p:cNvPr id="64" name="Grafik 23">
                        <a:extLst>
                          <a:ext uri="{FF2B5EF4-FFF2-40B4-BE49-F238E27FC236}">
                            <a16:creationId xmlns:a16="http://schemas.microsoft.com/office/drawing/2014/main" id="{97BC5F13-636B-7883-A0BB-A3ADC5B3AB2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8415082" y="3708417"/>
                        <a:ext cx="91882" cy="267603"/>
                        <a:chOff x="8415082" y="3708417"/>
                        <a:chExt cx="91882" cy="267603"/>
                      </a:xfrm>
                      <a:solidFill>
                        <a:srgbClr val="8A5942"/>
                      </a:solidFill>
                    </p:grpSpPr>
                    <p:sp>
                      <p:nvSpPr>
                        <p:cNvPr id="65" name="Freihandform: Form 64">
                          <a:extLst>
                            <a:ext uri="{FF2B5EF4-FFF2-40B4-BE49-F238E27FC236}">
                              <a16:creationId xmlns:a16="http://schemas.microsoft.com/office/drawing/2014/main" id="{7D7FB65F-813D-CC44-BBBB-326AD0C6369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56624" y="3848906"/>
                          <a:ext cx="50341" cy="127114"/>
                        </a:xfrm>
                        <a:custGeom>
                          <a:avLst/>
                          <a:gdLst>
                            <a:gd name="connsiteX0" fmla="*/ 30182 w 50341"/>
                            <a:gd name="connsiteY0" fmla="*/ 127114 h 127114"/>
                            <a:gd name="connsiteX1" fmla="*/ 5131 w 50341"/>
                            <a:gd name="connsiteY1" fmla="*/ 71584 h 127114"/>
                            <a:gd name="connsiteX2" fmla="*/ 15323 w 50341"/>
                            <a:gd name="connsiteY2" fmla="*/ 8528 h 127114"/>
                            <a:gd name="connsiteX3" fmla="*/ 25515 w 50341"/>
                            <a:gd name="connsiteY3" fmla="*/ 337 h 127114"/>
                            <a:gd name="connsiteX4" fmla="*/ 46851 w 50341"/>
                            <a:gd name="connsiteY4" fmla="*/ 72060 h 127114"/>
                            <a:gd name="connsiteX5" fmla="*/ 30182 w 50341"/>
                            <a:gd name="connsiteY5" fmla="*/ 127114 h 127114"/>
                            <a:gd name="connsiteX6" fmla="*/ 30182 w 50341"/>
                            <a:gd name="connsiteY6" fmla="*/ 127114 h 12711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50341" h="127114">
                              <a:moveTo>
                                <a:pt x="30182" y="127114"/>
                              </a:moveTo>
                              <a:lnTo>
                                <a:pt x="5131" y="71584"/>
                              </a:lnTo>
                              <a:cubicBezTo>
                                <a:pt x="-4108" y="50343"/>
                                <a:pt x="-964" y="26912"/>
                                <a:pt x="15323" y="8528"/>
                              </a:cubicBezTo>
                              <a:cubicBezTo>
                                <a:pt x="20562" y="2623"/>
                                <a:pt x="24658" y="-1187"/>
                                <a:pt x="25515" y="337"/>
                              </a:cubicBezTo>
                              <a:cubicBezTo>
                                <a:pt x="27039" y="3385"/>
                                <a:pt x="36278" y="33865"/>
                                <a:pt x="46851" y="72060"/>
                              </a:cubicBezTo>
                              <a:cubicBezTo>
                                <a:pt x="53518" y="96158"/>
                                <a:pt x="51995" y="112446"/>
                                <a:pt x="30182" y="127114"/>
                              </a:cubicBezTo>
                              <a:lnTo>
                                <a:pt x="30182" y="127114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6" name="Freihandform: Form 65">
                          <a:extLst>
                            <a:ext uri="{FF2B5EF4-FFF2-40B4-BE49-F238E27FC236}">
                              <a16:creationId xmlns:a16="http://schemas.microsoft.com/office/drawing/2014/main" id="{0C3134B7-EC18-7BA4-8EF9-EB3919DC29D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22907" y="3799998"/>
                          <a:ext cx="71113" cy="124396"/>
                        </a:xfrm>
                        <a:custGeom>
                          <a:avLst/>
                          <a:gdLst>
                            <a:gd name="connsiteX0" fmla="*/ 40563 w 71113"/>
                            <a:gd name="connsiteY0" fmla="*/ 124396 h 124396"/>
                            <a:gd name="connsiteX1" fmla="*/ 3415 w 71113"/>
                            <a:gd name="connsiteY1" fmla="*/ 38290 h 124396"/>
                            <a:gd name="connsiteX2" fmla="*/ 41135 w 71113"/>
                            <a:gd name="connsiteY2" fmla="*/ 2000 h 124396"/>
                            <a:gd name="connsiteX3" fmla="*/ 45325 w 71113"/>
                            <a:gd name="connsiteY3" fmla="*/ 0 h 124396"/>
                            <a:gd name="connsiteX4" fmla="*/ 69043 w 71113"/>
                            <a:gd name="connsiteY4" fmla="*/ 74295 h 124396"/>
                            <a:gd name="connsiteX5" fmla="*/ 42087 w 71113"/>
                            <a:gd name="connsiteY5" fmla="*/ 123634 h 124396"/>
                            <a:gd name="connsiteX6" fmla="*/ 40563 w 71113"/>
                            <a:gd name="connsiteY6" fmla="*/ 124396 h 12439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71113" h="124396">
                              <a:moveTo>
                                <a:pt x="40563" y="124396"/>
                              </a:moveTo>
                              <a:lnTo>
                                <a:pt x="3415" y="38290"/>
                              </a:lnTo>
                              <a:cubicBezTo>
                                <a:pt x="-7729" y="12192"/>
                                <a:pt x="9321" y="3238"/>
                                <a:pt x="41135" y="2000"/>
                              </a:cubicBezTo>
                              <a:lnTo>
                                <a:pt x="45325" y="0"/>
                              </a:lnTo>
                              <a:lnTo>
                                <a:pt x="69043" y="74295"/>
                              </a:lnTo>
                              <a:cubicBezTo>
                                <a:pt x="75996" y="97060"/>
                                <a:pt x="65042" y="112014"/>
                                <a:pt x="42087" y="123634"/>
                              </a:cubicBezTo>
                              <a:lnTo>
                                <a:pt x="40563" y="124396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7" name="Freihandform: Form 66">
                          <a:extLst>
                            <a:ext uri="{FF2B5EF4-FFF2-40B4-BE49-F238E27FC236}">
                              <a16:creationId xmlns:a16="http://schemas.microsoft.com/office/drawing/2014/main" id="{4C5BDDF3-9973-FF94-E2BF-FE006A5FF1D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15082" y="3708417"/>
                          <a:ext cx="63532" cy="120728"/>
                        </a:xfrm>
                        <a:custGeom>
                          <a:avLst/>
                          <a:gdLst>
                            <a:gd name="connsiteX0" fmla="*/ 1 w 63532"/>
                            <a:gd name="connsiteY0" fmla="*/ 12715 h 120728"/>
                            <a:gd name="connsiteX1" fmla="*/ 8573 w 63532"/>
                            <a:gd name="connsiteY1" fmla="*/ 120728 h 120728"/>
                            <a:gd name="connsiteX2" fmla="*/ 54674 w 63532"/>
                            <a:gd name="connsiteY2" fmla="*/ 92629 h 120728"/>
                            <a:gd name="connsiteX3" fmla="*/ 63532 w 63532"/>
                            <a:gd name="connsiteY3" fmla="*/ 16048 h 120728"/>
                            <a:gd name="connsiteX4" fmla="*/ 1 w 63532"/>
                            <a:gd name="connsiteY4" fmla="*/ 12619 h 12072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63532" h="120728">
                              <a:moveTo>
                                <a:pt x="1" y="12715"/>
                              </a:moveTo>
                              <a:cubicBezTo>
                                <a:pt x="-95" y="14715"/>
                                <a:pt x="8573" y="120728"/>
                                <a:pt x="8573" y="120728"/>
                              </a:cubicBezTo>
                              <a:cubicBezTo>
                                <a:pt x="37910" y="120347"/>
                                <a:pt x="51817" y="119585"/>
                                <a:pt x="54674" y="92629"/>
                              </a:cubicBezTo>
                              <a:lnTo>
                                <a:pt x="63532" y="16048"/>
                              </a:lnTo>
                              <a:cubicBezTo>
                                <a:pt x="55341" y="-2335"/>
                                <a:pt x="9144" y="-6812"/>
                                <a:pt x="1" y="12619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sp>
                    <p:nvSpPr>
                      <p:cNvPr id="68" name="Freihandform: Form 67">
                        <a:extLst>
                          <a:ext uri="{FF2B5EF4-FFF2-40B4-BE49-F238E27FC236}">
                            <a16:creationId xmlns:a16="http://schemas.microsoft.com/office/drawing/2014/main" id="{6C7AACEA-614D-D12E-47FF-99706C38BC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63914" y="3855038"/>
                        <a:ext cx="46483" cy="113934"/>
                      </a:xfrm>
                      <a:custGeom>
                        <a:avLst/>
                        <a:gdLst>
                          <a:gd name="connsiteX0" fmla="*/ 22320 w 46483"/>
                          <a:gd name="connsiteY0" fmla="*/ 113744 h 113934"/>
                          <a:gd name="connsiteX1" fmla="*/ 3366 w 46483"/>
                          <a:gd name="connsiteY1" fmla="*/ 60784 h 113934"/>
                          <a:gd name="connsiteX2" fmla="*/ 17844 w 46483"/>
                          <a:gd name="connsiteY2" fmla="*/ 6587 h 113934"/>
                          <a:gd name="connsiteX3" fmla="*/ 28893 w 46483"/>
                          <a:gd name="connsiteY3" fmla="*/ 396 h 113934"/>
                          <a:gd name="connsiteX4" fmla="*/ 44990 w 46483"/>
                          <a:gd name="connsiteY4" fmla="*/ 66214 h 113934"/>
                          <a:gd name="connsiteX5" fmla="*/ 22416 w 46483"/>
                          <a:gd name="connsiteY5" fmla="*/ 113934 h 113934"/>
                          <a:gd name="connsiteX6" fmla="*/ 22416 w 46483"/>
                          <a:gd name="connsiteY6" fmla="*/ 113934 h 11393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6483" h="113934">
                            <a:moveTo>
                              <a:pt x="22320" y="113744"/>
                            </a:moveTo>
                            <a:lnTo>
                              <a:pt x="3366" y="60784"/>
                            </a:lnTo>
                            <a:cubicBezTo>
                              <a:pt x="-3492" y="40591"/>
                              <a:pt x="-444" y="21161"/>
                              <a:pt x="17844" y="6587"/>
                            </a:cubicBezTo>
                            <a:cubicBezTo>
                              <a:pt x="23749" y="1920"/>
                              <a:pt x="28321" y="-1128"/>
                              <a:pt x="28893" y="396"/>
                            </a:cubicBezTo>
                            <a:cubicBezTo>
                              <a:pt x="30036" y="3254"/>
                              <a:pt x="38608" y="30495"/>
                              <a:pt x="44990" y="66214"/>
                            </a:cubicBezTo>
                            <a:cubicBezTo>
                              <a:pt x="49086" y="88788"/>
                              <a:pt x="45752" y="103171"/>
                              <a:pt x="22416" y="113934"/>
                            </a:cubicBezTo>
                            <a:lnTo>
                              <a:pt x="22416" y="113934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69" name="Freihandform: Form 68">
                        <a:extLst>
                          <a:ext uri="{FF2B5EF4-FFF2-40B4-BE49-F238E27FC236}">
                            <a16:creationId xmlns:a16="http://schemas.microsoft.com/office/drawing/2014/main" id="{0A603A35-09B5-DAD7-70D7-A1C7BB8760C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36560" y="3794759"/>
                        <a:ext cx="62340" cy="120967"/>
                      </a:xfrm>
                      <a:custGeom>
                        <a:avLst/>
                        <a:gdLst>
                          <a:gd name="connsiteX0" fmla="*/ 30624 w 62340"/>
                          <a:gd name="connsiteY0" fmla="*/ 120968 h 120967"/>
                          <a:gd name="connsiteX1" fmla="*/ 2335 w 62340"/>
                          <a:gd name="connsiteY1" fmla="*/ 39338 h 120967"/>
                          <a:gd name="connsiteX2" fmla="*/ 38244 w 62340"/>
                          <a:gd name="connsiteY2" fmla="*/ 0 h 120967"/>
                          <a:gd name="connsiteX3" fmla="*/ 43864 w 62340"/>
                          <a:gd name="connsiteY3" fmla="*/ 9335 h 120967"/>
                          <a:gd name="connsiteX4" fmla="*/ 61390 w 62340"/>
                          <a:gd name="connsiteY4" fmla="*/ 80867 h 120967"/>
                          <a:gd name="connsiteX5" fmla="*/ 30719 w 62340"/>
                          <a:gd name="connsiteY5" fmla="*/ 120968 h 120967"/>
                          <a:gd name="connsiteX6" fmla="*/ 30719 w 62340"/>
                          <a:gd name="connsiteY6" fmla="*/ 120968 h 12096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2340" h="120967">
                            <a:moveTo>
                              <a:pt x="30624" y="120968"/>
                            </a:moveTo>
                            <a:lnTo>
                              <a:pt x="2335" y="39338"/>
                            </a:lnTo>
                            <a:cubicBezTo>
                              <a:pt x="-5952" y="14573"/>
                              <a:pt x="8240" y="6001"/>
                              <a:pt x="38244" y="0"/>
                            </a:cubicBezTo>
                            <a:lnTo>
                              <a:pt x="43864" y="9335"/>
                            </a:lnTo>
                            <a:lnTo>
                              <a:pt x="61390" y="80867"/>
                            </a:lnTo>
                            <a:cubicBezTo>
                              <a:pt x="65771" y="102203"/>
                              <a:pt x="54912" y="113157"/>
                              <a:pt x="30719" y="120968"/>
                            </a:cubicBezTo>
                            <a:lnTo>
                              <a:pt x="30719" y="120968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0" name="Freihandform: Form 69">
                        <a:extLst>
                          <a:ext uri="{FF2B5EF4-FFF2-40B4-BE49-F238E27FC236}">
                            <a16:creationId xmlns:a16="http://schemas.microsoft.com/office/drawing/2014/main" id="{FFE30E86-F9EF-A026-C612-8C9944386E0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35054" y="3713098"/>
                        <a:ext cx="53751" cy="112434"/>
                      </a:xfrm>
                      <a:custGeom>
                        <a:avLst/>
                        <a:gdLst>
                          <a:gd name="connsiteX0" fmla="*/ 31 w 53751"/>
                          <a:gd name="connsiteY0" fmla="*/ 7176 h 112434"/>
                          <a:gd name="connsiteX1" fmla="*/ 1555 w 53751"/>
                          <a:gd name="connsiteY1" fmla="*/ 110046 h 112434"/>
                          <a:gd name="connsiteX2" fmla="*/ 44989 w 53751"/>
                          <a:gd name="connsiteY2" fmla="*/ 94806 h 112434"/>
                          <a:gd name="connsiteX3" fmla="*/ 53752 w 53751"/>
                          <a:gd name="connsiteY3" fmla="*/ 23654 h 112434"/>
                          <a:gd name="connsiteX4" fmla="*/ 31 w 53751"/>
                          <a:gd name="connsiteY4" fmla="*/ 7176 h 11243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53751" h="112434">
                            <a:moveTo>
                              <a:pt x="31" y="7176"/>
                            </a:moveTo>
                            <a:cubicBezTo>
                              <a:pt x="-255" y="8986"/>
                              <a:pt x="1555" y="110046"/>
                              <a:pt x="1555" y="110046"/>
                            </a:cubicBezTo>
                            <a:cubicBezTo>
                              <a:pt x="30987" y="111856"/>
                              <a:pt x="40512" y="119000"/>
                              <a:pt x="44989" y="94806"/>
                            </a:cubicBezTo>
                            <a:lnTo>
                              <a:pt x="53752" y="23654"/>
                            </a:lnTo>
                            <a:cubicBezTo>
                              <a:pt x="46703" y="6414"/>
                              <a:pt x="10318" y="-9778"/>
                              <a:pt x="31" y="7176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grpSp>
                    <p:nvGrpSpPr>
                      <p:cNvPr id="71" name="Grafik 23">
                        <a:extLst>
                          <a:ext uri="{FF2B5EF4-FFF2-40B4-BE49-F238E27FC236}">
                            <a16:creationId xmlns:a16="http://schemas.microsoft.com/office/drawing/2014/main" id="{B097A2B0-DDD8-E3BC-E93B-9F0074DCEE88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8483816" y="3539440"/>
                        <a:ext cx="145001" cy="336662"/>
                        <a:chOff x="8483816" y="3539440"/>
                        <a:chExt cx="145001" cy="336662"/>
                      </a:xfrm>
                      <a:solidFill>
                        <a:srgbClr val="8A5942"/>
                      </a:solidFill>
                    </p:grpSpPr>
                    <p:sp>
                      <p:nvSpPr>
                        <p:cNvPr id="72" name="Freihandform: Form 71">
                          <a:extLst>
                            <a:ext uri="{FF2B5EF4-FFF2-40B4-BE49-F238E27FC236}">
                              <a16:creationId xmlns:a16="http://schemas.microsoft.com/office/drawing/2014/main" id="{F8B3906A-249D-6BA9-447D-C0044D4069D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529038" y="3738176"/>
                          <a:ext cx="60495" cy="137927"/>
                        </a:xfrm>
                        <a:custGeom>
                          <a:avLst/>
                          <a:gdLst>
                            <a:gd name="connsiteX0" fmla="*/ 24158 w 60495"/>
                            <a:gd name="connsiteY0" fmla="*/ 137927 h 137927"/>
                            <a:gd name="connsiteX1" fmla="*/ 57685 w 60495"/>
                            <a:gd name="connsiteY1" fmla="*/ 75253 h 137927"/>
                            <a:gd name="connsiteX2" fmla="*/ 53304 w 60495"/>
                            <a:gd name="connsiteY2" fmla="*/ 5815 h 137927"/>
                            <a:gd name="connsiteX3" fmla="*/ 40350 w 60495"/>
                            <a:gd name="connsiteY3" fmla="*/ 958 h 137927"/>
                            <a:gd name="connsiteX4" fmla="*/ 4726 w 60495"/>
                            <a:gd name="connsiteY4" fmla="*/ 77824 h 137927"/>
                            <a:gd name="connsiteX5" fmla="*/ 24062 w 60495"/>
                            <a:gd name="connsiteY5" fmla="*/ 137832 h 137927"/>
                            <a:gd name="connsiteX6" fmla="*/ 24062 w 60495"/>
                            <a:gd name="connsiteY6" fmla="*/ 137832 h 13792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60495" h="137927">
                              <a:moveTo>
                                <a:pt x="24158" y="137927"/>
                              </a:moveTo>
                              <a:lnTo>
                                <a:pt x="57685" y="75253"/>
                              </a:lnTo>
                              <a:cubicBezTo>
                                <a:pt x="59876" y="52964"/>
                                <a:pt x="64448" y="18579"/>
                                <a:pt x="53304" y="5815"/>
                              </a:cubicBezTo>
                              <a:cubicBezTo>
                                <a:pt x="47017" y="-1424"/>
                                <a:pt x="41398" y="-376"/>
                                <a:pt x="40350" y="958"/>
                              </a:cubicBezTo>
                              <a:cubicBezTo>
                                <a:pt x="33111" y="11149"/>
                                <a:pt x="17204" y="44868"/>
                                <a:pt x="4726" y="77824"/>
                              </a:cubicBezTo>
                              <a:cubicBezTo>
                                <a:pt x="-3941" y="100780"/>
                                <a:pt x="-2417" y="117639"/>
                                <a:pt x="24062" y="137832"/>
                              </a:cubicBezTo>
                              <a:lnTo>
                                <a:pt x="24062" y="13783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3" name="Freihandform: Form 72">
                          <a:extLst>
                            <a:ext uri="{FF2B5EF4-FFF2-40B4-BE49-F238E27FC236}">
                              <a16:creationId xmlns:a16="http://schemas.microsoft.com/office/drawing/2014/main" id="{C469FA3C-E703-43E2-E9CB-E1CD7ABD5A7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548242" y="3697576"/>
                          <a:ext cx="80486" cy="117625"/>
                        </a:xfrm>
                        <a:custGeom>
                          <a:avLst/>
                          <a:gdLst>
                            <a:gd name="connsiteX0" fmla="*/ 80486 w 80486"/>
                            <a:gd name="connsiteY0" fmla="*/ 17269 h 117625"/>
                            <a:gd name="connsiteX1" fmla="*/ 0 w 80486"/>
                            <a:gd name="connsiteY1" fmla="*/ 10982 h 117625"/>
                            <a:gd name="connsiteX2" fmla="*/ 5810 w 80486"/>
                            <a:gd name="connsiteY2" fmla="*/ 70608 h 117625"/>
                            <a:gd name="connsiteX3" fmla="*/ 38481 w 80486"/>
                            <a:gd name="connsiteY3" fmla="*/ 115948 h 117625"/>
                            <a:gd name="connsiteX4" fmla="*/ 80486 w 80486"/>
                            <a:gd name="connsiteY4" fmla="*/ 17269 h 11762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80486" h="117625">
                              <a:moveTo>
                                <a:pt x="80486" y="17269"/>
                              </a:moveTo>
                              <a:cubicBezTo>
                                <a:pt x="61627" y="-17498"/>
                                <a:pt x="0" y="10982"/>
                                <a:pt x="0" y="10982"/>
                              </a:cubicBezTo>
                              <a:lnTo>
                                <a:pt x="5810" y="70608"/>
                              </a:lnTo>
                              <a:cubicBezTo>
                                <a:pt x="3429" y="95659"/>
                                <a:pt x="15907" y="124996"/>
                                <a:pt x="38481" y="115948"/>
                              </a:cubicBezTo>
                              <a:cubicBezTo>
                                <a:pt x="38481" y="115948"/>
                                <a:pt x="80582" y="16221"/>
                                <a:pt x="80486" y="17269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4" name="Freihandform: Form 73">
                          <a:extLst>
                            <a:ext uri="{FF2B5EF4-FFF2-40B4-BE49-F238E27FC236}">
                              <a16:creationId xmlns:a16="http://schemas.microsoft.com/office/drawing/2014/main" id="{D442AB8C-3A35-5422-8DAF-935CFBF688A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83816" y="3539440"/>
                          <a:ext cx="145001" cy="187300"/>
                        </a:xfrm>
                        <a:custGeom>
                          <a:avLst/>
                          <a:gdLst>
                            <a:gd name="connsiteX0" fmla="*/ 142151 w 145001"/>
                            <a:gd name="connsiteY0" fmla="*/ 88632 h 187300"/>
                            <a:gd name="connsiteX1" fmla="*/ 144913 w 145001"/>
                            <a:gd name="connsiteY1" fmla="*/ 175405 h 187300"/>
                            <a:gd name="connsiteX2" fmla="*/ 144913 w 145001"/>
                            <a:gd name="connsiteY2" fmla="*/ 175405 h 187300"/>
                            <a:gd name="connsiteX3" fmla="*/ 64712 w 145001"/>
                            <a:gd name="connsiteY3" fmla="*/ 170642 h 187300"/>
                            <a:gd name="connsiteX4" fmla="*/ 9848 w 145001"/>
                            <a:gd name="connsiteY4" fmla="*/ 67486 h 187300"/>
                            <a:gd name="connsiteX5" fmla="*/ 104717 w 145001"/>
                            <a:gd name="connsiteY5" fmla="*/ 431 h 187300"/>
                            <a:gd name="connsiteX6" fmla="*/ 142151 w 145001"/>
                            <a:gd name="connsiteY6" fmla="*/ 88632 h 18730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145001" h="187300">
                              <a:moveTo>
                                <a:pt x="142151" y="88632"/>
                              </a:moveTo>
                              <a:cubicBezTo>
                                <a:pt x="145770" y="113302"/>
                                <a:pt x="144913" y="175405"/>
                                <a:pt x="144913" y="175405"/>
                              </a:cubicBezTo>
                              <a:lnTo>
                                <a:pt x="144913" y="175405"/>
                              </a:lnTo>
                              <a:cubicBezTo>
                                <a:pt x="107289" y="175214"/>
                                <a:pt x="108813" y="205218"/>
                                <a:pt x="64712" y="170642"/>
                              </a:cubicBezTo>
                              <a:cubicBezTo>
                                <a:pt x="64712" y="170642"/>
                                <a:pt x="53472" y="104253"/>
                                <a:pt x="9848" y="67486"/>
                              </a:cubicBezTo>
                              <a:cubicBezTo>
                                <a:pt x="-27871" y="35768"/>
                                <a:pt x="51186" y="-4618"/>
                                <a:pt x="104717" y="431"/>
                              </a:cubicBezTo>
                              <a:cubicBezTo>
                                <a:pt x="128815" y="38244"/>
                                <a:pt x="142151" y="88632"/>
                                <a:pt x="142151" y="8863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sp>
                    <p:nvSpPr>
                      <p:cNvPr id="75" name="Freihandform: Form 74">
                        <a:extLst>
                          <a:ext uri="{FF2B5EF4-FFF2-40B4-BE49-F238E27FC236}">
                            <a16:creationId xmlns:a16="http://schemas.microsoft.com/office/drawing/2014/main" id="{C717B5E7-21E0-3492-587A-B95C05ADAC4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395080" y="3494722"/>
                        <a:ext cx="234464" cy="282987"/>
                      </a:xfrm>
                      <a:custGeom>
                        <a:avLst/>
                        <a:gdLst>
                          <a:gd name="connsiteX0" fmla="*/ 4382 w 234464"/>
                          <a:gd name="connsiteY0" fmla="*/ 195644 h 282987"/>
                          <a:gd name="connsiteX1" fmla="*/ 59341 w 234464"/>
                          <a:gd name="connsiteY1" fmla="*/ 0 h 282987"/>
                          <a:gd name="connsiteX2" fmla="*/ 194977 w 234464"/>
                          <a:gd name="connsiteY2" fmla="*/ 11430 h 282987"/>
                          <a:gd name="connsiteX3" fmla="*/ 200787 w 234464"/>
                          <a:gd name="connsiteY3" fmla="*/ 47625 h 282987"/>
                          <a:gd name="connsiteX4" fmla="*/ 232601 w 234464"/>
                          <a:gd name="connsiteY4" fmla="*/ 177832 h 282987"/>
                          <a:gd name="connsiteX5" fmla="*/ 152877 w 234464"/>
                          <a:gd name="connsiteY5" fmla="*/ 204883 h 282987"/>
                          <a:gd name="connsiteX6" fmla="*/ 88678 w 234464"/>
                          <a:gd name="connsiteY6" fmla="*/ 282988 h 282987"/>
                          <a:gd name="connsiteX7" fmla="*/ 0 w 234464"/>
                          <a:gd name="connsiteY7" fmla="*/ 234982 h 282987"/>
                          <a:gd name="connsiteX8" fmla="*/ 4382 w 234464"/>
                          <a:gd name="connsiteY8" fmla="*/ 195548 h 2829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234464" h="282987">
                            <a:moveTo>
                              <a:pt x="4382" y="195644"/>
                            </a:moveTo>
                            <a:cubicBezTo>
                              <a:pt x="21431" y="145828"/>
                              <a:pt x="40958" y="87154"/>
                              <a:pt x="59341" y="0"/>
                            </a:cubicBezTo>
                            <a:lnTo>
                              <a:pt x="194977" y="11430"/>
                            </a:lnTo>
                            <a:cubicBezTo>
                              <a:pt x="194977" y="32099"/>
                              <a:pt x="197739" y="44005"/>
                              <a:pt x="200787" y="47625"/>
                            </a:cubicBezTo>
                            <a:cubicBezTo>
                              <a:pt x="246031" y="101727"/>
                              <a:pt x="232601" y="177832"/>
                              <a:pt x="232601" y="177832"/>
                            </a:cubicBezTo>
                            <a:cubicBezTo>
                              <a:pt x="230981" y="184976"/>
                              <a:pt x="183261" y="168688"/>
                              <a:pt x="152877" y="204883"/>
                            </a:cubicBezTo>
                            <a:cubicBezTo>
                              <a:pt x="144304" y="215075"/>
                              <a:pt x="102394" y="222885"/>
                              <a:pt x="88678" y="282988"/>
                            </a:cubicBezTo>
                            <a:cubicBezTo>
                              <a:pt x="33909" y="215837"/>
                              <a:pt x="3048" y="234125"/>
                              <a:pt x="0" y="234982"/>
                            </a:cubicBezTo>
                            <a:cubicBezTo>
                              <a:pt x="2572" y="219551"/>
                              <a:pt x="2667" y="206026"/>
                              <a:pt x="4382" y="195548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6" name="Freihandform: Form 75">
                        <a:extLst>
                          <a:ext uri="{FF2B5EF4-FFF2-40B4-BE49-F238E27FC236}">
                            <a16:creationId xmlns:a16="http://schemas.microsoft.com/office/drawing/2014/main" id="{B78F126A-E226-154D-8C4B-E2C16756549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53659" y="3436239"/>
                        <a:ext cx="136397" cy="136398"/>
                      </a:xfrm>
                      <a:custGeom>
                        <a:avLst/>
                        <a:gdLst>
                          <a:gd name="connsiteX0" fmla="*/ 136398 w 136397"/>
                          <a:gd name="connsiteY0" fmla="*/ 68199 h 136398"/>
                          <a:gd name="connsiteX1" fmla="*/ 68199 w 136397"/>
                          <a:gd name="connsiteY1" fmla="*/ 136398 h 136398"/>
                          <a:gd name="connsiteX2" fmla="*/ 1 w 136397"/>
                          <a:gd name="connsiteY2" fmla="*/ 68199 h 136398"/>
                          <a:gd name="connsiteX3" fmla="*/ 68199 w 136397"/>
                          <a:gd name="connsiteY3" fmla="*/ 0 h 136398"/>
                          <a:gd name="connsiteX4" fmla="*/ 136398 w 136397"/>
                          <a:gd name="connsiteY4" fmla="*/ 68199 h 13639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36397" h="136398">
                            <a:moveTo>
                              <a:pt x="136398" y="68199"/>
                            </a:moveTo>
                            <a:cubicBezTo>
                              <a:pt x="136398" y="105864"/>
                              <a:pt x="105864" y="136398"/>
                              <a:pt x="68199" y="136398"/>
                            </a:cubicBezTo>
                            <a:cubicBezTo>
                              <a:pt x="30534" y="136398"/>
                              <a:pt x="1" y="105865"/>
                              <a:pt x="1" y="68199"/>
                            </a:cubicBezTo>
                            <a:cubicBezTo>
                              <a:pt x="1" y="30534"/>
                              <a:pt x="30534" y="0"/>
                              <a:pt x="68199" y="0"/>
                            </a:cubicBezTo>
                            <a:cubicBezTo>
                              <a:pt x="105864" y="0"/>
                              <a:pt x="136398" y="30534"/>
                              <a:pt x="136398" y="68199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</p:grpSp>
              <p:sp>
                <p:nvSpPr>
                  <p:cNvPr id="77" name="Freihandform: Form 76">
                    <a:extLst>
                      <a:ext uri="{FF2B5EF4-FFF2-40B4-BE49-F238E27FC236}">
                        <a16:creationId xmlns:a16="http://schemas.microsoft.com/office/drawing/2014/main" id="{033BB49D-DDE7-266B-D20F-045717888045}"/>
                      </a:ext>
                    </a:extLst>
                  </p:cNvPr>
                  <p:cNvSpPr/>
                  <p:nvPr/>
                </p:nvSpPr>
                <p:spPr>
                  <a:xfrm>
                    <a:off x="8688572" y="1533884"/>
                    <a:ext cx="1208416" cy="1222459"/>
                  </a:xfrm>
                  <a:custGeom>
                    <a:avLst/>
                    <a:gdLst>
                      <a:gd name="connsiteX0" fmla="*/ 1189550 w 1208416"/>
                      <a:gd name="connsiteY0" fmla="*/ 262626 h 1222459"/>
                      <a:gd name="connsiteX1" fmla="*/ 821695 w 1208416"/>
                      <a:gd name="connsiteY1" fmla="*/ 114131 h 1222459"/>
                      <a:gd name="connsiteX2" fmla="*/ 766641 w 1208416"/>
                      <a:gd name="connsiteY2" fmla="*/ 15071 h 1222459"/>
                      <a:gd name="connsiteX3" fmla="*/ 747971 w 1208416"/>
                      <a:gd name="connsiteY3" fmla="*/ 6879 h 1222459"/>
                      <a:gd name="connsiteX4" fmla="*/ 454506 w 1208416"/>
                      <a:gd name="connsiteY4" fmla="*/ 1164 h 1222459"/>
                      <a:gd name="connsiteX5" fmla="*/ 438885 w 1208416"/>
                      <a:gd name="connsiteY5" fmla="*/ 8975 h 1222459"/>
                      <a:gd name="connsiteX6" fmla="*/ 424026 w 1208416"/>
                      <a:gd name="connsiteY6" fmla="*/ 67744 h 1222459"/>
                      <a:gd name="connsiteX7" fmla="*/ 390879 w 1208416"/>
                      <a:gd name="connsiteY7" fmla="*/ 96986 h 1222459"/>
                      <a:gd name="connsiteX8" fmla="*/ 17594 w 1208416"/>
                      <a:gd name="connsiteY8" fmla="*/ 279771 h 1222459"/>
                      <a:gd name="connsiteX9" fmla="*/ 143896 w 1208416"/>
                      <a:gd name="connsiteY9" fmla="*/ 680868 h 1222459"/>
                      <a:gd name="connsiteX10" fmla="*/ 240384 w 1208416"/>
                      <a:gd name="connsiteY10" fmla="*/ 1222460 h 1222459"/>
                      <a:gd name="connsiteX11" fmla="*/ 955235 w 1208416"/>
                      <a:gd name="connsiteY11" fmla="*/ 1220364 h 1222459"/>
                      <a:gd name="connsiteX12" fmla="*/ 1093729 w 1208416"/>
                      <a:gd name="connsiteY12" fmla="*/ 696870 h 1222459"/>
                      <a:gd name="connsiteX13" fmla="*/ 1189455 w 1208416"/>
                      <a:gd name="connsiteY13" fmla="*/ 262530 h 12224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208416" h="1222459">
                        <a:moveTo>
                          <a:pt x="1189550" y="262626"/>
                        </a:moveTo>
                        <a:cubicBezTo>
                          <a:pt x="1103921" y="179663"/>
                          <a:pt x="966475" y="205666"/>
                          <a:pt x="821695" y="114131"/>
                        </a:cubicBezTo>
                        <a:cubicBezTo>
                          <a:pt x="785500" y="80793"/>
                          <a:pt x="771689" y="38597"/>
                          <a:pt x="766641" y="15071"/>
                        </a:cubicBezTo>
                        <a:cubicBezTo>
                          <a:pt x="764831" y="6689"/>
                          <a:pt x="755401" y="2593"/>
                          <a:pt x="747971" y="6879"/>
                        </a:cubicBezTo>
                        <a:cubicBezTo>
                          <a:pt x="655769" y="60791"/>
                          <a:pt x="553947" y="49837"/>
                          <a:pt x="454506" y="1164"/>
                        </a:cubicBezTo>
                        <a:cubicBezTo>
                          <a:pt x="447934" y="-2074"/>
                          <a:pt x="440123" y="1736"/>
                          <a:pt x="438885" y="8975"/>
                        </a:cubicBezTo>
                        <a:cubicBezTo>
                          <a:pt x="436504" y="22500"/>
                          <a:pt x="431932" y="44122"/>
                          <a:pt x="424026" y="67744"/>
                        </a:cubicBezTo>
                        <a:cubicBezTo>
                          <a:pt x="421073" y="74316"/>
                          <a:pt x="412501" y="88223"/>
                          <a:pt x="390879" y="96986"/>
                        </a:cubicBezTo>
                        <a:cubicBezTo>
                          <a:pt x="225049" y="164137"/>
                          <a:pt x="111987" y="195188"/>
                          <a:pt x="17594" y="279771"/>
                        </a:cubicBezTo>
                        <a:cubicBezTo>
                          <a:pt x="-59939" y="349303"/>
                          <a:pt x="143896" y="680868"/>
                          <a:pt x="143896" y="680868"/>
                        </a:cubicBezTo>
                        <a:lnTo>
                          <a:pt x="240384" y="1222460"/>
                        </a:lnTo>
                        <a:lnTo>
                          <a:pt x="955235" y="1220364"/>
                        </a:lnTo>
                        <a:lnTo>
                          <a:pt x="1093729" y="696870"/>
                        </a:lnTo>
                        <a:cubicBezTo>
                          <a:pt x="1093729" y="696870"/>
                          <a:pt x="1264227" y="335016"/>
                          <a:pt x="1189455" y="262530"/>
                        </a:cubicBezTo>
                        <a:close/>
                      </a:path>
                    </a:pathLst>
                  </a:custGeom>
                  <a:solidFill>
                    <a:srgbClr val="FFE98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8" name="Freihandform: Form 77">
                    <a:extLst>
                      <a:ext uri="{FF2B5EF4-FFF2-40B4-BE49-F238E27FC236}">
                        <a16:creationId xmlns:a16="http://schemas.microsoft.com/office/drawing/2014/main" id="{8125EA3B-A5DD-C997-346C-13FD71A879CF}"/>
                      </a:ext>
                    </a:extLst>
                  </p:cNvPr>
                  <p:cNvSpPr/>
                  <p:nvPr/>
                </p:nvSpPr>
                <p:spPr>
                  <a:xfrm>
                    <a:off x="9209944" y="1375027"/>
                    <a:ext cx="147256" cy="49531"/>
                  </a:xfrm>
                  <a:custGeom>
                    <a:avLst/>
                    <a:gdLst>
                      <a:gd name="connsiteX0" fmla="*/ 0 w 147256"/>
                      <a:gd name="connsiteY0" fmla="*/ 5431 h 49531"/>
                      <a:gd name="connsiteX1" fmla="*/ 55721 w 147256"/>
                      <a:gd name="connsiteY1" fmla="*/ 573 h 49531"/>
                      <a:gd name="connsiteX2" fmla="*/ 70294 w 147256"/>
                      <a:gd name="connsiteY2" fmla="*/ 4002 h 49531"/>
                      <a:gd name="connsiteX3" fmla="*/ 84010 w 147256"/>
                      <a:gd name="connsiteY3" fmla="*/ 2 h 49531"/>
                      <a:gd name="connsiteX4" fmla="*/ 147256 w 147256"/>
                      <a:gd name="connsiteY4" fmla="*/ 5812 h 49531"/>
                      <a:gd name="connsiteX5" fmla="*/ 68389 w 147256"/>
                      <a:gd name="connsiteY5" fmla="*/ 49532 h 49531"/>
                      <a:gd name="connsiteX6" fmla="*/ 0 w 147256"/>
                      <a:gd name="connsiteY6" fmla="*/ 5431 h 495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7256" h="49531">
                        <a:moveTo>
                          <a:pt x="0" y="5431"/>
                        </a:moveTo>
                        <a:cubicBezTo>
                          <a:pt x="0" y="5431"/>
                          <a:pt x="19050" y="2859"/>
                          <a:pt x="55721" y="573"/>
                        </a:cubicBezTo>
                        <a:cubicBezTo>
                          <a:pt x="58578" y="383"/>
                          <a:pt x="61817" y="4193"/>
                          <a:pt x="70294" y="4002"/>
                        </a:cubicBezTo>
                        <a:cubicBezTo>
                          <a:pt x="80296" y="3812"/>
                          <a:pt x="80676" y="-94"/>
                          <a:pt x="84010" y="2"/>
                        </a:cubicBezTo>
                        <a:cubicBezTo>
                          <a:pt x="123539" y="1049"/>
                          <a:pt x="147256" y="5812"/>
                          <a:pt x="147256" y="5812"/>
                        </a:cubicBezTo>
                        <a:cubicBezTo>
                          <a:pt x="147256" y="5812"/>
                          <a:pt x="127635" y="49532"/>
                          <a:pt x="68389" y="49532"/>
                        </a:cubicBezTo>
                        <a:cubicBezTo>
                          <a:pt x="15049" y="49532"/>
                          <a:pt x="0" y="5431"/>
                          <a:pt x="0" y="5431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9" name="Freihandform: Form 78">
                    <a:extLst>
                      <a:ext uri="{FF2B5EF4-FFF2-40B4-BE49-F238E27FC236}">
                        <a16:creationId xmlns:a16="http://schemas.microsoft.com/office/drawing/2014/main" id="{E3648D5E-E69D-0495-1039-D1F0853422F7}"/>
                      </a:ext>
                    </a:extLst>
                  </p:cNvPr>
                  <p:cNvSpPr/>
                  <p:nvPr/>
                </p:nvSpPr>
                <p:spPr>
                  <a:xfrm>
                    <a:off x="8620918" y="1760791"/>
                    <a:ext cx="314705" cy="314706"/>
                  </a:xfrm>
                  <a:custGeom>
                    <a:avLst/>
                    <a:gdLst>
                      <a:gd name="connsiteX0" fmla="*/ 314706 w 314705"/>
                      <a:gd name="connsiteY0" fmla="*/ 157353 h 314706"/>
                      <a:gd name="connsiteX1" fmla="*/ 157353 w 314705"/>
                      <a:gd name="connsiteY1" fmla="*/ 314706 h 314706"/>
                      <a:gd name="connsiteX2" fmla="*/ -1 w 314705"/>
                      <a:gd name="connsiteY2" fmla="*/ 157353 h 314706"/>
                      <a:gd name="connsiteX3" fmla="*/ 157353 w 314705"/>
                      <a:gd name="connsiteY3" fmla="*/ 0 h 314706"/>
                      <a:gd name="connsiteX4" fmla="*/ 314706 w 314705"/>
                      <a:gd name="connsiteY4" fmla="*/ 157353 h 3147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4705" h="314706">
                        <a:moveTo>
                          <a:pt x="314706" y="157353"/>
                        </a:moveTo>
                        <a:cubicBezTo>
                          <a:pt x="314706" y="244257"/>
                          <a:pt x="244257" y="314706"/>
                          <a:pt x="157353" y="314706"/>
                        </a:cubicBezTo>
                        <a:cubicBezTo>
                          <a:pt x="70449" y="314706"/>
                          <a:pt x="-1" y="244257"/>
                          <a:pt x="-1" y="157353"/>
                        </a:cubicBezTo>
                        <a:cubicBezTo>
                          <a:pt x="-1" y="70449"/>
                          <a:pt x="70449" y="0"/>
                          <a:pt x="157353" y="0"/>
                        </a:cubicBezTo>
                        <a:cubicBezTo>
                          <a:pt x="244256" y="0"/>
                          <a:pt x="314706" y="70449"/>
                          <a:pt x="314706" y="15735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0" name="Freihandform: Form 79">
                    <a:extLst>
                      <a:ext uri="{FF2B5EF4-FFF2-40B4-BE49-F238E27FC236}">
                        <a16:creationId xmlns:a16="http://schemas.microsoft.com/office/drawing/2014/main" id="{9521ECC7-1396-14E9-4855-E61AF7BE8E90}"/>
                      </a:ext>
                    </a:extLst>
                  </p:cNvPr>
                  <p:cNvSpPr/>
                  <p:nvPr/>
                </p:nvSpPr>
                <p:spPr>
                  <a:xfrm>
                    <a:off x="8398795" y="1816227"/>
                    <a:ext cx="523018" cy="989647"/>
                  </a:xfrm>
                  <a:custGeom>
                    <a:avLst/>
                    <a:gdLst>
                      <a:gd name="connsiteX0" fmla="*/ 0 w 523018"/>
                      <a:gd name="connsiteY0" fmla="*/ 947261 h 989647"/>
                      <a:gd name="connsiteX1" fmla="*/ 307467 w 523018"/>
                      <a:gd name="connsiteY1" fmla="*/ 989648 h 989647"/>
                      <a:gd name="connsiteX2" fmla="*/ 523018 w 523018"/>
                      <a:gd name="connsiteY2" fmla="*/ 167259 h 989647"/>
                      <a:gd name="connsiteX3" fmla="*/ 259747 w 523018"/>
                      <a:gd name="connsiteY3" fmla="*/ 0 h 989647"/>
                      <a:gd name="connsiteX4" fmla="*/ 0 w 523018"/>
                      <a:gd name="connsiteY4" fmla="*/ 947261 h 9896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23018" h="989647">
                        <a:moveTo>
                          <a:pt x="0" y="947261"/>
                        </a:moveTo>
                        <a:lnTo>
                          <a:pt x="307467" y="989648"/>
                        </a:lnTo>
                        <a:lnTo>
                          <a:pt x="523018" y="167259"/>
                        </a:lnTo>
                        <a:lnTo>
                          <a:pt x="259747" y="0"/>
                        </a:lnTo>
                        <a:cubicBezTo>
                          <a:pt x="171069" y="80486"/>
                          <a:pt x="0" y="947261"/>
                          <a:pt x="0" y="94726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1" name="Freihandform: Form 80">
                    <a:extLst>
                      <a:ext uri="{FF2B5EF4-FFF2-40B4-BE49-F238E27FC236}">
                        <a16:creationId xmlns:a16="http://schemas.microsoft.com/office/drawing/2014/main" id="{E199C73E-E592-AFE2-63C2-30F5BE004913}"/>
                      </a:ext>
                    </a:extLst>
                  </p:cNvPr>
                  <p:cNvSpPr/>
                  <p:nvPr/>
                </p:nvSpPr>
                <p:spPr>
                  <a:xfrm>
                    <a:off x="8398128" y="2625471"/>
                    <a:ext cx="310133" cy="310134"/>
                  </a:xfrm>
                  <a:custGeom>
                    <a:avLst/>
                    <a:gdLst>
                      <a:gd name="connsiteX0" fmla="*/ 310134 w 310133"/>
                      <a:gd name="connsiteY0" fmla="*/ 155067 h 310134"/>
                      <a:gd name="connsiteX1" fmla="*/ 155067 w 310133"/>
                      <a:gd name="connsiteY1" fmla="*/ 310134 h 310134"/>
                      <a:gd name="connsiteX2" fmla="*/ -1 w 310133"/>
                      <a:gd name="connsiteY2" fmla="*/ 155067 h 310134"/>
                      <a:gd name="connsiteX3" fmla="*/ 155067 w 310133"/>
                      <a:gd name="connsiteY3" fmla="*/ 0 h 310134"/>
                      <a:gd name="connsiteX4" fmla="*/ 310134 w 310133"/>
                      <a:gd name="connsiteY4" fmla="*/ 155067 h 3101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0133" h="310134">
                        <a:moveTo>
                          <a:pt x="310134" y="155067"/>
                        </a:moveTo>
                        <a:cubicBezTo>
                          <a:pt x="310134" y="240708"/>
                          <a:pt x="240708" y="310134"/>
                          <a:pt x="155067" y="310134"/>
                        </a:cubicBezTo>
                        <a:cubicBezTo>
                          <a:pt x="69425" y="310134"/>
                          <a:pt x="-1" y="240708"/>
                          <a:pt x="-1" y="155067"/>
                        </a:cubicBezTo>
                        <a:cubicBezTo>
                          <a:pt x="-1" y="69426"/>
                          <a:pt x="69425" y="0"/>
                          <a:pt x="155067" y="0"/>
                        </a:cubicBezTo>
                        <a:cubicBezTo>
                          <a:pt x="240708" y="0"/>
                          <a:pt x="310134" y="69426"/>
                          <a:pt x="310134" y="15506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2" name="Freihandform: Form 81">
                    <a:extLst>
                      <a:ext uri="{FF2B5EF4-FFF2-40B4-BE49-F238E27FC236}">
                        <a16:creationId xmlns:a16="http://schemas.microsoft.com/office/drawing/2014/main" id="{7305E45E-18A7-42C2-7E7B-48326B7D94DE}"/>
                      </a:ext>
                    </a:extLst>
                  </p:cNvPr>
                  <p:cNvSpPr/>
                  <p:nvPr/>
                </p:nvSpPr>
                <p:spPr>
                  <a:xfrm>
                    <a:off x="8616251" y="1610010"/>
                    <a:ext cx="575214" cy="3144202"/>
                  </a:xfrm>
                  <a:custGeom>
                    <a:avLst/>
                    <a:gdLst>
                      <a:gd name="connsiteX0" fmla="*/ 197358 w 575214"/>
                      <a:gd name="connsiteY0" fmla="*/ 1136999 h 3144202"/>
                      <a:gd name="connsiteX1" fmla="*/ 0 w 575214"/>
                      <a:gd name="connsiteY1" fmla="*/ 3144203 h 3144202"/>
                      <a:gd name="connsiteX2" fmla="*/ 527590 w 575214"/>
                      <a:gd name="connsiteY2" fmla="*/ 3144203 h 3144202"/>
                      <a:gd name="connsiteX3" fmla="*/ 575215 w 575214"/>
                      <a:gd name="connsiteY3" fmla="*/ 576167 h 3144202"/>
                      <a:gd name="connsiteX4" fmla="*/ 467868 w 575214"/>
                      <a:gd name="connsiteY4" fmla="*/ 0 h 3144202"/>
                      <a:gd name="connsiteX5" fmla="*/ 28194 w 575214"/>
                      <a:gd name="connsiteY5" fmla="*/ 225647 h 3144202"/>
                      <a:gd name="connsiteX6" fmla="*/ 216312 w 575214"/>
                      <a:gd name="connsiteY6" fmla="*/ 604838 h 3144202"/>
                      <a:gd name="connsiteX7" fmla="*/ 197453 w 575214"/>
                      <a:gd name="connsiteY7" fmla="*/ 1137095 h 31442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75214" h="3144202">
                        <a:moveTo>
                          <a:pt x="197358" y="1136999"/>
                        </a:moveTo>
                        <a:cubicBezTo>
                          <a:pt x="-28861" y="1726597"/>
                          <a:pt x="51340" y="2820543"/>
                          <a:pt x="0" y="3144203"/>
                        </a:cubicBezTo>
                        <a:lnTo>
                          <a:pt x="527590" y="3144203"/>
                        </a:lnTo>
                        <a:lnTo>
                          <a:pt x="575215" y="576167"/>
                        </a:lnTo>
                        <a:lnTo>
                          <a:pt x="467868" y="0"/>
                        </a:lnTo>
                        <a:cubicBezTo>
                          <a:pt x="302037" y="67151"/>
                          <a:pt x="69437" y="144590"/>
                          <a:pt x="28194" y="225647"/>
                        </a:cubicBezTo>
                        <a:cubicBezTo>
                          <a:pt x="120682" y="378047"/>
                          <a:pt x="216312" y="604838"/>
                          <a:pt x="216312" y="604838"/>
                        </a:cubicBezTo>
                        <a:cubicBezTo>
                          <a:pt x="216312" y="604838"/>
                          <a:pt x="200406" y="745903"/>
                          <a:pt x="197453" y="113709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3" name="Freihandform: Form 82">
                    <a:extLst>
                      <a:ext uri="{FF2B5EF4-FFF2-40B4-BE49-F238E27FC236}">
                        <a16:creationId xmlns:a16="http://schemas.microsoft.com/office/drawing/2014/main" id="{FA73E432-3626-EB46-B4C0-3C775ECA0C7D}"/>
                      </a:ext>
                    </a:extLst>
                  </p:cNvPr>
                  <p:cNvSpPr/>
                  <p:nvPr/>
                </p:nvSpPr>
                <p:spPr>
                  <a:xfrm>
                    <a:off x="8923527" y="1659159"/>
                    <a:ext cx="199834" cy="706945"/>
                  </a:xfrm>
                  <a:custGeom>
                    <a:avLst/>
                    <a:gdLst>
                      <a:gd name="connsiteX0" fmla="*/ 35528 w 199834"/>
                      <a:gd name="connsiteY0" fmla="*/ 0 h 706945"/>
                      <a:gd name="connsiteX1" fmla="*/ 0 w 199834"/>
                      <a:gd name="connsiteY1" fmla="*/ 13906 h 706945"/>
                      <a:gd name="connsiteX2" fmla="*/ 88106 w 199834"/>
                      <a:gd name="connsiteY2" fmla="*/ 352234 h 706945"/>
                      <a:gd name="connsiteX3" fmla="*/ 199834 w 199834"/>
                      <a:gd name="connsiteY3" fmla="*/ 706946 h 706945"/>
                      <a:gd name="connsiteX4" fmla="*/ 123539 w 199834"/>
                      <a:gd name="connsiteY4" fmla="*/ 352234 h 706945"/>
                      <a:gd name="connsiteX5" fmla="*/ 35623 w 199834"/>
                      <a:gd name="connsiteY5" fmla="*/ 0 h 7069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99834" h="706945">
                        <a:moveTo>
                          <a:pt x="35528" y="0"/>
                        </a:moveTo>
                        <a:lnTo>
                          <a:pt x="0" y="13906"/>
                        </a:lnTo>
                        <a:cubicBezTo>
                          <a:pt x="0" y="13906"/>
                          <a:pt x="76009" y="206692"/>
                          <a:pt x="88106" y="352234"/>
                        </a:cubicBezTo>
                        <a:cubicBezTo>
                          <a:pt x="100108" y="497776"/>
                          <a:pt x="199834" y="706946"/>
                          <a:pt x="199834" y="706946"/>
                        </a:cubicBezTo>
                        <a:cubicBezTo>
                          <a:pt x="199834" y="706946"/>
                          <a:pt x="128968" y="398050"/>
                          <a:pt x="123539" y="352234"/>
                        </a:cubicBezTo>
                        <a:cubicBezTo>
                          <a:pt x="118110" y="306419"/>
                          <a:pt x="35623" y="0"/>
                          <a:pt x="35623" y="0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4" name="Freihandform: Form 83">
                    <a:extLst>
                      <a:ext uri="{FF2B5EF4-FFF2-40B4-BE49-F238E27FC236}">
                        <a16:creationId xmlns:a16="http://schemas.microsoft.com/office/drawing/2014/main" id="{054EBD5D-1AD6-F502-375E-2BC7F6F1CFFC}"/>
                      </a:ext>
                    </a:extLst>
                  </p:cNvPr>
                  <p:cNvSpPr/>
                  <p:nvPr/>
                </p:nvSpPr>
                <p:spPr>
                  <a:xfrm>
                    <a:off x="8664457" y="2198655"/>
                    <a:ext cx="159748" cy="575881"/>
                  </a:xfrm>
                  <a:custGeom>
                    <a:avLst/>
                    <a:gdLst>
                      <a:gd name="connsiteX0" fmla="*/ 132483 w 159748"/>
                      <a:gd name="connsiteY0" fmla="*/ 0 h 575881"/>
                      <a:gd name="connsiteX1" fmla="*/ 6753 w 159748"/>
                      <a:gd name="connsiteY1" fmla="*/ 303467 h 575881"/>
                      <a:gd name="connsiteX2" fmla="*/ 50568 w 159748"/>
                      <a:gd name="connsiteY2" fmla="*/ 575881 h 575881"/>
                      <a:gd name="connsiteX3" fmla="*/ 50568 w 159748"/>
                      <a:gd name="connsiteY3" fmla="*/ 575881 h 575881"/>
                      <a:gd name="connsiteX4" fmla="*/ 157343 w 159748"/>
                      <a:gd name="connsiteY4" fmla="*/ 197834 h 575881"/>
                      <a:gd name="connsiteX5" fmla="*/ 132387 w 159748"/>
                      <a:gd name="connsiteY5" fmla="*/ 0 h 5758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59748" h="575881">
                        <a:moveTo>
                          <a:pt x="132483" y="0"/>
                        </a:moveTo>
                        <a:cubicBezTo>
                          <a:pt x="80191" y="30004"/>
                          <a:pt x="-28013" y="139351"/>
                          <a:pt x="6753" y="303467"/>
                        </a:cubicBezTo>
                        <a:cubicBezTo>
                          <a:pt x="41614" y="467582"/>
                          <a:pt x="50568" y="575881"/>
                          <a:pt x="50568" y="575881"/>
                        </a:cubicBezTo>
                        <a:lnTo>
                          <a:pt x="50568" y="575881"/>
                        </a:lnTo>
                        <a:lnTo>
                          <a:pt x="157343" y="197834"/>
                        </a:lnTo>
                        <a:cubicBezTo>
                          <a:pt x="160201" y="166592"/>
                          <a:pt x="166582" y="73057"/>
                          <a:pt x="132387" y="0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5" name="Freihandform: Form 84">
                    <a:extLst>
                      <a:ext uri="{FF2B5EF4-FFF2-40B4-BE49-F238E27FC236}">
                        <a16:creationId xmlns:a16="http://schemas.microsoft.com/office/drawing/2014/main" id="{C86B9CA5-5466-6D3D-6253-B42ACB4C338B}"/>
                      </a:ext>
                    </a:extLst>
                  </p:cNvPr>
                  <p:cNvSpPr/>
                  <p:nvPr/>
                </p:nvSpPr>
                <p:spPr>
                  <a:xfrm>
                    <a:off x="8695689" y="3364706"/>
                    <a:ext cx="330837" cy="409959"/>
                  </a:xfrm>
                  <a:custGeom>
                    <a:avLst/>
                    <a:gdLst>
                      <a:gd name="connsiteX0" fmla="*/ 49911 w 330837"/>
                      <a:gd name="connsiteY0" fmla="*/ 0 h 409959"/>
                      <a:gd name="connsiteX1" fmla="*/ 37338 w 330837"/>
                      <a:gd name="connsiteY1" fmla="*/ 351377 h 409959"/>
                      <a:gd name="connsiteX2" fmla="*/ 330804 w 330837"/>
                      <a:gd name="connsiteY2" fmla="*/ 359093 h 409959"/>
                      <a:gd name="connsiteX3" fmla="*/ 0 w 330837"/>
                      <a:gd name="connsiteY3" fmla="*/ 388715 h 409959"/>
                      <a:gd name="connsiteX4" fmla="*/ 25146 w 330837"/>
                      <a:gd name="connsiteY4" fmla="*/ 81724 h 409959"/>
                      <a:gd name="connsiteX5" fmla="*/ 49911 w 330837"/>
                      <a:gd name="connsiteY5" fmla="*/ 0 h 409959"/>
                      <a:gd name="connsiteX6" fmla="*/ 49911 w 330837"/>
                      <a:gd name="connsiteY6" fmla="*/ 0 h 4099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30837" h="409959">
                        <a:moveTo>
                          <a:pt x="49911" y="0"/>
                        </a:moveTo>
                        <a:cubicBezTo>
                          <a:pt x="49911" y="0"/>
                          <a:pt x="33909" y="310229"/>
                          <a:pt x="37338" y="351377"/>
                        </a:cubicBezTo>
                        <a:cubicBezTo>
                          <a:pt x="43149" y="368713"/>
                          <a:pt x="307372" y="358616"/>
                          <a:pt x="330804" y="359093"/>
                        </a:cubicBezTo>
                        <a:cubicBezTo>
                          <a:pt x="334709" y="393859"/>
                          <a:pt x="0" y="436340"/>
                          <a:pt x="0" y="388715"/>
                        </a:cubicBezTo>
                        <a:cubicBezTo>
                          <a:pt x="0" y="341090"/>
                          <a:pt x="20193" y="122015"/>
                          <a:pt x="25146" y="81724"/>
                        </a:cubicBezTo>
                        <a:cubicBezTo>
                          <a:pt x="31909" y="25813"/>
                          <a:pt x="32861" y="8572"/>
                          <a:pt x="49911" y="0"/>
                        </a:cubicBezTo>
                        <a:lnTo>
                          <a:pt x="49911" y="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6" name="Freihandform: Form 85">
                    <a:extLst>
                      <a:ext uri="{FF2B5EF4-FFF2-40B4-BE49-F238E27FC236}">
                        <a16:creationId xmlns:a16="http://schemas.microsoft.com/office/drawing/2014/main" id="{2A09F8D6-B1AA-B232-9375-ADF179D0391C}"/>
                      </a:ext>
                    </a:extLst>
                  </p:cNvPr>
                  <p:cNvSpPr/>
                  <p:nvPr/>
                </p:nvSpPr>
                <p:spPr>
                  <a:xfrm>
                    <a:off x="9393395" y="1633156"/>
                    <a:ext cx="575977" cy="3121056"/>
                  </a:xfrm>
                  <a:custGeom>
                    <a:avLst/>
                    <a:gdLst>
                      <a:gd name="connsiteX0" fmla="*/ 575977 w 575977"/>
                      <a:gd name="connsiteY0" fmla="*/ 3121057 h 3121056"/>
                      <a:gd name="connsiteX1" fmla="*/ 377857 w 575977"/>
                      <a:gd name="connsiteY1" fmla="*/ 1113854 h 3121056"/>
                      <a:gd name="connsiteX2" fmla="*/ 358997 w 575977"/>
                      <a:gd name="connsiteY2" fmla="*/ 581597 h 3121056"/>
                      <a:gd name="connsiteX3" fmla="*/ 540925 w 575977"/>
                      <a:gd name="connsiteY3" fmla="*/ 220123 h 3121056"/>
                      <a:gd name="connsiteX4" fmla="*/ 102680 w 575977"/>
                      <a:gd name="connsiteY4" fmla="*/ 0 h 3121056"/>
                      <a:gd name="connsiteX5" fmla="*/ 0 w 575977"/>
                      <a:gd name="connsiteY5" fmla="*/ 552926 h 3121056"/>
                      <a:gd name="connsiteX6" fmla="*/ 47816 w 575977"/>
                      <a:gd name="connsiteY6" fmla="*/ 3120962 h 3121056"/>
                      <a:gd name="connsiteX7" fmla="*/ 575977 w 575977"/>
                      <a:gd name="connsiteY7" fmla="*/ 3120962 h 31210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75977" h="3121056">
                        <a:moveTo>
                          <a:pt x="575977" y="3121057"/>
                        </a:moveTo>
                        <a:cubicBezTo>
                          <a:pt x="522923" y="2803493"/>
                          <a:pt x="605219" y="1706594"/>
                          <a:pt x="377857" y="1113854"/>
                        </a:cubicBezTo>
                        <a:cubicBezTo>
                          <a:pt x="374904" y="722757"/>
                          <a:pt x="358997" y="581597"/>
                          <a:pt x="358997" y="581597"/>
                        </a:cubicBezTo>
                        <a:cubicBezTo>
                          <a:pt x="358997" y="581597"/>
                          <a:pt x="448437" y="372523"/>
                          <a:pt x="540925" y="220123"/>
                        </a:cubicBezTo>
                        <a:cubicBezTo>
                          <a:pt x="496729" y="112681"/>
                          <a:pt x="254889" y="58102"/>
                          <a:pt x="102680" y="0"/>
                        </a:cubicBezTo>
                        <a:lnTo>
                          <a:pt x="0" y="552926"/>
                        </a:lnTo>
                        <a:lnTo>
                          <a:pt x="47816" y="3120962"/>
                        </a:lnTo>
                        <a:lnTo>
                          <a:pt x="575977" y="312096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7" name="Freihandform: Form 86">
                    <a:extLst>
                      <a:ext uri="{FF2B5EF4-FFF2-40B4-BE49-F238E27FC236}">
                        <a16:creationId xmlns:a16="http://schemas.microsoft.com/office/drawing/2014/main" id="{BB241EC8-1EAE-0D6B-18D4-80EEE59F5CBA}"/>
                      </a:ext>
                    </a:extLst>
                  </p:cNvPr>
                  <p:cNvSpPr/>
                  <p:nvPr/>
                </p:nvSpPr>
                <p:spPr>
                  <a:xfrm>
                    <a:off x="9346962" y="1469469"/>
                    <a:ext cx="321998" cy="541925"/>
                  </a:xfrm>
                  <a:custGeom>
                    <a:avLst/>
                    <a:gdLst>
                      <a:gd name="connsiteX0" fmla="*/ 108251 w 321998"/>
                      <a:gd name="connsiteY0" fmla="*/ 79486 h 541925"/>
                      <a:gd name="connsiteX1" fmla="*/ 300084 w 321998"/>
                      <a:gd name="connsiteY1" fmla="*/ 216265 h 541925"/>
                      <a:gd name="connsiteX2" fmla="*/ 180641 w 321998"/>
                      <a:gd name="connsiteY2" fmla="*/ 354378 h 541925"/>
                      <a:gd name="connsiteX3" fmla="*/ 149113 w 321998"/>
                      <a:gd name="connsiteY3" fmla="*/ 541925 h 541925"/>
                      <a:gd name="connsiteX4" fmla="*/ 35289 w 321998"/>
                      <a:gd name="connsiteY4" fmla="*/ 264176 h 541925"/>
                      <a:gd name="connsiteX5" fmla="*/ 108251 w 321998"/>
                      <a:gd name="connsiteY5" fmla="*/ 79486 h 5419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21998" h="541925">
                        <a:moveTo>
                          <a:pt x="108251" y="79486"/>
                        </a:moveTo>
                        <a:cubicBezTo>
                          <a:pt x="82534" y="-113585"/>
                          <a:pt x="407717" y="89964"/>
                          <a:pt x="300084" y="216265"/>
                        </a:cubicBezTo>
                        <a:cubicBezTo>
                          <a:pt x="300084" y="216265"/>
                          <a:pt x="221217" y="286750"/>
                          <a:pt x="180641" y="354378"/>
                        </a:cubicBezTo>
                        <a:cubicBezTo>
                          <a:pt x="140064" y="422005"/>
                          <a:pt x="146256" y="484870"/>
                          <a:pt x="149113" y="541925"/>
                        </a:cubicBezTo>
                        <a:cubicBezTo>
                          <a:pt x="-20336" y="527161"/>
                          <a:pt x="-25194" y="321612"/>
                          <a:pt x="35289" y="264176"/>
                        </a:cubicBezTo>
                        <a:cubicBezTo>
                          <a:pt x="133968" y="170450"/>
                          <a:pt x="123015" y="126635"/>
                          <a:pt x="108251" y="7948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8" name="Freihandform: Form 87">
                    <a:extLst>
                      <a:ext uri="{FF2B5EF4-FFF2-40B4-BE49-F238E27FC236}">
                        <a16:creationId xmlns:a16="http://schemas.microsoft.com/office/drawing/2014/main" id="{D66003DA-622D-D4B3-8D25-E87873BDCD46}"/>
                      </a:ext>
                    </a:extLst>
                  </p:cNvPr>
                  <p:cNvSpPr/>
                  <p:nvPr/>
                </p:nvSpPr>
                <p:spPr>
                  <a:xfrm>
                    <a:off x="8386350" y="2763488"/>
                    <a:ext cx="319816" cy="722471"/>
                  </a:xfrm>
                  <a:custGeom>
                    <a:avLst/>
                    <a:gdLst>
                      <a:gd name="connsiteX0" fmla="*/ 11778 w 319816"/>
                      <a:gd name="connsiteY0" fmla="*/ 722471 h 722471"/>
                      <a:gd name="connsiteX1" fmla="*/ 243998 w 319816"/>
                      <a:gd name="connsiteY1" fmla="*/ 722471 h 722471"/>
                      <a:gd name="connsiteX2" fmla="*/ 319817 w 319816"/>
                      <a:gd name="connsiteY2" fmla="*/ 42386 h 722471"/>
                      <a:gd name="connsiteX3" fmla="*/ 12350 w 319816"/>
                      <a:gd name="connsiteY3" fmla="*/ 0 h 722471"/>
                      <a:gd name="connsiteX4" fmla="*/ 11683 w 319816"/>
                      <a:gd name="connsiteY4" fmla="*/ 722471 h 7224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9816" h="722471">
                        <a:moveTo>
                          <a:pt x="11778" y="722471"/>
                        </a:moveTo>
                        <a:lnTo>
                          <a:pt x="243998" y="722471"/>
                        </a:lnTo>
                        <a:cubicBezTo>
                          <a:pt x="243998" y="722471"/>
                          <a:pt x="304100" y="215360"/>
                          <a:pt x="319817" y="42386"/>
                        </a:cubicBezTo>
                        <a:lnTo>
                          <a:pt x="12350" y="0"/>
                        </a:lnTo>
                        <a:cubicBezTo>
                          <a:pt x="12350" y="339566"/>
                          <a:pt x="-14987" y="531781"/>
                          <a:pt x="11683" y="72247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89" name="Grafik 23">
                  <a:extLst>
                    <a:ext uri="{FF2B5EF4-FFF2-40B4-BE49-F238E27FC236}">
                      <a16:creationId xmlns:a16="http://schemas.microsoft.com/office/drawing/2014/main" id="{539E2105-853C-28FA-6B78-C40458F2FB7D}"/>
                    </a:ext>
                  </a:extLst>
                </p:cNvPr>
                <p:cNvGrpSpPr/>
                <p:nvPr/>
              </p:nvGrpSpPr>
              <p:grpSpPr>
                <a:xfrm>
                  <a:off x="9633235" y="8339391"/>
                  <a:ext cx="650747" cy="968216"/>
                  <a:chOff x="9633235" y="1760791"/>
                  <a:chExt cx="650747" cy="968216"/>
                </a:xfrm>
                <a:solidFill>
                  <a:srgbClr val="FFFFFF"/>
                </a:solidFill>
              </p:grpSpPr>
              <p:sp>
                <p:nvSpPr>
                  <p:cNvPr id="90" name="Freihandform: Form 89">
                    <a:extLst>
                      <a:ext uri="{FF2B5EF4-FFF2-40B4-BE49-F238E27FC236}">
                        <a16:creationId xmlns:a16="http://schemas.microsoft.com/office/drawing/2014/main" id="{1576543B-8C5E-87BE-1843-E27A2DD868F9}"/>
                      </a:ext>
                    </a:extLst>
                  </p:cNvPr>
                  <p:cNvSpPr/>
                  <p:nvPr/>
                </p:nvSpPr>
                <p:spPr>
                  <a:xfrm>
                    <a:off x="9633235" y="1760791"/>
                    <a:ext cx="314705" cy="314706"/>
                  </a:xfrm>
                  <a:custGeom>
                    <a:avLst/>
                    <a:gdLst>
                      <a:gd name="connsiteX0" fmla="*/ 314706 w 314705"/>
                      <a:gd name="connsiteY0" fmla="*/ 157353 h 314706"/>
                      <a:gd name="connsiteX1" fmla="*/ 157353 w 314705"/>
                      <a:gd name="connsiteY1" fmla="*/ 314706 h 314706"/>
                      <a:gd name="connsiteX2" fmla="*/ 0 w 314705"/>
                      <a:gd name="connsiteY2" fmla="*/ 157353 h 314706"/>
                      <a:gd name="connsiteX3" fmla="*/ 157353 w 314705"/>
                      <a:gd name="connsiteY3" fmla="*/ 0 h 314706"/>
                      <a:gd name="connsiteX4" fmla="*/ 314706 w 314705"/>
                      <a:gd name="connsiteY4" fmla="*/ 157353 h 3147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4705" h="314706">
                        <a:moveTo>
                          <a:pt x="314706" y="157353"/>
                        </a:moveTo>
                        <a:cubicBezTo>
                          <a:pt x="314706" y="244257"/>
                          <a:pt x="244257" y="314706"/>
                          <a:pt x="157353" y="314706"/>
                        </a:cubicBezTo>
                        <a:cubicBezTo>
                          <a:pt x="70449" y="314706"/>
                          <a:pt x="0" y="244257"/>
                          <a:pt x="0" y="157353"/>
                        </a:cubicBezTo>
                        <a:cubicBezTo>
                          <a:pt x="0" y="70449"/>
                          <a:pt x="70449" y="0"/>
                          <a:pt x="157353" y="0"/>
                        </a:cubicBezTo>
                        <a:cubicBezTo>
                          <a:pt x="244256" y="0"/>
                          <a:pt x="314706" y="70449"/>
                          <a:pt x="314706" y="15735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1" name="Freihandform: Form 90">
                    <a:extLst>
                      <a:ext uri="{FF2B5EF4-FFF2-40B4-BE49-F238E27FC236}">
                        <a16:creationId xmlns:a16="http://schemas.microsoft.com/office/drawing/2014/main" id="{E60EE7DD-B747-2127-D9AE-2E1B10E85BB2}"/>
                      </a:ext>
                    </a:extLst>
                  </p:cNvPr>
                  <p:cNvSpPr/>
                  <p:nvPr/>
                </p:nvSpPr>
                <p:spPr>
                  <a:xfrm>
                    <a:off x="9658000" y="1838991"/>
                    <a:ext cx="625982" cy="890015"/>
                  </a:xfrm>
                  <a:custGeom>
                    <a:avLst/>
                    <a:gdLst>
                      <a:gd name="connsiteX0" fmla="*/ 625888 w 625982"/>
                      <a:gd name="connsiteY0" fmla="*/ 774287 h 890015"/>
                      <a:gd name="connsiteX1" fmla="*/ 334518 w 625982"/>
                      <a:gd name="connsiteY1" fmla="*/ 890016 h 890015"/>
                      <a:gd name="connsiteX2" fmla="*/ 135064 w 625982"/>
                      <a:gd name="connsiteY2" fmla="*/ 426720 h 890015"/>
                      <a:gd name="connsiteX3" fmla="*/ 0 w 625982"/>
                      <a:gd name="connsiteY3" fmla="*/ 163163 h 890015"/>
                      <a:gd name="connsiteX4" fmla="*/ 268986 w 625982"/>
                      <a:gd name="connsiteY4" fmla="*/ 0 h 890015"/>
                      <a:gd name="connsiteX5" fmla="*/ 430339 w 625982"/>
                      <a:gd name="connsiteY5" fmla="*/ 315373 h 890015"/>
                      <a:gd name="connsiteX6" fmla="*/ 625983 w 625982"/>
                      <a:gd name="connsiteY6" fmla="*/ 774287 h 8900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25982" h="890015">
                        <a:moveTo>
                          <a:pt x="625888" y="774287"/>
                        </a:moveTo>
                        <a:lnTo>
                          <a:pt x="334518" y="890016"/>
                        </a:lnTo>
                        <a:lnTo>
                          <a:pt x="135064" y="426720"/>
                        </a:lnTo>
                        <a:lnTo>
                          <a:pt x="0" y="163163"/>
                        </a:lnTo>
                        <a:lnTo>
                          <a:pt x="268986" y="0"/>
                        </a:lnTo>
                        <a:cubicBezTo>
                          <a:pt x="311182" y="74009"/>
                          <a:pt x="367665" y="187928"/>
                          <a:pt x="430339" y="315373"/>
                        </a:cubicBezTo>
                        <a:cubicBezTo>
                          <a:pt x="529780" y="517589"/>
                          <a:pt x="625983" y="774287"/>
                          <a:pt x="625983" y="77428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2" name="Grafik 23">
                  <a:extLst>
                    <a:ext uri="{FF2B5EF4-FFF2-40B4-BE49-F238E27FC236}">
                      <a16:creationId xmlns:a16="http://schemas.microsoft.com/office/drawing/2014/main" id="{F4BA013B-E70D-FCA3-0C6F-E2645DF78B75}"/>
                    </a:ext>
                  </a:extLst>
                </p:cNvPr>
                <p:cNvGrpSpPr/>
                <p:nvPr/>
              </p:nvGrpSpPr>
              <p:grpSpPr>
                <a:xfrm>
                  <a:off x="9348914" y="8729059"/>
                  <a:ext cx="629316" cy="785241"/>
                  <a:chOff x="9348914" y="2150459"/>
                  <a:chExt cx="629316" cy="785241"/>
                </a:xfrm>
              </p:grpSpPr>
              <p:sp>
                <p:nvSpPr>
                  <p:cNvPr id="93" name="Freihandform: Form 92">
                    <a:extLst>
                      <a:ext uri="{FF2B5EF4-FFF2-40B4-BE49-F238E27FC236}">
                        <a16:creationId xmlns:a16="http://schemas.microsoft.com/office/drawing/2014/main" id="{3F42AF5B-560A-850A-4EFD-9046F48B79D6}"/>
                      </a:ext>
                    </a:extLst>
                  </p:cNvPr>
                  <p:cNvSpPr/>
                  <p:nvPr/>
                </p:nvSpPr>
                <p:spPr>
                  <a:xfrm>
                    <a:off x="9381870" y="2150459"/>
                    <a:ext cx="596360" cy="785241"/>
                  </a:xfrm>
                  <a:custGeom>
                    <a:avLst/>
                    <a:gdLst>
                      <a:gd name="connsiteX0" fmla="*/ 572548 w 596360"/>
                      <a:gd name="connsiteY0" fmla="*/ 0 h 785241"/>
                      <a:gd name="connsiteX1" fmla="*/ 596360 w 596360"/>
                      <a:gd name="connsiteY1" fmla="*/ 23813 h 785241"/>
                      <a:gd name="connsiteX2" fmla="*/ 596360 w 596360"/>
                      <a:gd name="connsiteY2" fmla="*/ 761429 h 785241"/>
                      <a:gd name="connsiteX3" fmla="*/ 572548 w 596360"/>
                      <a:gd name="connsiteY3" fmla="*/ 785241 h 785241"/>
                      <a:gd name="connsiteX4" fmla="*/ 23813 w 596360"/>
                      <a:gd name="connsiteY4" fmla="*/ 785241 h 785241"/>
                      <a:gd name="connsiteX5" fmla="*/ 0 w 596360"/>
                      <a:gd name="connsiteY5" fmla="*/ 761429 h 785241"/>
                      <a:gd name="connsiteX6" fmla="*/ 0 w 596360"/>
                      <a:gd name="connsiteY6" fmla="*/ 23813 h 785241"/>
                      <a:gd name="connsiteX7" fmla="*/ 23813 w 596360"/>
                      <a:gd name="connsiteY7" fmla="*/ 0 h 785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96360" h="785241">
                        <a:moveTo>
                          <a:pt x="572548" y="0"/>
                        </a:moveTo>
                        <a:cubicBezTo>
                          <a:pt x="585699" y="0"/>
                          <a:pt x="596360" y="10661"/>
                          <a:pt x="596360" y="23813"/>
                        </a:cubicBezTo>
                        <a:lnTo>
                          <a:pt x="596360" y="761429"/>
                        </a:lnTo>
                        <a:cubicBezTo>
                          <a:pt x="596360" y="774580"/>
                          <a:pt x="585699" y="785241"/>
                          <a:pt x="572548" y="785241"/>
                        </a:cubicBezTo>
                        <a:lnTo>
                          <a:pt x="23813" y="785241"/>
                        </a:lnTo>
                        <a:cubicBezTo>
                          <a:pt x="10661" y="785241"/>
                          <a:pt x="0" y="774580"/>
                          <a:pt x="0" y="761429"/>
                        </a:cubicBezTo>
                        <a:lnTo>
                          <a:pt x="0" y="23813"/>
                        </a:lnTo>
                        <a:cubicBezTo>
                          <a:pt x="0" y="10661"/>
                          <a:pt x="10661" y="0"/>
                          <a:pt x="23813" y="0"/>
                        </a:cubicBezTo>
                        <a:close/>
                      </a:path>
                    </a:pathLst>
                  </a:custGeom>
                  <a:solidFill>
                    <a:srgbClr val="EDEDE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4" name="Freihandform: Form 93">
                    <a:extLst>
                      <a:ext uri="{FF2B5EF4-FFF2-40B4-BE49-F238E27FC236}">
                        <a16:creationId xmlns:a16="http://schemas.microsoft.com/office/drawing/2014/main" id="{9105707A-EF1A-7890-78FA-997AFF493DEC}"/>
                      </a:ext>
                    </a:extLst>
                  </p:cNvPr>
                  <p:cNvSpPr/>
                  <p:nvPr/>
                </p:nvSpPr>
                <p:spPr>
                  <a:xfrm>
                    <a:off x="9348914" y="2150459"/>
                    <a:ext cx="596360" cy="785241"/>
                  </a:xfrm>
                  <a:custGeom>
                    <a:avLst/>
                    <a:gdLst>
                      <a:gd name="connsiteX0" fmla="*/ 0 w 596360"/>
                      <a:gd name="connsiteY0" fmla="*/ 0 h 785241"/>
                      <a:gd name="connsiteX1" fmla="*/ 596360 w 596360"/>
                      <a:gd name="connsiteY1" fmla="*/ 0 h 785241"/>
                      <a:gd name="connsiteX2" fmla="*/ 596360 w 596360"/>
                      <a:gd name="connsiteY2" fmla="*/ 785241 h 785241"/>
                      <a:gd name="connsiteX3" fmla="*/ 0 w 596360"/>
                      <a:gd name="connsiteY3" fmla="*/ 785241 h 785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96360" h="785241">
                        <a:moveTo>
                          <a:pt x="0" y="0"/>
                        </a:moveTo>
                        <a:lnTo>
                          <a:pt x="596360" y="0"/>
                        </a:lnTo>
                        <a:lnTo>
                          <a:pt x="596360" y="785241"/>
                        </a:lnTo>
                        <a:lnTo>
                          <a:pt x="0" y="785241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5" name="Freihandform: Form 94">
                    <a:extLst>
                      <a:ext uri="{FF2B5EF4-FFF2-40B4-BE49-F238E27FC236}">
                        <a16:creationId xmlns:a16="http://schemas.microsoft.com/office/drawing/2014/main" id="{BD6D2B86-E5B5-E31A-360E-423CDAE0740B}"/>
                      </a:ext>
                    </a:extLst>
                  </p:cNvPr>
                  <p:cNvSpPr/>
                  <p:nvPr/>
                </p:nvSpPr>
                <p:spPr>
                  <a:xfrm>
                    <a:off x="9578942" y="2272093"/>
                    <a:ext cx="123253" cy="123253"/>
                  </a:xfrm>
                  <a:custGeom>
                    <a:avLst/>
                    <a:gdLst>
                      <a:gd name="connsiteX0" fmla="*/ 123254 w 123253"/>
                      <a:gd name="connsiteY0" fmla="*/ 61627 h 123253"/>
                      <a:gd name="connsiteX1" fmla="*/ 61627 w 123253"/>
                      <a:gd name="connsiteY1" fmla="*/ 123253 h 123253"/>
                      <a:gd name="connsiteX2" fmla="*/ 1 w 123253"/>
                      <a:gd name="connsiteY2" fmla="*/ 61627 h 123253"/>
                      <a:gd name="connsiteX3" fmla="*/ 61627 w 123253"/>
                      <a:gd name="connsiteY3" fmla="*/ 0 h 123253"/>
                      <a:gd name="connsiteX4" fmla="*/ 123254 w 123253"/>
                      <a:gd name="connsiteY4" fmla="*/ 61627 h 1232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3253" h="123253">
                        <a:moveTo>
                          <a:pt x="123254" y="61627"/>
                        </a:moveTo>
                        <a:cubicBezTo>
                          <a:pt x="123254" y="95662"/>
                          <a:pt x="95662" y="123253"/>
                          <a:pt x="61627" y="123253"/>
                        </a:cubicBezTo>
                        <a:cubicBezTo>
                          <a:pt x="27592" y="123253"/>
                          <a:pt x="1" y="95662"/>
                          <a:pt x="1" y="61627"/>
                        </a:cubicBezTo>
                        <a:cubicBezTo>
                          <a:pt x="1" y="27591"/>
                          <a:pt x="27592" y="0"/>
                          <a:pt x="61627" y="0"/>
                        </a:cubicBezTo>
                        <a:cubicBezTo>
                          <a:pt x="95663" y="0"/>
                          <a:pt x="123254" y="27591"/>
                          <a:pt x="123254" y="61627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6" name="Freihandform: Form 95">
                    <a:extLst>
                      <a:ext uri="{FF2B5EF4-FFF2-40B4-BE49-F238E27FC236}">
                        <a16:creationId xmlns:a16="http://schemas.microsoft.com/office/drawing/2014/main" id="{F55B17AE-DC0D-9649-062E-B56D16FFEB45}"/>
                      </a:ext>
                    </a:extLst>
                  </p:cNvPr>
                  <p:cNvSpPr/>
                  <p:nvPr/>
                </p:nvSpPr>
                <p:spPr>
                  <a:xfrm>
                    <a:off x="9852024" y="2186178"/>
                    <a:ext cx="24955" cy="24955"/>
                  </a:xfrm>
                  <a:custGeom>
                    <a:avLst/>
                    <a:gdLst>
                      <a:gd name="connsiteX0" fmla="*/ 24955 w 24955"/>
                      <a:gd name="connsiteY0" fmla="*/ 12478 h 24955"/>
                      <a:gd name="connsiteX1" fmla="*/ 12478 w 24955"/>
                      <a:gd name="connsiteY1" fmla="*/ 24955 h 24955"/>
                      <a:gd name="connsiteX2" fmla="*/ 0 w 24955"/>
                      <a:gd name="connsiteY2" fmla="*/ 12478 h 24955"/>
                      <a:gd name="connsiteX3" fmla="*/ 12478 w 24955"/>
                      <a:gd name="connsiteY3" fmla="*/ 0 h 24955"/>
                      <a:gd name="connsiteX4" fmla="*/ 24955 w 24955"/>
                      <a:gd name="connsiteY4" fmla="*/ 12478 h 249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955" h="24955">
                        <a:moveTo>
                          <a:pt x="24955" y="12478"/>
                        </a:moveTo>
                        <a:cubicBezTo>
                          <a:pt x="24955" y="19369"/>
                          <a:pt x="19369" y="24955"/>
                          <a:pt x="12478" y="24955"/>
                        </a:cubicBezTo>
                        <a:cubicBezTo>
                          <a:pt x="5586" y="24955"/>
                          <a:pt x="0" y="19369"/>
                          <a:pt x="0" y="12478"/>
                        </a:cubicBezTo>
                        <a:cubicBezTo>
                          <a:pt x="0" y="5586"/>
                          <a:pt x="5586" y="0"/>
                          <a:pt x="12478" y="0"/>
                        </a:cubicBezTo>
                        <a:cubicBezTo>
                          <a:pt x="19369" y="0"/>
                          <a:pt x="24955" y="5586"/>
                          <a:pt x="24955" y="12478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7" name="Grafik 23">
                  <a:extLst>
                    <a:ext uri="{FF2B5EF4-FFF2-40B4-BE49-F238E27FC236}">
                      <a16:creationId xmlns:a16="http://schemas.microsoft.com/office/drawing/2014/main" id="{7CDB460A-7057-9236-3590-98675600B16B}"/>
                    </a:ext>
                  </a:extLst>
                </p:cNvPr>
                <p:cNvGrpSpPr/>
                <p:nvPr/>
              </p:nvGrpSpPr>
              <p:grpSpPr>
                <a:xfrm>
                  <a:off x="9261970" y="8864885"/>
                  <a:ext cx="346213" cy="324535"/>
                  <a:chOff x="9261970" y="2286285"/>
                  <a:chExt cx="346213" cy="324535"/>
                </a:xfrm>
                <a:solidFill>
                  <a:srgbClr val="8A5942"/>
                </a:solidFill>
              </p:grpSpPr>
              <p:sp>
                <p:nvSpPr>
                  <p:cNvPr id="98" name="Freihandform: Form 97">
                    <a:extLst>
                      <a:ext uri="{FF2B5EF4-FFF2-40B4-BE49-F238E27FC236}">
                        <a16:creationId xmlns:a16="http://schemas.microsoft.com/office/drawing/2014/main" id="{6D34E14A-D7E3-69D5-62C2-0FBB34FD55CB}"/>
                      </a:ext>
                    </a:extLst>
                  </p:cNvPr>
                  <p:cNvSpPr/>
                  <p:nvPr/>
                </p:nvSpPr>
                <p:spPr>
                  <a:xfrm>
                    <a:off x="9472929" y="2452497"/>
                    <a:ext cx="135255" cy="135254"/>
                  </a:xfrm>
                  <a:custGeom>
                    <a:avLst/>
                    <a:gdLst>
                      <a:gd name="connsiteX0" fmla="*/ 135255 w 135255"/>
                      <a:gd name="connsiteY0" fmla="*/ 67628 h 135254"/>
                      <a:gd name="connsiteX1" fmla="*/ 67628 w 135255"/>
                      <a:gd name="connsiteY1" fmla="*/ 135255 h 135254"/>
                      <a:gd name="connsiteX2" fmla="*/ 1 w 135255"/>
                      <a:gd name="connsiteY2" fmla="*/ 67628 h 135254"/>
                      <a:gd name="connsiteX3" fmla="*/ 67628 w 135255"/>
                      <a:gd name="connsiteY3" fmla="*/ 0 h 135254"/>
                      <a:gd name="connsiteX4" fmla="*/ 135255 w 135255"/>
                      <a:gd name="connsiteY4" fmla="*/ 67628 h 1352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5255" h="135254">
                        <a:moveTo>
                          <a:pt x="135255" y="67628"/>
                        </a:moveTo>
                        <a:cubicBezTo>
                          <a:pt x="135255" y="104977"/>
                          <a:pt x="104977" y="135255"/>
                          <a:pt x="67628" y="135255"/>
                        </a:cubicBezTo>
                        <a:cubicBezTo>
                          <a:pt x="30279" y="135255"/>
                          <a:pt x="1" y="104977"/>
                          <a:pt x="1" y="67628"/>
                        </a:cubicBezTo>
                        <a:cubicBezTo>
                          <a:pt x="1" y="30278"/>
                          <a:pt x="30279" y="0"/>
                          <a:pt x="67628" y="0"/>
                        </a:cubicBezTo>
                        <a:cubicBezTo>
                          <a:pt x="104977" y="0"/>
                          <a:pt x="135255" y="30278"/>
                          <a:pt x="135255" y="67628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9" name="Freihandform: Form 98">
                    <a:extLst>
                      <a:ext uri="{FF2B5EF4-FFF2-40B4-BE49-F238E27FC236}">
                        <a16:creationId xmlns:a16="http://schemas.microsoft.com/office/drawing/2014/main" id="{8E4C1F49-2DA0-1997-4518-4DA19B924C75}"/>
                      </a:ext>
                    </a:extLst>
                  </p:cNvPr>
                  <p:cNvSpPr/>
                  <p:nvPr/>
                </p:nvSpPr>
                <p:spPr>
                  <a:xfrm>
                    <a:off x="9261970" y="2286285"/>
                    <a:ext cx="308150" cy="265148"/>
                  </a:xfrm>
                  <a:custGeom>
                    <a:avLst/>
                    <a:gdLst>
                      <a:gd name="connsiteX0" fmla="*/ 167049 w 308150"/>
                      <a:gd name="connsiteY0" fmla="*/ 59246 h 265148"/>
                      <a:gd name="connsiteX1" fmla="*/ 245725 w 308150"/>
                      <a:gd name="connsiteY1" fmla="*/ 106299 h 265148"/>
                      <a:gd name="connsiteX2" fmla="*/ 306685 w 308150"/>
                      <a:gd name="connsiteY2" fmla="*/ 206788 h 265148"/>
                      <a:gd name="connsiteX3" fmla="*/ 197338 w 308150"/>
                      <a:gd name="connsiteY3" fmla="*/ 239173 h 265148"/>
                      <a:gd name="connsiteX4" fmla="*/ 131520 w 308150"/>
                      <a:gd name="connsiteY4" fmla="*/ 136588 h 265148"/>
                      <a:gd name="connsiteX5" fmla="*/ 67322 w 308150"/>
                      <a:gd name="connsiteY5" fmla="*/ 96012 h 265148"/>
                      <a:gd name="connsiteX6" fmla="*/ 67322 w 308150"/>
                      <a:gd name="connsiteY6" fmla="*/ 96012 h 265148"/>
                      <a:gd name="connsiteX7" fmla="*/ 22269 w 308150"/>
                      <a:gd name="connsiteY7" fmla="*/ 64579 h 265148"/>
                      <a:gd name="connsiteX8" fmla="*/ 5790 w 308150"/>
                      <a:gd name="connsiteY8" fmla="*/ 0 h 265148"/>
                      <a:gd name="connsiteX9" fmla="*/ 71036 w 308150"/>
                      <a:gd name="connsiteY9" fmla="*/ 37147 h 265148"/>
                      <a:gd name="connsiteX10" fmla="*/ 166000 w 308150"/>
                      <a:gd name="connsiteY10" fmla="*/ 58674 h 265148"/>
                      <a:gd name="connsiteX11" fmla="*/ 166572 w 308150"/>
                      <a:gd name="connsiteY11" fmla="*/ 59912 h 265148"/>
                      <a:gd name="connsiteX12" fmla="*/ 167049 w 308150"/>
                      <a:gd name="connsiteY12" fmla="*/ 59150 h 2651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308150" h="265148">
                        <a:moveTo>
                          <a:pt x="167049" y="59246"/>
                        </a:moveTo>
                        <a:cubicBezTo>
                          <a:pt x="167049" y="59246"/>
                          <a:pt x="224770" y="90297"/>
                          <a:pt x="245725" y="106299"/>
                        </a:cubicBezTo>
                        <a:cubicBezTo>
                          <a:pt x="245725" y="106299"/>
                          <a:pt x="319353" y="177927"/>
                          <a:pt x="306685" y="206788"/>
                        </a:cubicBezTo>
                        <a:cubicBezTo>
                          <a:pt x="283920" y="258699"/>
                          <a:pt x="207244" y="290322"/>
                          <a:pt x="197338" y="239173"/>
                        </a:cubicBezTo>
                        <a:cubicBezTo>
                          <a:pt x="186765" y="184975"/>
                          <a:pt x="139331" y="143256"/>
                          <a:pt x="131520" y="136588"/>
                        </a:cubicBezTo>
                        <a:lnTo>
                          <a:pt x="67322" y="96012"/>
                        </a:lnTo>
                        <a:cubicBezTo>
                          <a:pt x="67322" y="96012"/>
                          <a:pt x="67322" y="96012"/>
                          <a:pt x="67322" y="96012"/>
                        </a:cubicBezTo>
                        <a:cubicBezTo>
                          <a:pt x="53606" y="87154"/>
                          <a:pt x="37508" y="76009"/>
                          <a:pt x="22269" y="64579"/>
                        </a:cubicBezTo>
                        <a:cubicBezTo>
                          <a:pt x="1599" y="48958"/>
                          <a:pt x="-6497" y="32957"/>
                          <a:pt x="5790" y="0"/>
                        </a:cubicBezTo>
                        <a:lnTo>
                          <a:pt x="71036" y="37147"/>
                        </a:lnTo>
                        <a:cubicBezTo>
                          <a:pt x="71036" y="37147"/>
                          <a:pt x="167049" y="59150"/>
                          <a:pt x="166000" y="58674"/>
                        </a:cubicBezTo>
                        <a:cubicBezTo>
                          <a:pt x="166286" y="59055"/>
                          <a:pt x="166382" y="59531"/>
                          <a:pt x="166572" y="59912"/>
                        </a:cubicBezTo>
                        <a:cubicBezTo>
                          <a:pt x="166763" y="59626"/>
                          <a:pt x="166858" y="59436"/>
                          <a:pt x="167049" y="59150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0" name="Freihandform: Form 99">
                    <a:extLst>
                      <a:ext uri="{FF2B5EF4-FFF2-40B4-BE49-F238E27FC236}">
                        <a16:creationId xmlns:a16="http://schemas.microsoft.com/office/drawing/2014/main" id="{734E7DAD-2CB1-AB55-9F42-70E24B1557E1}"/>
                      </a:ext>
                    </a:extLst>
                  </p:cNvPr>
                  <p:cNvSpPr/>
                  <p:nvPr/>
                </p:nvSpPr>
                <p:spPr>
                  <a:xfrm>
                    <a:off x="9265221" y="2389083"/>
                    <a:ext cx="295814" cy="221737"/>
                  </a:xfrm>
                  <a:custGeom>
                    <a:avLst/>
                    <a:gdLst>
                      <a:gd name="connsiteX0" fmla="*/ 209422 w 295814"/>
                      <a:gd name="connsiteY0" fmla="*/ 11026 h 221737"/>
                      <a:gd name="connsiteX1" fmla="*/ 68357 w 295814"/>
                      <a:gd name="connsiteY1" fmla="*/ 15598 h 221737"/>
                      <a:gd name="connsiteX2" fmla="*/ 6158 w 295814"/>
                      <a:gd name="connsiteY2" fmla="*/ 29790 h 221737"/>
                      <a:gd name="connsiteX3" fmla="*/ 63785 w 295814"/>
                      <a:gd name="connsiteY3" fmla="*/ 220290 h 221737"/>
                      <a:gd name="connsiteX4" fmla="*/ 268382 w 295814"/>
                      <a:gd name="connsiteY4" fmla="*/ 198573 h 221737"/>
                      <a:gd name="connsiteX5" fmla="*/ 295814 w 295814"/>
                      <a:gd name="connsiteY5" fmla="*/ 73034 h 221737"/>
                      <a:gd name="connsiteX6" fmla="*/ 209422 w 295814"/>
                      <a:gd name="connsiteY6" fmla="*/ 11026 h 2217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95814" h="221737">
                        <a:moveTo>
                          <a:pt x="209422" y="11026"/>
                        </a:moveTo>
                        <a:cubicBezTo>
                          <a:pt x="153224" y="-16216"/>
                          <a:pt x="68357" y="15598"/>
                          <a:pt x="68357" y="15598"/>
                        </a:cubicBezTo>
                        <a:lnTo>
                          <a:pt x="6158" y="29790"/>
                        </a:lnTo>
                        <a:cubicBezTo>
                          <a:pt x="-10986" y="83416"/>
                          <a:pt x="7492" y="164188"/>
                          <a:pt x="63785" y="220290"/>
                        </a:cubicBezTo>
                        <a:cubicBezTo>
                          <a:pt x="156559" y="228577"/>
                          <a:pt x="268382" y="198573"/>
                          <a:pt x="268382" y="198573"/>
                        </a:cubicBezTo>
                        <a:lnTo>
                          <a:pt x="295814" y="73034"/>
                        </a:lnTo>
                        <a:cubicBezTo>
                          <a:pt x="295814" y="73034"/>
                          <a:pt x="265620" y="38172"/>
                          <a:pt x="209422" y="1102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101" name="Freihandform: Form 100">
                  <a:extLst>
                    <a:ext uri="{FF2B5EF4-FFF2-40B4-BE49-F238E27FC236}">
                      <a16:creationId xmlns:a16="http://schemas.microsoft.com/office/drawing/2014/main" id="{57AC9EB3-1156-FFB5-E043-9B6B024936DE}"/>
                    </a:ext>
                  </a:extLst>
                </p:cNvPr>
                <p:cNvSpPr/>
                <p:nvPr/>
              </p:nvSpPr>
              <p:spPr>
                <a:xfrm>
                  <a:off x="9182798" y="12384659"/>
                  <a:ext cx="145732" cy="145732"/>
                </a:xfrm>
                <a:custGeom>
                  <a:avLst/>
                  <a:gdLst>
                    <a:gd name="connsiteX0" fmla="*/ 145732 w 145732"/>
                    <a:gd name="connsiteY0" fmla="*/ 72866 h 145732"/>
                    <a:gd name="connsiteX1" fmla="*/ 72866 w 145732"/>
                    <a:gd name="connsiteY1" fmla="*/ 145733 h 145732"/>
                    <a:gd name="connsiteX2" fmla="*/ -1 w 145732"/>
                    <a:gd name="connsiteY2" fmla="*/ 72866 h 145732"/>
                    <a:gd name="connsiteX3" fmla="*/ 72866 w 145732"/>
                    <a:gd name="connsiteY3" fmla="*/ 0 h 145732"/>
                    <a:gd name="connsiteX4" fmla="*/ 145732 w 145732"/>
                    <a:gd name="connsiteY4" fmla="*/ 72866 h 145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5732" h="145732">
                      <a:moveTo>
                        <a:pt x="145732" y="72866"/>
                      </a:moveTo>
                      <a:cubicBezTo>
                        <a:pt x="145732" y="113109"/>
                        <a:pt x="113109" y="145733"/>
                        <a:pt x="72866" y="145733"/>
                      </a:cubicBezTo>
                      <a:cubicBezTo>
                        <a:pt x="32623" y="145733"/>
                        <a:pt x="-1" y="113109"/>
                        <a:pt x="-1" y="72866"/>
                      </a:cubicBezTo>
                      <a:cubicBezTo>
                        <a:pt x="-1" y="32624"/>
                        <a:pt x="32623" y="0"/>
                        <a:pt x="72866" y="0"/>
                      </a:cubicBezTo>
                      <a:cubicBezTo>
                        <a:pt x="113109" y="0"/>
                        <a:pt x="145732" y="32624"/>
                        <a:pt x="145732" y="7286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2" name="Freihandform: Form 101">
                  <a:extLst>
                    <a:ext uri="{FF2B5EF4-FFF2-40B4-BE49-F238E27FC236}">
                      <a16:creationId xmlns:a16="http://schemas.microsoft.com/office/drawing/2014/main" id="{3AD9C50D-316B-F8FA-56C1-7311B1A68D9A}"/>
                    </a:ext>
                  </a:extLst>
                </p:cNvPr>
                <p:cNvSpPr/>
                <p:nvPr/>
              </p:nvSpPr>
              <p:spPr>
                <a:xfrm>
                  <a:off x="9365963" y="12404280"/>
                  <a:ext cx="145732" cy="145732"/>
                </a:xfrm>
                <a:custGeom>
                  <a:avLst/>
                  <a:gdLst>
                    <a:gd name="connsiteX0" fmla="*/ 145733 w 145732"/>
                    <a:gd name="connsiteY0" fmla="*/ 72866 h 145732"/>
                    <a:gd name="connsiteX1" fmla="*/ 72866 w 145732"/>
                    <a:gd name="connsiteY1" fmla="*/ 145733 h 145732"/>
                    <a:gd name="connsiteX2" fmla="*/ 0 w 145732"/>
                    <a:gd name="connsiteY2" fmla="*/ 72866 h 145732"/>
                    <a:gd name="connsiteX3" fmla="*/ 72866 w 145732"/>
                    <a:gd name="connsiteY3" fmla="*/ 0 h 145732"/>
                    <a:gd name="connsiteX4" fmla="*/ 145733 w 145732"/>
                    <a:gd name="connsiteY4" fmla="*/ 72866 h 145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5732" h="145732">
                      <a:moveTo>
                        <a:pt x="145733" y="72866"/>
                      </a:moveTo>
                      <a:cubicBezTo>
                        <a:pt x="145733" y="113109"/>
                        <a:pt x="113109" y="145733"/>
                        <a:pt x="72866" y="145733"/>
                      </a:cubicBezTo>
                      <a:cubicBezTo>
                        <a:pt x="32623" y="145733"/>
                        <a:pt x="0" y="113109"/>
                        <a:pt x="0" y="72866"/>
                      </a:cubicBezTo>
                      <a:cubicBezTo>
                        <a:pt x="0" y="32624"/>
                        <a:pt x="32623" y="0"/>
                        <a:pt x="72866" y="0"/>
                      </a:cubicBezTo>
                      <a:cubicBezTo>
                        <a:pt x="113109" y="0"/>
                        <a:pt x="145733" y="32624"/>
                        <a:pt x="145733" y="7286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3" name="Freihandform: Form 102">
                  <a:extLst>
                    <a:ext uri="{FF2B5EF4-FFF2-40B4-BE49-F238E27FC236}">
                      <a16:creationId xmlns:a16="http://schemas.microsoft.com/office/drawing/2014/main" id="{436A653F-9D78-B183-3B45-2421257B96F3}"/>
                    </a:ext>
                  </a:extLst>
                </p:cNvPr>
                <p:cNvSpPr/>
                <p:nvPr/>
              </p:nvSpPr>
              <p:spPr>
                <a:xfrm>
                  <a:off x="8938672" y="11260613"/>
                  <a:ext cx="389953" cy="1217787"/>
                </a:xfrm>
                <a:custGeom>
                  <a:avLst/>
                  <a:gdLst>
                    <a:gd name="connsiteX0" fmla="*/ 389954 w 389953"/>
                    <a:gd name="connsiteY0" fmla="*/ 1196054 h 1217787"/>
                    <a:gd name="connsiteX1" fmla="*/ 245079 w 389953"/>
                    <a:gd name="connsiteY1" fmla="*/ 1208532 h 1217787"/>
                    <a:gd name="connsiteX2" fmla="*/ 52388 w 389953"/>
                    <a:gd name="connsiteY2" fmla="*/ 579406 h 1217787"/>
                    <a:gd name="connsiteX3" fmla="*/ 0 w 389953"/>
                    <a:gd name="connsiteY3" fmla="*/ 44863 h 1217787"/>
                    <a:gd name="connsiteX4" fmla="*/ 306705 w 389953"/>
                    <a:gd name="connsiteY4" fmla="*/ 0 h 1217787"/>
                    <a:gd name="connsiteX5" fmla="*/ 316039 w 389953"/>
                    <a:gd name="connsiteY5" fmla="*/ 166878 h 1217787"/>
                    <a:gd name="connsiteX6" fmla="*/ 351091 w 389953"/>
                    <a:gd name="connsiteY6" fmla="*/ 480251 h 1217787"/>
                    <a:gd name="connsiteX7" fmla="*/ 361760 w 389953"/>
                    <a:gd name="connsiteY7" fmla="*/ 876681 h 1217787"/>
                    <a:gd name="connsiteX8" fmla="*/ 389858 w 389953"/>
                    <a:gd name="connsiteY8" fmla="*/ 1195959 h 12177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89953" h="1217787">
                      <a:moveTo>
                        <a:pt x="389954" y="1196054"/>
                      </a:moveTo>
                      <a:cubicBezTo>
                        <a:pt x="339471" y="1220438"/>
                        <a:pt x="293561" y="1223867"/>
                        <a:pt x="245079" y="1208532"/>
                      </a:cubicBezTo>
                      <a:cubicBezTo>
                        <a:pt x="209550" y="1038987"/>
                        <a:pt x="96964" y="734759"/>
                        <a:pt x="52388" y="579406"/>
                      </a:cubicBezTo>
                      <a:cubicBezTo>
                        <a:pt x="7715" y="423767"/>
                        <a:pt x="0" y="44863"/>
                        <a:pt x="0" y="44863"/>
                      </a:cubicBezTo>
                      <a:lnTo>
                        <a:pt x="306705" y="0"/>
                      </a:lnTo>
                      <a:lnTo>
                        <a:pt x="316039" y="166878"/>
                      </a:lnTo>
                      <a:cubicBezTo>
                        <a:pt x="316039" y="166878"/>
                        <a:pt x="347472" y="345662"/>
                        <a:pt x="351091" y="480251"/>
                      </a:cubicBezTo>
                      <a:cubicBezTo>
                        <a:pt x="354711" y="614839"/>
                        <a:pt x="361760" y="876681"/>
                        <a:pt x="361760" y="876681"/>
                      </a:cubicBezTo>
                      <a:lnTo>
                        <a:pt x="389858" y="1195959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4" name="Freihandform: Form 103">
                  <a:extLst>
                    <a:ext uri="{FF2B5EF4-FFF2-40B4-BE49-F238E27FC236}">
                      <a16:creationId xmlns:a16="http://schemas.microsoft.com/office/drawing/2014/main" id="{0C462DC0-A90F-D1D7-FF1F-70D1F31AE434}"/>
                    </a:ext>
                  </a:extLst>
                </p:cNvPr>
                <p:cNvSpPr/>
                <p:nvPr/>
              </p:nvSpPr>
              <p:spPr>
                <a:xfrm>
                  <a:off x="8936291" y="11117929"/>
                  <a:ext cx="309943" cy="318515"/>
                </a:xfrm>
                <a:custGeom>
                  <a:avLst/>
                  <a:gdLst>
                    <a:gd name="connsiteX0" fmla="*/ 309944 w 309943"/>
                    <a:gd name="connsiteY0" fmla="*/ 159258 h 318515"/>
                    <a:gd name="connsiteX1" fmla="*/ 154972 w 309943"/>
                    <a:gd name="connsiteY1" fmla="*/ 318516 h 318515"/>
                    <a:gd name="connsiteX2" fmla="*/ 0 w 309943"/>
                    <a:gd name="connsiteY2" fmla="*/ 159258 h 318515"/>
                    <a:gd name="connsiteX3" fmla="*/ 154972 w 309943"/>
                    <a:gd name="connsiteY3" fmla="*/ 0 h 318515"/>
                    <a:gd name="connsiteX4" fmla="*/ 309944 w 309943"/>
                    <a:gd name="connsiteY4" fmla="*/ 159258 h 3185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9943" h="318515">
                      <a:moveTo>
                        <a:pt x="309944" y="159258"/>
                      </a:moveTo>
                      <a:cubicBezTo>
                        <a:pt x="309944" y="247214"/>
                        <a:pt x="240561" y="318516"/>
                        <a:pt x="154972" y="318516"/>
                      </a:cubicBezTo>
                      <a:cubicBezTo>
                        <a:pt x="69383" y="318516"/>
                        <a:pt x="0" y="247214"/>
                        <a:pt x="0" y="159258"/>
                      </a:cubicBezTo>
                      <a:cubicBezTo>
                        <a:pt x="0" y="71302"/>
                        <a:pt x="69383" y="0"/>
                        <a:pt x="154972" y="0"/>
                      </a:cubicBezTo>
                      <a:cubicBezTo>
                        <a:pt x="240560" y="0"/>
                        <a:pt x="309944" y="71302"/>
                        <a:pt x="309944" y="15925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5" name="Freihandform: Form 104">
                  <a:extLst>
                    <a:ext uri="{FF2B5EF4-FFF2-40B4-BE49-F238E27FC236}">
                      <a16:creationId xmlns:a16="http://schemas.microsoft.com/office/drawing/2014/main" id="{CB981138-363A-8E93-E99A-DCFBAFA23880}"/>
                    </a:ext>
                  </a:extLst>
                </p:cNvPr>
                <p:cNvSpPr/>
                <p:nvPr/>
              </p:nvSpPr>
              <p:spPr>
                <a:xfrm>
                  <a:off x="9325196" y="11123358"/>
                  <a:ext cx="311086" cy="311086"/>
                </a:xfrm>
                <a:custGeom>
                  <a:avLst/>
                  <a:gdLst>
                    <a:gd name="connsiteX0" fmla="*/ 311086 w 311086"/>
                    <a:gd name="connsiteY0" fmla="*/ 155543 h 311086"/>
                    <a:gd name="connsiteX1" fmla="*/ 155543 w 311086"/>
                    <a:gd name="connsiteY1" fmla="*/ 311086 h 311086"/>
                    <a:gd name="connsiteX2" fmla="*/ -1 w 311086"/>
                    <a:gd name="connsiteY2" fmla="*/ 155543 h 311086"/>
                    <a:gd name="connsiteX3" fmla="*/ 155543 w 311086"/>
                    <a:gd name="connsiteY3" fmla="*/ 0 h 311086"/>
                    <a:gd name="connsiteX4" fmla="*/ 311086 w 311086"/>
                    <a:gd name="connsiteY4" fmla="*/ 155543 h 3110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1086" h="311086">
                      <a:moveTo>
                        <a:pt x="311086" y="155543"/>
                      </a:moveTo>
                      <a:cubicBezTo>
                        <a:pt x="311086" y="241447"/>
                        <a:pt x="241447" y="311086"/>
                        <a:pt x="155543" y="311086"/>
                      </a:cubicBezTo>
                      <a:cubicBezTo>
                        <a:pt x="69639" y="311086"/>
                        <a:pt x="-1" y="241447"/>
                        <a:pt x="-1" y="155543"/>
                      </a:cubicBezTo>
                      <a:cubicBezTo>
                        <a:pt x="-1" y="69639"/>
                        <a:pt x="69639" y="0"/>
                        <a:pt x="155543" y="0"/>
                      </a:cubicBezTo>
                      <a:cubicBezTo>
                        <a:pt x="241447" y="0"/>
                        <a:pt x="311086" y="69639"/>
                        <a:pt x="311086" y="155543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6" name="Freihandform: Form 105">
                  <a:extLst>
                    <a:ext uri="{FF2B5EF4-FFF2-40B4-BE49-F238E27FC236}">
                      <a16:creationId xmlns:a16="http://schemas.microsoft.com/office/drawing/2014/main" id="{67784386-5860-8DA6-CD95-3BDBEC48E4E5}"/>
                    </a:ext>
                  </a:extLst>
                </p:cNvPr>
                <p:cNvSpPr/>
                <p:nvPr/>
              </p:nvSpPr>
              <p:spPr>
                <a:xfrm>
                  <a:off x="9111551" y="12452191"/>
                  <a:ext cx="251269" cy="207930"/>
                </a:xfrm>
                <a:custGeom>
                  <a:avLst/>
                  <a:gdLst>
                    <a:gd name="connsiteX0" fmla="*/ 72294 w 251269"/>
                    <a:gd name="connsiteY0" fmla="*/ 0 h 207930"/>
                    <a:gd name="connsiteX1" fmla="*/ 0 w 251269"/>
                    <a:gd name="connsiteY1" fmla="*/ 201549 h 207930"/>
                    <a:gd name="connsiteX2" fmla="*/ 251270 w 251269"/>
                    <a:gd name="connsiteY2" fmla="*/ 207930 h 207930"/>
                    <a:gd name="connsiteX3" fmla="*/ 216789 w 251269"/>
                    <a:gd name="connsiteY3" fmla="*/ 3334 h 207930"/>
                    <a:gd name="connsiteX4" fmla="*/ 72294 w 251269"/>
                    <a:gd name="connsiteY4" fmla="*/ 95 h 2079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1269" h="207930">
                      <a:moveTo>
                        <a:pt x="72294" y="0"/>
                      </a:moveTo>
                      <a:cubicBezTo>
                        <a:pt x="56579" y="148399"/>
                        <a:pt x="952" y="162496"/>
                        <a:pt x="0" y="201549"/>
                      </a:cubicBezTo>
                      <a:lnTo>
                        <a:pt x="251270" y="207930"/>
                      </a:lnTo>
                      <a:cubicBezTo>
                        <a:pt x="246126" y="145922"/>
                        <a:pt x="216789" y="118300"/>
                        <a:pt x="216789" y="3334"/>
                      </a:cubicBezTo>
                      <a:lnTo>
                        <a:pt x="72294" y="95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7" name="Freihandform: Form 106">
                  <a:extLst>
                    <a:ext uri="{FF2B5EF4-FFF2-40B4-BE49-F238E27FC236}">
                      <a16:creationId xmlns:a16="http://schemas.microsoft.com/office/drawing/2014/main" id="{3BA7FD74-2780-2D5D-2598-B627BFFE1A5B}"/>
                    </a:ext>
                  </a:extLst>
                </p:cNvPr>
                <p:cNvSpPr/>
                <p:nvPr/>
              </p:nvSpPr>
              <p:spPr>
                <a:xfrm>
                  <a:off x="9040208" y="12666313"/>
                  <a:ext cx="343280" cy="94544"/>
                </a:xfrm>
                <a:custGeom>
                  <a:avLst/>
                  <a:gdLst>
                    <a:gd name="connsiteX0" fmla="*/ 322326 w 343280"/>
                    <a:gd name="connsiteY0" fmla="*/ 89821 h 94544"/>
                    <a:gd name="connsiteX1" fmla="*/ 21145 w 343280"/>
                    <a:gd name="connsiteY1" fmla="*/ 89630 h 94544"/>
                    <a:gd name="connsiteX2" fmla="*/ 0 w 343280"/>
                    <a:gd name="connsiteY2" fmla="*/ 60960 h 94544"/>
                    <a:gd name="connsiteX3" fmla="*/ 0 w 343280"/>
                    <a:gd name="connsiteY3" fmla="*/ 0 h 94544"/>
                    <a:gd name="connsiteX4" fmla="*/ 343281 w 343280"/>
                    <a:gd name="connsiteY4" fmla="*/ 0 h 94544"/>
                    <a:gd name="connsiteX5" fmla="*/ 343281 w 343280"/>
                    <a:gd name="connsiteY5" fmla="*/ 61150 h 94544"/>
                    <a:gd name="connsiteX6" fmla="*/ 322326 w 343280"/>
                    <a:gd name="connsiteY6" fmla="*/ 89821 h 945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43280" h="94544">
                      <a:moveTo>
                        <a:pt x="322326" y="89821"/>
                      </a:moveTo>
                      <a:cubicBezTo>
                        <a:pt x="218218" y="97822"/>
                        <a:pt x="135160" y="94202"/>
                        <a:pt x="21145" y="89630"/>
                      </a:cubicBezTo>
                      <a:cubicBezTo>
                        <a:pt x="8954" y="89154"/>
                        <a:pt x="0" y="75533"/>
                        <a:pt x="0" y="60960"/>
                      </a:cubicBezTo>
                      <a:lnTo>
                        <a:pt x="0" y="0"/>
                      </a:lnTo>
                      <a:cubicBezTo>
                        <a:pt x="0" y="0"/>
                        <a:pt x="343281" y="0"/>
                        <a:pt x="343281" y="0"/>
                      </a:cubicBezTo>
                      <a:lnTo>
                        <a:pt x="343281" y="61150"/>
                      </a:lnTo>
                      <a:cubicBezTo>
                        <a:pt x="343281" y="75629"/>
                        <a:pt x="334423" y="88868"/>
                        <a:pt x="322326" y="89821"/>
                      </a:cubicBezTo>
                      <a:close/>
                    </a:path>
                  </a:pathLst>
                </a:custGeom>
                <a:solidFill>
                  <a:srgbClr val="40404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8" name="Freihandform: Form 107">
                  <a:extLst>
                    <a:ext uri="{FF2B5EF4-FFF2-40B4-BE49-F238E27FC236}">
                      <a16:creationId xmlns:a16="http://schemas.microsoft.com/office/drawing/2014/main" id="{D264128F-5940-F850-8AC1-DACC4353B774}"/>
                    </a:ext>
                  </a:extLst>
                </p:cNvPr>
                <p:cNvSpPr/>
                <p:nvPr/>
              </p:nvSpPr>
              <p:spPr>
                <a:xfrm>
                  <a:off x="9040208" y="12513150"/>
                  <a:ext cx="343280" cy="181734"/>
                </a:xfrm>
                <a:custGeom>
                  <a:avLst/>
                  <a:gdLst>
                    <a:gd name="connsiteX0" fmla="*/ 343281 w 343280"/>
                    <a:gd name="connsiteY0" fmla="*/ 153163 h 181734"/>
                    <a:gd name="connsiteX1" fmla="*/ 294227 w 343280"/>
                    <a:gd name="connsiteY1" fmla="*/ 23147 h 181734"/>
                    <a:gd name="connsiteX2" fmla="*/ 279273 w 343280"/>
                    <a:gd name="connsiteY2" fmla="*/ 64199 h 181734"/>
                    <a:gd name="connsiteX3" fmla="*/ 98964 w 343280"/>
                    <a:gd name="connsiteY3" fmla="*/ 59628 h 181734"/>
                    <a:gd name="connsiteX4" fmla="*/ 0 w 343280"/>
                    <a:gd name="connsiteY4" fmla="*/ 153163 h 181734"/>
                    <a:gd name="connsiteX5" fmla="*/ 343281 w 343280"/>
                    <a:gd name="connsiteY5" fmla="*/ 153163 h 181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3280" h="181734">
                      <a:moveTo>
                        <a:pt x="343281" y="153163"/>
                      </a:moveTo>
                      <a:cubicBezTo>
                        <a:pt x="303847" y="73344"/>
                        <a:pt x="306133" y="10193"/>
                        <a:pt x="294227" y="23147"/>
                      </a:cubicBezTo>
                      <a:cubicBezTo>
                        <a:pt x="301276" y="53055"/>
                        <a:pt x="295656" y="65914"/>
                        <a:pt x="279273" y="64199"/>
                      </a:cubicBezTo>
                      <a:cubicBezTo>
                        <a:pt x="279273" y="64199"/>
                        <a:pt x="167544" y="-77151"/>
                        <a:pt x="98964" y="59628"/>
                      </a:cubicBezTo>
                      <a:cubicBezTo>
                        <a:pt x="57340" y="142591"/>
                        <a:pt x="4096" y="120397"/>
                        <a:pt x="0" y="153163"/>
                      </a:cubicBezTo>
                      <a:cubicBezTo>
                        <a:pt x="16478" y="185738"/>
                        <a:pt x="323945" y="196406"/>
                        <a:pt x="343281" y="15316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9" name="Freihandform: Form 108">
                  <a:extLst>
                    <a:ext uri="{FF2B5EF4-FFF2-40B4-BE49-F238E27FC236}">
                      <a16:creationId xmlns:a16="http://schemas.microsoft.com/office/drawing/2014/main" id="{D25415B4-44B1-2D2E-19AA-8A2D2C2B7717}"/>
                    </a:ext>
                  </a:extLst>
                </p:cNvPr>
                <p:cNvSpPr/>
                <p:nvPr/>
              </p:nvSpPr>
              <p:spPr>
                <a:xfrm>
                  <a:off x="9324879" y="11256327"/>
                  <a:ext cx="326797" cy="1236394"/>
                </a:xfrm>
                <a:custGeom>
                  <a:avLst/>
                  <a:gdLst>
                    <a:gd name="connsiteX0" fmla="*/ 41084 w 326797"/>
                    <a:gd name="connsiteY0" fmla="*/ 1218819 h 1236394"/>
                    <a:gd name="connsiteX1" fmla="*/ 186626 w 326797"/>
                    <a:gd name="connsiteY1" fmla="*/ 1215199 h 1236394"/>
                    <a:gd name="connsiteX2" fmla="*/ 315405 w 326797"/>
                    <a:gd name="connsiteY2" fmla="*/ 571024 h 1236394"/>
                    <a:gd name="connsiteX3" fmla="*/ 309594 w 326797"/>
                    <a:gd name="connsiteY3" fmla="*/ 0 h 1236394"/>
                    <a:gd name="connsiteX4" fmla="*/ 222 w 326797"/>
                    <a:gd name="connsiteY4" fmla="*/ 286 h 1236394"/>
                    <a:gd name="connsiteX5" fmla="*/ 8033 w 326797"/>
                    <a:gd name="connsiteY5" fmla="*/ 502825 h 1236394"/>
                    <a:gd name="connsiteX6" fmla="*/ 37655 w 326797"/>
                    <a:gd name="connsiteY6" fmla="*/ 898302 h 1236394"/>
                    <a:gd name="connsiteX7" fmla="*/ 40989 w 326797"/>
                    <a:gd name="connsiteY7" fmla="*/ 1218819 h 12363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797" h="1236394">
                      <a:moveTo>
                        <a:pt x="41084" y="1218819"/>
                      </a:moveTo>
                      <a:cubicBezTo>
                        <a:pt x="93853" y="1243870"/>
                        <a:pt x="140049" y="1241679"/>
                        <a:pt x="186626" y="1215199"/>
                      </a:cubicBezTo>
                      <a:cubicBezTo>
                        <a:pt x="204724" y="1042892"/>
                        <a:pt x="286830" y="730091"/>
                        <a:pt x="315405" y="571024"/>
                      </a:cubicBezTo>
                      <a:cubicBezTo>
                        <a:pt x="344075" y="411575"/>
                        <a:pt x="309594" y="0"/>
                        <a:pt x="309594" y="0"/>
                      </a:cubicBezTo>
                      <a:lnTo>
                        <a:pt x="222" y="286"/>
                      </a:lnTo>
                      <a:cubicBezTo>
                        <a:pt x="222" y="286"/>
                        <a:pt x="-2064" y="368617"/>
                        <a:pt x="8033" y="502825"/>
                      </a:cubicBezTo>
                      <a:cubicBezTo>
                        <a:pt x="18129" y="637032"/>
                        <a:pt x="37655" y="898302"/>
                        <a:pt x="37655" y="898302"/>
                      </a:cubicBezTo>
                      <a:lnTo>
                        <a:pt x="40989" y="1218819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0" name="Freihandform: Form 109">
                  <a:extLst>
                    <a:ext uri="{FF2B5EF4-FFF2-40B4-BE49-F238E27FC236}">
                      <a16:creationId xmlns:a16="http://schemas.microsoft.com/office/drawing/2014/main" id="{6DCAA3CF-7503-B61C-B00A-D85FD87B1553}"/>
                    </a:ext>
                  </a:extLst>
                </p:cNvPr>
                <p:cNvSpPr/>
                <p:nvPr/>
              </p:nvSpPr>
              <p:spPr>
                <a:xfrm>
                  <a:off x="9333007" y="12471526"/>
                  <a:ext cx="284035" cy="215074"/>
                </a:xfrm>
                <a:custGeom>
                  <a:avLst/>
                  <a:gdLst>
                    <a:gd name="connsiteX0" fmla="*/ 178498 w 284035"/>
                    <a:gd name="connsiteY0" fmla="*/ 0 h 215074"/>
                    <a:gd name="connsiteX1" fmla="*/ 284036 w 284035"/>
                    <a:gd name="connsiteY1" fmla="*/ 215075 h 215074"/>
                    <a:gd name="connsiteX2" fmla="*/ 0 w 284035"/>
                    <a:gd name="connsiteY2" fmla="*/ 215075 h 215074"/>
                    <a:gd name="connsiteX3" fmla="*/ 32956 w 284035"/>
                    <a:gd name="connsiteY3" fmla="*/ 4477 h 215074"/>
                    <a:gd name="connsiteX4" fmla="*/ 178594 w 284035"/>
                    <a:gd name="connsiteY4" fmla="*/ 0 h 2150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84035" h="215074">
                      <a:moveTo>
                        <a:pt x="178498" y="0"/>
                      </a:moveTo>
                      <a:cubicBezTo>
                        <a:pt x="199549" y="148685"/>
                        <a:pt x="284036" y="176022"/>
                        <a:pt x="284036" y="215075"/>
                      </a:cubicBezTo>
                      <a:lnTo>
                        <a:pt x="0" y="215075"/>
                      </a:lnTo>
                      <a:cubicBezTo>
                        <a:pt x="0" y="139637"/>
                        <a:pt x="37529" y="86963"/>
                        <a:pt x="32956" y="4477"/>
                      </a:cubicBezTo>
                      <a:lnTo>
                        <a:pt x="178594" y="0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1" name="Freihandform: Form 110">
                  <a:extLst>
                    <a:ext uri="{FF2B5EF4-FFF2-40B4-BE49-F238E27FC236}">
                      <a16:creationId xmlns:a16="http://schemas.microsoft.com/office/drawing/2014/main" id="{FE448C79-73AA-1232-7820-85B64D051923}"/>
                    </a:ext>
                  </a:extLst>
                </p:cNvPr>
                <p:cNvSpPr/>
                <p:nvPr/>
              </p:nvSpPr>
              <p:spPr>
                <a:xfrm>
                  <a:off x="9312909" y="12667932"/>
                  <a:ext cx="343280" cy="92916"/>
                </a:xfrm>
                <a:custGeom>
                  <a:avLst/>
                  <a:gdLst>
                    <a:gd name="connsiteX0" fmla="*/ 20955 w 343280"/>
                    <a:gd name="connsiteY0" fmla="*/ 89821 h 92916"/>
                    <a:gd name="connsiteX1" fmla="*/ 322135 w 343280"/>
                    <a:gd name="connsiteY1" fmla="*/ 89631 h 92916"/>
                    <a:gd name="connsiteX2" fmla="*/ 343281 w 343280"/>
                    <a:gd name="connsiteY2" fmla="*/ 60960 h 92916"/>
                    <a:gd name="connsiteX3" fmla="*/ 343281 w 343280"/>
                    <a:gd name="connsiteY3" fmla="*/ 0 h 92916"/>
                    <a:gd name="connsiteX4" fmla="*/ 0 w 343280"/>
                    <a:gd name="connsiteY4" fmla="*/ 0 h 92916"/>
                    <a:gd name="connsiteX5" fmla="*/ 0 w 343280"/>
                    <a:gd name="connsiteY5" fmla="*/ 61150 h 92916"/>
                    <a:gd name="connsiteX6" fmla="*/ 20955 w 343280"/>
                    <a:gd name="connsiteY6" fmla="*/ 89821 h 929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43280" h="92916">
                      <a:moveTo>
                        <a:pt x="20955" y="89821"/>
                      </a:moveTo>
                      <a:cubicBezTo>
                        <a:pt x="138969" y="93345"/>
                        <a:pt x="221932" y="94583"/>
                        <a:pt x="322135" y="89631"/>
                      </a:cubicBezTo>
                      <a:cubicBezTo>
                        <a:pt x="334327" y="89059"/>
                        <a:pt x="343281" y="75533"/>
                        <a:pt x="343281" y="60960"/>
                      </a:cubicBezTo>
                      <a:lnTo>
                        <a:pt x="343281" y="0"/>
                      </a:lnTo>
                      <a:cubicBezTo>
                        <a:pt x="343281" y="0"/>
                        <a:pt x="0" y="0"/>
                        <a:pt x="0" y="0"/>
                      </a:cubicBezTo>
                      <a:lnTo>
                        <a:pt x="0" y="61150"/>
                      </a:lnTo>
                      <a:cubicBezTo>
                        <a:pt x="0" y="75629"/>
                        <a:pt x="8858" y="89440"/>
                        <a:pt x="20955" y="89821"/>
                      </a:cubicBezTo>
                      <a:close/>
                    </a:path>
                  </a:pathLst>
                </a:custGeom>
                <a:solidFill>
                  <a:srgbClr val="40404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2" name="Freihandform: Form 111">
                  <a:extLst>
                    <a:ext uri="{FF2B5EF4-FFF2-40B4-BE49-F238E27FC236}">
                      <a16:creationId xmlns:a16="http://schemas.microsoft.com/office/drawing/2014/main" id="{0913BEBA-E87C-B51B-FB4A-1DD4CE5CFAAC}"/>
                    </a:ext>
                  </a:extLst>
                </p:cNvPr>
                <p:cNvSpPr/>
                <p:nvPr/>
              </p:nvSpPr>
              <p:spPr>
                <a:xfrm>
                  <a:off x="9312909" y="12514864"/>
                  <a:ext cx="343280" cy="181734"/>
                </a:xfrm>
                <a:custGeom>
                  <a:avLst/>
                  <a:gdLst>
                    <a:gd name="connsiteX0" fmla="*/ 0 w 343280"/>
                    <a:gd name="connsiteY0" fmla="*/ 153163 h 181734"/>
                    <a:gd name="connsiteX1" fmla="*/ 49053 w 343280"/>
                    <a:gd name="connsiteY1" fmla="*/ 23147 h 181734"/>
                    <a:gd name="connsiteX2" fmla="*/ 64008 w 343280"/>
                    <a:gd name="connsiteY2" fmla="*/ 64199 h 181734"/>
                    <a:gd name="connsiteX3" fmla="*/ 244316 w 343280"/>
                    <a:gd name="connsiteY3" fmla="*/ 59628 h 181734"/>
                    <a:gd name="connsiteX4" fmla="*/ 343281 w 343280"/>
                    <a:gd name="connsiteY4" fmla="*/ 153163 h 181734"/>
                    <a:gd name="connsiteX5" fmla="*/ 0 w 343280"/>
                    <a:gd name="connsiteY5" fmla="*/ 153163 h 181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3280" h="181734">
                      <a:moveTo>
                        <a:pt x="0" y="153163"/>
                      </a:moveTo>
                      <a:cubicBezTo>
                        <a:pt x="39433" y="73344"/>
                        <a:pt x="37147" y="10193"/>
                        <a:pt x="49053" y="23147"/>
                      </a:cubicBezTo>
                      <a:cubicBezTo>
                        <a:pt x="42005" y="53055"/>
                        <a:pt x="47625" y="65914"/>
                        <a:pt x="64008" y="64199"/>
                      </a:cubicBezTo>
                      <a:cubicBezTo>
                        <a:pt x="64008" y="64199"/>
                        <a:pt x="175736" y="-77151"/>
                        <a:pt x="244316" y="59628"/>
                      </a:cubicBezTo>
                      <a:cubicBezTo>
                        <a:pt x="285940" y="142591"/>
                        <a:pt x="339185" y="120397"/>
                        <a:pt x="343281" y="153163"/>
                      </a:cubicBezTo>
                      <a:cubicBezTo>
                        <a:pt x="326803" y="185738"/>
                        <a:pt x="19335" y="196406"/>
                        <a:pt x="0" y="15316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3" name="Freihandform: Form 112">
                  <a:extLst>
                    <a:ext uri="{FF2B5EF4-FFF2-40B4-BE49-F238E27FC236}">
                      <a16:creationId xmlns:a16="http://schemas.microsoft.com/office/drawing/2014/main" id="{3B371553-8310-7B69-F6E3-6D79EA97EB06}"/>
                    </a:ext>
                  </a:extLst>
                </p:cNvPr>
                <p:cNvSpPr/>
                <p:nvPr/>
              </p:nvSpPr>
              <p:spPr>
                <a:xfrm>
                  <a:off x="8692641" y="9292748"/>
                  <a:ext cx="1197659" cy="1963864"/>
                </a:xfrm>
                <a:custGeom>
                  <a:avLst/>
                  <a:gdLst>
                    <a:gd name="connsiteX0" fmla="*/ 1130998 w 1197659"/>
                    <a:gd name="connsiteY0" fmla="*/ 302133 h 1963864"/>
                    <a:gd name="connsiteX1" fmla="*/ 919353 w 1197659"/>
                    <a:gd name="connsiteY1" fmla="*/ 1429 h 1963864"/>
                    <a:gd name="connsiteX2" fmla="*/ 598075 w 1197659"/>
                    <a:gd name="connsiteY2" fmla="*/ 0 h 1963864"/>
                    <a:gd name="connsiteX3" fmla="*/ 598075 w 1197659"/>
                    <a:gd name="connsiteY3" fmla="*/ 0 h 1963864"/>
                    <a:gd name="connsiteX4" fmla="*/ 594646 w 1197659"/>
                    <a:gd name="connsiteY4" fmla="*/ 0 h 1963864"/>
                    <a:gd name="connsiteX5" fmla="*/ 591216 w 1197659"/>
                    <a:gd name="connsiteY5" fmla="*/ 0 h 1963864"/>
                    <a:gd name="connsiteX6" fmla="*/ 591216 w 1197659"/>
                    <a:gd name="connsiteY6" fmla="*/ 0 h 1963864"/>
                    <a:gd name="connsiteX7" fmla="*/ 269938 w 1197659"/>
                    <a:gd name="connsiteY7" fmla="*/ 1429 h 1963864"/>
                    <a:gd name="connsiteX8" fmla="*/ 65531 w 1197659"/>
                    <a:gd name="connsiteY8" fmla="*/ 316421 h 1963864"/>
                    <a:gd name="connsiteX9" fmla="*/ 0 w 1197659"/>
                    <a:gd name="connsiteY9" fmla="*/ 635127 h 1963864"/>
                    <a:gd name="connsiteX10" fmla="*/ 24384 w 1197659"/>
                    <a:gd name="connsiteY10" fmla="*/ 1062895 h 1963864"/>
                    <a:gd name="connsiteX11" fmla="*/ 117634 w 1197659"/>
                    <a:gd name="connsiteY11" fmla="*/ 1567434 h 1963864"/>
                    <a:gd name="connsiteX12" fmla="*/ 209264 w 1197659"/>
                    <a:gd name="connsiteY12" fmla="*/ 1963865 h 1963864"/>
                    <a:gd name="connsiteX13" fmla="*/ 978217 w 1197659"/>
                    <a:gd name="connsiteY13" fmla="*/ 1963865 h 1963864"/>
                    <a:gd name="connsiteX14" fmla="*/ 1069848 w 1197659"/>
                    <a:gd name="connsiteY14" fmla="*/ 1567434 h 1963864"/>
                    <a:gd name="connsiteX15" fmla="*/ 1163098 w 1197659"/>
                    <a:gd name="connsiteY15" fmla="*/ 1062895 h 1963864"/>
                    <a:gd name="connsiteX16" fmla="*/ 1131189 w 1197659"/>
                    <a:gd name="connsiteY16" fmla="*/ 302133 h 1963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197659" h="1963864">
                      <a:moveTo>
                        <a:pt x="1130998" y="302133"/>
                      </a:moveTo>
                      <a:cubicBezTo>
                        <a:pt x="1066895" y="164021"/>
                        <a:pt x="919353" y="1429"/>
                        <a:pt x="919353" y="1429"/>
                      </a:cubicBezTo>
                      <a:lnTo>
                        <a:pt x="598075" y="0"/>
                      </a:lnTo>
                      <a:lnTo>
                        <a:pt x="598075" y="0"/>
                      </a:lnTo>
                      <a:cubicBezTo>
                        <a:pt x="598075" y="0"/>
                        <a:pt x="594646" y="0"/>
                        <a:pt x="594646" y="0"/>
                      </a:cubicBezTo>
                      <a:lnTo>
                        <a:pt x="591216" y="0"/>
                      </a:lnTo>
                      <a:cubicBezTo>
                        <a:pt x="591216" y="0"/>
                        <a:pt x="591216" y="0"/>
                        <a:pt x="591216" y="0"/>
                      </a:cubicBezTo>
                      <a:lnTo>
                        <a:pt x="269938" y="1429"/>
                      </a:lnTo>
                      <a:cubicBezTo>
                        <a:pt x="269938" y="1429"/>
                        <a:pt x="120205" y="174308"/>
                        <a:pt x="65531" y="316421"/>
                      </a:cubicBezTo>
                      <a:cubicBezTo>
                        <a:pt x="10953" y="458534"/>
                        <a:pt x="0" y="635127"/>
                        <a:pt x="0" y="635127"/>
                      </a:cubicBezTo>
                      <a:cubicBezTo>
                        <a:pt x="0" y="635127"/>
                        <a:pt x="6477" y="908114"/>
                        <a:pt x="24384" y="1062895"/>
                      </a:cubicBezTo>
                      <a:cubicBezTo>
                        <a:pt x="42196" y="1217676"/>
                        <a:pt x="82677" y="1449991"/>
                        <a:pt x="117634" y="1567434"/>
                      </a:cubicBezTo>
                      <a:cubicBezTo>
                        <a:pt x="152590" y="1684877"/>
                        <a:pt x="209264" y="1963865"/>
                        <a:pt x="209264" y="1963865"/>
                      </a:cubicBezTo>
                      <a:lnTo>
                        <a:pt x="978217" y="1963865"/>
                      </a:lnTo>
                      <a:cubicBezTo>
                        <a:pt x="978217" y="1963865"/>
                        <a:pt x="1034891" y="1684973"/>
                        <a:pt x="1069848" y="1567434"/>
                      </a:cubicBezTo>
                      <a:cubicBezTo>
                        <a:pt x="1104805" y="1449991"/>
                        <a:pt x="1134999" y="1216152"/>
                        <a:pt x="1163098" y="1062895"/>
                      </a:cubicBezTo>
                      <a:cubicBezTo>
                        <a:pt x="1214818" y="780859"/>
                        <a:pt x="1211866" y="476059"/>
                        <a:pt x="1131189" y="302133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4" name="Freihandform: Form 113">
                  <a:extLst>
                    <a:ext uri="{FF2B5EF4-FFF2-40B4-BE49-F238E27FC236}">
                      <a16:creationId xmlns:a16="http://schemas.microsoft.com/office/drawing/2014/main" id="{41432A89-9C29-E1F4-FD65-758A037FCCA5}"/>
                    </a:ext>
                  </a:extLst>
                </p:cNvPr>
                <p:cNvSpPr/>
                <p:nvPr/>
              </p:nvSpPr>
              <p:spPr>
                <a:xfrm>
                  <a:off x="8910483" y="7388618"/>
                  <a:ext cx="817969" cy="1046717"/>
                </a:xfrm>
                <a:custGeom>
                  <a:avLst/>
                  <a:gdLst>
                    <a:gd name="connsiteX0" fmla="*/ 720465 w 817969"/>
                    <a:gd name="connsiteY0" fmla="*/ 892765 h 1046717"/>
                    <a:gd name="connsiteX1" fmla="*/ 679603 w 817969"/>
                    <a:gd name="connsiteY1" fmla="*/ 349364 h 1046717"/>
                    <a:gd name="connsiteX2" fmla="*/ 351467 w 817969"/>
                    <a:gd name="connsiteY2" fmla="*/ 1321 h 1046717"/>
                    <a:gd name="connsiteX3" fmla="*/ 212974 w 817969"/>
                    <a:gd name="connsiteY3" fmla="*/ 66472 h 1046717"/>
                    <a:gd name="connsiteX4" fmla="*/ 25522 w 817969"/>
                    <a:gd name="connsiteY4" fmla="*/ 310312 h 1046717"/>
                    <a:gd name="connsiteX5" fmla="*/ 68956 w 817969"/>
                    <a:gd name="connsiteY5" fmla="*/ 866857 h 1046717"/>
                    <a:gd name="connsiteX6" fmla="*/ 720465 w 817969"/>
                    <a:gd name="connsiteY6" fmla="*/ 892765 h 1046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7969" h="1046717">
                      <a:moveTo>
                        <a:pt x="720465" y="892765"/>
                      </a:moveTo>
                      <a:cubicBezTo>
                        <a:pt x="720465" y="892765"/>
                        <a:pt x="964972" y="672262"/>
                        <a:pt x="679603" y="349364"/>
                      </a:cubicBezTo>
                      <a:cubicBezTo>
                        <a:pt x="593307" y="251733"/>
                        <a:pt x="546444" y="-21254"/>
                        <a:pt x="351467" y="1321"/>
                      </a:cubicBezTo>
                      <a:cubicBezTo>
                        <a:pt x="299555" y="8560"/>
                        <a:pt x="250502" y="23038"/>
                        <a:pt x="212974" y="66472"/>
                      </a:cubicBezTo>
                      <a:cubicBezTo>
                        <a:pt x="212974" y="66472"/>
                        <a:pt x="81243" y="74568"/>
                        <a:pt x="25522" y="310312"/>
                      </a:cubicBezTo>
                      <a:cubicBezTo>
                        <a:pt x="-22008" y="511480"/>
                        <a:pt x="-672" y="769036"/>
                        <a:pt x="68956" y="866857"/>
                      </a:cubicBezTo>
                      <a:cubicBezTo>
                        <a:pt x="228975" y="1099363"/>
                        <a:pt x="446907" y="1104792"/>
                        <a:pt x="720465" y="89276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5" name="Freihandform: Form 114">
                  <a:extLst>
                    <a:ext uri="{FF2B5EF4-FFF2-40B4-BE49-F238E27FC236}">
                      <a16:creationId xmlns:a16="http://schemas.microsoft.com/office/drawing/2014/main" id="{D21DEB1A-B612-686E-3459-80BBDCF48640}"/>
                    </a:ext>
                  </a:extLst>
                </p:cNvPr>
                <p:cNvSpPr/>
                <p:nvPr/>
              </p:nvSpPr>
              <p:spPr>
                <a:xfrm>
                  <a:off x="9143174" y="7890573"/>
                  <a:ext cx="298227" cy="463654"/>
                </a:xfrm>
                <a:custGeom>
                  <a:avLst/>
                  <a:gdLst>
                    <a:gd name="connsiteX0" fmla="*/ 0 w 298227"/>
                    <a:gd name="connsiteY0" fmla="*/ 385001 h 463654"/>
                    <a:gd name="connsiteX1" fmla="*/ 298228 w 298227"/>
                    <a:gd name="connsiteY1" fmla="*/ 385001 h 463654"/>
                    <a:gd name="connsiteX2" fmla="*/ 298228 w 298227"/>
                    <a:gd name="connsiteY2" fmla="*/ 0 h 463654"/>
                    <a:gd name="connsiteX3" fmla="*/ 0 w 298227"/>
                    <a:gd name="connsiteY3" fmla="*/ 0 h 463654"/>
                    <a:gd name="connsiteX4" fmla="*/ 0 w 298227"/>
                    <a:gd name="connsiteY4" fmla="*/ 385001 h 4636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8227" h="463654">
                      <a:moveTo>
                        <a:pt x="0" y="385001"/>
                      </a:moveTo>
                      <a:cubicBezTo>
                        <a:pt x="51816" y="489109"/>
                        <a:pt x="237172" y="490633"/>
                        <a:pt x="298228" y="385001"/>
                      </a:cubicBezTo>
                      <a:lnTo>
                        <a:pt x="298228" y="0"/>
                      </a:lnTo>
                      <a:lnTo>
                        <a:pt x="0" y="0"/>
                      </a:lnTo>
                      <a:cubicBezTo>
                        <a:pt x="0" y="0"/>
                        <a:pt x="0" y="385001"/>
                        <a:pt x="0" y="385001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6" name="Freihandform: Form 115">
                  <a:extLst>
                    <a:ext uri="{FF2B5EF4-FFF2-40B4-BE49-F238E27FC236}">
                      <a16:creationId xmlns:a16="http://schemas.microsoft.com/office/drawing/2014/main" id="{23DDFB16-2B81-0311-E5FF-DA5841195B9C}"/>
                    </a:ext>
                  </a:extLst>
                </p:cNvPr>
                <p:cNvSpPr/>
                <p:nvPr/>
              </p:nvSpPr>
              <p:spPr>
                <a:xfrm>
                  <a:off x="9054877" y="7945437"/>
                  <a:ext cx="361378" cy="476350"/>
                </a:xfrm>
                <a:custGeom>
                  <a:avLst/>
                  <a:gdLst>
                    <a:gd name="connsiteX0" fmla="*/ 361379 w 361378"/>
                    <a:gd name="connsiteY0" fmla="*/ 0 h 476350"/>
                    <a:gd name="connsiteX1" fmla="*/ 347186 w 361378"/>
                    <a:gd name="connsiteY1" fmla="*/ 72295 h 476350"/>
                    <a:gd name="connsiteX2" fmla="*/ 224790 w 361378"/>
                    <a:gd name="connsiteY2" fmla="*/ 204121 h 476350"/>
                    <a:gd name="connsiteX3" fmla="*/ 143542 w 361378"/>
                    <a:gd name="connsiteY3" fmla="*/ 260890 h 476350"/>
                    <a:gd name="connsiteX4" fmla="*/ 220313 w 361378"/>
                    <a:gd name="connsiteY4" fmla="*/ 473012 h 476350"/>
                    <a:gd name="connsiteX5" fmla="*/ 0 w 361378"/>
                    <a:gd name="connsiteY5" fmla="*/ 278987 h 476350"/>
                    <a:gd name="connsiteX6" fmla="*/ 88106 w 361378"/>
                    <a:gd name="connsiteY6" fmla="*/ 244888 h 476350"/>
                    <a:gd name="connsiteX7" fmla="*/ 88106 w 361378"/>
                    <a:gd name="connsiteY7" fmla="*/ 0 h 476350"/>
                    <a:gd name="connsiteX8" fmla="*/ 361379 w 361378"/>
                    <a:gd name="connsiteY8" fmla="*/ 0 h 476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61378" h="476350">
                      <a:moveTo>
                        <a:pt x="361379" y="0"/>
                      </a:moveTo>
                      <a:lnTo>
                        <a:pt x="347186" y="72295"/>
                      </a:lnTo>
                      <a:cubicBezTo>
                        <a:pt x="347186" y="72295"/>
                        <a:pt x="321945" y="199168"/>
                        <a:pt x="224790" y="204121"/>
                      </a:cubicBezTo>
                      <a:cubicBezTo>
                        <a:pt x="166688" y="207073"/>
                        <a:pt x="143827" y="229362"/>
                        <a:pt x="143542" y="260890"/>
                      </a:cubicBezTo>
                      <a:cubicBezTo>
                        <a:pt x="142590" y="384810"/>
                        <a:pt x="240030" y="440627"/>
                        <a:pt x="220313" y="473012"/>
                      </a:cubicBezTo>
                      <a:cubicBezTo>
                        <a:pt x="147733" y="501110"/>
                        <a:pt x="34100" y="344519"/>
                        <a:pt x="0" y="278987"/>
                      </a:cubicBezTo>
                      <a:lnTo>
                        <a:pt x="88106" y="244888"/>
                      </a:lnTo>
                      <a:lnTo>
                        <a:pt x="88106" y="0"/>
                      </a:lnTo>
                      <a:lnTo>
                        <a:pt x="361379" y="0"/>
                      </a:lnTo>
                      <a:close/>
                    </a:path>
                  </a:pathLst>
                </a:custGeom>
                <a:solidFill>
                  <a:srgbClr val="4B2E1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7" name="Freihandform: Form 116">
                  <a:extLst>
                    <a:ext uri="{FF2B5EF4-FFF2-40B4-BE49-F238E27FC236}">
                      <a16:creationId xmlns:a16="http://schemas.microsoft.com/office/drawing/2014/main" id="{E6A5F262-92EC-48FB-FBFF-7E3B5BB59752}"/>
                    </a:ext>
                  </a:extLst>
                </p:cNvPr>
                <p:cNvSpPr/>
                <p:nvPr/>
              </p:nvSpPr>
              <p:spPr>
                <a:xfrm>
                  <a:off x="9092333" y="7562696"/>
                  <a:ext cx="400153" cy="557524"/>
                </a:xfrm>
                <a:custGeom>
                  <a:avLst/>
                  <a:gdLst>
                    <a:gd name="connsiteX0" fmla="*/ 398979 w 400153"/>
                    <a:gd name="connsiteY0" fmla="*/ 188336 h 557524"/>
                    <a:gd name="connsiteX1" fmla="*/ 346687 w 400153"/>
                    <a:gd name="connsiteY1" fmla="*/ 49080 h 557524"/>
                    <a:gd name="connsiteX2" fmla="*/ 200097 w 400153"/>
                    <a:gd name="connsiteY2" fmla="*/ 26 h 557524"/>
                    <a:gd name="connsiteX3" fmla="*/ 53507 w 400153"/>
                    <a:gd name="connsiteY3" fmla="*/ 49080 h 557524"/>
                    <a:gd name="connsiteX4" fmla="*/ 1215 w 400153"/>
                    <a:gd name="connsiteY4" fmla="*/ 188336 h 557524"/>
                    <a:gd name="connsiteX5" fmla="*/ 2073 w 400153"/>
                    <a:gd name="connsiteY5" fmla="*/ 321400 h 557524"/>
                    <a:gd name="connsiteX6" fmla="*/ 61604 w 400153"/>
                    <a:gd name="connsiteY6" fmla="*/ 469704 h 557524"/>
                    <a:gd name="connsiteX7" fmla="*/ 200097 w 400153"/>
                    <a:gd name="connsiteY7" fmla="*/ 557525 h 557524"/>
                    <a:gd name="connsiteX8" fmla="*/ 338591 w 400153"/>
                    <a:gd name="connsiteY8" fmla="*/ 469704 h 557524"/>
                    <a:gd name="connsiteX9" fmla="*/ 398122 w 400153"/>
                    <a:gd name="connsiteY9" fmla="*/ 321400 h 557524"/>
                    <a:gd name="connsiteX10" fmla="*/ 398979 w 400153"/>
                    <a:gd name="connsiteY10" fmla="*/ 188336 h 5575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00153" h="557524">
                      <a:moveTo>
                        <a:pt x="398979" y="188336"/>
                      </a:moveTo>
                      <a:cubicBezTo>
                        <a:pt x="398979" y="188336"/>
                        <a:pt x="394217" y="105278"/>
                        <a:pt x="346687" y="49080"/>
                      </a:cubicBezTo>
                      <a:cubicBezTo>
                        <a:pt x="307540" y="2789"/>
                        <a:pt x="227148" y="-355"/>
                        <a:pt x="200097" y="26"/>
                      </a:cubicBezTo>
                      <a:cubicBezTo>
                        <a:pt x="173046" y="-355"/>
                        <a:pt x="92655" y="2789"/>
                        <a:pt x="53507" y="49080"/>
                      </a:cubicBezTo>
                      <a:cubicBezTo>
                        <a:pt x="5978" y="105278"/>
                        <a:pt x="1215" y="188336"/>
                        <a:pt x="1215" y="188336"/>
                      </a:cubicBezTo>
                      <a:cubicBezTo>
                        <a:pt x="1215" y="188336"/>
                        <a:pt x="-2023" y="284252"/>
                        <a:pt x="2073" y="321400"/>
                      </a:cubicBezTo>
                      <a:cubicBezTo>
                        <a:pt x="6073" y="358452"/>
                        <a:pt x="1882" y="409316"/>
                        <a:pt x="61604" y="469704"/>
                      </a:cubicBezTo>
                      <a:cubicBezTo>
                        <a:pt x="119802" y="528664"/>
                        <a:pt x="159711" y="556191"/>
                        <a:pt x="200097" y="557525"/>
                      </a:cubicBezTo>
                      <a:cubicBezTo>
                        <a:pt x="240483" y="556191"/>
                        <a:pt x="280393" y="528664"/>
                        <a:pt x="338591" y="469704"/>
                      </a:cubicBezTo>
                      <a:cubicBezTo>
                        <a:pt x="398217" y="409316"/>
                        <a:pt x="394026" y="358452"/>
                        <a:pt x="398122" y="321400"/>
                      </a:cubicBezTo>
                      <a:cubicBezTo>
                        <a:pt x="402123" y="284348"/>
                        <a:pt x="398979" y="188336"/>
                        <a:pt x="398979" y="18833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8" name="Freihandform: Form 117">
                  <a:extLst>
                    <a:ext uri="{FF2B5EF4-FFF2-40B4-BE49-F238E27FC236}">
                      <a16:creationId xmlns:a16="http://schemas.microsoft.com/office/drawing/2014/main" id="{91B26D5F-758C-13F5-4A17-EBFD1112D69A}"/>
                    </a:ext>
                  </a:extLst>
                </p:cNvPr>
                <p:cNvSpPr/>
                <p:nvPr/>
              </p:nvSpPr>
              <p:spPr>
                <a:xfrm rot="18018600">
                  <a:off x="9397508" y="7761554"/>
                  <a:ext cx="196214" cy="136778"/>
                </a:xfrm>
                <a:custGeom>
                  <a:avLst/>
                  <a:gdLst>
                    <a:gd name="connsiteX0" fmla="*/ 196215 w 196214"/>
                    <a:gd name="connsiteY0" fmla="*/ 68389 h 136778"/>
                    <a:gd name="connsiteX1" fmla="*/ 98107 w 196214"/>
                    <a:gd name="connsiteY1" fmla="*/ 136779 h 136778"/>
                    <a:gd name="connsiteX2" fmla="*/ 0 w 196214"/>
                    <a:gd name="connsiteY2" fmla="*/ 68389 h 136778"/>
                    <a:gd name="connsiteX3" fmla="*/ 98107 w 196214"/>
                    <a:gd name="connsiteY3" fmla="*/ 0 h 136778"/>
                    <a:gd name="connsiteX4" fmla="*/ 196215 w 196214"/>
                    <a:gd name="connsiteY4" fmla="*/ 68389 h 136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6214" h="136778">
                      <a:moveTo>
                        <a:pt x="196215" y="68389"/>
                      </a:moveTo>
                      <a:cubicBezTo>
                        <a:pt x="196215" y="106160"/>
                        <a:pt x="152291" y="136779"/>
                        <a:pt x="98107" y="136779"/>
                      </a:cubicBezTo>
                      <a:cubicBezTo>
                        <a:pt x="43924" y="136779"/>
                        <a:pt x="0" y="106160"/>
                        <a:pt x="0" y="68389"/>
                      </a:cubicBezTo>
                      <a:cubicBezTo>
                        <a:pt x="0" y="30619"/>
                        <a:pt x="43924" y="0"/>
                        <a:pt x="98107" y="0"/>
                      </a:cubicBezTo>
                      <a:cubicBezTo>
                        <a:pt x="152291" y="0"/>
                        <a:pt x="196215" y="30619"/>
                        <a:pt x="196215" y="68389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9" name="Freihandform: Form 118">
                  <a:extLst>
                    <a:ext uri="{FF2B5EF4-FFF2-40B4-BE49-F238E27FC236}">
                      <a16:creationId xmlns:a16="http://schemas.microsoft.com/office/drawing/2014/main" id="{13428BB7-5E8E-B0A7-C6E4-9F420DA2BFC4}"/>
                    </a:ext>
                  </a:extLst>
                </p:cNvPr>
                <p:cNvSpPr/>
                <p:nvPr/>
              </p:nvSpPr>
              <p:spPr>
                <a:xfrm rot="20184000">
                  <a:off x="9013384" y="7733298"/>
                  <a:ext cx="138112" cy="194310"/>
                </a:xfrm>
                <a:custGeom>
                  <a:avLst/>
                  <a:gdLst>
                    <a:gd name="connsiteX0" fmla="*/ 138113 w 138112"/>
                    <a:gd name="connsiteY0" fmla="*/ 97155 h 194310"/>
                    <a:gd name="connsiteX1" fmla="*/ 69056 w 138112"/>
                    <a:gd name="connsiteY1" fmla="*/ 194310 h 194310"/>
                    <a:gd name="connsiteX2" fmla="*/ 0 w 138112"/>
                    <a:gd name="connsiteY2" fmla="*/ 97155 h 194310"/>
                    <a:gd name="connsiteX3" fmla="*/ 69056 w 138112"/>
                    <a:gd name="connsiteY3" fmla="*/ 0 h 194310"/>
                    <a:gd name="connsiteX4" fmla="*/ 138113 w 138112"/>
                    <a:gd name="connsiteY4" fmla="*/ 97155 h 1943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8112" h="194310">
                      <a:moveTo>
                        <a:pt x="138113" y="97155"/>
                      </a:moveTo>
                      <a:cubicBezTo>
                        <a:pt x="138113" y="150812"/>
                        <a:pt x="107195" y="194310"/>
                        <a:pt x="69056" y="194310"/>
                      </a:cubicBezTo>
                      <a:cubicBezTo>
                        <a:pt x="30917" y="194310"/>
                        <a:pt x="0" y="150812"/>
                        <a:pt x="0" y="97155"/>
                      </a:cubicBezTo>
                      <a:cubicBezTo>
                        <a:pt x="0" y="43498"/>
                        <a:pt x="30917" y="0"/>
                        <a:pt x="69056" y="0"/>
                      </a:cubicBezTo>
                      <a:cubicBezTo>
                        <a:pt x="107195" y="0"/>
                        <a:pt x="138113" y="43498"/>
                        <a:pt x="138113" y="97155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0" name="Freihandform: Form 119">
                  <a:extLst>
                    <a:ext uri="{FF2B5EF4-FFF2-40B4-BE49-F238E27FC236}">
                      <a16:creationId xmlns:a16="http://schemas.microsoft.com/office/drawing/2014/main" id="{86E09787-667C-C4AE-0CE2-D1CF0CB94BBF}"/>
                    </a:ext>
                  </a:extLst>
                </p:cNvPr>
                <p:cNvSpPr/>
                <p:nvPr/>
              </p:nvSpPr>
              <p:spPr>
                <a:xfrm>
                  <a:off x="9023349" y="7397083"/>
                  <a:ext cx="538162" cy="562546"/>
                </a:xfrm>
                <a:custGeom>
                  <a:avLst/>
                  <a:gdLst>
                    <a:gd name="connsiteX0" fmla="*/ 538163 w 538162"/>
                    <a:gd name="connsiteY0" fmla="*/ 281273 h 562546"/>
                    <a:gd name="connsiteX1" fmla="*/ 269081 w 538162"/>
                    <a:gd name="connsiteY1" fmla="*/ 562547 h 562546"/>
                    <a:gd name="connsiteX2" fmla="*/ 0 w 538162"/>
                    <a:gd name="connsiteY2" fmla="*/ 281273 h 562546"/>
                    <a:gd name="connsiteX3" fmla="*/ 269081 w 538162"/>
                    <a:gd name="connsiteY3" fmla="*/ 0 h 562546"/>
                    <a:gd name="connsiteX4" fmla="*/ 538163 w 538162"/>
                    <a:gd name="connsiteY4" fmla="*/ 281273 h 562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8162" h="562546">
                      <a:moveTo>
                        <a:pt x="538163" y="281273"/>
                      </a:moveTo>
                      <a:cubicBezTo>
                        <a:pt x="538163" y="436616"/>
                        <a:pt x="417691" y="562547"/>
                        <a:pt x="269081" y="562547"/>
                      </a:cubicBezTo>
                      <a:cubicBezTo>
                        <a:pt x="120472" y="562547"/>
                        <a:pt x="0" y="436616"/>
                        <a:pt x="0" y="281273"/>
                      </a:cubicBezTo>
                      <a:cubicBezTo>
                        <a:pt x="0" y="125930"/>
                        <a:pt x="120472" y="0"/>
                        <a:pt x="269081" y="0"/>
                      </a:cubicBezTo>
                      <a:cubicBezTo>
                        <a:pt x="417691" y="0"/>
                        <a:pt x="538163" y="125930"/>
                        <a:pt x="538163" y="281273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1" name="Freihandform: Form 120">
                  <a:extLst>
                    <a:ext uri="{FF2B5EF4-FFF2-40B4-BE49-F238E27FC236}">
                      <a16:creationId xmlns:a16="http://schemas.microsoft.com/office/drawing/2014/main" id="{756205D1-73F1-86DC-6062-86338FFC72ED}"/>
                    </a:ext>
                  </a:extLst>
                </p:cNvPr>
                <p:cNvSpPr/>
                <p:nvPr/>
              </p:nvSpPr>
              <p:spPr>
                <a:xfrm>
                  <a:off x="9011639" y="7401845"/>
                  <a:ext cx="530631" cy="404621"/>
                </a:xfrm>
                <a:custGeom>
                  <a:avLst/>
                  <a:gdLst>
                    <a:gd name="connsiteX0" fmla="*/ 267647 w 530631"/>
                    <a:gd name="connsiteY0" fmla="*/ 127540 h 404621"/>
                    <a:gd name="connsiteX1" fmla="*/ 491770 w 530631"/>
                    <a:gd name="connsiteY1" fmla="*/ 404622 h 404621"/>
                    <a:gd name="connsiteX2" fmla="*/ 530632 w 530631"/>
                    <a:gd name="connsiteY2" fmla="*/ 281273 h 404621"/>
                    <a:gd name="connsiteX3" fmla="*/ 266408 w 530631"/>
                    <a:gd name="connsiteY3" fmla="*/ 0 h 404621"/>
                    <a:gd name="connsiteX4" fmla="*/ 87814 w 530631"/>
                    <a:gd name="connsiteY4" fmla="*/ 74009 h 404621"/>
                    <a:gd name="connsiteX5" fmla="*/ 54382 w 530631"/>
                    <a:gd name="connsiteY5" fmla="*/ 389858 h 404621"/>
                    <a:gd name="connsiteX6" fmla="*/ 267647 w 530631"/>
                    <a:gd name="connsiteY6" fmla="*/ 127540 h 4046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0631" h="404621">
                      <a:moveTo>
                        <a:pt x="267647" y="127540"/>
                      </a:moveTo>
                      <a:cubicBezTo>
                        <a:pt x="459099" y="139637"/>
                        <a:pt x="435572" y="297085"/>
                        <a:pt x="491770" y="404622"/>
                      </a:cubicBezTo>
                      <a:cubicBezTo>
                        <a:pt x="502343" y="374142"/>
                        <a:pt x="530632" y="315659"/>
                        <a:pt x="530632" y="281273"/>
                      </a:cubicBezTo>
                      <a:cubicBezTo>
                        <a:pt x="530632" y="125920"/>
                        <a:pt x="412331" y="0"/>
                        <a:pt x="266408" y="0"/>
                      </a:cubicBezTo>
                      <a:cubicBezTo>
                        <a:pt x="197543" y="0"/>
                        <a:pt x="134773" y="28004"/>
                        <a:pt x="87814" y="74009"/>
                      </a:cubicBezTo>
                      <a:cubicBezTo>
                        <a:pt x="17520" y="108204"/>
                        <a:pt x="-51250" y="297085"/>
                        <a:pt x="54382" y="389858"/>
                      </a:cubicBezTo>
                      <a:cubicBezTo>
                        <a:pt x="94958" y="311753"/>
                        <a:pt x="95244" y="116681"/>
                        <a:pt x="267647" y="12754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2" name="Freihandform: Form 121">
                  <a:extLst>
                    <a:ext uri="{FF2B5EF4-FFF2-40B4-BE49-F238E27FC236}">
                      <a16:creationId xmlns:a16="http://schemas.microsoft.com/office/drawing/2014/main" id="{9090493D-3C68-EA4D-35B5-667E293ADB14}"/>
                    </a:ext>
                  </a:extLst>
                </p:cNvPr>
                <p:cNvSpPr/>
                <p:nvPr/>
              </p:nvSpPr>
              <p:spPr>
                <a:xfrm>
                  <a:off x="9240995" y="7883810"/>
                  <a:ext cx="78793" cy="32099"/>
                </a:xfrm>
                <a:custGeom>
                  <a:avLst/>
                  <a:gdLst>
                    <a:gd name="connsiteX0" fmla="*/ 1143 w 78793"/>
                    <a:gd name="connsiteY0" fmla="*/ 0 h 32099"/>
                    <a:gd name="connsiteX1" fmla="*/ 35814 w 78793"/>
                    <a:gd name="connsiteY1" fmla="*/ 10573 h 32099"/>
                    <a:gd name="connsiteX2" fmla="*/ 77820 w 78793"/>
                    <a:gd name="connsiteY2" fmla="*/ 0 h 32099"/>
                    <a:gd name="connsiteX3" fmla="*/ 77820 w 78793"/>
                    <a:gd name="connsiteY3" fmla="*/ 9239 h 32099"/>
                    <a:gd name="connsiteX4" fmla="*/ 37148 w 78793"/>
                    <a:gd name="connsiteY4" fmla="*/ 32099 h 32099"/>
                    <a:gd name="connsiteX5" fmla="*/ 1143 w 78793"/>
                    <a:gd name="connsiteY5" fmla="*/ 10192 h 32099"/>
                    <a:gd name="connsiteX6" fmla="*/ 1143 w 78793"/>
                    <a:gd name="connsiteY6" fmla="*/ 95 h 32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8793" h="32099">
                      <a:moveTo>
                        <a:pt x="1143" y="0"/>
                      </a:moveTo>
                      <a:cubicBezTo>
                        <a:pt x="1143" y="0"/>
                        <a:pt x="11049" y="10573"/>
                        <a:pt x="35814" y="10573"/>
                      </a:cubicBezTo>
                      <a:cubicBezTo>
                        <a:pt x="67152" y="10573"/>
                        <a:pt x="77820" y="0"/>
                        <a:pt x="77820" y="0"/>
                      </a:cubicBezTo>
                      <a:cubicBezTo>
                        <a:pt x="77820" y="0"/>
                        <a:pt x="80010" y="3143"/>
                        <a:pt x="77820" y="9239"/>
                      </a:cubicBezTo>
                      <a:cubicBezTo>
                        <a:pt x="76295" y="13525"/>
                        <a:pt x="62675" y="32099"/>
                        <a:pt x="37148" y="32099"/>
                      </a:cubicBezTo>
                      <a:cubicBezTo>
                        <a:pt x="17240" y="32099"/>
                        <a:pt x="3715" y="16383"/>
                        <a:pt x="1143" y="10192"/>
                      </a:cubicBezTo>
                      <a:cubicBezTo>
                        <a:pt x="-1429" y="4000"/>
                        <a:pt x="1143" y="95"/>
                        <a:pt x="1143" y="95"/>
                      </a:cubicBezTo>
                      <a:close/>
                    </a:path>
                  </a:pathLst>
                </a:custGeom>
                <a:solidFill>
                  <a:srgbClr val="4B2E1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3" name="Freihandform: Form 122">
                  <a:extLst>
                    <a:ext uri="{FF2B5EF4-FFF2-40B4-BE49-F238E27FC236}">
                      <a16:creationId xmlns:a16="http://schemas.microsoft.com/office/drawing/2014/main" id="{49C62122-9D11-E523-71B2-7013062F6D39}"/>
                    </a:ext>
                  </a:extLst>
                </p:cNvPr>
                <p:cNvSpPr/>
                <p:nvPr/>
              </p:nvSpPr>
              <p:spPr>
                <a:xfrm>
                  <a:off x="9312056" y="7699025"/>
                  <a:ext cx="140203" cy="47053"/>
                </a:xfrm>
                <a:custGeom>
                  <a:avLst/>
                  <a:gdLst>
                    <a:gd name="connsiteX0" fmla="*/ 109438 w 140203"/>
                    <a:gd name="connsiteY0" fmla="*/ 17716 h 47053"/>
                    <a:gd name="connsiteX1" fmla="*/ 55812 w 140203"/>
                    <a:gd name="connsiteY1" fmla="*/ 762 h 47053"/>
                    <a:gd name="connsiteX2" fmla="*/ 55812 w 140203"/>
                    <a:gd name="connsiteY2" fmla="*/ 762 h 47053"/>
                    <a:gd name="connsiteX3" fmla="*/ 7711 w 140203"/>
                    <a:gd name="connsiteY3" fmla="*/ 6191 h 47053"/>
                    <a:gd name="connsiteX4" fmla="*/ 4282 w 140203"/>
                    <a:gd name="connsiteY4" fmla="*/ 8858 h 47053"/>
                    <a:gd name="connsiteX5" fmla="*/ 13902 w 140203"/>
                    <a:gd name="connsiteY5" fmla="*/ 33242 h 47053"/>
                    <a:gd name="connsiteX6" fmla="*/ 41239 w 140203"/>
                    <a:gd name="connsiteY6" fmla="*/ 30766 h 47053"/>
                    <a:gd name="connsiteX7" fmla="*/ 105533 w 140203"/>
                    <a:gd name="connsiteY7" fmla="*/ 34480 h 47053"/>
                    <a:gd name="connsiteX8" fmla="*/ 140204 w 140203"/>
                    <a:gd name="connsiteY8" fmla="*/ 47053 h 47053"/>
                    <a:gd name="connsiteX9" fmla="*/ 109438 w 140203"/>
                    <a:gd name="connsiteY9" fmla="*/ 17716 h 4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0203" h="47053">
                      <a:moveTo>
                        <a:pt x="109438" y="17716"/>
                      </a:moveTo>
                      <a:cubicBezTo>
                        <a:pt x="90864" y="5905"/>
                        <a:pt x="70671" y="1429"/>
                        <a:pt x="55812" y="762"/>
                      </a:cubicBezTo>
                      <a:lnTo>
                        <a:pt x="55812" y="762"/>
                      </a:lnTo>
                      <a:cubicBezTo>
                        <a:pt x="30285" y="-1810"/>
                        <a:pt x="13236" y="2667"/>
                        <a:pt x="7711" y="6191"/>
                      </a:cubicBezTo>
                      <a:cubicBezTo>
                        <a:pt x="6377" y="7048"/>
                        <a:pt x="5234" y="7906"/>
                        <a:pt x="4282" y="8858"/>
                      </a:cubicBezTo>
                      <a:cubicBezTo>
                        <a:pt x="-4862" y="17526"/>
                        <a:pt x="1710" y="33623"/>
                        <a:pt x="13902" y="33242"/>
                      </a:cubicBezTo>
                      <a:cubicBezTo>
                        <a:pt x="19522" y="33147"/>
                        <a:pt x="33333" y="31528"/>
                        <a:pt x="41239" y="30766"/>
                      </a:cubicBezTo>
                      <a:cubicBezTo>
                        <a:pt x="55050" y="29337"/>
                        <a:pt x="94293" y="31432"/>
                        <a:pt x="105533" y="34480"/>
                      </a:cubicBezTo>
                      <a:cubicBezTo>
                        <a:pt x="127536" y="40481"/>
                        <a:pt x="140204" y="47053"/>
                        <a:pt x="140204" y="47053"/>
                      </a:cubicBezTo>
                      <a:cubicBezTo>
                        <a:pt x="140204" y="47053"/>
                        <a:pt x="134203" y="33528"/>
                        <a:pt x="109438" y="1771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4" name="Freihandform: Form 123">
                  <a:extLst>
                    <a:ext uri="{FF2B5EF4-FFF2-40B4-BE49-F238E27FC236}">
                      <a16:creationId xmlns:a16="http://schemas.microsoft.com/office/drawing/2014/main" id="{69631DEF-C31A-2B50-2720-80AF17A1E993}"/>
                    </a:ext>
                  </a:extLst>
                </p:cNvPr>
                <p:cNvSpPr/>
                <p:nvPr/>
              </p:nvSpPr>
              <p:spPr>
                <a:xfrm rot="16434000">
                  <a:off x="9156216" y="7772737"/>
                  <a:ext cx="40385" cy="37909"/>
                </a:xfrm>
                <a:custGeom>
                  <a:avLst/>
                  <a:gdLst>
                    <a:gd name="connsiteX0" fmla="*/ 40386 w 40385"/>
                    <a:gd name="connsiteY0" fmla="*/ 18955 h 37909"/>
                    <a:gd name="connsiteX1" fmla="*/ 20193 w 40385"/>
                    <a:gd name="connsiteY1" fmla="*/ 37910 h 37909"/>
                    <a:gd name="connsiteX2" fmla="*/ 0 w 40385"/>
                    <a:gd name="connsiteY2" fmla="*/ 18955 h 37909"/>
                    <a:gd name="connsiteX3" fmla="*/ 20193 w 40385"/>
                    <a:gd name="connsiteY3" fmla="*/ 0 h 37909"/>
                    <a:gd name="connsiteX4" fmla="*/ 40386 w 40385"/>
                    <a:gd name="connsiteY4" fmla="*/ 18955 h 37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385" h="37909">
                      <a:moveTo>
                        <a:pt x="40386" y="18955"/>
                      </a:moveTo>
                      <a:cubicBezTo>
                        <a:pt x="40386" y="29423"/>
                        <a:pt x="31345" y="37910"/>
                        <a:pt x="20193" y="37910"/>
                      </a:cubicBezTo>
                      <a:cubicBezTo>
                        <a:pt x="9041" y="37910"/>
                        <a:pt x="0" y="29423"/>
                        <a:pt x="0" y="18955"/>
                      </a:cubicBezTo>
                      <a:cubicBezTo>
                        <a:pt x="0" y="8486"/>
                        <a:pt x="9041" y="0"/>
                        <a:pt x="20193" y="0"/>
                      </a:cubicBezTo>
                      <a:cubicBezTo>
                        <a:pt x="31345" y="0"/>
                        <a:pt x="40386" y="8486"/>
                        <a:pt x="40386" y="18955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5" name="Freihandform: Form 124">
                  <a:extLst>
                    <a:ext uri="{FF2B5EF4-FFF2-40B4-BE49-F238E27FC236}">
                      <a16:creationId xmlns:a16="http://schemas.microsoft.com/office/drawing/2014/main" id="{EBE8FCDB-262D-14AC-1E63-1E90EE200942}"/>
                    </a:ext>
                  </a:extLst>
                </p:cNvPr>
                <p:cNvSpPr/>
                <p:nvPr/>
              </p:nvSpPr>
              <p:spPr>
                <a:xfrm>
                  <a:off x="9106502" y="7700645"/>
                  <a:ext cx="140013" cy="47053"/>
                </a:xfrm>
                <a:custGeom>
                  <a:avLst/>
                  <a:gdLst>
                    <a:gd name="connsiteX0" fmla="*/ 30766 w 140013"/>
                    <a:gd name="connsiteY0" fmla="*/ 17716 h 47053"/>
                    <a:gd name="connsiteX1" fmla="*/ 84297 w 140013"/>
                    <a:gd name="connsiteY1" fmla="*/ 762 h 47053"/>
                    <a:gd name="connsiteX2" fmla="*/ 84297 w 140013"/>
                    <a:gd name="connsiteY2" fmla="*/ 762 h 47053"/>
                    <a:gd name="connsiteX3" fmla="*/ 132302 w 140013"/>
                    <a:gd name="connsiteY3" fmla="*/ 6191 h 47053"/>
                    <a:gd name="connsiteX4" fmla="*/ 135731 w 140013"/>
                    <a:gd name="connsiteY4" fmla="*/ 8858 h 47053"/>
                    <a:gd name="connsiteX5" fmla="*/ 126111 w 140013"/>
                    <a:gd name="connsiteY5" fmla="*/ 33242 h 47053"/>
                    <a:gd name="connsiteX6" fmla="*/ 98774 w 140013"/>
                    <a:gd name="connsiteY6" fmla="*/ 30766 h 47053"/>
                    <a:gd name="connsiteX7" fmla="*/ 34576 w 140013"/>
                    <a:gd name="connsiteY7" fmla="*/ 34480 h 47053"/>
                    <a:gd name="connsiteX8" fmla="*/ 0 w 140013"/>
                    <a:gd name="connsiteY8" fmla="*/ 47053 h 47053"/>
                    <a:gd name="connsiteX9" fmla="*/ 30766 w 140013"/>
                    <a:gd name="connsiteY9" fmla="*/ 17716 h 4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0013" h="47053">
                      <a:moveTo>
                        <a:pt x="30766" y="17716"/>
                      </a:moveTo>
                      <a:cubicBezTo>
                        <a:pt x="49339" y="5905"/>
                        <a:pt x="69438" y="1429"/>
                        <a:pt x="84297" y="762"/>
                      </a:cubicBezTo>
                      <a:lnTo>
                        <a:pt x="84297" y="762"/>
                      </a:lnTo>
                      <a:cubicBezTo>
                        <a:pt x="109824" y="-1810"/>
                        <a:pt x="126778" y="2667"/>
                        <a:pt x="132302" y="6191"/>
                      </a:cubicBezTo>
                      <a:cubicBezTo>
                        <a:pt x="133636" y="7048"/>
                        <a:pt x="134684" y="7906"/>
                        <a:pt x="135731" y="8858"/>
                      </a:cubicBezTo>
                      <a:cubicBezTo>
                        <a:pt x="144875" y="17526"/>
                        <a:pt x="138303" y="33623"/>
                        <a:pt x="126111" y="33242"/>
                      </a:cubicBezTo>
                      <a:cubicBezTo>
                        <a:pt x="120491" y="33147"/>
                        <a:pt x="106680" y="31528"/>
                        <a:pt x="98774" y="30766"/>
                      </a:cubicBezTo>
                      <a:cubicBezTo>
                        <a:pt x="84963" y="29337"/>
                        <a:pt x="45815" y="31432"/>
                        <a:pt x="34576" y="34480"/>
                      </a:cubicBezTo>
                      <a:cubicBezTo>
                        <a:pt x="12573" y="40481"/>
                        <a:pt x="0" y="47053"/>
                        <a:pt x="0" y="47053"/>
                      </a:cubicBezTo>
                      <a:cubicBezTo>
                        <a:pt x="0" y="47053"/>
                        <a:pt x="6001" y="33528"/>
                        <a:pt x="30766" y="1771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6" name="Freihandform: Form 125">
                  <a:extLst>
                    <a:ext uri="{FF2B5EF4-FFF2-40B4-BE49-F238E27FC236}">
                      <a16:creationId xmlns:a16="http://schemas.microsoft.com/office/drawing/2014/main" id="{19DC9FEE-20FB-D943-234A-744DBB1ACDEE}"/>
                    </a:ext>
                  </a:extLst>
                </p:cNvPr>
                <p:cNvSpPr/>
                <p:nvPr/>
              </p:nvSpPr>
              <p:spPr>
                <a:xfrm>
                  <a:off x="9123564" y="7762192"/>
                  <a:ext cx="103635" cy="27457"/>
                </a:xfrm>
                <a:custGeom>
                  <a:avLst/>
                  <a:gdLst>
                    <a:gd name="connsiteX0" fmla="*/ 3227 w 103635"/>
                    <a:gd name="connsiteY0" fmla="*/ 17795 h 27457"/>
                    <a:gd name="connsiteX1" fmla="*/ 46185 w 103635"/>
                    <a:gd name="connsiteY1" fmla="*/ 174 h 27457"/>
                    <a:gd name="connsiteX2" fmla="*/ 101239 w 103635"/>
                    <a:gd name="connsiteY2" fmla="*/ 17509 h 27457"/>
                    <a:gd name="connsiteX3" fmla="*/ 97905 w 103635"/>
                    <a:gd name="connsiteY3" fmla="*/ 26939 h 27457"/>
                    <a:gd name="connsiteX4" fmla="*/ 54281 w 103635"/>
                    <a:gd name="connsiteY4" fmla="*/ 11699 h 27457"/>
                    <a:gd name="connsiteX5" fmla="*/ 10847 w 103635"/>
                    <a:gd name="connsiteY5" fmla="*/ 21415 h 27457"/>
                    <a:gd name="connsiteX6" fmla="*/ 1322 w 103635"/>
                    <a:gd name="connsiteY6" fmla="*/ 25606 h 27457"/>
                    <a:gd name="connsiteX7" fmla="*/ 3417 w 103635"/>
                    <a:gd name="connsiteY7" fmla="*/ 17795 h 274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3635" h="27457">
                      <a:moveTo>
                        <a:pt x="3227" y="17795"/>
                      </a:moveTo>
                      <a:cubicBezTo>
                        <a:pt x="7989" y="12938"/>
                        <a:pt x="23896" y="1412"/>
                        <a:pt x="46185" y="174"/>
                      </a:cubicBezTo>
                      <a:cubicBezTo>
                        <a:pt x="76569" y="-1541"/>
                        <a:pt x="94000" y="9794"/>
                        <a:pt x="101239" y="17509"/>
                      </a:cubicBezTo>
                      <a:cubicBezTo>
                        <a:pt x="106478" y="23034"/>
                        <a:pt x="102096" y="29321"/>
                        <a:pt x="97905" y="26939"/>
                      </a:cubicBezTo>
                      <a:cubicBezTo>
                        <a:pt x="86952" y="20748"/>
                        <a:pt x="81046" y="14843"/>
                        <a:pt x="54281" y="11699"/>
                      </a:cubicBezTo>
                      <a:cubicBezTo>
                        <a:pt x="35517" y="9413"/>
                        <a:pt x="17705" y="17605"/>
                        <a:pt x="10847" y="21415"/>
                      </a:cubicBezTo>
                      <a:cubicBezTo>
                        <a:pt x="5608" y="24368"/>
                        <a:pt x="2941" y="26844"/>
                        <a:pt x="1322" y="25606"/>
                      </a:cubicBezTo>
                      <a:cubicBezTo>
                        <a:pt x="-1631" y="23415"/>
                        <a:pt x="941" y="20272"/>
                        <a:pt x="3417" y="17795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7" name="Freihandform: Form 126">
                  <a:extLst>
                    <a:ext uri="{FF2B5EF4-FFF2-40B4-BE49-F238E27FC236}">
                      <a16:creationId xmlns:a16="http://schemas.microsoft.com/office/drawing/2014/main" id="{22C5B982-9729-1B85-E5E7-FCE6891A7C42}"/>
                    </a:ext>
                  </a:extLst>
                </p:cNvPr>
                <p:cNvSpPr/>
                <p:nvPr/>
              </p:nvSpPr>
              <p:spPr>
                <a:xfrm rot="21366000">
                  <a:off x="9358240" y="7771675"/>
                  <a:ext cx="37909" cy="40385"/>
                </a:xfrm>
                <a:custGeom>
                  <a:avLst/>
                  <a:gdLst>
                    <a:gd name="connsiteX0" fmla="*/ 37910 w 37909"/>
                    <a:gd name="connsiteY0" fmla="*/ 20193 h 40385"/>
                    <a:gd name="connsiteX1" fmla="*/ 18955 w 37909"/>
                    <a:gd name="connsiteY1" fmla="*/ 40386 h 40385"/>
                    <a:gd name="connsiteX2" fmla="*/ 0 w 37909"/>
                    <a:gd name="connsiteY2" fmla="*/ 20193 h 40385"/>
                    <a:gd name="connsiteX3" fmla="*/ 18955 w 37909"/>
                    <a:gd name="connsiteY3" fmla="*/ 0 h 40385"/>
                    <a:gd name="connsiteX4" fmla="*/ 37910 w 37909"/>
                    <a:gd name="connsiteY4" fmla="*/ 20193 h 40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7909" h="40385">
                      <a:moveTo>
                        <a:pt x="37910" y="20193"/>
                      </a:moveTo>
                      <a:cubicBezTo>
                        <a:pt x="37910" y="31345"/>
                        <a:pt x="29424" y="40386"/>
                        <a:pt x="18955" y="40386"/>
                      </a:cubicBezTo>
                      <a:cubicBezTo>
                        <a:pt x="8486" y="40386"/>
                        <a:pt x="0" y="31345"/>
                        <a:pt x="0" y="20193"/>
                      </a:cubicBezTo>
                      <a:cubicBezTo>
                        <a:pt x="0" y="9041"/>
                        <a:pt x="8486" y="0"/>
                        <a:pt x="18955" y="0"/>
                      </a:cubicBezTo>
                      <a:cubicBezTo>
                        <a:pt x="29424" y="0"/>
                        <a:pt x="37910" y="9041"/>
                        <a:pt x="37910" y="20193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8" name="Freihandform: Form 127">
                  <a:extLst>
                    <a:ext uri="{FF2B5EF4-FFF2-40B4-BE49-F238E27FC236}">
                      <a16:creationId xmlns:a16="http://schemas.microsoft.com/office/drawing/2014/main" id="{6FC37FC6-F10A-4C8C-D3CB-FE929BFB1478}"/>
                    </a:ext>
                  </a:extLst>
                </p:cNvPr>
                <p:cNvSpPr/>
                <p:nvPr/>
              </p:nvSpPr>
              <p:spPr>
                <a:xfrm>
                  <a:off x="9326515" y="7762192"/>
                  <a:ext cx="103634" cy="27457"/>
                </a:xfrm>
                <a:custGeom>
                  <a:avLst/>
                  <a:gdLst>
                    <a:gd name="connsiteX0" fmla="*/ 100408 w 103634"/>
                    <a:gd name="connsiteY0" fmla="*/ 17795 h 27457"/>
                    <a:gd name="connsiteX1" fmla="*/ 57450 w 103634"/>
                    <a:gd name="connsiteY1" fmla="*/ 174 h 27457"/>
                    <a:gd name="connsiteX2" fmla="*/ 2396 w 103634"/>
                    <a:gd name="connsiteY2" fmla="*/ 17509 h 27457"/>
                    <a:gd name="connsiteX3" fmla="*/ 5730 w 103634"/>
                    <a:gd name="connsiteY3" fmla="*/ 26939 h 27457"/>
                    <a:gd name="connsiteX4" fmla="*/ 49354 w 103634"/>
                    <a:gd name="connsiteY4" fmla="*/ 11699 h 27457"/>
                    <a:gd name="connsiteX5" fmla="*/ 92788 w 103634"/>
                    <a:gd name="connsiteY5" fmla="*/ 21415 h 27457"/>
                    <a:gd name="connsiteX6" fmla="*/ 102313 w 103634"/>
                    <a:gd name="connsiteY6" fmla="*/ 25606 h 27457"/>
                    <a:gd name="connsiteX7" fmla="*/ 100218 w 103634"/>
                    <a:gd name="connsiteY7" fmla="*/ 17795 h 274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3634" h="27457">
                      <a:moveTo>
                        <a:pt x="100408" y="17795"/>
                      </a:moveTo>
                      <a:cubicBezTo>
                        <a:pt x="95646" y="12938"/>
                        <a:pt x="79739" y="1412"/>
                        <a:pt x="57450" y="174"/>
                      </a:cubicBezTo>
                      <a:cubicBezTo>
                        <a:pt x="27066" y="-1541"/>
                        <a:pt x="9635" y="9794"/>
                        <a:pt x="2396" y="17509"/>
                      </a:cubicBezTo>
                      <a:cubicBezTo>
                        <a:pt x="-2842" y="23034"/>
                        <a:pt x="1539" y="29321"/>
                        <a:pt x="5730" y="26939"/>
                      </a:cubicBezTo>
                      <a:cubicBezTo>
                        <a:pt x="16684" y="20748"/>
                        <a:pt x="22589" y="14843"/>
                        <a:pt x="49354" y="11699"/>
                      </a:cubicBezTo>
                      <a:cubicBezTo>
                        <a:pt x="68118" y="9413"/>
                        <a:pt x="85930" y="17605"/>
                        <a:pt x="92788" y="21415"/>
                      </a:cubicBezTo>
                      <a:cubicBezTo>
                        <a:pt x="98027" y="24368"/>
                        <a:pt x="100694" y="26844"/>
                        <a:pt x="102313" y="25606"/>
                      </a:cubicBezTo>
                      <a:cubicBezTo>
                        <a:pt x="105266" y="23415"/>
                        <a:pt x="102694" y="20272"/>
                        <a:pt x="100218" y="17795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9" name="Freihandform: Form 128">
                  <a:extLst>
                    <a:ext uri="{FF2B5EF4-FFF2-40B4-BE49-F238E27FC236}">
                      <a16:creationId xmlns:a16="http://schemas.microsoft.com/office/drawing/2014/main" id="{FC4B430F-F670-E1E8-527B-F83C3610805E}"/>
                    </a:ext>
                  </a:extLst>
                </p:cNvPr>
                <p:cNvSpPr/>
                <p:nvPr/>
              </p:nvSpPr>
              <p:spPr>
                <a:xfrm>
                  <a:off x="9123366" y="7360423"/>
                  <a:ext cx="508630" cy="429280"/>
                </a:xfrm>
                <a:custGeom>
                  <a:avLst/>
                  <a:gdLst>
                    <a:gd name="connsiteX0" fmla="*/ 91 w 508630"/>
                    <a:gd name="connsiteY0" fmla="*/ 94667 h 429280"/>
                    <a:gd name="connsiteX1" fmla="*/ 318131 w 508630"/>
                    <a:gd name="connsiteY1" fmla="*/ 352223 h 429280"/>
                    <a:gd name="connsiteX2" fmla="*/ 508631 w 508630"/>
                    <a:gd name="connsiteY2" fmla="*/ 429281 h 429280"/>
                    <a:gd name="connsiteX3" fmla="*/ 449956 w 508630"/>
                    <a:gd name="connsiteY3" fmla="*/ 231446 h 429280"/>
                    <a:gd name="connsiteX4" fmla="*/ 91 w 508630"/>
                    <a:gd name="connsiteY4" fmla="*/ 94667 h 429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8630" h="429280">
                      <a:moveTo>
                        <a:pt x="91" y="94667"/>
                      </a:moveTo>
                      <a:cubicBezTo>
                        <a:pt x="-4576" y="204586"/>
                        <a:pt x="171731" y="297931"/>
                        <a:pt x="318131" y="352223"/>
                      </a:cubicBezTo>
                      <a:cubicBezTo>
                        <a:pt x="464530" y="406516"/>
                        <a:pt x="508631" y="429281"/>
                        <a:pt x="508631" y="429281"/>
                      </a:cubicBezTo>
                      <a:cubicBezTo>
                        <a:pt x="508631" y="429281"/>
                        <a:pt x="454338" y="371464"/>
                        <a:pt x="449956" y="231446"/>
                      </a:cubicBezTo>
                      <a:cubicBezTo>
                        <a:pt x="445003" y="73236"/>
                        <a:pt x="191067" y="-118597"/>
                        <a:pt x="91" y="94667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130" name="Grafik 23">
                  <a:extLst>
                    <a:ext uri="{FF2B5EF4-FFF2-40B4-BE49-F238E27FC236}">
                      <a16:creationId xmlns:a16="http://schemas.microsoft.com/office/drawing/2014/main" id="{AFE154A5-8EF4-98B5-F5D2-6D37BFEAEA70}"/>
                    </a:ext>
                  </a:extLst>
                </p:cNvPr>
                <p:cNvGrpSpPr/>
                <p:nvPr/>
              </p:nvGrpSpPr>
              <p:grpSpPr>
                <a:xfrm>
                  <a:off x="8395080" y="9884441"/>
                  <a:ext cx="234464" cy="670178"/>
                  <a:chOff x="8395080" y="3305841"/>
                  <a:chExt cx="234464" cy="670178"/>
                </a:xfrm>
                <a:solidFill>
                  <a:srgbClr val="8A5942"/>
                </a:solidFill>
              </p:grpSpPr>
              <p:sp>
                <p:nvSpPr>
                  <p:cNvPr id="131" name="Freihandform: Form 130">
                    <a:extLst>
                      <a:ext uri="{FF2B5EF4-FFF2-40B4-BE49-F238E27FC236}">
                        <a16:creationId xmlns:a16="http://schemas.microsoft.com/office/drawing/2014/main" id="{4E59A560-B845-0F99-D595-A32B432DD518}"/>
                      </a:ext>
                    </a:extLst>
                  </p:cNvPr>
                  <p:cNvSpPr/>
                  <p:nvPr/>
                </p:nvSpPr>
                <p:spPr>
                  <a:xfrm>
                    <a:off x="8433275" y="3305841"/>
                    <a:ext cx="191738" cy="211264"/>
                  </a:xfrm>
                  <a:custGeom>
                    <a:avLst/>
                    <a:gdLst>
                      <a:gd name="connsiteX0" fmla="*/ 95 w 191738"/>
                      <a:gd name="connsiteY0" fmla="*/ 0 h 211264"/>
                      <a:gd name="connsiteX1" fmla="*/ 21431 w 191738"/>
                      <a:gd name="connsiteY1" fmla="*/ 211264 h 211264"/>
                      <a:gd name="connsiteX2" fmla="*/ 156782 w 191738"/>
                      <a:gd name="connsiteY2" fmla="*/ 200406 h 211264"/>
                      <a:gd name="connsiteX3" fmla="*/ 191738 w 191738"/>
                      <a:gd name="connsiteY3" fmla="*/ 10763 h 211264"/>
                      <a:gd name="connsiteX4" fmla="*/ 0 w 191738"/>
                      <a:gd name="connsiteY4" fmla="*/ 0 h 2112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1738" h="211264">
                        <a:moveTo>
                          <a:pt x="95" y="0"/>
                        </a:moveTo>
                        <a:cubicBezTo>
                          <a:pt x="5239" y="79629"/>
                          <a:pt x="13525" y="148495"/>
                          <a:pt x="21431" y="211264"/>
                        </a:cubicBezTo>
                        <a:lnTo>
                          <a:pt x="156782" y="200406"/>
                        </a:lnTo>
                        <a:cubicBezTo>
                          <a:pt x="156782" y="200406"/>
                          <a:pt x="172212" y="119158"/>
                          <a:pt x="191738" y="10763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132" name="Grafik 23">
                    <a:extLst>
                      <a:ext uri="{FF2B5EF4-FFF2-40B4-BE49-F238E27FC236}">
                        <a16:creationId xmlns:a16="http://schemas.microsoft.com/office/drawing/2014/main" id="{672348D4-031B-83BE-F823-0237FCED8900}"/>
                      </a:ext>
                    </a:extLst>
                  </p:cNvPr>
                  <p:cNvGrpSpPr/>
                  <p:nvPr/>
                </p:nvGrpSpPr>
                <p:grpSpPr>
                  <a:xfrm>
                    <a:off x="8395080" y="3436239"/>
                    <a:ext cx="234464" cy="539781"/>
                    <a:chOff x="8395080" y="3436239"/>
                    <a:chExt cx="234464" cy="539781"/>
                  </a:xfrm>
                  <a:solidFill>
                    <a:srgbClr val="8A5942"/>
                  </a:solidFill>
                </p:grpSpPr>
                <p:sp>
                  <p:nvSpPr>
                    <p:cNvPr id="133" name="Freihandform: Form 132">
                      <a:extLst>
                        <a:ext uri="{FF2B5EF4-FFF2-40B4-BE49-F238E27FC236}">
                          <a16:creationId xmlns:a16="http://schemas.microsoft.com/office/drawing/2014/main" id="{7084E740-C481-911C-7A96-6CDB4A77575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66681" y="3802691"/>
                      <a:ext cx="54546" cy="83127"/>
                    </a:xfrm>
                    <a:custGeom>
                      <a:avLst/>
                      <a:gdLst>
                        <a:gd name="connsiteX0" fmla="*/ 47557 w 54546"/>
                        <a:gd name="connsiteY0" fmla="*/ 83128 h 83127"/>
                        <a:gd name="connsiteX1" fmla="*/ 13648 w 54546"/>
                        <a:gd name="connsiteY1" fmla="*/ 55791 h 83127"/>
                        <a:gd name="connsiteX2" fmla="*/ 2885 w 54546"/>
                        <a:gd name="connsiteY2" fmla="*/ 9595 h 83127"/>
                        <a:gd name="connsiteX3" fmla="*/ 7838 w 54546"/>
                        <a:gd name="connsiteY3" fmla="*/ 70 h 83127"/>
                        <a:gd name="connsiteX4" fmla="*/ 43747 w 54546"/>
                        <a:gd name="connsiteY4" fmla="*/ 39694 h 83127"/>
                        <a:gd name="connsiteX5" fmla="*/ 47557 w 54546"/>
                        <a:gd name="connsiteY5" fmla="*/ 83128 h 83127"/>
                        <a:gd name="connsiteX6" fmla="*/ 47557 w 54546"/>
                        <a:gd name="connsiteY6" fmla="*/ 83128 h 831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54546" h="83127">
                          <a:moveTo>
                            <a:pt x="47557" y="83128"/>
                          </a:moveTo>
                          <a:lnTo>
                            <a:pt x="13648" y="55791"/>
                          </a:lnTo>
                          <a:cubicBezTo>
                            <a:pt x="979" y="45218"/>
                            <a:pt x="-3497" y="28264"/>
                            <a:pt x="2885" y="9595"/>
                          </a:cubicBezTo>
                          <a:cubicBezTo>
                            <a:pt x="4980" y="3594"/>
                            <a:pt x="6790" y="-597"/>
                            <a:pt x="7838" y="70"/>
                          </a:cubicBezTo>
                          <a:cubicBezTo>
                            <a:pt x="9743" y="1499"/>
                            <a:pt x="25173" y="18262"/>
                            <a:pt x="43747" y="39694"/>
                          </a:cubicBezTo>
                          <a:cubicBezTo>
                            <a:pt x="55463" y="53219"/>
                            <a:pt x="58987" y="64744"/>
                            <a:pt x="47557" y="83128"/>
                          </a:cubicBezTo>
                          <a:lnTo>
                            <a:pt x="47557" y="83128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4" name="Freihandform: Form 133">
                      <a:extLst>
                        <a:ext uri="{FF2B5EF4-FFF2-40B4-BE49-F238E27FC236}">
                          <a16:creationId xmlns:a16="http://schemas.microsoft.com/office/drawing/2014/main" id="{F7BDB574-4460-98DE-95DB-12095F3D45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19369" y="3769457"/>
                      <a:ext cx="73352" cy="89024"/>
                    </a:xfrm>
                    <a:custGeom>
                      <a:avLst/>
                      <a:gdLst>
                        <a:gd name="connsiteX0" fmla="*/ 60960 w 73352"/>
                        <a:gd name="connsiteY0" fmla="*/ 89025 h 89024"/>
                        <a:gd name="connsiteX1" fmla="*/ 9525 w 73352"/>
                        <a:gd name="connsiteY1" fmla="*/ 44448 h 89024"/>
                        <a:gd name="connsiteX2" fmla="*/ 0 w 73352"/>
                        <a:gd name="connsiteY2" fmla="*/ 31494 h 89024"/>
                        <a:gd name="connsiteX3" fmla="*/ 40291 w 73352"/>
                        <a:gd name="connsiteY3" fmla="*/ 537 h 89024"/>
                        <a:gd name="connsiteX4" fmla="*/ 66675 w 73352"/>
                        <a:gd name="connsiteY4" fmla="*/ 44829 h 89024"/>
                        <a:gd name="connsiteX5" fmla="*/ 60864 w 73352"/>
                        <a:gd name="connsiteY5" fmla="*/ 89025 h 89024"/>
                        <a:gd name="connsiteX6" fmla="*/ 60864 w 73352"/>
                        <a:gd name="connsiteY6" fmla="*/ 89025 h 8902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73352" h="89024">
                          <a:moveTo>
                            <a:pt x="60960" y="89025"/>
                          </a:moveTo>
                          <a:lnTo>
                            <a:pt x="9525" y="44448"/>
                          </a:lnTo>
                          <a:cubicBezTo>
                            <a:pt x="3334" y="38637"/>
                            <a:pt x="1524" y="34446"/>
                            <a:pt x="0" y="31494"/>
                          </a:cubicBezTo>
                          <a:cubicBezTo>
                            <a:pt x="1048" y="12063"/>
                            <a:pt x="25432" y="-3082"/>
                            <a:pt x="40291" y="537"/>
                          </a:cubicBezTo>
                          <a:lnTo>
                            <a:pt x="66675" y="44829"/>
                          </a:lnTo>
                          <a:cubicBezTo>
                            <a:pt x="78105" y="57307"/>
                            <a:pt x="74009" y="72261"/>
                            <a:pt x="60864" y="89025"/>
                          </a:cubicBezTo>
                          <a:lnTo>
                            <a:pt x="60864" y="89025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5" name="Freihandform: Form 134">
                      <a:extLst>
                        <a:ext uri="{FF2B5EF4-FFF2-40B4-BE49-F238E27FC236}">
                          <a16:creationId xmlns:a16="http://schemas.microsoft.com/office/drawing/2014/main" id="{AD5B7AA4-2FB0-32DC-2659-15DBD0AAB03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55898" y="3838165"/>
                      <a:ext cx="63906" cy="105660"/>
                    </a:xfrm>
                    <a:custGeom>
                      <a:avLst/>
                      <a:gdLst>
                        <a:gd name="connsiteX0" fmla="*/ 55673 w 63906"/>
                        <a:gd name="connsiteY0" fmla="*/ 105660 h 105660"/>
                        <a:gd name="connsiteX1" fmla="*/ 15954 w 63906"/>
                        <a:gd name="connsiteY1" fmla="*/ 67179 h 105660"/>
                        <a:gd name="connsiteX2" fmla="*/ 3476 w 63906"/>
                        <a:gd name="connsiteY2" fmla="*/ 10506 h 105660"/>
                        <a:gd name="connsiteX3" fmla="*/ 9287 w 63906"/>
                        <a:gd name="connsiteY3" fmla="*/ 123 h 105660"/>
                        <a:gd name="connsiteX4" fmla="*/ 51292 w 63906"/>
                        <a:gd name="connsiteY4" fmla="*/ 53559 h 105660"/>
                        <a:gd name="connsiteX5" fmla="*/ 55673 w 63906"/>
                        <a:gd name="connsiteY5" fmla="*/ 105565 h 105660"/>
                        <a:gd name="connsiteX6" fmla="*/ 55673 w 63906"/>
                        <a:gd name="connsiteY6" fmla="*/ 105565 h 10566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63906" h="105660">
                          <a:moveTo>
                            <a:pt x="55673" y="105660"/>
                          </a:moveTo>
                          <a:lnTo>
                            <a:pt x="15954" y="67179"/>
                          </a:lnTo>
                          <a:cubicBezTo>
                            <a:pt x="1095" y="52321"/>
                            <a:pt x="-4144" y="31556"/>
                            <a:pt x="3476" y="10506"/>
                          </a:cubicBezTo>
                          <a:cubicBezTo>
                            <a:pt x="5953" y="3838"/>
                            <a:pt x="8144" y="-829"/>
                            <a:pt x="9287" y="123"/>
                          </a:cubicBezTo>
                          <a:cubicBezTo>
                            <a:pt x="11573" y="2124"/>
                            <a:pt x="29575" y="24793"/>
                            <a:pt x="51292" y="53559"/>
                          </a:cubicBezTo>
                          <a:cubicBezTo>
                            <a:pt x="65008" y="71656"/>
                            <a:pt x="69103" y="85944"/>
                            <a:pt x="55673" y="105565"/>
                          </a:cubicBezTo>
                          <a:lnTo>
                            <a:pt x="55673" y="105565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6" name="Freihandform: Form 135">
                      <a:extLst>
                        <a:ext uri="{FF2B5EF4-FFF2-40B4-BE49-F238E27FC236}">
                          <a16:creationId xmlns:a16="http://schemas.microsoft.com/office/drawing/2014/main" id="{8A27D2F2-49B1-A7DB-C54D-DE2309C116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00115" y="3774757"/>
                      <a:ext cx="87440" cy="131349"/>
                    </a:xfrm>
                    <a:custGeom>
                      <a:avLst/>
                      <a:gdLst>
                        <a:gd name="connsiteX0" fmla="*/ 72689 w 87440"/>
                        <a:gd name="connsiteY0" fmla="*/ 131350 h 131349"/>
                        <a:gd name="connsiteX1" fmla="*/ 12205 w 87440"/>
                        <a:gd name="connsiteY1" fmla="*/ 71628 h 131349"/>
                        <a:gd name="connsiteX2" fmla="*/ 17349 w 87440"/>
                        <a:gd name="connsiteY2" fmla="*/ 4001 h 131349"/>
                        <a:gd name="connsiteX3" fmla="*/ 26112 w 87440"/>
                        <a:gd name="connsiteY3" fmla="*/ 0 h 131349"/>
                        <a:gd name="connsiteX4" fmla="*/ 79642 w 87440"/>
                        <a:gd name="connsiteY4" fmla="*/ 80010 h 131349"/>
                        <a:gd name="connsiteX5" fmla="*/ 72689 w 87440"/>
                        <a:gd name="connsiteY5" fmla="*/ 131254 h 131349"/>
                        <a:gd name="connsiteX6" fmla="*/ 72689 w 87440"/>
                        <a:gd name="connsiteY6" fmla="*/ 131254 h 1313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87440" h="131349">
                          <a:moveTo>
                            <a:pt x="72689" y="131350"/>
                          </a:moveTo>
                          <a:lnTo>
                            <a:pt x="12205" y="71628"/>
                          </a:lnTo>
                          <a:cubicBezTo>
                            <a:pt x="-5892" y="53340"/>
                            <a:pt x="-3606" y="22479"/>
                            <a:pt x="17349" y="4001"/>
                          </a:cubicBezTo>
                          <a:lnTo>
                            <a:pt x="26112" y="0"/>
                          </a:lnTo>
                          <a:lnTo>
                            <a:pt x="79642" y="80010"/>
                          </a:lnTo>
                          <a:cubicBezTo>
                            <a:pt x="93073" y="96869"/>
                            <a:pt x="88120" y="113729"/>
                            <a:pt x="72689" y="131254"/>
                          </a:cubicBezTo>
                          <a:lnTo>
                            <a:pt x="72689" y="131254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7" name="Freihandform: Form 136">
                      <a:extLst>
                        <a:ext uri="{FF2B5EF4-FFF2-40B4-BE49-F238E27FC236}">
                          <a16:creationId xmlns:a16="http://schemas.microsoft.com/office/drawing/2014/main" id="{3043CB75-638D-D048-1CC1-E4645B6398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95080" y="3720421"/>
                      <a:ext cx="62960" cy="111771"/>
                    </a:xfrm>
                    <a:custGeom>
                      <a:avLst/>
                      <a:gdLst>
                        <a:gd name="connsiteX0" fmla="*/ 0 w 62960"/>
                        <a:gd name="connsiteY0" fmla="*/ 9378 h 111771"/>
                        <a:gd name="connsiteX1" fmla="*/ 4191 w 62960"/>
                        <a:gd name="connsiteY1" fmla="*/ 100628 h 111771"/>
                        <a:gd name="connsiteX2" fmla="*/ 8287 w 62960"/>
                        <a:gd name="connsiteY2" fmla="*/ 111772 h 111771"/>
                        <a:gd name="connsiteX3" fmla="*/ 57150 w 62960"/>
                        <a:gd name="connsiteY3" fmla="*/ 67100 h 111771"/>
                        <a:gd name="connsiteX4" fmla="*/ 62961 w 62960"/>
                        <a:gd name="connsiteY4" fmla="*/ 18236 h 111771"/>
                        <a:gd name="connsiteX5" fmla="*/ 0 w 62960"/>
                        <a:gd name="connsiteY5" fmla="*/ 9378 h 1117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62960" h="111771">
                          <a:moveTo>
                            <a:pt x="0" y="9378"/>
                          </a:moveTo>
                          <a:cubicBezTo>
                            <a:pt x="477" y="28142"/>
                            <a:pt x="4191" y="100628"/>
                            <a:pt x="4191" y="100628"/>
                          </a:cubicBezTo>
                          <a:lnTo>
                            <a:pt x="8287" y="111772"/>
                          </a:lnTo>
                          <a:cubicBezTo>
                            <a:pt x="34957" y="111296"/>
                            <a:pt x="54674" y="91484"/>
                            <a:pt x="57150" y="67100"/>
                          </a:cubicBezTo>
                          <a:lnTo>
                            <a:pt x="62961" y="18236"/>
                          </a:lnTo>
                          <a:cubicBezTo>
                            <a:pt x="55436" y="1568"/>
                            <a:pt x="8192" y="-8338"/>
                            <a:pt x="0" y="9378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138" name="Grafik 23">
                      <a:extLst>
                        <a:ext uri="{FF2B5EF4-FFF2-40B4-BE49-F238E27FC236}">
                          <a16:creationId xmlns:a16="http://schemas.microsoft.com/office/drawing/2014/main" id="{AFD5768D-42F7-3C4F-6819-3AA542E55BC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415082" y="3708417"/>
                      <a:ext cx="91882" cy="267603"/>
                      <a:chOff x="8415082" y="3708417"/>
                      <a:chExt cx="91882" cy="267603"/>
                    </a:xfrm>
                    <a:solidFill>
                      <a:srgbClr val="8A5942"/>
                    </a:solidFill>
                  </p:grpSpPr>
                  <p:sp>
                    <p:nvSpPr>
                      <p:cNvPr id="139" name="Freihandform: Form 138">
                        <a:extLst>
                          <a:ext uri="{FF2B5EF4-FFF2-40B4-BE49-F238E27FC236}">
                            <a16:creationId xmlns:a16="http://schemas.microsoft.com/office/drawing/2014/main" id="{64489C81-027D-70D3-E0B3-2BBFE7984AB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56624" y="3848906"/>
                        <a:ext cx="50341" cy="127114"/>
                      </a:xfrm>
                      <a:custGeom>
                        <a:avLst/>
                        <a:gdLst>
                          <a:gd name="connsiteX0" fmla="*/ 30182 w 50341"/>
                          <a:gd name="connsiteY0" fmla="*/ 127114 h 127114"/>
                          <a:gd name="connsiteX1" fmla="*/ 5131 w 50341"/>
                          <a:gd name="connsiteY1" fmla="*/ 71584 h 127114"/>
                          <a:gd name="connsiteX2" fmla="*/ 15323 w 50341"/>
                          <a:gd name="connsiteY2" fmla="*/ 8528 h 127114"/>
                          <a:gd name="connsiteX3" fmla="*/ 25515 w 50341"/>
                          <a:gd name="connsiteY3" fmla="*/ 337 h 127114"/>
                          <a:gd name="connsiteX4" fmla="*/ 46851 w 50341"/>
                          <a:gd name="connsiteY4" fmla="*/ 72060 h 127114"/>
                          <a:gd name="connsiteX5" fmla="*/ 30182 w 50341"/>
                          <a:gd name="connsiteY5" fmla="*/ 127114 h 127114"/>
                          <a:gd name="connsiteX6" fmla="*/ 30182 w 50341"/>
                          <a:gd name="connsiteY6" fmla="*/ 127114 h 12711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0341" h="127114">
                            <a:moveTo>
                              <a:pt x="30182" y="127114"/>
                            </a:moveTo>
                            <a:lnTo>
                              <a:pt x="5131" y="71584"/>
                            </a:lnTo>
                            <a:cubicBezTo>
                              <a:pt x="-4108" y="50343"/>
                              <a:pt x="-964" y="26912"/>
                              <a:pt x="15323" y="8528"/>
                            </a:cubicBezTo>
                            <a:cubicBezTo>
                              <a:pt x="20562" y="2623"/>
                              <a:pt x="24658" y="-1187"/>
                              <a:pt x="25515" y="337"/>
                            </a:cubicBezTo>
                            <a:cubicBezTo>
                              <a:pt x="27039" y="3385"/>
                              <a:pt x="36278" y="33865"/>
                              <a:pt x="46851" y="72060"/>
                            </a:cubicBezTo>
                            <a:cubicBezTo>
                              <a:pt x="53518" y="96158"/>
                              <a:pt x="51995" y="112446"/>
                              <a:pt x="30182" y="127114"/>
                            </a:cubicBezTo>
                            <a:lnTo>
                              <a:pt x="30182" y="127114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0" name="Freihandform: Form 139">
                        <a:extLst>
                          <a:ext uri="{FF2B5EF4-FFF2-40B4-BE49-F238E27FC236}">
                            <a16:creationId xmlns:a16="http://schemas.microsoft.com/office/drawing/2014/main" id="{9CA1BE31-E09A-839D-6AD2-9A25B27FF1A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22907" y="3799998"/>
                        <a:ext cx="71113" cy="124396"/>
                      </a:xfrm>
                      <a:custGeom>
                        <a:avLst/>
                        <a:gdLst>
                          <a:gd name="connsiteX0" fmla="*/ 40563 w 71113"/>
                          <a:gd name="connsiteY0" fmla="*/ 124396 h 124396"/>
                          <a:gd name="connsiteX1" fmla="*/ 3415 w 71113"/>
                          <a:gd name="connsiteY1" fmla="*/ 38290 h 124396"/>
                          <a:gd name="connsiteX2" fmla="*/ 41135 w 71113"/>
                          <a:gd name="connsiteY2" fmla="*/ 2000 h 124396"/>
                          <a:gd name="connsiteX3" fmla="*/ 45325 w 71113"/>
                          <a:gd name="connsiteY3" fmla="*/ 0 h 124396"/>
                          <a:gd name="connsiteX4" fmla="*/ 69043 w 71113"/>
                          <a:gd name="connsiteY4" fmla="*/ 74295 h 124396"/>
                          <a:gd name="connsiteX5" fmla="*/ 42087 w 71113"/>
                          <a:gd name="connsiteY5" fmla="*/ 123634 h 124396"/>
                          <a:gd name="connsiteX6" fmla="*/ 40563 w 71113"/>
                          <a:gd name="connsiteY6" fmla="*/ 124396 h 12439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1113" h="124396">
                            <a:moveTo>
                              <a:pt x="40563" y="124396"/>
                            </a:moveTo>
                            <a:lnTo>
                              <a:pt x="3415" y="38290"/>
                            </a:lnTo>
                            <a:cubicBezTo>
                              <a:pt x="-7729" y="12192"/>
                              <a:pt x="9321" y="3238"/>
                              <a:pt x="41135" y="2000"/>
                            </a:cubicBezTo>
                            <a:lnTo>
                              <a:pt x="45325" y="0"/>
                            </a:lnTo>
                            <a:lnTo>
                              <a:pt x="69043" y="74295"/>
                            </a:lnTo>
                            <a:cubicBezTo>
                              <a:pt x="75996" y="97060"/>
                              <a:pt x="65042" y="112014"/>
                              <a:pt x="42087" y="123634"/>
                            </a:cubicBezTo>
                            <a:lnTo>
                              <a:pt x="40563" y="124396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1" name="Freihandform: Form 140">
                        <a:extLst>
                          <a:ext uri="{FF2B5EF4-FFF2-40B4-BE49-F238E27FC236}">
                            <a16:creationId xmlns:a16="http://schemas.microsoft.com/office/drawing/2014/main" id="{6232A221-A762-18A0-3488-CAE3294FEFC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15082" y="3708417"/>
                        <a:ext cx="63532" cy="120728"/>
                      </a:xfrm>
                      <a:custGeom>
                        <a:avLst/>
                        <a:gdLst>
                          <a:gd name="connsiteX0" fmla="*/ 1 w 63532"/>
                          <a:gd name="connsiteY0" fmla="*/ 12715 h 120728"/>
                          <a:gd name="connsiteX1" fmla="*/ 8573 w 63532"/>
                          <a:gd name="connsiteY1" fmla="*/ 120728 h 120728"/>
                          <a:gd name="connsiteX2" fmla="*/ 54674 w 63532"/>
                          <a:gd name="connsiteY2" fmla="*/ 92629 h 120728"/>
                          <a:gd name="connsiteX3" fmla="*/ 63532 w 63532"/>
                          <a:gd name="connsiteY3" fmla="*/ 16048 h 120728"/>
                          <a:gd name="connsiteX4" fmla="*/ 1 w 63532"/>
                          <a:gd name="connsiteY4" fmla="*/ 12619 h 12072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63532" h="120728">
                            <a:moveTo>
                              <a:pt x="1" y="12715"/>
                            </a:moveTo>
                            <a:cubicBezTo>
                              <a:pt x="-95" y="14715"/>
                              <a:pt x="8573" y="120728"/>
                              <a:pt x="8573" y="120728"/>
                            </a:cubicBezTo>
                            <a:cubicBezTo>
                              <a:pt x="37910" y="120347"/>
                              <a:pt x="51817" y="119585"/>
                              <a:pt x="54674" y="92629"/>
                            </a:cubicBezTo>
                            <a:lnTo>
                              <a:pt x="63532" y="16048"/>
                            </a:lnTo>
                            <a:cubicBezTo>
                              <a:pt x="55341" y="-2335"/>
                              <a:pt x="9144" y="-6812"/>
                              <a:pt x="1" y="12619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142" name="Freihandform: Form 141">
                      <a:extLst>
                        <a:ext uri="{FF2B5EF4-FFF2-40B4-BE49-F238E27FC236}">
                          <a16:creationId xmlns:a16="http://schemas.microsoft.com/office/drawing/2014/main" id="{3E9AAA7C-E82F-4398-76BD-E68050BC27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63914" y="3855038"/>
                      <a:ext cx="46483" cy="113934"/>
                    </a:xfrm>
                    <a:custGeom>
                      <a:avLst/>
                      <a:gdLst>
                        <a:gd name="connsiteX0" fmla="*/ 22320 w 46483"/>
                        <a:gd name="connsiteY0" fmla="*/ 113744 h 113934"/>
                        <a:gd name="connsiteX1" fmla="*/ 3366 w 46483"/>
                        <a:gd name="connsiteY1" fmla="*/ 60784 h 113934"/>
                        <a:gd name="connsiteX2" fmla="*/ 17844 w 46483"/>
                        <a:gd name="connsiteY2" fmla="*/ 6587 h 113934"/>
                        <a:gd name="connsiteX3" fmla="*/ 28893 w 46483"/>
                        <a:gd name="connsiteY3" fmla="*/ 396 h 113934"/>
                        <a:gd name="connsiteX4" fmla="*/ 44990 w 46483"/>
                        <a:gd name="connsiteY4" fmla="*/ 66214 h 113934"/>
                        <a:gd name="connsiteX5" fmla="*/ 22416 w 46483"/>
                        <a:gd name="connsiteY5" fmla="*/ 113934 h 113934"/>
                        <a:gd name="connsiteX6" fmla="*/ 22416 w 46483"/>
                        <a:gd name="connsiteY6" fmla="*/ 113934 h 1139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6483" h="113934">
                          <a:moveTo>
                            <a:pt x="22320" y="113744"/>
                          </a:moveTo>
                          <a:lnTo>
                            <a:pt x="3366" y="60784"/>
                          </a:lnTo>
                          <a:cubicBezTo>
                            <a:pt x="-3492" y="40591"/>
                            <a:pt x="-444" y="21161"/>
                            <a:pt x="17844" y="6587"/>
                          </a:cubicBezTo>
                          <a:cubicBezTo>
                            <a:pt x="23749" y="1920"/>
                            <a:pt x="28321" y="-1128"/>
                            <a:pt x="28893" y="396"/>
                          </a:cubicBezTo>
                          <a:cubicBezTo>
                            <a:pt x="30036" y="3254"/>
                            <a:pt x="38608" y="30495"/>
                            <a:pt x="44990" y="66214"/>
                          </a:cubicBezTo>
                          <a:cubicBezTo>
                            <a:pt x="49086" y="88788"/>
                            <a:pt x="45752" y="103171"/>
                            <a:pt x="22416" y="113934"/>
                          </a:cubicBezTo>
                          <a:lnTo>
                            <a:pt x="22416" y="113934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3" name="Freihandform: Form 142">
                      <a:extLst>
                        <a:ext uri="{FF2B5EF4-FFF2-40B4-BE49-F238E27FC236}">
                          <a16:creationId xmlns:a16="http://schemas.microsoft.com/office/drawing/2014/main" id="{C1E554D7-B79F-9601-06CB-E78D68ECFE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36560" y="3794759"/>
                      <a:ext cx="62340" cy="120967"/>
                    </a:xfrm>
                    <a:custGeom>
                      <a:avLst/>
                      <a:gdLst>
                        <a:gd name="connsiteX0" fmla="*/ 30624 w 62340"/>
                        <a:gd name="connsiteY0" fmla="*/ 120968 h 120967"/>
                        <a:gd name="connsiteX1" fmla="*/ 2335 w 62340"/>
                        <a:gd name="connsiteY1" fmla="*/ 39338 h 120967"/>
                        <a:gd name="connsiteX2" fmla="*/ 38244 w 62340"/>
                        <a:gd name="connsiteY2" fmla="*/ 0 h 120967"/>
                        <a:gd name="connsiteX3" fmla="*/ 43864 w 62340"/>
                        <a:gd name="connsiteY3" fmla="*/ 9335 h 120967"/>
                        <a:gd name="connsiteX4" fmla="*/ 61390 w 62340"/>
                        <a:gd name="connsiteY4" fmla="*/ 80867 h 120967"/>
                        <a:gd name="connsiteX5" fmla="*/ 30719 w 62340"/>
                        <a:gd name="connsiteY5" fmla="*/ 120968 h 120967"/>
                        <a:gd name="connsiteX6" fmla="*/ 30719 w 62340"/>
                        <a:gd name="connsiteY6" fmla="*/ 120968 h 12096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62340" h="120967">
                          <a:moveTo>
                            <a:pt x="30624" y="120968"/>
                          </a:moveTo>
                          <a:lnTo>
                            <a:pt x="2335" y="39338"/>
                          </a:lnTo>
                          <a:cubicBezTo>
                            <a:pt x="-5952" y="14573"/>
                            <a:pt x="8240" y="6001"/>
                            <a:pt x="38244" y="0"/>
                          </a:cubicBezTo>
                          <a:lnTo>
                            <a:pt x="43864" y="9335"/>
                          </a:lnTo>
                          <a:lnTo>
                            <a:pt x="61390" y="80867"/>
                          </a:lnTo>
                          <a:cubicBezTo>
                            <a:pt x="65771" y="102203"/>
                            <a:pt x="54912" y="113157"/>
                            <a:pt x="30719" y="120968"/>
                          </a:cubicBezTo>
                          <a:lnTo>
                            <a:pt x="30719" y="120968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4" name="Freihandform: Form 143">
                      <a:extLst>
                        <a:ext uri="{FF2B5EF4-FFF2-40B4-BE49-F238E27FC236}">
                          <a16:creationId xmlns:a16="http://schemas.microsoft.com/office/drawing/2014/main" id="{74237269-5DE5-6299-0F13-088F9948556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35054" y="3713098"/>
                      <a:ext cx="53751" cy="112434"/>
                    </a:xfrm>
                    <a:custGeom>
                      <a:avLst/>
                      <a:gdLst>
                        <a:gd name="connsiteX0" fmla="*/ 31 w 53751"/>
                        <a:gd name="connsiteY0" fmla="*/ 7176 h 112434"/>
                        <a:gd name="connsiteX1" fmla="*/ 1555 w 53751"/>
                        <a:gd name="connsiteY1" fmla="*/ 110046 h 112434"/>
                        <a:gd name="connsiteX2" fmla="*/ 44989 w 53751"/>
                        <a:gd name="connsiteY2" fmla="*/ 94806 h 112434"/>
                        <a:gd name="connsiteX3" fmla="*/ 53752 w 53751"/>
                        <a:gd name="connsiteY3" fmla="*/ 23654 h 112434"/>
                        <a:gd name="connsiteX4" fmla="*/ 31 w 53751"/>
                        <a:gd name="connsiteY4" fmla="*/ 7176 h 1124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3751" h="112434">
                          <a:moveTo>
                            <a:pt x="31" y="7176"/>
                          </a:moveTo>
                          <a:cubicBezTo>
                            <a:pt x="-255" y="8986"/>
                            <a:pt x="1555" y="110046"/>
                            <a:pt x="1555" y="110046"/>
                          </a:cubicBezTo>
                          <a:cubicBezTo>
                            <a:pt x="30987" y="111856"/>
                            <a:pt x="40512" y="119000"/>
                            <a:pt x="44989" y="94806"/>
                          </a:cubicBezTo>
                          <a:lnTo>
                            <a:pt x="53752" y="23654"/>
                          </a:lnTo>
                          <a:cubicBezTo>
                            <a:pt x="46703" y="6414"/>
                            <a:pt x="10318" y="-9778"/>
                            <a:pt x="31" y="7176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145" name="Grafik 23">
                      <a:extLst>
                        <a:ext uri="{FF2B5EF4-FFF2-40B4-BE49-F238E27FC236}">
                          <a16:creationId xmlns:a16="http://schemas.microsoft.com/office/drawing/2014/main" id="{29224C71-D6C2-1B58-C61F-31C107041F4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483816" y="3539440"/>
                      <a:ext cx="145001" cy="336662"/>
                      <a:chOff x="8483816" y="3539440"/>
                      <a:chExt cx="145001" cy="336662"/>
                    </a:xfrm>
                    <a:solidFill>
                      <a:srgbClr val="8A5942"/>
                    </a:solidFill>
                  </p:grpSpPr>
                  <p:sp>
                    <p:nvSpPr>
                      <p:cNvPr id="146" name="Freihandform: Form 145">
                        <a:extLst>
                          <a:ext uri="{FF2B5EF4-FFF2-40B4-BE49-F238E27FC236}">
                            <a16:creationId xmlns:a16="http://schemas.microsoft.com/office/drawing/2014/main" id="{5E8C416D-9517-8BCB-EEB9-A1CA11AD317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529038" y="3738176"/>
                        <a:ext cx="60495" cy="137927"/>
                      </a:xfrm>
                      <a:custGeom>
                        <a:avLst/>
                        <a:gdLst>
                          <a:gd name="connsiteX0" fmla="*/ 24158 w 60495"/>
                          <a:gd name="connsiteY0" fmla="*/ 137927 h 137927"/>
                          <a:gd name="connsiteX1" fmla="*/ 57685 w 60495"/>
                          <a:gd name="connsiteY1" fmla="*/ 75253 h 137927"/>
                          <a:gd name="connsiteX2" fmla="*/ 53304 w 60495"/>
                          <a:gd name="connsiteY2" fmla="*/ 5815 h 137927"/>
                          <a:gd name="connsiteX3" fmla="*/ 40350 w 60495"/>
                          <a:gd name="connsiteY3" fmla="*/ 958 h 137927"/>
                          <a:gd name="connsiteX4" fmla="*/ 4726 w 60495"/>
                          <a:gd name="connsiteY4" fmla="*/ 77824 h 137927"/>
                          <a:gd name="connsiteX5" fmla="*/ 24062 w 60495"/>
                          <a:gd name="connsiteY5" fmla="*/ 137832 h 137927"/>
                          <a:gd name="connsiteX6" fmla="*/ 24062 w 60495"/>
                          <a:gd name="connsiteY6" fmla="*/ 137832 h 1379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0495" h="137927">
                            <a:moveTo>
                              <a:pt x="24158" y="137927"/>
                            </a:moveTo>
                            <a:lnTo>
                              <a:pt x="57685" y="75253"/>
                            </a:lnTo>
                            <a:cubicBezTo>
                              <a:pt x="59876" y="52964"/>
                              <a:pt x="64448" y="18579"/>
                              <a:pt x="53304" y="5815"/>
                            </a:cubicBezTo>
                            <a:cubicBezTo>
                              <a:pt x="47017" y="-1424"/>
                              <a:pt x="41398" y="-376"/>
                              <a:pt x="40350" y="958"/>
                            </a:cubicBezTo>
                            <a:cubicBezTo>
                              <a:pt x="33111" y="11149"/>
                              <a:pt x="17204" y="44868"/>
                              <a:pt x="4726" y="77824"/>
                            </a:cubicBezTo>
                            <a:cubicBezTo>
                              <a:pt x="-3941" y="100780"/>
                              <a:pt x="-2417" y="117639"/>
                              <a:pt x="24062" y="137832"/>
                            </a:cubicBezTo>
                            <a:lnTo>
                              <a:pt x="24062" y="137832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7" name="Freihandform: Form 146">
                        <a:extLst>
                          <a:ext uri="{FF2B5EF4-FFF2-40B4-BE49-F238E27FC236}">
                            <a16:creationId xmlns:a16="http://schemas.microsoft.com/office/drawing/2014/main" id="{ABBDED4A-28A6-4635-1BF6-8D03689783B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548242" y="3697576"/>
                        <a:ext cx="80486" cy="117625"/>
                      </a:xfrm>
                      <a:custGeom>
                        <a:avLst/>
                        <a:gdLst>
                          <a:gd name="connsiteX0" fmla="*/ 80486 w 80486"/>
                          <a:gd name="connsiteY0" fmla="*/ 17269 h 117625"/>
                          <a:gd name="connsiteX1" fmla="*/ 0 w 80486"/>
                          <a:gd name="connsiteY1" fmla="*/ 10982 h 117625"/>
                          <a:gd name="connsiteX2" fmla="*/ 5810 w 80486"/>
                          <a:gd name="connsiteY2" fmla="*/ 70608 h 117625"/>
                          <a:gd name="connsiteX3" fmla="*/ 38481 w 80486"/>
                          <a:gd name="connsiteY3" fmla="*/ 115948 h 117625"/>
                          <a:gd name="connsiteX4" fmla="*/ 80486 w 80486"/>
                          <a:gd name="connsiteY4" fmla="*/ 17269 h 11762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80486" h="117625">
                            <a:moveTo>
                              <a:pt x="80486" y="17269"/>
                            </a:moveTo>
                            <a:cubicBezTo>
                              <a:pt x="61627" y="-17498"/>
                              <a:pt x="0" y="10982"/>
                              <a:pt x="0" y="10982"/>
                            </a:cubicBezTo>
                            <a:lnTo>
                              <a:pt x="5810" y="70608"/>
                            </a:lnTo>
                            <a:cubicBezTo>
                              <a:pt x="3429" y="95659"/>
                              <a:pt x="15907" y="124996"/>
                              <a:pt x="38481" y="115948"/>
                            </a:cubicBezTo>
                            <a:cubicBezTo>
                              <a:pt x="38481" y="115948"/>
                              <a:pt x="80582" y="16221"/>
                              <a:pt x="80486" y="17269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8" name="Freihandform: Form 147">
                        <a:extLst>
                          <a:ext uri="{FF2B5EF4-FFF2-40B4-BE49-F238E27FC236}">
                            <a16:creationId xmlns:a16="http://schemas.microsoft.com/office/drawing/2014/main" id="{AD80B3D3-8A54-E0B5-BFD7-25BC7E526D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83816" y="3539440"/>
                        <a:ext cx="145001" cy="187300"/>
                      </a:xfrm>
                      <a:custGeom>
                        <a:avLst/>
                        <a:gdLst>
                          <a:gd name="connsiteX0" fmla="*/ 142151 w 145001"/>
                          <a:gd name="connsiteY0" fmla="*/ 88632 h 187300"/>
                          <a:gd name="connsiteX1" fmla="*/ 144913 w 145001"/>
                          <a:gd name="connsiteY1" fmla="*/ 175405 h 187300"/>
                          <a:gd name="connsiteX2" fmla="*/ 144913 w 145001"/>
                          <a:gd name="connsiteY2" fmla="*/ 175405 h 187300"/>
                          <a:gd name="connsiteX3" fmla="*/ 64712 w 145001"/>
                          <a:gd name="connsiteY3" fmla="*/ 170642 h 187300"/>
                          <a:gd name="connsiteX4" fmla="*/ 9848 w 145001"/>
                          <a:gd name="connsiteY4" fmla="*/ 67486 h 187300"/>
                          <a:gd name="connsiteX5" fmla="*/ 104717 w 145001"/>
                          <a:gd name="connsiteY5" fmla="*/ 431 h 187300"/>
                          <a:gd name="connsiteX6" fmla="*/ 142151 w 145001"/>
                          <a:gd name="connsiteY6" fmla="*/ 88632 h 1873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145001" h="187300">
                            <a:moveTo>
                              <a:pt x="142151" y="88632"/>
                            </a:moveTo>
                            <a:cubicBezTo>
                              <a:pt x="145770" y="113302"/>
                              <a:pt x="144913" y="175405"/>
                              <a:pt x="144913" y="175405"/>
                            </a:cubicBezTo>
                            <a:lnTo>
                              <a:pt x="144913" y="175405"/>
                            </a:lnTo>
                            <a:cubicBezTo>
                              <a:pt x="107289" y="175214"/>
                              <a:pt x="108813" y="205218"/>
                              <a:pt x="64712" y="170642"/>
                            </a:cubicBezTo>
                            <a:cubicBezTo>
                              <a:pt x="64712" y="170642"/>
                              <a:pt x="53472" y="104253"/>
                              <a:pt x="9848" y="67486"/>
                            </a:cubicBezTo>
                            <a:cubicBezTo>
                              <a:pt x="-27871" y="35768"/>
                              <a:pt x="51186" y="-4618"/>
                              <a:pt x="104717" y="431"/>
                            </a:cubicBezTo>
                            <a:cubicBezTo>
                              <a:pt x="128815" y="38244"/>
                              <a:pt x="142151" y="88632"/>
                              <a:pt x="142151" y="88632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149" name="Freihandform: Form 148">
                      <a:extLst>
                        <a:ext uri="{FF2B5EF4-FFF2-40B4-BE49-F238E27FC236}">
                          <a16:creationId xmlns:a16="http://schemas.microsoft.com/office/drawing/2014/main" id="{839A98A6-CBDB-DA06-AA7A-2F96EA353C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95080" y="3494722"/>
                      <a:ext cx="234464" cy="282987"/>
                    </a:xfrm>
                    <a:custGeom>
                      <a:avLst/>
                      <a:gdLst>
                        <a:gd name="connsiteX0" fmla="*/ 4382 w 234464"/>
                        <a:gd name="connsiteY0" fmla="*/ 195644 h 282987"/>
                        <a:gd name="connsiteX1" fmla="*/ 59341 w 234464"/>
                        <a:gd name="connsiteY1" fmla="*/ 0 h 282987"/>
                        <a:gd name="connsiteX2" fmla="*/ 194977 w 234464"/>
                        <a:gd name="connsiteY2" fmla="*/ 11430 h 282987"/>
                        <a:gd name="connsiteX3" fmla="*/ 200787 w 234464"/>
                        <a:gd name="connsiteY3" fmla="*/ 47625 h 282987"/>
                        <a:gd name="connsiteX4" fmla="*/ 232601 w 234464"/>
                        <a:gd name="connsiteY4" fmla="*/ 177832 h 282987"/>
                        <a:gd name="connsiteX5" fmla="*/ 152877 w 234464"/>
                        <a:gd name="connsiteY5" fmla="*/ 204883 h 282987"/>
                        <a:gd name="connsiteX6" fmla="*/ 88678 w 234464"/>
                        <a:gd name="connsiteY6" fmla="*/ 282988 h 282987"/>
                        <a:gd name="connsiteX7" fmla="*/ 0 w 234464"/>
                        <a:gd name="connsiteY7" fmla="*/ 234982 h 282987"/>
                        <a:gd name="connsiteX8" fmla="*/ 4382 w 234464"/>
                        <a:gd name="connsiteY8" fmla="*/ 195548 h 28298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234464" h="282987">
                          <a:moveTo>
                            <a:pt x="4382" y="195644"/>
                          </a:moveTo>
                          <a:cubicBezTo>
                            <a:pt x="21431" y="145828"/>
                            <a:pt x="40958" y="87154"/>
                            <a:pt x="59341" y="0"/>
                          </a:cubicBezTo>
                          <a:lnTo>
                            <a:pt x="194977" y="11430"/>
                          </a:lnTo>
                          <a:cubicBezTo>
                            <a:pt x="194977" y="32099"/>
                            <a:pt x="197739" y="44005"/>
                            <a:pt x="200787" y="47625"/>
                          </a:cubicBezTo>
                          <a:cubicBezTo>
                            <a:pt x="246031" y="101727"/>
                            <a:pt x="232601" y="177832"/>
                            <a:pt x="232601" y="177832"/>
                          </a:cubicBezTo>
                          <a:cubicBezTo>
                            <a:pt x="230981" y="184976"/>
                            <a:pt x="183261" y="168688"/>
                            <a:pt x="152877" y="204883"/>
                          </a:cubicBezTo>
                          <a:cubicBezTo>
                            <a:pt x="144304" y="215075"/>
                            <a:pt x="102394" y="222885"/>
                            <a:pt x="88678" y="282988"/>
                          </a:cubicBezTo>
                          <a:cubicBezTo>
                            <a:pt x="33909" y="215837"/>
                            <a:pt x="3048" y="234125"/>
                            <a:pt x="0" y="234982"/>
                          </a:cubicBezTo>
                          <a:cubicBezTo>
                            <a:pt x="2572" y="219551"/>
                            <a:pt x="2667" y="206026"/>
                            <a:pt x="4382" y="195548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0" name="Freihandform: Form 149">
                      <a:extLst>
                        <a:ext uri="{FF2B5EF4-FFF2-40B4-BE49-F238E27FC236}">
                          <a16:creationId xmlns:a16="http://schemas.microsoft.com/office/drawing/2014/main" id="{8A5C9B05-F056-D1F4-A5B0-0402375B1DE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53659" y="3436239"/>
                      <a:ext cx="136397" cy="136398"/>
                    </a:xfrm>
                    <a:custGeom>
                      <a:avLst/>
                      <a:gdLst>
                        <a:gd name="connsiteX0" fmla="*/ 136398 w 136397"/>
                        <a:gd name="connsiteY0" fmla="*/ 68199 h 136398"/>
                        <a:gd name="connsiteX1" fmla="*/ 68199 w 136397"/>
                        <a:gd name="connsiteY1" fmla="*/ 136398 h 136398"/>
                        <a:gd name="connsiteX2" fmla="*/ 1 w 136397"/>
                        <a:gd name="connsiteY2" fmla="*/ 68199 h 136398"/>
                        <a:gd name="connsiteX3" fmla="*/ 68199 w 136397"/>
                        <a:gd name="connsiteY3" fmla="*/ 0 h 136398"/>
                        <a:gd name="connsiteX4" fmla="*/ 136398 w 136397"/>
                        <a:gd name="connsiteY4" fmla="*/ 68199 h 1363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36397" h="136398">
                          <a:moveTo>
                            <a:pt x="136398" y="68199"/>
                          </a:moveTo>
                          <a:cubicBezTo>
                            <a:pt x="136398" y="105864"/>
                            <a:pt x="105864" y="136398"/>
                            <a:pt x="68199" y="136398"/>
                          </a:cubicBezTo>
                          <a:cubicBezTo>
                            <a:pt x="30534" y="136398"/>
                            <a:pt x="1" y="105865"/>
                            <a:pt x="1" y="68199"/>
                          </a:cubicBezTo>
                          <a:cubicBezTo>
                            <a:pt x="1" y="30534"/>
                            <a:pt x="30534" y="0"/>
                            <a:pt x="68199" y="0"/>
                          </a:cubicBezTo>
                          <a:cubicBezTo>
                            <a:pt x="105864" y="0"/>
                            <a:pt x="136398" y="30534"/>
                            <a:pt x="136398" y="68199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sp>
              <p:nvSpPr>
                <p:cNvPr id="151" name="Freihandform: Form 150">
                  <a:extLst>
                    <a:ext uri="{FF2B5EF4-FFF2-40B4-BE49-F238E27FC236}">
                      <a16:creationId xmlns:a16="http://schemas.microsoft.com/office/drawing/2014/main" id="{985B5F64-D098-FC9F-8B69-1EB448DF1B1A}"/>
                    </a:ext>
                  </a:extLst>
                </p:cNvPr>
                <p:cNvSpPr/>
                <p:nvPr/>
              </p:nvSpPr>
              <p:spPr>
                <a:xfrm>
                  <a:off x="8688572" y="8112484"/>
                  <a:ext cx="1208416" cy="1222459"/>
                </a:xfrm>
                <a:custGeom>
                  <a:avLst/>
                  <a:gdLst>
                    <a:gd name="connsiteX0" fmla="*/ 1189550 w 1208416"/>
                    <a:gd name="connsiteY0" fmla="*/ 262626 h 1222459"/>
                    <a:gd name="connsiteX1" fmla="*/ 821695 w 1208416"/>
                    <a:gd name="connsiteY1" fmla="*/ 114131 h 1222459"/>
                    <a:gd name="connsiteX2" fmla="*/ 766641 w 1208416"/>
                    <a:gd name="connsiteY2" fmla="*/ 15071 h 1222459"/>
                    <a:gd name="connsiteX3" fmla="*/ 747971 w 1208416"/>
                    <a:gd name="connsiteY3" fmla="*/ 6879 h 1222459"/>
                    <a:gd name="connsiteX4" fmla="*/ 454506 w 1208416"/>
                    <a:gd name="connsiteY4" fmla="*/ 1164 h 1222459"/>
                    <a:gd name="connsiteX5" fmla="*/ 438885 w 1208416"/>
                    <a:gd name="connsiteY5" fmla="*/ 8975 h 1222459"/>
                    <a:gd name="connsiteX6" fmla="*/ 424026 w 1208416"/>
                    <a:gd name="connsiteY6" fmla="*/ 67744 h 1222459"/>
                    <a:gd name="connsiteX7" fmla="*/ 390879 w 1208416"/>
                    <a:gd name="connsiteY7" fmla="*/ 96986 h 1222459"/>
                    <a:gd name="connsiteX8" fmla="*/ 17594 w 1208416"/>
                    <a:gd name="connsiteY8" fmla="*/ 279771 h 1222459"/>
                    <a:gd name="connsiteX9" fmla="*/ 143896 w 1208416"/>
                    <a:gd name="connsiteY9" fmla="*/ 680868 h 1222459"/>
                    <a:gd name="connsiteX10" fmla="*/ 240384 w 1208416"/>
                    <a:gd name="connsiteY10" fmla="*/ 1222460 h 1222459"/>
                    <a:gd name="connsiteX11" fmla="*/ 955235 w 1208416"/>
                    <a:gd name="connsiteY11" fmla="*/ 1220364 h 1222459"/>
                    <a:gd name="connsiteX12" fmla="*/ 1093729 w 1208416"/>
                    <a:gd name="connsiteY12" fmla="*/ 696870 h 1222459"/>
                    <a:gd name="connsiteX13" fmla="*/ 1189455 w 1208416"/>
                    <a:gd name="connsiteY13" fmla="*/ 262530 h 1222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208416" h="1222459">
                      <a:moveTo>
                        <a:pt x="1189550" y="262626"/>
                      </a:moveTo>
                      <a:cubicBezTo>
                        <a:pt x="1103921" y="179663"/>
                        <a:pt x="966475" y="205666"/>
                        <a:pt x="821695" y="114131"/>
                      </a:cubicBezTo>
                      <a:cubicBezTo>
                        <a:pt x="785500" y="80793"/>
                        <a:pt x="771689" y="38597"/>
                        <a:pt x="766641" y="15071"/>
                      </a:cubicBezTo>
                      <a:cubicBezTo>
                        <a:pt x="764831" y="6689"/>
                        <a:pt x="755401" y="2593"/>
                        <a:pt x="747971" y="6879"/>
                      </a:cubicBezTo>
                      <a:cubicBezTo>
                        <a:pt x="655769" y="60791"/>
                        <a:pt x="553947" y="49837"/>
                        <a:pt x="454506" y="1164"/>
                      </a:cubicBezTo>
                      <a:cubicBezTo>
                        <a:pt x="447934" y="-2074"/>
                        <a:pt x="440123" y="1736"/>
                        <a:pt x="438885" y="8975"/>
                      </a:cubicBezTo>
                      <a:cubicBezTo>
                        <a:pt x="436504" y="22500"/>
                        <a:pt x="431932" y="44122"/>
                        <a:pt x="424026" y="67744"/>
                      </a:cubicBezTo>
                      <a:cubicBezTo>
                        <a:pt x="421073" y="74316"/>
                        <a:pt x="412501" y="88223"/>
                        <a:pt x="390879" y="96986"/>
                      </a:cubicBezTo>
                      <a:cubicBezTo>
                        <a:pt x="225049" y="164137"/>
                        <a:pt x="111987" y="195188"/>
                        <a:pt x="17594" y="279771"/>
                      </a:cubicBezTo>
                      <a:cubicBezTo>
                        <a:pt x="-59939" y="349303"/>
                        <a:pt x="143896" y="680868"/>
                        <a:pt x="143896" y="680868"/>
                      </a:cubicBezTo>
                      <a:lnTo>
                        <a:pt x="240384" y="1222460"/>
                      </a:lnTo>
                      <a:lnTo>
                        <a:pt x="955235" y="1220364"/>
                      </a:lnTo>
                      <a:lnTo>
                        <a:pt x="1093729" y="696870"/>
                      </a:lnTo>
                      <a:cubicBezTo>
                        <a:pt x="1093729" y="696870"/>
                        <a:pt x="1264227" y="335016"/>
                        <a:pt x="1189455" y="262530"/>
                      </a:cubicBezTo>
                      <a:close/>
                    </a:path>
                  </a:pathLst>
                </a:custGeom>
                <a:solidFill>
                  <a:srgbClr val="FFE98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2" name="Freihandform: Form 151">
                  <a:extLst>
                    <a:ext uri="{FF2B5EF4-FFF2-40B4-BE49-F238E27FC236}">
                      <a16:creationId xmlns:a16="http://schemas.microsoft.com/office/drawing/2014/main" id="{0225C28A-0ADB-46D7-A84D-CB7F75D56FC8}"/>
                    </a:ext>
                  </a:extLst>
                </p:cNvPr>
                <p:cNvSpPr/>
                <p:nvPr/>
              </p:nvSpPr>
              <p:spPr>
                <a:xfrm>
                  <a:off x="9209944" y="7953627"/>
                  <a:ext cx="147256" cy="49531"/>
                </a:xfrm>
                <a:custGeom>
                  <a:avLst/>
                  <a:gdLst>
                    <a:gd name="connsiteX0" fmla="*/ 0 w 147256"/>
                    <a:gd name="connsiteY0" fmla="*/ 5431 h 49531"/>
                    <a:gd name="connsiteX1" fmla="*/ 55721 w 147256"/>
                    <a:gd name="connsiteY1" fmla="*/ 573 h 49531"/>
                    <a:gd name="connsiteX2" fmla="*/ 70294 w 147256"/>
                    <a:gd name="connsiteY2" fmla="*/ 4002 h 49531"/>
                    <a:gd name="connsiteX3" fmla="*/ 84010 w 147256"/>
                    <a:gd name="connsiteY3" fmla="*/ 2 h 49531"/>
                    <a:gd name="connsiteX4" fmla="*/ 147256 w 147256"/>
                    <a:gd name="connsiteY4" fmla="*/ 5812 h 49531"/>
                    <a:gd name="connsiteX5" fmla="*/ 68389 w 147256"/>
                    <a:gd name="connsiteY5" fmla="*/ 49532 h 49531"/>
                    <a:gd name="connsiteX6" fmla="*/ 0 w 147256"/>
                    <a:gd name="connsiteY6" fmla="*/ 5431 h 49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7256" h="49531">
                      <a:moveTo>
                        <a:pt x="0" y="5431"/>
                      </a:moveTo>
                      <a:cubicBezTo>
                        <a:pt x="0" y="5431"/>
                        <a:pt x="19050" y="2859"/>
                        <a:pt x="55721" y="573"/>
                      </a:cubicBezTo>
                      <a:cubicBezTo>
                        <a:pt x="58578" y="383"/>
                        <a:pt x="61817" y="4193"/>
                        <a:pt x="70294" y="4002"/>
                      </a:cubicBezTo>
                      <a:cubicBezTo>
                        <a:pt x="80296" y="3812"/>
                        <a:pt x="80676" y="-94"/>
                        <a:pt x="84010" y="2"/>
                      </a:cubicBezTo>
                      <a:cubicBezTo>
                        <a:pt x="123539" y="1049"/>
                        <a:pt x="147256" y="5812"/>
                        <a:pt x="147256" y="5812"/>
                      </a:cubicBezTo>
                      <a:cubicBezTo>
                        <a:pt x="147256" y="5812"/>
                        <a:pt x="127635" y="49532"/>
                        <a:pt x="68389" y="49532"/>
                      </a:cubicBezTo>
                      <a:cubicBezTo>
                        <a:pt x="15049" y="49532"/>
                        <a:pt x="0" y="5431"/>
                        <a:pt x="0" y="5431"/>
                      </a:cubicBezTo>
                      <a:close/>
                    </a:path>
                  </a:pathLst>
                </a:custGeom>
                <a:solidFill>
                  <a:srgbClr val="4B2E1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3" name="Freihandform: Form 152">
                  <a:extLst>
                    <a:ext uri="{FF2B5EF4-FFF2-40B4-BE49-F238E27FC236}">
                      <a16:creationId xmlns:a16="http://schemas.microsoft.com/office/drawing/2014/main" id="{11498922-06B2-0A90-1733-3C1D8DFB854A}"/>
                    </a:ext>
                  </a:extLst>
                </p:cNvPr>
                <p:cNvSpPr/>
                <p:nvPr/>
              </p:nvSpPr>
              <p:spPr>
                <a:xfrm>
                  <a:off x="8620918" y="8339391"/>
                  <a:ext cx="314705" cy="314706"/>
                </a:xfrm>
                <a:custGeom>
                  <a:avLst/>
                  <a:gdLst>
                    <a:gd name="connsiteX0" fmla="*/ 314706 w 314705"/>
                    <a:gd name="connsiteY0" fmla="*/ 157353 h 314706"/>
                    <a:gd name="connsiteX1" fmla="*/ 157353 w 314705"/>
                    <a:gd name="connsiteY1" fmla="*/ 314706 h 314706"/>
                    <a:gd name="connsiteX2" fmla="*/ -1 w 314705"/>
                    <a:gd name="connsiteY2" fmla="*/ 157353 h 314706"/>
                    <a:gd name="connsiteX3" fmla="*/ 157353 w 314705"/>
                    <a:gd name="connsiteY3" fmla="*/ 0 h 314706"/>
                    <a:gd name="connsiteX4" fmla="*/ 314706 w 314705"/>
                    <a:gd name="connsiteY4" fmla="*/ 157353 h 314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4705" h="314706">
                      <a:moveTo>
                        <a:pt x="314706" y="157353"/>
                      </a:moveTo>
                      <a:cubicBezTo>
                        <a:pt x="314706" y="244257"/>
                        <a:pt x="244257" y="314706"/>
                        <a:pt x="157353" y="314706"/>
                      </a:cubicBezTo>
                      <a:cubicBezTo>
                        <a:pt x="70449" y="314706"/>
                        <a:pt x="-1" y="244257"/>
                        <a:pt x="-1" y="157353"/>
                      </a:cubicBezTo>
                      <a:cubicBezTo>
                        <a:pt x="-1" y="70449"/>
                        <a:pt x="70449" y="0"/>
                        <a:pt x="157353" y="0"/>
                      </a:cubicBezTo>
                      <a:cubicBezTo>
                        <a:pt x="244256" y="0"/>
                        <a:pt x="314706" y="70449"/>
                        <a:pt x="314706" y="15735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4" name="Freihandform: Form 153">
                  <a:extLst>
                    <a:ext uri="{FF2B5EF4-FFF2-40B4-BE49-F238E27FC236}">
                      <a16:creationId xmlns:a16="http://schemas.microsoft.com/office/drawing/2014/main" id="{187E0055-EE41-8421-7AE0-5ED8AD912C28}"/>
                    </a:ext>
                  </a:extLst>
                </p:cNvPr>
                <p:cNvSpPr/>
                <p:nvPr/>
              </p:nvSpPr>
              <p:spPr>
                <a:xfrm>
                  <a:off x="8398795" y="8394827"/>
                  <a:ext cx="523018" cy="989647"/>
                </a:xfrm>
                <a:custGeom>
                  <a:avLst/>
                  <a:gdLst>
                    <a:gd name="connsiteX0" fmla="*/ 0 w 523018"/>
                    <a:gd name="connsiteY0" fmla="*/ 947261 h 989647"/>
                    <a:gd name="connsiteX1" fmla="*/ 307467 w 523018"/>
                    <a:gd name="connsiteY1" fmla="*/ 989648 h 989647"/>
                    <a:gd name="connsiteX2" fmla="*/ 523018 w 523018"/>
                    <a:gd name="connsiteY2" fmla="*/ 167259 h 989647"/>
                    <a:gd name="connsiteX3" fmla="*/ 259747 w 523018"/>
                    <a:gd name="connsiteY3" fmla="*/ 0 h 989647"/>
                    <a:gd name="connsiteX4" fmla="*/ 0 w 523018"/>
                    <a:gd name="connsiteY4" fmla="*/ 947261 h 9896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3018" h="989647">
                      <a:moveTo>
                        <a:pt x="0" y="947261"/>
                      </a:moveTo>
                      <a:lnTo>
                        <a:pt x="307467" y="989648"/>
                      </a:lnTo>
                      <a:lnTo>
                        <a:pt x="523018" y="167259"/>
                      </a:lnTo>
                      <a:lnTo>
                        <a:pt x="259747" y="0"/>
                      </a:lnTo>
                      <a:cubicBezTo>
                        <a:pt x="171069" y="80486"/>
                        <a:pt x="0" y="947261"/>
                        <a:pt x="0" y="94726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5" name="Freihandform: Form 154">
                  <a:extLst>
                    <a:ext uri="{FF2B5EF4-FFF2-40B4-BE49-F238E27FC236}">
                      <a16:creationId xmlns:a16="http://schemas.microsoft.com/office/drawing/2014/main" id="{AC2D8300-597A-BCDC-C56D-1E149E70B5B9}"/>
                    </a:ext>
                  </a:extLst>
                </p:cNvPr>
                <p:cNvSpPr/>
                <p:nvPr/>
              </p:nvSpPr>
              <p:spPr>
                <a:xfrm>
                  <a:off x="8398128" y="9204071"/>
                  <a:ext cx="310133" cy="310134"/>
                </a:xfrm>
                <a:custGeom>
                  <a:avLst/>
                  <a:gdLst>
                    <a:gd name="connsiteX0" fmla="*/ 310134 w 310133"/>
                    <a:gd name="connsiteY0" fmla="*/ 155067 h 310134"/>
                    <a:gd name="connsiteX1" fmla="*/ 155067 w 310133"/>
                    <a:gd name="connsiteY1" fmla="*/ 310134 h 310134"/>
                    <a:gd name="connsiteX2" fmla="*/ -1 w 310133"/>
                    <a:gd name="connsiteY2" fmla="*/ 155067 h 310134"/>
                    <a:gd name="connsiteX3" fmla="*/ 155067 w 310133"/>
                    <a:gd name="connsiteY3" fmla="*/ 0 h 310134"/>
                    <a:gd name="connsiteX4" fmla="*/ 310134 w 310133"/>
                    <a:gd name="connsiteY4" fmla="*/ 155067 h 3101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0133" h="310134">
                      <a:moveTo>
                        <a:pt x="310134" y="155067"/>
                      </a:moveTo>
                      <a:cubicBezTo>
                        <a:pt x="310134" y="240708"/>
                        <a:pt x="240708" y="310134"/>
                        <a:pt x="155067" y="310134"/>
                      </a:cubicBezTo>
                      <a:cubicBezTo>
                        <a:pt x="69425" y="310134"/>
                        <a:pt x="-1" y="240708"/>
                        <a:pt x="-1" y="155067"/>
                      </a:cubicBezTo>
                      <a:cubicBezTo>
                        <a:pt x="-1" y="69426"/>
                        <a:pt x="69425" y="0"/>
                        <a:pt x="155067" y="0"/>
                      </a:cubicBezTo>
                      <a:cubicBezTo>
                        <a:pt x="240708" y="0"/>
                        <a:pt x="310134" y="69426"/>
                        <a:pt x="310134" y="15506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6" name="Freihandform: Form 155">
                  <a:extLst>
                    <a:ext uri="{FF2B5EF4-FFF2-40B4-BE49-F238E27FC236}">
                      <a16:creationId xmlns:a16="http://schemas.microsoft.com/office/drawing/2014/main" id="{5ED076B0-4F74-B6DA-C9C8-A4EAA0A2B706}"/>
                    </a:ext>
                  </a:extLst>
                </p:cNvPr>
                <p:cNvSpPr/>
                <p:nvPr/>
              </p:nvSpPr>
              <p:spPr>
                <a:xfrm>
                  <a:off x="8616251" y="8188610"/>
                  <a:ext cx="575214" cy="3144202"/>
                </a:xfrm>
                <a:custGeom>
                  <a:avLst/>
                  <a:gdLst>
                    <a:gd name="connsiteX0" fmla="*/ 197358 w 575214"/>
                    <a:gd name="connsiteY0" fmla="*/ 1136999 h 3144202"/>
                    <a:gd name="connsiteX1" fmla="*/ 0 w 575214"/>
                    <a:gd name="connsiteY1" fmla="*/ 3144203 h 3144202"/>
                    <a:gd name="connsiteX2" fmla="*/ 527590 w 575214"/>
                    <a:gd name="connsiteY2" fmla="*/ 3144203 h 3144202"/>
                    <a:gd name="connsiteX3" fmla="*/ 575215 w 575214"/>
                    <a:gd name="connsiteY3" fmla="*/ 576167 h 3144202"/>
                    <a:gd name="connsiteX4" fmla="*/ 467868 w 575214"/>
                    <a:gd name="connsiteY4" fmla="*/ 0 h 3144202"/>
                    <a:gd name="connsiteX5" fmla="*/ 28194 w 575214"/>
                    <a:gd name="connsiteY5" fmla="*/ 225647 h 3144202"/>
                    <a:gd name="connsiteX6" fmla="*/ 216312 w 575214"/>
                    <a:gd name="connsiteY6" fmla="*/ 604838 h 3144202"/>
                    <a:gd name="connsiteX7" fmla="*/ 197453 w 575214"/>
                    <a:gd name="connsiteY7" fmla="*/ 1137095 h 3144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75214" h="3144202">
                      <a:moveTo>
                        <a:pt x="197358" y="1136999"/>
                      </a:moveTo>
                      <a:cubicBezTo>
                        <a:pt x="-28861" y="1726597"/>
                        <a:pt x="51340" y="2820543"/>
                        <a:pt x="0" y="3144203"/>
                      </a:cubicBezTo>
                      <a:lnTo>
                        <a:pt x="527590" y="3144203"/>
                      </a:lnTo>
                      <a:lnTo>
                        <a:pt x="575215" y="576167"/>
                      </a:lnTo>
                      <a:lnTo>
                        <a:pt x="467868" y="0"/>
                      </a:lnTo>
                      <a:cubicBezTo>
                        <a:pt x="302037" y="67151"/>
                        <a:pt x="69437" y="144590"/>
                        <a:pt x="28194" y="225647"/>
                      </a:cubicBezTo>
                      <a:cubicBezTo>
                        <a:pt x="120682" y="378047"/>
                        <a:pt x="216312" y="604838"/>
                        <a:pt x="216312" y="604838"/>
                      </a:cubicBezTo>
                      <a:cubicBezTo>
                        <a:pt x="216312" y="604838"/>
                        <a:pt x="200406" y="745903"/>
                        <a:pt x="197453" y="113709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7" name="Freihandform: Form 156">
                  <a:extLst>
                    <a:ext uri="{FF2B5EF4-FFF2-40B4-BE49-F238E27FC236}">
                      <a16:creationId xmlns:a16="http://schemas.microsoft.com/office/drawing/2014/main" id="{428B9EF3-D082-6A9A-5217-A7DEF58B5FFC}"/>
                    </a:ext>
                  </a:extLst>
                </p:cNvPr>
                <p:cNvSpPr/>
                <p:nvPr/>
              </p:nvSpPr>
              <p:spPr>
                <a:xfrm>
                  <a:off x="8923527" y="8237759"/>
                  <a:ext cx="199834" cy="706945"/>
                </a:xfrm>
                <a:custGeom>
                  <a:avLst/>
                  <a:gdLst>
                    <a:gd name="connsiteX0" fmla="*/ 35528 w 199834"/>
                    <a:gd name="connsiteY0" fmla="*/ 0 h 706945"/>
                    <a:gd name="connsiteX1" fmla="*/ 0 w 199834"/>
                    <a:gd name="connsiteY1" fmla="*/ 13906 h 706945"/>
                    <a:gd name="connsiteX2" fmla="*/ 88106 w 199834"/>
                    <a:gd name="connsiteY2" fmla="*/ 352234 h 706945"/>
                    <a:gd name="connsiteX3" fmla="*/ 199834 w 199834"/>
                    <a:gd name="connsiteY3" fmla="*/ 706946 h 706945"/>
                    <a:gd name="connsiteX4" fmla="*/ 123539 w 199834"/>
                    <a:gd name="connsiteY4" fmla="*/ 352234 h 706945"/>
                    <a:gd name="connsiteX5" fmla="*/ 35623 w 199834"/>
                    <a:gd name="connsiteY5" fmla="*/ 0 h 706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99834" h="706945">
                      <a:moveTo>
                        <a:pt x="35528" y="0"/>
                      </a:moveTo>
                      <a:lnTo>
                        <a:pt x="0" y="13906"/>
                      </a:lnTo>
                      <a:cubicBezTo>
                        <a:pt x="0" y="13906"/>
                        <a:pt x="76009" y="206692"/>
                        <a:pt x="88106" y="352234"/>
                      </a:cubicBezTo>
                      <a:cubicBezTo>
                        <a:pt x="100108" y="497776"/>
                        <a:pt x="199834" y="706946"/>
                        <a:pt x="199834" y="706946"/>
                      </a:cubicBezTo>
                      <a:cubicBezTo>
                        <a:pt x="199834" y="706946"/>
                        <a:pt x="128968" y="398050"/>
                        <a:pt x="123539" y="352234"/>
                      </a:cubicBezTo>
                      <a:cubicBezTo>
                        <a:pt x="118110" y="306419"/>
                        <a:pt x="35623" y="0"/>
                        <a:pt x="35623" y="0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8" name="Freihandform: Form 157">
                  <a:extLst>
                    <a:ext uri="{FF2B5EF4-FFF2-40B4-BE49-F238E27FC236}">
                      <a16:creationId xmlns:a16="http://schemas.microsoft.com/office/drawing/2014/main" id="{18507769-A6D6-D035-0333-5AC014C97E8C}"/>
                    </a:ext>
                  </a:extLst>
                </p:cNvPr>
                <p:cNvSpPr/>
                <p:nvPr/>
              </p:nvSpPr>
              <p:spPr>
                <a:xfrm>
                  <a:off x="8664457" y="8777255"/>
                  <a:ext cx="159748" cy="575881"/>
                </a:xfrm>
                <a:custGeom>
                  <a:avLst/>
                  <a:gdLst>
                    <a:gd name="connsiteX0" fmla="*/ 132483 w 159748"/>
                    <a:gd name="connsiteY0" fmla="*/ 0 h 575881"/>
                    <a:gd name="connsiteX1" fmla="*/ 6753 w 159748"/>
                    <a:gd name="connsiteY1" fmla="*/ 303467 h 575881"/>
                    <a:gd name="connsiteX2" fmla="*/ 50568 w 159748"/>
                    <a:gd name="connsiteY2" fmla="*/ 575881 h 575881"/>
                    <a:gd name="connsiteX3" fmla="*/ 50568 w 159748"/>
                    <a:gd name="connsiteY3" fmla="*/ 575881 h 575881"/>
                    <a:gd name="connsiteX4" fmla="*/ 157343 w 159748"/>
                    <a:gd name="connsiteY4" fmla="*/ 197834 h 575881"/>
                    <a:gd name="connsiteX5" fmla="*/ 132387 w 159748"/>
                    <a:gd name="connsiteY5" fmla="*/ 0 h 575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59748" h="575881">
                      <a:moveTo>
                        <a:pt x="132483" y="0"/>
                      </a:moveTo>
                      <a:cubicBezTo>
                        <a:pt x="80191" y="30004"/>
                        <a:pt x="-28013" y="139351"/>
                        <a:pt x="6753" y="303467"/>
                      </a:cubicBezTo>
                      <a:cubicBezTo>
                        <a:pt x="41614" y="467582"/>
                        <a:pt x="50568" y="575881"/>
                        <a:pt x="50568" y="575881"/>
                      </a:cubicBezTo>
                      <a:lnTo>
                        <a:pt x="50568" y="575881"/>
                      </a:lnTo>
                      <a:lnTo>
                        <a:pt x="157343" y="197834"/>
                      </a:lnTo>
                      <a:cubicBezTo>
                        <a:pt x="160201" y="166592"/>
                        <a:pt x="166582" y="73057"/>
                        <a:pt x="132387" y="0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9" name="Freihandform: Form 158">
                  <a:extLst>
                    <a:ext uri="{FF2B5EF4-FFF2-40B4-BE49-F238E27FC236}">
                      <a16:creationId xmlns:a16="http://schemas.microsoft.com/office/drawing/2014/main" id="{9724B1A0-2EC5-CA8A-1856-A5CE13B9B99A}"/>
                    </a:ext>
                  </a:extLst>
                </p:cNvPr>
                <p:cNvSpPr/>
                <p:nvPr/>
              </p:nvSpPr>
              <p:spPr>
                <a:xfrm>
                  <a:off x="8695689" y="9943306"/>
                  <a:ext cx="330837" cy="409959"/>
                </a:xfrm>
                <a:custGeom>
                  <a:avLst/>
                  <a:gdLst>
                    <a:gd name="connsiteX0" fmla="*/ 49911 w 330837"/>
                    <a:gd name="connsiteY0" fmla="*/ 0 h 409959"/>
                    <a:gd name="connsiteX1" fmla="*/ 37338 w 330837"/>
                    <a:gd name="connsiteY1" fmla="*/ 351377 h 409959"/>
                    <a:gd name="connsiteX2" fmla="*/ 330804 w 330837"/>
                    <a:gd name="connsiteY2" fmla="*/ 359093 h 409959"/>
                    <a:gd name="connsiteX3" fmla="*/ 0 w 330837"/>
                    <a:gd name="connsiteY3" fmla="*/ 388715 h 409959"/>
                    <a:gd name="connsiteX4" fmla="*/ 25146 w 330837"/>
                    <a:gd name="connsiteY4" fmla="*/ 81724 h 409959"/>
                    <a:gd name="connsiteX5" fmla="*/ 49911 w 330837"/>
                    <a:gd name="connsiteY5" fmla="*/ 0 h 409959"/>
                    <a:gd name="connsiteX6" fmla="*/ 49911 w 330837"/>
                    <a:gd name="connsiteY6" fmla="*/ 0 h 409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30837" h="409959">
                      <a:moveTo>
                        <a:pt x="49911" y="0"/>
                      </a:moveTo>
                      <a:cubicBezTo>
                        <a:pt x="49911" y="0"/>
                        <a:pt x="33909" y="310229"/>
                        <a:pt x="37338" y="351377"/>
                      </a:cubicBezTo>
                      <a:cubicBezTo>
                        <a:pt x="43149" y="368713"/>
                        <a:pt x="307372" y="358616"/>
                        <a:pt x="330804" y="359093"/>
                      </a:cubicBezTo>
                      <a:cubicBezTo>
                        <a:pt x="334709" y="393859"/>
                        <a:pt x="0" y="436340"/>
                        <a:pt x="0" y="388715"/>
                      </a:cubicBezTo>
                      <a:cubicBezTo>
                        <a:pt x="0" y="341090"/>
                        <a:pt x="20193" y="122015"/>
                        <a:pt x="25146" y="81724"/>
                      </a:cubicBezTo>
                      <a:cubicBezTo>
                        <a:pt x="31909" y="25813"/>
                        <a:pt x="32861" y="8572"/>
                        <a:pt x="49911" y="0"/>
                      </a:cubicBezTo>
                      <a:lnTo>
                        <a:pt x="49911" y="0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0" name="Freihandform: Form 159">
                  <a:extLst>
                    <a:ext uri="{FF2B5EF4-FFF2-40B4-BE49-F238E27FC236}">
                      <a16:creationId xmlns:a16="http://schemas.microsoft.com/office/drawing/2014/main" id="{ECD1431D-A7A3-E30B-0D66-4FF18466F40D}"/>
                    </a:ext>
                  </a:extLst>
                </p:cNvPr>
                <p:cNvSpPr/>
                <p:nvPr/>
              </p:nvSpPr>
              <p:spPr>
                <a:xfrm>
                  <a:off x="9393395" y="8211756"/>
                  <a:ext cx="575977" cy="3121056"/>
                </a:xfrm>
                <a:custGeom>
                  <a:avLst/>
                  <a:gdLst>
                    <a:gd name="connsiteX0" fmla="*/ 575977 w 575977"/>
                    <a:gd name="connsiteY0" fmla="*/ 3121057 h 3121056"/>
                    <a:gd name="connsiteX1" fmla="*/ 377857 w 575977"/>
                    <a:gd name="connsiteY1" fmla="*/ 1113854 h 3121056"/>
                    <a:gd name="connsiteX2" fmla="*/ 358997 w 575977"/>
                    <a:gd name="connsiteY2" fmla="*/ 581597 h 3121056"/>
                    <a:gd name="connsiteX3" fmla="*/ 540925 w 575977"/>
                    <a:gd name="connsiteY3" fmla="*/ 220123 h 3121056"/>
                    <a:gd name="connsiteX4" fmla="*/ 102680 w 575977"/>
                    <a:gd name="connsiteY4" fmla="*/ 0 h 3121056"/>
                    <a:gd name="connsiteX5" fmla="*/ 0 w 575977"/>
                    <a:gd name="connsiteY5" fmla="*/ 552926 h 3121056"/>
                    <a:gd name="connsiteX6" fmla="*/ 47816 w 575977"/>
                    <a:gd name="connsiteY6" fmla="*/ 3120962 h 3121056"/>
                    <a:gd name="connsiteX7" fmla="*/ 575977 w 575977"/>
                    <a:gd name="connsiteY7" fmla="*/ 3120962 h 3121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75977" h="3121056">
                      <a:moveTo>
                        <a:pt x="575977" y="3121057"/>
                      </a:moveTo>
                      <a:cubicBezTo>
                        <a:pt x="522923" y="2803493"/>
                        <a:pt x="605219" y="1706594"/>
                        <a:pt x="377857" y="1113854"/>
                      </a:cubicBezTo>
                      <a:cubicBezTo>
                        <a:pt x="374904" y="722757"/>
                        <a:pt x="358997" y="581597"/>
                        <a:pt x="358997" y="581597"/>
                      </a:cubicBezTo>
                      <a:cubicBezTo>
                        <a:pt x="358997" y="581597"/>
                        <a:pt x="448437" y="372523"/>
                        <a:pt x="540925" y="220123"/>
                      </a:cubicBezTo>
                      <a:cubicBezTo>
                        <a:pt x="496729" y="112681"/>
                        <a:pt x="254889" y="58102"/>
                        <a:pt x="102680" y="0"/>
                      </a:cubicBezTo>
                      <a:lnTo>
                        <a:pt x="0" y="552926"/>
                      </a:lnTo>
                      <a:lnTo>
                        <a:pt x="47816" y="3120962"/>
                      </a:lnTo>
                      <a:lnTo>
                        <a:pt x="575977" y="312096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1" name="Freihandform: Form 160">
                  <a:extLst>
                    <a:ext uri="{FF2B5EF4-FFF2-40B4-BE49-F238E27FC236}">
                      <a16:creationId xmlns:a16="http://schemas.microsoft.com/office/drawing/2014/main" id="{E94B8753-FD2E-50BC-C29D-31EA77A7B3D5}"/>
                    </a:ext>
                  </a:extLst>
                </p:cNvPr>
                <p:cNvSpPr/>
                <p:nvPr/>
              </p:nvSpPr>
              <p:spPr>
                <a:xfrm>
                  <a:off x="9346962" y="8048069"/>
                  <a:ext cx="321998" cy="541925"/>
                </a:xfrm>
                <a:custGeom>
                  <a:avLst/>
                  <a:gdLst>
                    <a:gd name="connsiteX0" fmla="*/ 108251 w 321998"/>
                    <a:gd name="connsiteY0" fmla="*/ 79486 h 541925"/>
                    <a:gd name="connsiteX1" fmla="*/ 300084 w 321998"/>
                    <a:gd name="connsiteY1" fmla="*/ 216265 h 541925"/>
                    <a:gd name="connsiteX2" fmla="*/ 180641 w 321998"/>
                    <a:gd name="connsiteY2" fmla="*/ 354378 h 541925"/>
                    <a:gd name="connsiteX3" fmla="*/ 149113 w 321998"/>
                    <a:gd name="connsiteY3" fmla="*/ 541925 h 541925"/>
                    <a:gd name="connsiteX4" fmla="*/ 35289 w 321998"/>
                    <a:gd name="connsiteY4" fmla="*/ 264176 h 541925"/>
                    <a:gd name="connsiteX5" fmla="*/ 108251 w 321998"/>
                    <a:gd name="connsiteY5" fmla="*/ 79486 h 541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1998" h="541925">
                      <a:moveTo>
                        <a:pt x="108251" y="79486"/>
                      </a:moveTo>
                      <a:cubicBezTo>
                        <a:pt x="82534" y="-113585"/>
                        <a:pt x="407717" y="89964"/>
                        <a:pt x="300084" y="216265"/>
                      </a:cubicBezTo>
                      <a:cubicBezTo>
                        <a:pt x="300084" y="216265"/>
                        <a:pt x="221217" y="286750"/>
                        <a:pt x="180641" y="354378"/>
                      </a:cubicBezTo>
                      <a:cubicBezTo>
                        <a:pt x="140064" y="422005"/>
                        <a:pt x="146256" y="484870"/>
                        <a:pt x="149113" y="541925"/>
                      </a:cubicBezTo>
                      <a:cubicBezTo>
                        <a:pt x="-20336" y="527161"/>
                        <a:pt x="-25194" y="321612"/>
                        <a:pt x="35289" y="264176"/>
                      </a:cubicBezTo>
                      <a:cubicBezTo>
                        <a:pt x="133968" y="170450"/>
                        <a:pt x="123015" y="126635"/>
                        <a:pt x="108251" y="7948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2" name="Freihandform: Form 161">
                  <a:extLst>
                    <a:ext uri="{FF2B5EF4-FFF2-40B4-BE49-F238E27FC236}">
                      <a16:creationId xmlns:a16="http://schemas.microsoft.com/office/drawing/2014/main" id="{EF20A702-583F-A000-508D-7D09859DA7CB}"/>
                    </a:ext>
                  </a:extLst>
                </p:cNvPr>
                <p:cNvSpPr/>
                <p:nvPr/>
              </p:nvSpPr>
              <p:spPr>
                <a:xfrm>
                  <a:off x="8386350" y="9342088"/>
                  <a:ext cx="319816" cy="722471"/>
                </a:xfrm>
                <a:custGeom>
                  <a:avLst/>
                  <a:gdLst>
                    <a:gd name="connsiteX0" fmla="*/ 11778 w 319816"/>
                    <a:gd name="connsiteY0" fmla="*/ 722471 h 722471"/>
                    <a:gd name="connsiteX1" fmla="*/ 243998 w 319816"/>
                    <a:gd name="connsiteY1" fmla="*/ 722471 h 722471"/>
                    <a:gd name="connsiteX2" fmla="*/ 319817 w 319816"/>
                    <a:gd name="connsiteY2" fmla="*/ 42386 h 722471"/>
                    <a:gd name="connsiteX3" fmla="*/ 12350 w 319816"/>
                    <a:gd name="connsiteY3" fmla="*/ 0 h 722471"/>
                    <a:gd name="connsiteX4" fmla="*/ 11683 w 319816"/>
                    <a:gd name="connsiteY4" fmla="*/ 722471 h 7224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9816" h="722471">
                      <a:moveTo>
                        <a:pt x="11778" y="722471"/>
                      </a:moveTo>
                      <a:lnTo>
                        <a:pt x="243998" y="722471"/>
                      </a:lnTo>
                      <a:cubicBezTo>
                        <a:pt x="243998" y="722471"/>
                        <a:pt x="304100" y="215360"/>
                        <a:pt x="319817" y="42386"/>
                      </a:cubicBezTo>
                      <a:lnTo>
                        <a:pt x="12350" y="0"/>
                      </a:lnTo>
                      <a:cubicBezTo>
                        <a:pt x="12350" y="339566"/>
                        <a:pt x="-14987" y="531781"/>
                        <a:pt x="11683" y="72247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3" name="Freihandform: Form 162">
                  <a:extLst>
                    <a:ext uri="{FF2B5EF4-FFF2-40B4-BE49-F238E27FC236}">
                      <a16:creationId xmlns:a16="http://schemas.microsoft.com/office/drawing/2014/main" id="{A9858B92-41E1-D564-8C3B-907D068FCFBF}"/>
                    </a:ext>
                  </a:extLst>
                </p:cNvPr>
                <p:cNvSpPr/>
                <p:nvPr/>
              </p:nvSpPr>
              <p:spPr>
                <a:xfrm>
                  <a:off x="9633235" y="8339391"/>
                  <a:ext cx="314705" cy="314706"/>
                </a:xfrm>
                <a:custGeom>
                  <a:avLst/>
                  <a:gdLst>
                    <a:gd name="connsiteX0" fmla="*/ 314706 w 314705"/>
                    <a:gd name="connsiteY0" fmla="*/ 157353 h 314706"/>
                    <a:gd name="connsiteX1" fmla="*/ 157353 w 314705"/>
                    <a:gd name="connsiteY1" fmla="*/ 314706 h 314706"/>
                    <a:gd name="connsiteX2" fmla="*/ 0 w 314705"/>
                    <a:gd name="connsiteY2" fmla="*/ 157353 h 314706"/>
                    <a:gd name="connsiteX3" fmla="*/ 157353 w 314705"/>
                    <a:gd name="connsiteY3" fmla="*/ 0 h 314706"/>
                    <a:gd name="connsiteX4" fmla="*/ 314706 w 314705"/>
                    <a:gd name="connsiteY4" fmla="*/ 157353 h 314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4705" h="314706">
                      <a:moveTo>
                        <a:pt x="314706" y="157353"/>
                      </a:moveTo>
                      <a:cubicBezTo>
                        <a:pt x="314706" y="244257"/>
                        <a:pt x="244257" y="314706"/>
                        <a:pt x="157353" y="314706"/>
                      </a:cubicBezTo>
                      <a:cubicBezTo>
                        <a:pt x="70449" y="314706"/>
                        <a:pt x="0" y="244257"/>
                        <a:pt x="0" y="157353"/>
                      </a:cubicBezTo>
                      <a:cubicBezTo>
                        <a:pt x="0" y="70449"/>
                        <a:pt x="70449" y="0"/>
                        <a:pt x="157353" y="0"/>
                      </a:cubicBezTo>
                      <a:cubicBezTo>
                        <a:pt x="244256" y="0"/>
                        <a:pt x="314706" y="70449"/>
                        <a:pt x="314706" y="15735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4" name="Freihandform: Form 163">
                  <a:extLst>
                    <a:ext uri="{FF2B5EF4-FFF2-40B4-BE49-F238E27FC236}">
                      <a16:creationId xmlns:a16="http://schemas.microsoft.com/office/drawing/2014/main" id="{1BC5C391-05AC-9562-1452-E6FD39E1ED8C}"/>
                    </a:ext>
                  </a:extLst>
                </p:cNvPr>
                <p:cNvSpPr/>
                <p:nvPr/>
              </p:nvSpPr>
              <p:spPr>
                <a:xfrm>
                  <a:off x="9658000" y="8417591"/>
                  <a:ext cx="625982" cy="890015"/>
                </a:xfrm>
                <a:custGeom>
                  <a:avLst/>
                  <a:gdLst>
                    <a:gd name="connsiteX0" fmla="*/ 625888 w 625982"/>
                    <a:gd name="connsiteY0" fmla="*/ 774287 h 890015"/>
                    <a:gd name="connsiteX1" fmla="*/ 334518 w 625982"/>
                    <a:gd name="connsiteY1" fmla="*/ 890016 h 890015"/>
                    <a:gd name="connsiteX2" fmla="*/ 135064 w 625982"/>
                    <a:gd name="connsiteY2" fmla="*/ 426720 h 890015"/>
                    <a:gd name="connsiteX3" fmla="*/ 0 w 625982"/>
                    <a:gd name="connsiteY3" fmla="*/ 163163 h 890015"/>
                    <a:gd name="connsiteX4" fmla="*/ 268986 w 625982"/>
                    <a:gd name="connsiteY4" fmla="*/ 0 h 890015"/>
                    <a:gd name="connsiteX5" fmla="*/ 430339 w 625982"/>
                    <a:gd name="connsiteY5" fmla="*/ 315373 h 890015"/>
                    <a:gd name="connsiteX6" fmla="*/ 625983 w 625982"/>
                    <a:gd name="connsiteY6" fmla="*/ 774287 h 890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5982" h="890015">
                      <a:moveTo>
                        <a:pt x="625888" y="774287"/>
                      </a:moveTo>
                      <a:lnTo>
                        <a:pt x="334518" y="890016"/>
                      </a:lnTo>
                      <a:lnTo>
                        <a:pt x="135064" y="426720"/>
                      </a:lnTo>
                      <a:lnTo>
                        <a:pt x="0" y="163163"/>
                      </a:lnTo>
                      <a:lnTo>
                        <a:pt x="268986" y="0"/>
                      </a:lnTo>
                      <a:cubicBezTo>
                        <a:pt x="311182" y="74009"/>
                        <a:pt x="367665" y="187928"/>
                        <a:pt x="430339" y="315373"/>
                      </a:cubicBezTo>
                      <a:cubicBezTo>
                        <a:pt x="529780" y="517589"/>
                        <a:pt x="625983" y="774287"/>
                        <a:pt x="625983" y="77428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5" name="Freihandform: Form 164">
                  <a:extLst>
                    <a:ext uri="{FF2B5EF4-FFF2-40B4-BE49-F238E27FC236}">
                      <a16:creationId xmlns:a16="http://schemas.microsoft.com/office/drawing/2014/main" id="{FC2F2DBD-EF16-FDCF-5CD0-F1C7EADFA2F8}"/>
                    </a:ext>
                  </a:extLst>
                </p:cNvPr>
                <p:cNvSpPr/>
                <p:nvPr/>
              </p:nvSpPr>
              <p:spPr>
                <a:xfrm>
                  <a:off x="9381870" y="8729059"/>
                  <a:ext cx="596360" cy="785241"/>
                </a:xfrm>
                <a:custGeom>
                  <a:avLst/>
                  <a:gdLst>
                    <a:gd name="connsiteX0" fmla="*/ 572548 w 596360"/>
                    <a:gd name="connsiteY0" fmla="*/ 0 h 785241"/>
                    <a:gd name="connsiteX1" fmla="*/ 596360 w 596360"/>
                    <a:gd name="connsiteY1" fmla="*/ 23813 h 785241"/>
                    <a:gd name="connsiteX2" fmla="*/ 596360 w 596360"/>
                    <a:gd name="connsiteY2" fmla="*/ 761429 h 785241"/>
                    <a:gd name="connsiteX3" fmla="*/ 572548 w 596360"/>
                    <a:gd name="connsiteY3" fmla="*/ 785241 h 785241"/>
                    <a:gd name="connsiteX4" fmla="*/ 23813 w 596360"/>
                    <a:gd name="connsiteY4" fmla="*/ 785241 h 785241"/>
                    <a:gd name="connsiteX5" fmla="*/ 0 w 596360"/>
                    <a:gd name="connsiteY5" fmla="*/ 761429 h 785241"/>
                    <a:gd name="connsiteX6" fmla="*/ 0 w 596360"/>
                    <a:gd name="connsiteY6" fmla="*/ 23813 h 785241"/>
                    <a:gd name="connsiteX7" fmla="*/ 23813 w 596360"/>
                    <a:gd name="connsiteY7" fmla="*/ 0 h 785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96360" h="785241">
                      <a:moveTo>
                        <a:pt x="572548" y="0"/>
                      </a:moveTo>
                      <a:cubicBezTo>
                        <a:pt x="585699" y="0"/>
                        <a:pt x="596360" y="10661"/>
                        <a:pt x="596360" y="23813"/>
                      </a:cubicBezTo>
                      <a:lnTo>
                        <a:pt x="596360" y="761429"/>
                      </a:lnTo>
                      <a:cubicBezTo>
                        <a:pt x="596360" y="774580"/>
                        <a:pt x="585699" y="785241"/>
                        <a:pt x="572548" y="785241"/>
                      </a:cubicBezTo>
                      <a:lnTo>
                        <a:pt x="23813" y="785241"/>
                      </a:lnTo>
                      <a:cubicBezTo>
                        <a:pt x="10661" y="785241"/>
                        <a:pt x="0" y="774580"/>
                        <a:pt x="0" y="761429"/>
                      </a:cubicBezTo>
                      <a:lnTo>
                        <a:pt x="0" y="23813"/>
                      </a:lnTo>
                      <a:cubicBezTo>
                        <a:pt x="0" y="10661"/>
                        <a:pt x="10661" y="0"/>
                        <a:pt x="23813" y="0"/>
                      </a:cubicBezTo>
                      <a:close/>
                    </a:path>
                  </a:pathLst>
                </a:custGeom>
                <a:solidFill>
                  <a:srgbClr val="EDEDE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6" name="Freihandform: Form 165">
                  <a:extLst>
                    <a:ext uri="{FF2B5EF4-FFF2-40B4-BE49-F238E27FC236}">
                      <a16:creationId xmlns:a16="http://schemas.microsoft.com/office/drawing/2014/main" id="{74F51648-D0C5-7588-444D-05093F679C0E}"/>
                    </a:ext>
                  </a:extLst>
                </p:cNvPr>
                <p:cNvSpPr/>
                <p:nvPr/>
              </p:nvSpPr>
              <p:spPr>
                <a:xfrm>
                  <a:off x="9348914" y="8729059"/>
                  <a:ext cx="596360" cy="785241"/>
                </a:xfrm>
                <a:custGeom>
                  <a:avLst/>
                  <a:gdLst>
                    <a:gd name="connsiteX0" fmla="*/ 0 w 596360"/>
                    <a:gd name="connsiteY0" fmla="*/ 0 h 785241"/>
                    <a:gd name="connsiteX1" fmla="*/ 596360 w 596360"/>
                    <a:gd name="connsiteY1" fmla="*/ 0 h 785241"/>
                    <a:gd name="connsiteX2" fmla="*/ 596360 w 596360"/>
                    <a:gd name="connsiteY2" fmla="*/ 785241 h 785241"/>
                    <a:gd name="connsiteX3" fmla="*/ 0 w 596360"/>
                    <a:gd name="connsiteY3" fmla="*/ 785241 h 785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96360" h="785241">
                      <a:moveTo>
                        <a:pt x="0" y="0"/>
                      </a:moveTo>
                      <a:lnTo>
                        <a:pt x="596360" y="0"/>
                      </a:lnTo>
                      <a:lnTo>
                        <a:pt x="596360" y="785241"/>
                      </a:lnTo>
                      <a:lnTo>
                        <a:pt x="0" y="785241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7" name="Freihandform: Form 166">
                  <a:extLst>
                    <a:ext uri="{FF2B5EF4-FFF2-40B4-BE49-F238E27FC236}">
                      <a16:creationId xmlns:a16="http://schemas.microsoft.com/office/drawing/2014/main" id="{E6236043-A530-38BD-D818-F119299DE817}"/>
                    </a:ext>
                  </a:extLst>
                </p:cNvPr>
                <p:cNvSpPr/>
                <p:nvPr/>
              </p:nvSpPr>
              <p:spPr>
                <a:xfrm>
                  <a:off x="9578942" y="8850693"/>
                  <a:ext cx="123253" cy="123253"/>
                </a:xfrm>
                <a:custGeom>
                  <a:avLst/>
                  <a:gdLst>
                    <a:gd name="connsiteX0" fmla="*/ 123254 w 123253"/>
                    <a:gd name="connsiteY0" fmla="*/ 61627 h 123253"/>
                    <a:gd name="connsiteX1" fmla="*/ 61627 w 123253"/>
                    <a:gd name="connsiteY1" fmla="*/ 123253 h 123253"/>
                    <a:gd name="connsiteX2" fmla="*/ 1 w 123253"/>
                    <a:gd name="connsiteY2" fmla="*/ 61627 h 123253"/>
                    <a:gd name="connsiteX3" fmla="*/ 61627 w 123253"/>
                    <a:gd name="connsiteY3" fmla="*/ 0 h 123253"/>
                    <a:gd name="connsiteX4" fmla="*/ 123254 w 123253"/>
                    <a:gd name="connsiteY4" fmla="*/ 61627 h 1232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3253" h="123253">
                      <a:moveTo>
                        <a:pt x="123254" y="61627"/>
                      </a:moveTo>
                      <a:cubicBezTo>
                        <a:pt x="123254" y="95662"/>
                        <a:pt x="95662" y="123253"/>
                        <a:pt x="61627" y="123253"/>
                      </a:cubicBezTo>
                      <a:cubicBezTo>
                        <a:pt x="27592" y="123253"/>
                        <a:pt x="1" y="95662"/>
                        <a:pt x="1" y="61627"/>
                      </a:cubicBezTo>
                      <a:cubicBezTo>
                        <a:pt x="1" y="27591"/>
                        <a:pt x="27592" y="0"/>
                        <a:pt x="61627" y="0"/>
                      </a:cubicBezTo>
                      <a:cubicBezTo>
                        <a:pt x="95663" y="0"/>
                        <a:pt x="123254" y="27591"/>
                        <a:pt x="123254" y="61627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8" name="Freihandform: Form 167">
                  <a:extLst>
                    <a:ext uri="{FF2B5EF4-FFF2-40B4-BE49-F238E27FC236}">
                      <a16:creationId xmlns:a16="http://schemas.microsoft.com/office/drawing/2014/main" id="{8E3FA608-B7E8-8DD6-4AB6-F61DC357A081}"/>
                    </a:ext>
                  </a:extLst>
                </p:cNvPr>
                <p:cNvSpPr/>
                <p:nvPr/>
              </p:nvSpPr>
              <p:spPr>
                <a:xfrm>
                  <a:off x="9852024" y="8764778"/>
                  <a:ext cx="24955" cy="24955"/>
                </a:xfrm>
                <a:custGeom>
                  <a:avLst/>
                  <a:gdLst>
                    <a:gd name="connsiteX0" fmla="*/ 24955 w 24955"/>
                    <a:gd name="connsiteY0" fmla="*/ 12478 h 24955"/>
                    <a:gd name="connsiteX1" fmla="*/ 12478 w 24955"/>
                    <a:gd name="connsiteY1" fmla="*/ 24955 h 24955"/>
                    <a:gd name="connsiteX2" fmla="*/ 0 w 24955"/>
                    <a:gd name="connsiteY2" fmla="*/ 12478 h 24955"/>
                    <a:gd name="connsiteX3" fmla="*/ 12478 w 24955"/>
                    <a:gd name="connsiteY3" fmla="*/ 0 h 24955"/>
                    <a:gd name="connsiteX4" fmla="*/ 24955 w 24955"/>
                    <a:gd name="connsiteY4" fmla="*/ 12478 h 24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955" h="24955">
                      <a:moveTo>
                        <a:pt x="24955" y="12478"/>
                      </a:moveTo>
                      <a:cubicBezTo>
                        <a:pt x="24955" y="19369"/>
                        <a:pt x="19369" y="24955"/>
                        <a:pt x="12478" y="24955"/>
                      </a:cubicBezTo>
                      <a:cubicBezTo>
                        <a:pt x="5586" y="24955"/>
                        <a:pt x="0" y="19369"/>
                        <a:pt x="0" y="12478"/>
                      </a:cubicBezTo>
                      <a:cubicBezTo>
                        <a:pt x="0" y="5586"/>
                        <a:pt x="5586" y="0"/>
                        <a:pt x="12478" y="0"/>
                      </a:cubicBezTo>
                      <a:cubicBezTo>
                        <a:pt x="19369" y="0"/>
                        <a:pt x="24955" y="5586"/>
                        <a:pt x="24955" y="12478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9" name="Freihandform: Form 168">
                  <a:extLst>
                    <a:ext uri="{FF2B5EF4-FFF2-40B4-BE49-F238E27FC236}">
                      <a16:creationId xmlns:a16="http://schemas.microsoft.com/office/drawing/2014/main" id="{CB385690-8B69-8E62-847B-E8CA154DE699}"/>
                    </a:ext>
                  </a:extLst>
                </p:cNvPr>
                <p:cNvSpPr/>
                <p:nvPr/>
              </p:nvSpPr>
              <p:spPr>
                <a:xfrm>
                  <a:off x="9472929" y="9031097"/>
                  <a:ext cx="135255" cy="135254"/>
                </a:xfrm>
                <a:custGeom>
                  <a:avLst/>
                  <a:gdLst>
                    <a:gd name="connsiteX0" fmla="*/ 135255 w 135255"/>
                    <a:gd name="connsiteY0" fmla="*/ 67628 h 135254"/>
                    <a:gd name="connsiteX1" fmla="*/ 67628 w 135255"/>
                    <a:gd name="connsiteY1" fmla="*/ 135255 h 135254"/>
                    <a:gd name="connsiteX2" fmla="*/ 1 w 135255"/>
                    <a:gd name="connsiteY2" fmla="*/ 67628 h 135254"/>
                    <a:gd name="connsiteX3" fmla="*/ 67628 w 135255"/>
                    <a:gd name="connsiteY3" fmla="*/ 0 h 135254"/>
                    <a:gd name="connsiteX4" fmla="*/ 135255 w 135255"/>
                    <a:gd name="connsiteY4" fmla="*/ 67628 h 1352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255" h="135254">
                      <a:moveTo>
                        <a:pt x="135255" y="67628"/>
                      </a:moveTo>
                      <a:cubicBezTo>
                        <a:pt x="135255" y="104977"/>
                        <a:pt x="104977" y="135255"/>
                        <a:pt x="67628" y="135255"/>
                      </a:cubicBezTo>
                      <a:cubicBezTo>
                        <a:pt x="30279" y="135255"/>
                        <a:pt x="1" y="104977"/>
                        <a:pt x="1" y="67628"/>
                      </a:cubicBezTo>
                      <a:cubicBezTo>
                        <a:pt x="1" y="30278"/>
                        <a:pt x="30279" y="0"/>
                        <a:pt x="67628" y="0"/>
                      </a:cubicBezTo>
                      <a:cubicBezTo>
                        <a:pt x="104977" y="0"/>
                        <a:pt x="135255" y="30278"/>
                        <a:pt x="135255" y="6762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0" name="Freihandform: Form 169">
                  <a:extLst>
                    <a:ext uri="{FF2B5EF4-FFF2-40B4-BE49-F238E27FC236}">
                      <a16:creationId xmlns:a16="http://schemas.microsoft.com/office/drawing/2014/main" id="{9ACC2546-94E8-6ACA-417C-4F295F918A47}"/>
                    </a:ext>
                  </a:extLst>
                </p:cNvPr>
                <p:cNvSpPr/>
                <p:nvPr/>
              </p:nvSpPr>
              <p:spPr>
                <a:xfrm>
                  <a:off x="9261970" y="8864885"/>
                  <a:ext cx="308150" cy="265148"/>
                </a:xfrm>
                <a:custGeom>
                  <a:avLst/>
                  <a:gdLst>
                    <a:gd name="connsiteX0" fmla="*/ 167049 w 308150"/>
                    <a:gd name="connsiteY0" fmla="*/ 59246 h 265148"/>
                    <a:gd name="connsiteX1" fmla="*/ 245725 w 308150"/>
                    <a:gd name="connsiteY1" fmla="*/ 106299 h 265148"/>
                    <a:gd name="connsiteX2" fmla="*/ 306685 w 308150"/>
                    <a:gd name="connsiteY2" fmla="*/ 206788 h 265148"/>
                    <a:gd name="connsiteX3" fmla="*/ 197338 w 308150"/>
                    <a:gd name="connsiteY3" fmla="*/ 239173 h 265148"/>
                    <a:gd name="connsiteX4" fmla="*/ 131520 w 308150"/>
                    <a:gd name="connsiteY4" fmla="*/ 136588 h 265148"/>
                    <a:gd name="connsiteX5" fmla="*/ 67322 w 308150"/>
                    <a:gd name="connsiteY5" fmla="*/ 96012 h 265148"/>
                    <a:gd name="connsiteX6" fmla="*/ 67322 w 308150"/>
                    <a:gd name="connsiteY6" fmla="*/ 96012 h 265148"/>
                    <a:gd name="connsiteX7" fmla="*/ 22269 w 308150"/>
                    <a:gd name="connsiteY7" fmla="*/ 64579 h 265148"/>
                    <a:gd name="connsiteX8" fmla="*/ 5790 w 308150"/>
                    <a:gd name="connsiteY8" fmla="*/ 0 h 265148"/>
                    <a:gd name="connsiteX9" fmla="*/ 71036 w 308150"/>
                    <a:gd name="connsiteY9" fmla="*/ 37147 h 265148"/>
                    <a:gd name="connsiteX10" fmla="*/ 166000 w 308150"/>
                    <a:gd name="connsiteY10" fmla="*/ 58674 h 265148"/>
                    <a:gd name="connsiteX11" fmla="*/ 166572 w 308150"/>
                    <a:gd name="connsiteY11" fmla="*/ 59912 h 265148"/>
                    <a:gd name="connsiteX12" fmla="*/ 167049 w 308150"/>
                    <a:gd name="connsiteY12" fmla="*/ 59150 h 265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08150" h="265148">
                      <a:moveTo>
                        <a:pt x="167049" y="59246"/>
                      </a:moveTo>
                      <a:cubicBezTo>
                        <a:pt x="167049" y="59246"/>
                        <a:pt x="224770" y="90297"/>
                        <a:pt x="245725" y="106299"/>
                      </a:cubicBezTo>
                      <a:cubicBezTo>
                        <a:pt x="245725" y="106299"/>
                        <a:pt x="319353" y="177927"/>
                        <a:pt x="306685" y="206788"/>
                      </a:cubicBezTo>
                      <a:cubicBezTo>
                        <a:pt x="283920" y="258699"/>
                        <a:pt x="207244" y="290322"/>
                        <a:pt x="197338" y="239173"/>
                      </a:cubicBezTo>
                      <a:cubicBezTo>
                        <a:pt x="186765" y="184975"/>
                        <a:pt x="139331" y="143256"/>
                        <a:pt x="131520" y="136588"/>
                      </a:cubicBezTo>
                      <a:lnTo>
                        <a:pt x="67322" y="96012"/>
                      </a:lnTo>
                      <a:cubicBezTo>
                        <a:pt x="67322" y="96012"/>
                        <a:pt x="67322" y="96012"/>
                        <a:pt x="67322" y="96012"/>
                      </a:cubicBezTo>
                      <a:cubicBezTo>
                        <a:pt x="53606" y="87154"/>
                        <a:pt x="37508" y="76009"/>
                        <a:pt x="22269" y="64579"/>
                      </a:cubicBezTo>
                      <a:cubicBezTo>
                        <a:pt x="1599" y="48958"/>
                        <a:pt x="-6497" y="32957"/>
                        <a:pt x="5790" y="0"/>
                      </a:cubicBezTo>
                      <a:lnTo>
                        <a:pt x="71036" y="37147"/>
                      </a:lnTo>
                      <a:cubicBezTo>
                        <a:pt x="71036" y="37147"/>
                        <a:pt x="167049" y="59150"/>
                        <a:pt x="166000" y="58674"/>
                      </a:cubicBezTo>
                      <a:cubicBezTo>
                        <a:pt x="166286" y="59055"/>
                        <a:pt x="166382" y="59531"/>
                        <a:pt x="166572" y="59912"/>
                      </a:cubicBezTo>
                      <a:cubicBezTo>
                        <a:pt x="166763" y="59626"/>
                        <a:pt x="166858" y="59436"/>
                        <a:pt x="167049" y="59150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1" name="Freihandform: Form 170">
                  <a:extLst>
                    <a:ext uri="{FF2B5EF4-FFF2-40B4-BE49-F238E27FC236}">
                      <a16:creationId xmlns:a16="http://schemas.microsoft.com/office/drawing/2014/main" id="{79F30F25-5747-1D05-31B3-B0E840E7A98A}"/>
                    </a:ext>
                  </a:extLst>
                </p:cNvPr>
                <p:cNvSpPr/>
                <p:nvPr/>
              </p:nvSpPr>
              <p:spPr>
                <a:xfrm>
                  <a:off x="9265221" y="8967683"/>
                  <a:ext cx="295814" cy="221737"/>
                </a:xfrm>
                <a:custGeom>
                  <a:avLst/>
                  <a:gdLst>
                    <a:gd name="connsiteX0" fmla="*/ 209422 w 295814"/>
                    <a:gd name="connsiteY0" fmla="*/ 11026 h 221737"/>
                    <a:gd name="connsiteX1" fmla="*/ 68357 w 295814"/>
                    <a:gd name="connsiteY1" fmla="*/ 15598 h 221737"/>
                    <a:gd name="connsiteX2" fmla="*/ 6158 w 295814"/>
                    <a:gd name="connsiteY2" fmla="*/ 29790 h 221737"/>
                    <a:gd name="connsiteX3" fmla="*/ 63785 w 295814"/>
                    <a:gd name="connsiteY3" fmla="*/ 220290 h 221737"/>
                    <a:gd name="connsiteX4" fmla="*/ 268382 w 295814"/>
                    <a:gd name="connsiteY4" fmla="*/ 198573 h 221737"/>
                    <a:gd name="connsiteX5" fmla="*/ 295814 w 295814"/>
                    <a:gd name="connsiteY5" fmla="*/ 73034 h 221737"/>
                    <a:gd name="connsiteX6" fmla="*/ 209422 w 295814"/>
                    <a:gd name="connsiteY6" fmla="*/ 11026 h 2217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95814" h="221737">
                      <a:moveTo>
                        <a:pt x="209422" y="11026"/>
                      </a:moveTo>
                      <a:cubicBezTo>
                        <a:pt x="153224" y="-16216"/>
                        <a:pt x="68357" y="15598"/>
                        <a:pt x="68357" y="15598"/>
                      </a:cubicBezTo>
                      <a:lnTo>
                        <a:pt x="6158" y="29790"/>
                      </a:lnTo>
                      <a:cubicBezTo>
                        <a:pt x="-10986" y="83416"/>
                        <a:pt x="7492" y="164188"/>
                        <a:pt x="63785" y="220290"/>
                      </a:cubicBezTo>
                      <a:cubicBezTo>
                        <a:pt x="156559" y="228577"/>
                        <a:pt x="268382" y="198573"/>
                        <a:pt x="268382" y="198573"/>
                      </a:cubicBezTo>
                      <a:lnTo>
                        <a:pt x="295814" y="73034"/>
                      </a:lnTo>
                      <a:cubicBezTo>
                        <a:pt x="295814" y="73034"/>
                        <a:pt x="265620" y="38172"/>
                        <a:pt x="209422" y="1102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2" name="Freihandform: Form 171">
                  <a:extLst>
                    <a:ext uri="{FF2B5EF4-FFF2-40B4-BE49-F238E27FC236}">
                      <a16:creationId xmlns:a16="http://schemas.microsoft.com/office/drawing/2014/main" id="{6DED3D6A-92C1-77E7-FFB1-F1A5144D74CF}"/>
                    </a:ext>
                  </a:extLst>
                </p:cNvPr>
                <p:cNvSpPr/>
                <p:nvPr/>
              </p:nvSpPr>
              <p:spPr>
                <a:xfrm>
                  <a:off x="9533603" y="9032430"/>
                  <a:ext cx="239553" cy="198405"/>
                </a:xfrm>
                <a:custGeom>
                  <a:avLst/>
                  <a:gdLst>
                    <a:gd name="connsiteX0" fmla="*/ 0 w 239553"/>
                    <a:gd name="connsiteY0" fmla="*/ 133826 h 198405"/>
                    <a:gd name="connsiteX1" fmla="*/ 20478 w 239553"/>
                    <a:gd name="connsiteY1" fmla="*/ 0 h 198405"/>
                    <a:gd name="connsiteX2" fmla="*/ 239553 w 239553"/>
                    <a:gd name="connsiteY2" fmla="*/ 49721 h 198405"/>
                    <a:gd name="connsiteX3" fmla="*/ 200406 w 239553"/>
                    <a:gd name="connsiteY3" fmla="*/ 198406 h 198405"/>
                    <a:gd name="connsiteX4" fmla="*/ 0 w 239553"/>
                    <a:gd name="connsiteY4" fmla="*/ 133826 h 198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9553" h="198405">
                      <a:moveTo>
                        <a:pt x="0" y="133826"/>
                      </a:moveTo>
                      <a:lnTo>
                        <a:pt x="20478" y="0"/>
                      </a:lnTo>
                      <a:lnTo>
                        <a:pt x="239553" y="49721"/>
                      </a:lnTo>
                      <a:lnTo>
                        <a:pt x="200406" y="198406"/>
                      </a:lnTo>
                      <a:lnTo>
                        <a:pt x="0" y="133826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3" name="Freihandform: Form 172">
                  <a:extLst>
                    <a:ext uri="{FF2B5EF4-FFF2-40B4-BE49-F238E27FC236}">
                      <a16:creationId xmlns:a16="http://schemas.microsoft.com/office/drawing/2014/main" id="{A8B23441-EC8B-C244-F244-F1E9075E26B1}"/>
                    </a:ext>
                  </a:extLst>
                </p:cNvPr>
                <p:cNvSpPr/>
                <p:nvPr/>
              </p:nvSpPr>
              <p:spPr>
                <a:xfrm>
                  <a:off x="9549034" y="9025226"/>
                  <a:ext cx="631316" cy="372202"/>
                </a:xfrm>
                <a:custGeom>
                  <a:avLst/>
                  <a:gdLst>
                    <a:gd name="connsiteX0" fmla="*/ 0 w 631316"/>
                    <a:gd name="connsiteY0" fmla="*/ 261998 h 372202"/>
                    <a:gd name="connsiteX1" fmla="*/ 59912 w 631316"/>
                    <a:gd name="connsiteY1" fmla="*/ 5776 h 372202"/>
                    <a:gd name="connsiteX2" fmla="*/ 173831 w 631316"/>
                    <a:gd name="connsiteY2" fmla="*/ 1585 h 372202"/>
                    <a:gd name="connsiteX3" fmla="*/ 631317 w 631316"/>
                    <a:gd name="connsiteY3" fmla="*/ 68069 h 372202"/>
                    <a:gd name="connsiteX4" fmla="*/ 555403 w 631316"/>
                    <a:gd name="connsiteY4" fmla="*/ 372202 h 372202"/>
                    <a:gd name="connsiteX5" fmla="*/ 0 w 631316"/>
                    <a:gd name="connsiteY5" fmla="*/ 261998 h 372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31316" h="372202">
                      <a:moveTo>
                        <a:pt x="0" y="261998"/>
                      </a:moveTo>
                      <a:lnTo>
                        <a:pt x="59912" y="5776"/>
                      </a:lnTo>
                      <a:cubicBezTo>
                        <a:pt x="59912" y="5776"/>
                        <a:pt x="102203" y="-3654"/>
                        <a:pt x="173831" y="1585"/>
                      </a:cubicBezTo>
                      <a:cubicBezTo>
                        <a:pt x="414051" y="19015"/>
                        <a:pt x="495585" y="31588"/>
                        <a:pt x="631317" y="68069"/>
                      </a:cubicBezTo>
                      <a:lnTo>
                        <a:pt x="555403" y="372202"/>
                      </a:lnTo>
                      <a:cubicBezTo>
                        <a:pt x="227171" y="313719"/>
                        <a:pt x="191929" y="311623"/>
                        <a:pt x="0" y="26199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4" name="Freihandform: Form 173">
                  <a:extLst>
                    <a:ext uri="{FF2B5EF4-FFF2-40B4-BE49-F238E27FC236}">
                      <a16:creationId xmlns:a16="http://schemas.microsoft.com/office/drawing/2014/main" id="{0E2E43BA-5289-EF1E-083B-DE6063896678}"/>
                    </a:ext>
                  </a:extLst>
                </p:cNvPr>
                <p:cNvSpPr/>
                <p:nvPr/>
              </p:nvSpPr>
              <p:spPr>
                <a:xfrm>
                  <a:off x="9978992" y="9086913"/>
                  <a:ext cx="313753" cy="313753"/>
                </a:xfrm>
                <a:custGeom>
                  <a:avLst/>
                  <a:gdLst>
                    <a:gd name="connsiteX0" fmla="*/ 313754 w 313753"/>
                    <a:gd name="connsiteY0" fmla="*/ 156877 h 313753"/>
                    <a:gd name="connsiteX1" fmla="*/ 156877 w 313753"/>
                    <a:gd name="connsiteY1" fmla="*/ 313754 h 313753"/>
                    <a:gd name="connsiteX2" fmla="*/ 1 w 313753"/>
                    <a:gd name="connsiteY2" fmla="*/ 156877 h 313753"/>
                    <a:gd name="connsiteX3" fmla="*/ 156877 w 313753"/>
                    <a:gd name="connsiteY3" fmla="*/ 0 h 313753"/>
                    <a:gd name="connsiteX4" fmla="*/ 313754 w 313753"/>
                    <a:gd name="connsiteY4" fmla="*/ 156877 h 313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3753" h="313753">
                      <a:moveTo>
                        <a:pt x="313754" y="156877"/>
                      </a:moveTo>
                      <a:cubicBezTo>
                        <a:pt x="313754" y="243517"/>
                        <a:pt x="243518" y="313754"/>
                        <a:pt x="156877" y="313754"/>
                      </a:cubicBezTo>
                      <a:cubicBezTo>
                        <a:pt x="70237" y="313754"/>
                        <a:pt x="1" y="243517"/>
                        <a:pt x="1" y="156877"/>
                      </a:cubicBezTo>
                      <a:cubicBezTo>
                        <a:pt x="1" y="70236"/>
                        <a:pt x="70237" y="0"/>
                        <a:pt x="156877" y="0"/>
                      </a:cubicBezTo>
                      <a:cubicBezTo>
                        <a:pt x="243518" y="0"/>
                        <a:pt x="313754" y="70236"/>
                        <a:pt x="313754" y="15687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5" name="Freihandform: Form 174">
                  <a:extLst>
                    <a:ext uri="{FF2B5EF4-FFF2-40B4-BE49-F238E27FC236}">
                      <a16:creationId xmlns:a16="http://schemas.microsoft.com/office/drawing/2014/main" id="{10391BBF-40C9-C432-8C03-88B1CB11431E}"/>
                    </a:ext>
                  </a:extLst>
                </p:cNvPr>
                <p:cNvSpPr/>
                <p:nvPr/>
              </p:nvSpPr>
              <p:spPr>
                <a:xfrm>
                  <a:off x="9533603" y="9032430"/>
                  <a:ext cx="239553" cy="198405"/>
                </a:xfrm>
                <a:custGeom>
                  <a:avLst/>
                  <a:gdLst>
                    <a:gd name="connsiteX0" fmla="*/ 0 w 239553"/>
                    <a:gd name="connsiteY0" fmla="*/ 133826 h 198405"/>
                    <a:gd name="connsiteX1" fmla="*/ 20478 w 239553"/>
                    <a:gd name="connsiteY1" fmla="*/ 0 h 198405"/>
                    <a:gd name="connsiteX2" fmla="*/ 239553 w 239553"/>
                    <a:gd name="connsiteY2" fmla="*/ 49721 h 198405"/>
                    <a:gd name="connsiteX3" fmla="*/ 200406 w 239553"/>
                    <a:gd name="connsiteY3" fmla="*/ 198406 h 198405"/>
                    <a:gd name="connsiteX4" fmla="*/ 0 w 239553"/>
                    <a:gd name="connsiteY4" fmla="*/ 133826 h 198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9553" h="198405">
                      <a:moveTo>
                        <a:pt x="0" y="133826"/>
                      </a:moveTo>
                      <a:lnTo>
                        <a:pt x="20478" y="0"/>
                      </a:lnTo>
                      <a:lnTo>
                        <a:pt x="239553" y="49721"/>
                      </a:lnTo>
                      <a:lnTo>
                        <a:pt x="200406" y="198406"/>
                      </a:lnTo>
                      <a:lnTo>
                        <a:pt x="0" y="133826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6" name="Freihandform: Form 175">
                  <a:extLst>
                    <a:ext uri="{FF2B5EF4-FFF2-40B4-BE49-F238E27FC236}">
                      <a16:creationId xmlns:a16="http://schemas.microsoft.com/office/drawing/2014/main" id="{1F2D9368-7508-98D3-6A61-0BCE20E6C1E6}"/>
                    </a:ext>
                  </a:extLst>
                </p:cNvPr>
                <p:cNvSpPr/>
                <p:nvPr/>
              </p:nvSpPr>
              <p:spPr>
                <a:xfrm>
                  <a:off x="9549034" y="9025226"/>
                  <a:ext cx="631316" cy="372202"/>
                </a:xfrm>
                <a:custGeom>
                  <a:avLst/>
                  <a:gdLst>
                    <a:gd name="connsiteX0" fmla="*/ 0 w 631316"/>
                    <a:gd name="connsiteY0" fmla="*/ 261998 h 372202"/>
                    <a:gd name="connsiteX1" fmla="*/ 59912 w 631316"/>
                    <a:gd name="connsiteY1" fmla="*/ 5776 h 372202"/>
                    <a:gd name="connsiteX2" fmla="*/ 173831 w 631316"/>
                    <a:gd name="connsiteY2" fmla="*/ 1585 h 372202"/>
                    <a:gd name="connsiteX3" fmla="*/ 631317 w 631316"/>
                    <a:gd name="connsiteY3" fmla="*/ 68069 h 372202"/>
                    <a:gd name="connsiteX4" fmla="*/ 555403 w 631316"/>
                    <a:gd name="connsiteY4" fmla="*/ 372202 h 372202"/>
                    <a:gd name="connsiteX5" fmla="*/ 0 w 631316"/>
                    <a:gd name="connsiteY5" fmla="*/ 261998 h 372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31316" h="372202">
                      <a:moveTo>
                        <a:pt x="0" y="261998"/>
                      </a:moveTo>
                      <a:lnTo>
                        <a:pt x="59912" y="5776"/>
                      </a:lnTo>
                      <a:cubicBezTo>
                        <a:pt x="59912" y="5776"/>
                        <a:pt x="102203" y="-3654"/>
                        <a:pt x="173831" y="1585"/>
                      </a:cubicBezTo>
                      <a:cubicBezTo>
                        <a:pt x="414051" y="19015"/>
                        <a:pt x="495585" y="31588"/>
                        <a:pt x="631317" y="68069"/>
                      </a:cubicBezTo>
                      <a:lnTo>
                        <a:pt x="555403" y="372202"/>
                      </a:lnTo>
                      <a:cubicBezTo>
                        <a:pt x="227171" y="313719"/>
                        <a:pt x="191929" y="311623"/>
                        <a:pt x="0" y="26199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7" name="Freihandform: Form 176">
                  <a:extLst>
                    <a:ext uri="{FF2B5EF4-FFF2-40B4-BE49-F238E27FC236}">
                      <a16:creationId xmlns:a16="http://schemas.microsoft.com/office/drawing/2014/main" id="{8B73AB5C-DF66-3E55-A2CE-9C6C01490669}"/>
                    </a:ext>
                  </a:extLst>
                </p:cNvPr>
                <p:cNvSpPr/>
                <p:nvPr/>
              </p:nvSpPr>
              <p:spPr>
                <a:xfrm>
                  <a:off x="9978992" y="9086913"/>
                  <a:ext cx="313753" cy="313753"/>
                </a:xfrm>
                <a:custGeom>
                  <a:avLst/>
                  <a:gdLst>
                    <a:gd name="connsiteX0" fmla="*/ 313754 w 313753"/>
                    <a:gd name="connsiteY0" fmla="*/ 156877 h 313753"/>
                    <a:gd name="connsiteX1" fmla="*/ 156877 w 313753"/>
                    <a:gd name="connsiteY1" fmla="*/ 313754 h 313753"/>
                    <a:gd name="connsiteX2" fmla="*/ 1 w 313753"/>
                    <a:gd name="connsiteY2" fmla="*/ 156877 h 313753"/>
                    <a:gd name="connsiteX3" fmla="*/ 156877 w 313753"/>
                    <a:gd name="connsiteY3" fmla="*/ 0 h 313753"/>
                    <a:gd name="connsiteX4" fmla="*/ 313754 w 313753"/>
                    <a:gd name="connsiteY4" fmla="*/ 156877 h 313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3753" h="313753">
                      <a:moveTo>
                        <a:pt x="313754" y="156877"/>
                      </a:moveTo>
                      <a:cubicBezTo>
                        <a:pt x="313754" y="243517"/>
                        <a:pt x="243518" y="313754"/>
                        <a:pt x="156877" y="313754"/>
                      </a:cubicBezTo>
                      <a:cubicBezTo>
                        <a:pt x="70237" y="313754"/>
                        <a:pt x="1" y="243517"/>
                        <a:pt x="1" y="156877"/>
                      </a:cubicBezTo>
                      <a:cubicBezTo>
                        <a:pt x="1" y="70236"/>
                        <a:pt x="70237" y="0"/>
                        <a:pt x="156877" y="0"/>
                      </a:cubicBezTo>
                      <a:cubicBezTo>
                        <a:pt x="243518" y="0"/>
                        <a:pt x="313754" y="70236"/>
                        <a:pt x="313754" y="15687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78" name="Grafik 23">
                <a:extLst>
                  <a:ext uri="{FF2B5EF4-FFF2-40B4-BE49-F238E27FC236}">
                    <a16:creationId xmlns:a16="http://schemas.microsoft.com/office/drawing/2014/main" id="{27BF7DDB-6FC1-6901-7629-C1105CC8EB35}"/>
                  </a:ext>
                </a:extLst>
              </p:cNvPr>
              <p:cNvGrpSpPr/>
              <p:nvPr/>
            </p:nvGrpSpPr>
            <p:grpSpPr>
              <a:xfrm>
                <a:off x="9633988" y="1862812"/>
                <a:ext cx="257205" cy="824026"/>
                <a:chOff x="5217159" y="666564"/>
                <a:chExt cx="1715547" cy="5496224"/>
              </a:xfrm>
            </p:grpSpPr>
            <p:grpSp>
              <p:nvGrpSpPr>
                <p:cNvPr id="179" name="Grafik 23">
                  <a:extLst>
                    <a:ext uri="{FF2B5EF4-FFF2-40B4-BE49-F238E27FC236}">
                      <a16:creationId xmlns:a16="http://schemas.microsoft.com/office/drawing/2014/main" id="{728D4977-71F5-DBF6-11FE-06241AE61071}"/>
                    </a:ext>
                  </a:extLst>
                </p:cNvPr>
                <p:cNvGrpSpPr/>
                <p:nvPr/>
              </p:nvGrpSpPr>
              <p:grpSpPr>
                <a:xfrm>
                  <a:off x="5934296" y="1562671"/>
                  <a:ext cx="563308" cy="1157858"/>
                  <a:chOff x="5934296" y="1562671"/>
                  <a:chExt cx="563308" cy="1157858"/>
                </a:xfrm>
                <a:solidFill>
                  <a:srgbClr val="E6E6E6"/>
                </a:solidFill>
              </p:grpSpPr>
              <p:sp>
                <p:nvSpPr>
                  <p:cNvPr id="180" name="Freihandform: Form 179">
                    <a:extLst>
                      <a:ext uri="{FF2B5EF4-FFF2-40B4-BE49-F238E27FC236}">
                        <a16:creationId xmlns:a16="http://schemas.microsoft.com/office/drawing/2014/main" id="{BAD27138-BDD1-EEEE-E087-40217B9E3ACD}"/>
                      </a:ext>
                    </a:extLst>
                  </p:cNvPr>
                  <p:cNvSpPr/>
                  <p:nvPr/>
                </p:nvSpPr>
                <p:spPr>
                  <a:xfrm>
                    <a:off x="6100984" y="1562671"/>
                    <a:ext cx="396620" cy="396620"/>
                  </a:xfrm>
                  <a:custGeom>
                    <a:avLst/>
                    <a:gdLst>
                      <a:gd name="connsiteX0" fmla="*/ 396621 w 396620"/>
                      <a:gd name="connsiteY0" fmla="*/ 198310 h 396620"/>
                      <a:gd name="connsiteX1" fmla="*/ 198310 w 396620"/>
                      <a:gd name="connsiteY1" fmla="*/ 396621 h 396620"/>
                      <a:gd name="connsiteX2" fmla="*/ 0 w 396620"/>
                      <a:gd name="connsiteY2" fmla="*/ 198310 h 396620"/>
                      <a:gd name="connsiteX3" fmla="*/ 198310 w 396620"/>
                      <a:gd name="connsiteY3" fmla="*/ 0 h 396620"/>
                      <a:gd name="connsiteX4" fmla="*/ 396621 w 396620"/>
                      <a:gd name="connsiteY4" fmla="*/ 198310 h 396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6620" h="396620">
                        <a:moveTo>
                          <a:pt x="396621" y="198310"/>
                        </a:moveTo>
                        <a:cubicBezTo>
                          <a:pt x="396621" y="307834"/>
                          <a:pt x="307834" y="396621"/>
                          <a:pt x="198310" y="396621"/>
                        </a:cubicBezTo>
                        <a:cubicBezTo>
                          <a:pt x="88786" y="396621"/>
                          <a:pt x="0" y="307834"/>
                          <a:pt x="0" y="198310"/>
                        </a:cubicBezTo>
                        <a:cubicBezTo>
                          <a:pt x="0" y="88787"/>
                          <a:pt x="88786" y="0"/>
                          <a:pt x="198310" y="0"/>
                        </a:cubicBezTo>
                        <a:cubicBezTo>
                          <a:pt x="307834" y="0"/>
                          <a:pt x="396621" y="88787"/>
                          <a:pt x="396621" y="198310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1" name="Freihandform: Form 180">
                    <a:extLst>
                      <a:ext uri="{FF2B5EF4-FFF2-40B4-BE49-F238E27FC236}">
                        <a16:creationId xmlns:a16="http://schemas.microsoft.com/office/drawing/2014/main" id="{B341C712-A5FC-A016-DB6E-84BB657DD566}"/>
                      </a:ext>
                    </a:extLst>
                  </p:cNvPr>
                  <p:cNvSpPr/>
                  <p:nvPr/>
                </p:nvSpPr>
                <p:spPr>
                  <a:xfrm>
                    <a:off x="5934296" y="1725453"/>
                    <a:ext cx="558736" cy="995076"/>
                  </a:xfrm>
                  <a:custGeom>
                    <a:avLst/>
                    <a:gdLst>
                      <a:gd name="connsiteX0" fmla="*/ 339566 w 558736"/>
                      <a:gd name="connsiteY0" fmla="*/ 995077 h 995076"/>
                      <a:gd name="connsiteX1" fmla="*/ 0 w 558736"/>
                      <a:gd name="connsiteY1" fmla="*/ 930211 h 995076"/>
                      <a:gd name="connsiteX2" fmla="*/ 110204 w 558736"/>
                      <a:gd name="connsiteY2" fmla="*/ 327184 h 995076"/>
                      <a:gd name="connsiteX3" fmla="*/ 169926 w 558736"/>
                      <a:gd name="connsiteY3" fmla="*/ 0 h 995076"/>
                      <a:gd name="connsiteX4" fmla="*/ 558737 w 558736"/>
                      <a:gd name="connsiteY4" fmla="*/ 78010 h 995076"/>
                      <a:gd name="connsiteX5" fmla="*/ 478441 w 558736"/>
                      <a:gd name="connsiteY5" fmla="*/ 413194 h 995076"/>
                      <a:gd name="connsiteX6" fmla="*/ 339566 w 558736"/>
                      <a:gd name="connsiteY6" fmla="*/ 995077 h 9950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58736" h="995076">
                        <a:moveTo>
                          <a:pt x="339566" y="995077"/>
                        </a:moveTo>
                        <a:lnTo>
                          <a:pt x="0" y="930211"/>
                        </a:lnTo>
                        <a:lnTo>
                          <a:pt x="110204" y="327184"/>
                        </a:lnTo>
                        <a:lnTo>
                          <a:pt x="169926" y="0"/>
                        </a:lnTo>
                        <a:lnTo>
                          <a:pt x="558737" y="78010"/>
                        </a:lnTo>
                        <a:lnTo>
                          <a:pt x="478441" y="413194"/>
                        </a:lnTo>
                        <a:lnTo>
                          <a:pt x="339566" y="995077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82" name="Grafik 23">
                  <a:extLst>
                    <a:ext uri="{FF2B5EF4-FFF2-40B4-BE49-F238E27FC236}">
                      <a16:creationId xmlns:a16="http://schemas.microsoft.com/office/drawing/2014/main" id="{25E1B8E9-1EA3-88DB-94E1-5B2EB83A4877}"/>
                    </a:ext>
                  </a:extLst>
                </p:cNvPr>
                <p:cNvGrpSpPr/>
                <p:nvPr/>
              </p:nvGrpSpPr>
              <p:grpSpPr>
                <a:xfrm>
                  <a:off x="5435186" y="2434208"/>
                  <a:ext cx="841914" cy="425196"/>
                  <a:chOff x="5435186" y="2434208"/>
                  <a:chExt cx="841914" cy="425196"/>
                </a:xfrm>
                <a:solidFill>
                  <a:srgbClr val="E6E6E6"/>
                </a:solidFill>
              </p:grpSpPr>
              <p:sp>
                <p:nvSpPr>
                  <p:cNvPr id="183" name="Freihandform: Form 182">
                    <a:extLst>
                      <a:ext uri="{FF2B5EF4-FFF2-40B4-BE49-F238E27FC236}">
                        <a16:creationId xmlns:a16="http://schemas.microsoft.com/office/drawing/2014/main" id="{602B54DD-E88F-83A4-4438-F48DC09A16E2}"/>
                      </a:ext>
                    </a:extLst>
                  </p:cNvPr>
                  <p:cNvSpPr/>
                  <p:nvPr/>
                </p:nvSpPr>
                <p:spPr>
                  <a:xfrm>
                    <a:off x="5435186" y="2434208"/>
                    <a:ext cx="703611" cy="423481"/>
                  </a:xfrm>
                  <a:custGeom>
                    <a:avLst/>
                    <a:gdLst>
                      <a:gd name="connsiteX0" fmla="*/ 0 w 703611"/>
                      <a:gd name="connsiteY0" fmla="*/ 329946 h 423481"/>
                      <a:gd name="connsiteX1" fmla="*/ 52483 w 703611"/>
                      <a:gd name="connsiteY1" fmla="*/ 0 h 423481"/>
                      <a:gd name="connsiteX2" fmla="*/ 703612 w 703611"/>
                      <a:gd name="connsiteY2" fmla="*/ 83058 h 423481"/>
                      <a:gd name="connsiteX3" fmla="*/ 644462 w 703611"/>
                      <a:gd name="connsiteY3" fmla="*/ 423482 h 423481"/>
                      <a:gd name="connsiteX4" fmla="*/ 0 w 703611"/>
                      <a:gd name="connsiteY4" fmla="*/ 329946 h 4234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03611" h="423481">
                        <a:moveTo>
                          <a:pt x="0" y="329946"/>
                        </a:moveTo>
                        <a:lnTo>
                          <a:pt x="52483" y="0"/>
                        </a:lnTo>
                        <a:lnTo>
                          <a:pt x="703612" y="83058"/>
                        </a:lnTo>
                        <a:lnTo>
                          <a:pt x="644462" y="423482"/>
                        </a:lnTo>
                        <a:lnTo>
                          <a:pt x="0" y="329946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4" name="Freihandform: Form 183">
                    <a:extLst>
                      <a:ext uri="{FF2B5EF4-FFF2-40B4-BE49-F238E27FC236}">
                        <a16:creationId xmlns:a16="http://schemas.microsoft.com/office/drawing/2014/main" id="{BCAF9815-9411-6FCE-64F3-F4A707C6798E}"/>
                      </a:ext>
                    </a:extLst>
                  </p:cNvPr>
                  <p:cNvSpPr/>
                  <p:nvPr/>
                </p:nvSpPr>
                <p:spPr>
                  <a:xfrm>
                    <a:off x="5931534" y="2513838"/>
                    <a:ext cx="345566" cy="345566"/>
                  </a:xfrm>
                  <a:custGeom>
                    <a:avLst/>
                    <a:gdLst>
                      <a:gd name="connsiteX0" fmla="*/ 345567 w 345566"/>
                      <a:gd name="connsiteY0" fmla="*/ 172783 h 345566"/>
                      <a:gd name="connsiteX1" fmla="*/ 172783 w 345566"/>
                      <a:gd name="connsiteY1" fmla="*/ 345567 h 345566"/>
                      <a:gd name="connsiteX2" fmla="*/ 0 w 345566"/>
                      <a:gd name="connsiteY2" fmla="*/ 172783 h 345566"/>
                      <a:gd name="connsiteX3" fmla="*/ 172783 w 345566"/>
                      <a:gd name="connsiteY3" fmla="*/ 0 h 345566"/>
                      <a:gd name="connsiteX4" fmla="*/ 345567 w 345566"/>
                      <a:gd name="connsiteY4" fmla="*/ 172783 h 3455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45566" h="345566">
                        <a:moveTo>
                          <a:pt x="345567" y="172783"/>
                        </a:moveTo>
                        <a:cubicBezTo>
                          <a:pt x="345567" y="268209"/>
                          <a:pt x="268209" y="345567"/>
                          <a:pt x="172783" y="345567"/>
                        </a:cubicBezTo>
                        <a:cubicBezTo>
                          <a:pt x="77358" y="345567"/>
                          <a:pt x="0" y="268209"/>
                          <a:pt x="0" y="172783"/>
                        </a:cubicBezTo>
                        <a:cubicBezTo>
                          <a:pt x="0" y="77358"/>
                          <a:pt x="77357" y="0"/>
                          <a:pt x="172783" y="0"/>
                        </a:cubicBezTo>
                        <a:cubicBezTo>
                          <a:pt x="268209" y="0"/>
                          <a:pt x="345567" y="77358"/>
                          <a:pt x="345567" y="172783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85" name="Grafik 23">
                  <a:extLst>
                    <a:ext uri="{FF2B5EF4-FFF2-40B4-BE49-F238E27FC236}">
                      <a16:creationId xmlns:a16="http://schemas.microsoft.com/office/drawing/2014/main" id="{8F7FE62C-0461-5499-BF9F-21E0940619CC}"/>
                    </a:ext>
                  </a:extLst>
                </p:cNvPr>
                <p:cNvGrpSpPr/>
                <p:nvPr/>
              </p:nvGrpSpPr>
              <p:grpSpPr>
                <a:xfrm>
                  <a:off x="5217159" y="2156745"/>
                  <a:ext cx="790670" cy="894492"/>
                  <a:chOff x="5217159" y="2156745"/>
                  <a:chExt cx="790670" cy="894492"/>
                </a:xfrm>
              </p:grpSpPr>
              <p:grpSp>
                <p:nvGrpSpPr>
                  <p:cNvPr id="186" name="Grafik 23">
                    <a:extLst>
                      <a:ext uri="{FF2B5EF4-FFF2-40B4-BE49-F238E27FC236}">
                        <a16:creationId xmlns:a16="http://schemas.microsoft.com/office/drawing/2014/main" id="{5625795B-5773-71E4-AE07-BF8529E4CE3E}"/>
                      </a:ext>
                    </a:extLst>
                  </p:cNvPr>
                  <p:cNvGrpSpPr/>
                  <p:nvPr/>
                </p:nvGrpSpPr>
                <p:grpSpPr>
                  <a:xfrm>
                    <a:off x="5247163" y="2156745"/>
                    <a:ext cx="760666" cy="894492"/>
                    <a:chOff x="5247163" y="2156745"/>
                    <a:chExt cx="760666" cy="894492"/>
                  </a:xfrm>
                </p:grpSpPr>
                <p:sp>
                  <p:nvSpPr>
                    <p:cNvPr id="187" name="Freihandform: Form 186">
                      <a:extLst>
                        <a:ext uri="{FF2B5EF4-FFF2-40B4-BE49-F238E27FC236}">
                          <a16:creationId xmlns:a16="http://schemas.microsoft.com/office/drawing/2014/main" id="{C1903A77-BDCC-58AF-AC6A-48B0EF716B42}"/>
                        </a:ext>
                      </a:extLst>
                    </p:cNvPr>
                    <p:cNvSpPr/>
                    <p:nvPr/>
                  </p:nvSpPr>
                  <p:spPr>
                    <a:xfrm rot="-864001">
                      <a:off x="5348448" y="2231745"/>
                      <a:ext cx="558069" cy="743997"/>
                    </a:xfrm>
                    <a:custGeom>
                      <a:avLst/>
                      <a:gdLst>
                        <a:gd name="connsiteX0" fmla="*/ 0 w 558069"/>
                        <a:gd name="connsiteY0" fmla="*/ 0 h 743997"/>
                        <a:gd name="connsiteX1" fmla="*/ 558070 w 558069"/>
                        <a:gd name="connsiteY1" fmla="*/ 0 h 743997"/>
                        <a:gd name="connsiteX2" fmla="*/ 558070 w 558069"/>
                        <a:gd name="connsiteY2" fmla="*/ 743998 h 743997"/>
                        <a:gd name="connsiteX3" fmla="*/ 0 w 558069"/>
                        <a:gd name="connsiteY3" fmla="*/ 743998 h 7439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558069" h="743997">
                          <a:moveTo>
                            <a:pt x="0" y="0"/>
                          </a:moveTo>
                          <a:lnTo>
                            <a:pt x="558070" y="0"/>
                          </a:lnTo>
                          <a:lnTo>
                            <a:pt x="558070" y="743998"/>
                          </a:lnTo>
                          <a:lnTo>
                            <a:pt x="0" y="743998"/>
                          </a:lnTo>
                          <a:close/>
                        </a:path>
                      </a:pathLst>
                    </a:custGeom>
                    <a:solidFill>
                      <a:srgbClr val="EC660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88" name="Freihandform: Form 187">
                      <a:extLst>
                        <a:ext uri="{FF2B5EF4-FFF2-40B4-BE49-F238E27FC236}">
                          <a16:creationId xmlns:a16="http://schemas.microsoft.com/office/drawing/2014/main" id="{6D6CF672-CBF5-E9A5-2A6A-520BF9F4C6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47163" y="2156745"/>
                      <a:ext cx="760666" cy="894492"/>
                    </a:xfrm>
                    <a:custGeom>
                      <a:avLst/>
                      <a:gdLst>
                        <a:gd name="connsiteX0" fmla="*/ 547688 w 760666"/>
                        <a:gd name="connsiteY0" fmla="*/ 35147 h 894492"/>
                        <a:gd name="connsiteX1" fmla="*/ 725519 w 760666"/>
                        <a:gd name="connsiteY1" fmla="*/ 727805 h 894492"/>
                        <a:gd name="connsiteX2" fmla="*/ 212979 w 760666"/>
                        <a:gd name="connsiteY2" fmla="*/ 859346 h 894492"/>
                        <a:gd name="connsiteX3" fmla="*/ 35147 w 760666"/>
                        <a:gd name="connsiteY3" fmla="*/ 166688 h 894492"/>
                        <a:gd name="connsiteX4" fmla="*/ 547688 w 760666"/>
                        <a:gd name="connsiteY4" fmla="*/ 35147 h 894492"/>
                        <a:gd name="connsiteX5" fmla="*/ 568452 w 760666"/>
                        <a:gd name="connsiteY5" fmla="*/ 0 h 894492"/>
                        <a:gd name="connsiteX6" fmla="*/ 0 w 760666"/>
                        <a:gd name="connsiteY6" fmla="*/ 145923 h 894492"/>
                        <a:gd name="connsiteX7" fmla="*/ 192119 w 760666"/>
                        <a:gd name="connsiteY7" fmla="*/ 894493 h 894492"/>
                        <a:gd name="connsiteX8" fmla="*/ 760667 w 760666"/>
                        <a:gd name="connsiteY8" fmla="*/ 748570 h 894492"/>
                        <a:gd name="connsiteX9" fmla="*/ 568547 w 760666"/>
                        <a:gd name="connsiteY9" fmla="*/ 0 h 894492"/>
                        <a:gd name="connsiteX10" fmla="*/ 568547 w 760666"/>
                        <a:gd name="connsiteY10" fmla="*/ 0 h 8944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760666" h="894492">
                          <a:moveTo>
                            <a:pt x="547688" y="35147"/>
                          </a:moveTo>
                          <a:lnTo>
                            <a:pt x="725519" y="727805"/>
                          </a:lnTo>
                          <a:lnTo>
                            <a:pt x="212979" y="859346"/>
                          </a:lnTo>
                          <a:lnTo>
                            <a:pt x="35147" y="166688"/>
                          </a:lnTo>
                          <a:lnTo>
                            <a:pt x="547688" y="35147"/>
                          </a:lnTo>
                          <a:moveTo>
                            <a:pt x="568452" y="0"/>
                          </a:moveTo>
                          <a:lnTo>
                            <a:pt x="0" y="145923"/>
                          </a:lnTo>
                          <a:lnTo>
                            <a:pt x="192119" y="894493"/>
                          </a:lnTo>
                          <a:lnTo>
                            <a:pt x="760667" y="748570"/>
                          </a:lnTo>
                          <a:lnTo>
                            <a:pt x="568547" y="0"/>
                          </a:lnTo>
                          <a:lnTo>
                            <a:pt x="568547" y="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189" name="Freihandform: Form 188">
                    <a:extLst>
                      <a:ext uri="{FF2B5EF4-FFF2-40B4-BE49-F238E27FC236}">
                        <a16:creationId xmlns:a16="http://schemas.microsoft.com/office/drawing/2014/main" id="{6A578915-4D13-B0CF-55EC-2455E3DCCA62}"/>
                      </a:ext>
                    </a:extLst>
                  </p:cNvPr>
                  <p:cNvSpPr/>
                  <p:nvPr/>
                </p:nvSpPr>
                <p:spPr>
                  <a:xfrm>
                    <a:off x="5217159" y="2487929"/>
                    <a:ext cx="280518" cy="319373"/>
                  </a:xfrm>
                  <a:custGeom>
                    <a:avLst/>
                    <a:gdLst>
                      <a:gd name="connsiteX0" fmla="*/ 197168 w 280518"/>
                      <a:gd name="connsiteY0" fmla="*/ 99632 h 319373"/>
                      <a:gd name="connsiteX1" fmla="*/ 103727 w 280518"/>
                      <a:gd name="connsiteY1" fmla="*/ 102108 h 319373"/>
                      <a:gd name="connsiteX2" fmla="*/ 77534 w 280518"/>
                      <a:gd name="connsiteY2" fmla="*/ 0 h 319373"/>
                      <a:gd name="connsiteX3" fmla="*/ 0 w 280518"/>
                      <a:gd name="connsiteY3" fmla="*/ 109728 h 319373"/>
                      <a:gd name="connsiteX4" fmla="*/ 71152 w 280518"/>
                      <a:gd name="connsiteY4" fmla="*/ 315278 h 319373"/>
                      <a:gd name="connsiteX5" fmla="*/ 186785 w 280518"/>
                      <a:gd name="connsiteY5" fmla="*/ 319373 h 319373"/>
                      <a:gd name="connsiteX6" fmla="*/ 280226 w 280518"/>
                      <a:gd name="connsiteY6" fmla="*/ 239649 h 319373"/>
                      <a:gd name="connsiteX7" fmla="*/ 280511 w 280518"/>
                      <a:gd name="connsiteY7" fmla="*/ 130778 h 319373"/>
                      <a:gd name="connsiteX8" fmla="*/ 197263 w 280518"/>
                      <a:gd name="connsiteY8" fmla="*/ 99727 h 319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0518" h="319373">
                        <a:moveTo>
                          <a:pt x="197168" y="99632"/>
                        </a:moveTo>
                        <a:cubicBezTo>
                          <a:pt x="183547" y="102013"/>
                          <a:pt x="103727" y="102108"/>
                          <a:pt x="103727" y="102108"/>
                        </a:cubicBezTo>
                        <a:lnTo>
                          <a:pt x="77534" y="0"/>
                        </a:lnTo>
                        <a:lnTo>
                          <a:pt x="0" y="109728"/>
                        </a:lnTo>
                        <a:lnTo>
                          <a:pt x="71152" y="315278"/>
                        </a:lnTo>
                        <a:lnTo>
                          <a:pt x="186785" y="319373"/>
                        </a:lnTo>
                        <a:lnTo>
                          <a:pt x="280226" y="239649"/>
                        </a:lnTo>
                        <a:lnTo>
                          <a:pt x="280511" y="130778"/>
                        </a:lnTo>
                        <a:cubicBezTo>
                          <a:pt x="280511" y="130778"/>
                          <a:pt x="282988" y="84773"/>
                          <a:pt x="197263" y="99727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0" name="Freihandform: Form 189">
                    <a:extLst>
                      <a:ext uri="{FF2B5EF4-FFF2-40B4-BE49-F238E27FC236}">
                        <a16:creationId xmlns:a16="http://schemas.microsoft.com/office/drawing/2014/main" id="{F368E50A-3348-10D6-C01F-DB7D8A3C9534}"/>
                      </a:ext>
                    </a:extLst>
                  </p:cNvPr>
                  <p:cNvSpPr/>
                  <p:nvPr/>
                </p:nvSpPr>
                <p:spPr>
                  <a:xfrm rot="-326400">
                    <a:off x="5311589" y="2643866"/>
                    <a:ext cx="186594" cy="19240"/>
                  </a:xfrm>
                  <a:custGeom>
                    <a:avLst/>
                    <a:gdLst>
                      <a:gd name="connsiteX0" fmla="*/ 0 w 186594"/>
                      <a:gd name="connsiteY0" fmla="*/ 0 h 19240"/>
                      <a:gd name="connsiteX1" fmla="*/ 186595 w 186594"/>
                      <a:gd name="connsiteY1" fmla="*/ 0 h 19240"/>
                      <a:gd name="connsiteX2" fmla="*/ 186595 w 186594"/>
                      <a:gd name="connsiteY2" fmla="*/ 19241 h 19240"/>
                      <a:gd name="connsiteX3" fmla="*/ 0 w 186594"/>
                      <a:gd name="connsiteY3" fmla="*/ 19241 h 192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86594" h="19240">
                        <a:moveTo>
                          <a:pt x="0" y="0"/>
                        </a:moveTo>
                        <a:lnTo>
                          <a:pt x="186595" y="0"/>
                        </a:lnTo>
                        <a:lnTo>
                          <a:pt x="186595" y="19241"/>
                        </a:lnTo>
                        <a:lnTo>
                          <a:pt x="0" y="19241"/>
                        </a:lnTo>
                        <a:close/>
                      </a:path>
                    </a:pathLst>
                  </a:custGeom>
                  <a:solidFill>
                    <a:srgbClr val="F2BBB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91" name="Grafik 23">
                  <a:extLst>
                    <a:ext uri="{FF2B5EF4-FFF2-40B4-BE49-F238E27FC236}">
                      <a16:creationId xmlns:a16="http://schemas.microsoft.com/office/drawing/2014/main" id="{B7EB8C2F-4C94-CC7C-D993-30BE5B2D3483}"/>
                    </a:ext>
                  </a:extLst>
                </p:cNvPr>
                <p:cNvGrpSpPr/>
                <p:nvPr/>
              </p:nvGrpSpPr>
              <p:grpSpPr>
                <a:xfrm>
                  <a:off x="6113093" y="1063436"/>
                  <a:ext cx="443757" cy="556066"/>
                  <a:chOff x="6113093" y="1063436"/>
                  <a:chExt cx="443757" cy="556066"/>
                </a:xfrm>
              </p:grpSpPr>
              <p:sp>
                <p:nvSpPr>
                  <p:cNvPr id="192" name="Freihandform: Form 191">
                    <a:extLst>
                      <a:ext uri="{FF2B5EF4-FFF2-40B4-BE49-F238E27FC236}">
                        <a16:creationId xmlns:a16="http://schemas.microsoft.com/office/drawing/2014/main" id="{C9E9E3B8-62E6-E6AD-9014-7151807708FE}"/>
                      </a:ext>
                    </a:extLst>
                  </p:cNvPr>
                  <p:cNvSpPr/>
                  <p:nvPr/>
                </p:nvSpPr>
                <p:spPr>
                  <a:xfrm>
                    <a:off x="6113093" y="1063436"/>
                    <a:ext cx="443757" cy="556055"/>
                  </a:xfrm>
                  <a:custGeom>
                    <a:avLst/>
                    <a:gdLst>
                      <a:gd name="connsiteX0" fmla="*/ 443757 w 443757"/>
                      <a:gd name="connsiteY0" fmla="*/ 405604 h 556055"/>
                      <a:gd name="connsiteX1" fmla="*/ 129813 w 443757"/>
                      <a:gd name="connsiteY1" fmla="*/ 526953 h 556055"/>
                      <a:gd name="connsiteX2" fmla="*/ 1321 w 443757"/>
                      <a:gd name="connsiteY2" fmla="*/ 166717 h 556055"/>
                      <a:gd name="connsiteX3" fmla="*/ 315170 w 443757"/>
                      <a:gd name="connsiteY3" fmla="*/ 45369 h 556055"/>
                      <a:gd name="connsiteX4" fmla="*/ 443662 w 443757"/>
                      <a:gd name="connsiteY4" fmla="*/ 405604 h 5560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43757" h="556055">
                        <a:moveTo>
                          <a:pt x="443757" y="405604"/>
                        </a:moveTo>
                        <a:cubicBezTo>
                          <a:pt x="419373" y="524095"/>
                          <a:pt x="234779" y="600962"/>
                          <a:pt x="129813" y="526953"/>
                        </a:cubicBezTo>
                        <a:lnTo>
                          <a:pt x="1321" y="166717"/>
                        </a:lnTo>
                        <a:cubicBezTo>
                          <a:pt x="-21825" y="60323"/>
                          <a:pt x="266211" y="-70741"/>
                          <a:pt x="315170" y="45369"/>
                        </a:cubicBezTo>
                        <a:lnTo>
                          <a:pt x="443662" y="405604"/>
                        </a:ln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3" name="Freihandform: Form 192">
                    <a:extLst>
                      <a:ext uri="{FF2B5EF4-FFF2-40B4-BE49-F238E27FC236}">
                        <a16:creationId xmlns:a16="http://schemas.microsoft.com/office/drawing/2014/main" id="{44C073EF-D704-EC18-F678-2E19402D958B}"/>
                      </a:ext>
                    </a:extLst>
                  </p:cNvPr>
                  <p:cNvSpPr/>
                  <p:nvPr/>
                </p:nvSpPr>
                <p:spPr>
                  <a:xfrm>
                    <a:off x="6228307" y="1200626"/>
                    <a:ext cx="328542" cy="418877"/>
                  </a:xfrm>
                  <a:custGeom>
                    <a:avLst/>
                    <a:gdLst>
                      <a:gd name="connsiteX0" fmla="*/ 232817 w 328542"/>
                      <a:gd name="connsiteY0" fmla="*/ 95 h 418877"/>
                      <a:gd name="connsiteX1" fmla="*/ 328543 w 328542"/>
                      <a:gd name="connsiteY1" fmla="*/ 268415 h 418877"/>
                      <a:gd name="connsiteX2" fmla="*/ 14599 w 328542"/>
                      <a:gd name="connsiteY2" fmla="*/ 389763 h 418877"/>
                      <a:gd name="connsiteX3" fmla="*/ 44222 w 328542"/>
                      <a:gd name="connsiteY3" fmla="*/ 223647 h 418877"/>
                      <a:gd name="connsiteX4" fmla="*/ 232817 w 328542"/>
                      <a:gd name="connsiteY4" fmla="*/ 0 h 4188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8542" h="418877">
                        <a:moveTo>
                          <a:pt x="232817" y="95"/>
                        </a:moveTo>
                        <a:lnTo>
                          <a:pt x="328543" y="268415"/>
                        </a:lnTo>
                        <a:cubicBezTo>
                          <a:pt x="304445" y="389001"/>
                          <a:pt x="117850" y="463010"/>
                          <a:pt x="14599" y="389763"/>
                        </a:cubicBezTo>
                        <a:cubicBezTo>
                          <a:pt x="14599" y="389763"/>
                          <a:pt x="-33216" y="270605"/>
                          <a:pt x="44222" y="223647"/>
                        </a:cubicBezTo>
                        <a:cubicBezTo>
                          <a:pt x="235579" y="107728"/>
                          <a:pt x="232817" y="0"/>
                          <a:pt x="232817" y="0"/>
                        </a:cubicBezTo>
                        <a:close/>
                      </a:path>
                    </a:pathLst>
                  </a:custGeom>
                  <a:solidFill>
                    <a:srgbClr val="F2BBB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94" name="Grafik 23">
                  <a:extLst>
                    <a:ext uri="{FF2B5EF4-FFF2-40B4-BE49-F238E27FC236}">
                      <a16:creationId xmlns:a16="http://schemas.microsoft.com/office/drawing/2014/main" id="{B31EC07A-1292-DC1C-DEEF-A7CD02A91B33}"/>
                    </a:ext>
                  </a:extLst>
                </p:cNvPr>
                <p:cNvGrpSpPr/>
                <p:nvPr/>
              </p:nvGrpSpPr>
              <p:grpSpPr>
                <a:xfrm>
                  <a:off x="5641758" y="1283398"/>
                  <a:ext cx="1290948" cy="4879390"/>
                  <a:chOff x="5641758" y="1283398"/>
                  <a:chExt cx="1290948" cy="4879390"/>
                </a:xfrm>
              </p:grpSpPr>
              <p:grpSp>
                <p:nvGrpSpPr>
                  <p:cNvPr id="195" name="Grafik 23">
                    <a:extLst>
                      <a:ext uri="{FF2B5EF4-FFF2-40B4-BE49-F238E27FC236}">
                        <a16:creationId xmlns:a16="http://schemas.microsoft.com/office/drawing/2014/main" id="{160D356B-FC3E-D4CD-5422-253A1CE03580}"/>
                      </a:ext>
                    </a:extLst>
                  </p:cNvPr>
                  <p:cNvGrpSpPr/>
                  <p:nvPr/>
                </p:nvGrpSpPr>
                <p:grpSpPr>
                  <a:xfrm>
                    <a:off x="5641758" y="5790657"/>
                    <a:ext cx="867562" cy="295550"/>
                    <a:chOff x="5641758" y="5790657"/>
                    <a:chExt cx="867562" cy="295550"/>
                  </a:xfrm>
                </p:grpSpPr>
                <p:sp>
                  <p:nvSpPr>
                    <p:cNvPr id="196" name="Freihandform: Form 195">
                      <a:extLst>
                        <a:ext uri="{FF2B5EF4-FFF2-40B4-BE49-F238E27FC236}">
                          <a16:creationId xmlns:a16="http://schemas.microsoft.com/office/drawing/2014/main" id="{46C23275-8C8F-85BB-7E1A-D5188577DB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643447" y="5790657"/>
                      <a:ext cx="865764" cy="289407"/>
                    </a:xfrm>
                    <a:custGeom>
                      <a:avLst/>
                      <a:gdLst>
                        <a:gd name="connsiteX0" fmla="*/ 804913 w 865764"/>
                        <a:gd name="connsiteY0" fmla="*/ 28546 h 289407"/>
                        <a:gd name="connsiteX1" fmla="*/ 865683 w 865764"/>
                        <a:gd name="connsiteY1" fmla="*/ 170088 h 289407"/>
                        <a:gd name="connsiteX2" fmla="*/ 860063 w 865764"/>
                        <a:gd name="connsiteY2" fmla="*/ 253907 h 289407"/>
                        <a:gd name="connsiteX3" fmla="*/ 835393 w 865764"/>
                        <a:gd name="connsiteY3" fmla="*/ 276863 h 289407"/>
                        <a:gd name="connsiteX4" fmla="*/ 54629 w 865764"/>
                        <a:gd name="connsiteY4" fmla="*/ 249716 h 289407"/>
                        <a:gd name="connsiteX5" fmla="*/ 41865 w 865764"/>
                        <a:gd name="connsiteY5" fmla="*/ 132750 h 289407"/>
                        <a:gd name="connsiteX6" fmla="*/ 331140 w 865764"/>
                        <a:gd name="connsiteY6" fmla="*/ 83696 h 289407"/>
                        <a:gd name="connsiteX7" fmla="*/ 535927 w 865764"/>
                        <a:gd name="connsiteY7" fmla="*/ 829 h 289407"/>
                        <a:gd name="connsiteX8" fmla="*/ 592696 w 865764"/>
                        <a:gd name="connsiteY8" fmla="*/ 56931 h 289407"/>
                        <a:gd name="connsiteX9" fmla="*/ 725570 w 865764"/>
                        <a:gd name="connsiteY9" fmla="*/ 56931 h 289407"/>
                        <a:gd name="connsiteX10" fmla="*/ 805009 w 865764"/>
                        <a:gd name="connsiteY10" fmla="*/ 28546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804913" y="28546"/>
                          </a:moveTo>
                          <a:cubicBezTo>
                            <a:pt x="804913" y="28546"/>
                            <a:pt x="868350" y="92078"/>
                            <a:pt x="865683" y="170088"/>
                          </a:cubicBezTo>
                          <a:cubicBezTo>
                            <a:pt x="864254" y="210474"/>
                            <a:pt x="861968" y="237334"/>
                            <a:pt x="860063" y="253907"/>
                          </a:cubicBezTo>
                          <a:cubicBezTo>
                            <a:pt x="858634" y="266576"/>
                            <a:pt x="848157" y="276292"/>
                            <a:pt x="835393" y="276863"/>
                          </a:cubicBezTo>
                          <a:cubicBezTo>
                            <a:pt x="726808" y="281626"/>
                            <a:pt x="175025" y="314487"/>
                            <a:pt x="54629" y="249716"/>
                          </a:cubicBezTo>
                          <a:cubicBezTo>
                            <a:pt x="-60338" y="187899"/>
                            <a:pt x="41865" y="132750"/>
                            <a:pt x="41865" y="132750"/>
                          </a:cubicBezTo>
                          <a:cubicBezTo>
                            <a:pt x="41865" y="132750"/>
                            <a:pt x="216840" y="152752"/>
                            <a:pt x="331140" y="83696"/>
                          </a:cubicBezTo>
                          <a:cubicBezTo>
                            <a:pt x="432867" y="22260"/>
                            <a:pt x="517735" y="-5267"/>
                            <a:pt x="535927" y="829"/>
                          </a:cubicBezTo>
                          <a:cubicBezTo>
                            <a:pt x="554120" y="6924"/>
                            <a:pt x="560502" y="35499"/>
                            <a:pt x="592696" y="56931"/>
                          </a:cubicBezTo>
                          <a:cubicBezTo>
                            <a:pt x="624986" y="78457"/>
                            <a:pt x="663753" y="78457"/>
                            <a:pt x="725570" y="56931"/>
                          </a:cubicBezTo>
                          <a:cubicBezTo>
                            <a:pt x="787387" y="35404"/>
                            <a:pt x="786149" y="20450"/>
                            <a:pt x="805009" y="28546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97" name="Freihandform: Form 196">
                      <a:extLst>
                        <a:ext uri="{FF2B5EF4-FFF2-40B4-BE49-F238E27FC236}">
                          <a16:creationId xmlns:a16="http://schemas.microsoft.com/office/drawing/2014/main" id="{9608C06F-C79C-E690-F2FE-2CCDFAA32D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641758" y="5933027"/>
                      <a:ext cx="867562" cy="153180"/>
                    </a:xfrm>
                    <a:custGeom>
                      <a:avLst/>
                      <a:gdLst>
                        <a:gd name="connsiteX0" fmla="*/ 837463 w 867562"/>
                        <a:gd name="connsiteY0" fmla="*/ 153162 h 153180"/>
                        <a:gd name="connsiteX1" fmla="*/ 174904 w 867562"/>
                        <a:gd name="connsiteY1" fmla="*/ 152781 h 153180"/>
                        <a:gd name="connsiteX2" fmla="*/ 55746 w 867562"/>
                        <a:gd name="connsiteY2" fmla="*/ 116395 h 153180"/>
                        <a:gd name="connsiteX3" fmla="*/ 28600 w 867562"/>
                        <a:gd name="connsiteY3" fmla="*/ 0 h 153180"/>
                        <a:gd name="connsiteX4" fmla="*/ 68700 w 867562"/>
                        <a:gd name="connsiteY4" fmla="*/ 42291 h 153180"/>
                        <a:gd name="connsiteX5" fmla="*/ 867562 w 867562"/>
                        <a:gd name="connsiteY5" fmla="*/ 51245 h 153180"/>
                        <a:gd name="connsiteX6" fmla="*/ 862324 w 867562"/>
                        <a:gd name="connsiteY6" fmla="*/ 130016 h 153180"/>
                        <a:gd name="connsiteX7" fmla="*/ 837559 w 867562"/>
                        <a:gd name="connsiteY7" fmla="*/ 153162 h 15318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0">
                          <a:moveTo>
                            <a:pt x="837463" y="153162"/>
                          </a:moveTo>
                          <a:cubicBezTo>
                            <a:pt x="834987" y="153257"/>
                            <a:pt x="177000" y="152971"/>
                            <a:pt x="174904" y="152781"/>
                          </a:cubicBezTo>
                          <a:cubicBezTo>
                            <a:pt x="116325" y="147066"/>
                            <a:pt x="79750" y="129349"/>
                            <a:pt x="55746" y="116395"/>
                          </a:cubicBezTo>
                          <a:cubicBezTo>
                            <a:pt x="-30359" y="70104"/>
                            <a:pt x="2311" y="15907"/>
                            <a:pt x="28600" y="0"/>
                          </a:cubicBezTo>
                          <a:cubicBezTo>
                            <a:pt x="37173" y="9430"/>
                            <a:pt x="50032" y="32290"/>
                            <a:pt x="68700" y="42291"/>
                          </a:cubicBezTo>
                          <a:cubicBezTo>
                            <a:pt x="195859" y="110680"/>
                            <a:pt x="799173" y="56483"/>
                            <a:pt x="867562" y="51245"/>
                          </a:cubicBezTo>
                          <a:cubicBezTo>
                            <a:pt x="866134" y="85630"/>
                            <a:pt x="864133" y="114871"/>
                            <a:pt x="862324" y="130016"/>
                          </a:cubicBezTo>
                          <a:cubicBezTo>
                            <a:pt x="860895" y="142780"/>
                            <a:pt x="850417" y="152590"/>
                            <a:pt x="837559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198" name="Freihandform: Form 197">
                    <a:extLst>
                      <a:ext uri="{FF2B5EF4-FFF2-40B4-BE49-F238E27FC236}">
                        <a16:creationId xmlns:a16="http://schemas.microsoft.com/office/drawing/2014/main" id="{6C622877-0F49-7130-8374-D30C45826E32}"/>
                      </a:ext>
                    </a:extLst>
                  </p:cNvPr>
                  <p:cNvSpPr/>
                  <p:nvPr/>
                </p:nvSpPr>
                <p:spPr>
                  <a:xfrm>
                    <a:off x="5928417" y="2855975"/>
                    <a:ext cx="818567" cy="1866913"/>
                  </a:xfrm>
                  <a:custGeom>
                    <a:avLst/>
                    <a:gdLst>
                      <a:gd name="connsiteX0" fmla="*/ 781595 w 818567"/>
                      <a:gd name="connsiteY0" fmla="*/ 78581 h 1866913"/>
                      <a:gd name="connsiteX1" fmla="*/ 114750 w 818567"/>
                      <a:gd name="connsiteY1" fmla="*/ 0 h 1866913"/>
                      <a:gd name="connsiteX2" fmla="*/ 16166 w 818567"/>
                      <a:gd name="connsiteY2" fmla="*/ 936117 h 1866913"/>
                      <a:gd name="connsiteX3" fmla="*/ 9308 w 818567"/>
                      <a:gd name="connsiteY3" fmla="*/ 1796606 h 1866913"/>
                      <a:gd name="connsiteX4" fmla="*/ 521182 w 818567"/>
                      <a:gd name="connsiteY4" fmla="*/ 1815084 h 1866913"/>
                      <a:gd name="connsiteX5" fmla="*/ 781595 w 818567"/>
                      <a:gd name="connsiteY5" fmla="*/ 78486 h 18669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8567" h="1866913">
                        <a:moveTo>
                          <a:pt x="781595" y="78581"/>
                        </a:moveTo>
                        <a:cubicBezTo>
                          <a:pt x="772165" y="79820"/>
                          <a:pt x="114750" y="0"/>
                          <a:pt x="114750" y="0"/>
                        </a:cubicBezTo>
                        <a:cubicBezTo>
                          <a:pt x="114750" y="0"/>
                          <a:pt x="24453" y="770858"/>
                          <a:pt x="16166" y="936117"/>
                        </a:cubicBezTo>
                        <a:cubicBezTo>
                          <a:pt x="-15648" y="1569434"/>
                          <a:pt x="9308" y="1796606"/>
                          <a:pt x="9308" y="1796606"/>
                        </a:cubicBezTo>
                        <a:cubicBezTo>
                          <a:pt x="156184" y="1903952"/>
                          <a:pt x="356018" y="1870234"/>
                          <a:pt x="521182" y="1815084"/>
                        </a:cubicBezTo>
                        <a:cubicBezTo>
                          <a:pt x="633767" y="1093470"/>
                          <a:pt x="919898" y="808196"/>
                          <a:pt x="781595" y="78486"/>
                        </a:cubicBezTo>
                        <a:close/>
                      </a:path>
                    </a:pathLst>
                  </a:custGeom>
                  <a:solidFill>
                    <a:srgbClr val="004F4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9" name="Freihandform: Form 198">
                    <a:extLst>
                      <a:ext uri="{FF2B5EF4-FFF2-40B4-BE49-F238E27FC236}">
                        <a16:creationId xmlns:a16="http://schemas.microsoft.com/office/drawing/2014/main" id="{50F5741B-8D98-FA50-E772-A414D5220B6A}"/>
                      </a:ext>
                    </a:extLst>
                  </p:cNvPr>
                  <p:cNvSpPr/>
                  <p:nvPr/>
                </p:nvSpPr>
                <p:spPr>
                  <a:xfrm>
                    <a:off x="5936678" y="4541924"/>
                    <a:ext cx="619474" cy="1380816"/>
                  </a:xfrm>
                  <a:custGeom>
                    <a:avLst/>
                    <a:gdLst>
                      <a:gd name="connsiteX0" fmla="*/ 517588 w 619474"/>
                      <a:gd name="connsiteY0" fmla="*/ 67509 h 1380816"/>
                      <a:gd name="connsiteX1" fmla="*/ 599980 w 619474"/>
                      <a:gd name="connsiteY1" fmla="*/ 1058014 h 1380816"/>
                      <a:gd name="connsiteX2" fmla="*/ 567309 w 619474"/>
                      <a:gd name="connsiteY2" fmla="*/ 1380435 h 1380816"/>
                      <a:gd name="connsiteX3" fmla="*/ 263462 w 619474"/>
                      <a:gd name="connsiteY3" fmla="*/ 1347288 h 1380816"/>
                      <a:gd name="connsiteX4" fmla="*/ 50292 w 619474"/>
                      <a:gd name="connsiteY4" fmla="*/ 1324809 h 1380816"/>
                      <a:gd name="connsiteX5" fmla="*/ 62008 w 619474"/>
                      <a:gd name="connsiteY5" fmla="*/ 870086 h 1380816"/>
                      <a:gd name="connsiteX6" fmla="*/ 0 w 619474"/>
                      <a:gd name="connsiteY6" fmla="*/ 98275 h 1380816"/>
                      <a:gd name="connsiteX7" fmla="*/ 517588 w 619474"/>
                      <a:gd name="connsiteY7" fmla="*/ 67414 h 13808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19474" h="1380816">
                        <a:moveTo>
                          <a:pt x="517588" y="67509"/>
                        </a:moveTo>
                        <a:cubicBezTo>
                          <a:pt x="608171" y="426887"/>
                          <a:pt x="582644" y="878944"/>
                          <a:pt x="599980" y="1058014"/>
                        </a:cubicBezTo>
                        <a:cubicBezTo>
                          <a:pt x="610553" y="1167361"/>
                          <a:pt x="652081" y="1391293"/>
                          <a:pt x="567309" y="1380435"/>
                        </a:cubicBezTo>
                        <a:cubicBezTo>
                          <a:pt x="503491" y="1366910"/>
                          <a:pt x="391287" y="1357956"/>
                          <a:pt x="263462" y="1347288"/>
                        </a:cubicBezTo>
                        <a:cubicBezTo>
                          <a:pt x="135636" y="1336525"/>
                          <a:pt x="50292" y="1324809"/>
                          <a:pt x="50292" y="1324809"/>
                        </a:cubicBezTo>
                        <a:cubicBezTo>
                          <a:pt x="50292" y="1324809"/>
                          <a:pt x="63722" y="926093"/>
                          <a:pt x="62008" y="870086"/>
                        </a:cubicBezTo>
                        <a:cubicBezTo>
                          <a:pt x="60293" y="814079"/>
                          <a:pt x="0" y="98275"/>
                          <a:pt x="0" y="98275"/>
                        </a:cubicBezTo>
                        <a:cubicBezTo>
                          <a:pt x="154305" y="-12501"/>
                          <a:pt x="355473" y="-38980"/>
                          <a:pt x="517588" y="67414"/>
                        </a:cubicBezTo>
                        <a:close/>
                      </a:path>
                    </a:pathLst>
                  </a:custGeom>
                  <a:solidFill>
                    <a:srgbClr val="004F4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0" name="Freihandform: Form 199">
                    <a:extLst>
                      <a:ext uri="{FF2B5EF4-FFF2-40B4-BE49-F238E27FC236}">
                        <a16:creationId xmlns:a16="http://schemas.microsoft.com/office/drawing/2014/main" id="{A92774FD-46D8-8A77-39B5-FCC51236C74C}"/>
                      </a:ext>
                    </a:extLst>
                  </p:cNvPr>
                  <p:cNvSpPr/>
                  <p:nvPr/>
                </p:nvSpPr>
                <p:spPr>
                  <a:xfrm>
                    <a:off x="5935820" y="4361211"/>
                    <a:ext cx="518731" cy="518731"/>
                  </a:xfrm>
                  <a:custGeom>
                    <a:avLst/>
                    <a:gdLst>
                      <a:gd name="connsiteX0" fmla="*/ 518731 w 518731"/>
                      <a:gd name="connsiteY0" fmla="*/ 259366 h 518731"/>
                      <a:gd name="connsiteX1" fmla="*/ 259366 w 518731"/>
                      <a:gd name="connsiteY1" fmla="*/ 518732 h 518731"/>
                      <a:gd name="connsiteX2" fmla="*/ 0 w 518731"/>
                      <a:gd name="connsiteY2" fmla="*/ 259366 h 518731"/>
                      <a:gd name="connsiteX3" fmla="*/ 259366 w 518731"/>
                      <a:gd name="connsiteY3" fmla="*/ 0 h 518731"/>
                      <a:gd name="connsiteX4" fmla="*/ 518731 w 518731"/>
                      <a:gd name="connsiteY4" fmla="*/ 259366 h 5187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8731" h="518731">
                        <a:moveTo>
                          <a:pt x="518731" y="259366"/>
                        </a:moveTo>
                        <a:cubicBezTo>
                          <a:pt x="518731" y="402610"/>
                          <a:pt x="402610" y="518732"/>
                          <a:pt x="259366" y="518732"/>
                        </a:cubicBezTo>
                        <a:cubicBezTo>
                          <a:pt x="116122" y="518732"/>
                          <a:pt x="0" y="402610"/>
                          <a:pt x="0" y="259366"/>
                        </a:cubicBezTo>
                        <a:cubicBezTo>
                          <a:pt x="0" y="116122"/>
                          <a:pt x="116122" y="0"/>
                          <a:pt x="259366" y="0"/>
                        </a:cubicBezTo>
                        <a:cubicBezTo>
                          <a:pt x="402610" y="0"/>
                          <a:pt x="518731" y="116122"/>
                          <a:pt x="518731" y="259366"/>
                        </a:cubicBezTo>
                        <a:close/>
                      </a:path>
                    </a:pathLst>
                  </a:custGeom>
                  <a:solidFill>
                    <a:srgbClr val="004F4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1" name="Freihandform: Form 200">
                    <a:extLst>
                      <a:ext uri="{FF2B5EF4-FFF2-40B4-BE49-F238E27FC236}">
                        <a16:creationId xmlns:a16="http://schemas.microsoft.com/office/drawing/2014/main" id="{61229A6A-53CE-3946-D210-FFA7C0538B7D}"/>
                      </a:ext>
                    </a:extLst>
                  </p:cNvPr>
                  <p:cNvSpPr/>
                  <p:nvPr/>
                </p:nvSpPr>
                <p:spPr>
                  <a:xfrm>
                    <a:off x="5919437" y="2908934"/>
                    <a:ext cx="808810" cy="1901431"/>
                  </a:xfrm>
                  <a:custGeom>
                    <a:avLst/>
                    <a:gdLst>
                      <a:gd name="connsiteX0" fmla="*/ 669798 w 808810"/>
                      <a:gd name="connsiteY0" fmla="*/ 0 h 1901431"/>
                      <a:gd name="connsiteX1" fmla="*/ 0 w 808810"/>
                      <a:gd name="connsiteY1" fmla="*/ 48197 h 1901431"/>
                      <a:gd name="connsiteX2" fmla="*/ 79248 w 808810"/>
                      <a:gd name="connsiteY2" fmla="*/ 986219 h 1901431"/>
                      <a:gd name="connsiteX3" fmla="*/ 239078 w 808810"/>
                      <a:gd name="connsiteY3" fmla="*/ 1844231 h 1901431"/>
                      <a:gd name="connsiteX4" fmla="*/ 750094 w 808810"/>
                      <a:gd name="connsiteY4" fmla="*/ 1836325 h 1901431"/>
                      <a:gd name="connsiteX5" fmla="*/ 669798 w 808810"/>
                      <a:gd name="connsiteY5" fmla="*/ 0 h 19014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08810" h="1901431">
                        <a:moveTo>
                          <a:pt x="669798" y="0"/>
                        </a:moveTo>
                        <a:cubicBezTo>
                          <a:pt x="660749" y="3048"/>
                          <a:pt x="0" y="48197"/>
                          <a:pt x="0" y="48197"/>
                        </a:cubicBezTo>
                        <a:cubicBezTo>
                          <a:pt x="0" y="48197"/>
                          <a:pt x="56293" y="822293"/>
                          <a:pt x="79248" y="986219"/>
                        </a:cubicBezTo>
                        <a:cubicBezTo>
                          <a:pt x="167069" y="1614202"/>
                          <a:pt x="239078" y="1844231"/>
                          <a:pt x="239078" y="1844231"/>
                        </a:cubicBezTo>
                        <a:cubicBezTo>
                          <a:pt x="403574" y="1921955"/>
                          <a:pt x="598265" y="1921574"/>
                          <a:pt x="750094" y="1836325"/>
                        </a:cubicBezTo>
                        <a:cubicBezTo>
                          <a:pt x="724948" y="1106329"/>
                          <a:pt x="942880" y="690658"/>
                          <a:pt x="669798" y="0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202" name="Grafik 23">
                    <a:extLst>
                      <a:ext uri="{FF2B5EF4-FFF2-40B4-BE49-F238E27FC236}">
                        <a16:creationId xmlns:a16="http://schemas.microsoft.com/office/drawing/2014/main" id="{1AB08662-B0F6-E825-865A-C2D81F0E104F}"/>
                      </a:ext>
                    </a:extLst>
                  </p:cNvPr>
                  <p:cNvGrpSpPr/>
                  <p:nvPr/>
                </p:nvGrpSpPr>
                <p:grpSpPr>
                  <a:xfrm>
                    <a:off x="5802540" y="5867238"/>
                    <a:ext cx="867562" cy="295551"/>
                    <a:chOff x="5802540" y="5867238"/>
                    <a:chExt cx="867562" cy="295551"/>
                  </a:xfrm>
                </p:grpSpPr>
                <p:sp>
                  <p:nvSpPr>
                    <p:cNvPr id="203" name="Freihandform: Form 202">
                      <a:extLst>
                        <a:ext uri="{FF2B5EF4-FFF2-40B4-BE49-F238E27FC236}">
                          <a16:creationId xmlns:a16="http://schemas.microsoft.com/office/drawing/2014/main" id="{8CDBEED8-E9C5-46FC-E3BF-046E0498E1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04134" y="5867238"/>
                      <a:ext cx="865764" cy="289407"/>
                    </a:xfrm>
                    <a:custGeom>
                      <a:avLst/>
                      <a:gdLst>
                        <a:gd name="connsiteX0" fmla="*/ 804913 w 865764"/>
                        <a:gd name="connsiteY0" fmla="*/ 28546 h 289407"/>
                        <a:gd name="connsiteX1" fmla="*/ 865683 w 865764"/>
                        <a:gd name="connsiteY1" fmla="*/ 170088 h 289407"/>
                        <a:gd name="connsiteX2" fmla="*/ 860063 w 865764"/>
                        <a:gd name="connsiteY2" fmla="*/ 253908 h 289407"/>
                        <a:gd name="connsiteX3" fmla="*/ 835393 w 865764"/>
                        <a:gd name="connsiteY3" fmla="*/ 276863 h 289407"/>
                        <a:gd name="connsiteX4" fmla="*/ 54629 w 865764"/>
                        <a:gd name="connsiteY4" fmla="*/ 249717 h 289407"/>
                        <a:gd name="connsiteX5" fmla="*/ 41866 w 865764"/>
                        <a:gd name="connsiteY5" fmla="*/ 132750 h 289407"/>
                        <a:gd name="connsiteX6" fmla="*/ 331140 w 865764"/>
                        <a:gd name="connsiteY6" fmla="*/ 83696 h 289407"/>
                        <a:gd name="connsiteX7" fmla="*/ 535927 w 865764"/>
                        <a:gd name="connsiteY7" fmla="*/ 829 h 289407"/>
                        <a:gd name="connsiteX8" fmla="*/ 592696 w 865764"/>
                        <a:gd name="connsiteY8" fmla="*/ 56931 h 289407"/>
                        <a:gd name="connsiteX9" fmla="*/ 725570 w 865764"/>
                        <a:gd name="connsiteY9" fmla="*/ 56931 h 289407"/>
                        <a:gd name="connsiteX10" fmla="*/ 805009 w 865764"/>
                        <a:gd name="connsiteY10" fmla="*/ 28546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804913" y="28546"/>
                          </a:moveTo>
                          <a:cubicBezTo>
                            <a:pt x="804913" y="28546"/>
                            <a:pt x="868350" y="92078"/>
                            <a:pt x="865683" y="170088"/>
                          </a:cubicBezTo>
                          <a:cubicBezTo>
                            <a:pt x="864254" y="210474"/>
                            <a:pt x="861968" y="237335"/>
                            <a:pt x="860063" y="253908"/>
                          </a:cubicBezTo>
                          <a:cubicBezTo>
                            <a:pt x="858634" y="266576"/>
                            <a:pt x="848157" y="276292"/>
                            <a:pt x="835393" y="276863"/>
                          </a:cubicBezTo>
                          <a:cubicBezTo>
                            <a:pt x="726808" y="281626"/>
                            <a:pt x="175025" y="314487"/>
                            <a:pt x="54629" y="249717"/>
                          </a:cubicBezTo>
                          <a:cubicBezTo>
                            <a:pt x="-60338" y="187900"/>
                            <a:pt x="41866" y="132750"/>
                            <a:pt x="41866" y="132750"/>
                          </a:cubicBezTo>
                          <a:cubicBezTo>
                            <a:pt x="41866" y="132750"/>
                            <a:pt x="216840" y="152753"/>
                            <a:pt x="331140" y="83696"/>
                          </a:cubicBezTo>
                          <a:cubicBezTo>
                            <a:pt x="432867" y="22260"/>
                            <a:pt x="517735" y="-5267"/>
                            <a:pt x="535927" y="829"/>
                          </a:cubicBezTo>
                          <a:cubicBezTo>
                            <a:pt x="554120" y="6925"/>
                            <a:pt x="560502" y="35500"/>
                            <a:pt x="592696" y="56931"/>
                          </a:cubicBezTo>
                          <a:cubicBezTo>
                            <a:pt x="624986" y="78457"/>
                            <a:pt x="663753" y="78457"/>
                            <a:pt x="725570" y="56931"/>
                          </a:cubicBezTo>
                          <a:cubicBezTo>
                            <a:pt x="787387" y="35405"/>
                            <a:pt x="786149" y="20450"/>
                            <a:pt x="805009" y="28546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04" name="Freihandform: Form 203">
                      <a:extLst>
                        <a:ext uri="{FF2B5EF4-FFF2-40B4-BE49-F238E27FC236}">
                          <a16:creationId xmlns:a16="http://schemas.microsoft.com/office/drawing/2014/main" id="{D1D62F69-FE8B-4568-968A-A5E01448371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02540" y="6009608"/>
                      <a:ext cx="867562" cy="153181"/>
                    </a:xfrm>
                    <a:custGeom>
                      <a:avLst/>
                      <a:gdLst>
                        <a:gd name="connsiteX0" fmla="*/ 837463 w 867562"/>
                        <a:gd name="connsiteY0" fmla="*/ 153162 h 153181"/>
                        <a:gd name="connsiteX1" fmla="*/ 174904 w 867562"/>
                        <a:gd name="connsiteY1" fmla="*/ 152781 h 153181"/>
                        <a:gd name="connsiteX2" fmla="*/ 55746 w 867562"/>
                        <a:gd name="connsiteY2" fmla="*/ 116396 h 153181"/>
                        <a:gd name="connsiteX3" fmla="*/ 28600 w 867562"/>
                        <a:gd name="connsiteY3" fmla="*/ 0 h 153181"/>
                        <a:gd name="connsiteX4" fmla="*/ 68701 w 867562"/>
                        <a:gd name="connsiteY4" fmla="*/ 42291 h 153181"/>
                        <a:gd name="connsiteX5" fmla="*/ 867562 w 867562"/>
                        <a:gd name="connsiteY5" fmla="*/ 51245 h 153181"/>
                        <a:gd name="connsiteX6" fmla="*/ 862324 w 867562"/>
                        <a:gd name="connsiteY6" fmla="*/ 130016 h 153181"/>
                        <a:gd name="connsiteX7" fmla="*/ 837559 w 867562"/>
                        <a:gd name="connsiteY7" fmla="*/ 153162 h 1531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1">
                          <a:moveTo>
                            <a:pt x="837463" y="153162"/>
                          </a:moveTo>
                          <a:cubicBezTo>
                            <a:pt x="834987" y="153258"/>
                            <a:pt x="177000" y="152971"/>
                            <a:pt x="174904" y="152781"/>
                          </a:cubicBezTo>
                          <a:cubicBezTo>
                            <a:pt x="116326" y="147066"/>
                            <a:pt x="79750" y="129350"/>
                            <a:pt x="55746" y="116396"/>
                          </a:cubicBezTo>
                          <a:cubicBezTo>
                            <a:pt x="-30359" y="70104"/>
                            <a:pt x="2311" y="15907"/>
                            <a:pt x="28600" y="0"/>
                          </a:cubicBezTo>
                          <a:cubicBezTo>
                            <a:pt x="37173" y="9430"/>
                            <a:pt x="50031" y="32290"/>
                            <a:pt x="68701" y="42291"/>
                          </a:cubicBezTo>
                          <a:cubicBezTo>
                            <a:pt x="195859" y="110680"/>
                            <a:pt x="799173" y="56483"/>
                            <a:pt x="867562" y="51245"/>
                          </a:cubicBezTo>
                          <a:cubicBezTo>
                            <a:pt x="866134" y="85630"/>
                            <a:pt x="864133" y="114871"/>
                            <a:pt x="862324" y="130016"/>
                          </a:cubicBezTo>
                          <a:cubicBezTo>
                            <a:pt x="860895" y="142780"/>
                            <a:pt x="850417" y="152591"/>
                            <a:pt x="837559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205" name="Freihandform: Form 204">
                    <a:extLst>
                      <a:ext uri="{FF2B5EF4-FFF2-40B4-BE49-F238E27FC236}">
                        <a16:creationId xmlns:a16="http://schemas.microsoft.com/office/drawing/2014/main" id="{EEBAF1BA-B831-7F75-6C01-E9642E661F4A}"/>
                      </a:ext>
                    </a:extLst>
                  </p:cNvPr>
                  <p:cNvSpPr/>
                  <p:nvPr/>
                </p:nvSpPr>
                <p:spPr>
                  <a:xfrm>
                    <a:off x="6158610" y="4661673"/>
                    <a:ext cx="568148" cy="1321932"/>
                  </a:xfrm>
                  <a:custGeom>
                    <a:avLst/>
                    <a:gdLst>
                      <a:gd name="connsiteX0" fmla="*/ 503015 w 568148"/>
                      <a:gd name="connsiteY0" fmla="*/ 1321932 h 1321932"/>
                      <a:gd name="connsiteX1" fmla="*/ 12763 w 568148"/>
                      <a:gd name="connsiteY1" fmla="*/ 1268402 h 1321932"/>
                      <a:gd name="connsiteX2" fmla="*/ 0 w 568148"/>
                      <a:gd name="connsiteY2" fmla="*/ 91492 h 1321932"/>
                      <a:gd name="connsiteX3" fmla="*/ 510254 w 568148"/>
                      <a:gd name="connsiteY3" fmla="*/ 73109 h 1321932"/>
                      <a:gd name="connsiteX4" fmla="*/ 566547 w 568148"/>
                      <a:gd name="connsiteY4" fmla="*/ 1067710 h 1321932"/>
                      <a:gd name="connsiteX5" fmla="*/ 503015 w 568148"/>
                      <a:gd name="connsiteY5" fmla="*/ 1321932 h 13219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68148" h="1321932">
                        <a:moveTo>
                          <a:pt x="503015" y="1321932"/>
                        </a:moveTo>
                        <a:lnTo>
                          <a:pt x="12763" y="1268402"/>
                        </a:lnTo>
                        <a:cubicBezTo>
                          <a:pt x="13526" y="1249828"/>
                          <a:pt x="0" y="91492"/>
                          <a:pt x="0" y="91492"/>
                        </a:cubicBezTo>
                        <a:cubicBezTo>
                          <a:pt x="157544" y="-14616"/>
                          <a:pt x="351473" y="-38238"/>
                          <a:pt x="510254" y="73109"/>
                        </a:cubicBezTo>
                        <a:cubicBezTo>
                          <a:pt x="589884" y="435059"/>
                          <a:pt x="554641" y="888164"/>
                          <a:pt x="566547" y="1067710"/>
                        </a:cubicBezTo>
                        <a:cubicBezTo>
                          <a:pt x="573596" y="1174295"/>
                          <a:pt x="558260" y="1277069"/>
                          <a:pt x="503015" y="1321932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6" name="Freihandform: Form 205">
                    <a:extLst>
                      <a:ext uri="{FF2B5EF4-FFF2-40B4-BE49-F238E27FC236}">
                        <a16:creationId xmlns:a16="http://schemas.microsoft.com/office/drawing/2014/main" id="{933FD699-59DA-7A3A-9BFF-214620906185}"/>
                      </a:ext>
                    </a:extLst>
                  </p:cNvPr>
                  <p:cNvSpPr/>
                  <p:nvPr/>
                </p:nvSpPr>
                <p:spPr>
                  <a:xfrm>
                    <a:off x="5826187" y="1414081"/>
                    <a:ext cx="1017222" cy="2754820"/>
                  </a:xfrm>
                  <a:custGeom>
                    <a:avLst/>
                    <a:gdLst>
                      <a:gd name="connsiteX0" fmla="*/ 970979 w 1017222"/>
                      <a:gd name="connsiteY0" fmla="*/ 2051971 h 2754820"/>
                      <a:gd name="connsiteX1" fmla="*/ 920591 w 1017222"/>
                      <a:gd name="connsiteY1" fmla="*/ 1125093 h 2754820"/>
                      <a:gd name="connsiteX2" fmla="*/ 1016603 w 1017222"/>
                      <a:gd name="connsiteY2" fmla="*/ 413575 h 2754820"/>
                      <a:gd name="connsiteX3" fmla="*/ 730663 w 1017222"/>
                      <a:gd name="connsiteY3" fmla="*/ 0 h 2754820"/>
                      <a:gd name="connsiteX4" fmla="*/ 304990 w 1017222"/>
                      <a:gd name="connsiteY4" fmla="*/ 152210 h 2754820"/>
                      <a:gd name="connsiteX5" fmla="*/ 89821 w 1017222"/>
                      <a:gd name="connsiteY5" fmla="*/ 676370 h 2754820"/>
                      <a:gd name="connsiteX6" fmla="*/ 47149 w 1017222"/>
                      <a:gd name="connsiteY6" fmla="*/ 1569911 h 2754820"/>
                      <a:gd name="connsiteX7" fmla="*/ 0 w 1017222"/>
                      <a:gd name="connsiteY7" fmla="*/ 2754821 h 2754820"/>
                      <a:gd name="connsiteX8" fmla="*/ 971931 w 1017222"/>
                      <a:gd name="connsiteY8" fmla="*/ 2754821 h 2754820"/>
                      <a:gd name="connsiteX9" fmla="*/ 971074 w 1017222"/>
                      <a:gd name="connsiteY9" fmla="*/ 2051971 h 27548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17222" h="2754820">
                        <a:moveTo>
                          <a:pt x="970979" y="2051971"/>
                        </a:moveTo>
                        <a:cubicBezTo>
                          <a:pt x="955738" y="1788604"/>
                          <a:pt x="920591" y="1125093"/>
                          <a:pt x="920591" y="1125093"/>
                        </a:cubicBezTo>
                        <a:cubicBezTo>
                          <a:pt x="920591" y="1125093"/>
                          <a:pt x="1026224" y="587693"/>
                          <a:pt x="1016603" y="413575"/>
                        </a:cubicBezTo>
                        <a:cubicBezTo>
                          <a:pt x="1004792" y="198882"/>
                          <a:pt x="730663" y="0"/>
                          <a:pt x="730663" y="0"/>
                        </a:cubicBezTo>
                        <a:lnTo>
                          <a:pt x="304990" y="152210"/>
                        </a:lnTo>
                        <a:cubicBezTo>
                          <a:pt x="304990" y="152210"/>
                          <a:pt x="117920" y="422339"/>
                          <a:pt x="89821" y="676370"/>
                        </a:cubicBezTo>
                        <a:cubicBezTo>
                          <a:pt x="79438" y="770477"/>
                          <a:pt x="47149" y="1569911"/>
                          <a:pt x="47149" y="1569911"/>
                        </a:cubicBezTo>
                        <a:lnTo>
                          <a:pt x="0" y="2754821"/>
                        </a:lnTo>
                        <a:lnTo>
                          <a:pt x="971931" y="2754821"/>
                        </a:lnTo>
                        <a:cubicBezTo>
                          <a:pt x="974979" y="2647188"/>
                          <a:pt x="983933" y="2275332"/>
                          <a:pt x="971074" y="205197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7" name="Freihandform: Form 206">
                    <a:extLst>
                      <a:ext uri="{FF2B5EF4-FFF2-40B4-BE49-F238E27FC236}">
                        <a16:creationId xmlns:a16="http://schemas.microsoft.com/office/drawing/2014/main" id="{9463D9C9-2271-5A44-8CA0-F64EA8A62CE3}"/>
                      </a:ext>
                    </a:extLst>
                  </p:cNvPr>
                  <p:cNvSpPr/>
                  <p:nvPr/>
                </p:nvSpPr>
                <p:spPr>
                  <a:xfrm>
                    <a:off x="6305112" y="1691910"/>
                    <a:ext cx="526126" cy="1486891"/>
                  </a:xfrm>
                  <a:custGeom>
                    <a:avLst/>
                    <a:gdLst>
                      <a:gd name="connsiteX0" fmla="*/ 19614 w 526126"/>
                      <a:gd name="connsiteY0" fmla="*/ 1445148 h 1486891"/>
                      <a:gd name="connsiteX1" fmla="*/ 137248 w 526126"/>
                      <a:gd name="connsiteY1" fmla="*/ 933084 h 1486891"/>
                      <a:gd name="connsiteX2" fmla="*/ 138772 w 526126"/>
                      <a:gd name="connsiteY2" fmla="*/ 280431 h 1486891"/>
                      <a:gd name="connsiteX3" fmla="*/ 303745 w 526126"/>
                      <a:gd name="connsiteY3" fmla="*/ 2301 h 1486891"/>
                      <a:gd name="connsiteX4" fmla="*/ 495483 w 526126"/>
                      <a:gd name="connsiteY4" fmla="*/ 907081 h 1486891"/>
                      <a:gd name="connsiteX5" fmla="*/ 19709 w 526126"/>
                      <a:gd name="connsiteY5" fmla="*/ 1445148 h 14868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26126" h="1486891">
                        <a:moveTo>
                          <a:pt x="19614" y="1445148"/>
                        </a:moveTo>
                        <a:cubicBezTo>
                          <a:pt x="-18676" y="1405715"/>
                          <a:pt x="-11342" y="1230740"/>
                          <a:pt x="137248" y="933084"/>
                        </a:cubicBezTo>
                        <a:cubicBezTo>
                          <a:pt x="221640" y="764015"/>
                          <a:pt x="80479" y="592661"/>
                          <a:pt x="138772" y="280431"/>
                        </a:cubicBezTo>
                        <a:cubicBezTo>
                          <a:pt x="187921" y="17160"/>
                          <a:pt x="303745" y="2301"/>
                          <a:pt x="303745" y="2301"/>
                        </a:cubicBezTo>
                        <a:cubicBezTo>
                          <a:pt x="587971" y="-37609"/>
                          <a:pt x="532726" y="448738"/>
                          <a:pt x="495483" y="907081"/>
                        </a:cubicBezTo>
                        <a:cubicBezTo>
                          <a:pt x="458622" y="1164161"/>
                          <a:pt x="197446" y="1628409"/>
                          <a:pt x="19709" y="1445148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8" name="Freihandform: Form 207">
                    <a:extLst>
                      <a:ext uri="{FF2B5EF4-FFF2-40B4-BE49-F238E27FC236}">
                        <a16:creationId xmlns:a16="http://schemas.microsoft.com/office/drawing/2014/main" id="{26BA31B5-3CD1-FF51-008F-CCFDC7CA5CBE}"/>
                      </a:ext>
                    </a:extLst>
                  </p:cNvPr>
                  <p:cNvSpPr/>
                  <p:nvPr/>
                </p:nvSpPr>
                <p:spPr>
                  <a:xfrm>
                    <a:off x="5978873" y="3209639"/>
                    <a:ext cx="629697" cy="576707"/>
                  </a:xfrm>
                  <a:custGeom>
                    <a:avLst/>
                    <a:gdLst>
                      <a:gd name="connsiteX0" fmla="*/ 95 w 629697"/>
                      <a:gd name="connsiteY0" fmla="*/ 504635 h 576707"/>
                      <a:gd name="connsiteX1" fmla="*/ 629698 w 629697"/>
                      <a:gd name="connsiteY1" fmla="*/ 546068 h 576707"/>
                      <a:gd name="connsiteX2" fmla="*/ 581787 w 629697"/>
                      <a:gd name="connsiteY2" fmla="*/ 0 h 576707"/>
                      <a:gd name="connsiteX3" fmla="*/ 176784 w 629697"/>
                      <a:gd name="connsiteY3" fmla="*/ 3143 h 576707"/>
                      <a:gd name="connsiteX4" fmla="*/ 0 w 629697"/>
                      <a:gd name="connsiteY4" fmla="*/ 504635 h 5767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29697" h="576707">
                        <a:moveTo>
                          <a:pt x="95" y="504635"/>
                        </a:moveTo>
                        <a:cubicBezTo>
                          <a:pt x="33719" y="584645"/>
                          <a:pt x="487013" y="597408"/>
                          <a:pt x="629698" y="546068"/>
                        </a:cubicBezTo>
                        <a:lnTo>
                          <a:pt x="581787" y="0"/>
                        </a:lnTo>
                        <a:lnTo>
                          <a:pt x="176784" y="3143"/>
                        </a:lnTo>
                        <a:lnTo>
                          <a:pt x="0" y="504635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9" name="Freihandform: Form 208">
                    <a:extLst>
                      <a:ext uri="{FF2B5EF4-FFF2-40B4-BE49-F238E27FC236}">
                        <a16:creationId xmlns:a16="http://schemas.microsoft.com/office/drawing/2014/main" id="{94CF47DE-F024-36C1-CEA4-CD18F60B8D11}"/>
                      </a:ext>
                    </a:extLst>
                  </p:cNvPr>
                  <p:cNvSpPr/>
                  <p:nvPr/>
                </p:nvSpPr>
                <p:spPr>
                  <a:xfrm>
                    <a:off x="6099654" y="1283398"/>
                    <a:ext cx="466244" cy="530066"/>
                  </a:xfrm>
                  <a:custGeom>
                    <a:avLst/>
                    <a:gdLst>
                      <a:gd name="connsiteX0" fmla="*/ 466245 w 466244"/>
                      <a:gd name="connsiteY0" fmla="*/ 179546 h 530066"/>
                      <a:gd name="connsiteX1" fmla="*/ 449481 w 466244"/>
                      <a:gd name="connsiteY1" fmla="*/ 0 h 530066"/>
                      <a:gd name="connsiteX2" fmla="*/ 5711 w 466244"/>
                      <a:gd name="connsiteY2" fmla="*/ 288417 h 530066"/>
                      <a:gd name="connsiteX3" fmla="*/ 38096 w 466244"/>
                      <a:gd name="connsiteY3" fmla="*/ 530066 h 530066"/>
                      <a:gd name="connsiteX4" fmla="*/ 466245 w 466244"/>
                      <a:gd name="connsiteY4" fmla="*/ 179546 h 5300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66244" h="530066">
                        <a:moveTo>
                          <a:pt x="466245" y="179546"/>
                        </a:moveTo>
                        <a:lnTo>
                          <a:pt x="449481" y="0"/>
                        </a:lnTo>
                        <a:cubicBezTo>
                          <a:pt x="449481" y="0"/>
                          <a:pt x="94579" y="177165"/>
                          <a:pt x="5711" y="288417"/>
                        </a:cubicBezTo>
                        <a:cubicBezTo>
                          <a:pt x="-17625" y="317659"/>
                          <a:pt x="38096" y="530066"/>
                          <a:pt x="38096" y="530066"/>
                        </a:cubicBezTo>
                        <a:lnTo>
                          <a:pt x="466245" y="17954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0" name="Freihandform: Form 209">
                    <a:extLst>
                      <a:ext uri="{FF2B5EF4-FFF2-40B4-BE49-F238E27FC236}">
                        <a16:creationId xmlns:a16="http://schemas.microsoft.com/office/drawing/2014/main" id="{AD379041-4673-FC87-1112-0220EA49AAD3}"/>
                      </a:ext>
                    </a:extLst>
                  </p:cNvPr>
                  <p:cNvSpPr/>
                  <p:nvPr/>
                </p:nvSpPr>
                <p:spPr>
                  <a:xfrm>
                    <a:off x="6263099" y="2990564"/>
                    <a:ext cx="335184" cy="292893"/>
                  </a:xfrm>
                  <a:custGeom>
                    <a:avLst/>
                    <a:gdLst>
                      <a:gd name="connsiteX0" fmla="*/ 145447 w 335184"/>
                      <a:gd name="connsiteY0" fmla="*/ 0 h 292893"/>
                      <a:gd name="connsiteX1" fmla="*/ 0 w 335184"/>
                      <a:gd name="connsiteY1" fmla="*/ 284131 h 292893"/>
                      <a:gd name="connsiteX2" fmla="*/ 207169 w 335184"/>
                      <a:gd name="connsiteY2" fmla="*/ 292894 h 292893"/>
                      <a:gd name="connsiteX3" fmla="*/ 335185 w 335184"/>
                      <a:gd name="connsiteY3" fmla="*/ 101537 h 292893"/>
                      <a:gd name="connsiteX4" fmla="*/ 145447 w 335184"/>
                      <a:gd name="connsiteY4" fmla="*/ 0 h 2928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35184" h="292893">
                        <a:moveTo>
                          <a:pt x="145447" y="0"/>
                        </a:moveTo>
                        <a:lnTo>
                          <a:pt x="0" y="284131"/>
                        </a:lnTo>
                        <a:lnTo>
                          <a:pt x="207169" y="292894"/>
                        </a:lnTo>
                        <a:lnTo>
                          <a:pt x="335185" y="101537"/>
                        </a:lnTo>
                        <a:lnTo>
                          <a:pt x="145447" y="0"/>
                        </a:ln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211" name="Grafik 23">
                    <a:extLst>
                      <a:ext uri="{FF2B5EF4-FFF2-40B4-BE49-F238E27FC236}">
                        <a16:creationId xmlns:a16="http://schemas.microsoft.com/office/drawing/2014/main" id="{FA8ECCC4-457A-AFAD-9DF0-5904CC1084C4}"/>
                      </a:ext>
                    </a:extLst>
                  </p:cNvPr>
                  <p:cNvGrpSpPr/>
                  <p:nvPr/>
                </p:nvGrpSpPr>
                <p:grpSpPr>
                  <a:xfrm>
                    <a:off x="6324726" y="1764506"/>
                    <a:ext cx="607980" cy="1445133"/>
                    <a:chOff x="6324726" y="1764506"/>
                    <a:chExt cx="607980" cy="1445133"/>
                  </a:xfrm>
                  <a:solidFill>
                    <a:srgbClr val="FFFFFF"/>
                  </a:solidFill>
                </p:grpSpPr>
                <p:sp>
                  <p:nvSpPr>
                    <p:cNvPr id="212" name="Freihandform: Form 211">
                      <a:extLst>
                        <a:ext uri="{FF2B5EF4-FFF2-40B4-BE49-F238E27FC236}">
                          <a16:creationId xmlns:a16="http://schemas.microsoft.com/office/drawing/2014/main" id="{54AFB8F0-BD34-CEEC-922A-1EFD4CFA48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0361" y="1764506"/>
                      <a:ext cx="482346" cy="878681"/>
                    </a:xfrm>
                    <a:custGeom>
                      <a:avLst/>
                      <a:gdLst>
                        <a:gd name="connsiteX0" fmla="*/ 383667 w 482346"/>
                        <a:gd name="connsiteY0" fmla="*/ 0 h 878681"/>
                        <a:gd name="connsiteX1" fmla="*/ 482346 w 482346"/>
                        <a:gd name="connsiteY1" fmla="*/ 839438 h 878681"/>
                        <a:gd name="connsiteX2" fmla="*/ 141256 w 482346"/>
                        <a:gd name="connsiteY2" fmla="*/ 878681 h 878681"/>
                        <a:gd name="connsiteX3" fmla="*/ 0 w 482346"/>
                        <a:gd name="connsiteY3" fmla="*/ 85725 h 878681"/>
                        <a:gd name="connsiteX4" fmla="*/ 383667 w 482346"/>
                        <a:gd name="connsiteY4" fmla="*/ 0 h 8786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82346" h="878681">
                          <a:moveTo>
                            <a:pt x="383667" y="0"/>
                          </a:moveTo>
                          <a:cubicBezTo>
                            <a:pt x="451485" y="213170"/>
                            <a:pt x="482346" y="839438"/>
                            <a:pt x="482346" y="839438"/>
                          </a:cubicBezTo>
                          <a:lnTo>
                            <a:pt x="141256" y="878681"/>
                          </a:lnTo>
                          <a:cubicBezTo>
                            <a:pt x="29909" y="639128"/>
                            <a:pt x="0" y="85725"/>
                            <a:pt x="0" y="85725"/>
                          </a:cubicBezTo>
                          <a:lnTo>
                            <a:pt x="383667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3" name="Freihandform: Form 212">
                      <a:extLst>
                        <a:ext uri="{FF2B5EF4-FFF2-40B4-BE49-F238E27FC236}">
                          <a16:creationId xmlns:a16="http://schemas.microsoft.com/office/drawing/2014/main" id="{D0F4EE2B-31E1-F0CA-B4C3-DD2EEE8031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87140" y="2431161"/>
                      <a:ext cx="345566" cy="345566"/>
                    </a:xfrm>
                    <a:custGeom>
                      <a:avLst/>
                      <a:gdLst>
                        <a:gd name="connsiteX0" fmla="*/ 345567 w 345566"/>
                        <a:gd name="connsiteY0" fmla="*/ 172784 h 345566"/>
                        <a:gd name="connsiteX1" fmla="*/ 172783 w 345566"/>
                        <a:gd name="connsiteY1" fmla="*/ 345567 h 345566"/>
                        <a:gd name="connsiteX2" fmla="*/ 0 w 345566"/>
                        <a:gd name="connsiteY2" fmla="*/ 172784 h 345566"/>
                        <a:gd name="connsiteX3" fmla="*/ 172783 w 345566"/>
                        <a:gd name="connsiteY3" fmla="*/ 0 h 345566"/>
                        <a:gd name="connsiteX4" fmla="*/ 345567 w 345566"/>
                        <a:gd name="connsiteY4" fmla="*/ 172784 h 34556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45566" h="345566">
                          <a:moveTo>
                            <a:pt x="345567" y="172784"/>
                          </a:moveTo>
                          <a:cubicBezTo>
                            <a:pt x="345567" y="268209"/>
                            <a:pt x="268209" y="345567"/>
                            <a:pt x="172783" y="345567"/>
                          </a:cubicBezTo>
                          <a:cubicBezTo>
                            <a:pt x="77358" y="345567"/>
                            <a:pt x="0" y="268209"/>
                            <a:pt x="0" y="172784"/>
                          </a:cubicBezTo>
                          <a:cubicBezTo>
                            <a:pt x="0" y="77358"/>
                            <a:pt x="77358" y="0"/>
                            <a:pt x="172783" y="0"/>
                          </a:cubicBezTo>
                          <a:cubicBezTo>
                            <a:pt x="268209" y="0"/>
                            <a:pt x="345567" y="77358"/>
                            <a:pt x="345567" y="172784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4" name="Freihandform: Form 213">
                      <a:extLst>
                        <a:ext uri="{FF2B5EF4-FFF2-40B4-BE49-F238E27FC236}">
                          <a16:creationId xmlns:a16="http://schemas.microsoft.com/office/drawing/2014/main" id="{46D4C672-B67C-473B-E37B-86A8DFCD6C5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24726" y="2522886"/>
                      <a:ext cx="580739" cy="686752"/>
                    </a:xfrm>
                    <a:custGeom>
                      <a:avLst/>
                      <a:gdLst>
                        <a:gd name="connsiteX0" fmla="*/ 580740 w 580739"/>
                        <a:gd name="connsiteY0" fmla="*/ 174308 h 686752"/>
                        <a:gd name="connsiteX1" fmla="*/ 249269 w 580739"/>
                        <a:gd name="connsiteY1" fmla="*/ 686753 h 686752"/>
                        <a:gd name="connsiteX2" fmla="*/ 0 w 580739"/>
                        <a:gd name="connsiteY2" fmla="*/ 520637 h 686752"/>
                        <a:gd name="connsiteX3" fmla="*/ 282607 w 580739"/>
                        <a:gd name="connsiteY3" fmla="*/ 0 h 686752"/>
                        <a:gd name="connsiteX4" fmla="*/ 580740 w 580739"/>
                        <a:gd name="connsiteY4" fmla="*/ 174308 h 6867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80739" h="686752">
                          <a:moveTo>
                            <a:pt x="580740" y="174308"/>
                          </a:moveTo>
                          <a:lnTo>
                            <a:pt x="249269" y="686753"/>
                          </a:lnTo>
                          <a:lnTo>
                            <a:pt x="0" y="520637"/>
                          </a:lnTo>
                          <a:lnTo>
                            <a:pt x="282607" y="0"/>
                          </a:lnTo>
                          <a:lnTo>
                            <a:pt x="580740" y="174308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215" name="Freihandform: Form 214">
                    <a:extLst>
                      <a:ext uri="{FF2B5EF4-FFF2-40B4-BE49-F238E27FC236}">
                        <a16:creationId xmlns:a16="http://schemas.microsoft.com/office/drawing/2014/main" id="{411312AE-2BF3-7101-350F-61C04EE23C0F}"/>
                      </a:ext>
                    </a:extLst>
                  </p:cNvPr>
                  <p:cNvSpPr/>
                  <p:nvPr/>
                </p:nvSpPr>
                <p:spPr>
                  <a:xfrm>
                    <a:off x="6006686" y="2053970"/>
                    <a:ext cx="262032" cy="259856"/>
                  </a:xfrm>
                  <a:custGeom>
                    <a:avLst/>
                    <a:gdLst>
                      <a:gd name="connsiteX0" fmla="*/ 0 w 262032"/>
                      <a:gd name="connsiteY0" fmla="*/ 225266 h 259856"/>
                      <a:gd name="connsiteX1" fmla="*/ 262033 w 262032"/>
                      <a:gd name="connsiteY1" fmla="*/ 252032 h 259856"/>
                      <a:gd name="connsiteX2" fmla="*/ 236887 w 262032"/>
                      <a:gd name="connsiteY2" fmla="*/ 0 h 259856"/>
                      <a:gd name="connsiteX3" fmla="*/ 56483 w 262032"/>
                      <a:gd name="connsiteY3" fmla="*/ 1429 h 259856"/>
                      <a:gd name="connsiteX4" fmla="*/ 0 w 262032"/>
                      <a:gd name="connsiteY4" fmla="*/ 225266 h 2598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2032" h="259856">
                        <a:moveTo>
                          <a:pt x="0" y="225266"/>
                        </a:moveTo>
                        <a:cubicBezTo>
                          <a:pt x="22574" y="242030"/>
                          <a:pt x="198501" y="274892"/>
                          <a:pt x="262033" y="252032"/>
                        </a:cubicBezTo>
                        <a:lnTo>
                          <a:pt x="236887" y="0"/>
                        </a:lnTo>
                        <a:lnTo>
                          <a:pt x="56483" y="1429"/>
                        </a:lnTo>
                        <a:lnTo>
                          <a:pt x="0" y="225266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6" name="Freihandform: Form 215">
                    <a:extLst>
                      <a:ext uri="{FF2B5EF4-FFF2-40B4-BE49-F238E27FC236}">
                        <a16:creationId xmlns:a16="http://schemas.microsoft.com/office/drawing/2014/main" id="{A46C29BC-CE53-EC7A-B504-E6964E35C6D7}"/>
                      </a:ext>
                    </a:extLst>
                  </p:cNvPr>
                  <p:cNvSpPr/>
                  <p:nvPr/>
                </p:nvSpPr>
                <p:spPr>
                  <a:xfrm>
                    <a:off x="6006686" y="2053970"/>
                    <a:ext cx="230885" cy="229076"/>
                  </a:xfrm>
                  <a:custGeom>
                    <a:avLst/>
                    <a:gdLst>
                      <a:gd name="connsiteX0" fmla="*/ 4096 w 230885"/>
                      <a:gd name="connsiteY0" fmla="*/ 0 h 229076"/>
                      <a:gd name="connsiteX1" fmla="*/ 0 w 230885"/>
                      <a:gd name="connsiteY1" fmla="*/ 225266 h 229076"/>
                      <a:gd name="connsiteX2" fmla="*/ 230886 w 230885"/>
                      <a:gd name="connsiteY2" fmla="*/ 229076 h 229076"/>
                      <a:gd name="connsiteX3" fmla="*/ 230886 w 230885"/>
                      <a:gd name="connsiteY3" fmla="*/ 0 h 229076"/>
                      <a:gd name="connsiteX4" fmla="*/ 4096 w 230885"/>
                      <a:gd name="connsiteY4" fmla="*/ 0 h 2290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0885" h="229076">
                        <a:moveTo>
                          <a:pt x="4096" y="0"/>
                        </a:moveTo>
                        <a:lnTo>
                          <a:pt x="0" y="225266"/>
                        </a:lnTo>
                        <a:lnTo>
                          <a:pt x="230886" y="229076"/>
                        </a:lnTo>
                        <a:lnTo>
                          <a:pt x="230886" y="0"/>
                        </a:lnTo>
                        <a:lnTo>
                          <a:pt x="409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7" name="Freihandform: Form 216">
                    <a:extLst>
                      <a:ext uri="{FF2B5EF4-FFF2-40B4-BE49-F238E27FC236}">
                        <a16:creationId xmlns:a16="http://schemas.microsoft.com/office/drawing/2014/main" id="{2A7011E2-A0EA-0B90-9BD7-02B9FE9BA3D1}"/>
                      </a:ext>
                    </a:extLst>
                  </p:cNvPr>
                  <p:cNvSpPr/>
                  <p:nvPr/>
                </p:nvSpPr>
                <p:spPr>
                  <a:xfrm>
                    <a:off x="5978969" y="3209639"/>
                    <a:ext cx="568261" cy="539262"/>
                  </a:xfrm>
                  <a:custGeom>
                    <a:avLst/>
                    <a:gdLst>
                      <a:gd name="connsiteX0" fmla="*/ 59055 w 568261"/>
                      <a:gd name="connsiteY0" fmla="*/ 0 h 539262"/>
                      <a:gd name="connsiteX1" fmla="*/ 0 w 568261"/>
                      <a:gd name="connsiteY1" fmla="*/ 504635 h 539262"/>
                      <a:gd name="connsiteX2" fmla="*/ 568262 w 568261"/>
                      <a:gd name="connsiteY2" fmla="*/ 514064 h 539262"/>
                      <a:gd name="connsiteX3" fmla="*/ 568262 w 568261"/>
                      <a:gd name="connsiteY3" fmla="*/ 0 h 539262"/>
                      <a:gd name="connsiteX4" fmla="*/ 59150 w 568261"/>
                      <a:gd name="connsiteY4" fmla="*/ 0 h 5392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68261" h="539262">
                        <a:moveTo>
                          <a:pt x="59055" y="0"/>
                        </a:moveTo>
                        <a:cubicBezTo>
                          <a:pt x="59055" y="37624"/>
                          <a:pt x="0" y="504635"/>
                          <a:pt x="0" y="504635"/>
                        </a:cubicBezTo>
                        <a:cubicBezTo>
                          <a:pt x="174403" y="550545"/>
                          <a:pt x="365855" y="547783"/>
                          <a:pt x="568262" y="514064"/>
                        </a:cubicBezTo>
                        <a:lnTo>
                          <a:pt x="568262" y="0"/>
                        </a:lnTo>
                        <a:cubicBezTo>
                          <a:pt x="568262" y="0"/>
                          <a:pt x="59150" y="0"/>
                          <a:pt x="59150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8" name="Freihandform: Form 217">
                    <a:extLst>
                      <a:ext uri="{FF2B5EF4-FFF2-40B4-BE49-F238E27FC236}">
                        <a16:creationId xmlns:a16="http://schemas.microsoft.com/office/drawing/2014/main" id="{FDDB8D5A-7127-ECC6-87D7-774C766B7759}"/>
                      </a:ext>
                    </a:extLst>
                  </p:cNvPr>
                  <p:cNvSpPr/>
                  <p:nvPr/>
                </p:nvSpPr>
                <p:spPr>
                  <a:xfrm>
                    <a:off x="6158610" y="4503134"/>
                    <a:ext cx="511301" cy="511301"/>
                  </a:xfrm>
                  <a:custGeom>
                    <a:avLst/>
                    <a:gdLst>
                      <a:gd name="connsiteX0" fmla="*/ 511302 w 511301"/>
                      <a:gd name="connsiteY0" fmla="*/ 255651 h 511301"/>
                      <a:gd name="connsiteX1" fmla="*/ 255651 w 511301"/>
                      <a:gd name="connsiteY1" fmla="*/ 511302 h 511301"/>
                      <a:gd name="connsiteX2" fmla="*/ 0 w 511301"/>
                      <a:gd name="connsiteY2" fmla="*/ 255651 h 511301"/>
                      <a:gd name="connsiteX3" fmla="*/ 255651 w 511301"/>
                      <a:gd name="connsiteY3" fmla="*/ 0 h 511301"/>
                      <a:gd name="connsiteX4" fmla="*/ 511302 w 511301"/>
                      <a:gd name="connsiteY4" fmla="*/ 255651 h 5113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1301" h="511301">
                        <a:moveTo>
                          <a:pt x="511302" y="255651"/>
                        </a:moveTo>
                        <a:cubicBezTo>
                          <a:pt x="511302" y="396843"/>
                          <a:pt x="396843" y="511302"/>
                          <a:pt x="255651" y="511302"/>
                        </a:cubicBezTo>
                        <a:cubicBezTo>
                          <a:pt x="114459" y="511302"/>
                          <a:pt x="0" y="396843"/>
                          <a:pt x="0" y="255651"/>
                        </a:cubicBezTo>
                        <a:cubicBezTo>
                          <a:pt x="0" y="114459"/>
                          <a:pt x="114459" y="0"/>
                          <a:pt x="255651" y="0"/>
                        </a:cubicBezTo>
                        <a:cubicBezTo>
                          <a:pt x="396843" y="0"/>
                          <a:pt x="511302" y="114459"/>
                          <a:pt x="511302" y="255651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9" name="Freihandform: Form 218">
                    <a:extLst>
                      <a:ext uri="{FF2B5EF4-FFF2-40B4-BE49-F238E27FC236}">
                        <a16:creationId xmlns:a16="http://schemas.microsoft.com/office/drawing/2014/main" id="{87D73E35-8DEE-FF5D-247F-A529E777AF5D}"/>
                      </a:ext>
                    </a:extLst>
                  </p:cNvPr>
                  <p:cNvSpPr/>
                  <p:nvPr/>
                </p:nvSpPr>
                <p:spPr>
                  <a:xfrm>
                    <a:off x="6449504" y="1634490"/>
                    <a:ext cx="396621" cy="396621"/>
                  </a:xfrm>
                  <a:custGeom>
                    <a:avLst/>
                    <a:gdLst>
                      <a:gd name="connsiteX0" fmla="*/ 396621 w 396621"/>
                      <a:gd name="connsiteY0" fmla="*/ 198310 h 396621"/>
                      <a:gd name="connsiteX1" fmla="*/ 198310 w 396621"/>
                      <a:gd name="connsiteY1" fmla="*/ 396621 h 396621"/>
                      <a:gd name="connsiteX2" fmla="*/ 0 w 396621"/>
                      <a:gd name="connsiteY2" fmla="*/ 198311 h 396621"/>
                      <a:gd name="connsiteX3" fmla="*/ 198310 w 396621"/>
                      <a:gd name="connsiteY3" fmla="*/ 0 h 396621"/>
                      <a:gd name="connsiteX4" fmla="*/ 396621 w 396621"/>
                      <a:gd name="connsiteY4" fmla="*/ 198310 h 3966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6621" h="396621">
                        <a:moveTo>
                          <a:pt x="396621" y="198310"/>
                        </a:moveTo>
                        <a:cubicBezTo>
                          <a:pt x="396621" y="307834"/>
                          <a:pt x="307834" y="396621"/>
                          <a:pt x="198310" y="396621"/>
                        </a:cubicBezTo>
                        <a:cubicBezTo>
                          <a:pt x="88786" y="396621"/>
                          <a:pt x="0" y="307834"/>
                          <a:pt x="0" y="198311"/>
                        </a:cubicBezTo>
                        <a:cubicBezTo>
                          <a:pt x="0" y="88787"/>
                          <a:pt x="88786" y="0"/>
                          <a:pt x="198310" y="0"/>
                        </a:cubicBezTo>
                        <a:cubicBezTo>
                          <a:pt x="307834" y="0"/>
                          <a:pt x="396621" y="88787"/>
                          <a:pt x="396621" y="19831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20" name="Grafik 23">
                  <a:extLst>
                    <a:ext uri="{FF2B5EF4-FFF2-40B4-BE49-F238E27FC236}">
                      <a16:creationId xmlns:a16="http://schemas.microsoft.com/office/drawing/2014/main" id="{497B2EA9-1B02-D5BF-0402-5DC163C6DF5F}"/>
                    </a:ext>
                  </a:extLst>
                </p:cNvPr>
                <p:cNvGrpSpPr/>
                <p:nvPr/>
              </p:nvGrpSpPr>
              <p:grpSpPr>
                <a:xfrm>
                  <a:off x="5884415" y="666564"/>
                  <a:ext cx="678757" cy="747232"/>
                  <a:chOff x="5884415" y="666564"/>
                  <a:chExt cx="678757" cy="747232"/>
                </a:xfrm>
              </p:grpSpPr>
              <p:grpSp>
                <p:nvGrpSpPr>
                  <p:cNvPr id="221" name="Grafik 23">
                    <a:extLst>
                      <a:ext uri="{FF2B5EF4-FFF2-40B4-BE49-F238E27FC236}">
                        <a16:creationId xmlns:a16="http://schemas.microsoft.com/office/drawing/2014/main" id="{149305F3-1D13-37DC-9CC9-F80D34FABCD7}"/>
                      </a:ext>
                    </a:extLst>
                  </p:cNvPr>
                  <p:cNvGrpSpPr/>
                  <p:nvPr/>
                </p:nvGrpSpPr>
                <p:grpSpPr>
                  <a:xfrm>
                    <a:off x="5890916" y="666564"/>
                    <a:ext cx="672255" cy="747232"/>
                    <a:chOff x="5890916" y="666564"/>
                    <a:chExt cx="672255" cy="747232"/>
                  </a:xfrm>
                </p:grpSpPr>
                <p:sp>
                  <p:nvSpPr>
                    <p:cNvPr id="222" name="Freihandform: Form 221">
                      <a:extLst>
                        <a:ext uri="{FF2B5EF4-FFF2-40B4-BE49-F238E27FC236}">
                          <a16:creationId xmlns:a16="http://schemas.microsoft.com/office/drawing/2014/main" id="{01E3BC18-D797-DF12-2B62-A3D34741675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90916" y="928649"/>
                      <a:ext cx="397931" cy="485147"/>
                    </a:xfrm>
                    <a:custGeom>
                      <a:avLst/>
                      <a:gdLst>
                        <a:gd name="connsiteX0" fmla="*/ 391233 w 397931"/>
                        <a:gd name="connsiteY0" fmla="*/ 125006 h 485147"/>
                        <a:gd name="connsiteX1" fmla="*/ 110722 w 397931"/>
                        <a:gd name="connsiteY1" fmla="*/ 26041 h 485147"/>
                        <a:gd name="connsiteX2" fmla="*/ 63001 w 397931"/>
                        <a:gd name="connsiteY2" fmla="*/ 126339 h 485147"/>
                        <a:gd name="connsiteX3" fmla="*/ 2803 w 397931"/>
                        <a:gd name="connsiteY3" fmla="*/ 242639 h 485147"/>
                        <a:gd name="connsiteX4" fmla="*/ 53000 w 397931"/>
                        <a:gd name="connsiteY4" fmla="*/ 284359 h 485147"/>
                        <a:gd name="connsiteX5" fmla="*/ 63954 w 397931"/>
                        <a:gd name="connsiteY5" fmla="*/ 327888 h 485147"/>
                        <a:gd name="connsiteX6" fmla="*/ 84147 w 397931"/>
                        <a:gd name="connsiteY6" fmla="*/ 342557 h 485147"/>
                        <a:gd name="connsiteX7" fmla="*/ 84623 w 397931"/>
                        <a:gd name="connsiteY7" fmla="*/ 351986 h 485147"/>
                        <a:gd name="connsiteX8" fmla="*/ 81194 w 397931"/>
                        <a:gd name="connsiteY8" fmla="*/ 381323 h 485147"/>
                        <a:gd name="connsiteX9" fmla="*/ 93672 w 397931"/>
                        <a:gd name="connsiteY9" fmla="*/ 398564 h 485147"/>
                        <a:gd name="connsiteX10" fmla="*/ 100435 w 397931"/>
                        <a:gd name="connsiteY10" fmla="*/ 433235 h 485147"/>
                        <a:gd name="connsiteX11" fmla="*/ 150917 w 397931"/>
                        <a:gd name="connsiteY11" fmla="*/ 484955 h 485147"/>
                        <a:gd name="connsiteX12" fmla="*/ 297983 w 397931"/>
                        <a:gd name="connsiteY12" fmla="*/ 460571 h 485147"/>
                        <a:gd name="connsiteX13" fmla="*/ 395805 w 397931"/>
                        <a:gd name="connsiteY13" fmla="*/ 321602 h 485147"/>
                        <a:gd name="connsiteX14" fmla="*/ 391328 w 397931"/>
                        <a:gd name="connsiteY14" fmla="*/ 124815 h 48514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</a:cxnLst>
                      <a:rect l="l" t="t" r="r" b="b"/>
                      <a:pathLst>
                        <a:path w="397931" h="485147">
                          <a:moveTo>
                            <a:pt x="391233" y="125006"/>
                          </a:moveTo>
                          <a:cubicBezTo>
                            <a:pt x="328844" y="-46349"/>
                            <a:pt x="152251" y="-248"/>
                            <a:pt x="110722" y="26041"/>
                          </a:cubicBezTo>
                          <a:cubicBezTo>
                            <a:pt x="69193" y="52330"/>
                            <a:pt x="58143" y="85191"/>
                            <a:pt x="63001" y="126339"/>
                          </a:cubicBezTo>
                          <a:cubicBezTo>
                            <a:pt x="52333" y="145961"/>
                            <a:pt x="21853" y="195300"/>
                            <a:pt x="2803" y="242639"/>
                          </a:cubicBezTo>
                          <a:cubicBezTo>
                            <a:pt x="-10913" y="276644"/>
                            <a:pt x="28902" y="281406"/>
                            <a:pt x="53000" y="284359"/>
                          </a:cubicBezTo>
                          <a:cubicBezTo>
                            <a:pt x="74336" y="287026"/>
                            <a:pt x="58429" y="316268"/>
                            <a:pt x="63954" y="327888"/>
                          </a:cubicBezTo>
                          <a:cubicBezTo>
                            <a:pt x="68145" y="336556"/>
                            <a:pt x="75955" y="338842"/>
                            <a:pt x="84147" y="342557"/>
                          </a:cubicBezTo>
                          <a:cubicBezTo>
                            <a:pt x="84814" y="342842"/>
                            <a:pt x="85290" y="351701"/>
                            <a:pt x="84623" y="351986"/>
                          </a:cubicBezTo>
                          <a:cubicBezTo>
                            <a:pt x="67383" y="359892"/>
                            <a:pt x="68050" y="376751"/>
                            <a:pt x="81194" y="381323"/>
                          </a:cubicBezTo>
                          <a:cubicBezTo>
                            <a:pt x="91957" y="385133"/>
                            <a:pt x="93672" y="398564"/>
                            <a:pt x="93672" y="398564"/>
                          </a:cubicBezTo>
                          <a:cubicBezTo>
                            <a:pt x="93672" y="398564"/>
                            <a:pt x="98720" y="423900"/>
                            <a:pt x="100435" y="433235"/>
                          </a:cubicBezTo>
                          <a:cubicBezTo>
                            <a:pt x="110817" y="491147"/>
                            <a:pt x="150917" y="484955"/>
                            <a:pt x="150917" y="484955"/>
                          </a:cubicBezTo>
                          <a:cubicBezTo>
                            <a:pt x="150917" y="484955"/>
                            <a:pt x="245786" y="473240"/>
                            <a:pt x="297983" y="460571"/>
                          </a:cubicBezTo>
                          <a:cubicBezTo>
                            <a:pt x="358943" y="445617"/>
                            <a:pt x="392757" y="345986"/>
                            <a:pt x="395805" y="321602"/>
                          </a:cubicBezTo>
                          <a:cubicBezTo>
                            <a:pt x="402472" y="267785"/>
                            <a:pt x="391328" y="124815"/>
                            <a:pt x="391328" y="124815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23" name="Freihandform: Form 222">
                      <a:extLst>
                        <a:ext uri="{FF2B5EF4-FFF2-40B4-BE49-F238E27FC236}">
                          <a16:creationId xmlns:a16="http://schemas.microsoft.com/office/drawing/2014/main" id="{E3B81416-C2D8-AF37-AE27-7CCF93CD0F50}"/>
                        </a:ext>
                      </a:extLst>
                    </p:cNvPr>
                    <p:cNvSpPr/>
                    <p:nvPr/>
                  </p:nvSpPr>
                  <p:spPr>
                    <a:xfrm rot="-445201">
                      <a:off x="5939430" y="702581"/>
                      <a:ext cx="592073" cy="528827"/>
                    </a:xfrm>
                    <a:custGeom>
                      <a:avLst/>
                      <a:gdLst>
                        <a:gd name="connsiteX0" fmla="*/ 592074 w 592073"/>
                        <a:gd name="connsiteY0" fmla="*/ 264414 h 528827"/>
                        <a:gd name="connsiteX1" fmla="*/ 296037 w 592073"/>
                        <a:gd name="connsiteY1" fmla="*/ 528828 h 528827"/>
                        <a:gd name="connsiteX2" fmla="*/ 0 w 592073"/>
                        <a:gd name="connsiteY2" fmla="*/ 264414 h 528827"/>
                        <a:gd name="connsiteX3" fmla="*/ 296037 w 592073"/>
                        <a:gd name="connsiteY3" fmla="*/ 0 h 528827"/>
                        <a:gd name="connsiteX4" fmla="*/ 592074 w 592073"/>
                        <a:gd name="connsiteY4" fmla="*/ 264414 h 5288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92073" h="528827">
                          <a:moveTo>
                            <a:pt x="592074" y="264414"/>
                          </a:moveTo>
                          <a:cubicBezTo>
                            <a:pt x="592074" y="410446"/>
                            <a:pt x="459534" y="528828"/>
                            <a:pt x="296037" y="528828"/>
                          </a:cubicBezTo>
                          <a:cubicBezTo>
                            <a:pt x="132541" y="528828"/>
                            <a:pt x="0" y="410446"/>
                            <a:pt x="0" y="264414"/>
                          </a:cubicBezTo>
                          <a:cubicBezTo>
                            <a:pt x="0" y="118382"/>
                            <a:pt x="132541" y="0"/>
                            <a:pt x="296037" y="0"/>
                          </a:cubicBezTo>
                          <a:cubicBezTo>
                            <a:pt x="459534" y="0"/>
                            <a:pt x="592074" y="118382"/>
                            <a:pt x="592074" y="264414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24" name="Freihandform: Form 223">
                      <a:extLst>
                        <a:ext uri="{FF2B5EF4-FFF2-40B4-BE49-F238E27FC236}">
                          <a16:creationId xmlns:a16="http://schemas.microsoft.com/office/drawing/2014/main" id="{8EE51AEF-5B10-D563-2A6E-0167525233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75063" y="1260919"/>
                      <a:ext cx="37147" cy="19811"/>
                    </a:xfrm>
                    <a:custGeom>
                      <a:avLst/>
                      <a:gdLst>
                        <a:gd name="connsiteX0" fmla="*/ 476 w 37147"/>
                        <a:gd name="connsiteY0" fmla="*/ 19812 h 19811"/>
                        <a:gd name="connsiteX1" fmla="*/ 0 w 37147"/>
                        <a:gd name="connsiteY1" fmla="*/ 10382 h 19811"/>
                        <a:gd name="connsiteX2" fmla="*/ 32385 w 37147"/>
                        <a:gd name="connsiteY2" fmla="*/ 0 h 19811"/>
                        <a:gd name="connsiteX3" fmla="*/ 37147 w 37147"/>
                        <a:gd name="connsiteY3" fmla="*/ 8192 h 19811"/>
                        <a:gd name="connsiteX4" fmla="*/ 571 w 37147"/>
                        <a:gd name="connsiteY4" fmla="*/ 19812 h 1981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7147" h="19811">
                          <a:moveTo>
                            <a:pt x="476" y="19812"/>
                          </a:moveTo>
                          <a:lnTo>
                            <a:pt x="0" y="10382"/>
                          </a:lnTo>
                          <a:cubicBezTo>
                            <a:pt x="0" y="10382"/>
                            <a:pt x="16002" y="9430"/>
                            <a:pt x="32385" y="0"/>
                          </a:cubicBezTo>
                          <a:lnTo>
                            <a:pt x="37147" y="8192"/>
                          </a:lnTo>
                          <a:cubicBezTo>
                            <a:pt x="18764" y="18764"/>
                            <a:pt x="1238" y="19812"/>
                            <a:pt x="571" y="19812"/>
                          </a:cubicBezTo>
                          <a:close/>
                        </a:path>
                      </a:pathLst>
                    </a:custGeom>
                    <a:solidFill>
                      <a:srgbClr val="F2BBB3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25" name="Freihandform: Form 224">
                      <a:extLst>
                        <a:ext uri="{FF2B5EF4-FFF2-40B4-BE49-F238E27FC236}">
                          <a16:creationId xmlns:a16="http://schemas.microsoft.com/office/drawing/2014/main" id="{D7220E43-0923-C955-B9D5-BB8C0EC714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60067" y="1011264"/>
                      <a:ext cx="129553" cy="32025"/>
                    </a:xfrm>
                    <a:custGeom>
                      <a:avLst/>
                      <a:gdLst>
                        <a:gd name="connsiteX0" fmla="*/ 98911 w 129553"/>
                        <a:gd name="connsiteY0" fmla="*/ 2672 h 32025"/>
                        <a:gd name="connsiteX1" fmla="*/ 5947 w 129553"/>
                        <a:gd name="connsiteY1" fmla="*/ 10292 h 32025"/>
                        <a:gd name="connsiteX2" fmla="*/ 3090 w 129553"/>
                        <a:gd name="connsiteY2" fmla="*/ 12768 h 32025"/>
                        <a:gd name="connsiteX3" fmla="*/ 13853 w 129553"/>
                        <a:gd name="connsiteY3" fmla="*/ 31913 h 32025"/>
                        <a:gd name="connsiteX4" fmla="*/ 38332 w 129553"/>
                        <a:gd name="connsiteY4" fmla="*/ 27341 h 32025"/>
                        <a:gd name="connsiteX5" fmla="*/ 96720 w 129553"/>
                        <a:gd name="connsiteY5" fmla="*/ 24389 h 32025"/>
                        <a:gd name="connsiteX6" fmla="*/ 129106 w 129553"/>
                        <a:gd name="connsiteY6" fmla="*/ 31532 h 32025"/>
                        <a:gd name="connsiteX7" fmla="*/ 98816 w 129553"/>
                        <a:gd name="connsiteY7" fmla="*/ 2767 h 320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29553" h="32025">
                          <a:moveTo>
                            <a:pt x="98911" y="2672"/>
                          </a:moveTo>
                          <a:cubicBezTo>
                            <a:pt x="81099" y="-5329"/>
                            <a:pt x="10615" y="6863"/>
                            <a:pt x="5947" y="10292"/>
                          </a:cubicBezTo>
                          <a:cubicBezTo>
                            <a:pt x="4804" y="11149"/>
                            <a:pt x="3852" y="11911"/>
                            <a:pt x="3090" y="12768"/>
                          </a:cubicBezTo>
                          <a:cubicBezTo>
                            <a:pt x="-4435" y="20769"/>
                            <a:pt x="2804" y="33342"/>
                            <a:pt x="13853" y="31913"/>
                          </a:cubicBezTo>
                          <a:cubicBezTo>
                            <a:pt x="18901" y="31247"/>
                            <a:pt x="31284" y="28675"/>
                            <a:pt x="38332" y="27341"/>
                          </a:cubicBezTo>
                          <a:cubicBezTo>
                            <a:pt x="50715" y="24865"/>
                            <a:pt x="86338" y="22865"/>
                            <a:pt x="96720" y="24389"/>
                          </a:cubicBezTo>
                          <a:cubicBezTo>
                            <a:pt x="117104" y="27246"/>
                            <a:pt x="126439" y="33628"/>
                            <a:pt x="129106" y="31532"/>
                          </a:cubicBezTo>
                          <a:cubicBezTo>
                            <a:pt x="131773" y="29437"/>
                            <a:pt x="122628" y="13435"/>
                            <a:pt x="98816" y="2767"/>
                          </a:cubicBezTo>
                          <a:close/>
                        </a:path>
                      </a:pathLst>
                    </a:custGeom>
                    <a:solidFill>
                      <a:srgbClr val="4B2E1A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26" name="Freihandform: Form 225">
                      <a:extLst>
                        <a:ext uri="{FF2B5EF4-FFF2-40B4-BE49-F238E27FC236}">
                          <a16:creationId xmlns:a16="http://schemas.microsoft.com/office/drawing/2014/main" id="{166A2BE9-5CCB-9DDC-513C-6A4DED4F50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01638" y="1062418"/>
                      <a:ext cx="25336" cy="32003"/>
                    </a:xfrm>
                    <a:custGeom>
                      <a:avLst/>
                      <a:gdLst>
                        <a:gd name="connsiteX0" fmla="*/ 25337 w 25336"/>
                        <a:gd name="connsiteY0" fmla="*/ 16002 h 32003"/>
                        <a:gd name="connsiteX1" fmla="*/ 12669 w 25336"/>
                        <a:gd name="connsiteY1" fmla="*/ 32004 h 32003"/>
                        <a:gd name="connsiteX2" fmla="*/ 0 w 25336"/>
                        <a:gd name="connsiteY2" fmla="*/ 16002 h 32003"/>
                        <a:gd name="connsiteX3" fmla="*/ 12669 w 25336"/>
                        <a:gd name="connsiteY3" fmla="*/ 0 h 32003"/>
                        <a:gd name="connsiteX4" fmla="*/ 25337 w 25336"/>
                        <a:gd name="connsiteY4" fmla="*/ 16002 h 320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5336" h="32003">
                          <a:moveTo>
                            <a:pt x="25337" y="16002"/>
                          </a:moveTo>
                          <a:cubicBezTo>
                            <a:pt x="25337" y="24840"/>
                            <a:pt x="19665" y="32004"/>
                            <a:pt x="12669" y="32004"/>
                          </a:cubicBezTo>
                          <a:cubicBezTo>
                            <a:pt x="5672" y="32004"/>
                            <a:pt x="0" y="24840"/>
                            <a:pt x="0" y="16002"/>
                          </a:cubicBezTo>
                          <a:cubicBezTo>
                            <a:pt x="0" y="7164"/>
                            <a:pt x="5672" y="0"/>
                            <a:pt x="12669" y="0"/>
                          </a:cubicBezTo>
                          <a:cubicBezTo>
                            <a:pt x="19665" y="0"/>
                            <a:pt x="25337" y="7164"/>
                            <a:pt x="25337" y="16002"/>
                          </a:cubicBezTo>
                          <a:close/>
                        </a:path>
                      </a:pathLst>
                    </a:custGeom>
                    <a:solidFill>
                      <a:srgbClr val="4B2E1A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27" name="Freihandform: Form 226">
                      <a:extLst>
                        <a:ext uri="{FF2B5EF4-FFF2-40B4-BE49-F238E27FC236}">
                          <a16:creationId xmlns:a16="http://schemas.microsoft.com/office/drawing/2014/main" id="{7F13446F-DC7A-6C93-DCE9-8ABF7C4A07E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93256" y="1058562"/>
                      <a:ext cx="66606" cy="16779"/>
                    </a:xfrm>
                    <a:custGeom>
                      <a:avLst/>
                      <a:gdLst>
                        <a:gd name="connsiteX0" fmla="*/ 66104 w 66606"/>
                        <a:gd name="connsiteY0" fmla="*/ 12048 h 16779"/>
                        <a:gd name="connsiteX1" fmla="*/ 15336 w 66606"/>
                        <a:gd name="connsiteY1" fmla="*/ 427 h 16779"/>
                        <a:gd name="connsiteX2" fmla="*/ 4668 w 66606"/>
                        <a:gd name="connsiteY2" fmla="*/ 11857 h 16779"/>
                        <a:gd name="connsiteX3" fmla="*/ 54769 w 66606"/>
                        <a:gd name="connsiteY3" fmla="*/ 16048 h 16779"/>
                        <a:gd name="connsiteX4" fmla="*/ 66199 w 66606"/>
                        <a:gd name="connsiteY4" fmla="*/ 12048 h 167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66606" h="16779">
                          <a:moveTo>
                            <a:pt x="66104" y="12048"/>
                          </a:moveTo>
                          <a:cubicBezTo>
                            <a:pt x="64103" y="9095"/>
                            <a:pt x="36195" y="-2335"/>
                            <a:pt x="15336" y="427"/>
                          </a:cubicBezTo>
                          <a:cubicBezTo>
                            <a:pt x="1905" y="2142"/>
                            <a:pt x="-5334" y="14048"/>
                            <a:pt x="4668" y="11857"/>
                          </a:cubicBezTo>
                          <a:cubicBezTo>
                            <a:pt x="23051" y="7952"/>
                            <a:pt x="46959" y="13762"/>
                            <a:pt x="54769" y="16048"/>
                          </a:cubicBezTo>
                          <a:cubicBezTo>
                            <a:pt x="62580" y="18239"/>
                            <a:pt x="68199" y="15096"/>
                            <a:pt x="66199" y="12048"/>
                          </a:cubicBezTo>
                          <a:close/>
                        </a:path>
                      </a:pathLst>
                    </a:custGeom>
                    <a:solidFill>
                      <a:srgbClr val="4B2E1A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228" name="Freihandform: Form 227">
                    <a:extLst>
                      <a:ext uri="{FF2B5EF4-FFF2-40B4-BE49-F238E27FC236}">
                        <a16:creationId xmlns:a16="http://schemas.microsoft.com/office/drawing/2014/main" id="{DDDC1D7D-A186-BFB8-F15A-567FD3B93E86}"/>
                      </a:ext>
                    </a:extLst>
                  </p:cNvPr>
                  <p:cNvSpPr/>
                  <p:nvPr/>
                </p:nvSpPr>
                <p:spPr>
                  <a:xfrm>
                    <a:off x="5884415" y="693547"/>
                    <a:ext cx="678407" cy="560989"/>
                  </a:xfrm>
                  <a:custGeom>
                    <a:avLst/>
                    <a:gdLst>
                      <a:gd name="connsiteX0" fmla="*/ 92744 w 678407"/>
                      <a:gd name="connsiteY0" fmla="*/ 45116 h 560989"/>
                      <a:gd name="connsiteX1" fmla="*/ 370588 w 678407"/>
                      <a:gd name="connsiteY1" fmla="*/ 1301 h 560989"/>
                      <a:gd name="connsiteX2" fmla="*/ 671387 w 678407"/>
                      <a:gd name="connsiteY2" fmla="*/ 177894 h 560989"/>
                      <a:gd name="connsiteX3" fmla="*/ 605379 w 678407"/>
                      <a:gd name="connsiteY3" fmla="*/ 492315 h 560989"/>
                      <a:gd name="connsiteX4" fmla="*/ 595854 w 678407"/>
                      <a:gd name="connsiteY4" fmla="*/ 560990 h 560989"/>
                      <a:gd name="connsiteX5" fmla="*/ 534704 w 678407"/>
                      <a:gd name="connsiteY5" fmla="*/ 541083 h 560989"/>
                      <a:gd name="connsiteX6" fmla="*/ 471553 w 678407"/>
                      <a:gd name="connsiteY6" fmla="*/ 434688 h 560989"/>
                      <a:gd name="connsiteX7" fmla="*/ 359253 w 678407"/>
                      <a:gd name="connsiteY7" fmla="*/ 466692 h 560989"/>
                      <a:gd name="connsiteX8" fmla="*/ 324963 w 678407"/>
                      <a:gd name="connsiteY8" fmla="*/ 344106 h 560989"/>
                      <a:gd name="connsiteX9" fmla="*/ 229904 w 678407"/>
                      <a:gd name="connsiteY9" fmla="*/ 185229 h 560989"/>
                      <a:gd name="connsiteX10" fmla="*/ 53310 w 678407"/>
                      <a:gd name="connsiteY10" fmla="*/ 212375 h 560989"/>
                      <a:gd name="connsiteX11" fmla="*/ 92553 w 678407"/>
                      <a:gd name="connsiteY11" fmla="*/ 45306 h 5609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678407" h="560989">
                        <a:moveTo>
                          <a:pt x="92744" y="45116"/>
                        </a:moveTo>
                        <a:cubicBezTo>
                          <a:pt x="92744" y="45116"/>
                          <a:pt x="183993" y="-8986"/>
                          <a:pt x="370588" y="1301"/>
                        </a:cubicBezTo>
                        <a:cubicBezTo>
                          <a:pt x="461647" y="6349"/>
                          <a:pt x="643860" y="48450"/>
                          <a:pt x="671387" y="177894"/>
                        </a:cubicBezTo>
                        <a:cubicBezTo>
                          <a:pt x="705773" y="339915"/>
                          <a:pt x="602522" y="437832"/>
                          <a:pt x="605379" y="492315"/>
                        </a:cubicBezTo>
                        <a:cubicBezTo>
                          <a:pt x="608141" y="546798"/>
                          <a:pt x="595854" y="560990"/>
                          <a:pt x="595854" y="560990"/>
                        </a:cubicBezTo>
                        <a:cubicBezTo>
                          <a:pt x="595854" y="560990"/>
                          <a:pt x="556325" y="553275"/>
                          <a:pt x="534704" y="541083"/>
                        </a:cubicBezTo>
                        <a:cubicBezTo>
                          <a:pt x="506319" y="525081"/>
                          <a:pt x="470315" y="485361"/>
                          <a:pt x="471553" y="434688"/>
                        </a:cubicBezTo>
                        <a:cubicBezTo>
                          <a:pt x="472887" y="384015"/>
                          <a:pt x="359253" y="466692"/>
                          <a:pt x="359253" y="466692"/>
                        </a:cubicBezTo>
                        <a:cubicBezTo>
                          <a:pt x="359253" y="466692"/>
                          <a:pt x="274481" y="456405"/>
                          <a:pt x="324963" y="344106"/>
                        </a:cubicBezTo>
                        <a:cubicBezTo>
                          <a:pt x="353348" y="281050"/>
                          <a:pt x="356110" y="128555"/>
                          <a:pt x="229904" y="185229"/>
                        </a:cubicBezTo>
                        <a:cubicBezTo>
                          <a:pt x="132844" y="228758"/>
                          <a:pt x="86838" y="240950"/>
                          <a:pt x="53310" y="212375"/>
                        </a:cubicBezTo>
                        <a:cubicBezTo>
                          <a:pt x="-33177" y="107219"/>
                          <a:pt x="-10412" y="47021"/>
                          <a:pt x="92553" y="45306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9" name="Freihandform: Form 228">
                    <a:extLst>
                      <a:ext uri="{FF2B5EF4-FFF2-40B4-BE49-F238E27FC236}">
                        <a16:creationId xmlns:a16="http://schemas.microsoft.com/office/drawing/2014/main" id="{A34C1CAA-AE87-9F3B-3AEA-55D337694FDD}"/>
                      </a:ext>
                    </a:extLst>
                  </p:cNvPr>
                  <p:cNvSpPr/>
                  <p:nvPr/>
                </p:nvSpPr>
                <p:spPr>
                  <a:xfrm rot="-4891201">
                    <a:off x="6209424" y="1060687"/>
                    <a:ext cx="197357" cy="131254"/>
                  </a:xfrm>
                  <a:custGeom>
                    <a:avLst/>
                    <a:gdLst>
                      <a:gd name="connsiteX0" fmla="*/ 197358 w 197357"/>
                      <a:gd name="connsiteY0" fmla="*/ 65627 h 131254"/>
                      <a:gd name="connsiteX1" fmla="*/ 98679 w 197357"/>
                      <a:gd name="connsiteY1" fmla="*/ 131254 h 131254"/>
                      <a:gd name="connsiteX2" fmla="*/ 0 w 197357"/>
                      <a:gd name="connsiteY2" fmla="*/ 65627 h 131254"/>
                      <a:gd name="connsiteX3" fmla="*/ 98679 w 197357"/>
                      <a:gd name="connsiteY3" fmla="*/ 0 h 131254"/>
                      <a:gd name="connsiteX4" fmla="*/ 197358 w 197357"/>
                      <a:gd name="connsiteY4" fmla="*/ 65627 h 1312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7357" h="131254">
                        <a:moveTo>
                          <a:pt x="197358" y="65627"/>
                        </a:moveTo>
                        <a:cubicBezTo>
                          <a:pt x="197358" y="101872"/>
                          <a:pt x="153178" y="131254"/>
                          <a:pt x="98679" y="131254"/>
                        </a:cubicBezTo>
                        <a:cubicBezTo>
                          <a:pt x="44180" y="131254"/>
                          <a:pt x="0" y="101872"/>
                          <a:pt x="0" y="65627"/>
                        </a:cubicBezTo>
                        <a:cubicBezTo>
                          <a:pt x="0" y="29382"/>
                          <a:pt x="44180" y="0"/>
                          <a:pt x="98679" y="0"/>
                        </a:cubicBezTo>
                        <a:cubicBezTo>
                          <a:pt x="153178" y="0"/>
                          <a:pt x="197358" y="29382"/>
                          <a:pt x="197358" y="65627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230" name="Grafik 23">
                <a:extLst>
                  <a:ext uri="{FF2B5EF4-FFF2-40B4-BE49-F238E27FC236}">
                    <a16:creationId xmlns:a16="http://schemas.microsoft.com/office/drawing/2014/main" id="{39181F7A-9899-47D3-ECE5-CC45A2A5FA2F}"/>
                  </a:ext>
                </a:extLst>
              </p:cNvPr>
              <p:cNvGrpSpPr/>
              <p:nvPr/>
            </p:nvGrpSpPr>
            <p:grpSpPr>
              <a:xfrm>
                <a:off x="9291637" y="1854304"/>
                <a:ext cx="351095" cy="833562"/>
                <a:chOff x="1874837" y="609818"/>
                <a:chExt cx="2341791" cy="5559828"/>
              </a:xfrm>
            </p:grpSpPr>
            <p:grpSp>
              <p:nvGrpSpPr>
                <p:cNvPr id="231" name="Grafik 23">
                  <a:extLst>
                    <a:ext uri="{FF2B5EF4-FFF2-40B4-BE49-F238E27FC236}">
                      <a16:creationId xmlns:a16="http://schemas.microsoft.com/office/drawing/2014/main" id="{A4C4C557-F9AC-AE78-A0B0-8E297D8FCB8D}"/>
                    </a:ext>
                  </a:extLst>
                </p:cNvPr>
                <p:cNvGrpSpPr/>
                <p:nvPr/>
              </p:nvGrpSpPr>
              <p:grpSpPr>
                <a:xfrm>
                  <a:off x="3461130" y="1931860"/>
                  <a:ext cx="755497" cy="464438"/>
                  <a:chOff x="3461130" y="1931860"/>
                  <a:chExt cx="755497" cy="464438"/>
                </a:xfrm>
              </p:grpSpPr>
              <p:grpSp>
                <p:nvGrpSpPr>
                  <p:cNvPr id="232" name="Grafik 23">
                    <a:extLst>
                      <a:ext uri="{FF2B5EF4-FFF2-40B4-BE49-F238E27FC236}">
                        <a16:creationId xmlns:a16="http://schemas.microsoft.com/office/drawing/2014/main" id="{079BF024-3D9F-C663-2040-0055B72A0406}"/>
                      </a:ext>
                    </a:extLst>
                  </p:cNvPr>
                  <p:cNvGrpSpPr/>
                  <p:nvPr/>
                </p:nvGrpSpPr>
                <p:grpSpPr>
                  <a:xfrm>
                    <a:off x="3600659" y="1931860"/>
                    <a:ext cx="615968" cy="410541"/>
                    <a:chOff x="3600659" y="1931860"/>
                    <a:chExt cx="615968" cy="410541"/>
                  </a:xfrm>
                </p:grpSpPr>
                <p:sp>
                  <p:nvSpPr>
                    <p:cNvPr id="233" name="Freihandform: Form 232">
                      <a:extLst>
                        <a:ext uri="{FF2B5EF4-FFF2-40B4-BE49-F238E27FC236}">
                          <a16:creationId xmlns:a16="http://schemas.microsoft.com/office/drawing/2014/main" id="{10B3F673-A9EE-C754-A9C1-02C7ADF4377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600659" y="1931860"/>
                      <a:ext cx="613044" cy="410541"/>
                    </a:xfrm>
                    <a:custGeom>
                      <a:avLst/>
                      <a:gdLst>
                        <a:gd name="connsiteX0" fmla="*/ 1060 w 613044"/>
                        <a:gd name="connsiteY0" fmla="*/ 243173 h 410541"/>
                        <a:gd name="connsiteX1" fmla="*/ 99453 w 613044"/>
                        <a:gd name="connsiteY1" fmla="*/ 135445 h 410541"/>
                        <a:gd name="connsiteX2" fmla="*/ 267474 w 613044"/>
                        <a:gd name="connsiteY2" fmla="*/ 0 h 410541"/>
                        <a:gd name="connsiteX3" fmla="*/ 284143 w 613044"/>
                        <a:gd name="connsiteY3" fmla="*/ 69342 h 410541"/>
                        <a:gd name="connsiteX4" fmla="*/ 220516 w 613044"/>
                        <a:gd name="connsiteY4" fmla="*/ 151543 h 410541"/>
                        <a:gd name="connsiteX5" fmla="*/ 334244 w 613044"/>
                        <a:gd name="connsiteY5" fmla="*/ 194977 h 410541"/>
                        <a:gd name="connsiteX6" fmla="*/ 585133 w 613044"/>
                        <a:gd name="connsiteY6" fmla="*/ 201454 h 410541"/>
                        <a:gd name="connsiteX7" fmla="*/ 612470 w 613044"/>
                        <a:gd name="connsiteY7" fmla="*/ 240601 h 410541"/>
                        <a:gd name="connsiteX8" fmla="*/ 441877 w 613044"/>
                        <a:gd name="connsiteY8" fmla="*/ 266509 h 410541"/>
                        <a:gd name="connsiteX9" fmla="*/ 220421 w 613044"/>
                        <a:gd name="connsiteY9" fmla="*/ 407289 h 410541"/>
                        <a:gd name="connsiteX10" fmla="*/ 63353 w 613044"/>
                        <a:gd name="connsiteY10" fmla="*/ 406908 h 410541"/>
                        <a:gd name="connsiteX11" fmla="*/ 965 w 613044"/>
                        <a:gd name="connsiteY11" fmla="*/ 243173 h 41054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</a:cxnLst>
                      <a:rect l="l" t="t" r="r" b="b"/>
                      <a:pathLst>
                        <a:path w="613044" h="410541">
                          <a:moveTo>
                            <a:pt x="1060" y="243173"/>
                          </a:moveTo>
                          <a:cubicBezTo>
                            <a:pt x="1060" y="243173"/>
                            <a:pt x="28778" y="169259"/>
                            <a:pt x="99453" y="135445"/>
                          </a:cubicBezTo>
                          <a:cubicBezTo>
                            <a:pt x="138506" y="116776"/>
                            <a:pt x="236613" y="43720"/>
                            <a:pt x="267474" y="0"/>
                          </a:cubicBezTo>
                          <a:cubicBezTo>
                            <a:pt x="267474" y="0"/>
                            <a:pt x="310146" y="30861"/>
                            <a:pt x="284143" y="69342"/>
                          </a:cubicBezTo>
                          <a:cubicBezTo>
                            <a:pt x="256235" y="110490"/>
                            <a:pt x="220897" y="137446"/>
                            <a:pt x="220516" y="151543"/>
                          </a:cubicBezTo>
                          <a:cubicBezTo>
                            <a:pt x="220135" y="165640"/>
                            <a:pt x="261093" y="184309"/>
                            <a:pt x="334244" y="194977"/>
                          </a:cubicBezTo>
                          <a:cubicBezTo>
                            <a:pt x="407397" y="205645"/>
                            <a:pt x="568845" y="201073"/>
                            <a:pt x="585133" y="201454"/>
                          </a:cubicBezTo>
                          <a:cubicBezTo>
                            <a:pt x="611612" y="205168"/>
                            <a:pt x="614661" y="222599"/>
                            <a:pt x="612470" y="240601"/>
                          </a:cubicBezTo>
                          <a:cubicBezTo>
                            <a:pt x="605040" y="242792"/>
                            <a:pt x="500551" y="256032"/>
                            <a:pt x="441877" y="266509"/>
                          </a:cubicBezTo>
                          <a:cubicBezTo>
                            <a:pt x="441877" y="266509"/>
                            <a:pt x="247567" y="407956"/>
                            <a:pt x="220421" y="407289"/>
                          </a:cubicBezTo>
                          <a:cubicBezTo>
                            <a:pt x="193274" y="406622"/>
                            <a:pt x="98501" y="415195"/>
                            <a:pt x="63353" y="406908"/>
                          </a:cubicBezTo>
                          <a:cubicBezTo>
                            <a:pt x="63353" y="406908"/>
                            <a:pt x="-9132" y="354711"/>
                            <a:pt x="965" y="243173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34" name="Freihandform: Form 233">
                      <a:extLst>
                        <a:ext uri="{FF2B5EF4-FFF2-40B4-BE49-F238E27FC236}">
                          <a16:creationId xmlns:a16="http://schemas.microsoft.com/office/drawing/2014/main" id="{722B0245-49BA-C2B5-189B-9E018A58878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46131" y="2104548"/>
                      <a:ext cx="370497" cy="93725"/>
                    </a:xfrm>
                    <a:custGeom>
                      <a:avLst/>
                      <a:gdLst>
                        <a:gd name="connsiteX0" fmla="*/ 0 w 370497"/>
                        <a:gd name="connsiteY0" fmla="*/ 0 h 93725"/>
                        <a:gd name="connsiteX1" fmla="*/ 331946 w 370497"/>
                        <a:gd name="connsiteY1" fmla="*/ 28766 h 93725"/>
                        <a:gd name="connsiteX2" fmla="*/ 369665 w 370497"/>
                        <a:gd name="connsiteY2" fmla="*/ 67246 h 93725"/>
                        <a:gd name="connsiteX3" fmla="*/ 196405 w 370497"/>
                        <a:gd name="connsiteY3" fmla="*/ 93726 h 93725"/>
                        <a:gd name="connsiteX4" fmla="*/ 0 w 370497"/>
                        <a:gd name="connsiteY4" fmla="*/ 0 h 937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70497" h="93725">
                          <a:moveTo>
                            <a:pt x="0" y="0"/>
                          </a:moveTo>
                          <a:cubicBezTo>
                            <a:pt x="99631" y="41815"/>
                            <a:pt x="292798" y="27146"/>
                            <a:pt x="331946" y="28766"/>
                          </a:cubicBezTo>
                          <a:cubicBezTo>
                            <a:pt x="367951" y="27051"/>
                            <a:pt x="372904" y="52102"/>
                            <a:pt x="369665" y="67246"/>
                          </a:cubicBezTo>
                          <a:cubicBezTo>
                            <a:pt x="362236" y="69437"/>
                            <a:pt x="255079" y="83249"/>
                            <a:pt x="196405" y="93726"/>
                          </a:cubicBezTo>
                          <a:cubicBezTo>
                            <a:pt x="113538" y="82677"/>
                            <a:pt x="22669" y="33528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35" name="Freihandform: Form 234">
                      <a:extLst>
                        <a:ext uri="{FF2B5EF4-FFF2-40B4-BE49-F238E27FC236}">
                          <a16:creationId xmlns:a16="http://schemas.microsoft.com/office/drawing/2014/main" id="{FC747B1C-40CA-37A7-359F-333D02CC766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38012" y="2099981"/>
                      <a:ext cx="336064" cy="133901"/>
                    </a:xfrm>
                    <a:custGeom>
                      <a:avLst/>
                      <a:gdLst>
                        <a:gd name="connsiteX0" fmla="*/ 38503 w 336064"/>
                        <a:gd name="connsiteY0" fmla="*/ 53621 h 133901"/>
                        <a:gd name="connsiteX1" fmla="*/ 204143 w 336064"/>
                        <a:gd name="connsiteY1" fmla="*/ 33428 h 133901"/>
                        <a:gd name="connsiteX2" fmla="*/ 266151 w 336064"/>
                        <a:gd name="connsiteY2" fmla="*/ 8663 h 133901"/>
                        <a:gd name="connsiteX3" fmla="*/ 336064 w 336064"/>
                        <a:gd name="connsiteY3" fmla="*/ 25236 h 133901"/>
                        <a:gd name="connsiteX4" fmla="*/ 169186 w 336064"/>
                        <a:gd name="connsiteY4" fmla="*/ 118677 h 133901"/>
                        <a:gd name="connsiteX5" fmla="*/ 38503 w 336064"/>
                        <a:gd name="connsiteY5" fmla="*/ 53621 h 1339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336064" h="133901">
                          <a:moveTo>
                            <a:pt x="38503" y="53621"/>
                          </a:moveTo>
                          <a:cubicBezTo>
                            <a:pt x="130610" y="74195"/>
                            <a:pt x="204143" y="33428"/>
                            <a:pt x="204143" y="33428"/>
                          </a:cubicBezTo>
                          <a:cubicBezTo>
                            <a:pt x="204143" y="33428"/>
                            <a:pt x="251959" y="13140"/>
                            <a:pt x="266151" y="8663"/>
                          </a:cubicBezTo>
                          <a:cubicBezTo>
                            <a:pt x="280343" y="4186"/>
                            <a:pt x="318443" y="-15435"/>
                            <a:pt x="336064" y="25236"/>
                          </a:cubicBezTo>
                          <a:cubicBezTo>
                            <a:pt x="320539" y="35523"/>
                            <a:pt x="169186" y="118677"/>
                            <a:pt x="169186" y="118677"/>
                          </a:cubicBezTo>
                          <a:cubicBezTo>
                            <a:pt x="44790" y="180303"/>
                            <a:pt x="-58937" y="33618"/>
                            <a:pt x="38503" y="53621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236" name="Freihandform: Form 235">
                    <a:extLst>
                      <a:ext uri="{FF2B5EF4-FFF2-40B4-BE49-F238E27FC236}">
                        <a16:creationId xmlns:a16="http://schemas.microsoft.com/office/drawing/2014/main" id="{53204479-6EB8-56C5-CA8C-5BD38B49612D}"/>
                      </a:ext>
                    </a:extLst>
                  </p:cNvPr>
                  <p:cNvSpPr/>
                  <p:nvPr/>
                </p:nvSpPr>
                <p:spPr>
                  <a:xfrm rot="-4549200">
                    <a:off x="3542217" y="2170610"/>
                    <a:ext cx="175069" cy="175069"/>
                  </a:xfrm>
                  <a:custGeom>
                    <a:avLst/>
                    <a:gdLst>
                      <a:gd name="connsiteX0" fmla="*/ 175069 w 175069"/>
                      <a:gd name="connsiteY0" fmla="*/ 87535 h 175069"/>
                      <a:gd name="connsiteX1" fmla="*/ 87535 w 175069"/>
                      <a:gd name="connsiteY1" fmla="*/ 175070 h 175069"/>
                      <a:gd name="connsiteX2" fmla="*/ 0 w 175069"/>
                      <a:gd name="connsiteY2" fmla="*/ 87535 h 175069"/>
                      <a:gd name="connsiteX3" fmla="*/ 87535 w 175069"/>
                      <a:gd name="connsiteY3" fmla="*/ 0 h 175069"/>
                      <a:gd name="connsiteX4" fmla="*/ 175069 w 175069"/>
                      <a:gd name="connsiteY4" fmla="*/ 87535 h 1750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75069" h="175069">
                        <a:moveTo>
                          <a:pt x="175069" y="87535"/>
                        </a:moveTo>
                        <a:cubicBezTo>
                          <a:pt x="175069" y="135879"/>
                          <a:pt x="135879" y="175070"/>
                          <a:pt x="87535" y="175070"/>
                        </a:cubicBezTo>
                        <a:cubicBezTo>
                          <a:pt x="39191" y="175070"/>
                          <a:pt x="0" y="135879"/>
                          <a:pt x="0" y="87535"/>
                        </a:cubicBezTo>
                        <a:cubicBezTo>
                          <a:pt x="0" y="39191"/>
                          <a:pt x="39191" y="0"/>
                          <a:pt x="87535" y="0"/>
                        </a:cubicBezTo>
                        <a:cubicBezTo>
                          <a:pt x="135879" y="0"/>
                          <a:pt x="175069" y="39191"/>
                          <a:pt x="175069" y="87535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7" name="Freihandform: Form 236">
                    <a:extLst>
                      <a:ext uri="{FF2B5EF4-FFF2-40B4-BE49-F238E27FC236}">
                        <a16:creationId xmlns:a16="http://schemas.microsoft.com/office/drawing/2014/main" id="{14CB6F4B-EF55-2BF6-0D2F-DB246712A8B9}"/>
                      </a:ext>
                    </a:extLst>
                  </p:cNvPr>
                  <p:cNvSpPr/>
                  <p:nvPr/>
                </p:nvSpPr>
                <p:spPr>
                  <a:xfrm>
                    <a:off x="3461130" y="2175033"/>
                    <a:ext cx="202977" cy="221265"/>
                  </a:xfrm>
                  <a:custGeom>
                    <a:avLst/>
                    <a:gdLst>
                      <a:gd name="connsiteX0" fmla="*/ 202978 w 202977"/>
                      <a:gd name="connsiteY0" fmla="*/ 163735 h 221265"/>
                      <a:gd name="connsiteX1" fmla="*/ 140589 w 202977"/>
                      <a:gd name="connsiteY1" fmla="*/ 0 h 221265"/>
                      <a:gd name="connsiteX2" fmla="*/ 0 w 202977"/>
                      <a:gd name="connsiteY2" fmla="*/ 51435 h 221265"/>
                      <a:gd name="connsiteX3" fmla="*/ 60770 w 202977"/>
                      <a:gd name="connsiteY3" fmla="*/ 221266 h 221265"/>
                      <a:gd name="connsiteX4" fmla="*/ 202978 w 202977"/>
                      <a:gd name="connsiteY4" fmla="*/ 163735 h 2212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02977" h="221265">
                        <a:moveTo>
                          <a:pt x="202978" y="163735"/>
                        </a:moveTo>
                        <a:lnTo>
                          <a:pt x="140589" y="0"/>
                        </a:lnTo>
                        <a:lnTo>
                          <a:pt x="0" y="51435"/>
                        </a:lnTo>
                        <a:lnTo>
                          <a:pt x="60770" y="221266"/>
                        </a:lnTo>
                        <a:lnTo>
                          <a:pt x="202978" y="163735"/>
                        </a:ln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38" name="Grafik 23">
                  <a:extLst>
                    <a:ext uri="{FF2B5EF4-FFF2-40B4-BE49-F238E27FC236}">
                      <a16:creationId xmlns:a16="http://schemas.microsoft.com/office/drawing/2014/main" id="{A46D5C13-9B81-72B8-57F4-9CFBDA131D4E}"/>
                    </a:ext>
                  </a:extLst>
                </p:cNvPr>
                <p:cNvGrpSpPr/>
                <p:nvPr/>
              </p:nvGrpSpPr>
              <p:grpSpPr>
                <a:xfrm>
                  <a:off x="2901155" y="2174271"/>
                  <a:ext cx="790003" cy="520064"/>
                  <a:chOff x="2901155" y="2174271"/>
                  <a:chExt cx="790003" cy="520064"/>
                </a:xfrm>
                <a:solidFill>
                  <a:srgbClr val="FFFFFF"/>
                </a:solidFill>
              </p:grpSpPr>
              <p:sp>
                <p:nvSpPr>
                  <p:cNvPr id="239" name="Freihandform: Form 238">
                    <a:extLst>
                      <a:ext uri="{FF2B5EF4-FFF2-40B4-BE49-F238E27FC236}">
                        <a16:creationId xmlns:a16="http://schemas.microsoft.com/office/drawing/2014/main" id="{DFE1D280-C0F4-5030-B63F-067B3808495D}"/>
                      </a:ext>
                    </a:extLst>
                  </p:cNvPr>
                  <p:cNvSpPr/>
                  <p:nvPr/>
                </p:nvSpPr>
                <p:spPr>
                  <a:xfrm>
                    <a:off x="3013169" y="2174271"/>
                    <a:ext cx="677989" cy="511587"/>
                  </a:xfrm>
                  <a:custGeom>
                    <a:avLst/>
                    <a:gdLst>
                      <a:gd name="connsiteX0" fmla="*/ 677990 w 677989"/>
                      <a:gd name="connsiteY0" fmla="*/ 313277 h 511587"/>
                      <a:gd name="connsiteX1" fmla="*/ 561975 w 677989"/>
                      <a:gd name="connsiteY1" fmla="*/ 0 h 511587"/>
                      <a:gd name="connsiteX2" fmla="*/ 0 w 677989"/>
                      <a:gd name="connsiteY2" fmla="*/ 185547 h 511587"/>
                      <a:gd name="connsiteX3" fmla="*/ 114490 w 677989"/>
                      <a:gd name="connsiteY3" fmla="*/ 511588 h 511587"/>
                      <a:gd name="connsiteX4" fmla="*/ 677990 w 677989"/>
                      <a:gd name="connsiteY4" fmla="*/ 313277 h 5115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77989" h="511587">
                        <a:moveTo>
                          <a:pt x="677990" y="313277"/>
                        </a:moveTo>
                        <a:lnTo>
                          <a:pt x="561975" y="0"/>
                        </a:lnTo>
                        <a:lnTo>
                          <a:pt x="0" y="185547"/>
                        </a:lnTo>
                        <a:lnTo>
                          <a:pt x="114490" y="511588"/>
                        </a:lnTo>
                        <a:lnTo>
                          <a:pt x="677990" y="31327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0" name="Freihandform: Form 239">
                    <a:extLst>
                      <a:ext uri="{FF2B5EF4-FFF2-40B4-BE49-F238E27FC236}">
                        <a16:creationId xmlns:a16="http://schemas.microsoft.com/office/drawing/2014/main" id="{68C44A23-5165-881F-2192-6B3EB5EA1F0E}"/>
                      </a:ext>
                    </a:extLst>
                  </p:cNvPr>
                  <p:cNvSpPr/>
                  <p:nvPr/>
                </p:nvSpPr>
                <p:spPr>
                  <a:xfrm>
                    <a:off x="2901155" y="2348769"/>
                    <a:ext cx="345567" cy="345567"/>
                  </a:xfrm>
                  <a:custGeom>
                    <a:avLst/>
                    <a:gdLst>
                      <a:gd name="connsiteX0" fmla="*/ 345567 w 345567"/>
                      <a:gd name="connsiteY0" fmla="*/ 172783 h 345567"/>
                      <a:gd name="connsiteX1" fmla="*/ 172784 w 345567"/>
                      <a:gd name="connsiteY1" fmla="*/ 345567 h 345567"/>
                      <a:gd name="connsiteX2" fmla="*/ 0 w 345567"/>
                      <a:gd name="connsiteY2" fmla="*/ 172783 h 345567"/>
                      <a:gd name="connsiteX3" fmla="*/ 172784 w 345567"/>
                      <a:gd name="connsiteY3" fmla="*/ 0 h 345567"/>
                      <a:gd name="connsiteX4" fmla="*/ 345567 w 345567"/>
                      <a:gd name="connsiteY4" fmla="*/ 172783 h 3455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45567" h="345567">
                        <a:moveTo>
                          <a:pt x="345567" y="172783"/>
                        </a:moveTo>
                        <a:cubicBezTo>
                          <a:pt x="345567" y="268209"/>
                          <a:pt x="268209" y="345567"/>
                          <a:pt x="172784" y="345567"/>
                        </a:cubicBezTo>
                        <a:cubicBezTo>
                          <a:pt x="77358" y="345567"/>
                          <a:pt x="0" y="268209"/>
                          <a:pt x="0" y="172783"/>
                        </a:cubicBezTo>
                        <a:cubicBezTo>
                          <a:pt x="0" y="77358"/>
                          <a:pt x="77358" y="0"/>
                          <a:pt x="172784" y="0"/>
                        </a:cubicBezTo>
                        <a:cubicBezTo>
                          <a:pt x="268209" y="0"/>
                          <a:pt x="345567" y="77358"/>
                          <a:pt x="345567" y="17278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41" name="Grafik 23">
                  <a:extLst>
                    <a:ext uri="{FF2B5EF4-FFF2-40B4-BE49-F238E27FC236}">
                      <a16:creationId xmlns:a16="http://schemas.microsoft.com/office/drawing/2014/main" id="{B0747197-364A-2118-3A16-3E0DD8A8471B}"/>
                    </a:ext>
                  </a:extLst>
                </p:cNvPr>
                <p:cNvGrpSpPr/>
                <p:nvPr/>
              </p:nvGrpSpPr>
              <p:grpSpPr>
                <a:xfrm>
                  <a:off x="2358897" y="1530286"/>
                  <a:ext cx="861536" cy="1080516"/>
                  <a:chOff x="2358897" y="1530286"/>
                  <a:chExt cx="861536" cy="1080516"/>
                </a:xfrm>
                <a:solidFill>
                  <a:srgbClr val="FFFFFF"/>
                </a:solidFill>
              </p:grpSpPr>
              <p:sp>
                <p:nvSpPr>
                  <p:cNvPr id="242" name="Freihandform: Form 241">
                    <a:extLst>
                      <a:ext uri="{FF2B5EF4-FFF2-40B4-BE49-F238E27FC236}">
                        <a16:creationId xmlns:a16="http://schemas.microsoft.com/office/drawing/2014/main" id="{B6C3A6DC-A001-61CC-03BB-62B9141B3FC0}"/>
                      </a:ext>
                    </a:extLst>
                  </p:cNvPr>
                  <p:cNvSpPr/>
                  <p:nvPr/>
                </p:nvSpPr>
                <p:spPr>
                  <a:xfrm>
                    <a:off x="2358897" y="1530286"/>
                    <a:ext cx="396621" cy="396621"/>
                  </a:xfrm>
                  <a:custGeom>
                    <a:avLst/>
                    <a:gdLst>
                      <a:gd name="connsiteX0" fmla="*/ 396621 w 396621"/>
                      <a:gd name="connsiteY0" fmla="*/ 198311 h 396621"/>
                      <a:gd name="connsiteX1" fmla="*/ 198311 w 396621"/>
                      <a:gd name="connsiteY1" fmla="*/ 396621 h 396621"/>
                      <a:gd name="connsiteX2" fmla="*/ 0 w 396621"/>
                      <a:gd name="connsiteY2" fmla="*/ 198311 h 396621"/>
                      <a:gd name="connsiteX3" fmla="*/ 198311 w 396621"/>
                      <a:gd name="connsiteY3" fmla="*/ 0 h 396621"/>
                      <a:gd name="connsiteX4" fmla="*/ 396621 w 396621"/>
                      <a:gd name="connsiteY4" fmla="*/ 198311 h 3966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6621" h="396621">
                        <a:moveTo>
                          <a:pt x="396621" y="198311"/>
                        </a:moveTo>
                        <a:cubicBezTo>
                          <a:pt x="396621" y="307834"/>
                          <a:pt x="307834" y="396621"/>
                          <a:pt x="198311" y="396621"/>
                        </a:cubicBezTo>
                        <a:cubicBezTo>
                          <a:pt x="88787" y="396621"/>
                          <a:pt x="0" y="307834"/>
                          <a:pt x="0" y="198311"/>
                        </a:cubicBezTo>
                        <a:cubicBezTo>
                          <a:pt x="0" y="88787"/>
                          <a:pt x="88787" y="0"/>
                          <a:pt x="198311" y="0"/>
                        </a:cubicBezTo>
                        <a:cubicBezTo>
                          <a:pt x="307834" y="0"/>
                          <a:pt x="396621" y="88787"/>
                          <a:pt x="396621" y="19831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3" name="Freihandform: Form 242">
                    <a:extLst>
                      <a:ext uri="{FF2B5EF4-FFF2-40B4-BE49-F238E27FC236}">
                        <a16:creationId xmlns:a16="http://schemas.microsoft.com/office/drawing/2014/main" id="{AF79A5D9-1ED5-7465-86BF-B3C64C549031}"/>
                      </a:ext>
                    </a:extLst>
                  </p:cNvPr>
                  <p:cNvSpPr/>
                  <p:nvPr/>
                </p:nvSpPr>
                <p:spPr>
                  <a:xfrm>
                    <a:off x="2388139" y="1624869"/>
                    <a:ext cx="832294" cy="985932"/>
                  </a:xfrm>
                  <a:custGeom>
                    <a:avLst/>
                    <a:gdLst>
                      <a:gd name="connsiteX0" fmla="*/ 537591 w 832294"/>
                      <a:gd name="connsiteY0" fmla="*/ 985933 h 985932"/>
                      <a:gd name="connsiteX1" fmla="*/ 832295 w 832294"/>
                      <a:gd name="connsiteY1" fmla="*/ 805053 h 985932"/>
                      <a:gd name="connsiteX2" fmla="*/ 512064 w 832294"/>
                      <a:gd name="connsiteY2" fmla="*/ 283464 h 985932"/>
                      <a:gd name="connsiteX3" fmla="*/ 338042 w 832294"/>
                      <a:gd name="connsiteY3" fmla="*/ 0 h 985932"/>
                      <a:gd name="connsiteX4" fmla="*/ 0 w 832294"/>
                      <a:gd name="connsiteY4" fmla="*/ 207455 h 985932"/>
                      <a:gd name="connsiteX5" fmla="*/ 199835 w 832294"/>
                      <a:gd name="connsiteY5" fmla="*/ 496824 h 985932"/>
                      <a:gd name="connsiteX6" fmla="*/ 537591 w 832294"/>
                      <a:gd name="connsiteY6" fmla="*/ 985933 h 9859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32294" h="985932">
                        <a:moveTo>
                          <a:pt x="537591" y="985933"/>
                        </a:moveTo>
                        <a:lnTo>
                          <a:pt x="832295" y="805053"/>
                        </a:lnTo>
                        <a:lnTo>
                          <a:pt x="512064" y="283464"/>
                        </a:lnTo>
                        <a:lnTo>
                          <a:pt x="338042" y="0"/>
                        </a:lnTo>
                        <a:lnTo>
                          <a:pt x="0" y="207455"/>
                        </a:lnTo>
                        <a:lnTo>
                          <a:pt x="199835" y="496824"/>
                        </a:lnTo>
                        <a:lnTo>
                          <a:pt x="537591" y="98593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44" name="Grafik 23">
                  <a:extLst>
                    <a:ext uri="{FF2B5EF4-FFF2-40B4-BE49-F238E27FC236}">
                      <a16:creationId xmlns:a16="http://schemas.microsoft.com/office/drawing/2014/main" id="{94B37510-EED9-D111-9641-A71DBF118FB1}"/>
                    </a:ext>
                  </a:extLst>
                </p:cNvPr>
                <p:cNvGrpSpPr/>
                <p:nvPr/>
              </p:nvGrpSpPr>
              <p:grpSpPr>
                <a:xfrm>
                  <a:off x="2248407" y="995518"/>
                  <a:ext cx="483174" cy="622983"/>
                  <a:chOff x="2248407" y="995518"/>
                  <a:chExt cx="483174" cy="622983"/>
                </a:xfrm>
              </p:grpSpPr>
              <p:sp>
                <p:nvSpPr>
                  <p:cNvPr id="245" name="Freihandform: Form 244">
                    <a:extLst>
                      <a:ext uri="{FF2B5EF4-FFF2-40B4-BE49-F238E27FC236}">
                        <a16:creationId xmlns:a16="http://schemas.microsoft.com/office/drawing/2014/main" id="{72BD1A5C-082B-9034-16F4-9DB16CD2CCC3}"/>
                      </a:ext>
                    </a:extLst>
                  </p:cNvPr>
                  <p:cNvSpPr/>
                  <p:nvPr/>
                </p:nvSpPr>
                <p:spPr>
                  <a:xfrm>
                    <a:off x="2248407" y="995518"/>
                    <a:ext cx="483174" cy="622432"/>
                  </a:xfrm>
                  <a:custGeom>
                    <a:avLst/>
                    <a:gdLst>
                      <a:gd name="connsiteX0" fmla="*/ 0 w 483174"/>
                      <a:gd name="connsiteY0" fmla="*/ 470760 h 622432"/>
                      <a:gd name="connsiteX1" fmla="*/ 342995 w 483174"/>
                      <a:gd name="connsiteY1" fmla="*/ 593061 h 622432"/>
                      <a:gd name="connsiteX2" fmla="*/ 472535 w 483174"/>
                      <a:gd name="connsiteY2" fmla="*/ 229873 h 622432"/>
                      <a:gd name="connsiteX3" fmla="*/ 129540 w 483174"/>
                      <a:gd name="connsiteY3" fmla="*/ 107572 h 622432"/>
                      <a:gd name="connsiteX4" fmla="*/ 0 w 483174"/>
                      <a:gd name="connsiteY4" fmla="*/ 470760 h 6224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83174" h="622432">
                        <a:moveTo>
                          <a:pt x="0" y="470760"/>
                        </a:moveTo>
                        <a:cubicBezTo>
                          <a:pt x="24574" y="590203"/>
                          <a:pt x="237268" y="667737"/>
                          <a:pt x="342995" y="593061"/>
                        </a:cubicBezTo>
                        <a:lnTo>
                          <a:pt x="472535" y="229873"/>
                        </a:lnTo>
                        <a:cubicBezTo>
                          <a:pt x="547021" y="7083"/>
                          <a:pt x="208788" y="-91596"/>
                          <a:pt x="129540" y="107572"/>
                        </a:cubicBezTo>
                        <a:lnTo>
                          <a:pt x="0" y="470760"/>
                        </a:ln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6" name="Freihandform: Form 245">
                    <a:extLst>
                      <a:ext uri="{FF2B5EF4-FFF2-40B4-BE49-F238E27FC236}">
                        <a16:creationId xmlns:a16="http://schemas.microsoft.com/office/drawing/2014/main" id="{81C7F2C6-AC76-4F9E-B40C-6C45D7A352F2}"/>
                      </a:ext>
                    </a:extLst>
                  </p:cNvPr>
                  <p:cNvSpPr/>
                  <p:nvPr/>
                </p:nvSpPr>
                <p:spPr>
                  <a:xfrm>
                    <a:off x="2248407" y="1181100"/>
                    <a:ext cx="351219" cy="437402"/>
                  </a:xfrm>
                  <a:custGeom>
                    <a:avLst/>
                    <a:gdLst>
                      <a:gd name="connsiteX0" fmla="*/ 101727 w 351219"/>
                      <a:gd name="connsiteY0" fmla="*/ 0 h 437402"/>
                      <a:gd name="connsiteX1" fmla="*/ 0 w 351219"/>
                      <a:gd name="connsiteY1" fmla="*/ 285274 h 437402"/>
                      <a:gd name="connsiteX2" fmla="*/ 342995 w 351219"/>
                      <a:gd name="connsiteY2" fmla="*/ 407575 h 437402"/>
                      <a:gd name="connsiteX3" fmla="*/ 293942 w 351219"/>
                      <a:gd name="connsiteY3" fmla="*/ 224409 h 437402"/>
                      <a:gd name="connsiteX4" fmla="*/ 101822 w 351219"/>
                      <a:gd name="connsiteY4" fmla="*/ 95 h 4374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1219" h="437402">
                        <a:moveTo>
                          <a:pt x="101727" y="0"/>
                        </a:moveTo>
                        <a:lnTo>
                          <a:pt x="0" y="285274"/>
                        </a:lnTo>
                        <a:cubicBezTo>
                          <a:pt x="27432" y="400621"/>
                          <a:pt x="236220" y="484823"/>
                          <a:pt x="342995" y="407575"/>
                        </a:cubicBezTo>
                        <a:cubicBezTo>
                          <a:pt x="342995" y="407575"/>
                          <a:pt x="380905" y="277368"/>
                          <a:pt x="293942" y="224409"/>
                        </a:cubicBezTo>
                        <a:cubicBezTo>
                          <a:pt x="101346" y="107156"/>
                          <a:pt x="101822" y="95"/>
                          <a:pt x="101822" y="95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47" name="Grafik 23">
                  <a:extLst>
                    <a:ext uri="{FF2B5EF4-FFF2-40B4-BE49-F238E27FC236}">
                      <a16:creationId xmlns:a16="http://schemas.microsoft.com/office/drawing/2014/main" id="{3969AFC6-BE9A-C05A-B0A6-87AD09491FDC}"/>
                    </a:ext>
                  </a:extLst>
                </p:cNvPr>
                <p:cNvGrpSpPr/>
                <p:nvPr/>
              </p:nvGrpSpPr>
              <p:grpSpPr>
                <a:xfrm>
                  <a:off x="2228899" y="609818"/>
                  <a:ext cx="706899" cy="824398"/>
                  <a:chOff x="2228899" y="609818"/>
                  <a:chExt cx="706899" cy="824398"/>
                </a:xfrm>
              </p:grpSpPr>
              <p:sp>
                <p:nvSpPr>
                  <p:cNvPr id="248" name="Freihandform: Form 247">
                    <a:extLst>
                      <a:ext uri="{FF2B5EF4-FFF2-40B4-BE49-F238E27FC236}">
                        <a16:creationId xmlns:a16="http://schemas.microsoft.com/office/drawing/2014/main" id="{8C9B17FD-E1D9-901D-2CE7-462218C7D69F}"/>
                      </a:ext>
                    </a:extLst>
                  </p:cNvPr>
                  <p:cNvSpPr/>
                  <p:nvPr/>
                </p:nvSpPr>
                <p:spPr>
                  <a:xfrm rot="-4474199">
                    <a:off x="2319554" y="647266"/>
                    <a:ext cx="525589" cy="588263"/>
                  </a:xfrm>
                  <a:custGeom>
                    <a:avLst/>
                    <a:gdLst>
                      <a:gd name="connsiteX0" fmla="*/ 525589 w 525589"/>
                      <a:gd name="connsiteY0" fmla="*/ 294132 h 588263"/>
                      <a:gd name="connsiteX1" fmla="*/ 262795 w 525589"/>
                      <a:gd name="connsiteY1" fmla="*/ 588264 h 588263"/>
                      <a:gd name="connsiteX2" fmla="*/ 0 w 525589"/>
                      <a:gd name="connsiteY2" fmla="*/ 294132 h 588263"/>
                      <a:gd name="connsiteX3" fmla="*/ 262795 w 525589"/>
                      <a:gd name="connsiteY3" fmla="*/ 0 h 588263"/>
                      <a:gd name="connsiteX4" fmla="*/ 525589 w 525589"/>
                      <a:gd name="connsiteY4" fmla="*/ 294132 h 5882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25589" h="588263">
                        <a:moveTo>
                          <a:pt x="525589" y="294132"/>
                        </a:moveTo>
                        <a:cubicBezTo>
                          <a:pt x="525589" y="456577"/>
                          <a:pt x="407932" y="588264"/>
                          <a:pt x="262795" y="588264"/>
                        </a:cubicBezTo>
                        <a:cubicBezTo>
                          <a:pt x="117657" y="588264"/>
                          <a:pt x="0" y="456577"/>
                          <a:pt x="0" y="294132"/>
                        </a:cubicBezTo>
                        <a:cubicBezTo>
                          <a:pt x="0" y="131687"/>
                          <a:pt x="117657" y="0"/>
                          <a:pt x="262795" y="0"/>
                        </a:cubicBezTo>
                        <a:cubicBezTo>
                          <a:pt x="407932" y="0"/>
                          <a:pt x="525589" y="131687"/>
                          <a:pt x="525589" y="294132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9" name="Freihandform: Form 248">
                    <a:extLst>
                      <a:ext uri="{FF2B5EF4-FFF2-40B4-BE49-F238E27FC236}">
                        <a16:creationId xmlns:a16="http://schemas.microsoft.com/office/drawing/2014/main" id="{F45F46B3-9C1D-66EC-3480-E98E3ED6B93E}"/>
                      </a:ext>
                    </a:extLst>
                  </p:cNvPr>
                  <p:cNvSpPr/>
                  <p:nvPr/>
                </p:nvSpPr>
                <p:spPr>
                  <a:xfrm>
                    <a:off x="2498816" y="902159"/>
                    <a:ext cx="410138" cy="507459"/>
                  </a:xfrm>
                  <a:custGeom>
                    <a:avLst/>
                    <a:gdLst>
                      <a:gd name="connsiteX0" fmla="*/ 393672 w 410138"/>
                      <a:gd name="connsiteY0" fmla="*/ 224553 h 507459"/>
                      <a:gd name="connsiteX1" fmla="*/ 365573 w 410138"/>
                      <a:gd name="connsiteY1" fmla="*/ 125684 h 507459"/>
                      <a:gd name="connsiteX2" fmla="*/ 31722 w 410138"/>
                      <a:gd name="connsiteY2" fmla="*/ 119778 h 507459"/>
                      <a:gd name="connsiteX3" fmla="*/ 4 w 410138"/>
                      <a:gd name="connsiteY3" fmla="*/ 312755 h 507459"/>
                      <a:gd name="connsiteX4" fmla="*/ 87538 w 410138"/>
                      <a:gd name="connsiteY4" fmla="*/ 470489 h 507459"/>
                      <a:gd name="connsiteX5" fmla="*/ 218317 w 410138"/>
                      <a:gd name="connsiteY5" fmla="*/ 507350 h 507459"/>
                      <a:gd name="connsiteX6" fmla="*/ 280039 w 410138"/>
                      <a:gd name="connsiteY6" fmla="*/ 460297 h 507459"/>
                      <a:gd name="connsiteX7" fmla="*/ 288516 w 410138"/>
                      <a:gd name="connsiteY7" fmla="*/ 430579 h 507459"/>
                      <a:gd name="connsiteX8" fmla="*/ 288516 w 410138"/>
                      <a:gd name="connsiteY8" fmla="*/ 430865 h 507459"/>
                      <a:gd name="connsiteX9" fmla="*/ 300994 w 410138"/>
                      <a:gd name="connsiteY9" fmla="*/ 411243 h 507459"/>
                      <a:gd name="connsiteX10" fmla="*/ 302041 w 410138"/>
                      <a:gd name="connsiteY10" fmla="*/ 378953 h 507459"/>
                      <a:gd name="connsiteX11" fmla="*/ 302041 w 410138"/>
                      <a:gd name="connsiteY11" fmla="*/ 378953 h 507459"/>
                      <a:gd name="connsiteX12" fmla="*/ 321091 w 410138"/>
                      <a:gd name="connsiteY12" fmla="*/ 359427 h 507459"/>
                      <a:gd name="connsiteX13" fmla="*/ 332807 w 410138"/>
                      <a:gd name="connsiteY13" fmla="*/ 315326 h 507459"/>
                      <a:gd name="connsiteX14" fmla="*/ 409579 w 410138"/>
                      <a:gd name="connsiteY14" fmla="*/ 285894 h 507459"/>
                      <a:gd name="connsiteX15" fmla="*/ 393672 w 410138"/>
                      <a:gd name="connsiteY15" fmla="*/ 224648 h 5074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410138" h="507459">
                        <a:moveTo>
                          <a:pt x="393672" y="224553"/>
                        </a:moveTo>
                        <a:cubicBezTo>
                          <a:pt x="383956" y="191787"/>
                          <a:pt x="364144" y="163593"/>
                          <a:pt x="365573" y="125684"/>
                        </a:cubicBezTo>
                        <a:cubicBezTo>
                          <a:pt x="390624" y="-427"/>
                          <a:pt x="83538" y="-76342"/>
                          <a:pt x="31722" y="119778"/>
                        </a:cubicBezTo>
                        <a:cubicBezTo>
                          <a:pt x="31722" y="119778"/>
                          <a:pt x="861" y="258843"/>
                          <a:pt x="4" y="312755"/>
                        </a:cubicBezTo>
                        <a:cubicBezTo>
                          <a:pt x="-377" y="337139"/>
                          <a:pt x="29531" y="447343"/>
                          <a:pt x="87538" y="470489"/>
                        </a:cubicBezTo>
                        <a:cubicBezTo>
                          <a:pt x="137068" y="490205"/>
                          <a:pt x="218317" y="507350"/>
                          <a:pt x="218317" y="507350"/>
                        </a:cubicBezTo>
                        <a:cubicBezTo>
                          <a:pt x="218317" y="507350"/>
                          <a:pt x="261560" y="512018"/>
                          <a:pt x="280039" y="460297"/>
                        </a:cubicBezTo>
                        <a:cubicBezTo>
                          <a:pt x="281467" y="456296"/>
                          <a:pt x="284515" y="445628"/>
                          <a:pt x="288516" y="430579"/>
                        </a:cubicBezTo>
                        <a:lnTo>
                          <a:pt x="288516" y="430865"/>
                        </a:lnTo>
                        <a:cubicBezTo>
                          <a:pt x="288516" y="430865"/>
                          <a:pt x="291469" y="422292"/>
                          <a:pt x="300994" y="411243"/>
                        </a:cubicBezTo>
                        <a:cubicBezTo>
                          <a:pt x="312519" y="397718"/>
                          <a:pt x="318901" y="384287"/>
                          <a:pt x="302041" y="378953"/>
                        </a:cubicBezTo>
                        <a:lnTo>
                          <a:pt x="302041" y="378953"/>
                        </a:lnTo>
                        <a:cubicBezTo>
                          <a:pt x="314805" y="378287"/>
                          <a:pt x="321663" y="365523"/>
                          <a:pt x="321091" y="359427"/>
                        </a:cubicBezTo>
                        <a:cubicBezTo>
                          <a:pt x="319663" y="341806"/>
                          <a:pt x="327949" y="315041"/>
                          <a:pt x="332807" y="315326"/>
                        </a:cubicBezTo>
                        <a:cubicBezTo>
                          <a:pt x="351762" y="316565"/>
                          <a:pt x="416818" y="324185"/>
                          <a:pt x="409579" y="285894"/>
                        </a:cubicBezTo>
                        <a:cubicBezTo>
                          <a:pt x="403864" y="255224"/>
                          <a:pt x="402244" y="253509"/>
                          <a:pt x="393672" y="224648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0" name="Freihandform: Form 249">
                    <a:extLst>
                      <a:ext uri="{FF2B5EF4-FFF2-40B4-BE49-F238E27FC236}">
                        <a16:creationId xmlns:a16="http://schemas.microsoft.com/office/drawing/2014/main" id="{D43B8204-91BE-A0A2-E8B8-1F56D9100B24}"/>
                      </a:ext>
                    </a:extLst>
                  </p:cNvPr>
                  <p:cNvSpPr/>
                  <p:nvPr/>
                </p:nvSpPr>
                <p:spPr>
                  <a:xfrm>
                    <a:off x="2692166" y="978624"/>
                    <a:ext cx="158167" cy="48133"/>
                  </a:xfrm>
                  <a:custGeom>
                    <a:avLst/>
                    <a:gdLst>
                      <a:gd name="connsiteX0" fmla="*/ 140218 w 158167"/>
                      <a:gd name="connsiteY0" fmla="*/ 48075 h 48133"/>
                      <a:gd name="connsiteX1" fmla="*/ 79639 w 158167"/>
                      <a:gd name="connsiteY1" fmla="*/ 28549 h 48133"/>
                      <a:gd name="connsiteX2" fmla="*/ 4963 w 158167"/>
                      <a:gd name="connsiteY2" fmla="*/ 25501 h 48133"/>
                      <a:gd name="connsiteX3" fmla="*/ 1439 w 158167"/>
                      <a:gd name="connsiteY3" fmla="*/ 17405 h 48133"/>
                      <a:gd name="connsiteX4" fmla="*/ 71353 w 158167"/>
                      <a:gd name="connsiteY4" fmla="*/ 260 h 48133"/>
                      <a:gd name="connsiteX5" fmla="*/ 154792 w 158167"/>
                      <a:gd name="connsiteY5" fmla="*/ 19691 h 48133"/>
                      <a:gd name="connsiteX6" fmla="*/ 140218 w 158167"/>
                      <a:gd name="connsiteY6" fmla="*/ 48075 h 481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58167" h="48133">
                        <a:moveTo>
                          <a:pt x="140218" y="48075"/>
                        </a:moveTo>
                        <a:cubicBezTo>
                          <a:pt x="130693" y="46647"/>
                          <a:pt x="91831" y="30359"/>
                          <a:pt x="79639" y="28549"/>
                        </a:cubicBezTo>
                        <a:cubicBezTo>
                          <a:pt x="48207" y="23882"/>
                          <a:pt x="20013" y="25215"/>
                          <a:pt x="4963" y="25501"/>
                        </a:cubicBezTo>
                        <a:cubicBezTo>
                          <a:pt x="677" y="25501"/>
                          <a:pt x="-1704" y="20262"/>
                          <a:pt x="1439" y="17405"/>
                        </a:cubicBezTo>
                        <a:cubicBezTo>
                          <a:pt x="19251" y="1212"/>
                          <a:pt x="50398" y="-883"/>
                          <a:pt x="71353" y="260"/>
                        </a:cubicBezTo>
                        <a:cubicBezTo>
                          <a:pt x="104023" y="2070"/>
                          <a:pt x="144600" y="15309"/>
                          <a:pt x="154792" y="19691"/>
                        </a:cubicBezTo>
                        <a:cubicBezTo>
                          <a:pt x="164983" y="24072"/>
                          <a:pt x="149743" y="49504"/>
                          <a:pt x="140218" y="48075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1" name="Freihandform: Form 250">
                    <a:extLst>
                      <a:ext uri="{FF2B5EF4-FFF2-40B4-BE49-F238E27FC236}">
                        <a16:creationId xmlns:a16="http://schemas.microsoft.com/office/drawing/2014/main" id="{11D061AD-AB2B-BDE0-BE9C-2FD3C6694251}"/>
                      </a:ext>
                    </a:extLst>
                  </p:cNvPr>
                  <p:cNvSpPr/>
                  <p:nvPr/>
                </p:nvSpPr>
                <p:spPr>
                  <a:xfrm rot="-4837802">
                    <a:off x="2748201" y="1039521"/>
                    <a:ext cx="50673" cy="26860"/>
                  </a:xfrm>
                  <a:custGeom>
                    <a:avLst/>
                    <a:gdLst>
                      <a:gd name="connsiteX0" fmla="*/ 50673 w 50673"/>
                      <a:gd name="connsiteY0" fmla="*/ 13430 h 26860"/>
                      <a:gd name="connsiteX1" fmla="*/ 25336 w 50673"/>
                      <a:gd name="connsiteY1" fmla="*/ 26861 h 26860"/>
                      <a:gd name="connsiteX2" fmla="*/ 0 w 50673"/>
                      <a:gd name="connsiteY2" fmla="*/ 13430 h 26860"/>
                      <a:gd name="connsiteX3" fmla="*/ 25336 w 50673"/>
                      <a:gd name="connsiteY3" fmla="*/ 0 h 26860"/>
                      <a:gd name="connsiteX4" fmla="*/ 50673 w 50673"/>
                      <a:gd name="connsiteY4" fmla="*/ 13430 h 268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673" h="26860">
                        <a:moveTo>
                          <a:pt x="50673" y="13430"/>
                        </a:moveTo>
                        <a:cubicBezTo>
                          <a:pt x="50673" y="20848"/>
                          <a:pt x="39329" y="26861"/>
                          <a:pt x="25336" y="26861"/>
                        </a:cubicBezTo>
                        <a:cubicBezTo>
                          <a:pt x="11344" y="26861"/>
                          <a:pt x="0" y="20848"/>
                          <a:pt x="0" y="13430"/>
                        </a:cubicBezTo>
                        <a:cubicBezTo>
                          <a:pt x="0" y="6013"/>
                          <a:pt x="11344" y="0"/>
                          <a:pt x="25336" y="0"/>
                        </a:cubicBezTo>
                        <a:cubicBezTo>
                          <a:pt x="39329" y="0"/>
                          <a:pt x="50673" y="6013"/>
                          <a:pt x="50673" y="1343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2" name="Freihandform: Form 251">
                    <a:extLst>
                      <a:ext uri="{FF2B5EF4-FFF2-40B4-BE49-F238E27FC236}">
                        <a16:creationId xmlns:a16="http://schemas.microsoft.com/office/drawing/2014/main" id="{2516B40A-1AE5-CC94-2462-EA200534054E}"/>
                      </a:ext>
                    </a:extLst>
                  </p:cNvPr>
                  <p:cNvSpPr/>
                  <p:nvPr/>
                </p:nvSpPr>
                <p:spPr>
                  <a:xfrm>
                    <a:off x="2715592" y="1019859"/>
                    <a:ext cx="94079" cy="27890"/>
                  </a:xfrm>
                  <a:custGeom>
                    <a:avLst/>
                    <a:gdLst>
                      <a:gd name="connsiteX0" fmla="*/ 93552 w 94079"/>
                      <a:gd name="connsiteY0" fmla="*/ 27890 h 27890"/>
                      <a:gd name="connsiteX1" fmla="*/ 44022 w 94079"/>
                      <a:gd name="connsiteY1" fmla="*/ 14555 h 27890"/>
                      <a:gd name="connsiteX2" fmla="*/ 1636 w 94079"/>
                      <a:gd name="connsiteY2" fmla="*/ 13984 h 27890"/>
                      <a:gd name="connsiteX3" fmla="*/ 63072 w 94079"/>
                      <a:gd name="connsiteY3" fmla="*/ 1316 h 27890"/>
                      <a:gd name="connsiteX4" fmla="*/ 93552 w 94079"/>
                      <a:gd name="connsiteY4" fmla="*/ 27890 h 278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4079" h="27890">
                        <a:moveTo>
                          <a:pt x="93552" y="27890"/>
                        </a:moveTo>
                        <a:cubicBezTo>
                          <a:pt x="93552" y="27890"/>
                          <a:pt x="73550" y="11222"/>
                          <a:pt x="44022" y="14555"/>
                        </a:cubicBezTo>
                        <a:cubicBezTo>
                          <a:pt x="14399" y="17889"/>
                          <a:pt x="-6079" y="20651"/>
                          <a:pt x="1636" y="13984"/>
                        </a:cubicBezTo>
                        <a:cubicBezTo>
                          <a:pt x="9351" y="7316"/>
                          <a:pt x="31735" y="-3828"/>
                          <a:pt x="63072" y="1316"/>
                        </a:cubicBezTo>
                        <a:cubicBezTo>
                          <a:pt x="72788" y="2935"/>
                          <a:pt x="98029" y="9698"/>
                          <a:pt x="93552" y="2789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3" name="Freihandform: Form 252">
                    <a:extLst>
                      <a:ext uri="{FF2B5EF4-FFF2-40B4-BE49-F238E27FC236}">
                        <a16:creationId xmlns:a16="http://schemas.microsoft.com/office/drawing/2014/main" id="{26CCC20C-EBD4-6530-C86F-B4EB502DF340}"/>
                      </a:ext>
                    </a:extLst>
                  </p:cNvPr>
                  <p:cNvSpPr/>
                  <p:nvPr/>
                </p:nvSpPr>
                <p:spPr>
                  <a:xfrm>
                    <a:off x="2260681" y="819150"/>
                    <a:ext cx="573773" cy="615066"/>
                  </a:xfrm>
                  <a:custGeom>
                    <a:avLst/>
                    <a:gdLst>
                      <a:gd name="connsiteX0" fmla="*/ 571037 w 573773"/>
                      <a:gd name="connsiteY0" fmla="*/ 411480 h 615066"/>
                      <a:gd name="connsiteX1" fmla="*/ 488931 w 573773"/>
                      <a:gd name="connsiteY1" fmla="*/ 422814 h 615066"/>
                      <a:gd name="connsiteX2" fmla="*/ 407302 w 573773"/>
                      <a:gd name="connsiteY2" fmla="*/ 347853 h 615066"/>
                      <a:gd name="connsiteX3" fmla="*/ 286811 w 573773"/>
                      <a:gd name="connsiteY3" fmla="*/ 136398 h 615066"/>
                      <a:gd name="connsiteX4" fmla="*/ 54306 w 573773"/>
                      <a:gd name="connsiteY4" fmla="*/ 1809 h 615066"/>
                      <a:gd name="connsiteX5" fmla="*/ 10586 w 573773"/>
                      <a:gd name="connsiteY5" fmla="*/ 164687 h 615066"/>
                      <a:gd name="connsiteX6" fmla="*/ 89548 w 573773"/>
                      <a:gd name="connsiteY6" fmla="*/ 361950 h 615066"/>
                      <a:gd name="connsiteX7" fmla="*/ 172987 w 573773"/>
                      <a:gd name="connsiteY7" fmla="*/ 246888 h 615066"/>
                      <a:gd name="connsiteX8" fmla="*/ 287001 w 573773"/>
                      <a:gd name="connsiteY8" fmla="*/ 294417 h 615066"/>
                      <a:gd name="connsiteX9" fmla="*/ 325768 w 573773"/>
                      <a:gd name="connsiteY9" fmla="*/ 553402 h 615066"/>
                      <a:gd name="connsiteX10" fmla="*/ 417399 w 573773"/>
                      <a:gd name="connsiteY10" fmla="*/ 602075 h 615066"/>
                      <a:gd name="connsiteX11" fmla="*/ 524460 w 573773"/>
                      <a:gd name="connsiteY11" fmla="*/ 577119 h 615066"/>
                      <a:gd name="connsiteX12" fmla="*/ 526650 w 573773"/>
                      <a:gd name="connsiteY12" fmla="*/ 513588 h 615066"/>
                      <a:gd name="connsiteX13" fmla="*/ 526650 w 573773"/>
                      <a:gd name="connsiteY13" fmla="*/ 513873 h 615066"/>
                      <a:gd name="connsiteX14" fmla="*/ 539128 w 573773"/>
                      <a:gd name="connsiteY14" fmla="*/ 494252 h 615066"/>
                      <a:gd name="connsiteX15" fmla="*/ 540176 w 573773"/>
                      <a:gd name="connsiteY15" fmla="*/ 461962 h 615066"/>
                      <a:gd name="connsiteX16" fmla="*/ 571132 w 573773"/>
                      <a:gd name="connsiteY16" fmla="*/ 411480 h 6150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573773" h="615066">
                        <a:moveTo>
                          <a:pt x="571037" y="411480"/>
                        </a:moveTo>
                        <a:cubicBezTo>
                          <a:pt x="570275" y="402717"/>
                          <a:pt x="553130" y="387000"/>
                          <a:pt x="488931" y="422814"/>
                        </a:cubicBezTo>
                        <a:cubicBezTo>
                          <a:pt x="471120" y="432720"/>
                          <a:pt x="451593" y="369951"/>
                          <a:pt x="407302" y="347853"/>
                        </a:cubicBezTo>
                        <a:cubicBezTo>
                          <a:pt x="286620" y="287750"/>
                          <a:pt x="395205" y="216979"/>
                          <a:pt x="286811" y="136398"/>
                        </a:cubicBezTo>
                        <a:cubicBezTo>
                          <a:pt x="218040" y="85344"/>
                          <a:pt x="135078" y="110109"/>
                          <a:pt x="54306" y="1809"/>
                        </a:cubicBezTo>
                        <a:cubicBezTo>
                          <a:pt x="40875" y="-16098"/>
                          <a:pt x="-25419" y="103346"/>
                          <a:pt x="10586" y="164687"/>
                        </a:cubicBezTo>
                        <a:cubicBezTo>
                          <a:pt x="96501" y="311086"/>
                          <a:pt x="89548" y="361950"/>
                          <a:pt x="89548" y="361950"/>
                        </a:cubicBezTo>
                        <a:cubicBezTo>
                          <a:pt x="89548" y="361950"/>
                          <a:pt x="190608" y="336899"/>
                          <a:pt x="172987" y="246888"/>
                        </a:cubicBezTo>
                        <a:cubicBezTo>
                          <a:pt x="170987" y="170592"/>
                          <a:pt x="296622" y="190023"/>
                          <a:pt x="287001" y="294417"/>
                        </a:cubicBezTo>
                        <a:cubicBezTo>
                          <a:pt x="287001" y="318801"/>
                          <a:pt x="174702" y="503967"/>
                          <a:pt x="325768" y="553402"/>
                        </a:cubicBezTo>
                        <a:cubicBezTo>
                          <a:pt x="349485" y="561117"/>
                          <a:pt x="385585" y="581977"/>
                          <a:pt x="417399" y="602075"/>
                        </a:cubicBezTo>
                        <a:cubicBezTo>
                          <a:pt x="456832" y="626840"/>
                          <a:pt x="511220" y="614934"/>
                          <a:pt x="524460" y="577119"/>
                        </a:cubicBezTo>
                        <a:cubicBezTo>
                          <a:pt x="537699" y="539305"/>
                          <a:pt x="522650" y="528637"/>
                          <a:pt x="526650" y="513588"/>
                        </a:cubicBezTo>
                        <a:lnTo>
                          <a:pt x="526650" y="513873"/>
                        </a:lnTo>
                        <a:cubicBezTo>
                          <a:pt x="526650" y="513873"/>
                          <a:pt x="529603" y="505301"/>
                          <a:pt x="539128" y="494252"/>
                        </a:cubicBezTo>
                        <a:cubicBezTo>
                          <a:pt x="550653" y="480726"/>
                          <a:pt x="557035" y="467296"/>
                          <a:pt x="540176" y="461962"/>
                        </a:cubicBezTo>
                        <a:cubicBezTo>
                          <a:pt x="586467" y="461962"/>
                          <a:pt x="571608" y="417671"/>
                          <a:pt x="571132" y="41148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4" name="Freihandform: Form 253">
                    <a:extLst>
                      <a:ext uri="{FF2B5EF4-FFF2-40B4-BE49-F238E27FC236}">
                        <a16:creationId xmlns:a16="http://schemas.microsoft.com/office/drawing/2014/main" id="{F1A27229-4673-2357-12FB-11C9BBF622D6}"/>
                      </a:ext>
                    </a:extLst>
                  </p:cNvPr>
                  <p:cNvSpPr/>
                  <p:nvPr/>
                </p:nvSpPr>
                <p:spPr>
                  <a:xfrm rot="-571800">
                    <a:off x="2433554" y="969703"/>
                    <a:ext cx="118871" cy="184403"/>
                  </a:xfrm>
                  <a:custGeom>
                    <a:avLst/>
                    <a:gdLst>
                      <a:gd name="connsiteX0" fmla="*/ 118872 w 118871"/>
                      <a:gd name="connsiteY0" fmla="*/ 92202 h 184403"/>
                      <a:gd name="connsiteX1" fmla="*/ 59436 w 118871"/>
                      <a:gd name="connsiteY1" fmla="*/ 184404 h 184403"/>
                      <a:gd name="connsiteX2" fmla="*/ 0 w 118871"/>
                      <a:gd name="connsiteY2" fmla="*/ 92202 h 184403"/>
                      <a:gd name="connsiteX3" fmla="*/ 59436 w 118871"/>
                      <a:gd name="connsiteY3" fmla="*/ 0 h 184403"/>
                      <a:gd name="connsiteX4" fmla="*/ 118872 w 118871"/>
                      <a:gd name="connsiteY4" fmla="*/ 92202 h 1844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8871" h="184403">
                        <a:moveTo>
                          <a:pt x="118872" y="92202"/>
                        </a:moveTo>
                        <a:cubicBezTo>
                          <a:pt x="118872" y="143124"/>
                          <a:pt x="92262" y="184404"/>
                          <a:pt x="59436" y="184404"/>
                        </a:cubicBezTo>
                        <a:cubicBezTo>
                          <a:pt x="26610" y="184404"/>
                          <a:pt x="0" y="143124"/>
                          <a:pt x="0" y="92202"/>
                        </a:cubicBezTo>
                        <a:cubicBezTo>
                          <a:pt x="0" y="41280"/>
                          <a:pt x="26610" y="0"/>
                          <a:pt x="59436" y="0"/>
                        </a:cubicBezTo>
                        <a:cubicBezTo>
                          <a:pt x="92262" y="0"/>
                          <a:pt x="118872" y="41280"/>
                          <a:pt x="118872" y="92202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55" name="Grafik 23">
                  <a:extLst>
                    <a:ext uri="{FF2B5EF4-FFF2-40B4-BE49-F238E27FC236}">
                      <a16:creationId xmlns:a16="http://schemas.microsoft.com/office/drawing/2014/main" id="{F7FE7705-1064-EA28-F7F1-66782B31F3AF}"/>
                    </a:ext>
                  </a:extLst>
                </p:cNvPr>
                <p:cNvGrpSpPr/>
                <p:nvPr/>
              </p:nvGrpSpPr>
              <p:grpSpPr>
                <a:xfrm>
                  <a:off x="1967227" y="1280636"/>
                  <a:ext cx="1281425" cy="4889010"/>
                  <a:chOff x="1967227" y="1280636"/>
                  <a:chExt cx="1281425" cy="4889010"/>
                </a:xfrm>
              </p:grpSpPr>
              <p:grpSp>
                <p:nvGrpSpPr>
                  <p:cNvPr id="256" name="Grafik 23">
                    <a:extLst>
                      <a:ext uri="{FF2B5EF4-FFF2-40B4-BE49-F238E27FC236}">
                        <a16:creationId xmlns:a16="http://schemas.microsoft.com/office/drawing/2014/main" id="{6C63F765-CF1A-1318-1F3F-35056B27A344}"/>
                      </a:ext>
                    </a:extLst>
                  </p:cNvPr>
                  <p:cNvGrpSpPr/>
                  <p:nvPr/>
                </p:nvGrpSpPr>
                <p:grpSpPr>
                  <a:xfrm>
                    <a:off x="2381090" y="5797515"/>
                    <a:ext cx="867562" cy="295551"/>
                    <a:chOff x="2381090" y="5797515"/>
                    <a:chExt cx="867562" cy="295551"/>
                  </a:xfrm>
                </p:grpSpPr>
                <p:sp>
                  <p:nvSpPr>
                    <p:cNvPr id="257" name="Freihandform: Form 256">
                      <a:extLst>
                        <a:ext uri="{FF2B5EF4-FFF2-40B4-BE49-F238E27FC236}">
                          <a16:creationId xmlns:a16="http://schemas.microsoft.com/office/drawing/2014/main" id="{27A1098B-A7B3-FFE8-9E4B-274EE3DD1C5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81199" y="5797515"/>
                      <a:ext cx="865764" cy="289407"/>
                    </a:xfrm>
                    <a:custGeom>
                      <a:avLst/>
                      <a:gdLst>
                        <a:gd name="connsiteX0" fmla="*/ 60851 w 865764"/>
                        <a:gd name="connsiteY0" fmla="*/ 28546 h 289407"/>
                        <a:gd name="connsiteX1" fmla="*/ 82 w 865764"/>
                        <a:gd name="connsiteY1" fmla="*/ 170088 h 289407"/>
                        <a:gd name="connsiteX2" fmla="*/ 5702 w 865764"/>
                        <a:gd name="connsiteY2" fmla="*/ 253908 h 289407"/>
                        <a:gd name="connsiteX3" fmla="*/ 30371 w 865764"/>
                        <a:gd name="connsiteY3" fmla="*/ 276863 h 289407"/>
                        <a:gd name="connsiteX4" fmla="*/ 811136 w 865764"/>
                        <a:gd name="connsiteY4" fmla="*/ 249717 h 289407"/>
                        <a:gd name="connsiteX5" fmla="*/ 823899 w 865764"/>
                        <a:gd name="connsiteY5" fmla="*/ 132750 h 289407"/>
                        <a:gd name="connsiteX6" fmla="*/ 534625 w 865764"/>
                        <a:gd name="connsiteY6" fmla="*/ 83696 h 289407"/>
                        <a:gd name="connsiteX7" fmla="*/ 329837 w 865764"/>
                        <a:gd name="connsiteY7" fmla="*/ 829 h 289407"/>
                        <a:gd name="connsiteX8" fmla="*/ 273068 w 865764"/>
                        <a:gd name="connsiteY8" fmla="*/ 56931 h 289407"/>
                        <a:gd name="connsiteX9" fmla="*/ 140195 w 865764"/>
                        <a:gd name="connsiteY9" fmla="*/ 56931 h 289407"/>
                        <a:gd name="connsiteX10" fmla="*/ 60756 w 865764"/>
                        <a:gd name="connsiteY10" fmla="*/ 28546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60851" y="28546"/>
                          </a:moveTo>
                          <a:cubicBezTo>
                            <a:pt x="60851" y="28546"/>
                            <a:pt x="-2585" y="92078"/>
                            <a:pt x="82" y="170088"/>
                          </a:cubicBezTo>
                          <a:cubicBezTo>
                            <a:pt x="1511" y="210474"/>
                            <a:pt x="3797" y="237335"/>
                            <a:pt x="5702" y="253908"/>
                          </a:cubicBezTo>
                          <a:cubicBezTo>
                            <a:pt x="7130" y="266576"/>
                            <a:pt x="17608" y="276292"/>
                            <a:pt x="30371" y="276863"/>
                          </a:cubicBezTo>
                          <a:cubicBezTo>
                            <a:pt x="138956" y="281626"/>
                            <a:pt x="690740" y="314487"/>
                            <a:pt x="811136" y="249717"/>
                          </a:cubicBezTo>
                          <a:cubicBezTo>
                            <a:pt x="926102" y="187900"/>
                            <a:pt x="823899" y="132750"/>
                            <a:pt x="823899" y="132750"/>
                          </a:cubicBezTo>
                          <a:cubicBezTo>
                            <a:pt x="823899" y="132750"/>
                            <a:pt x="648925" y="152753"/>
                            <a:pt x="534625" y="83696"/>
                          </a:cubicBezTo>
                          <a:cubicBezTo>
                            <a:pt x="432898" y="22260"/>
                            <a:pt x="348030" y="-5267"/>
                            <a:pt x="329837" y="829"/>
                          </a:cubicBezTo>
                          <a:cubicBezTo>
                            <a:pt x="311645" y="6925"/>
                            <a:pt x="305263" y="35500"/>
                            <a:pt x="273068" y="56931"/>
                          </a:cubicBezTo>
                          <a:cubicBezTo>
                            <a:pt x="240779" y="78458"/>
                            <a:pt x="202012" y="78458"/>
                            <a:pt x="140195" y="56931"/>
                          </a:cubicBezTo>
                          <a:cubicBezTo>
                            <a:pt x="78377" y="35405"/>
                            <a:pt x="79616" y="20450"/>
                            <a:pt x="60756" y="28546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58" name="Freihandform: Form 257">
                      <a:extLst>
                        <a:ext uri="{FF2B5EF4-FFF2-40B4-BE49-F238E27FC236}">
                          <a16:creationId xmlns:a16="http://schemas.microsoft.com/office/drawing/2014/main" id="{F4E565F6-3A99-1D3C-3825-74D8658060E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81090" y="5939885"/>
                      <a:ext cx="867562" cy="153181"/>
                    </a:xfrm>
                    <a:custGeom>
                      <a:avLst/>
                      <a:gdLst>
                        <a:gd name="connsiteX0" fmla="*/ 30099 w 867562"/>
                        <a:gd name="connsiteY0" fmla="*/ 153162 h 153181"/>
                        <a:gd name="connsiteX1" fmla="*/ 692658 w 867562"/>
                        <a:gd name="connsiteY1" fmla="*/ 152781 h 153181"/>
                        <a:gd name="connsiteX2" fmla="*/ 811816 w 867562"/>
                        <a:gd name="connsiteY2" fmla="*/ 116396 h 153181"/>
                        <a:gd name="connsiteX3" fmla="*/ 838962 w 867562"/>
                        <a:gd name="connsiteY3" fmla="*/ 0 h 153181"/>
                        <a:gd name="connsiteX4" fmla="*/ 798862 w 867562"/>
                        <a:gd name="connsiteY4" fmla="*/ 42291 h 153181"/>
                        <a:gd name="connsiteX5" fmla="*/ 0 w 867562"/>
                        <a:gd name="connsiteY5" fmla="*/ 51245 h 153181"/>
                        <a:gd name="connsiteX6" fmla="*/ 5239 w 867562"/>
                        <a:gd name="connsiteY6" fmla="*/ 130016 h 153181"/>
                        <a:gd name="connsiteX7" fmla="*/ 30004 w 867562"/>
                        <a:gd name="connsiteY7" fmla="*/ 153162 h 1531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1">
                          <a:moveTo>
                            <a:pt x="30099" y="153162"/>
                          </a:moveTo>
                          <a:cubicBezTo>
                            <a:pt x="32575" y="153258"/>
                            <a:pt x="690563" y="152971"/>
                            <a:pt x="692658" y="152781"/>
                          </a:cubicBezTo>
                          <a:cubicBezTo>
                            <a:pt x="751237" y="147066"/>
                            <a:pt x="787813" y="129350"/>
                            <a:pt x="811816" y="116396"/>
                          </a:cubicBezTo>
                          <a:cubicBezTo>
                            <a:pt x="897922" y="70104"/>
                            <a:pt x="865251" y="15907"/>
                            <a:pt x="838962" y="0"/>
                          </a:cubicBezTo>
                          <a:cubicBezTo>
                            <a:pt x="830390" y="9430"/>
                            <a:pt x="817531" y="32290"/>
                            <a:pt x="798862" y="42291"/>
                          </a:cubicBezTo>
                          <a:cubicBezTo>
                            <a:pt x="671703" y="110680"/>
                            <a:pt x="68390" y="56483"/>
                            <a:pt x="0" y="51245"/>
                          </a:cubicBezTo>
                          <a:cubicBezTo>
                            <a:pt x="1429" y="85630"/>
                            <a:pt x="3429" y="114871"/>
                            <a:pt x="5239" y="130016"/>
                          </a:cubicBezTo>
                          <a:cubicBezTo>
                            <a:pt x="6667" y="142780"/>
                            <a:pt x="17145" y="152591"/>
                            <a:pt x="30004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259" name="Grafik 23">
                    <a:extLst>
                      <a:ext uri="{FF2B5EF4-FFF2-40B4-BE49-F238E27FC236}">
                        <a16:creationId xmlns:a16="http://schemas.microsoft.com/office/drawing/2014/main" id="{482C39C2-0757-555B-65E6-2D198C43F9CA}"/>
                      </a:ext>
                    </a:extLst>
                  </p:cNvPr>
                  <p:cNvGrpSpPr/>
                  <p:nvPr/>
                </p:nvGrpSpPr>
                <p:grpSpPr>
                  <a:xfrm>
                    <a:off x="2220308" y="5874095"/>
                    <a:ext cx="867562" cy="295551"/>
                    <a:chOff x="2220308" y="5874095"/>
                    <a:chExt cx="867562" cy="295551"/>
                  </a:xfrm>
                </p:grpSpPr>
                <p:sp>
                  <p:nvSpPr>
                    <p:cNvPr id="260" name="Freihandform: Form 259">
                      <a:extLst>
                        <a:ext uri="{FF2B5EF4-FFF2-40B4-BE49-F238E27FC236}">
                          <a16:creationId xmlns:a16="http://schemas.microsoft.com/office/drawing/2014/main" id="{92719891-5E70-F219-9BD4-0C93A783FB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20512" y="5874095"/>
                      <a:ext cx="865764" cy="289407"/>
                    </a:xfrm>
                    <a:custGeom>
                      <a:avLst/>
                      <a:gdLst>
                        <a:gd name="connsiteX0" fmla="*/ 60851 w 865764"/>
                        <a:gd name="connsiteY0" fmla="*/ 28547 h 289407"/>
                        <a:gd name="connsiteX1" fmla="*/ 82 w 865764"/>
                        <a:gd name="connsiteY1" fmla="*/ 170088 h 289407"/>
                        <a:gd name="connsiteX2" fmla="*/ 5702 w 865764"/>
                        <a:gd name="connsiteY2" fmla="*/ 253908 h 289407"/>
                        <a:gd name="connsiteX3" fmla="*/ 30371 w 865764"/>
                        <a:gd name="connsiteY3" fmla="*/ 276864 h 289407"/>
                        <a:gd name="connsiteX4" fmla="*/ 811136 w 865764"/>
                        <a:gd name="connsiteY4" fmla="*/ 249717 h 289407"/>
                        <a:gd name="connsiteX5" fmla="*/ 823899 w 865764"/>
                        <a:gd name="connsiteY5" fmla="*/ 132750 h 289407"/>
                        <a:gd name="connsiteX6" fmla="*/ 534625 w 865764"/>
                        <a:gd name="connsiteY6" fmla="*/ 83696 h 289407"/>
                        <a:gd name="connsiteX7" fmla="*/ 329837 w 865764"/>
                        <a:gd name="connsiteY7" fmla="*/ 829 h 289407"/>
                        <a:gd name="connsiteX8" fmla="*/ 273068 w 865764"/>
                        <a:gd name="connsiteY8" fmla="*/ 56931 h 289407"/>
                        <a:gd name="connsiteX9" fmla="*/ 140195 w 865764"/>
                        <a:gd name="connsiteY9" fmla="*/ 56931 h 289407"/>
                        <a:gd name="connsiteX10" fmla="*/ 60756 w 865764"/>
                        <a:gd name="connsiteY10" fmla="*/ 28547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60851" y="28547"/>
                          </a:moveTo>
                          <a:cubicBezTo>
                            <a:pt x="60851" y="28547"/>
                            <a:pt x="-2585" y="92078"/>
                            <a:pt x="82" y="170088"/>
                          </a:cubicBezTo>
                          <a:cubicBezTo>
                            <a:pt x="1511" y="210474"/>
                            <a:pt x="3797" y="237335"/>
                            <a:pt x="5702" y="253908"/>
                          </a:cubicBezTo>
                          <a:cubicBezTo>
                            <a:pt x="7130" y="266576"/>
                            <a:pt x="17608" y="276292"/>
                            <a:pt x="30371" y="276864"/>
                          </a:cubicBezTo>
                          <a:cubicBezTo>
                            <a:pt x="138956" y="281626"/>
                            <a:pt x="690740" y="314487"/>
                            <a:pt x="811136" y="249717"/>
                          </a:cubicBezTo>
                          <a:cubicBezTo>
                            <a:pt x="926102" y="187900"/>
                            <a:pt x="823899" y="132750"/>
                            <a:pt x="823899" y="132750"/>
                          </a:cubicBezTo>
                          <a:cubicBezTo>
                            <a:pt x="823899" y="132750"/>
                            <a:pt x="648925" y="152752"/>
                            <a:pt x="534625" y="83696"/>
                          </a:cubicBezTo>
                          <a:cubicBezTo>
                            <a:pt x="432898" y="22260"/>
                            <a:pt x="348030" y="-5267"/>
                            <a:pt x="329837" y="829"/>
                          </a:cubicBezTo>
                          <a:cubicBezTo>
                            <a:pt x="311645" y="6925"/>
                            <a:pt x="305263" y="35500"/>
                            <a:pt x="273068" y="56931"/>
                          </a:cubicBezTo>
                          <a:cubicBezTo>
                            <a:pt x="240779" y="78458"/>
                            <a:pt x="202012" y="78458"/>
                            <a:pt x="140195" y="56931"/>
                          </a:cubicBezTo>
                          <a:cubicBezTo>
                            <a:pt x="78377" y="35404"/>
                            <a:pt x="79616" y="20450"/>
                            <a:pt x="60756" y="28547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61" name="Freihandform: Form 260">
                      <a:extLst>
                        <a:ext uri="{FF2B5EF4-FFF2-40B4-BE49-F238E27FC236}">
                          <a16:creationId xmlns:a16="http://schemas.microsoft.com/office/drawing/2014/main" id="{93D2A8AB-0D21-E446-2E02-EE7201B84B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20308" y="6016466"/>
                      <a:ext cx="867562" cy="153180"/>
                    </a:xfrm>
                    <a:custGeom>
                      <a:avLst/>
                      <a:gdLst>
                        <a:gd name="connsiteX0" fmla="*/ 30099 w 867562"/>
                        <a:gd name="connsiteY0" fmla="*/ 153162 h 153180"/>
                        <a:gd name="connsiteX1" fmla="*/ 692658 w 867562"/>
                        <a:gd name="connsiteY1" fmla="*/ 152781 h 153180"/>
                        <a:gd name="connsiteX2" fmla="*/ 811816 w 867562"/>
                        <a:gd name="connsiteY2" fmla="*/ 116395 h 153180"/>
                        <a:gd name="connsiteX3" fmla="*/ 838962 w 867562"/>
                        <a:gd name="connsiteY3" fmla="*/ 0 h 153180"/>
                        <a:gd name="connsiteX4" fmla="*/ 798862 w 867562"/>
                        <a:gd name="connsiteY4" fmla="*/ 42291 h 153180"/>
                        <a:gd name="connsiteX5" fmla="*/ 0 w 867562"/>
                        <a:gd name="connsiteY5" fmla="*/ 51245 h 153180"/>
                        <a:gd name="connsiteX6" fmla="*/ 5239 w 867562"/>
                        <a:gd name="connsiteY6" fmla="*/ 130016 h 153180"/>
                        <a:gd name="connsiteX7" fmla="*/ 30004 w 867562"/>
                        <a:gd name="connsiteY7" fmla="*/ 153162 h 15318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0">
                          <a:moveTo>
                            <a:pt x="30099" y="153162"/>
                          </a:moveTo>
                          <a:cubicBezTo>
                            <a:pt x="32575" y="153257"/>
                            <a:pt x="690562" y="152971"/>
                            <a:pt x="692658" y="152781"/>
                          </a:cubicBezTo>
                          <a:cubicBezTo>
                            <a:pt x="751237" y="147066"/>
                            <a:pt x="787813" y="129349"/>
                            <a:pt x="811816" y="116395"/>
                          </a:cubicBezTo>
                          <a:cubicBezTo>
                            <a:pt x="897922" y="70104"/>
                            <a:pt x="865251" y="15907"/>
                            <a:pt x="838962" y="0"/>
                          </a:cubicBezTo>
                          <a:cubicBezTo>
                            <a:pt x="830389" y="9430"/>
                            <a:pt x="817531" y="32289"/>
                            <a:pt x="798862" y="42291"/>
                          </a:cubicBezTo>
                          <a:cubicBezTo>
                            <a:pt x="671703" y="110680"/>
                            <a:pt x="68390" y="56483"/>
                            <a:pt x="0" y="51245"/>
                          </a:cubicBezTo>
                          <a:cubicBezTo>
                            <a:pt x="1429" y="85630"/>
                            <a:pt x="3429" y="114871"/>
                            <a:pt x="5239" y="130016"/>
                          </a:cubicBezTo>
                          <a:cubicBezTo>
                            <a:pt x="6668" y="142780"/>
                            <a:pt x="17145" y="152590"/>
                            <a:pt x="30004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262" name="Freihandform: Form 261">
                    <a:extLst>
                      <a:ext uri="{FF2B5EF4-FFF2-40B4-BE49-F238E27FC236}">
                        <a16:creationId xmlns:a16="http://schemas.microsoft.com/office/drawing/2014/main" id="{04E6D737-F755-ADED-F060-4DE62DE3917B}"/>
                      </a:ext>
                    </a:extLst>
                  </p:cNvPr>
                  <p:cNvSpPr/>
                  <p:nvPr/>
                </p:nvSpPr>
                <p:spPr>
                  <a:xfrm>
                    <a:off x="2143233" y="2862833"/>
                    <a:ext cx="819357" cy="1885252"/>
                  </a:xfrm>
                  <a:custGeom>
                    <a:avLst/>
                    <a:gdLst>
                      <a:gd name="connsiteX0" fmla="*/ 37165 w 819357"/>
                      <a:gd name="connsiteY0" fmla="*/ 78581 h 1885252"/>
                      <a:gd name="connsiteX1" fmla="*/ 704010 w 819357"/>
                      <a:gd name="connsiteY1" fmla="*/ 0 h 1885252"/>
                      <a:gd name="connsiteX2" fmla="*/ 802594 w 819357"/>
                      <a:gd name="connsiteY2" fmla="*/ 936117 h 1885252"/>
                      <a:gd name="connsiteX3" fmla="*/ 811167 w 819357"/>
                      <a:gd name="connsiteY3" fmla="*/ 1804130 h 1885252"/>
                      <a:gd name="connsiteX4" fmla="*/ 296436 w 819357"/>
                      <a:gd name="connsiteY4" fmla="*/ 1843659 h 1885252"/>
                      <a:gd name="connsiteX5" fmla="*/ 37070 w 819357"/>
                      <a:gd name="connsiteY5" fmla="*/ 78677 h 1885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9357" h="1885252">
                        <a:moveTo>
                          <a:pt x="37165" y="78581"/>
                        </a:moveTo>
                        <a:cubicBezTo>
                          <a:pt x="46595" y="79820"/>
                          <a:pt x="704010" y="0"/>
                          <a:pt x="704010" y="0"/>
                        </a:cubicBezTo>
                        <a:cubicBezTo>
                          <a:pt x="704010" y="0"/>
                          <a:pt x="794307" y="770858"/>
                          <a:pt x="802594" y="936117"/>
                        </a:cubicBezTo>
                        <a:cubicBezTo>
                          <a:pt x="834408" y="1569434"/>
                          <a:pt x="811167" y="1804130"/>
                          <a:pt x="811167" y="1804130"/>
                        </a:cubicBezTo>
                        <a:cubicBezTo>
                          <a:pt x="664291" y="1911477"/>
                          <a:pt x="461599" y="1898809"/>
                          <a:pt x="296436" y="1843659"/>
                        </a:cubicBezTo>
                        <a:cubicBezTo>
                          <a:pt x="183850" y="1122045"/>
                          <a:pt x="-101233" y="808292"/>
                          <a:pt x="37070" y="78677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3" name="Freihandform: Form 262">
                    <a:extLst>
                      <a:ext uri="{FF2B5EF4-FFF2-40B4-BE49-F238E27FC236}">
                        <a16:creationId xmlns:a16="http://schemas.microsoft.com/office/drawing/2014/main" id="{782DA1B6-7ED7-3909-0ACF-1771ED776950}"/>
                      </a:ext>
                    </a:extLst>
                  </p:cNvPr>
                  <p:cNvSpPr/>
                  <p:nvPr/>
                </p:nvSpPr>
                <p:spPr>
                  <a:xfrm>
                    <a:off x="2334164" y="4557019"/>
                    <a:ext cx="619855" cy="1372578"/>
                  </a:xfrm>
                  <a:custGeom>
                    <a:avLst/>
                    <a:gdLst>
                      <a:gd name="connsiteX0" fmla="*/ 104648 w 619855"/>
                      <a:gd name="connsiteY0" fmla="*/ 57557 h 1372578"/>
                      <a:gd name="connsiteX1" fmla="*/ 19494 w 619855"/>
                      <a:gd name="connsiteY1" fmla="*/ 1049776 h 1372578"/>
                      <a:gd name="connsiteX2" fmla="*/ 52165 w 619855"/>
                      <a:gd name="connsiteY2" fmla="*/ 1372197 h 1372578"/>
                      <a:gd name="connsiteX3" fmla="*/ 356013 w 619855"/>
                      <a:gd name="connsiteY3" fmla="*/ 1339050 h 1372578"/>
                      <a:gd name="connsiteX4" fmla="*/ 569182 w 619855"/>
                      <a:gd name="connsiteY4" fmla="*/ 1316572 h 1372578"/>
                      <a:gd name="connsiteX5" fmla="*/ 557466 w 619855"/>
                      <a:gd name="connsiteY5" fmla="*/ 861848 h 1372578"/>
                      <a:gd name="connsiteX6" fmla="*/ 619855 w 619855"/>
                      <a:gd name="connsiteY6" fmla="*/ 115945 h 1372578"/>
                      <a:gd name="connsiteX7" fmla="*/ 104553 w 619855"/>
                      <a:gd name="connsiteY7" fmla="*/ 57461 h 13725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19855" h="1372578">
                        <a:moveTo>
                          <a:pt x="104648" y="57557"/>
                        </a:moveTo>
                        <a:cubicBezTo>
                          <a:pt x="14065" y="416935"/>
                          <a:pt x="36830" y="870706"/>
                          <a:pt x="19494" y="1049776"/>
                        </a:cubicBezTo>
                        <a:cubicBezTo>
                          <a:pt x="8922" y="1159123"/>
                          <a:pt x="-32607" y="1383056"/>
                          <a:pt x="52165" y="1372197"/>
                        </a:cubicBezTo>
                        <a:cubicBezTo>
                          <a:pt x="115983" y="1358672"/>
                          <a:pt x="228187" y="1349718"/>
                          <a:pt x="356013" y="1339050"/>
                        </a:cubicBezTo>
                        <a:cubicBezTo>
                          <a:pt x="483838" y="1328287"/>
                          <a:pt x="569182" y="1316572"/>
                          <a:pt x="569182" y="1316572"/>
                        </a:cubicBezTo>
                        <a:cubicBezTo>
                          <a:pt x="569182" y="1316572"/>
                          <a:pt x="555752" y="917855"/>
                          <a:pt x="557466" y="861848"/>
                        </a:cubicBezTo>
                        <a:cubicBezTo>
                          <a:pt x="559181" y="805841"/>
                          <a:pt x="619855" y="115945"/>
                          <a:pt x="619855" y="115945"/>
                        </a:cubicBezTo>
                        <a:cubicBezTo>
                          <a:pt x="465550" y="5169"/>
                          <a:pt x="266668" y="-48933"/>
                          <a:pt x="104553" y="57461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4" name="Freihandform: Form 263">
                    <a:extLst>
                      <a:ext uri="{FF2B5EF4-FFF2-40B4-BE49-F238E27FC236}">
                        <a16:creationId xmlns:a16="http://schemas.microsoft.com/office/drawing/2014/main" id="{C0548BFA-03A8-616F-D0E9-436261FB0DB1}"/>
                      </a:ext>
                    </a:extLst>
                  </p:cNvPr>
                  <p:cNvSpPr/>
                  <p:nvPr/>
                </p:nvSpPr>
                <p:spPr>
                  <a:xfrm>
                    <a:off x="2435192" y="4398359"/>
                    <a:ext cx="519303" cy="519302"/>
                  </a:xfrm>
                  <a:custGeom>
                    <a:avLst/>
                    <a:gdLst>
                      <a:gd name="connsiteX0" fmla="*/ 519303 w 519303"/>
                      <a:gd name="connsiteY0" fmla="*/ 259651 h 519302"/>
                      <a:gd name="connsiteX1" fmla="*/ 259651 w 519303"/>
                      <a:gd name="connsiteY1" fmla="*/ 519303 h 519302"/>
                      <a:gd name="connsiteX2" fmla="*/ 0 w 519303"/>
                      <a:gd name="connsiteY2" fmla="*/ 259651 h 519302"/>
                      <a:gd name="connsiteX3" fmla="*/ 259651 w 519303"/>
                      <a:gd name="connsiteY3" fmla="*/ 0 h 519302"/>
                      <a:gd name="connsiteX4" fmla="*/ 519303 w 519303"/>
                      <a:gd name="connsiteY4" fmla="*/ 259651 h 519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9303" h="519302">
                        <a:moveTo>
                          <a:pt x="519303" y="259651"/>
                        </a:moveTo>
                        <a:cubicBezTo>
                          <a:pt x="519303" y="403053"/>
                          <a:pt x="403053" y="519303"/>
                          <a:pt x="259651" y="519303"/>
                        </a:cubicBezTo>
                        <a:cubicBezTo>
                          <a:pt x="116250" y="519303"/>
                          <a:pt x="0" y="403053"/>
                          <a:pt x="0" y="259651"/>
                        </a:cubicBezTo>
                        <a:cubicBezTo>
                          <a:pt x="0" y="116250"/>
                          <a:pt x="116250" y="0"/>
                          <a:pt x="259651" y="0"/>
                        </a:cubicBezTo>
                        <a:cubicBezTo>
                          <a:pt x="403053" y="0"/>
                          <a:pt x="519303" y="116250"/>
                          <a:pt x="519303" y="259651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5" name="Freihandform: Form 264">
                    <a:extLst>
                      <a:ext uri="{FF2B5EF4-FFF2-40B4-BE49-F238E27FC236}">
                        <a16:creationId xmlns:a16="http://schemas.microsoft.com/office/drawing/2014/main" id="{18AAA699-06B5-66F8-B231-A687872C2DDB}"/>
                      </a:ext>
                    </a:extLst>
                  </p:cNvPr>
                  <p:cNvSpPr/>
                  <p:nvPr/>
                </p:nvSpPr>
                <p:spPr>
                  <a:xfrm>
                    <a:off x="2162261" y="2915792"/>
                    <a:ext cx="808712" cy="1916312"/>
                  </a:xfrm>
                  <a:custGeom>
                    <a:avLst/>
                    <a:gdLst>
                      <a:gd name="connsiteX0" fmla="*/ 138915 w 808712"/>
                      <a:gd name="connsiteY0" fmla="*/ 0 h 1916312"/>
                      <a:gd name="connsiteX1" fmla="*/ 808713 w 808712"/>
                      <a:gd name="connsiteY1" fmla="*/ 48196 h 1916312"/>
                      <a:gd name="connsiteX2" fmla="*/ 729465 w 808712"/>
                      <a:gd name="connsiteY2" fmla="*/ 986219 h 1916312"/>
                      <a:gd name="connsiteX3" fmla="*/ 567635 w 808712"/>
                      <a:gd name="connsiteY3" fmla="*/ 1871186 h 1916312"/>
                      <a:gd name="connsiteX4" fmla="*/ 58905 w 808712"/>
                      <a:gd name="connsiteY4" fmla="*/ 1834325 h 1916312"/>
                      <a:gd name="connsiteX5" fmla="*/ 138915 w 808712"/>
                      <a:gd name="connsiteY5" fmla="*/ 0 h 19163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08712" h="1916312">
                        <a:moveTo>
                          <a:pt x="138915" y="0"/>
                        </a:moveTo>
                        <a:cubicBezTo>
                          <a:pt x="147963" y="3048"/>
                          <a:pt x="808713" y="48196"/>
                          <a:pt x="808713" y="48196"/>
                        </a:cubicBezTo>
                        <a:cubicBezTo>
                          <a:pt x="808713" y="48196"/>
                          <a:pt x="752420" y="822293"/>
                          <a:pt x="729465" y="986219"/>
                        </a:cubicBezTo>
                        <a:cubicBezTo>
                          <a:pt x="641644" y="1614202"/>
                          <a:pt x="567635" y="1871186"/>
                          <a:pt x="567635" y="1871186"/>
                        </a:cubicBezTo>
                        <a:cubicBezTo>
                          <a:pt x="403138" y="1948910"/>
                          <a:pt x="210733" y="1919478"/>
                          <a:pt x="58905" y="1834325"/>
                        </a:cubicBezTo>
                        <a:cubicBezTo>
                          <a:pt x="84051" y="1104329"/>
                          <a:pt x="-134167" y="690658"/>
                          <a:pt x="138915" y="0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6" name="Freihandform: Form 265">
                    <a:extLst>
                      <a:ext uri="{FF2B5EF4-FFF2-40B4-BE49-F238E27FC236}">
                        <a16:creationId xmlns:a16="http://schemas.microsoft.com/office/drawing/2014/main" id="{E0C4D85F-380A-460E-2800-1BBD1AFDCA19}"/>
                      </a:ext>
                    </a:extLst>
                  </p:cNvPr>
                  <p:cNvSpPr/>
                  <p:nvPr/>
                </p:nvSpPr>
                <p:spPr>
                  <a:xfrm>
                    <a:off x="2163652" y="4675131"/>
                    <a:ext cx="566148" cy="1315331"/>
                  </a:xfrm>
                  <a:custGeom>
                    <a:avLst/>
                    <a:gdLst>
                      <a:gd name="connsiteX0" fmla="*/ 65134 w 566148"/>
                      <a:gd name="connsiteY0" fmla="*/ 1315332 h 1315331"/>
                      <a:gd name="connsiteX1" fmla="*/ 555385 w 566148"/>
                      <a:gd name="connsiteY1" fmla="*/ 1261801 h 1315331"/>
                      <a:gd name="connsiteX2" fmla="*/ 566149 w 566148"/>
                      <a:gd name="connsiteY2" fmla="*/ 104800 h 1315331"/>
                      <a:gd name="connsiteX3" fmla="*/ 59133 w 566148"/>
                      <a:gd name="connsiteY3" fmla="*/ 64414 h 1315331"/>
                      <a:gd name="connsiteX4" fmla="*/ 1602 w 566148"/>
                      <a:gd name="connsiteY4" fmla="*/ 1061014 h 1315331"/>
                      <a:gd name="connsiteX5" fmla="*/ 65134 w 566148"/>
                      <a:gd name="connsiteY5" fmla="*/ 1315236 h 13153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66148" h="1315331">
                        <a:moveTo>
                          <a:pt x="65134" y="1315332"/>
                        </a:moveTo>
                        <a:lnTo>
                          <a:pt x="555385" y="1261801"/>
                        </a:lnTo>
                        <a:cubicBezTo>
                          <a:pt x="554623" y="1243228"/>
                          <a:pt x="566149" y="104800"/>
                          <a:pt x="566149" y="104800"/>
                        </a:cubicBezTo>
                        <a:cubicBezTo>
                          <a:pt x="408605" y="-1309"/>
                          <a:pt x="217915" y="-46838"/>
                          <a:pt x="59133" y="64414"/>
                        </a:cubicBezTo>
                        <a:cubicBezTo>
                          <a:pt x="-20496" y="426364"/>
                          <a:pt x="13603" y="881468"/>
                          <a:pt x="1602" y="1061014"/>
                        </a:cubicBezTo>
                        <a:cubicBezTo>
                          <a:pt x="-5447" y="1167599"/>
                          <a:pt x="9889" y="1270374"/>
                          <a:pt x="65134" y="131523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7" name="Freihandform: Form 266">
                    <a:extLst>
                      <a:ext uri="{FF2B5EF4-FFF2-40B4-BE49-F238E27FC236}">
                        <a16:creationId xmlns:a16="http://schemas.microsoft.com/office/drawing/2014/main" id="{408F8DAD-9560-3A1F-6596-0AFAE6A24781}"/>
                      </a:ext>
                    </a:extLst>
                  </p:cNvPr>
                  <p:cNvSpPr/>
                  <p:nvPr/>
                </p:nvSpPr>
                <p:spPr>
                  <a:xfrm>
                    <a:off x="1967227" y="1412557"/>
                    <a:ext cx="1160432" cy="2831687"/>
                  </a:xfrm>
                  <a:custGeom>
                    <a:avLst/>
                    <a:gdLst>
                      <a:gd name="connsiteX0" fmla="*/ 66391 w 1160432"/>
                      <a:gd name="connsiteY0" fmla="*/ 2215706 h 2831687"/>
                      <a:gd name="connsiteX1" fmla="*/ 44102 w 1160432"/>
                      <a:gd name="connsiteY1" fmla="*/ 2831687 h 2831687"/>
                      <a:gd name="connsiteX2" fmla="*/ 1160432 w 1160432"/>
                      <a:gd name="connsiteY2" fmla="*/ 2831687 h 2831687"/>
                      <a:gd name="connsiteX3" fmla="*/ 1117189 w 1160432"/>
                      <a:gd name="connsiteY3" fmla="*/ 1805940 h 2831687"/>
                      <a:gd name="connsiteX4" fmla="*/ 988316 w 1160432"/>
                      <a:gd name="connsiteY4" fmla="*/ 539782 h 2831687"/>
                      <a:gd name="connsiteX5" fmla="*/ 717520 w 1160432"/>
                      <a:gd name="connsiteY5" fmla="*/ 135826 h 2831687"/>
                      <a:gd name="connsiteX6" fmla="*/ 256700 w 1160432"/>
                      <a:gd name="connsiteY6" fmla="*/ 0 h 2831687"/>
                      <a:gd name="connsiteX7" fmla="*/ 2 w 1160432"/>
                      <a:gd name="connsiteY7" fmla="*/ 399288 h 2831687"/>
                      <a:gd name="connsiteX8" fmla="*/ 99062 w 1160432"/>
                      <a:gd name="connsiteY8" fmla="*/ 1187863 h 2831687"/>
                      <a:gd name="connsiteX9" fmla="*/ 66296 w 1160432"/>
                      <a:gd name="connsiteY9" fmla="*/ 2215706 h 28316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160432" h="2831687">
                        <a:moveTo>
                          <a:pt x="66391" y="2215706"/>
                        </a:moveTo>
                        <a:cubicBezTo>
                          <a:pt x="54675" y="2418779"/>
                          <a:pt x="47055" y="2707386"/>
                          <a:pt x="44102" y="2831687"/>
                        </a:cubicBezTo>
                        <a:lnTo>
                          <a:pt x="1160432" y="2831687"/>
                        </a:lnTo>
                        <a:cubicBezTo>
                          <a:pt x="1152908" y="2688717"/>
                          <a:pt x="1132810" y="2286953"/>
                          <a:pt x="1117189" y="1805940"/>
                        </a:cubicBezTo>
                        <a:cubicBezTo>
                          <a:pt x="1097663" y="1202817"/>
                          <a:pt x="1001174" y="634460"/>
                          <a:pt x="988316" y="539782"/>
                        </a:cubicBezTo>
                        <a:cubicBezTo>
                          <a:pt x="970218" y="405860"/>
                          <a:pt x="717520" y="135826"/>
                          <a:pt x="717520" y="135826"/>
                        </a:cubicBezTo>
                        <a:lnTo>
                          <a:pt x="256700" y="0"/>
                        </a:lnTo>
                        <a:cubicBezTo>
                          <a:pt x="256700" y="0"/>
                          <a:pt x="-760" y="184499"/>
                          <a:pt x="2" y="399288"/>
                        </a:cubicBezTo>
                        <a:cubicBezTo>
                          <a:pt x="668" y="575119"/>
                          <a:pt x="99062" y="1187863"/>
                          <a:pt x="99062" y="1187863"/>
                        </a:cubicBezTo>
                        <a:cubicBezTo>
                          <a:pt x="99062" y="1187863"/>
                          <a:pt x="81631" y="1950244"/>
                          <a:pt x="66296" y="221570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8" name="Freihandform: Form 267">
                    <a:extLst>
                      <a:ext uri="{FF2B5EF4-FFF2-40B4-BE49-F238E27FC236}">
                        <a16:creationId xmlns:a16="http://schemas.microsoft.com/office/drawing/2014/main" id="{E3E2201C-3B47-4BC6-7553-2D806EE9F9D3}"/>
                      </a:ext>
                    </a:extLst>
                  </p:cNvPr>
                  <p:cNvSpPr/>
                  <p:nvPr/>
                </p:nvSpPr>
                <p:spPr>
                  <a:xfrm>
                    <a:off x="2203544" y="3205162"/>
                    <a:ext cx="634746" cy="581406"/>
                  </a:xfrm>
                  <a:custGeom>
                    <a:avLst/>
                    <a:gdLst>
                      <a:gd name="connsiteX0" fmla="*/ 634651 w 634746"/>
                      <a:gd name="connsiteY0" fmla="*/ 508730 h 581406"/>
                      <a:gd name="connsiteX1" fmla="*/ 0 w 634746"/>
                      <a:gd name="connsiteY1" fmla="*/ 550545 h 581406"/>
                      <a:gd name="connsiteX2" fmla="*/ 48292 w 634746"/>
                      <a:gd name="connsiteY2" fmla="*/ 0 h 581406"/>
                      <a:gd name="connsiteX3" fmla="*/ 456533 w 634746"/>
                      <a:gd name="connsiteY3" fmla="*/ 3143 h 581406"/>
                      <a:gd name="connsiteX4" fmla="*/ 634746 w 634746"/>
                      <a:gd name="connsiteY4" fmla="*/ 508730 h 5814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34746" h="581406">
                        <a:moveTo>
                          <a:pt x="634651" y="508730"/>
                        </a:moveTo>
                        <a:cubicBezTo>
                          <a:pt x="600742" y="589407"/>
                          <a:pt x="143828" y="602266"/>
                          <a:pt x="0" y="550545"/>
                        </a:cubicBezTo>
                        <a:lnTo>
                          <a:pt x="48292" y="0"/>
                        </a:lnTo>
                        <a:lnTo>
                          <a:pt x="456533" y="3143"/>
                        </a:lnTo>
                        <a:lnTo>
                          <a:pt x="634746" y="50873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9" name="Freihandform: Form 268">
                    <a:extLst>
                      <a:ext uri="{FF2B5EF4-FFF2-40B4-BE49-F238E27FC236}">
                        <a16:creationId xmlns:a16="http://schemas.microsoft.com/office/drawing/2014/main" id="{A3241696-2E1A-1194-F391-CF2118EE5430}"/>
                      </a:ext>
                    </a:extLst>
                  </p:cNvPr>
                  <p:cNvSpPr/>
                  <p:nvPr/>
                </p:nvSpPr>
                <p:spPr>
                  <a:xfrm>
                    <a:off x="2265362" y="3205162"/>
                    <a:ext cx="572833" cy="543657"/>
                  </a:xfrm>
                  <a:custGeom>
                    <a:avLst/>
                    <a:gdLst>
                      <a:gd name="connsiteX0" fmla="*/ 513302 w 572833"/>
                      <a:gd name="connsiteY0" fmla="*/ 0 h 543657"/>
                      <a:gd name="connsiteX1" fmla="*/ 572834 w 572833"/>
                      <a:gd name="connsiteY1" fmla="*/ 508730 h 543657"/>
                      <a:gd name="connsiteX2" fmla="*/ 0 w 572833"/>
                      <a:gd name="connsiteY2" fmla="*/ 518255 h 543657"/>
                      <a:gd name="connsiteX3" fmla="*/ 0 w 572833"/>
                      <a:gd name="connsiteY3" fmla="*/ 0 h 543657"/>
                      <a:gd name="connsiteX4" fmla="*/ 513302 w 572833"/>
                      <a:gd name="connsiteY4" fmla="*/ 0 h 5436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72833" h="543657">
                        <a:moveTo>
                          <a:pt x="513302" y="0"/>
                        </a:moveTo>
                        <a:cubicBezTo>
                          <a:pt x="513302" y="38005"/>
                          <a:pt x="572834" y="508730"/>
                          <a:pt x="572834" y="508730"/>
                        </a:cubicBezTo>
                        <a:cubicBezTo>
                          <a:pt x="397097" y="555022"/>
                          <a:pt x="204025" y="552260"/>
                          <a:pt x="0" y="518255"/>
                        </a:cubicBezTo>
                        <a:lnTo>
                          <a:pt x="0" y="0"/>
                        </a:lnTo>
                        <a:cubicBezTo>
                          <a:pt x="0" y="0"/>
                          <a:pt x="513302" y="0"/>
                          <a:pt x="513302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0" name="Freihandform: Form 269">
                    <a:extLst>
                      <a:ext uri="{FF2B5EF4-FFF2-40B4-BE49-F238E27FC236}">
                        <a16:creationId xmlns:a16="http://schemas.microsoft.com/office/drawing/2014/main" id="{C1624107-5BB4-1C8E-B299-E68F4B804CED}"/>
                      </a:ext>
                    </a:extLst>
                  </p:cNvPr>
                  <p:cNvSpPr/>
                  <p:nvPr/>
                </p:nvSpPr>
                <p:spPr>
                  <a:xfrm>
                    <a:off x="2049737" y="1674208"/>
                    <a:ext cx="709549" cy="1346632"/>
                  </a:xfrm>
                  <a:custGeom>
                    <a:avLst/>
                    <a:gdLst>
                      <a:gd name="connsiteX0" fmla="*/ 110944 w 709549"/>
                      <a:gd name="connsiteY0" fmla="*/ 1154241 h 1346632"/>
                      <a:gd name="connsiteX1" fmla="*/ 556048 w 709549"/>
                      <a:gd name="connsiteY1" fmla="*/ 1339883 h 1346632"/>
                      <a:gd name="connsiteX2" fmla="*/ 707686 w 709549"/>
                      <a:gd name="connsiteY2" fmla="*/ 1232727 h 1346632"/>
                      <a:gd name="connsiteX3" fmla="*/ 430413 w 709549"/>
                      <a:gd name="connsiteY3" fmla="*/ 837249 h 1346632"/>
                      <a:gd name="connsiteX4" fmla="*/ 319732 w 709549"/>
                      <a:gd name="connsiteY4" fmla="*/ 283560 h 1346632"/>
                      <a:gd name="connsiteX5" fmla="*/ 153426 w 709549"/>
                      <a:gd name="connsiteY5" fmla="*/ 3144 h 1346632"/>
                      <a:gd name="connsiteX6" fmla="*/ 110944 w 709549"/>
                      <a:gd name="connsiteY6" fmla="*/ 1154241 h 13466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09549" h="1346632">
                        <a:moveTo>
                          <a:pt x="110944" y="1154241"/>
                        </a:moveTo>
                        <a:cubicBezTo>
                          <a:pt x="110944" y="1154241"/>
                          <a:pt x="179143" y="1226154"/>
                          <a:pt x="556048" y="1339883"/>
                        </a:cubicBezTo>
                        <a:cubicBezTo>
                          <a:pt x="668633" y="1373887"/>
                          <a:pt x="702447" y="1270255"/>
                          <a:pt x="707686" y="1232727"/>
                        </a:cubicBezTo>
                        <a:cubicBezTo>
                          <a:pt x="724831" y="1108521"/>
                          <a:pt x="623008" y="983934"/>
                          <a:pt x="430413" y="837249"/>
                        </a:cubicBezTo>
                        <a:cubicBezTo>
                          <a:pt x="278870" y="721806"/>
                          <a:pt x="311541" y="523781"/>
                          <a:pt x="319732" y="283560"/>
                        </a:cubicBezTo>
                        <a:cubicBezTo>
                          <a:pt x="327924" y="43340"/>
                          <a:pt x="153426" y="3144"/>
                          <a:pt x="153426" y="3144"/>
                        </a:cubicBezTo>
                        <a:cubicBezTo>
                          <a:pt x="-28025" y="-65531"/>
                          <a:pt x="-56505" y="1012032"/>
                          <a:pt x="110944" y="1154241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1" name="Freihandform: Form 270">
                    <a:extLst>
                      <a:ext uri="{FF2B5EF4-FFF2-40B4-BE49-F238E27FC236}">
                        <a16:creationId xmlns:a16="http://schemas.microsoft.com/office/drawing/2014/main" id="{87AE6449-0601-791A-A571-B10FA4B12EFA}"/>
                      </a:ext>
                    </a:extLst>
                  </p:cNvPr>
                  <p:cNvSpPr/>
                  <p:nvPr/>
                </p:nvSpPr>
                <p:spPr>
                  <a:xfrm>
                    <a:off x="2542063" y="2036635"/>
                    <a:ext cx="268223" cy="262472"/>
                  </a:xfrm>
                  <a:custGeom>
                    <a:avLst/>
                    <a:gdLst>
                      <a:gd name="connsiteX0" fmla="*/ 268224 w 268223"/>
                      <a:gd name="connsiteY0" fmla="*/ 230600 h 262472"/>
                      <a:gd name="connsiteX1" fmla="*/ 0 w 268223"/>
                      <a:gd name="connsiteY1" fmla="*/ 253079 h 262472"/>
                      <a:gd name="connsiteX2" fmla="*/ 33909 w 268223"/>
                      <a:gd name="connsiteY2" fmla="*/ 0 h 262472"/>
                      <a:gd name="connsiteX3" fmla="*/ 215646 w 268223"/>
                      <a:gd name="connsiteY3" fmla="*/ 7525 h 262472"/>
                      <a:gd name="connsiteX4" fmla="*/ 268224 w 268223"/>
                      <a:gd name="connsiteY4" fmla="*/ 230600 h 2624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8223" h="262472">
                        <a:moveTo>
                          <a:pt x="268224" y="230600"/>
                        </a:moveTo>
                        <a:cubicBezTo>
                          <a:pt x="244888" y="246697"/>
                          <a:pt x="63246" y="278225"/>
                          <a:pt x="0" y="253079"/>
                        </a:cubicBezTo>
                        <a:lnTo>
                          <a:pt x="33909" y="0"/>
                        </a:lnTo>
                        <a:lnTo>
                          <a:pt x="215646" y="7525"/>
                        </a:lnTo>
                        <a:lnTo>
                          <a:pt x="268224" y="23060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2" name="Freihandform: Form 271">
                    <a:extLst>
                      <a:ext uri="{FF2B5EF4-FFF2-40B4-BE49-F238E27FC236}">
                        <a16:creationId xmlns:a16="http://schemas.microsoft.com/office/drawing/2014/main" id="{8DD76C84-BA69-842F-69DC-00470CC130B4}"/>
                      </a:ext>
                    </a:extLst>
                  </p:cNvPr>
                  <p:cNvSpPr/>
                  <p:nvPr/>
                </p:nvSpPr>
                <p:spPr>
                  <a:xfrm>
                    <a:off x="2577496" y="2040159"/>
                    <a:ext cx="232791" cy="230885"/>
                  </a:xfrm>
                  <a:custGeom>
                    <a:avLst/>
                    <a:gdLst>
                      <a:gd name="connsiteX0" fmla="*/ 228695 w 232791"/>
                      <a:gd name="connsiteY0" fmla="*/ 0 h 230885"/>
                      <a:gd name="connsiteX1" fmla="*/ 232791 w 232791"/>
                      <a:gd name="connsiteY1" fmla="*/ 227076 h 230885"/>
                      <a:gd name="connsiteX2" fmla="*/ 0 w 232791"/>
                      <a:gd name="connsiteY2" fmla="*/ 230886 h 230885"/>
                      <a:gd name="connsiteX3" fmla="*/ 0 w 232791"/>
                      <a:gd name="connsiteY3" fmla="*/ 0 h 230885"/>
                      <a:gd name="connsiteX4" fmla="*/ 228695 w 232791"/>
                      <a:gd name="connsiteY4" fmla="*/ 0 h 2308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2791" h="230885">
                        <a:moveTo>
                          <a:pt x="228695" y="0"/>
                        </a:moveTo>
                        <a:lnTo>
                          <a:pt x="232791" y="227076"/>
                        </a:lnTo>
                        <a:lnTo>
                          <a:pt x="0" y="230886"/>
                        </a:lnTo>
                        <a:lnTo>
                          <a:pt x="0" y="0"/>
                        </a:lnTo>
                        <a:lnTo>
                          <a:pt x="228695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3" name="Freihandform: Form 272">
                    <a:extLst>
                      <a:ext uri="{FF2B5EF4-FFF2-40B4-BE49-F238E27FC236}">
                        <a16:creationId xmlns:a16="http://schemas.microsoft.com/office/drawing/2014/main" id="{6A655F8E-669E-E2A8-8C2E-476B779A5A66}"/>
                      </a:ext>
                    </a:extLst>
                  </p:cNvPr>
                  <p:cNvSpPr/>
                  <p:nvPr/>
                </p:nvSpPr>
                <p:spPr>
                  <a:xfrm>
                    <a:off x="2207830" y="1280636"/>
                    <a:ext cx="532914" cy="439864"/>
                  </a:xfrm>
                  <a:custGeom>
                    <a:avLst/>
                    <a:gdLst>
                      <a:gd name="connsiteX0" fmla="*/ 0 w 532914"/>
                      <a:gd name="connsiteY0" fmla="*/ 164973 h 439864"/>
                      <a:gd name="connsiteX1" fmla="*/ 40481 w 532914"/>
                      <a:gd name="connsiteY1" fmla="*/ 0 h 439864"/>
                      <a:gd name="connsiteX2" fmla="*/ 528733 w 532914"/>
                      <a:gd name="connsiteY2" fmla="*/ 274415 h 439864"/>
                      <a:gd name="connsiteX3" fmla="*/ 513017 w 532914"/>
                      <a:gd name="connsiteY3" fmla="*/ 439864 h 439864"/>
                      <a:gd name="connsiteX4" fmla="*/ 0 w 532914"/>
                      <a:gd name="connsiteY4" fmla="*/ 165068 h 4398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32914" h="439864">
                        <a:moveTo>
                          <a:pt x="0" y="164973"/>
                        </a:moveTo>
                        <a:lnTo>
                          <a:pt x="40481" y="0"/>
                        </a:lnTo>
                        <a:cubicBezTo>
                          <a:pt x="40481" y="0"/>
                          <a:pt x="461772" y="175260"/>
                          <a:pt x="528733" y="274415"/>
                        </a:cubicBezTo>
                        <a:cubicBezTo>
                          <a:pt x="543878" y="296799"/>
                          <a:pt x="513017" y="439864"/>
                          <a:pt x="513017" y="439864"/>
                        </a:cubicBezTo>
                        <a:lnTo>
                          <a:pt x="0" y="16506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4" name="Freihandform: Form 273">
                    <a:extLst>
                      <a:ext uri="{FF2B5EF4-FFF2-40B4-BE49-F238E27FC236}">
                        <a16:creationId xmlns:a16="http://schemas.microsoft.com/office/drawing/2014/main" id="{29716C2D-77CD-CAD2-6F0C-BD60953776E9}"/>
                      </a:ext>
                    </a:extLst>
                  </p:cNvPr>
                  <p:cNvSpPr/>
                  <p:nvPr/>
                </p:nvSpPr>
                <p:spPr>
                  <a:xfrm>
                    <a:off x="2218784" y="4529518"/>
                    <a:ext cx="511111" cy="511111"/>
                  </a:xfrm>
                  <a:custGeom>
                    <a:avLst/>
                    <a:gdLst>
                      <a:gd name="connsiteX0" fmla="*/ 511111 w 511111"/>
                      <a:gd name="connsiteY0" fmla="*/ 255556 h 511111"/>
                      <a:gd name="connsiteX1" fmla="*/ 255556 w 511111"/>
                      <a:gd name="connsiteY1" fmla="*/ 511111 h 511111"/>
                      <a:gd name="connsiteX2" fmla="*/ 0 w 511111"/>
                      <a:gd name="connsiteY2" fmla="*/ 255556 h 511111"/>
                      <a:gd name="connsiteX3" fmla="*/ 255556 w 511111"/>
                      <a:gd name="connsiteY3" fmla="*/ 0 h 511111"/>
                      <a:gd name="connsiteX4" fmla="*/ 511111 w 511111"/>
                      <a:gd name="connsiteY4" fmla="*/ 255556 h 5111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1111" h="511111">
                        <a:moveTo>
                          <a:pt x="511111" y="255556"/>
                        </a:moveTo>
                        <a:cubicBezTo>
                          <a:pt x="511111" y="396695"/>
                          <a:pt x="396695" y="511111"/>
                          <a:pt x="255556" y="511111"/>
                        </a:cubicBezTo>
                        <a:cubicBezTo>
                          <a:pt x="114416" y="511111"/>
                          <a:pt x="0" y="396695"/>
                          <a:pt x="0" y="255556"/>
                        </a:cubicBezTo>
                        <a:cubicBezTo>
                          <a:pt x="0" y="114416"/>
                          <a:pt x="114416" y="0"/>
                          <a:pt x="255556" y="0"/>
                        </a:cubicBezTo>
                        <a:cubicBezTo>
                          <a:pt x="396695" y="0"/>
                          <a:pt x="511111" y="114416"/>
                          <a:pt x="511111" y="25555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75" name="Grafik 23">
                  <a:extLst>
                    <a:ext uri="{FF2B5EF4-FFF2-40B4-BE49-F238E27FC236}">
                      <a16:creationId xmlns:a16="http://schemas.microsoft.com/office/drawing/2014/main" id="{9EAD3F0E-A6BF-2EE3-5490-83607AB77C64}"/>
                    </a:ext>
                  </a:extLst>
                </p:cNvPr>
                <p:cNvGrpSpPr/>
                <p:nvPr/>
              </p:nvGrpSpPr>
              <p:grpSpPr>
                <a:xfrm>
                  <a:off x="2645951" y="2614089"/>
                  <a:ext cx="835086" cy="566403"/>
                  <a:chOff x="2645951" y="2614089"/>
                  <a:chExt cx="835086" cy="566403"/>
                </a:xfrm>
              </p:grpSpPr>
              <p:grpSp>
                <p:nvGrpSpPr>
                  <p:cNvPr id="276" name="Grafik 23">
                    <a:extLst>
                      <a:ext uri="{FF2B5EF4-FFF2-40B4-BE49-F238E27FC236}">
                        <a16:creationId xmlns:a16="http://schemas.microsoft.com/office/drawing/2014/main" id="{040EF8D3-7DA9-FF26-A05C-AF3D368B5385}"/>
                      </a:ext>
                    </a:extLst>
                  </p:cNvPr>
                  <p:cNvGrpSpPr/>
                  <p:nvPr/>
                </p:nvGrpSpPr>
                <p:grpSpPr>
                  <a:xfrm>
                    <a:off x="2748660" y="2614089"/>
                    <a:ext cx="732377" cy="566403"/>
                    <a:chOff x="2748660" y="2614089"/>
                    <a:chExt cx="732377" cy="566403"/>
                  </a:xfrm>
                </p:grpSpPr>
                <p:sp>
                  <p:nvSpPr>
                    <p:cNvPr id="277" name="Freihandform: Form 276">
                      <a:extLst>
                        <a:ext uri="{FF2B5EF4-FFF2-40B4-BE49-F238E27FC236}">
                          <a16:creationId xmlns:a16="http://schemas.microsoft.com/office/drawing/2014/main" id="{A4C60239-D0C9-BF03-B2A3-7BB6C21AF1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22288" y="2658189"/>
                      <a:ext cx="411099" cy="129236"/>
                    </a:xfrm>
                    <a:custGeom>
                      <a:avLst/>
                      <a:gdLst>
                        <a:gd name="connsiteX0" fmla="*/ 95 w 411099"/>
                        <a:gd name="connsiteY0" fmla="*/ 59483 h 129236"/>
                        <a:gd name="connsiteX1" fmla="*/ 130111 w 411099"/>
                        <a:gd name="connsiteY1" fmla="*/ 714 h 129236"/>
                        <a:gd name="connsiteX2" fmla="*/ 235172 w 411099"/>
                        <a:gd name="connsiteY2" fmla="*/ 7858 h 129236"/>
                        <a:gd name="connsiteX3" fmla="*/ 411099 w 411099"/>
                        <a:gd name="connsiteY3" fmla="*/ 41481 h 129236"/>
                        <a:gd name="connsiteX4" fmla="*/ 393668 w 411099"/>
                        <a:gd name="connsiteY4" fmla="*/ 70723 h 129236"/>
                        <a:gd name="connsiteX5" fmla="*/ 184023 w 411099"/>
                        <a:gd name="connsiteY5" fmla="*/ 83010 h 129236"/>
                        <a:gd name="connsiteX6" fmla="*/ 92678 w 411099"/>
                        <a:gd name="connsiteY6" fmla="*/ 128921 h 129236"/>
                        <a:gd name="connsiteX7" fmla="*/ 0 w 411099"/>
                        <a:gd name="connsiteY7" fmla="*/ 59483 h 12923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11099" h="129236">
                          <a:moveTo>
                            <a:pt x="95" y="59483"/>
                          </a:moveTo>
                          <a:cubicBezTo>
                            <a:pt x="5429" y="57674"/>
                            <a:pt x="90964" y="4238"/>
                            <a:pt x="130111" y="714"/>
                          </a:cubicBezTo>
                          <a:cubicBezTo>
                            <a:pt x="169259" y="-2810"/>
                            <a:pt x="235172" y="7858"/>
                            <a:pt x="235172" y="7858"/>
                          </a:cubicBezTo>
                          <a:lnTo>
                            <a:pt x="411099" y="41481"/>
                          </a:lnTo>
                          <a:cubicBezTo>
                            <a:pt x="411099" y="41481"/>
                            <a:pt x="406717" y="58817"/>
                            <a:pt x="393668" y="70723"/>
                          </a:cubicBezTo>
                          <a:cubicBezTo>
                            <a:pt x="361759" y="99869"/>
                            <a:pt x="194691" y="68818"/>
                            <a:pt x="184023" y="83010"/>
                          </a:cubicBezTo>
                          <a:cubicBezTo>
                            <a:pt x="168021" y="104346"/>
                            <a:pt x="146113" y="132540"/>
                            <a:pt x="92678" y="128921"/>
                          </a:cubicBezTo>
                          <a:cubicBezTo>
                            <a:pt x="39243" y="125396"/>
                            <a:pt x="0" y="59483"/>
                            <a:pt x="0" y="59483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78" name="Freihandform: Form 277">
                      <a:extLst>
                        <a:ext uri="{FF2B5EF4-FFF2-40B4-BE49-F238E27FC236}">
                          <a16:creationId xmlns:a16="http://schemas.microsoft.com/office/drawing/2014/main" id="{8C755A21-0D28-B556-B191-C96A575F51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91726" y="2614089"/>
                      <a:ext cx="589311" cy="566403"/>
                    </a:xfrm>
                    <a:custGeom>
                      <a:avLst/>
                      <a:gdLst>
                        <a:gd name="connsiteX0" fmla="*/ 162687 w 589311"/>
                        <a:gd name="connsiteY0" fmla="*/ 25193 h 566403"/>
                        <a:gd name="connsiteX1" fmla="*/ 155924 w 589311"/>
                        <a:gd name="connsiteY1" fmla="*/ 115775 h 566403"/>
                        <a:gd name="connsiteX2" fmla="*/ 952 w 589311"/>
                        <a:gd name="connsiteY2" fmla="*/ 472677 h 566403"/>
                        <a:gd name="connsiteX3" fmla="*/ 0 w 589311"/>
                        <a:gd name="connsiteY3" fmla="*/ 475630 h 566403"/>
                        <a:gd name="connsiteX4" fmla="*/ 232505 w 589311"/>
                        <a:gd name="connsiteY4" fmla="*/ 566403 h 566403"/>
                        <a:gd name="connsiteX5" fmla="*/ 185452 w 589311"/>
                        <a:gd name="connsiteY5" fmla="*/ 423623 h 566403"/>
                        <a:gd name="connsiteX6" fmla="*/ 258223 w 589311"/>
                        <a:gd name="connsiteY6" fmla="*/ 198548 h 566403"/>
                        <a:gd name="connsiteX7" fmla="*/ 555117 w 589311"/>
                        <a:gd name="connsiteY7" fmla="*/ 206453 h 566403"/>
                        <a:gd name="connsiteX8" fmla="*/ 589312 w 589311"/>
                        <a:gd name="connsiteY8" fmla="*/ 35765 h 566403"/>
                        <a:gd name="connsiteX9" fmla="*/ 162687 w 589311"/>
                        <a:gd name="connsiteY9" fmla="*/ 25193 h 5664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589311" h="566403">
                          <a:moveTo>
                            <a:pt x="162687" y="25193"/>
                          </a:moveTo>
                          <a:cubicBezTo>
                            <a:pt x="119063" y="80247"/>
                            <a:pt x="155924" y="115775"/>
                            <a:pt x="155924" y="115775"/>
                          </a:cubicBezTo>
                          <a:lnTo>
                            <a:pt x="952" y="472677"/>
                          </a:lnTo>
                          <a:cubicBezTo>
                            <a:pt x="571" y="473630"/>
                            <a:pt x="286" y="474677"/>
                            <a:pt x="0" y="475630"/>
                          </a:cubicBezTo>
                          <a:lnTo>
                            <a:pt x="232505" y="566403"/>
                          </a:lnTo>
                          <a:cubicBezTo>
                            <a:pt x="252603" y="528779"/>
                            <a:pt x="196405" y="487631"/>
                            <a:pt x="185452" y="423623"/>
                          </a:cubicBezTo>
                          <a:cubicBezTo>
                            <a:pt x="172879" y="350281"/>
                            <a:pt x="258223" y="198548"/>
                            <a:pt x="258223" y="198548"/>
                          </a:cubicBezTo>
                          <a:cubicBezTo>
                            <a:pt x="258223" y="198548"/>
                            <a:pt x="484632" y="210740"/>
                            <a:pt x="555117" y="206453"/>
                          </a:cubicBezTo>
                          <a:lnTo>
                            <a:pt x="589312" y="35765"/>
                          </a:lnTo>
                          <a:cubicBezTo>
                            <a:pt x="532352" y="10905"/>
                            <a:pt x="202406" y="-24814"/>
                            <a:pt x="162687" y="25193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79" name="Freihandform: Form 278">
                      <a:extLst>
                        <a:ext uri="{FF2B5EF4-FFF2-40B4-BE49-F238E27FC236}">
                          <a16:creationId xmlns:a16="http://schemas.microsoft.com/office/drawing/2014/main" id="{3F856690-FED4-BE83-7DD9-8E3FAC97A1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748660" y="2687954"/>
                      <a:ext cx="626027" cy="304133"/>
                    </a:xfrm>
                    <a:custGeom>
                      <a:avLst/>
                      <a:gdLst>
                        <a:gd name="connsiteX0" fmla="*/ 47244 w 626027"/>
                        <a:gd name="connsiteY0" fmla="*/ 0 h 304133"/>
                        <a:gd name="connsiteX1" fmla="*/ 244126 w 626027"/>
                        <a:gd name="connsiteY1" fmla="*/ 30956 h 304133"/>
                        <a:gd name="connsiteX2" fmla="*/ 438626 w 626027"/>
                        <a:gd name="connsiteY2" fmla="*/ 82106 h 304133"/>
                        <a:gd name="connsiteX3" fmla="*/ 527971 w 626027"/>
                        <a:gd name="connsiteY3" fmla="*/ 90202 h 304133"/>
                        <a:gd name="connsiteX4" fmla="*/ 624935 w 626027"/>
                        <a:gd name="connsiteY4" fmla="*/ 132874 h 304133"/>
                        <a:gd name="connsiteX5" fmla="*/ 542449 w 626027"/>
                        <a:gd name="connsiteY5" fmla="*/ 143542 h 304133"/>
                        <a:gd name="connsiteX6" fmla="*/ 490442 w 626027"/>
                        <a:gd name="connsiteY6" fmla="*/ 146399 h 304133"/>
                        <a:gd name="connsiteX7" fmla="*/ 488918 w 626027"/>
                        <a:gd name="connsiteY7" fmla="*/ 166021 h 304133"/>
                        <a:gd name="connsiteX8" fmla="*/ 467106 w 626027"/>
                        <a:gd name="connsiteY8" fmla="*/ 198120 h 304133"/>
                        <a:gd name="connsiteX9" fmla="*/ 417386 w 626027"/>
                        <a:gd name="connsiteY9" fmla="*/ 244221 h 304133"/>
                        <a:gd name="connsiteX10" fmla="*/ 366427 w 626027"/>
                        <a:gd name="connsiteY10" fmla="*/ 304133 h 304133"/>
                        <a:gd name="connsiteX11" fmla="*/ 231553 w 626027"/>
                        <a:gd name="connsiteY11" fmla="*/ 293370 h 304133"/>
                        <a:gd name="connsiteX12" fmla="*/ 0 w 626027"/>
                        <a:gd name="connsiteY12" fmla="*/ 168212 h 304133"/>
                        <a:gd name="connsiteX13" fmla="*/ 47339 w 626027"/>
                        <a:gd name="connsiteY13" fmla="*/ 0 h 3041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</a:cxnLst>
                      <a:rect l="l" t="t" r="r" b="b"/>
                      <a:pathLst>
                        <a:path w="626027" h="304133">
                          <a:moveTo>
                            <a:pt x="47244" y="0"/>
                          </a:moveTo>
                          <a:lnTo>
                            <a:pt x="244126" y="30956"/>
                          </a:lnTo>
                          <a:cubicBezTo>
                            <a:pt x="244126" y="30956"/>
                            <a:pt x="388430" y="66580"/>
                            <a:pt x="438626" y="82106"/>
                          </a:cubicBezTo>
                          <a:cubicBezTo>
                            <a:pt x="484823" y="86678"/>
                            <a:pt x="527971" y="90202"/>
                            <a:pt x="527971" y="90202"/>
                          </a:cubicBezTo>
                          <a:cubicBezTo>
                            <a:pt x="574167" y="84392"/>
                            <a:pt x="634936" y="97346"/>
                            <a:pt x="624935" y="132874"/>
                          </a:cubicBezTo>
                          <a:cubicBezTo>
                            <a:pt x="613315" y="135255"/>
                            <a:pt x="552736" y="142304"/>
                            <a:pt x="542449" y="143542"/>
                          </a:cubicBezTo>
                          <a:cubicBezTo>
                            <a:pt x="523685" y="145733"/>
                            <a:pt x="490442" y="146399"/>
                            <a:pt x="490442" y="146399"/>
                          </a:cubicBezTo>
                          <a:lnTo>
                            <a:pt x="488918" y="166021"/>
                          </a:lnTo>
                          <a:lnTo>
                            <a:pt x="467106" y="198120"/>
                          </a:lnTo>
                          <a:lnTo>
                            <a:pt x="417386" y="244221"/>
                          </a:lnTo>
                          <a:lnTo>
                            <a:pt x="366427" y="304133"/>
                          </a:lnTo>
                          <a:cubicBezTo>
                            <a:pt x="366427" y="304133"/>
                            <a:pt x="244697" y="292703"/>
                            <a:pt x="231553" y="293370"/>
                          </a:cubicBezTo>
                          <a:cubicBezTo>
                            <a:pt x="200787" y="294894"/>
                            <a:pt x="34100" y="193358"/>
                            <a:pt x="0" y="168212"/>
                          </a:cubicBezTo>
                          <a:cubicBezTo>
                            <a:pt x="6668" y="73533"/>
                            <a:pt x="47339" y="0"/>
                            <a:pt x="47339" y="0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80" name="Freihandform: Form 279">
                      <a:extLst>
                        <a:ext uri="{FF2B5EF4-FFF2-40B4-BE49-F238E27FC236}">
                          <a16:creationId xmlns:a16="http://schemas.microsoft.com/office/drawing/2014/main" id="{18504E2E-4F7E-2244-5A93-7F5B07DD0BC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78987" y="2815780"/>
                      <a:ext cx="160115" cy="36816"/>
                    </a:xfrm>
                    <a:custGeom>
                      <a:avLst/>
                      <a:gdLst>
                        <a:gd name="connsiteX0" fmla="*/ 160115 w 160115"/>
                        <a:gd name="connsiteY0" fmla="*/ 18669 h 36816"/>
                        <a:gd name="connsiteX1" fmla="*/ 55912 w 160115"/>
                        <a:gd name="connsiteY1" fmla="*/ 13335 h 36816"/>
                        <a:gd name="connsiteX2" fmla="*/ 0 w 160115"/>
                        <a:gd name="connsiteY2" fmla="*/ 0 h 36816"/>
                        <a:gd name="connsiteX3" fmla="*/ 79629 w 160115"/>
                        <a:gd name="connsiteY3" fmla="*/ 34671 h 36816"/>
                        <a:gd name="connsiteX4" fmla="*/ 158687 w 160115"/>
                        <a:gd name="connsiteY4" fmla="*/ 36576 h 36816"/>
                        <a:gd name="connsiteX5" fmla="*/ 160115 w 160115"/>
                        <a:gd name="connsiteY5" fmla="*/ 18669 h 3681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60115" h="36816">
                          <a:moveTo>
                            <a:pt x="160115" y="18669"/>
                          </a:moveTo>
                          <a:lnTo>
                            <a:pt x="55912" y="13335"/>
                          </a:lnTo>
                          <a:lnTo>
                            <a:pt x="0" y="0"/>
                          </a:lnTo>
                          <a:cubicBezTo>
                            <a:pt x="0" y="0"/>
                            <a:pt x="46958" y="31528"/>
                            <a:pt x="79629" y="34671"/>
                          </a:cubicBezTo>
                          <a:cubicBezTo>
                            <a:pt x="112300" y="37814"/>
                            <a:pt x="158687" y="36576"/>
                            <a:pt x="158687" y="36576"/>
                          </a:cubicBezTo>
                          <a:lnTo>
                            <a:pt x="160115" y="18669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281" name="Freihandform: Form 280">
                    <a:extLst>
                      <a:ext uri="{FF2B5EF4-FFF2-40B4-BE49-F238E27FC236}">
                        <a16:creationId xmlns:a16="http://schemas.microsoft.com/office/drawing/2014/main" id="{73C7FE32-657E-2484-A529-0FC327E30E10}"/>
                      </a:ext>
                    </a:extLst>
                  </p:cNvPr>
                  <p:cNvSpPr/>
                  <p:nvPr/>
                </p:nvSpPr>
                <p:spPr>
                  <a:xfrm rot="-2247599">
                    <a:off x="2681100" y="2683664"/>
                    <a:ext cx="174878" cy="174878"/>
                  </a:xfrm>
                  <a:custGeom>
                    <a:avLst/>
                    <a:gdLst>
                      <a:gd name="connsiteX0" fmla="*/ 174879 w 174878"/>
                      <a:gd name="connsiteY0" fmla="*/ 87439 h 174878"/>
                      <a:gd name="connsiteX1" fmla="*/ 87439 w 174878"/>
                      <a:gd name="connsiteY1" fmla="*/ 174879 h 174878"/>
                      <a:gd name="connsiteX2" fmla="*/ 0 w 174878"/>
                      <a:gd name="connsiteY2" fmla="*/ 87439 h 174878"/>
                      <a:gd name="connsiteX3" fmla="*/ 87439 w 174878"/>
                      <a:gd name="connsiteY3" fmla="*/ 0 h 174878"/>
                      <a:gd name="connsiteX4" fmla="*/ 174879 w 174878"/>
                      <a:gd name="connsiteY4" fmla="*/ 87439 h 174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74878" h="174878">
                        <a:moveTo>
                          <a:pt x="174879" y="87439"/>
                        </a:moveTo>
                        <a:cubicBezTo>
                          <a:pt x="174879" y="135731"/>
                          <a:pt x="135731" y="174879"/>
                          <a:pt x="87439" y="174879"/>
                        </a:cubicBezTo>
                        <a:cubicBezTo>
                          <a:pt x="39148" y="174879"/>
                          <a:pt x="0" y="135731"/>
                          <a:pt x="0" y="87439"/>
                        </a:cubicBezTo>
                        <a:cubicBezTo>
                          <a:pt x="0" y="39148"/>
                          <a:pt x="39148" y="0"/>
                          <a:pt x="87439" y="0"/>
                        </a:cubicBezTo>
                        <a:cubicBezTo>
                          <a:pt x="135731" y="0"/>
                          <a:pt x="174879" y="39148"/>
                          <a:pt x="174879" y="87439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82" name="Grafik 23">
                  <a:extLst>
                    <a:ext uri="{FF2B5EF4-FFF2-40B4-BE49-F238E27FC236}">
                      <a16:creationId xmlns:a16="http://schemas.microsoft.com/office/drawing/2014/main" id="{7734A28E-F96F-73DD-F935-5A41041B1F68}"/>
                    </a:ext>
                  </a:extLst>
                </p:cNvPr>
                <p:cNvGrpSpPr/>
                <p:nvPr/>
              </p:nvGrpSpPr>
              <p:grpSpPr>
                <a:xfrm>
                  <a:off x="1874837" y="2455926"/>
                  <a:ext cx="921353" cy="469868"/>
                  <a:chOff x="1874837" y="2455926"/>
                  <a:chExt cx="921353" cy="469868"/>
                </a:xfrm>
              </p:grpSpPr>
              <p:sp>
                <p:nvSpPr>
                  <p:cNvPr id="283" name="Freihandform: Form 282">
                    <a:extLst>
                      <a:ext uri="{FF2B5EF4-FFF2-40B4-BE49-F238E27FC236}">
                        <a16:creationId xmlns:a16="http://schemas.microsoft.com/office/drawing/2014/main" id="{165A9000-107B-243D-339A-2ADA8272A35F}"/>
                      </a:ext>
                    </a:extLst>
                  </p:cNvPr>
                  <p:cNvSpPr/>
                  <p:nvPr/>
                </p:nvSpPr>
                <p:spPr>
                  <a:xfrm>
                    <a:off x="2638551" y="2652045"/>
                    <a:ext cx="157352" cy="204120"/>
                  </a:xfrm>
                  <a:custGeom>
                    <a:avLst/>
                    <a:gdLst>
                      <a:gd name="connsiteX0" fmla="*/ 110014 w 157352"/>
                      <a:gd name="connsiteY0" fmla="*/ 204121 h 204120"/>
                      <a:gd name="connsiteX1" fmla="*/ 157353 w 157352"/>
                      <a:gd name="connsiteY1" fmla="*/ 35909 h 204120"/>
                      <a:gd name="connsiteX2" fmla="*/ 46387 w 157352"/>
                      <a:gd name="connsiteY2" fmla="*/ 0 h 204120"/>
                      <a:gd name="connsiteX3" fmla="*/ 0 w 157352"/>
                      <a:gd name="connsiteY3" fmla="*/ 187928 h 204120"/>
                      <a:gd name="connsiteX4" fmla="*/ 110014 w 157352"/>
                      <a:gd name="connsiteY4" fmla="*/ 204121 h 2041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7352" h="204120">
                        <a:moveTo>
                          <a:pt x="110014" y="204121"/>
                        </a:moveTo>
                        <a:lnTo>
                          <a:pt x="157353" y="35909"/>
                        </a:lnTo>
                        <a:lnTo>
                          <a:pt x="46387" y="0"/>
                        </a:lnTo>
                        <a:lnTo>
                          <a:pt x="0" y="187928"/>
                        </a:lnTo>
                        <a:lnTo>
                          <a:pt x="110014" y="204121"/>
                        </a:ln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4" name="Freihandform: Form 283">
                    <a:extLst>
                      <a:ext uri="{FF2B5EF4-FFF2-40B4-BE49-F238E27FC236}">
                        <a16:creationId xmlns:a16="http://schemas.microsoft.com/office/drawing/2014/main" id="{04B9EE4C-F2D8-73BC-8A49-BBEA9D400BC3}"/>
                      </a:ext>
                    </a:extLst>
                  </p:cNvPr>
                  <p:cNvSpPr/>
                  <p:nvPr/>
                </p:nvSpPr>
                <p:spPr>
                  <a:xfrm>
                    <a:off x="2012663" y="2463641"/>
                    <a:ext cx="783526" cy="462153"/>
                  </a:xfrm>
                  <a:custGeom>
                    <a:avLst/>
                    <a:gdLst>
                      <a:gd name="connsiteX0" fmla="*/ 0 w 783526"/>
                      <a:gd name="connsiteY0" fmla="*/ 334423 h 462153"/>
                      <a:gd name="connsiteX1" fmla="*/ 742188 w 783526"/>
                      <a:gd name="connsiteY1" fmla="*/ 462153 h 462153"/>
                      <a:gd name="connsiteX2" fmla="*/ 783527 w 783526"/>
                      <a:gd name="connsiteY2" fmla="*/ 163259 h 462153"/>
                      <a:gd name="connsiteX3" fmla="*/ 86201 w 783526"/>
                      <a:gd name="connsiteY3" fmla="*/ 0 h 462153"/>
                      <a:gd name="connsiteX4" fmla="*/ 0 w 783526"/>
                      <a:gd name="connsiteY4" fmla="*/ 334423 h 4621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83526" h="462153">
                        <a:moveTo>
                          <a:pt x="0" y="334423"/>
                        </a:moveTo>
                        <a:lnTo>
                          <a:pt x="742188" y="462153"/>
                        </a:lnTo>
                        <a:lnTo>
                          <a:pt x="783527" y="163259"/>
                        </a:lnTo>
                        <a:lnTo>
                          <a:pt x="86201" y="0"/>
                        </a:lnTo>
                        <a:lnTo>
                          <a:pt x="0" y="33442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5" name="Freihandform: Form 284">
                    <a:extLst>
                      <a:ext uri="{FF2B5EF4-FFF2-40B4-BE49-F238E27FC236}">
                        <a16:creationId xmlns:a16="http://schemas.microsoft.com/office/drawing/2014/main" id="{36B3AEFF-26BD-470B-42F7-3FF8E429964D}"/>
                      </a:ext>
                    </a:extLst>
                  </p:cNvPr>
                  <p:cNvSpPr/>
                  <p:nvPr/>
                </p:nvSpPr>
                <p:spPr>
                  <a:xfrm>
                    <a:off x="1874837" y="2455926"/>
                    <a:ext cx="345567" cy="345567"/>
                  </a:xfrm>
                  <a:custGeom>
                    <a:avLst/>
                    <a:gdLst>
                      <a:gd name="connsiteX0" fmla="*/ 345567 w 345567"/>
                      <a:gd name="connsiteY0" fmla="*/ 172783 h 345567"/>
                      <a:gd name="connsiteX1" fmla="*/ 172784 w 345567"/>
                      <a:gd name="connsiteY1" fmla="*/ 345567 h 345567"/>
                      <a:gd name="connsiteX2" fmla="*/ 0 w 345567"/>
                      <a:gd name="connsiteY2" fmla="*/ 172783 h 345567"/>
                      <a:gd name="connsiteX3" fmla="*/ 172784 w 345567"/>
                      <a:gd name="connsiteY3" fmla="*/ 0 h 345567"/>
                      <a:gd name="connsiteX4" fmla="*/ 345567 w 345567"/>
                      <a:gd name="connsiteY4" fmla="*/ 172783 h 3455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45567" h="345567">
                        <a:moveTo>
                          <a:pt x="345567" y="172783"/>
                        </a:moveTo>
                        <a:cubicBezTo>
                          <a:pt x="345567" y="268209"/>
                          <a:pt x="268209" y="345567"/>
                          <a:pt x="172784" y="345567"/>
                        </a:cubicBezTo>
                        <a:cubicBezTo>
                          <a:pt x="77358" y="345567"/>
                          <a:pt x="0" y="268209"/>
                          <a:pt x="0" y="172783"/>
                        </a:cubicBezTo>
                        <a:cubicBezTo>
                          <a:pt x="0" y="77358"/>
                          <a:pt x="77358" y="0"/>
                          <a:pt x="172784" y="0"/>
                        </a:cubicBezTo>
                        <a:cubicBezTo>
                          <a:pt x="268209" y="0"/>
                          <a:pt x="345567" y="77358"/>
                          <a:pt x="345567" y="17278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86" name="Grafik 23">
                  <a:extLst>
                    <a:ext uri="{FF2B5EF4-FFF2-40B4-BE49-F238E27FC236}">
                      <a16:creationId xmlns:a16="http://schemas.microsoft.com/office/drawing/2014/main" id="{6EC3C075-169A-CDAC-969E-9CE4C45B167A}"/>
                    </a:ext>
                  </a:extLst>
                </p:cNvPr>
                <p:cNvGrpSpPr/>
                <p:nvPr/>
              </p:nvGrpSpPr>
              <p:grpSpPr>
                <a:xfrm>
                  <a:off x="1875789" y="1478509"/>
                  <a:ext cx="599222" cy="1188109"/>
                  <a:chOff x="1875789" y="1478509"/>
                  <a:chExt cx="599222" cy="1188109"/>
                </a:xfrm>
                <a:solidFill>
                  <a:srgbClr val="FFFFFF"/>
                </a:solidFill>
              </p:grpSpPr>
              <p:sp>
                <p:nvSpPr>
                  <p:cNvPr id="287" name="Freihandform: Form 286">
                    <a:extLst>
                      <a:ext uri="{FF2B5EF4-FFF2-40B4-BE49-F238E27FC236}">
                        <a16:creationId xmlns:a16="http://schemas.microsoft.com/office/drawing/2014/main" id="{1912B5F1-7E86-36B7-2430-768DF05FDAA6}"/>
                      </a:ext>
                    </a:extLst>
                  </p:cNvPr>
                  <p:cNvSpPr/>
                  <p:nvPr/>
                </p:nvSpPr>
                <p:spPr>
                  <a:xfrm>
                    <a:off x="1875789" y="1699831"/>
                    <a:ext cx="512349" cy="966787"/>
                  </a:xfrm>
                  <a:custGeom>
                    <a:avLst/>
                    <a:gdLst>
                      <a:gd name="connsiteX0" fmla="*/ 115062 w 512349"/>
                      <a:gd name="connsiteY0" fmla="*/ 0 h 966787"/>
                      <a:gd name="connsiteX1" fmla="*/ 0 w 512349"/>
                      <a:gd name="connsiteY1" fmla="*/ 910971 h 966787"/>
                      <a:gd name="connsiteX2" fmla="*/ 340424 w 512349"/>
                      <a:gd name="connsiteY2" fmla="*/ 966788 h 966787"/>
                      <a:gd name="connsiteX3" fmla="*/ 512350 w 512349"/>
                      <a:gd name="connsiteY3" fmla="*/ 108204 h 966787"/>
                      <a:gd name="connsiteX4" fmla="*/ 115062 w 512349"/>
                      <a:gd name="connsiteY4" fmla="*/ 0 h 9667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2349" h="966787">
                        <a:moveTo>
                          <a:pt x="115062" y="0"/>
                        </a:moveTo>
                        <a:cubicBezTo>
                          <a:pt x="46673" y="214884"/>
                          <a:pt x="0" y="910971"/>
                          <a:pt x="0" y="910971"/>
                        </a:cubicBezTo>
                        <a:cubicBezTo>
                          <a:pt x="148495" y="945070"/>
                          <a:pt x="190024" y="966788"/>
                          <a:pt x="340424" y="966788"/>
                        </a:cubicBezTo>
                        <a:cubicBezTo>
                          <a:pt x="447485" y="721614"/>
                          <a:pt x="512350" y="108204"/>
                          <a:pt x="512350" y="108204"/>
                        </a:cubicBezTo>
                        <a:cubicBezTo>
                          <a:pt x="364046" y="68008"/>
                          <a:pt x="315373" y="50768"/>
                          <a:pt x="115062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8" name="Freihandform: Form 287">
                    <a:extLst>
                      <a:ext uri="{FF2B5EF4-FFF2-40B4-BE49-F238E27FC236}">
                        <a16:creationId xmlns:a16="http://schemas.microsoft.com/office/drawing/2014/main" id="{FA023EFF-A332-CA6A-E594-F53F2C85B2EE}"/>
                      </a:ext>
                    </a:extLst>
                  </p:cNvPr>
                  <p:cNvSpPr/>
                  <p:nvPr/>
                </p:nvSpPr>
                <p:spPr>
                  <a:xfrm rot="-2247599">
                    <a:off x="1979225" y="1561481"/>
                    <a:ext cx="412813" cy="412813"/>
                  </a:xfrm>
                  <a:custGeom>
                    <a:avLst/>
                    <a:gdLst>
                      <a:gd name="connsiteX0" fmla="*/ 412813 w 412813"/>
                      <a:gd name="connsiteY0" fmla="*/ 206407 h 412813"/>
                      <a:gd name="connsiteX1" fmla="*/ 206407 w 412813"/>
                      <a:gd name="connsiteY1" fmla="*/ 412813 h 412813"/>
                      <a:gd name="connsiteX2" fmla="*/ 0 w 412813"/>
                      <a:gd name="connsiteY2" fmla="*/ 206407 h 412813"/>
                      <a:gd name="connsiteX3" fmla="*/ 206407 w 412813"/>
                      <a:gd name="connsiteY3" fmla="*/ 0 h 412813"/>
                      <a:gd name="connsiteX4" fmla="*/ 412813 w 412813"/>
                      <a:gd name="connsiteY4" fmla="*/ 206407 h 4128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2813" h="412813">
                        <a:moveTo>
                          <a:pt x="412813" y="206407"/>
                        </a:moveTo>
                        <a:cubicBezTo>
                          <a:pt x="412813" y="320402"/>
                          <a:pt x="320402" y="412813"/>
                          <a:pt x="206407" y="412813"/>
                        </a:cubicBezTo>
                        <a:cubicBezTo>
                          <a:pt x="92411" y="412813"/>
                          <a:pt x="0" y="320402"/>
                          <a:pt x="0" y="206407"/>
                        </a:cubicBezTo>
                        <a:cubicBezTo>
                          <a:pt x="0" y="92411"/>
                          <a:pt x="92411" y="0"/>
                          <a:pt x="206407" y="0"/>
                        </a:cubicBezTo>
                        <a:cubicBezTo>
                          <a:pt x="320402" y="0"/>
                          <a:pt x="412813" y="92411"/>
                          <a:pt x="412813" y="20640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</p:grpSp>
        <p:sp>
          <p:nvSpPr>
            <p:cNvPr id="514" name="Rechteck 513">
              <a:extLst>
                <a:ext uri="{FF2B5EF4-FFF2-40B4-BE49-F238E27FC236}">
                  <a16:creationId xmlns:a16="http://schemas.microsoft.com/office/drawing/2014/main" id="{6D850EFC-F546-0601-E184-5F30A6BDA963}"/>
                </a:ext>
              </a:extLst>
            </p:cNvPr>
            <p:cNvSpPr>
              <a:spLocks/>
            </p:cNvSpPr>
            <p:nvPr/>
          </p:nvSpPr>
          <p:spPr>
            <a:xfrm>
              <a:off x="9210675" y="1826246"/>
              <a:ext cx="53975" cy="906229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l"/>
              <a:endParaRPr lang="en-US" sz="1000" b="1">
                <a:solidFill>
                  <a:schemeClr val="tx1"/>
                </a:solidFill>
              </a:endParaRPr>
            </a:p>
          </p:txBody>
        </p:sp>
      </p:grpSp>
      <p:grpSp>
        <p:nvGrpSpPr>
          <p:cNvPr id="560" name="Gruppieren 559">
            <a:extLst>
              <a:ext uri="{FF2B5EF4-FFF2-40B4-BE49-F238E27FC236}">
                <a16:creationId xmlns:a16="http://schemas.microsoft.com/office/drawing/2014/main" id="{C04F1BB9-662C-6891-6566-8A35C36CB13D}"/>
              </a:ext>
            </a:extLst>
          </p:cNvPr>
          <p:cNvGrpSpPr>
            <a:grpSpLocks/>
          </p:cNvGrpSpPr>
          <p:nvPr/>
        </p:nvGrpSpPr>
        <p:grpSpPr>
          <a:xfrm>
            <a:off x="9210675" y="2912475"/>
            <a:ext cx="2201842" cy="906229"/>
            <a:chOff x="9210675" y="2912475"/>
            <a:chExt cx="2201842" cy="906229"/>
          </a:xfrm>
        </p:grpSpPr>
        <p:sp>
          <p:nvSpPr>
            <p:cNvPr id="513" name="Rechteck 512">
              <a:extLst>
                <a:ext uri="{FF2B5EF4-FFF2-40B4-BE49-F238E27FC236}">
                  <a16:creationId xmlns:a16="http://schemas.microsoft.com/office/drawing/2014/main" id="{1243F522-6128-5650-BC63-577EE5FCBFCB}"/>
                </a:ext>
              </a:extLst>
            </p:cNvPr>
            <p:cNvSpPr>
              <a:spLocks/>
            </p:cNvSpPr>
            <p:nvPr/>
          </p:nvSpPr>
          <p:spPr>
            <a:xfrm>
              <a:off x="9210675" y="2912475"/>
              <a:ext cx="2201842" cy="90622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tlCol="0" anchor="t"/>
            <a:lstStyle/>
            <a:p>
              <a:pPr algn="l"/>
              <a:r>
                <a:rPr lang="en-US" sz="1200" b="1" err="1">
                  <a:solidFill>
                    <a:schemeClr val="tx1"/>
                  </a:solidFill>
                </a:rPr>
                <a:t>Anwender</a:t>
              </a:r>
              <a:r>
                <a:rPr lang="en-US" sz="1200" b="1">
                  <a:solidFill>
                    <a:schemeClr val="tx1"/>
                  </a:solidFill>
                </a:rPr>
                <a:t>*</a:t>
              </a:r>
              <a:r>
                <a:rPr lang="en-US" sz="1200" b="1" err="1">
                  <a:solidFill>
                    <a:schemeClr val="tx1"/>
                  </a:solidFill>
                </a:rPr>
                <a:t>innen</a:t>
              </a:r>
              <a:endParaRPr lang="en-US" sz="1200" b="1">
                <a:solidFill>
                  <a:schemeClr val="tx1"/>
                </a:solidFill>
              </a:endParaRPr>
            </a:p>
          </p:txBody>
        </p:sp>
        <p:grpSp>
          <p:nvGrpSpPr>
            <p:cNvPr id="504" name="Gruppieren 503">
              <a:extLst>
                <a:ext uri="{FF2B5EF4-FFF2-40B4-BE49-F238E27FC236}">
                  <a16:creationId xmlns:a16="http://schemas.microsoft.com/office/drawing/2014/main" id="{FA1D84E1-ABCD-7B8E-9F51-F516C4766F97}"/>
                </a:ext>
              </a:extLst>
            </p:cNvPr>
            <p:cNvGrpSpPr>
              <a:grpSpLocks/>
            </p:cNvGrpSpPr>
            <p:nvPr/>
          </p:nvGrpSpPr>
          <p:grpSpPr>
            <a:xfrm flipH="1">
              <a:off x="10699750" y="3003018"/>
              <a:ext cx="516340" cy="708249"/>
              <a:chOff x="9590362" y="1659724"/>
              <a:chExt cx="2578928" cy="3537443"/>
            </a:xfrm>
          </p:grpSpPr>
          <p:grpSp>
            <p:nvGrpSpPr>
              <p:cNvPr id="300" name="Grafik 297">
                <a:extLst>
                  <a:ext uri="{FF2B5EF4-FFF2-40B4-BE49-F238E27FC236}">
                    <a16:creationId xmlns:a16="http://schemas.microsoft.com/office/drawing/2014/main" id="{3B76EAE2-ED55-B521-2209-420484A1C451}"/>
                  </a:ext>
                </a:extLst>
              </p:cNvPr>
              <p:cNvGrpSpPr/>
              <p:nvPr/>
            </p:nvGrpSpPr>
            <p:grpSpPr>
              <a:xfrm>
                <a:off x="11138852" y="1928127"/>
                <a:ext cx="1030438" cy="3268937"/>
                <a:chOff x="11138852" y="1928127"/>
                <a:chExt cx="1030438" cy="3268937"/>
              </a:xfrm>
            </p:grpSpPr>
            <p:grpSp>
              <p:nvGrpSpPr>
                <p:cNvPr id="301" name="Grafik 297">
                  <a:extLst>
                    <a:ext uri="{FF2B5EF4-FFF2-40B4-BE49-F238E27FC236}">
                      <a16:creationId xmlns:a16="http://schemas.microsoft.com/office/drawing/2014/main" id="{E97B5F6D-3CF1-FCAB-C1E8-D13FC3CEC591}"/>
                    </a:ext>
                  </a:extLst>
                </p:cNvPr>
                <p:cNvGrpSpPr/>
                <p:nvPr/>
              </p:nvGrpSpPr>
              <p:grpSpPr>
                <a:xfrm>
                  <a:off x="11876781" y="2514754"/>
                  <a:ext cx="292510" cy="1386761"/>
                  <a:chOff x="11876781" y="2514754"/>
                  <a:chExt cx="292510" cy="1386761"/>
                </a:xfrm>
              </p:grpSpPr>
              <p:grpSp>
                <p:nvGrpSpPr>
                  <p:cNvPr id="302" name="Grafik 297">
                    <a:extLst>
                      <a:ext uri="{FF2B5EF4-FFF2-40B4-BE49-F238E27FC236}">
                        <a16:creationId xmlns:a16="http://schemas.microsoft.com/office/drawing/2014/main" id="{03E2DCC8-309D-4243-10BD-3323E7D7FDC7}"/>
                      </a:ext>
                    </a:extLst>
                  </p:cNvPr>
                  <p:cNvGrpSpPr/>
                  <p:nvPr/>
                </p:nvGrpSpPr>
                <p:grpSpPr>
                  <a:xfrm>
                    <a:off x="11972799" y="3056405"/>
                    <a:ext cx="164676" cy="555321"/>
                    <a:chOff x="11972799" y="3056405"/>
                    <a:chExt cx="164676" cy="555321"/>
                  </a:xfrm>
                </p:grpSpPr>
                <p:sp>
                  <p:nvSpPr>
                    <p:cNvPr id="303" name="Freihandform: Form 302">
                      <a:extLst>
                        <a:ext uri="{FF2B5EF4-FFF2-40B4-BE49-F238E27FC236}">
                          <a16:creationId xmlns:a16="http://schemas.microsoft.com/office/drawing/2014/main" id="{43674BC9-E866-8D28-A254-4A73E1311BD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72799" y="3137396"/>
                      <a:ext cx="164494" cy="474330"/>
                    </a:xfrm>
                    <a:custGeom>
                      <a:avLst/>
                      <a:gdLst>
                        <a:gd name="connsiteX0" fmla="*/ 108364 w 164494"/>
                        <a:gd name="connsiteY0" fmla="*/ 474331 h 474330"/>
                        <a:gd name="connsiteX1" fmla="*/ 24047 w 164494"/>
                        <a:gd name="connsiteY1" fmla="*/ 463686 h 474330"/>
                        <a:gd name="connsiteX2" fmla="*/ 1001 w 164494"/>
                        <a:gd name="connsiteY2" fmla="*/ 0 h 474330"/>
                        <a:gd name="connsiteX3" fmla="*/ 164495 w 164494"/>
                        <a:gd name="connsiteY3" fmla="*/ 9012 h 474330"/>
                        <a:gd name="connsiteX4" fmla="*/ 108364 w 164494"/>
                        <a:gd name="connsiteY4" fmla="*/ 474331 h 4743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64494" h="474330">
                          <a:moveTo>
                            <a:pt x="108364" y="474331"/>
                          </a:moveTo>
                          <a:lnTo>
                            <a:pt x="24047" y="463686"/>
                          </a:lnTo>
                          <a:cubicBezTo>
                            <a:pt x="24047" y="463686"/>
                            <a:pt x="-5773" y="46574"/>
                            <a:pt x="1001" y="0"/>
                          </a:cubicBezTo>
                          <a:lnTo>
                            <a:pt x="164495" y="9012"/>
                          </a:lnTo>
                          <a:cubicBezTo>
                            <a:pt x="144353" y="220350"/>
                            <a:pt x="121792" y="349911"/>
                            <a:pt x="108364" y="474331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04" name="Freihandform: Form 303">
                      <a:extLst>
                        <a:ext uri="{FF2B5EF4-FFF2-40B4-BE49-F238E27FC236}">
                          <a16:creationId xmlns:a16="http://schemas.microsoft.com/office/drawing/2014/main" id="{1CCB67D5-CAF0-4FB2-0F7D-E6F3F0C6693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74042" y="3056405"/>
                      <a:ext cx="163433" cy="163433"/>
                    </a:xfrm>
                    <a:custGeom>
                      <a:avLst/>
                      <a:gdLst>
                        <a:gd name="connsiteX0" fmla="*/ 163433 w 163433"/>
                        <a:gd name="connsiteY0" fmla="*/ 81717 h 163433"/>
                        <a:gd name="connsiteX1" fmla="*/ 81717 w 163433"/>
                        <a:gd name="connsiteY1" fmla="*/ 163433 h 163433"/>
                        <a:gd name="connsiteX2" fmla="*/ 0 w 163433"/>
                        <a:gd name="connsiteY2" fmla="*/ 81717 h 163433"/>
                        <a:gd name="connsiteX3" fmla="*/ 81717 w 163433"/>
                        <a:gd name="connsiteY3" fmla="*/ 0 h 163433"/>
                        <a:gd name="connsiteX4" fmla="*/ 163433 w 163433"/>
                        <a:gd name="connsiteY4" fmla="*/ 81717 h 1634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63433" h="163433">
                          <a:moveTo>
                            <a:pt x="163433" y="81717"/>
                          </a:moveTo>
                          <a:cubicBezTo>
                            <a:pt x="163433" y="126847"/>
                            <a:pt x="126848" y="163433"/>
                            <a:pt x="81717" y="163433"/>
                          </a:cubicBezTo>
                          <a:cubicBezTo>
                            <a:pt x="36586" y="163433"/>
                            <a:pt x="0" y="126847"/>
                            <a:pt x="0" y="81717"/>
                          </a:cubicBezTo>
                          <a:cubicBezTo>
                            <a:pt x="0" y="36586"/>
                            <a:pt x="36586" y="0"/>
                            <a:pt x="81717" y="0"/>
                          </a:cubicBezTo>
                          <a:cubicBezTo>
                            <a:pt x="126848" y="0"/>
                            <a:pt x="163433" y="36586"/>
                            <a:pt x="163433" y="81717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05" name="Freihandform: Form 304">
                      <a:extLst>
                        <a:ext uri="{FF2B5EF4-FFF2-40B4-BE49-F238E27FC236}">
                          <a16:creationId xmlns:a16="http://schemas.microsoft.com/office/drawing/2014/main" id="{18ABD3BD-9389-D813-05F9-69AEC7F8718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92974" y="3544769"/>
                      <a:ext cx="94962" cy="66957"/>
                    </a:xfrm>
                    <a:custGeom>
                      <a:avLst/>
                      <a:gdLst>
                        <a:gd name="connsiteX0" fmla="*/ 0 w 94962"/>
                        <a:gd name="connsiteY0" fmla="*/ 0 h 66957"/>
                        <a:gd name="connsiteX1" fmla="*/ 3932 w 94962"/>
                        <a:gd name="connsiteY1" fmla="*/ 56312 h 66957"/>
                        <a:gd name="connsiteX2" fmla="*/ 88249 w 94962"/>
                        <a:gd name="connsiteY2" fmla="*/ 66958 h 66957"/>
                        <a:gd name="connsiteX3" fmla="*/ 94963 w 94962"/>
                        <a:gd name="connsiteY3" fmla="*/ 9617 h 66957"/>
                        <a:gd name="connsiteX4" fmla="*/ 0 w 94962"/>
                        <a:gd name="connsiteY4" fmla="*/ 0 h 66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94962" h="66957">
                          <a:moveTo>
                            <a:pt x="0" y="0"/>
                          </a:moveTo>
                          <a:cubicBezTo>
                            <a:pt x="2359" y="34356"/>
                            <a:pt x="3932" y="56312"/>
                            <a:pt x="3932" y="56312"/>
                          </a:cubicBezTo>
                          <a:lnTo>
                            <a:pt x="88249" y="66958"/>
                          </a:lnTo>
                          <a:cubicBezTo>
                            <a:pt x="90305" y="48026"/>
                            <a:pt x="92543" y="29033"/>
                            <a:pt x="94963" y="9617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306" name="Freihandform: Form 305">
                    <a:extLst>
                      <a:ext uri="{FF2B5EF4-FFF2-40B4-BE49-F238E27FC236}">
                        <a16:creationId xmlns:a16="http://schemas.microsoft.com/office/drawing/2014/main" id="{14EC80C2-DB2B-CBA8-8973-6E23BDDF8B7A}"/>
                      </a:ext>
                    </a:extLst>
                  </p:cNvPr>
                  <p:cNvSpPr/>
                  <p:nvPr/>
                </p:nvSpPr>
                <p:spPr>
                  <a:xfrm>
                    <a:off x="11916157" y="2526609"/>
                    <a:ext cx="253134" cy="668188"/>
                  </a:xfrm>
                  <a:custGeom>
                    <a:avLst/>
                    <a:gdLst>
                      <a:gd name="connsiteX0" fmla="*/ 114258 w 253134"/>
                      <a:gd name="connsiteY0" fmla="*/ 0 h 668188"/>
                      <a:gd name="connsiteX1" fmla="*/ 194644 w 253134"/>
                      <a:gd name="connsiteY1" fmla="*/ 160409 h 668188"/>
                      <a:gd name="connsiteX2" fmla="*/ 253134 w 253134"/>
                      <a:gd name="connsiteY2" fmla="*/ 666434 h 668188"/>
                      <a:gd name="connsiteX3" fmla="*/ 41312 w 253134"/>
                      <a:gd name="connsiteY3" fmla="*/ 668189 h 668188"/>
                      <a:gd name="connsiteX4" fmla="*/ 0 w 253134"/>
                      <a:gd name="connsiteY4" fmla="*/ 175167 h 668188"/>
                      <a:gd name="connsiteX5" fmla="*/ 114198 w 253134"/>
                      <a:gd name="connsiteY5" fmla="*/ 0 h 6681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53134" h="668188">
                        <a:moveTo>
                          <a:pt x="114258" y="0"/>
                        </a:moveTo>
                        <a:cubicBezTo>
                          <a:pt x="114258" y="0"/>
                          <a:pt x="178192" y="18993"/>
                          <a:pt x="194644" y="160409"/>
                        </a:cubicBezTo>
                        <a:cubicBezTo>
                          <a:pt x="211096" y="301825"/>
                          <a:pt x="253134" y="666434"/>
                          <a:pt x="253134" y="666434"/>
                        </a:cubicBezTo>
                        <a:lnTo>
                          <a:pt x="41312" y="668189"/>
                        </a:lnTo>
                        <a:lnTo>
                          <a:pt x="0" y="175167"/>
                        </a:lnTo>
                        <a:lnTo>
                          <a:pt x="114198" y="0"/>
                        </a:ln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07" name="Freihandform: Form 306">
                    <a:extLst>
                      <a:ext uri="{FF2B5EF4-FFF2-40B4-BE49-F238E27FC236}">
                        <a16:creationId xmlns:a16="http://schemas.microsoft.com/office/drawing/2014/main" id="{5CDEBDE1-690D-EE27-10B8-922B2A961742}"/>
                      </a:ext>
                    </a:extLst>
                  </p:cNvPr>
                  <p:cNvSpPr/>
                  <p:nvPr/>
                </p:nvSpPr>
                <p:spPr>
                  <a:xfrm>
                    <a:off x="11876781" y="2514754"/>
                    <a:ext cx="210128" cy="210128"/>
                  </a:xfrm>
                  <a:custGeom>
                    <a:avLst/>
                    <a:gdLst>
                      <a:gd name="connsiteX0" fmla="*/ 210129 w 210128"/>
                      <a:gd name="connsiteY0" fmla="*/ 105064 h 210128"/>
                      <a:gd name="connsiteX1" fmla="*/ 105064 w 210128"/>
                      <a:gd name="connsiteY1" fmla="*/ 210128 h 210128"/>
                      <a:gd name="connsiteX2" fmla="*/ 0 w 210128"/>
                      <a:gd name="connsiteY2" fmla="*/ 105064 h 210128"/>
                      <a:gd name="connsiteX3" fmla="*/ 105064 w 210128"/>
                      <a:gd name="connsiteY3" fmla="*/ 0 h 210128"/>
                      <a:gd name="connsiteX4" fmla="*/ 210129 w 210128"/>
                      <a:gd name="connsiteY4" fmla="*/ 105064 h 2101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0128" h="210128">
                        <a:moveTo>
                          <a:pt x="210129" y="105064"/>
                        </a:moveTo>
                        <a:cubicBezTo>
                          <a:pt x="210129" y="163089"/>
                          <a:pt x="163089" y="210128"/>
                          <a:pt x="105064" y="210128"/>
                        </a:cubicBezTo>
                        <a:cubicBezTo>
                          <a:pt x="47039" y="210128"/>
                          <a:pt x="0" y="163089"/>
                          <a:pt x="0" y="105064"/>
                        </a:cubicBezTo>
                        <a:cubicBezTo>
                          <a:pt x="0" y="47039"/>
                          <a:pt x="47039" y="0"/>
                          <a:pt x="105064" y="0"/>
                        </a:cubicBezTo>
                        <a:cubicBezTo>
                          <a:pt x="163089" y="0"/>
                          <a:pt x="210129" y="47039"/>
                          <a:pt x="210129" y="105064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308" name="Grafik 297">
                    <a:extLst>
                      <a:ext uri="{FF2B5EF4-FFF2-40B4-BE49-F238E27FC236}">
                        <a16:creationId xmlns:a16="http://schemas.microsoft.com/office/drawing/2014/main" id="{4F86260C-4504-EB81-6616-835DCB9F06FC}"/>
                      </a:ext>
                    </a:extLst>
                  </p:cNvPr>
                  <p:cNvGrpSpPr/>
                  <p:nvPr/>
                </p:nvGrpSpPr>
                <p:grpSpPr>
                  <a:xfrm>
                    <a:off x="11946098" y="3566242"/>
                    <a:ext cx="143230" cy="335273"/>
                    <a:chOff x="11946098" y="3566242"/>
                    <a:chExt cx="143230" cy="335273"/>
                  </a:xfrm>
                  <a:solidFill>
                    <a:srgbClr val="02787D"/>
                  </a:solidFill>
                </p:grpSpPr>
                <p:grpSp>
                  <p:nvGrpSpPr>
                    <p:cNvPr id="309" name="Grafik 297">
                      <a:extLst>
                        <a:ext uri="{FF2B5EF4-FFF2-40B4-BE49-F238E27FC236}">
                          <a16:creationId xmlns:a16="http://schemas.microsoft.com/office/drawing/2014/main" id="{ED436F3D-517A-36B9-5267-57D320273D8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91897" y="3779147"/>
                      <a:ext cx="71060" cy="63636"/>
                      <a:chOff x="11991897" y="3779147"/>
                      <a:chExt cx="71060" cy="63636"/>
                    </a:xfrm>
                    <a:solidFill>
                      <a:srgbClr val="02787D"/>
                    </a:solidFill>
                  </p:grpSpPr>
                  <p:sp>
                    <p:nvSpPr>
                      <p:cNvPr id="310" name="Freihandform: Form 309">
                        <a:extLst>
                          <a:ext uri="{FF2B5EF4-FFF2-40B4-BE49-F238E27FC236}">
                            <a16:creationId xmlns:a16="http://schemas.microsoft.com/office/drawing/2014/main" id="{D1E10D74-FFAD-0C29-2D28-92138CAB591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91897" y="3797206"/>
                        <a:ext cx="39028" cy="45577"/>
                      </a:xfrm>
                      <a:custGeom>
                        <a:avLst/>
                        <a:gdLst>
                          <a:gd name="connsiteX0" fmla="*/ 1924 w 39028"/>
                          <a:gd name="connsiteY0" fmla="*/ 45577 h 45577"/>
                          <a:gd name="connsiteX1" fmla="*/ 26179 w 39028"/>
                          <a:gd name="connsiteY1" fmla="*/ 33298 h 45577"/>
                          <a:gd name="connsiteX2" fmla="*/ 38759 w 39028"/>
                          <a:gd name="connsiteY2" fmla="*/ 6443 h 45577"/>
                          <a:gd name="connsiteX3" fmla="*/ 37005 w 39028"/>
                          <a:gd name="connsiteY3" fmla="*/ 31 h 45577"/>
                          <a:gd name="connsiteX4" fmla="*/ 9968 w 39028"/>
                          <a:gd name="connsiteY4" fmla="*/ 19568 h 45577"/>
                          <a:gd name="connsiteX5" fmla="*/ 1984 w 39028"/>
                          <a:gd name="connsiteY5" fmla="*/ 45577 h 45577"/>
                          <a:gd name="connsiteX6" fmla="*/ 1984 w 39028"/>
                          <a:gd name="connsiteY6" fmla="*/ 45577 h 455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9028" h="45577">
                            <a:moveTo>
                              <a:pt x="1924" y="45577"/>
                            </a:moveTo>
                            <a:lnTo>
                              <a:pt x="26179" y="33298"/>
                            </a:lnTo>
                            <a:cubicBezTo>
                              <a:pt x="35312" y="28460"/>
                              <a:pt x="40272" y="18721"/>
                              <a:pt x="38759" y="6443"/>
                            </a:cubicBezTo>
                            <a:cubicBezTo>
                              <a:pt x="38276" y="2511"/>
                              <a:pt x="37670" y="-332"/>
                              <a:pt x="37005" y="31"/>
                            </a:cubicBezTo>
                            <a:cubicBezTo>
                              <a:pt x="35614" y="636"/>
                              <a:pt x="24061" y="8923"/>
                              <a:pt x="9968" y="19568"/>
                            </a:cubicBezTo>
                            <a:cubicBezTo>
                              <a:pt x="1077" y="26343"/>
                              <a:pt x="-2613" y="32875"/>
                              <a:pt x="1984" y="45577"/>
                            </a:cubicBezTo>
                            <a:lnTo>
                              <a:pt x="1984" y="4557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11" name="Freihandform: Form 310">
                        <a:extLst>
                          <a:ext uri="{FF2B5EF4-FFF2-40B4-BE49-F238E27FC236}">
                            <a16:creationId xmlns:a16="http://schemas.microsoft.com/office/drawing/2014/main" id="{FE294465-0C94-2496-FBBC-2CA084C3F4B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13756" y="3779147"/>
                        <a:ext cx="49201" cy="51418"/>
                      </a:xfrm>
                      <a:custGeom>
                        <a:avLst/>
                        <a:gdLst>
                          <a:gd name="connsiteX0" fmla="*/ 4320 w 49201"/>
                          <a:gd name="connsiteY0" fmla="*/ 51358 h 51418"/>
                          <a:gd name="connsiteX1" fmla="*/ 41518 w 49201"/>
                          <a:gd name="connsiteY1" fmla="*/ 30793 h 51418"/>
                          <a:gd name="connsiteX2" fmla="*/ 49019 w 49201"/>
                          <a:gd name="connsiteY2" fmla="*/ 24139 h 51418"/>
                          <a:gd name="connsiteX3" fmla="*/ 28454 w 49201"/>
                          <a:gd name="connsiteY3" fmla="*/ 5 h 51418"/>
                          <a:gd name="connsiteX4" fmla="*/ 6558 w 49201"/>
                          <a:gd name="connsiteY4" fmla="*/ 23655 h 51418"/>
                          <a:gd name="connsiteX5" fmla="*/ 4320 w 49201"/>
                          <a:gd name="connsiteY5" fmla="*/ 51418 h 51418"/>
                          <a:gd name="connsiteX6" fmla="*/ 4320 w 49201"/>
                          <a:gd name="connsiteY6" fmla="*/ 51418 h 514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9201" h="51418">
                            <a:moveTo>
                              <a:pt x="4320" y="51358"/>
                            </a:moveTo>
                            <a:lnTo>
                              <a:pt x="41518" y="30793"/>
                            </a:lnTo>
                            <a:cubicBezTo>
                              <a:pt x="46055" y="28071"/>
                              <a:pt x="47748" y="25712"/>
                              <a:pt x="49019" y="24139"/>
                            </a:cubicBezTo>
                            <a:cubicBezTo>
                              <a:pt x="50894" y="12163"/>
                              <a:pt x="37950" y="-297"/>
                              <a:pt x="28454" y="5"/>
                            </a:cubicBezTo>
                            <a:lnTo>
                              <a:pt x="6558" y="23655"/>
                            </a:lnTo>
                            <a:cubicBezTo>
                              <a:pt x="-2092" y="29825"/>
                              <a:pt x="-1487" y="39442"/>
                              <a:pt x="4320" y="51418"/>
                            </a:cubicBezTo>
                            <a:lnTo>
                              <a:pt x="4320" y="51418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312" name="Grafik 297">
                      <a:extLst>
                        <a:ext uri="{FF2B5EF4-FFF2-40B4-BE49-F238E27FC236}">
                          <a16:creationId xmlns:a16="http://schemas.microsoft.com/office/drawing/2014/main" id="{ED34ECF0-54F8-2E4E-3EE1-62F6E586BA0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85158" y="3753599"/>
                      <a:ext cx="101447" cy="124931"/>
                      <a:chOff x="11985158" y="3753599"/>
                      <a:chExt cx="101447" cy="124931"/>
                    </a:xfrm>
                    <a:solidFill>
                      <a:srgbClr val="02787D"/>
                    </a:solidFill>
                  </p:grpSpPr>
                  <p:sp>
                    <p:nvSpPr>
                      <p:cNvPr id="313" name="Freihandform: Form 312">
                        <a:extLst>
                          <a:ext uri="{FF2B5EF4-FFF2-40B4-BE49-F238E27FC236}">
                            <a16:creationId xmlns:a16="http://schemas.microsoft.com/office/drawing/2014/main" id="{2B690837-479E-7652-0CD1-2E24327308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85158" y="3820113"/>
                        <a:ext cx="47131" cy="58418"/>
                      </a:xfrm>
                      <a:custGeom>
                        <a:avLst/>
                        <a:gdLst>
                          <a:gd name="connsiteX0" fmla="*/ 2493 w 47131"/>
                          <a:gd name="connsiteY0" fmla="*/ 58418 h 58418"/>
                          <a:gd name="connsiteX1" fmla="*/ 31768 w 47131"/>
                          <a:gd name="connsiteY1" fmla="*/ 40091 h 58418"/>
                          <a:gd name="connsiteX2" fmla="*/ 46768 w 47131"/>
                          <a:gd name="connsiteY2" fmla="*/ 7126 h 58418"/>
                          <a:gd name="connsiteX3" fmla="*/ 44530 w 47131"/>
                          <a:gd name="connsiteY3" fmla="*/ 49 h 58418"/>
                          <a:gd name="connsiteX4" fmla="*/ 11928 w 47131"/>
                          <a:gd name="connsiteY4" fmla="*/ 27207 h 58418"/>
                          <a:gd name="connsiteX5" fmla="*/ 2493 w 47131"/>
                          <a:gd name="connsiteY5" fmla="*/ 58418 h 58418"/>
                          <a:gd name="connsiteX6" fmla="*/ 2493 w 47131"/>
                          <a:gd name="connsiteY6" fmla="*/ 58418 h 584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7131" h="58418">
                            <a:moveTo>
                              <a:pt x="2493" y="58418"/>
                            </a:moveTo>
                            <a:lnTo>
                              <a:pt x="31768" y="40091"/>
                            </a:lnTo>
                            <a:cubicBezTo>
                              <a:pt x="42777" y="32953"/>
                              <a:pt x="48704" y="20917"/>
                              <a:pt x="46768" y="7126"/>
                            </a:cubicBezTo>
                            <a:cubicBezTo>
                              <a:pt x="46164" y="2710"/>
                              <a:pt x="45377" y="-435"/>
                              <a:pt x="44530" y="49"/>
                            </a:cubicBezTo>
                            <a:cubicBezTo>
                              <a:pt x="42897" y="1017"/>
                              <a:pt x="28925" y="12509"/>
                              <a:pt x="11928" y="27207"/>
                            </a:cubicBezTo>
                            <a:cubicBezTo>
                              <a:pt x="1223" y="36522"/>
                              <a:pt x="-3193" y="44627"/>
                              <a:pt x="2493" y="58418"/>
                            </a:cubicBezTo>
                            <a:lnTo>
                              <a:pt x="2493" y="58418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14" name="Freihandform: Form 313">
                        <a:extLst>
                          <a:ext uri="{FF2B5EF4-FFF2-40B4-BE49-F238E27FC236}">
                            <a16:creationId xmlns:a16="http://schemas.microsoft.com/office/drawing/2014/main" id="{D5C1333C-E6E2-AE62-B5CE-9EE721DA3C6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10819" y="3786350"/>
                        <a:ext cx="62106" cy="74155"/>
                      </a:xfrm>
                      <a:custGeom>
                        <a:avLst/>
                        <a:gdLst>
                          <a:gd name="connsiteX0" fmla="*/ 5381 w 62106"/>
                          <a:gd name="connsiteY0" fmla="*/ 74156 h 74155"/>
                          <a:gd name="connsiteX1" fmla="*/ 50080 w 62106"/>
                          <a:gd name="connsiteY1" fmla="*/ 45546 h 74155"/>
                          <a:gd name="connsiteX2" fmla="*/ 55766 w 62106"/>
                          <a:gd name="connsiteY2" fmla="*/ 3569 h 74155"/>
                          <a:gd name="connsiteX3" fmla="*/ 50927 w 62106"/>
                          <a:gd name="connsiteY3" fmla="*/ 0 h 74155"/>
                          <a:gd name="connsiteX4" fmla="*/ 7801 w 62106"/>
                          <a:gd name="connsiteY4" fmla="*/ 41917 h 74155"/>
                          <a:gd name="connsiteX5" fmla="*/ 5381 w 62106"/>
                          <a:gd name="connsiteY5" fmla="*/ 74095 h 74155"/>
                          <a:gd name="connsiteX6" fmla="*/ 5381 w 62106"/>
                          <a:gd name="connsiteY6" fmla="*/ 74095 h 7415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2106" h="74155">
                            <a:moveTo>
                              <a:pt x="5381" y="74156"/>
                            </a:moveTo>
                            <a:lnTo>
                              <a:pt x="50080" y="45546"/>
                            </a:lnTo>
                            <a:cubicBezTo>
                              <a:pt x="63508" y="36776"/>
                              <a:pt x="66109" y="17601"/>
                              <a:pt x="55766" y="3569"/>
                            </a:cubicBezTo>
                            <a:lnTo>
                              <a:pt x="50927" y="0"/>
                            </a:lnTo>
                            <a:lnTo>
                              <a:pt x="7801" y="41917"/>
                            </a:lnTo>
                            <a:cubicBezTo>
                              <a:pt x="-2603" y="50506"/>
                              <a:pt x="-1756" y="61393"/>
                              <a:pt x="5381" y="74095"/>
                            </a:cubicBezTo>
                            <a:lnTo>
                              <a:pt x="5381" y="7409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15" name="Freihandform: Form 314">
                        <a:extLst>
                          <a:ext uri="{FF2B5EF4-FFF2-40B4-BE49-F238E27FC236}">
                            <a16:creationId xmlns:a16="http://schemas.microsoft.com/office/drawing/2014/main" id="{4B273918-4317-2EE6-43B5-43F7E8152A7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44011" y="3753599"/>
                        <a:ext cx="42594" cy="70796"/>
                      </a:xfrm>
                      <a:custGeom>
                        <a:avLst/>
                        <a:gdLst>
                          <a:gd name="connsiteX0" fmla="*/ 42595 w 42594"/>
                          <a:gd name="connsiteY0" fmla="*/ 9343 h 70796"/>
                          <a:gd name="connsiteX1" fmla="*/ 28139 w 42594"/>
                          <a:gd name="connsiteY1" fmla="*/ 64506 h 70796"/>
                          <a:gd name="connsiteX2" fmla="*/ 24207 w 42594"/>
                          <a:gd name="connsiteY2" fmla="*/ 70797 h 70796"/>
                          <a:gd name="connsiteX3" fmla="*/ 194 w 42594"/>
                          <a:gd name="connsiteY3" fmla="*/ 37167 h 70796"/>
                          <a:gd name="connsiteX4" fmla="*/ 2976 w 42594"/>
                          <a:gd name="connsiteY4" fmla="*/ 6561 h 70796"/>
                          <a:gd name="connsiteX5" fmla="*/ 42595 w 42594"/>
                          <a:gd name="connsiteY5" fmla="*/ 9343 h 7079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42594" h="70796">
                            <a:moveTo>
                              <a:pt x="42595" y="9343"/>
                            </a:moveTo>
                            <a:cubicBezTo>
                              <a:pt x="39813" y="20775"/>
                              <a:pt x="28139" y="64506"/>
                              <a:pt x="28139" y="64506"/>
                            </a:cubicBezTo>
                            <a:lnTo>
                              <a:pt x="24207" y="70797"/>
                            </a:lnTo>
                            <a:cubicBezTo>
                              <a:pt x="7997" y="67047"/>
                              <a:pt x="-1500" y="52409"/>
                              <a:pt x="194" y="37167"/>
                            </a:cubicBezTo>
                            <a:lnTo>
                              <a:pt x="2976" y="6561"/>
                            </a:lnTo>
                            <a:cubicBezTo>
                              <a:pt x="9751" y="-2633"/>
                              <a:pt x="39873" y="-2573"/>
                              <a:pt x="42595" y="9343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316" name="Grafik 297">
                      <a:extLst>
                        <a:ext uri="{FF2B5EF4-FFF2-40B4-BE49-F238E27FC236}">
                          <a16:creationId xmlns:a16="http://schemas.microsoft.com/office/drawing/2014/main" id="{5AD94133-9E06-DF49-EA1D-D96DA22169F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90326" y="3742989"/>
                      <a:ext cx="85513" cy="158526"/>
                      <a:chOff x="11990326" y="3742989"/>
                      <a:chExt cx="85513" cy="158526"/>
                    </a:xfrm>
                    <a:solidFill>
                      <a:srgbClr val="02787D"/>
                    </a:solidFill>
                  </p:grpSpPr>
                  <p:sp>
                    <p:nvSpPr>
                      <p:cNvPr id="317" name="Freihandform: Form 316">
                        <a:extLst>
                          <a:ext uri="{FF2B5EF4-FFF2-40B4-BE49-F238E27FC236}">
                            <a16:creationId xmlns:a16="http://schemas.microsoft.com/office/drawing/2014/main" id="{32B3E9C1-4530-E7DC-8D1B-1ED852E5EE7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90326" y="3824551"/>
                        <a:ext cx="38110" cy="76964"/>
                      </a:xfrm>
                      <a:custGeom>
                        <a:avLst/>
                        <a:gdLst>
                          <a:gd name="connsiteX0" fmla="*/ 8575 w 38110"/>
                          <a:gd name="connsiteY0" fmla="*/ 76904 h 76964"/>
                          <a:gd name="connsiteX1" fmla="*/ 31076 w 38110"/>
                          <a:gd name="connsiteY1" fmla="*/ 46298 h 76964"/>
                          <a:gd name="connsiteX2" fmla="*/ 33012 w 38110"/>
                          <a:gd name="connsiteY2" fmla="*/ 6498 h 76964"/>
                          <a:gd name="connsiteX3" fmla="*/ 27870 w 38110"/>
                          <a:gd name="connsiteY3" fmla="*/ 147 h 76964"/>
                          <a:gd name="connsiteX4" fmla="*/ 5491 w 38110"/>
                          <a:gd name="connsiteY4" fmla="*/ 41157 h 76964"/>
                          <a:gd name="connsiteX5" fmla="*/ 8515 w 38110"/>
                          <a:gd name="connsiteY5" fmla="*/ 76964 h 76964"/>
                          <a:gd name="connsiteX6" fmla="*/ 8515 w 38110"/>
                          <a:gd name="connsiteY6" fmla="*/ 76964 h 769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8110" h="76964">
                            <a:moveTo>
                              <a:pt x="8575" y="76904"/>
                            </a:moveTo>
                            <a:lnTo>
                              <a:pt x="31076" y="46298"/>
                            </a:lnTo>
                            <a:cubicBezTo>
                              <a:pt x="39484" y="34563"/>
                              <a:pt x="40633" y="19805"/>
                              <a:pt x="33012" y="6498"/>
                            </a:cubicBezTo>
                            <a:cubicBezTo>
                              <a:pt x="30592" y="2204"/>
                              <a:pt x="28536" y="-700"/>
                              <a:pt x="27870" y="147"/>
                            </a:cubicBezTo>
                            <a:cubicBezTo>
                              <a:pt x="26540" y="1780"/>
                              <a:pt x="16922" y="19200"/>
                              <a:pt x="5491" y="41157"/>
                            </a:cubicBezTo>
                            <a:cubicBezTo>
                              <a:pt x="-1707" y="55008"/>
                              <a:pt x="-2917" y="65109"/>
                              <a:pt x="8515" y="76964"/>
                            </a:cubicBezTo>
                            <a:lnTo>
                              <a:pt x="8515" y="76964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18" name="Freihandform: Form 317">
                        <a:extLst>
                          <a:ext uri="{FF2B5EF4-FFF2-40B4-BE49-F238E27FC236}">
                            <a16:creationId xmlns:a16="http://schemas.microsoft.com/office/drawing/2014/main" id="{4D530E5C-51AC-8157-7103-93A1F8DD211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05558" y="3796330"/>
                        <a:ext cx="52356" cy="76575"/>
                      </a:xfrm>
                      <a:custGeom>
                        <a:avLst/>
                        <a:gdLst>
                          <a:gd name="connsiteX0" fmla="*/ 14271 w 52356"/>
                          <a:gd name="connsiteY0" fmla="*/ 76575 h 76575"/>
                          <a:gd name="connsiteX1" fmla="*/ 48144 w 52356"/>
                          <a:gd name="connsiteY1" fmla="*/ 28852 h 76575"/>
                          <a:gd name="connsiteX2" fmla="*/ 29817 w 52356"/>
                          <a:gd name="connsiteY2" fmla="*/ 1815 h 76575"/>
                          <a:gd name="connsiteX3" fmla="*/ 27518 w 52356"/>
                          <a:gd name="connsiteY3" fmla="*/ 0 h 76575"/>
                          <a:gd name="connsiteX4" fmla="*/ 3384 w 52356"/>
                          <a:gd name="connsiteY4" fmla="*/ 42280 h 76575"/>
                          <a:gd name="connsiteX5" fmla="*/ 13425 w 52356"/>
                          <a:gd name="connsiteY5" fmla="*/ 75910 h 76575"/>
                          <a:gd name="connsiteX6" fmla="*/ 14271 w 52356"/>
                          <a:gd name="connsiteY6" fmla="*/ 76575 h 7657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2356" h="76575">
                            <a:moveTo>
                              <a:pt x="14271" y="76575"/>
                            </a:moveTo>
                            <a:lnTo>
                              <a:pt x="48144" y="28852"/>
                            </a:lnTo>
                            <a:cubicBezTo>
                              <a:pt x="58366" y="14396"/>
                              <a:pt x="49111" y="6714"/>
                              <a:pt x="29817" y="1815"/>
                            </a:cubicBezTo>
                            <a:lnTo>
                              <a:pt x="27518" y="0"/>
                            </a:lnTo>
                            <a:lnTo>
                              <a:pt x="3384" y="42280"/>
                            </a:lnTo>
                            <a:cubicBezTo>
                              <a:pt x="-3814" y="55284"/>
                              <a:pt x="904" y="65809"/>
                              <a:pt x="13425" y="75910"/>
                            </a:cubicBezTo>
                            <a:lnTo>
                              <a:pt x="14271" y="7657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19" name="Freihandform: Form 318">
                        <a:extLst>
                          <a:ext uri="{FF2B5EF4-FFF2-40B4-BE49-F238E27FC236}">
                            <a16:creationId xmlns:a16="http://schemas.microsoft.com/office/drawing/2014/main" id="{ED7820B9-B354-240C-B995-54889BD0912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31820" y="3742989"/>
                        <a:ext cx="44019" cy="76991"/>
                      </a:xfrm>
                      <a:custGeom>
                        <a:avLst/>
                        <a:gdLst>
                          <a:gd name="connsiteX0" fmla="*/ 43959 w 44019"/>
                          <a:gd name="connsiteY0" fmla="*/ 12090 h 76991"/>
                          <a:gd name="connsiteX1" fmla="*/ 24725 w 44019"/>
                          <a:gd name="connsiteY1" fmla="*/ 76991 h 76991"/>
                          <a:gd name="connsiteX2" fmla="*/ 228 w 44019"/>
                          <a:gd name="connsiteY2" fmla="*/ 53886 h 76991"/>
                          <a:gd name="connsiteX3" fmla="*/ 4764 w 44019"/>
                          <a:gd name="connsiteY3" fmla="*/ 5981 h 76991"/>
                          <a:gd name="connsiteX4" fmla="*/ 44019 w 44019"/>
                          <a:gd name="connsiteY4" fmla="*/ 12150 h 7699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44019" h="76991">
                            <a:moveTo>
                              <a:pt x="43959" y="12090"/>
                            </a:moveTo>
                            <a:cubicBezTo>
                              <a:pt x="43778" y="13300"/>
                              <a:pt x="24725" y="76991"/>
                              <a:pt x="24725" y="76991"/>
                            </a:cubicBezTo>
                            <a:cubicBezTo>
                              <a:pt x="6881" y="72939"/>
                              <a:pt x="-1527" y="70640"/>
                              <a:pt x="228" y="53886"/>
                            </a:cubicBezTo>
                            <a:lnTo>
                              <a:pt x="4764" y="5981"/>
                            </a:lnTo>
                            <a:cubicBezTo>
                              <a:pt x="12143" y="-4181"/>
                              <a:pt x="40935" y="-915"/>
                              <a:pt x="44019" y="12150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320" name="Grafik 297">
                      <a:extLst>
                        <a:ext uri="{FF2B5EF4-FFF2-40B4-BE49-F238E27FC236}">
                          <a16:creationId xmlns:a16="http://schemas.microsoft.com/office/drawing/2014/main" id="{4AAE05CD-0CB7-E1C3-3476-4128428E962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87985" y="3749196"/>
                      <a:ext cx="74487" cy="151835"/>
                      <a:chOff x="11987985" y="3749196"/>
                      <a:chExt cx="74487" cy="151835"/>
                    </a:xfrm>
                    <a:solidFill>
                      <a:srgbClr val="02787D"/>
                    </a:solidFill>
                  </p:grpSpPr>
                  <p:sp>
                    <p:nvSpPr>
                      <p:cNvPr id="321" name="Freihandform: Form 320">
                        <a:extLst>
                          <a:ext uri="{FF2B5EF4-FFF2-40B4-BE49-F238E27FC236}">
                            <a16:creationId xmlns:a16="http://schemas.microsoft.com/office/drawing/2014/main" id="{209EF6B3-A9D8-93E3-9EDB-B735EB274F6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87985" y="3830759"/>
                        <a:ext cx="34589" cy="70272"/>
                      </a:xfrm>
                      <a:custGeom>
                        <a:avLst/>
                        <a:gdLst>
                          <a:gd name="connsiteX0" fmla="*/ 10917 w 34589"/>
                          <a:gd name="connsiteY0" fmla="*/ 70273 h 70272"/>
                          <a:gd name="connsiteX1" fmla="*/ 29426 w 34589"/>
                          <a:gd name="connsiteY1" fmla="*/ 40393 h 70272"/>
                          <a:gd name="connsiteX2" fmla="*/ 27672 w 34589"/>
                          <a:gd name="connsiteY2" fmla="*/ 5371 h 70272"/>
                          <a:gd name="connsiteX3" fmla="*/ 21744 w 34589"/>
                          <a:gd name="connsiteY3" fmla="*/ 169 h 70272"/>
                          <a:gd name="connsiteX4" fmla="*/ 3356 w 34589"/>
                          <a:gd name="connsiteY4" fmla="*/ 38215 h 70272"/>
                          <a:gd name="connsiteX5" fmla="*/ 10978 w 34589"/>
                          <a:gd name="connsiteY5" fmla="*/ 70273 h 70272"/>
                          <a:gd name="connsiteX6" fmla="*/ 10978 w 34589"/>
                          <a:gd name="connsiteY6" fmla="*/ 70273 h 7027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4589" h="70272">
                            <a:moveTo>
                              <a:pt x="10917" y="70273"/>
                            </a:moveTo>
                            <a:lnTo>
                              <a:pt x="29426" y="40393"/>
                            </a:lnTo>
                            <a:cubicBezTo>
                              <a:pt x="36260" y="28961"/>
                              <a:pt x="36926" y="16743"/>
                              <a:pt x="27672" y="5371"/>
                            </a:cubicBezTo>
                            <a:cubicBezTo>
                              <a:pt x="24708" y="1742"/>
                              <a:pt x="22288" y="-677"/>
                              <a:pt x="21744" y="169"/>
                            </a:cubicBezTo>
                            <a:cubicBezTo>
                              <a:pt x="20655" y="1803"/>
                              <a:pt x="11885" y="17287"/>
                              <a:pt x="3356" y="38215"/>
                            </a:cubicBezTo>
                            <a:cubicBezTo>
                              <a:pt x="-2027" y="51461"/>
                              <a:pt x="-1906" y="60716"/>
                              <a:pt x="10978" y="70273"/>
                            </a:cubicBezTo>
                            <a:lnTo>
                              <a:pt x="10978" y="70273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22" name="Freihandform: Form 321">
                        <a:extLst>
                          <a:ext uri="{FF2B5EF4-FFF2-40B4-BE49-F238E27FC236}">
                            <a16:creationId xmlns:a16="http://schemas.microsoft.com/office/drawing/2014/main" id="{D727BE33-3200-DB74-C4A5-7C53FC98CE1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01678" y="3796330"/>
                        <a:ext cx="46919" cy="74881"/>
                      </a:xfrm>
                      <a:custGeom>
                        <a:avLst/>
                        <a:gdLst>
                          <a:gd name="connsiteX0" fmla="*/ 15672 w 46919"/>
                          <a:gd name="connsiteY0" fmla="*/ 74821 h 74881"/>
                          <a:gd name="connsiteX1" fmla="*/ 43556 w 46919"/>
                          <a:gd name="connsiteY1" fmla="*/ 28670 h 74881"/>
                          <a:gd name="connsiteX2" fmla="*/ 26741 w 46919"/>
                          <a:gd name="connsiteY2" fmla="*/ 0 h 74881"/>
                          <a:gd name="connsiteX3" fmla="*/ 22084 w 46919"/>
                          <a:gd name="connsiteY3" fmla="*/ 4960 h 74881"/>
                          <a:gd name="connsiteX4" fmla="*/ 2124 w 46919"/>
                          <a:gd name="connsiteY4" fmla="*/ 46393 h 74881"/>
                          <a:gd name="connsiteX5" fmla="*/ 15672 w 46919"/>
                          <a:gd name="connsiteY5" fmla="*/ 74881 h 74881"/>
                          <a:gd name="connsiteX6" fmla="*/ 15672 w 46919"/>
                          <a:gd name="connsiteY6" fmla="*/ 74881 h 74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6919" h="74881">
                            <a:moveTo>
                              <a:pt x="15672" y="74821"/>
                            </a:moveTo>
                            <a:lnTo>
                              <a:pt x="43556" y="28670"/>
                            </a:lnTo>
                            <a:cubicBezTo>
                              <a:pt x="51843" y="14577"/>
                              <a:pt x="44282" y="7561"/>
                              <a:pt x="26741" y="0"/>
                            </a:cubicBezTo>
                            <a:lnTo>
                              <a:pt x="22084" y="4960"/>
                            </a:lnTo>
                            <a:lnTo>
                              <a:pt x="2124" y="46393"/>
                            </a:lnTo>
                            <a:cubicBezTo>
                              <a:pt x="-3320" y="58853"/>
                              <a:pt x="1881" y="66958"/>
                              <a:pt x="15672" y="74881"/>
                            </a:cubicBezTo>
                            <a:lnTo>
                              <a:pt x="15672" y="74881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23" name="Freihandform: Form 322">
                        <a:extLst>
                          <a:ext uri="{FF2B5EF4-FFF2-40B4-BE49-F238E27FC236}">
                            <a16:creationId xmlns:a16="http://schemas.microsoft.com/office/drawing/2014/main" id="{A1F7D5EB-2D29-1462-BE0F-2991CE819C5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23561" y="3749196"/>
                        <a:ext cx="38911" cy="69332"/>
                      </a:xfrm>
                      <a:custGeom>
                        <a:avLst/>
                        <a:gdLst>
                          <a:gd name="connsiteX0" fmla="*/ 38851 w 38911"/>
                          <a:gd name="connsiteY0" fmla="*/ 6729 h 69332"/>
                          <a:gd name="connsiteX1" fmla="*/ 24576 w 38911"/>
                          <a:gd name="connsiteY1" fmla="*/ 69332 h 69332"/>
                          <a:gd name="connsiteX2" fmla="*/ 19 w 38911"/>
                          <a:gd name="connsiteY2" fmla="*/ 54392 h 69332"/>
                          <a:gd name="connsiteX3" fmla="*/ 3950 w 38911"/>
                          <a:gd name="connsiteY3" fmla="*/ 9814 h 69332"/>
                          <a:gd name="connsiteX4" fmla="*/ 38911 w 38911"/>
                          <a:gd name="connsiteY4" fmla="*/ 6729 h 6933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38911" h="69332">
                            <a:moveTo>
                              <a:pt x="38851" y="6729"/>
                            </a:moveTo>
                            <a:cubicBezTo>
                              <a:pt x="38790" y="7818"/>
                              <a:pt x="24576" y="69332"/>
                              <a:pt x="24576" y="69332"/>
                            </a:cubicBezTo>
                            <a:cubicBezTo>
                              <a:pt x="6370" y="66611"/>
                              <a:pt x="-405" y="69756"/>
                              <a:pt x="19" y="54392"/>
                            </a:cubicBezTo>
                            <a:lnTo>
                              <a:pt x="3950" y="9814"/>
                            </a:lnTo>
                            <a:cubicBezTo>
                              <a:pt x="10543" y="197"/>
                              <a:pt x="34798" y="-4944"/>
                              <a:pt x="38911" y="6729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324" name="Grafik 297">
                      <a:extLst>
                        <a:ext uri="{FF2B5EF4-FFF2-40B4-BE49-F238E27FC236}">
                          <a16:creationId xmlns:a16="http://schemas.microsoft.com/office/drawing/2014/main" id="{EA59B917-8F56-3759-2E95-638010CF2FA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46098" y="3618585"/>
                      <a:ext cx="105739" cy="213190"/>
                      <a:chOff x="11946098" y="3618585"/>
                      <a:chExt cx="105739" cy="213190"/>
                    </a:xfrm>
                    <a:solidFill>
                      <a:srgbClr val="02787D"/>
                    </a:solidFill>
                  </p:grpSpPr>
                  <p:sp>
                    <p:nvSpPr>
                      <p:cNvPr id="325" name="Freihandform: Form 324">
                        <a:extLst>
                          <a:ext uri="{FF2B5EF4-FFF2-40B4-BE49-F238E27FC236}">
                            <a16:creationId xmlns:a16="http://schemas.microsoft.com/office/drawing/2014/main" id="{F825FD72-9942-FE15-57E3-09E481B40BD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58921" y="3744917"/>
                        <a:ext cx="32671" cy="86858"/>
                      </a:xfrm>
                      <a:custGeom>
                        <a:avLst/>
                        <a:gdLst>
                          <a:gd name="connsiteX0" fmla="*/ 12339 w 32671"/>
                          <a:gd name="connsiteY0" fmla="*/ 86858 h 86858"/>
                          <a:gd name="connsiteX1" fmla="*/ 0 w 32671"/>
                          <a:gd name="connsiteY1" fmla="*/ 44216 h 86858"/>
                          <a:gd name="connsiteX2" fmla="*/ 11673 w 32671"/>
                          <a:gd name="connsiteY2" fmla="*/ 2359 h 86858"/>
                          <a:gd name="connsiteX3" fmla="*/ 20202 w 32671"/>
                          <a:gd name="connsiteY3" fmla="*/ 1089 h 86858"/>
                          <a:gd name="connsiteX4" fmla="*/ 31997 w 32671"/>
                          <a:gd name="connsiteY4" fmla="*/ 52684 h 86858"/>
                          <a:gd name="connsiteX5" fmla="*/ 12399 w 32671"/>
                          <a:gd name="connsiteY5" fmla="*/ 86858 h 86858"/>
                          <a:gd name="connsiteX6" fmla="*/ 12399 w 32671"/>
                          <a:gd name="connsiteY6" fmla="*/ 86858 h 868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2671" h="86858">
                            <a:moveTo>
                              <a:pt x="12339" y="86858"/>
                            </a:moveTo>
                            <a:lnTo>
                              <a:pt x="0" y="44216"/>
                            </a:lnTo>
                            <a:cubicBezTo>
                              <a:pt x="1573" y="30304"/>
                              <a:pt x="3206" y="8771"/>
                              <a:pt x="11673" y="2359"/>
                            </a:cubicBezTo>
                            <a:cubicBezTo>
                              <a:pt x="16452" y="-1270"/>
                              <a:pt x="19779" y="121"/>
                              <a:pt x="20202" y="1089"/>
                            </a:cubicBezTo>
                            <a:cubicBezTo>
                              <a:pt x="23347" y="8226"/>
                              <a:pt x="28610" y="30909"/>
                              <a:pt x="31997" y="52684"/>
                            </a:cubicBezTo>
                            <a:cubicBezTo>
                              <a:pt x="34356" y="67805"/>
                              <a:pt x="31150" y="77906"/>
                              <a:pt x="12399" y="86858"/>
                            </a:cubicBezTo>
                            <a:lnTo>
                              <a:pt x="12399" y="86858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26" name="Freihandform: Form 325">
                        <a:extLst>
                          <a:ext uri="{FF2B5EF4-FFF2-40B4-BE49-F238E27FC236}">
                            <a16:creationId xmlns:a16="http://schemas.microsoft.com/office/drawing/2014/main" id="{22D0EA89-1B05-4DB2-ADBB-27EEDDFFB5E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46098" y="3716544"/>
                        <a:ext cx="49961" cy="74915"/>
                      </a:xfrm>
                      <a:custGeom>
                        <a:avLst/>
                        <a:gdLst>
                          <a:gd name="connsiteX0" fmla="*/ 0 w 49961"/>
                          <a:gd name="connsiteY0" fmla="*/ 6901 h 74915"/>
                          <a:gd name="connsiteX1" fmla="*/ 49961 w 49961"/>
                          <a:gd name="connsiteY1" fmla="*/ 13554 h 74915"/>
                          <a:gd name="connsiteX2" fmla="*/ 38651 w 49961"/>
                          <a:gd name="connsiteY2" fmla="*/ 49180 h 74915"/>
                          <a:gd name="connsiteX3" fmla="*/ 12823 w 49961"/>
                          <a:gd name="connsiteY3" fmla="*/ 72588 h 74915"/>
                          <a:gd name="connsiteX4" fmla="*/ 0 w 49961"/>
                          <a:gd name="connsiteY4" fmla="*/ 6901 h 7491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49961" h="74915">
                            <a:moveTo>
                              <a:pt x="0" y="6901"/>
                            </a:moveTo>
                            <a:cubicBezTo>
                              <a:pt x="16029" y="-11850"/>
                              <a:pt x="49961" y="13554"/>
                              <a:pt x="49961" y="13554"/>
                            </a:cubicBezTo>
                            <a:lnTo>
                              <a:pt x="38651" y="49180"/>
                            </a:lnTo>
                            <a:cubicBezTo>
                              <a:pt x="36836" y="64846"/>
                              <a:pt x="25404" y="81056"/>
                              <a:pt x="12823" y="72588"/>
                            </a:cubicBezTo>
                            <a:cubicBezTo>
                              <a:pt x="12823" y="72588"/>
                              <a:pt x="61" y="6175"/>
                              <a:pt x="0" y="6901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27" name="Freihandform: Form 326">
                        <a:extLst>
                          <a:ext uri="{FF2B5EF4-FFF2-40B4-BE49-F238E27FC236}">
                            <a16:creationId xmlns:a16="http://schemas.microsoft.com/office/drawing/2014/main" id="{7423FC1F-B614-D738-43D9-567CF21A8A0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46098" y="3618585"/>
                        <a:ext cx="105739" cy="122980"/>
                      </a:xfrm>
                      <a:custGeom>
                        <a:avLst/>
                        <a:gdLst>
                          <a:gd name="connsiteX0" fmla="*/ 13005 w 105739"/>
                          <a:gd name="connsiteY0" fmla="*/ 52237 h 122980"/>
                          <a:gd name="connsiteX1" fmla="*/ 0 w 105739"/>
                          <a:gd name="connsiteY1" fmla="*/ 104860 h 122980"/>
                          <a:gd name="connsiteX2" fmla="*/ 0 w 105739"/>
                          <a:gd name="connsiteY2" fmla="*/ 104860 h 122980"/>
                          <a:gd name="connsiteX3" fmla="*/ 49598 w 105739"/>
                          <a:gd name="connsiteY3" fmla="*/ 112360 h 122980"/>
                          <a:gd name="connsiteX4" fmla="*/ 96475 w 105739"/>
                          <a:gd name="connsiteY4" fmla="*/ 56532 h 122980"/>
                          <a:gd name="connsiteX5" fmla="*/ 47300 w 105739"/>
                          <a:gd name="connsiteY5" fmla="*/ 3244 h 122980"/>
                          <a:gd name="connsiteX6" fmla="*/ 12944 w 105739"/>
                          <a:gd name="connsiteY6" fmla="*/ 52237 h 12298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105739" h="122980">
                            <a:moveTo>
                              <a:pt x="13005" y="52237"/>
                            </a:moveTo>
                            <a:cubicBezTo>
                              <a:pt x="7561" y="66875"/>
                              <a:pt x="0" y="104860"/>
                              <a:pt x="0" y="104860"/>
                            </a:cubicBezTo>
                            <a:lnTo>
                              <a:pt x="0" y="104860"/>
                            </a:lnTo>
                            <a:cubicBezTo>
                              <a:pt x="5685" y="123853"/>
                              <a:pt x="34114" y="130385"/>
                              <a:pt x="49598" y="112360"/>
                            </a:cubicBezTo>
                            <a:cubicBezTo>
                              <a:pt x="49598" y="112360"/>
                              <a:pt x="65083" y="73286"/>
                              <a:pt x="96475" y="56532"/>
                            </a:cubicBezTo>
                            <a:cubicBezTo>
                              <a:pt x="123633" y="42015"/>
                              <a:pt x="86192" y="-13934"/>
                              <a:pt x="47300" y="3244"/>
                            </a:cubicBezTo>
                            <a:cubicBezTo>
                              <a:pt x="27642" y="23204"/>
                              <a:pt x="12944" y="52237"/>
                              <a:pt x="12944" y="52237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328" name="Freihandform: Form 327">
                      <a:extLst>
                        <a:ext uri="{FF2B5EF4-FFF2-40B4-BE49-F238E27FC236}">
                          <a16:creationId xmlns:a16="http://schemas.microsoft.com/office/drawing/2014/main" id="{B76100AE-BE60-0D2B-F8FF-C78749A06E7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52267" y="3601082"/>
                      <a:ext cx="137060" cy="179703"/>
                    </a:xfrm>
                    <a:custGeom>
                      <a:avLst/>
                      <a:gdLst>
                        <a:gd name="connsiteX0" fmla="*/ 137061 w 137060"/>
                        <a:gd name="connsiteY0" fmla="*/ 137243 h 179703"/>
                        <a:gd name="connsiteX1" fmla="*/ 128895 w 137060"/>
                        <a:gd name="connsiteY1" fmla="*/ 10645 h 179703"/>
                        <a:gd name="connsiteX2" fmla="*/ 44578 w 137060"/>
                        <a:gd name="connsiteY2" fmla="*/ 0 h 179703"/>
                        <a:gd name="connsiteX3" fmla="*/ 36352 w 137060"/>
                        <a:gd name="connsiteY3" fmla="*/ 21352 h 179703"/>
                        <a:gd name="connsiteX4" fmla="*/ 0 w 137060"/>
                        <a:gd name="connsiteY4" fmla="*/ 96778 h 179703"/>
                        <a:gd name="connsiteX5" fmla="*/ 45183 w 137060"/>
                        <a:gd name="connsiteY5" fmla="*/ 123633 h 179703"/>
                        <a:gd name="connsiteX6" fmla="*/ 74216 w 137060"/>
                        <a:gd name="connsiteY6" fmla="*/ 179704 h 179703"/>
                        <a:gd name="connsiteX7" fmla="*/ 134339 w 137060"/>
                        <a:gd name="connsiteY7" fmla="*/ 161921 h 179703"/>
                        <a:gd name="connsiteX8" fmla="*/ 137061 w 137060"/>
                        <a:gd name="connsiteY8" fmla="*/ 137303 h 1797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37060" h="179703">
                          <a:moveTo>
                            <a:pt x="137061" y="137243"/>
                          </a:moveTo>
                          <a:cubicBezTo>
                            <a:pt x="133130" y="104580"/>
                            <a:pt x="128774" y="66232"/>
                            <a:pt x="128895" y="10645"/>
                          </a:cubicBezTo>
                          <a:lnTo>
                            <a:pt x="44578" y="0"/>
                          </a:lnTo>
                          <a:cubicBezTo>
                            <a:pt x="42219" y="13972"/>
                            <a:pt x="38651" y="19537"/>
                            <a:pt x="36352" y="21352"/>
                          </a:cubicBezTo>
                          <a:cubicBezTo>
                            <a:pt x="1693" y="48510"/>
                            <a:pt x="0" y="96778"/>
                            <a:pt x="0" y="96778"/>
                          </a:cubicBezTo>
                          <a:cubicBezTo>
                            <a:pt x="61" y="101374"/>
                            <a:pt x="31331" y="97624"/>
                            <a:pt x="45183" y="123633"/>
                          </a:cubicBezTo>
                          <a:cubicBezTo>
                            <a:pt x="49115" y="131012"/>
                            <a:pt x="73671" y="141174"/>
                            <a:pt x="74216" y="179704"/>
                          </a:cubicBezTo>
                          <a:cubicBezTo>
                            <a:pt x="116435" y="145832"/>
                            <a:pt x="132585" y="160953"/>
                            <a:pt x="134339" y="161921"/>
                          </a:cubicBezTo>
                          <a:cubicBezTo>
                            <a:pt x="134823" y="152183"/>
                            <a:pt x="136759" y="143957"/>
                            <a:pt x="137061" y="137303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29" name="Freihandform: Form 328">
                      <a:extLst>
                        <a:ext uri="{FF2B5EF4-FFF2-40B4-BE49-F238E27FC236}">
                          <a16:creationId xmlns:a16="http://schemas.microsoft.com/office/drawing/2014/main" id="{E5032B0E-6D7E-9028-5C46-11A01DA64D6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96180" y="3566242"/>
                      <a:ext cx="85164" cy="85164"/>
                    </a:xfrm>
                    <a:custGeom>
                      <a:avLst/>
                      <a:gdLst>
                        <a:gd name="connsiteX0" fmla="*/ 85164 w 85164"/>
                        <a:gd name="connsiteY0" fmla="*/ 42582 h 85164"/>
                        <a:gd name="connsiteX1" fmla="*/ 42582 w 85164"/>
                        <a:gd name="connsiteY1" fmla="*/ 85164 h 85164"/>
                        <a:gd name="connsiteX2" fmla="*/ 0 w 85164"/>
                        <a:gd name="connsiteY2" fmla="*/ 42582 h 85164"/>
                        <a:gd name="connsiteX3" fmla="*/ 42582 w 85164"/>
                        <a:gd name="connsiteY3" fmla="*/ 0 h 85164"/>
                        <a:gd name="connsiteX4" fmla="*/ 85164 w 85164"/>
                        <a:gd name="connsiteY4" fmla="*/ 42582 h 851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5164" h="85164">
                          <a:moveTo>
                            <a:pt x="85164" y="42582"/>
                          </a:moveTo>
                          <a:cubicBezTo>
                            <a:pt x="85164" y="66100"/>
                            <a:pt x="66100" y="85164"/>
                            <a:pt x="42582" y="85164"/>
                          </a:cubicBezTo>
                          <a:cubicBezTo>
                            <a:pt x="19065" y="85164"/>
                            <a:pt x="0" y="66100"/>
                            <a:pt x="0" y="42582"/>
                          </a:cubicBezTo>
                          <a:cubicBezTo>
                            <a:pt x="0" y="19065"/>
                            <a:pt x="19064" y="0"/>
                            <a:pt x="42582" y="0"/>
                          </a:cubicBezTo>
                          <a:cubicBezTo>
                            <a:pt x="66099" y="0"/>
                            <a:pt x="85164" y="19065"/>
                            <a:pt x="85164" y="42582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sp>
              <p:nvSpPr>
                <p:cNvPr id="330" name="Freihandform: Form 329">
                  <a:extLst>
                    <a:ext uri="{FF2B5EF4-FFF2-40B4-BE49-F238E27FC236}">
                      <a16:creationId xmlns:a16="http://schemas.microsoft.com/office/drawing/2014/main" id="{D80F530E-9F07-EBD1-2532-B0B8BB5E27FD}"/>
                    </a:ext>
                  </a:extLst>
                </p:cNvPr>
                <p:cNvSpPr/>
                <p:nvPr/>
              </p:nvSpPr>
              <p:spPr>
                <a:xfrm>
                  <a:off x="11321277" y="3386780"/>
                  <a:ext cx="363036" cy="363036"/>
                </a:xfrm>
                <a:custGeom>
                  <a:avLst/>
                  <a:gdLst>
                    <a:gd name="connsiteX0" fmla="*/ 363037 w 363036"/>
                    <a:gd name="connsiteY0" fmla="*/ 181518 h 363036"/>
                    <a:gd name="connsiteX1" fmla="*/ 181518 w 363036"/>
                    <a:gd name="connsiteY1" fmla="*/ 363037 h 363036"/>
                    <a:gd name="connsiteX2" fmla="*/ 0 w 363036"/>
                    <a:gd name="connsiteY2" fmla="*/ 181518 h 363036"/>
                    <a:gd name="connsiteX3" fmla="*/ 181518 w 363036"/>
                    <a:gd name="connsiteY3" fmla="*/ 0 h 363036"/>
                    <a:gd name="connsiteX4" fmla="*/ 363037 w 363036"/>
                    <a:gd name="connsiteY4" fmla="*/ 181518 h 3630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3036" h="363036">
                      <a:moveTo>
                        <a:pt x="363037" y="181518"/>
                      </a:moveTo>
                      <a:cubicBezTo>
                        <a:pt x="363037" y="281768"/>
                        <a:pt x="281768" y="363037"/>
                        <a:pt x="181518" y="363037"/>
                      </a:cubicBezTo>
                      <a:cubicBezTo>
                        <a:pt x="81268" y="363037"/>
                        <a:pt x="0" y="281768"/>
                        <a:pt x="0" y="181518"/>
                      </a:cubicBezTo>
                      <a:cubicBezTo>
                        <a:pt x="0" y="81269"/>
                        <a:pt x="81268" y="0"/>
                        <a:pt x="181518" y="0"/>
                      </a:cubicBezTo>
                      <a:cubicBezTo>
                        <a:pt x="281768" y="0"/>
                        <a:pt x="363037" y="81269"/>
                        <a:pt x="363037" y="181518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1" name="Freihandform: Form 330">
                  <a:extLst>
                    <a:ext uri="{FF2B5EF4-FFF2-40B4-BE49-F238E27FC236}">
                      <a16:creationId xmlns:a16="http://schemas.microsoft.com/office/drawing/2014/main" id="{88BD23F6-2969-2DA8-BE3B-E8481DF27AB8}"/>
                    </a:ext>
                  </a:extLst>
                </p:cNvPr>
                <p:cNvSpPr/>
                <p:nvPr/>
              </p:nvSpPr>
              <p:spPr>
                <a:xfrm>
                  <a:off x="11686068" y="3386780"/>
                  <a:ext cx="366302" cy="366303"/>
                </a:xfrm>
                <a:custGeom>
                  <a:avLst/>
                  <a:gdLst>
                    <a:gd name="connsiteX0" fmla="*/ 366303 w 366302"/>
                    <a:gd name="connsiteY0" fmla="*/ 183151 h 366303"/>
                    <a:gd name="connsiteX1" fmla="*/ 183151 w 366302"/>
                    <a:gd name="connsiteY1" fmla="*/ 366303 h 366303"/>
                    <a:gd name="connsiteX2" fmla="*/ -1 w 366302"/>
                    <a:gd name="connsiteY2" fmla="*/ 183151 h 366303"/>
                    <a:gd name="connsiteX3" fmla="*/ 183151 w 366302"/>
                    <a:gd name="connsiteY3" fmla="*/ 0 h 366303"/>
                    <a:gd name="connsiteX4" fmla="*/ 366303 w 366302"/>
                    <a:gd name="connsiteY4" fmla="*/ 183151 h 3663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6302" h="366303">
                      <a:moveTo>
                        <a:pt x="366303" y="183151"/>
                      </a:moveTo>
                      <a:cubicBezTo>
                        <a:pt x="366303" y="284303"/>
                        <a:pt x="284303" y="366303"/>
                        <a:pt x="183151" y="366303"/>
                      </a:cubicBezTo>
                      <a:cubicBezTo>
                        <a:pt x="82000" y="366303"/>
                        <a:pt x="-1" y="284303"/>
                        <a:pt x="-1" y="183151"/>
                      </a:cubicBezTo>
                      <a:cubicBezTo>
                        <a:pt x="-1" y="82000"/>
                        <a:pt x="81999" y="0"/>
                        <a:pt x="183151" y="0"/>
                      </a:cubicBezTo>
                      <a:cubicBezTo>
                        <a:pt x="284303" y="0"/>
                        <a:pt x="366303" y="82000"/>
                        <a:pt x="366303" y="183151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2" name="Freihandform: Form 331">
                  <a:extLst>
                    <a:ext uri="{FF2B5EF4-FFF2-40B4-BE49-F238E27FC236}">
                      <a16:creationId xmlns:a16="http://schemas.microsoft.com/office/drawing/2014/main" id="{46631212-16CE-DC13-E1C0-948CF7BEA391}"/>
                    </a:ext>
                  </a:extLst>
                </p:cNvPr>
                <p:cNvSpPr/>
                <p:nvPr/>
              </p:nvSpPr>
              <p:spPr>
                <a:xfrm>
                  <a:off x="11431967" y="2413137"/>
                  <a:ext cx="543949" cy="331530"/>
                </a:xfrm>
                <a:custGeom>
                  <a:avLst/>
                  <a:gdLst>
                    <a:gd name="connsiteX0" fmla="*/ 255129 w 543949"/>
                    <a:gd name="connsiteY0" fmla="*/ 331524 h 331530"/>
                    <a:gd name="connsiteX1" fmla="*/ 543950 w 543949"/>
                    <a:gd name="connsiteY1" fmla="*/ 92544 h 331530"/>
                    <a:gd name="connsiteX2" fmla="*/ 374045 w 543949"/>
                    <a:gd name="connsiteY2" fmla="*/ 35929 h 331530"/>
                    <a:gd name="connsiteX3" fmla="*/ 254706 w 543949"/>
                    <a:gd name="connsiteY3" fmla="*/ 0 h 331530"/>
                    <a:gd name="connsiteX4" fmla="*/ 126960 w 543949"/>
                    <a:gd name="connsiteY4" fmla="*/ 37743 h 331530"/>
                    <a:gd name="connsiteX5" fmla="*/ 0 w 543949"/>
                    <a:gd name="connsiteY5" fmla="*/ 79720 h 331530"/>
                    <a:gd name="connsiteX6" fmla="*/ 255129 w 543949"/>
                    <a:gd name="connsiteY6" fmla="*/ 331524 h 331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43949" h="331530">
                      <a:moveTo>
                        <a:pt x="255129" y="331524"/>
                      </a:moveTo>
                      <a:cubicBezTo>
                        <a:pt x="466710" y="332975"/>
                        <a:pt x="543950" y="92544"/>
                        <a:pt x="543950" y="92544"/>
                      </a:cubicBezTo>
                      <a:lnTo>
                        <a:pt x="374045" y="35929"/>
                      </a:lnTo>
                      <a:lnTo>
                        <a:pt x="254706" y="0"/>
                      </a:lnTo>
                      <a:lnTo>
                        <a:pt x="126960" y="37743"/>
                      </a:lnTo>
                      <a:lnTo>
                        <a:pt x="0" y="79720"/>
                      </a:lnTo>
                      <a:cubicBezTo>
                        <a:pt x="0" y="79720"/>
                        <a:pt x="43610" y="330072"/>
                        <a:pt x="255129" y="331524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3" name="Freihandform: Form 332">
                  <a:extLst>
                    <a:ext uri="{FF2B5EF4-FFF2-40B4-BE49-F238E27FC236}">
                      <a16:creationId xmlns:a16="http://schemas.microsoft.com/office/drawing/2014/main" id="{5B668DBE-4B03-7C3D-FBC7-F4DE748B1E4C}"/>
                    </a:ext>
                  </a:extLst>
                </p:cNvPr>
                <p:cNvSpPr/>
                <p:nvPr/>
              </p:nvSpPr>
              <p:spPr>
                <a:xfrm>
                  <a:off x="11358295" y="2428077"/>
                  <a:ext cx="321746" cy="175911"/>
                </a:xfrm>
                <a:custGeom>
                  <a:avLst/>
                  <a:gdLst>
                    <a:gd name="connsiteX0" fmla="*/ 317370 w 321746"/>
                    <a:gd name="connsiteY0" fmla="*/ 148554 h 175911"/>
                    <a:gd name="connsiteX1" fmla="*/ 275514 w 321746"/>
                    <a:gd name="connsiteY1" fmla="*/ 15122 h 175911"/>
                    <a:gd name="connsiteX2" fmla="*/ 277752 w 321746"/>
                    <a:gd name="connsiteY2" fmla="*/ 0 h 175911"/>
                    <a:gd name="connsiteX3" fmla="*/ 200572 w 321746"/>
                    <a:gd name="connsiteY3" fmla="*/ 22803 h 175911"/>
                    <a:gd name="connsiteX4" fmla="*/ 0 w 321746"/>
                    <a:gd name="connsiteY4" fmla="*/ 89156 h 175911"/>
                    <a:gd name="connsiteX5" fmla="*/ 317310 w 321746"/>
                    <a:gd name="connsiteY5" fmla="*/ 148554 h 1759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1746" h="175911">
                      <a:moveTo>
                        <a:pt x="317370" y="148554"/>
                      </a:moveTo>
                      <a:cubicBezTo>
                        <a:pt x="338721" y="126113"/>
                        <a:pt x="274970" y="91757"/>
                        <a:pt x="275514" y="15122"/>
                      </a:cubicBezTo>
                      <a:cubicBezTo>
                        <a:pt x="275514" y="9496"/>
                        <a:pt x="276482" y="4597"/>
                        <a:pt x="277752" y="0"/>
                      </a:cubicBezTo>
                      <a:lnTo>
                        <a:pt x="200572" y="22803"/>
                      </a:lnTo>
                      <a:lnTo>
                        <a:pt x="0" y="89156"/>
                      </a:lnTo>
                      <a:cubicBezTo>
                        <a:pt x="21110" y="129682"/>
                        <a:pt x="138574" y="221621"/>
                        <a:pt x="317310" y="148554"/>
                      </a:cubicBez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4" name="Freihandform: Form 333">
                  <a:extLst>
                    <a:ext uri="{FF2B5EF4-FFF2-40B4-BE49-F238E27FC236}">
                      <a16:creationId xmlns:a16="http://schemas.microsoft.com/office/drawing/2014/main" id="{F1C0D228-50EC-6FFA-28E6-E9D9B28DE9C0}"/>
                    </a:ext>
                  </a:extLst>
                </p:cNvPr>
                <p:cNvSpPr/>
                <p:nvPr/>
              </p:nvSpPr>
              <p:spPr>
                <a:xfrm>
                  <a:off x="11594311" y="4818059"/>
                  <a:ext cx="146013" cy="183695"/>
                </a:xfrm>
                <a:custGeom>
                  <a:avLst/>
                  <a:gdLst>
                    <a:gd name="connsiteX0" fmla="*/ 0 w 146013"/>
                    <a:gd name="connsiteY0" fmla="*/ 18146 h 183695"/>
                    <a:gd name="connsiteX1" fmla="*/ 54558 w 146013"/>
                    <a:gd name="connsiteY1" fmla="*/ 183696 h 183695"/>
                    <a:gd name="connsiteX2" fmla="*/ 146013 w 146013"/>
                    <a:gd name="connsiteY2" fmla="*/ 170691 h 183695"/>
                    <a:gd name="connsiteX3" fmla="*/ 127807 w 146013"/>
                    <a:gd name="connsiteY3" fmla="*/ 0 h 183695"/>
                    <a:gd name="connsiteX4" fmla="*/ 0 w 146013"/>
                    <a:gd name="connsiteY4" fmla="*/ 18206 h 183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013" h="183695">
                      <a:moveTo>
                        <a:pt x="0" y="18146"/>
                      </a:moveTo>
                      <a:cubicBezTo>
                        <a:pt x="22501" y="79176"/>
                        <a:pt x="43308" y="138876"/>
                        <a:pt x="54558" y="183696"/>
                      </a:cubicBezTo>
                      <a:lnTo>
                        <a:pt x="146013" y="170691"/>
                      </a:lnTo>
                      <a:cubicBezTo>
                        <a:pt x="146013" y="170691"/>
                        <a:pt x="137484" y="91999"/>
                        <a:pt x="127807" y="0"/>
                      </a:cubicBezTo>
                      <a:lnTo>
                        <a:pt x="0" y="18206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5" name="Freihandform: Form 334">
                  <a:extLst>
                    <a:ext uri="{FF2B5EF4-FFF2-40B4-BE49-F238E27FC236}">
                      <a16:creationId xmlns:a16="http://schemas.microsoft.com/office/drawing/2014/main" id="{4B5B6BBC-346C-1027-3210-F2F3DC5BB00C}"/>
                    </a:ext>
                  </a:extLst>
                </p:cNvPr>
                <p:cNvSpPr/>
                <p:nvPr/>
              </p:nvSpPr>
              <p:spPr>
                <a:xfrm>
                  <a:off x="11581075" y="4991110"/>
                  <a:ext cx="189371" cy="147888"/>
                </a:xfrm>
                <a:custGeom>
                  <a:avLst/>
                  <a:gdLst>
                    <a:gd name="connsiteX0" fmla="*/ 67492 w 189371"/>
                    <a:gd name="connsiteY0" fmla="*/ 8287 h 147888"/>
                    <a:gd name="connsiteX1" fmla="*/ 51 w 189371"/>
                    <a:gd name="connsiteY1" fmla="*/ 147888 h 147888"/>
                    <a:gd name="connsiteX2" fmla="*/ 189371 w 189371"/>
                    <a:gd name="connsiteY2" fmla="*/ 130892 h 147888"/>
                    <a:gd name="connsiteX3" fmla="*/ 159492 w 189371"/>
                    <a:gd name="connsiteY3" fmla="*/ 0 h 147888"/>
                    <a:gd name="connsiteX4" fmla="*/ 67492 w 189371"/>
                    <a:gd name="connsiteY4" fmla="*/ 8287 h 147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9371" h="147888">
                      <a:moveTo>
                        <a:pt x="67492" y="8287"/>
                      </a:moveTo>
                      <a:cubicBezTo>
                        <a:pt x="62775" y="101072"/>
                        <a:pt x="-2067" y="123815"/>
                        <a:pt x="51" y="147888"/>
                      </a:cubicBezTo>
                      <a:lnTo>
                        <a:pt x="189371" y="130892"/>
                      </a:lnTo>
                      <a:cubicBezTo>
                        <a:pt x="173766" y="80023"/>
                        <a:pt x="167899" y="41675"/>
                        <a:pt x="159492" y="0"/>
                      </a:cubicBezTo>
                      <a:lnTo>
                        <a:pt x="67492" y="8287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6" name="Freihandform: Form 335">
                  <a:extLst>
                    <a:ext uri="{FF2B5EF4-FFF2-40B4-BE49-F238E27FC236}">
                      <a16:creationId xmlns:a16="http://schemas.microsoft.com/office/drawing/2014/main" id="{46E1A059-08C2-6BB4-A7CC-ABBB5EAD30BE}"/>
                    </a:ext>
                  </a:extLst>
                </p:cNvPr>
                <p:cNvSpPr/>
                <p:nvPr/>
              </p:nvSpPr>
              <p:spPr>
                <a:xfrm>
                  <a:off x="11320709" y="3561947"/>
                  <a:ext cx="366367" cy="731577"/>
                </a:xfrm>
                <a:custGeom>
                  <a:avLst/>
                  <a:gdLst>
                    <a:gd name="connsiteX0" fmla="*/ 342557 w 366367"/>
                    <a:gd name="connsiteY0" fmla="*/ 731517 h 731577"/>
                    <a:gd name="connsiteX1" fmla="*/ 128799 w 366367"/>
                    <a:gd name="connsiteY1" fmla="*/ 731517 h 731577"/>
                    <a:gd name="connsiteX2" fmla="*/ 72124 w 366367"/>
                    <a:gd name="connsiteY2" fmla="*/ 522659 h 731577"/>
                    <a:gd name="connsiteX3" fmla="*/ 14481 w 366367"/>
                    <a:gd name="connsiteY3" fmla="*/ 210612 h 731577"/>
                    <a:gd name="connsiteX4" fmla="*/ 387 w 366367"/>
                    <a:gd name="connsiteY4" fmla="*/ 8589 h 731577"/>
                    <a:gd name="connsiteX5" fmla="*/ 363484 w 366367"/>
                    <a:gd name="connsiteY5" fmla="*/ 0 h 731577"/>
                    <a:gd name="connsiteX6" fmla="*/ 342557 w 366367"/>
                    <a:gd name="connsiteY6" fmla="*/ 731578 h 7315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66367" h="731577">
                      <a:moveTo>
                        <a:pt x="342557" y="731517"/>
                      </a:moveTo>
                      <a:lnTo>
                        <a:pt x="128799" y="731517"/>
                      </a:lnTo>
                      <a:cubicBezTo>
                        <a:pt x="128799" y="731517"/>
                        <a:pt x="93778" y="595303"/>
                        <a:pt x="72124" y="522659"/>
                      </a:cubicBezTo>
                      <a:cubicBezTo>
                        <a:pt x="50470" y="450016"/>
                        <a:pt x="25489" y="306361"/>
                        <a:pt x="14481" y="210612"/>
                      </a:cubicBezTo>
                      <a:cubicBezTo>
                        <a:pt x="6436" y="140932"/>
                        <a:pt x="-1911" y="69377"/>
                        <a:pt x="387" y="8589"/>
                      </a:cubicBezTo>
                      <a:cubicBezTo>
                        <a:pt x="68011" y="8589"/>
                        <a:pt x="363484" y="0"/>
                        <a:pt x="363484" y="0"/>
                      </a:cubicBezTo>
                      <a:cubicBezTo>
                        <a:pt x="372981" y="258215"/>
                        <a:pt x="357194" y="476327"/>
                        <a:pt x="342557" y="731578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7" name="Freihandform: Form 336">
                  <a:extLst>
                    <a:ext uri="{FF2B5EF4-FFF2-40B4-BE49-F238E27FC236}">
                      <a16:creationId xmlns:a16="http://schemas.microsoft.com/office/drawing/2014/main" id="{6F9B5FE6-A8E1-CD14-59C9-C8F2818F16B9}"/>
                    </a:ext>
                  </a:extLst>
                </p:cNvPr>
                <p:cNvSpPr/>
                <p:nvPr/>
              </p:nvSpPr>
              <p:spPr>
                <a:xfrm>
                  <a:off x="11450391" y="4277496"/>
                  <a:ext cx="296163" cy="619860"/>
                </a:xfrm>
                <a:custGeom>
                  <a:avLst/>
                  <a:gdLst>
                    <a:gd name="connsiteX0" fmla="*/ 296103 w 296163"/>
                    <a:gd name="connsiteY0" fmla="*/ 592399 h 619860"/>
                    <a:gd name="connsiteX1" fmla="*/ 103152 w 296163"/>
                    <a:gd name="connsiteY1" fmla="*/ 619860 h 619860"/>
                    <a:gd name="connsiteX2" fmla="*/ 265 w 296163"/>
                    <a:gd name="connsiteY2" fmla="*/ 30122 h 619860"/>
                    <a:gd name="connsiteX3" fmla="*/ 211906 w 296163"/>
                    <a:gd name="connsiteY3" fmla="*/ 0 h 619860"/>
                    <a:gd name="connsiteX4" fmla="*/ 263017 w 296163"/>
                    <a:gd name="connsiteY4" fmla="*/ 265594 h 619860"/>
                    <a:gd name="connsiteX5" fmla="*/ 296163 w 296163"/>
                    <a:gd name="connsiteY5" fmla="*/ 592399 h 6198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96163" h="619860">
                      <a:moveTo>
                        <a:pt x="296103" y="592399"/>
                      </a:moveTo>
                      <a:lnTo>
                        <a:pt x="103152" y="619860"/>
                      </a:lnTo>
                      <a:cubicBezTo>
                        <a:pt x="-10380" y="409853"/>
                        <a:pt x="265" y="30122"/>
                        <a:pt x="265" y="30122"/>
                      </a:cubicBezTo>
                      <a:lnTo>
                        <a:pt x="211906" y="0"/>
                      </a:lnTo>
                      <a:cubicBezTo>
                        <a:pt x="211906" y="0"/>
                        <a:pt x="257452" y="182547"/>
                        <a:pt x="263017" y="265594"/>
                      </a:cubicBezTo>
                      <a:cubicBezTo>
                        <a:pt x="268521" y="348641"/>
                        <a:pt x="296163" y="592399"/>
                        <a:pt x="296163" y="592399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8" name="Freihandform: Form 337">
                  <a:extLst>
                    <a:ext uri="{FF2B5EF4-FFF2-40B4-BE49-F238E27FC236}">
                      <a16:creationId xmlns:a16="http://schemas.microsoft.com/office/drawing/2014/main" id="{72FE9A34-A333-6248-8E26-CCF875D77BA9}"/>
                    </a:ext>
                  </a:extLst>
                </p:cNvPr>
                <p:cNvSpPr/>
                <p:nvPr/>
              </p:nvSpPr>
              <p:spPr>
                <a:xfrm>
                  <a:off x="11449508" y="4184348"/>
                  <a:ext cx="213757" cy="213757"/>
                </a:xfrm>
                <a:custGeom>
                  <a:avLst/>
                  <a:gdLst>
                    <a:gd name="connsiteX0" fmla="*/ 213757 w 213757"/>
                    <a:gd name="connsiteY0" fmla="*/ 106879 h 213757"/>
                    <a:gd name="connsiteX1" fmla="*/ 106878 w 213757"/>
                    <a:gd name="connsiteY1" fmla="*/ 213757 h 213757"/>
                    <a:gd name="connsiteX2" fmla="*/ 0 w 213757"/>
                    <a:gd name="connsiteY2" fmla="*/ 106879 h 213757"/>
                    <a:gd name="connsiteX3" fmla="*/ 106878 w 213757"/>
                    <a:gd name="connsiteY3" fmla="*/ 0 h 213757"/>
                    <a:gd name="connsiteX4" fmla="*/ 213757 w 213757"/>
                    <a:gd name="connsiteY4" fmla="*/ 106879 h 2137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3757" h="213757">
                      <a:moveTo>
                        <a:pt x="213757" y="106879"/>
                      </a:moveTo>
                      <a:cubicBezTo>
                        <a:pt x="213757" y="165906"/>
                        <a:pt x="165906" y="213757"/>
                        <a:pt x="106878" y="213757"/>
                      </a:cubicBezTo>
                      <a:cubicBezTo>
                        <a:pt x="47851" y="213757"/>
                        <a:pt x="0" y="165906"/>
                        <a:pt x="0" y="106879"/>
                      </a:cubicBezTo>
                      <a:cubicBezTo>
                        <a:pt x="0" y="47851"/>
                        <a:pt x="47851" y="0"/>
                        <a:pt x="106878" y="0"/>
                      </a:cubicBezTo>
                      <a:cubicBezTo>
                        <a:pt x="165906" y="0"/>
                        <a:pt x="213757" y="47851"/>
                        <a:pt x="213757" y="106879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9" name="Freihandform: Form 338">
                  <a:extLst>
                    <a:ext uri="{FF2B5EF4-FFF2-40B4-BE49-F238E27FC236}">
                      <a16:creationId xmlns:a16="http://schemas.microsoft.com/office/drawing/2014/main" id="{8DCA6FF5-365B-B45B-949C-4F19E9F58E07}"/>
                    </a:ext>
                  </a:extLst>
                </p:cNvPr>
                <p:cNvSpPr/>
                <p:nvPr/>
              </p:nvSpPr>
              <p:spPr>
                <a:xfrm>
                  <a:off x="11648386" y="4949556"/>
                  <a:ext cx="91454" cy="91454"/>
                </a:xfrm>
                <a:custGeom>
                  <a:avLst/>
                  <a:gdLst>
                    <a:gd name="connsiteX0" fmla="*/ 91455 w 91454"/>
                    <a:gd name="connsiteY0" fmla="*/ 45727 h 91454"/>
                    <a:gd name="connsiteX1" fmla="*/ 45727 w 91454"/>
                    <a:gd name="connsiteY1" fmla="*/ 91455 h 91454"/>
                    <a:gd name="connsiteX2" fmla="*/ 0 w 91454"/>
                    <a:gd name="connsiteY2" fmla="*/ 45727 h 91454"/>
                    <a:gd name="connsiteX3" fmla="*/ 45727 w 91454"/>
                    <a:gd name="connsiteY3" fmla="*/ 0 h 91454"/>
                    <a:gd name="connsiteX4" fmla="*/ 91455 w 91454"/>
                    <a:gd name="connsiteY4" fmla="*/ 45727 h 91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1454" h="91454">
                      <a:moveTo>
                        <a:pt x="91455" y="45727"/>
                      </a:moveTo>
                      <a:cubicBezTo>
                        <a:pt x="91455" y="70982"/>
                        <a:pt x="70982" y="91455"/>
                        <a:pt x="45727" y="91455"/>
                      </a:cubicBezTo>
                      <a:cubicBezTo>
                        <a:pt x="20473" y="91455"/>
                        <a:pt x="0" y="70982"/>
                        <a:pt x="0" y="45727"/>
                      </a:cubicBezTo>
                      <a:cubicBezTo>
                        <a:pt x="0" y="20473"/>
                        <a:pt x="20473" y="0"/>
                        <a:pt x="45727" y="0"/>
                      </a:cubicBezTo>
                      <a:cubicBezTo>
                        <a:pt x="70982" y="0"/>
                        <a:pt x="91455" y="20473"/>
                        <a:pt x="91455" y="45727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0" name="Freihandform: Form 339">
                  <a:extLst>
                    <a:ext uri="{FF2B5EF4-FFF2-40B4-BE49-F238E27FC236}">
                      <a16:creationId xmlns:a16="http://schemas.microsoft.com/office/drawing/2014/main" id="{E1026ADE-FFA7-D3D8-4C16-77AFA14C3351}"/>
                    </a:ext>
                  </a:extLst>
                </p:cNvPr>
                <p:cNvSpPr/>
                <p:nvPr/>
              </p:nvSpPr>
              <p:spPr>
                <a:xfrm>
                  <a:off x="11556024" y="5109420"/>
                  <a:ext cx="230361" cy="86010"/>
                </a:xfrm>
                <a:custGeom>
                  <a:avLst/>
                  <a:gdLst>
                    <a:gd name="connsiteX0" fmla="*/ 0 w 230361"/>
                    <a:gd name="connsiteY0" fmla="*/ 20323 h 86010"/>
                    <a:gd name="connsiteX1" fmla="*/ 4476 w 230361"/>
                    <a:gd name="connsiteY1" fmla="*/ 69922 h 86010"/>
                    <a:gd name="connsiteX2" fmla="*/ 16573 w 230361"/>
                    <a:gd name="connsiteY2" fmla="*/ 86011 h 86010"/>
                    <a:gd name="connsiteX3" fmla="*/ 221621 w 230361"/>
                    <a:gd name="connsiteY3" fmla="*/ 67563 h 86010"/>
                    <a:gd name="connsiteX4" fmla="*/ 230270 w 230361"/>
                    <a:gd name="connsiteY4" fmla="*/ 49719 h 86010"/>
                    <a:gd name="connsiteX5" fmla="*/ 225794 w 230361"/>
                    <a:gd name="connsiteY5" fmla="*/ 0 h 86010"/>
                    <a:gd name="connsiteX6" fmla="*/ 0 w 230361"/>
                    <a:gd name="connsiteY6" fmla="*/ 20323 h 860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0361" h="86010">
                      <a:moveTo>
                        <a:pt x="0" y="20323"/>
                      </a:moveTo>
                      <a:lnTo>
                        <a:pt x="4476" y="69922"/>
                      </a:lnTo>
                      <a:cubicBezTo>
                        <a:pt x="5202" y="77906"/>
                        <a:pt x="10222" y="84378"/>
                        <a:pt x="16573" y="86011"/>
                      </a:cubicBezTo>
                      <a:lnTo>
                        <a:pt x="221621" y="67563"/>
                      </a:lnTo>
                      <a:cubicBezTo>
                        <a:pt x="227367" y="64660"/>
                        <a:pt x="230996" y="57522"/>
                        <a:pt x="230270" y="49719"/>
                      </a:cubicBezTo>
                      <a:lnTo>
                        <a:pt x="225794" y="0"/>
                      </a:lnTo>
                      <a:lnTo>
                        <a:pt x="0" y="20323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1" name="Freihandform: Form 340">
                  <a:extLst>
                    <a:ext uri="{FF2B5EF4-FFF2-40B4-BE49-F238E27FC236}">
                      <a16:creationId xmlns:a16="http://schemas.microsoft.com/office/drawing/2014/main" id="{E159B55B-15A9-5985-8F7C-779C41A0DE6C}"/>
                    </a:ext>
                  </a:extLst>
                </p:cNvPr>
                <p:cNvSpPr/>
                <p:nvPr/>
              </p:nvSpPr>
              <p:spPr>
                <a:xfrm>
                  <a:off x="11556024" y="5028991"/>
                  <a:ext cx="225793" cy="104076"/>
                </a:xfrm>
                <a:custGeom>
                  <a:avLst/>
                  <a:gdLst>
                    <a:gd name="connsiteX0" fmla="*/ 225794 w 225793"/>
                    <a:gd name="connsiteY0" fmla="*/ 80429 h 104076"/>
                    <a:gd name="connsiteX1" fmla="*/ 192527 w 225793"/>
                    <a:gd name="connsiteY1" fmla="*/ 3068 h 104076"/>
                    <a:gd name="connsiteX2" fmla="*/ 181397 w 225793"/>
                    <a:gd name="connsiteY2" fmla="*/ 29197 h 104076"/>
                    <a:gd name="connsiteX3" fmla="*/ 61151 w 225793"/>
                    <a:gd name="connsiteY3" fmla="*/ 26959 h 104076"/>
                    <a:gd name="connsiteX4" fmla="*/ 0 w 225793"/>
                    <a:gd name="connsiteY4" fmla="*/ 100752 h 104076"/>
                    <a:gd name="connsiteX5" fmla="*/ 225794 w 225793"/>
                    <a:gd name="connsiteY5" fmla="*/ 80429 h 1040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25793" h="104076">
                      <a:moveTo>
                        <a:pt x="225794" y="80429"/>
                      </a:moveTo>
                      <a:cubicBezTo>
                        <a:pt x="223193" y="41537"/>
                        <a:pt x="217386" y="12382"/>
                        <a:pt x="192527" y="3068"/>
                      </a:cubicBezTo>
                      <a:lnTo>
                        <a:pt x="181397" y="29197"/>
                      </a:lnTo>
                      <a:cubicBezTo>
                        <a:pt x="181397" y="29197"/>
                        <a:pt x="88370" y="-34978"/>
                        <a:pt x="61151" y="26959"/>
                      </a:cubicBezTo>
                      <a:cubicBezTo>
                        <a:pt x="38045" y="79522"/>
                        <a:pt x="6956" y="63130"/>
                        <a:pt x="0" y="100752"/>
                      </a:cubicBezTo>
                      <a:cubicBezTo>
                        <a:pt x="25102" y="110067"/>
                        <a:pt x="198454" y="98696"/>
                        <a:pt x="225794" y="80429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2" name="Freihandform: Form 341">
                  <a:extLst>
                    <a:ext uri="{FF2B5EF4-FFF2-40B4-BE49-F238E27FC236}">
                      <a16:creationId xmlns:a16="http://schemas.microsoft.com/office/drawing/2014/main" id="{624F2709-EA44-03A4-CC4D-1D3679BF17EB}"/>
                    </a:ext>
                  </a:extLst>
                </p:cNvPr>
                <p:cNvSpPr/>
                <p:nvPr/>
              </p:nvSpPr>
              <p:spPr>
                <a:xfrm>
                  <a:off x="11727198" y="4837112"/>
                  <a:ext cx="129077" cy="171538"/>
                </a:xfrm>
                <a:custGeom>
                  <a:avLst/>
                  <a:gdLst>
                    <a:gd name="connsiteX0" fmla="*/ 0 w 129077"/>
                    <a:gd name="connsiteY0" fmla="*/ 0 h 171538"/>
                    <a:gd name="connsiteX1" fmla="*/ 6049 w 129077"/>
                    <a:gd name="connsiteY1" fmla="*/ 171538 h 171538"/>
                    <a:gd name="connsiteX2" fmla="*/ 98411 w 129077"/>
                    <a:gd name="connsiteY2" fmla="*/ 171538 h 171538"/>
                    <a:gd name="connsiteX3" fmla="*/ 129078 w 129077"/>
                    <a:gd name="connsiteY3" fmla="*/ 0 h 171538"/>
                    <a:gd name="connsiteX4" fmla="*/ 0 w 129077"/>
                    <a:gd name="connsiteY4" fmla="*/ 0 h 171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9077" h="171538">
                      <a:moveTo>
                        <a:pt x="0" y="0"/>
                      </a:moveTo>
                      <a:cubicBezTo>
                        <a:pt x="3448" y="92423"/>
                        <a:pt x="6049" y="171538"/>
                        <a:pt x="6049" y="171538"/>
                      </a:cubicBezTo>
                      <a:lnTo>
                        <a:pt x="98411" y="171538"/>
                      </a:lnTo>
                      <a:cubicBezTo>
                        <a:pt x="103250" y="125629"/>
                        <a:pt x="115408" y="63571"/>
                        <a:pt x="1290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3" name="Freihandform: Form 342">
                  <a:extLst>
                    <a:ext uri="{FF2B5EF4-FFF2-40B4-BE49-F238E27FC236}">
                      <a16:creationId xmlns:a16="http://schemas.microsoft.com/office/drawing/2014/main" id="{7538EA21-3680-1D55-46A0-20325CE268E7}"/>
                    </a:ext>
                  </a:extLst>
                </p:cNvPr>
                <p:cNvSpPr/>
                <p:nvPr/>
              </p:nvSpPr>
              <p:spPr>
                <a:xfrm>
                  <a:off x="11715162" y="5008650"/>
                  <a:ext cx="190107" cy="133008"/>
                </a:xfrm>
                <a:custGeom>
                  <a:avLst/>
                  <a:gdLst>
                    <a:gd name="connsiteX0" fmla="*/ 110447 w 190107"/>
                    <a:gd name="connsiteY0" fmla="*/ 0 h 133008"/>
                    <a:gd name="connsiteX1" fmla="*/ 190108 w 190107"/>
                    <a:gd name="connsiteY1" fmla="*/ 133009 h 133008"/>
                    <a:gd name="connsiteX2" fmla="*/ 0 w 190107"/>
                    <a:gd name="connsiteY2" fmla="*/ 133009 h 133008"/>
                    <a:gd name="connsiteX3" fmla="*/ 18085 w 190107"/>
                    <a:gd name="connsiteY3" fmla="*/ 0 h 133008"/>
                    <a:gd name="connsiteX4" fmla="*/ 110447 w 190107"/>
                    <a:gd name="connsiteY4" fmla="*/ 0 h 133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0107" h="133008">
                      <a:moveTo>
                        <a:pt x="110447" y="0"/>
                      </a:moveTo>
                      <a:cubicBezTo>
                        <a:pt x="123452" y="91999"/>
                        <a:pt x="190108" y="108875"/>
                        <a:pt x="190108" y="133009"/>
                      </a:cubicBezTo>
                      <a:lnTo>
                        <a:pt x="0" y="133009"/>
                      </a:lnTo>
                      <a:cubicBezTo>
                        <a:pt x="11009" y="80930"/>
                        <a:pt x="13428" y="42219"/>
                        <a:pt x="18085" y="0"/>
                      </a:cubicBezTo>
                      <a:lnTo>
                        <a:pt x="110447" y="0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4" name="Freihandform: Form 343">
                  <a:extLst>
                    <a:ext uri="{FF2B5EF4-FFF2-40B4-BE49-F238E27FC236}">
                      <a16:creationId xmlns:a16="http://schemas.microsoft.com/office/drawing/2014/main" id="{EE6CDDDF-29BA-5AA7-261F-794152411745}"/>
                    </a:ext>
                  </a:extLst>
                </p:cNvPr>
                <p:cNvSpPr/>
                <p:nvPr/>
              </p:nvSpPr>
              <p:spPr>
                <a:xfrm>
                  <a:off x="11683757" y="3561887"/>
                  <a:ext cx="368614" cy="731577"/>
                </a:xfrm>
                <a:custGeom>
                  <a:avLst/>
                  <a:gdLst>
                    <a:gd name="connsiteX0" fmla="*/ 26627 w 368614"/>
                    <a:gd name="connsiteY0" fmla="*/ 731578 h 731577"/>
                    <a:gd name="connsiteX1" fmla="*/ 240385 w 368614"/>
                    <a:gd name="connsiteY1" fmla="*/ 731578 h 731577"/>
                    <a:gd name="connsiteX2" fmla="*/ 297060 w 368614"/>
                    <a:gd name="connsiteY2" fmla="*/ 522720 h 731577"/>
                    <a:gd name="connsiteX3" fmla="*/ 354703 w 368614"/>
                    <a:gd name="connsiteY3" fmla="*/ 210673 h 731577"/>
                    <a:gd name="connsiteX4" fmla="*/ 368615 w 368614"/>
                    <a:gd name="connsiteY4" fmla="*/ 12279 h 731577"/>
                    <a:gd name="connsiteX5" fmla="*/ 2553 w 368614"/>
                    <a:gd name="connsiteY5" fmla="*/ 0 h 731577"/>
                    <a:gd name="connsiteX6" fmla="*/ 26688 w 368614"/>
                    <a:gd name="connsiteY6" fmla="*/ 731578 h 7315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68614" h="731577">
                      <a:moveTo>
                        <a:pt x="26627" y="731578"/>
                      </a:moveTo>
                      <a:lnTo>
                        <a:pt x="240385" y="731578"/>
                      </a:lnTo>
                      <a:cubicBezTo>
                        <a:pt x="240385" y="731578"/>
                        <a:pt x="275406" y="595363"/>
                        <a:pt x="297060" y="522720"/>
                      </a:cubicBezTo>
                      <a:cubicBezTo>
                        <a:pt x="318714" y="450076"/>
                        <a:pt x="343694" y="306422"/>
                        <a:pt x="354703" y="210673"/>
                      </a:cubicBezTo>
                      <a:cubicBezTo>
                        <a:pt x="361175" y="154723"/>
                        <a:pt x="366377" y="69861"/>
                        <a:pt x="368615" y="12279"/>
                      </a:cubicBezTo>
                      <a:cubicBezTo>
                        <a:pt x="233126" y="9254"/>
                        <a:pt x="2553" y="0"/>
                        <a:pt x="2553" y="0"/>
                      </a:cubicBezTo>
                      <a:cubicBezTo>
                        <a:pt x="-6943" y="258215"/>
                        <a:pt x="12050" y="476327"/>
                        <a:pt x="26688" y="731578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5" name="Freihandform: Form 344">
                  <a:extLst>
                    <a:ext uri="{FF2B5EF4-FFF2-40B4-BE49-F238E27FC236}">
                      <a16:creationId xmlns:a16="http://schemas.microsoft.com/office/drawing/2014/main" id="{772DA2D6-0AA6-81D0-2F96-484A855C6FC9}"/>
                    </a:ext>
                  </a:extLst>
                </p:cNvPr>
                <p:cNvSpPr/>
                <p:nvPr/>
              </p:nvSpPr>
              <p:spPr>
                <a:xfrm>
                  <a:off x="11695905" y="4293465"/>
                  <a:ext cx="251767" cy="598387"/>
                </a:xfrm>
                <a:custGeom>
                  <a:avLst/>
                  <a:gdLst>
                    <a:gd name="connsiteX0" fmla="*/ 14479 w 251767"/>
                    <a:gd name="connsiteY0" fmla="*/ 598387 h 598387"/>
                    <a:gd name="connsiteX1" fmla="*/ 209365 w 251767"/>
                    <a:gd name="connsiteY1" fmla="*/ 598387 h 598387"/>
                    <a:gd name="connsiteX2" fmla="*/ 228176 w 251767"/>
                    <a:gd name="connsiteY2" fmla="*/ 0 h 598387"/>
                    <a:gd name="connsiteX3" fmla="*/ 14419 w 251767"/>
                    <a:gd name="connsiteY3" fmla="*/ 0 h 598387"/>
                    <a:gd name="connsiteX4" fmla="*/ 1233 w 251767"/>
                    <a:gd name="connsiteY4" fmla="*/ 270130 h 598387"/>
                    <a:gd name="connsiteX5" fmla="*/ 14419 w 251767"/>
                    <a:gd name="connsiteY5" fmla="*/ 598387 h 598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51767" h="598387">
                      <a:moveTo>
                        <a:pt x="14479" y="598387"/>
                      </a:moveTo>
                      <a:lnTo>
                        <a:pt x="209365" y="598387"/>
                      </a:lnTo>
                      <a:cubicBezTo>
                        <a:pt x="292170" y="374529"/>
                        <a:pt x="228176" y="0"/>
                        <a:pt x="228176" y="0"/>
                      </a:cubicBezTo>
                      <a:lnTo>
                        <a:pt x="14419" y="0"/>
                      </a:lnTo>
                      <a:cubicBezTo>
                        <a:pt x="14419" y="0"/>
                        <a:pt x="-4998" y="187143"/>
                        <a:pt x="1233" y="270130"/>
                      </a:cubicBezTo>
                      <a:cubicBezTo>
                        <a:pt x="7463" y="353177"/>
                        <a:pt x="14419" y="598387"/>
                        <a:pt x="14419" y="598387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6" name="Freihandform: Form 345">
                  <a:extLst>
                    <a:ext uri="{FF2B5EF4-FFF2-40B4-BE49-F238E27FC236}">
                      <a16:creationId xmlns:a16="http://schemas.microsoft.com/office/drawing/2014/main" id="{1DD980DD-CE3E-9082-6B5C-515E68E30E29}"/>
                    </a:ext>
                  </a:extLst>
                </p:cNvPr>
                <p:cNvSpPr/>
                <p:nvPr/>
              </p:nvSpPr>
              <p:spPr>
                <a:xfrm>
                  <a:off x="11734215" y="4962923"/>
                  <a:ext cx="91454" cy="91454"/>
                </a:xfrm>
                <a:custGeom>
                  <a:avLst/>
                  <a:gdLst>
                    <a:gd name="connsiteX0" fmla="*/ 91455 w 91454"/>
                    <a:gd name="connsiteY0" fmla="*/ 45727 h 91454"/>
                    <a:gd name="connsiteX1" fmla="*/ 45727 w 91454"/>
                    <a:gd name="connsiteY1" fmla="*/ 91455 h 91454"/>
                    <a:gd name="connsiteX2" fmla="*/ -1 w 91454"/>
                    <a:gd name="connsiteY2" fmla="*/ 45727 h 91454"/>
                    <a:gd name="connsiteX3" fmla="*/ 45727 w 91454"/>
                    <a:gd name="connsiteY3" fmla="*/ 0 h 91454"/>
                    <a:gd name="connsiteX4" fmla="*/ 91455 w 91454"/>
                    <a:gd name="connsiteY4" fmla="*/ 45727 h 91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1454" h="91454">
                      <a:moveTo>
                        <a:pt x="91455" y="45727"/>
                      </a:moveTo>
                      <a:cubicBezTo>
                        <a:pt x="91455" y="70982"/>
                        <a:pt x="70982" y="91455"/>
                        <a:pt x="45727" y="91455"/>
                      </a:cubicBezTo>
                      <a:cubicBezTo>
                        <a:pt x="20472" y="91455"/>
                        <a:pt x="-1" y="70982"/>
                        <a:pt x="-1" y="45727"/>
                      </a:cubicBezTo>
                      <a:cubicBezTo>
                        <a:pt x="-1" y="20473"/>
                        <a:pt x="20472" y="0"/>
                        <a:pt x="45727" y="0"/>
                      </a:cubicBezTo>
                      <a:cubicBezTo>
                        <a:pt x="70982" y="0"/>
                        <a:pt x="91455" y="20473"/>
                        <a:pt x="91455" y="45727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7" name="Freihandform: Form 346">
                  <a:extLst>
                    <a:ext uri="{FF2B5EF4-FFF2-40B4-BE49-F238E27FC236}">
                      <a16:creationId xmlns:a16="http://schemas.microsoft.com/office/drawing/2014/main" id="{9DAEA7AD-64F6-415C-92F9-15537ED3D2C8}"/>
                    </a:ext>
                  </a:extLst>
                </p:cNvPr>
                <p:cNvSpPr/>
                <p:nvPr/>
              </p:nvSpPr>
              <p:spPr>
                <a:xfrm>
                  <a:off x="11702823" y="5130167"/>
                  <a:ext cx="226701" cy="66897"/>
                </a:xfrm>
                <a:custGeom>
                  <a:avLst/>
                  <a:gdLst>
                    <a:gd name="connsiteX0" fmla="*/ 226641 w 226701"/>
                    <a:gd name="connsiteY0" fmla="*/ 0 h 66897"/>
                    <a:gd name="connsiteX1" fmla="*/ 226641 w 226701"/>
                    <a:gd name="connsiteY1" fmla="*/ 49780 h 66897"/>
                    <a:gd name="connsiteX2" fmla="*/ 216056 w 226701"/>
                    <a:gd name="connsiteY2" fmla="*/ 66897 h 66897"/>
                    <a:gd name="connsiteX3" fmla="*/ 10222 w 226701"/>
                    <a:gd name="connsiteY3" fmla="*/ 66897 h 66897"/>
                    <a:gd name="connsiteX4" fmla="*/ 0 w 226701"/>
                    <a:gd name="connsiteY4" fmla="*/ 49901 h 66897"/>
                    <a:gd name="connsiteX5" fmla="*/ 0 w 226701"/>
                    <a:gd name="connsiteY5" fmla="*/ 0 h 66897"/>
                    <a:gd name="connsiteX6" fmla="*/ 226701 w 226701"/>
                    <a:gd name="connsiteY6" fmla="*/ 0 h 668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26701" h="66897">
                      <a:moveTo>
                        <a:pt x="226641" y="0"/>
                      </a:moveTo>
                      <a:lnTo>
                        <a:pt x="226641" y="49780"/>
                      </a:lnTo>
                      <a:cubicBezTo>
                        <a:pt x="226641" y="57764"/>
                        <a:pt x="222225" y="64660"/>
                        <a:pt x="216056" y="66897"/>
                      </a:cubicBezTo>
                      <a:lnTo>
                        <a:pt x="10222" y="66897"/>
                      </a:lnTo>
                      <a:cubicBezTo>
                        <a:pt x="4234" y="64538"/>
                        <a:pt x="0" y="57703"/>
                        <a:pt x="0" y="49901"/>
                      </a:cubicBezTo>
                      <a:lnTo>
                        <a:pt x="0" y="0"/>
                      </a:lnTo>
                      <a:lnTo>
                        <a:pt x="226701" y="0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8" name="Freihandform: Form 347">
                  <a:extLst>
                    <a:ext uri="{FF2B5EF4-FFF2-40B4-BE49-F238E27FC236}">
                      <a16:creationId xmlns:a16="http://schemas.microsoft.com/office/drawing/2014/main" id="{7DBC1B30-050C-BF4E-AA5A-94B9E40F4F2D}"/>
                    </a:ext>
                  </a:extLst>
                </p:cNvPr>
                <p:cNvSpPr/>
                <p:nvPr/>
              </p:nvSpPr>
              <p:spPr>
                <a:xfrm>
                  <a:off x="11702690" y="5038831"/>
                  <a:ext cx="226834" cy="101604"/>
                </a:xfrm>
                <a:custGeom>
                  <a:avLst/>
                  <a:gdLst>
                    <a:gd name="connsiteX0" fmla="*/ 133 w 226834"/>
                    <a:gd name="connsiteY0" fmla="*/ 91336 h 101604"/>
                    <a:gd name="connsiteX1" fmla="*/ 26323 w 226834"/>
                    <a:gd name="connsiteY1" fmla="*/ 11313 h 101604"/>
                    <a:gd name="connsiteX2" fmla="*/ 39751 w 226834"/>
                    <a:gd name="connsiteY2" fmla="*/ 36354 h 101604"/>
                    <a:gd name="connsiteX3" fmla="*/ 159332 w 226834"/>
                    <a:gd name="connsiteY3" fmla="*/ 23350 h 101604"/>
                    <a:gd name="connsiteX4" fmla="*/ 226834 w 226834"/>
                    <a:gd name="connsiteY4" fmla="*/ 91336 h 101604"/>
                    <a:gd name="connsiteX5" fmla="*/ 133 w 226834"/>
                    <a:gd name="connsiteY5" fmla="*/ 91336 h 1016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26834" h="101604">
                      <a:moveTo>
                        <a:pt x="133" y="91336"/>
                      </a:moveTo>
                      <a:cubicBezTo>
                        <a:pt x="-774" y="52383"/>
                        <a:pt x="2432" y="22806"/>
                        <a:pt x="26323" y="11313"/>
                      </a:cubicBezTo>
                      <a:lnTo>
                        <a:pt x="39751" y="36354"/>
                      </a:lnTo>
                      <a:cubicBezTo>
                        <a:pt x="39751" y="36354"/>
                        <a:pt x="126669" y="-35926"/>
                        <a:pt x="159332" y="23350"/>
                      </a:cubicBezTo>
                      <a:cubicBezTo>
                        <a:pt x="187034" y="73614"/>
                        <a:pt x="216551" y="54500"/>
                        <a:pt x="226834" y="91336"/>
                      </a:cubicBezTo>
                      <a:cubicBezTo>
                        <a:pt x="202640" y="102829"/>
                        <a:pt x="29045" y="107062"/>
                        <a:pt x="133" y="91336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9" name="Freihandform: Form 348">
                  <a:extLst>
                    <a:ext uri="{FF2B5EF4-FFF2-40B4-BE49-F238E27FC236}">
                      <a16:creationId xmlns:a16="http://schemas.microsoft.com/office/drawing/2014/main" id="{2C958EC5-1C4F-DF2B-9854-9E200C7BA53D}"/>
                    </a:ext>
                  </a:extLst>
                </p:cNvPr>
                <p:cNvSpPr/>
                <p:nvPr/>
              </p:nvSpPr>
              <p:spPr>
                <a:xfrm>
                  <a:off x="11684193" y="3561887"/>
                  <a:ext cx="367936" cy="83591"/>
                </a:xfrm>
                <a:custGeom>
                  <a:avLst/>
                  <a:gdLst>
                    <a:gd name="connsiteX0" fmla="*/ 0 w 367936"/>
                    <a:gd name="connsiteY0" fmla="*/ 83592 h 83591"/>
                    <a:gd name="connsiteX1" fmla="*/ 365758 w 367936"/>
                    <a:gd name="connsiteY1" fmla="*/ 62784 h 83591"/>
                    <a:gd name="connsiteX2" fmla="*/ 365758 w 367936"/>
                    <a:gd name="connsiteY2" fmla="*/ 62784 h 83591"/>
                    <a:gd name="connsiteX3" fmla="*/ 367937 w 367936"/>
                    <a:gd name="connsiteY3" fmla="*/ 12279 h 83591"/>
                    <a:gd name="connsiteX4" fmla="*/ 2057 w 367936"/>
                    <a:gd name="connsiteY4" fmla="*/ 0 h 83591"/>
                    <a:gd name="connsiteX5" fmla="*/ 0 w 367936"/>
                    <a:gd name="connsiteY5" fmla="*/ 83592 h 835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67936" h="83591">
                      <a:moveTo>
                        <a:pt x="0" y="83592"/>
                      </a:moveTo>
                      <a:cubicBezTo>
                        <a:pt x="107786" y="70527"/>
                        <a:pt x="252892" y="50506"/>
                        <a:pt x="365758" y="62784"/>
                      </a:cubicBezTo>
                      <a:lnTo>
                        <a:pt x="365758" y="62784"/>
                      </a:lnTo>
                      <a:cubicBezTo>
                        <a:pt x="366666" y="45606"/>
                        <a:pt x="367392" y="27158"/>
                        <a:pt x="367937" y="12279"/>
                      </a:cubicBezTo>
                      <a:cubicBezTo>
                        <a:pt x="232448" y="9254"/>
                        <a:pt x="2057" y="0"/>
                        <a:pt x="2057" y="0"/>
                      </a:cubicBezTo>
                      <a:cubicBezTo>
                        <a:pt x="1029" y="28368"/>
                        <a:pt x="363" y="56131"/>
                        <a:pt x="0" y="83592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0" name="Freihandform: Form 349">
                  <a:extLst>
                    <a:ext uri="{FF2B5EF4-FFF2-40B4-BE49-F238E27FC236}">
                      <a16:creationId xmlns:a16="http://schemas.microsoft.com/office/drawing/2014/main" id="{607F19D0-2352-8BED-9FD3-71252EAFA952}"/>
                    </a:ext>
                  </a:extLst>
                </p:cNvPr>
                <p:cNvSpPr/>
                <p:nvPr/>
              </p:nvSpPr>
              <p:spPr>
                <a:xfrm>
                  <a:off x="11320727" y="3561826"/>
                  <a:ext cx="365643" cy="143049"/>
                </a:xfrm>
                <a:custGeom>
                  <a:avLst/>
                  <a:gdLst>
                    <a:gd name="connsiteX0" fmla="*/ 363466 w 365643"/>
                    <a:gd name="connsiteY0" fmla="*/ 61 h 143049"/>
                    <a:gd name="connsiteX1" fmla="*/ 368 w 365643"/>
                    <a:gd name="connsiteY1" fmla="*/ 8650 h 143049"/>
                    <a:gd name="connsiteX2" fmla="*/ 7022 w 365643"/>
                    <a:gd name="connsiteY2" fmla="*/ 143049 h 143049"/>
                    <a:gd name="connsiteX3" fmla="*/ 365643 w 365643"/>
                    <a:gd name="connsiteY3" fmla="*/ 83592 h 143049"/>
                    <a:gd name="connsiteX4" fmla="*/ 363466 w 365643"/>
                    <a:gd name="connsiteY4" fmla="*/ 0 h 143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5643" h="143049">
                      <a:moveTo>
                        <a:pt x="363466" y="61"/>
                      </a:moveTo>
                      <a:cubicBezTo>
                        <a:pt x="363466" y="61"/>
                        <a:pt x="68052" y="8650"/>
                        <a:pt x="368" y="8650"/>
                      </a:cubicBezTo>
                      <a:cubicBezTo>
                        <a:pt x="-1144" y="49841"/>
                        <a:pt x="2183" y="95931"/>
                        <a:pt x="7022" y="143049"/>
                      </a:cubicBezTo>
                      <a:cubicBezTo>
                        <a:pt x="89222" y="125387"/>
                        <a:pt x="233602" y="100104"/>
                        <a:pt x="365643" y="83592"/>
                      </a:cubicBezTo>
                      <a:cubicBezTo>
                        <a:pt x="365159" y="56131"/>
                        <a:pt x="364494" y="28368"/>
                        <a:pt x="363466" y="0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1" name="Freihandform: Form 350">
                  <a:extLst>
                    <a:ext uri="{FF2B5EF4-FFF2-40B4-BE49-F238E27FC236}">
                      <a16:creationId xmlns:a16="http://schemas.microsoft.com/office/drawing/2014/main" id="{A0913F5E-3131-9E9F-B4DF-4C43A0755A27}"/>
                    </a:ext>
                  </a:extLst>
                </p:cNvPr>
                <p:cNvSpPr/>
                <p:nvPr/>
              </p:nvSpPr>
              <p:spPr>
                <a:xfrm>
                  <a:off x="11710384" y="4184348"/>
                  <a:ext cx="213757" cy="213757"/>
                </a:xfrm>
                <a:custGeom>
                  <a:avLst/>
                  <a:gdLst>
                    <a:gd name="connsiteX0" fmla="*/ 213757 w 213757"/>
                    <a:gd name="connsiteY0" fmla="*/ 106879 h 213757"/>
                    <a:gd name="connsiteX1" fmla="*/ 106879 w 213757"/>
                    <a:gd name="connsiteY1" fmla="*/ 213757 h 213757"/>
                    <a:gd name="connsiteX2" fmla="*/ 0 w 213757"/>
                    <a:gd name="connsiteY2" fmla="*/ 106879 h 213757"/>
                    <a:gd name="connsiteX3" fmla="*/ 106879 w 213757"/>
                    <a:gd name="connsiteY3" fmla="*/ 0 h 213757"/>
                    <a:gd name="connsiteX4" fmla="*/ 213757 w 213757"/>
                    <a:gd name="connsiteY4" fmla="*/ 106879 h 2137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3757" h="213757">
                      <a:moveTo>
                        <a:pt x="213757" y="106879"/>
                      </a:moveTo>
                      <a:cubicBezTo>
                        <a:pt x="213757" y="165906"/>
                        <a:pt x="165906" y="213757"/>
                        <a:pt x="106879" y="213757"/>
                      </a:cubicBezTo>
                      <a:cubicBezTo>
                        <a:pt x="47851" y="213757"/>
                        <a:pt x="0" y="165906"/>
                        <a:pt x="0" y="106879"/>
                      </a:cubicBezTo>
                      <a:cubicBezTo>
                        <a:pt x="0" y="47851"/>
                        <a:pt x="47851" y="0"/>
                        <a:pt x="106879" y="0"/>
                      </a:cubicBezTo>
                      <a:cubicBezTo>
                        <a:pt x="165906" y="0"/>
                        <a:pt x="213757" y="47851"/>
                        <a:pt x="213757" y="106879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352" name="Grafik 297">
                  <a:extLst>
                    <a:ext uri="{FF2B5EF4-FFF2-40B4-BE49-F238E27FC236}">
                      <a16:creationId xmlns:a16="http://schemas.microsoft.com/office/drawing/2014/main" id="{82987580-8866-7B3F-C491-819A1C715787}"/>
                    </a:ext>
                  </a:extLst>
                </p:cNvPr>
                <p:cNvGrpSpPr/>
                <p:nvPr/>
              </p:nvGrpSpPr>
              <p:grpSpPr>
                <a:xfrm>
                  <a:off x="11174966" y="3045397"/>
                  <a:ext cx="164094" cy="552660"/>
                  <a:chOff x="11174966" y="3045397"/>
                  <a:chExt cx="164094" cy="552660"/>
                </a:xfrm>
              </p:grpSpPr>
              <p:sp>
                <p:nvSpPr>
                  <p:cNvPr id="353" name="Freihandform: Form 352">
                    <a:extLst>
                      <a:ext uri="{FF2B5EF4-FFF2-40B4-BE49-F238E27FC236}">
                        <a16:creationId xmlns:a16="http://schemas.microsoft.com/office/drawing/2014/main" id="{756BF7D5-AEEF-DCE4-32DA-4BA87C74D53B}"/>
                      </a:ext>
                    </a:extLst>
                  </p:cNvPr>
                  <p:cNvSpPr/>
                  <p:nvPr/>
                </p:nvSpPr>
                <p:spPr>
                  <a:xfrm>
                    <a:off x="11174966" y="3125964"/>
                    <a:ext cx="163973" cy="472093"/>
                  </a:xfrm>
                  <a:custGeom>
                    <a:avLst/>
                    <a:gdLst>
                      <a:gd name="connsiteX0" fmla="*/ 9130 w 163973"/>
                      <a:gd name="connsiteY0" fmla="*/ 472093 h 472093"/>
                      <a:gd name="connsiteX1" fmla="*/ 94294 w 163973"/>
                      <a:gd name="connsiteY1" fmla="*/ 468161 h 472093"/>
                      <a:gd name="connsiteX2" fmla="*/ 163974 w 163973"/>
                      <a:gd name="connsiteY2" fmla="*/ 9133 h 472093"/>
                      <a:gd name="connsiteX3" fmla="*/ 118 w 163973"/>
                      <a:gd name="connsiteY3" fmla="*/ 0 h 472093"/>
                      <a:gd name="connsiteX4" fmla="*/ 9130 w 163973"/>
                      <a:gd name="connsiteY4" fmla="*/ 472093 h 4720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3973" h="472093">
                        <a:moveTo>
                          <a:pt x="9130" y="472093"/>
                        </a:moveTo>
                        <a:lnTo>
                          <a:pt x="94294" y="468161"/>
                        </a:lnTo>
                        <a:cubicBezTo>
                          <a:pt x="94294" y="468161"/>
                          <a:pt x="161071" y="61151"/>
                          <a:pt x="163974" y="9133"/>
                        </a:cubicBezTo>
                        <a:lnTo>
                          <a:pt x="118" y="0"/>
                        </a:lnTo>
                        <a:cubicBezTo>
                          <a:pt x="-1153" y="212306"/>
                          <a:pt x="8283" y="346887"/>
                          <a:pt x="9130" y="472093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4" name="Freihandform: Form 353">
                    <a:extLst>
                      <a:ext uri="{FF2B5EF4-FFF2-40B4-BE49-F238E27FC236}">
                        <a16:creationId xmlns:a16="http://schemas.microsoft.com/office/drawing/2014/main" id="{FD283375-F158-A9A9-D27B-9DB56A4490A8}"/>
                      </a:ext>
                    </a:extLst>
                  </p:cNvPr>
                  <p:cNvSpPr/>
                  <p:nvPr/>
                </p:nvSpPr>
                <p:spPr>
                  <a:xfrm>
                    <a:off x="11175143" y="3045397"/>
                    <a:ext cx="163916" cy="163916"/>
                  </a:xfrm>
                  <a:custGeom>
                    <a:avLst/>
                    <a:gdLst>
                      <a:gd name="connsiteX0" fmla="*/ 163917 w 163916"/>
                      <a:gd name="connsiteY0" fmla="*/ 81959 h 163916"/>
                      <a:gd name="connsiteX1" fmla="*/ 81958 w 163916"/>
                      <a:gd name="connsiteY1" fmla="*/ 163917 h 163916"/>
                      <a:gd name="connsiteX2" fmla="*/ 0 w 163916"/>
                      <a:gd name="connsiteY2" fmla="*/ 81958 h 163916"/>
                      <a:gd name="connsiteX3" fmla="*/ 81958 w 163916"/>
                      <a:gd name="connsiteY3" fmla="*/ 0 h 163916"/>
                      <a:gd name="connsiteX4" fmla="*/ 163917 w 163916"/>
                      <a:gd name="connsiteY4" fmla="*/ 81959 h 1639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3916" h="163916">
                        <a:moveTo>
                          <a:pt x="163917" y="81959"/>
                        </a:moveTo>
                        <a:cubicBezTo>
                          <a:pt x="163917" y="127223"/>
                          <a:pt x="127223" y="163917"/>
                          <a:pt x="81958" y="163917"/>
                        </a:cubicBezTo>
                        <a:cubicBezTo>
                          <a:pt x="36694" y="163917"/>
                          <a:pt x="0" y="127223"/>
                          <a:pt x="0" y="81958"/>
                        </a:cubicBezTo>
                        <a:cubicBezTo>
                          <a:pt x="0" y="36694"/>
                          <a:pt x="36694" y="0"/>
                          <a:pt x="81958" y="0"/>
                        </a:cubicBezTo>
                        <a:cubicBezTo>
                          <a:pt x="127222" y="0"/>
                          <a:pt x="163917" y="36694"/>
                          <a:pt x="163917" y="81959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5" name="Freihandform: Form 354">
                    <a:extLst>
                      <a:ext uri="{FF2B5EF4-FFF2-40B4-BE49-F238E27FC236}">
                        <a16:creationId xmlns:a16="http://schemas.microsoft.com/office/drawing/2014/main" id="{59BC9CA9-174D-B8A3-292D-3E9AD6B1C9A2}"/>
                      </a:ext>
                    </a:extLst>
                  </p:cNvPr>
                  <p:cNvSpPr/>
                  <p:nvPr/>
                </p:nvSpPr>
                <p:spPr>
                  <a:xfrm>
                    <a:off x="11183128" y="3538055"/>
                    <a:ext cx="95265" cy="60002"/>
                  </a:xfrm>
                  <a:custGeom>
                    <a:avLst/>
                    <a:gdLst>
                      <a:gd name="connsiteX0" fmla="*/ 0 w 95265"/>
                      <a:gd name="connsiteY0" fmla="*/ 61 h 60002"/>
                      <a:gd name="connsiteX1" fmla="*/ 968 w 95265"/>
                      <a:gd name="connsiteY1" fmla="*/ 60002 h 60002"/>
                      <a:gd name="connsiteX2" fmla="*/ 86132 w 95265"/>
                      <a:gd name="connsiteY2" fmla="*/ 56070 h 60002"/>
                      <a:gd name="connsiteX3" fmla="*/ 95265 w 95265"/>
                      <a:gd name="connsiteY3" fmla="*/ 0 h 60002"/>
                      <a:gd name="connsiteX4" fmla="*/ 61 w 95265"/>
                      <a:gd name="connsiteY4" fmla="*/ 0 h 600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5265" h="60002">
                        <a:moveTo>
                          <a:pt x="0" y="61"/>
                        </a:moveTo>
                        <a:cubicBezTo>
                          <a:pt x="484" y="20444"/>
                          <a:pt x="847" y="40344"/>
                          <a:pt x="968" y="60002"/>
                        </a:cubicBezTo>
                        <a:lnTo>
                          <a:pt x="86132" y="56070"/>
                        </a:lnTo>
                        <a:cubicBezTo>
                          <a:pt x="86132" y="56070"/>
                          <a:pt x="89700" y="34235"/>
                          <a:pt x="95265" y="0"/>
                        </a:cubicBezTo>
                        <a:lnTo>
                          <a:pt x="61" y="0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56" name="Grafik 297">
                  <a:extLst>
                    <a:ext uri="{FF2B5EF4-FFF2-40B4-BE49-F238E27FC236}">
                      <a16:creationId xmlns:a16="http://schemas.microsoft.com/office/drawing/2014/main" id="{371CA25E-28FC-E9D2-99B4-C64F024EF7E0}"/>
                    </a:ext>
                  </a:extLst>
                </p:cNvPr>
                <p:cNvGrpSpPr/>
                <p:nvPr/>
              </p:nvGrpSpPr>
              <p:grpSpPr>
                <a:xfrm>
                  <a:off x="11138852" y="2513423"/>
                  <a:ext cx="352330" cy="680527"/>
                  <a:chOff x="11138852" y="2513423"/>
                  <a:chExt cx="352330" cy="680527"/>
                </a:xfrm>
              </p:grpSpPr>
              <p:sp>
                <p:nvSpPr>
                  <p:cNvPr id="357" name="Freihandform: Form 356">
                    <a:extLst>
                      <a:ext uri="{FF2B5EF4-FFF2-40B4-BE49-F238E27FC236}">
                        <a16:creationId xmlns:a16="http://schemas.microsoft.com/office/drawing/2014/main" id="{C06F496B-122B-C2DC-2B37-015BC35E9E0C}"/>
                      </a:ext>
                    </a:extLst>
                  </p:cNvPr>
                  <p:cNvSpPr/>
                  <p:nvPr/>
                </p:nvSpPr>
                <p:spPr>
                  <a:xfrm>
                    <a:off x="11279482" y="2513423"/>
                    <a:ext cx="211700" cy="211700"/>
                  </a:xfrm>
                  <a:custGeom>
                    <a:avLst/>
                    <a:gdLst>
                      <a:gd name="connsiteX0" fmla="*/ 211701 w 211700"/>
                      <a:gd name="connsiteY0" fmla="*/ 105850 h 211700"/>
                      <a:gd name="connsiteX1" fmla="*/ 105851 w 211700"/>
                      <a:gd name="connsiteY1" fmla="*/ 211701 h 211700"/>
                      <a:gd name="connsiteX2" fmla="*/ 0 w 211700"/>
                      <a:gd name="connsiteY2" fmla="*/ 105850 h 211700"/>
                      <a:gd name="connsiteX3" fmla="*/ 105851 w 211700"/>
                      <a:gd name="connsiteY3" fmla="*/ 0 h 211700"/>
                      <a:gd name="connsiteX4" fmla="*/ 211701 w 211700"/>
                      <a:gd name="connsiteY4" fmla="*/ 105850 h 2117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1700" h="211700">
                        <a:moveTo>
                          <a:pt x="211701" y="105850"/>
                        </a:moveTo>
                        <a:cubicBezTo>
                          <a:pt x="211701" y="164310"/>
                          <a:pt x="164311" y="211701"/>
                          <a:pt x="105851" y="211701"/>
                        </a:cubicBezTo>
                        <a:cubicBezTo>
                          <a:pt x="47391" y="211701"/>
                          <a:pt x="0" y="164310"/>
                          <a:pt x="0" y="105850"/>
                        </a:cubicBezTo>
                        <a:cubicBezTo>
                          <a:pt x="0" y="47391"/>
                          <a:pt x="47391" y="0"/>
                          <a:pt x="105851" y="0"/>
                        </a:cubicBezTo>
                        <a:cubicBezTo>
                          <a:pt x="164311" y="0"/>
                          <a:pt x="211701" y="47391"/>
                          <a:pt x="211701" y="105850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8" name="Freihandform: Form 357">
                    <a:extLst>
                      <a:ext uri="{FF2B5EF4-FFF2-40B4-BE49-F238E27FC236}">
                        <a16:creationId xmlns:a16="http://schemas.microsoft.com/office/drawing/2014/main" id="{367E8486-85A3-DDF3-5E7F-59EB4389B348}"/>
                      </a:ext>
                    </a:extLst>
                  </p:cNvPr>
                  <p:cNvSpPr/>
                  <p:nvPr/>
                </p:nvSpPr>
                <p:spPr>
                  <a:xfrm>
                    <a:off x="11138852" y="2521286"/>
                    <a:ext cx="309748" cy="672604"/>
                  </a:xfrm>
                  <a:custGeom>
                    <a:avLst/>
                    <a:gdLst>
                      <a:gd name="connsiteX0" fmla="*/ 206196 w 309748"/>
                      <a:gd name="connsiteY0" fmla="*/ 61 h 672604"/>
                      <a:gd name="connsiteX1" fmla="*/ 109237 w 309748"/>
                      <a:gd name="connsiteY1" fmla="*/ 151941 h 672604"/>
                      <a:gd name="connsiteX2" fmla="*/ 0 w 309748"/>
                      <a:gd name="connsiteY2" fmla="*/ 649498 h 672604"/>
                      <a:gd name="connsiteX3" fmla="*/ 210551 w 309748"/>
                      <a:gd name="connsiteY3" fmla="*/ 672604 h 672604"/>
                      <a:gd name="connsiteX4" fmla="*/ 309748 w 309748"/>
                      <a:gd name="connsiteY4" fmla="*/ 182668 h 672604"/>
                      <a:gd name="connsiteX5" fmla="*/ 206196 w 309748"/>
                      <a:gd name="connsiteY5" fmla="*/ 0 h 6726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748" h="672604">
                        <a:moveTo>
                          <a:pt x="206196" y="61"/>
                        </a:moveTo>
                        <a:cubicBezTo>
                          <a:pt x="206196" y="61"/>
                          <a:pt x="139541" y="14880"/>
                          <a:pt x="109237" y="151941"/>
                        </a:cubicBezTo>
                        <a:cubicBezTo>
                          <a:pt x="78511" y="290938"/>
                          <a:pt x="0" y="649498"/>
                          <a:pt x="0" y="649498"/>
                        </a:cubicBezTo>
                        <a:lnTo>
                          <a:pt x="210551" y="672604"/>
                        </a:lnTo>
                        <a:lnTo>
                          <a:pt x="309748" y="182668"/>
                        </a:lnTo>
                        <a:lnTo>
                          <a:pt x="206196" y="0"/>
                        </a:ln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9" name="Freihandform: Form 358">
                    <a:extLst>
                      <a:ext uri="{FF2B5EF4-FFF2-40B4-BE49-F238E27FC236}">
                        <a16:creationId xmlns:a16="http://schemas.microsoft.com/office/drawing/2014/main" id="{8E4B4840-7EB4-1879-1B0E-DEF160F9C1E3}"/>
                      </a:ext>
                    </a:extLst>
                  </p:cNvPr>
                  <p:cNvSpPr/>
                  <p:nvPr/>
                </p:nvSpPr>
                <p:spPr>
                  <a:xfrm>
                    <a:off x="11220790" y="2704014"/>
                    <a:ext cx="227870" cy="489936"/>
                  </a:xfrm>
                  <a:custGeom>
                    <a:avLst/>
                    <a:gdLst>
                      <a:gd name="connsiteX0" fmla="*/ 68853 w 227870"/>
                      <a:gd name="connsiteY0" fmla="*/ 234202 h 489936"/>
                      <a:gd name="connsiteX1" fmla="*/ 46050 w 227870"/>
                      <a:gd name="connsiteY1" fmla="*/ 411426 h 489936"/>
                      <a:gd name="connsiteX2" fmla="*/ 1290 w 227870"/>
                      <a:gd name="connsiteY2" fmla="*/ 475964 h 489936"/>
                      <a:gd name="connsiteX3" fmla="*/ 128674 w 227870"/>
                      <a:gd name="connsiteY3" fmla="*/ 489936 h 489936"/>
                      <a:gd name="connsiteX4" fmla="*/ 227871 w 227870"/>
                      <a:gd name="connsiteY4" fmla="*/ 0 h 489936"/>
                      <a:gd name="connsiteX5" fmla="*/ 68913 w 227870"/>
                      <a:gd name="connsiteY5" fmla="*/ 234202 h 4899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27870" h="489936">
                        <a:moveTo>
                          <a:pt x="68853" y="234202"/>
                        </a:moveTo>
                        <a:cubicBezTo>
                          <a:pt x="96495" y="346403"/>
                          <a:pt x="103996" y="388804"/>
                          <a:pt x="46050" y="411426"/>
                        </a:cubicBezTo>
                        <a:cubicBezTo>
                          <a:pt x="-11896" y="434047"/>
                          <a:pt x="1290" y="475964"/>
                          <a:pt x="1290" y="475964"/>
                        </a:cubicBezTo>
                        <a:lnTo>
                          <a:pt x="128674" y="489936"/>
                        </a:lnTo>
                        <a:lnTo>
                          <a:pt x="227871" y="0"/>
                        </a:lnTo>
                        <a:cubicBezTo>
                          <a:pt x="227871" y="0"/>
                          <a:pt x="43207" y="129742"/>
                          <a:pt x="68913" y="234202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360" name="Freihandform: Form 359">
                  <a:extLst>
                    <a:ext uri="{FF2B5EF4-FFF2-40B4-BE49-F238E27FC236}">
                      <a16:creationId xmlns:a16="http://schemas.microsoft.com/office/drawing/2014/main" id="{8620DAE6-4653-039F-1B33-7E44C34048F2}"/>
                    </a:ext>
                  </a:extLst>
                </p:cNvPr>
                <p:cNvSpPr/>
                <p:nvPr/>
              </p:nvSpPr>
              <p:spPr>
                <a:xfrm>
                  <a:off x="11592799" y="2187522"/>
                  <a:ext cx="184482" cy="347094"/>
                </a:xfrm>
                <a:custGeom>
                  <a:avLst/>
                  <a:gdLst>
                    <a:gd name="connsiteX0" fmla="*/ 0 w 184482"/>
                    <a:gd name="connsiteY0" fmla="*/ 298440 h 347094"/>
                    <a:gd name="connsiteX1" fmla="*/ 184482 w 184482"/>
                    <a:gd name="connsiteY1" fmla="*/ 298440 h 347094"/>
                    <a:gd name="connsiteX2" fmla="*/ 184482 w 184482"/>
                    <a:gd name="connsiteY2" fmla="*/ 60307 h 347094"/>
                    <a:gd name="connsiteX3" fmla="*/ 0 w 184482"/>
                    <a:gd name="connsiteY3" fmla="*/ 60307 h 347094"/>
                    <a:gd name="connsiteX4" fmla="*/ 0 w 184482"/>
                    <a:gd name="connsiteY4" fmla="*/ 298440 h 3470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4482" h="347094">
                      <a:moveTo>
                        <a:pt x="0" y="298440"/>
                      </a:moveTo>
                      <a:cubicBezTo>
                        <a:pt x="32058" y="362858"/>
                        <a:pt x="146739" y="363765"/>
                        <a:pt x="184482" y="298440"/>
                      </a:cubicBezTo>
                      <a:lnTo>
                        <a:pt x="184482" y="60307"/>
                      </a:lnTo>
                      <a:cubicBezTo>
                        <a:pt x="151820" y="-29091"/>
                        <a:pt x="13488" y="-10583"/>
                        <a:pt x="0" y="60307"/>
                      </a:cubicBezTo>
                      <a:lnTo>
                        <a:pt x="0" y="298440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1" name="Freihandform: Form 360">
                  <a:extLst>
                    <a:ext uri="{FF2B5EF4-FFF2-40B4-BE49-F238E27FC236}">
                      <a16:creationId xmlns:a16="http://schemas.microsoft.com/office/drawing/2014/main" id="{CAA0DC40-E6B6-638B-1F78-3CAFB5BDE067}"/>
                    </a:ext>
                  </a:extLst>
                </p:cNvPr>
                <p:cNvSpPr/>
                <p:nvPr/>
              </p:nvSpPr>
              <p:spPr>
                <a:xfrm>
                  <a:off x="11592799" y="2187522"/>
                  <a:ext cx="184482" cy="345619"/>
                </a:xfrm>
                <a:custGeom>
                  <a:avLst/>
                  <a:gdLst>
                    <a:gd name="connsiteX0" fmla="*/ 184482 w 184482"/>
                    <a:gd name="connsiteY0" fmla="*/ 60307 h 345619"/>
                    <a:gd name="connsiteX1" fmla="*/ 0 w 184482"/>
                    <a:gd name="connsiteY1" fmla="*/ 60307 h 345619"/>
                    <a:gd name="connsiteX2" fmla="*/ 0 w 184482"/>
                    <a:gd name="connsiteY2" fmla="*/ 298440 h 345619"/>
                    <a:gd name="connsiteX3" fmla="*/ 0 w 184482"/>
                    <a:gd name="connsiteY3" fmla="*/ 298440 h 345619"/>
                    <a:gd name="connsiteX4" fmla="*/ 5141 w 184482"/>
                    <a:gd name="connsiteY4" fmla="*/ 307090 h 345619"/>
                    <a:gd name="connsiteX5" fmla="*/ 6109 w 184482"/>
                    <a:gd name="connsiteY5" fmla="*/ 308541 h 345619"/>
                    <a:gd name="connsiteX6" fmla="*/ 12097 w 184482"/>
                    <a:gd name="connsiteY6" fmla="*/ 315981 h 345619"/>
                    <a:gd name="connsiteX7" fmla="*/ 13247 w 184482"/>
                    <a:gd name="connsiteY7" fmla="*/ 317191 h 345619"/>
                    <a:gd name="connsiteX8" fmla="*/ 28852 w 184482"/>
                    <a:gd name="connsiteY8" fmla="*/ 330014 h 345619"/>
                    <a:gd name="connsiteX9" fmla="*/ 29759 w 184482"/>
                    <a:gd name="connsiteY9" fmla="*/ 330619 h 345619"/>
                    <a:gd name="connsiteX10" fmla="*/ 38832 w 184482"/>
                    <a:gd name="connsiteY10" fmla="*/ 335639 h 345619"/>
                    <a:gd name="connsiteX11" fmla="*/ 39498 w 184482"/>
                    <a:gd name="connsiteY11" fmla="*/ 335941 h 345619"/>
                    <a:gd name="connsiteX12" fmla="*/ 60304 w 184482"/>
                    <a:gd name="connsiteY12" fmla="*/ 343381 h 345619"/>
                    <a:gd name="connsiteX13" fmla="*/ 60365 w 184482"/>
                    <a:gd name="connsiteY13" fmla="*/ 343381 h 345619"/>
                    <a:gd name="connsiteX14" fmla="*/ 71615 w 184482"/>
                    <a:gd name="connsiteY14" fmla="*/ 345619 h 345619"/>
                    <a:gd name="connsiteX15" fmla="*/ 71615 w 184482"/>
                    <a:gd name="connsiteY15" fmla="*/ 345619 h 345619"/>
                    <a:gd name="connsiteX16" fmla="*/ 41010 w 184482"/>
                    <a:gd name="connsiteY16" fmla="*/ 255556 h 345619"/>
                    <a:gd name="connsiteX17" fmla="*/ 91273 w 184482"/>
                    <a:gd name="connsiteY17" fmla="*/ 220474 h 345619"/>
                    <a:gd name="connsiteX18" fmla="*/ 184422 w 184482"/>
                    <a:gd name="connsiteY18" fmla="*/ 110329 h 345619"/>
                    <a:gd name="connsiteX19" fmla="*/ 184422 w 184482"/>
                    <a:gd name="connsiteY19" fmla="*/ 60246 h 3456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84482" h="345619">
                      <a:moveTo>
                        <a:pt x="184482" y="60307"/>
                      </a:moveTo>
                      <a:cubicBezTo>
                        <a:pt x="151820" y="-29091"/>
                        <a:pt x="13488" y="-10583"/>
                        <a:pt x="0" y="60307"/>
                      </a:cubicBezTo>
                      <a:lnTo>
                        <a:pt x="0" y="298440"/>
                      </a:lnTo>
                      <a:cubicBezTo>
                        <a:pt x="0" y="298440"/>
                        <a:pt x="0" y="298440"/>
                        <a:pt x="0" y="298440"/>
                      </a:cubicBezTo>
                      <a:cubicBezTo>
                        <a:pt x="1512" y="301465"/>
                        <a:pt x="3266" y="304307"/>
                        <a:pt x="5141" y="307090"/>
                      </a:cubicBezTo>
                      <a:cubicBezTo>
                        <a:pt x="5444" y="307574"/>
                        <a:pt x="5806" y="308057"/>
                        <a:pt x="6109" y="308541"/>
                      </a:cubicBezTo>
                      <a:cubicBezTo>
                        <a:pt x="7985" y="311142"/>
                        <a:pt x="9980" y="313622"/>
                        <a:pt x="12097" y="315981"/>
                      </a:cubicBezTo>
                      <a:cubicBezTo>
                        <a:pt x="12460" y="316405"/>
                        <a:pt x="12823" y="316767"/>
                        <a:pt x="13247" y="317191"/>
                      </a:cubicBezTo>
                      <a:cubicBezTo>
                        <a:pt x="17904" y="322030"/>
                        <a:pt x="23106" y="326324"/>
                        <a:pt x="28852" y="330014"/>
                      </a:cubicBezTo>
                      <a:cubicBezTo>
                        <a:pt x="29155" y="330195"/>
                        <a:pt x="29457" y="330437"/>
                        <a:pt x="29759" y="330619"/>
                      </a:cubicBezTo>
                      <a:cubicBezTo>
                        <a:pt x="32663" y="332433"/>
                        <a:pt x="35687" y="334127"/>
                        <a:pt x="38832" y="335639"/>
                      </a:cubicBezTo>
                      <a:cubicBezTo>
                        <a:pt x="39074" y="335760"/>
                        <a:pt x="39316" y="335881"/>
                        <a:pt x="39498" y="335941"/>
                      </a:cubicBezTo>
                      <a:cubicBezTo>
                        <a:pt x="46090" y="339087"/>
                        <a:pt x="53046" y="341567"/>
                        <a:pt x="60304" y="343381"/>
                      </a:cubicBezTo>
                      <a:cubicBezTo>
                        <a:pt x="60304" y="343381"/>
                        <a:pt x="60304" y="343381"/>
                        <a:pt x="60365" y="343381"/>
                      </a:cubicBezTo>
                      <a:cubicBezTo>
                        <a:pt x="64054" y="344289"/>
                        <a:pt x="67805" y="345075"/>
                        <a:pt x="71615" y="345619"/>
                      </a:cubicBezTo>
                      <a:cubicBezTo>
                        <a:pt x="71615" y="345619"/>
                        <a:pt x="71615" y="345619"/>
                        <a:pt x="71615" y="345619"/>
                      </a:cubicBezTo>
                      <a:cubicBezTo>
                        <a:pt x="58066" y="324328"/>
                        <a:pt x="40707" y="295779"/>
                        <a:pt x="41010" y="255556"/>
                      </a:cubicBezTo>
                      <a:cubicBezTo>
                        <a:pt x="41191" y="236079"/>
                        <a:pt x="55345" y="222349"/>
                        <a:pt x="91273" y="220474"/>
                      </a:cubicBezTo>
                      <a:cubicBezTo>
                        <a:pt x="151397" y="217389"/>
                        <a:pt x="179038" y="128535"/>
                        <a:pt x="184422" y="110329"/>
                      </a:cubicBezTo>
                      <a:lnTo>
                        <a:pt x="184422" y="60246"/>
                      </a:ln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2" name="Freihandform: Form 361">
                  <a:extLst>
                    <a:ext uri="{FF2B5EF4-FFF2-40B4-BE49-F238E27FC236}">
                      <a16:creationId xmlns:a16="http://schemas.microsoft.com/office/drawing/2014/main" id="{570300FB-C59D-149A-A64A-EE941167C757}"/>
                    </a:ext>
                  </a:extLst>
                </p:cNvPr>
                <p:cNvSpPr/>
                <p:nvPr/>
              </p:nvSpPr>
              <p:spPr>
                <a:xfrm>
                  <a:off x="11554257" y="2045063"/>
                  <a:ext cx="261685" cy="343154"/>
                </a:xfrm>
                <a:custGeom>
                  <a:avLst/>
                  <a:gdLst>
                    <a:gd name="connsiteX0" fmla="*/ 260888 w 261685"/>
                    <a:gd name="connsiteY0" fmla="*/ 115908 h 343154"/>
                    <a:gd name="connsiteX1" fmla="*/ 226713 w 261685"/>
                    <a:gd name="connsiteY1" fmla="*/ 30200 h 343154"/>
                    <a:gd name="connsiteX2" fmla="*/ 130843 w 261685"/>
                    <a:gd name="connsiteY2" fmla="*/ 17 h 343154"/>
                    <a:gd name="connsiteX3" fmla="*/ 34973 w 261685"/>
                    <a:gd name="connsiteY3" fmla="*/ 30200 h 343154"/>
                    <a:gd name="connsiteX4" fmla="*/ 798 w 261685"/>
                    <a:gd name="connsiteY4" fmla="*/ 115908 h 343154"/>
                    <a:gd name="connsiteX5" fmla="*/ 1342 w 261685"/>
                    <a:gd name="connsiteY5" fmla="*/ 197806 h 343154"/>
                    <a:gd name="connsiteX6" fmla="*/ 40235 w 261685"/>
                    <a:gd name="connsiteY6" fmla="*/ 289080 h 343154"/>
                    <a:gd name="connsiteX7" fmla="*/ 130843 w 261685"/>
                    <a:gd name="connsiteY7" fmla="*/ 343154 h 343154"/>
                    <a:gd name="connsiteX8" fmla="*/ 221451 w 261685"/>
                    <a:gd name="connsiteY8" fmla="*/ 289080 h 343154"/>
                    <a:gd name="connsiteX9" fmla="*/ 260344 w 261685"/>
                    <a:gd name="connsiteY9" fmla="*/ 197806 h 343154"/>
                    <a:gd name="connsiteX10" fmla="*/ 260888 w 261685"/>
                    <a:gd name="connsiteY10" fmla="*/ 115908 h 343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61685" h="343154">
                      <a:moveTo>
                        <a:pt x="260888" y="115908"/>
                      </a:moveTo>
                      <a:cubicBezTo>
                        <a:pt x="260888" y="115908"/>
                        <a:pt x="257803" y="64798"/>
                        <a:pt x="226713" y="30200"/>
                      </a:cubicBezTo>
                      <a:cubicBezTo>
                        <a:pt x="201067" y="1711"/>
                        <a:pt x="148566" y="-225"/>
                        <a:pt x="130843" y="17"/>
                      </a:cubicBezTo>
                      <a:cubicBezTo>
                        <a:pt x="113120" y="-164"/>
                        <a:pt x="60558" y="1711"/>
                        <a:pt x="34973" y="30200"/>
                      </a:cubicBezTo>
                      <a:cubicBezTo>
                        <a:pt x="3883" y="64798"/>
                        <a:pt x="798" y="115908"/>
                        <a:pt x="798" y="115908"/>
                      </a:cubicBezTo>
                      <a:cubicBezTo>
                        <a:pt x="798" y="115908"/>
                        <a:pt x="-1319" y="174943"/>
                        <a:pt x="1342" y="197806"/>
                      </a:cubicBezTo>
                      <a:cubicBezTo>
                        <a:pt x="4004" y="220610"/>
                        <a:pt x="1221" y="251941"/>
                        <a:pt x="40235" y="289080"/>
                      </a:cubicBezTo>
                      <a:cubicBezTo>
                        <a:pt x="78341" y="325371"/>
                        <a:pt x="104411" y="342307"/>
                        <a:pt x="130843" y="343154"/>
                      </a:cubicBezTo>
                      <a:cubicBezTo>
                        <a:pt x="157275" y="342368"/>
                        <a:pt x="183345" y="325371"/>
                        <a:pt x="221451" y="289080"/>
                      </a:cubicBezTo>
                      <a:cubicBezTo>
                        <a:pt x="260465" y="251881"/>
                        <a:pt x="257742" y="220610"/>
                        <a:pt x="260344" y="197806"/>
                      </a:cubicBezTo>
                      <a:cubicBezTo>
                        <a:pt x="263005" y="175003"/>
                        <a:pt x="260888" y="115908"/>
                        <a:pt x="260888" y="115908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3" name="Freihandform: Form 362">
                  <a:extLst>
                    <a:ext uri="{FF2B5EF4-FFF2-40B4-BE49-F238E27FC236}">
                      <a16:creationId xmlns:a16="http://schemas.microsoft.com/office/drawing/2014/main" id="{BCA06138-07B9-DDC4-A671-17E477433BDE}"/>
                    </a:ext>
                  </a:extLst>
                </p:cNvPr>
                <p:cNvSpPr/>
                <p:nvPr/>
              </p:nvSpPr>
              <p:spPr>
                <a:xfrm rot="-3871802">
                  <a:off x="11747236" y="2163336"/>
                  <a:ext cx="128714" cy="86011"/>
                </a:xfrm>
                <a:custGeom>
                  <a:avLst/>
                  <a:gdLst>
                    <a:gd name="connsiteX0" fmla="*/ 128714 w 128714"/>
                    <a:gd name="connsiteY0" fmla="*/ 43006 h 86011"/>
                    <a:gd name="connsiteX1" fmla="*/ 64357 w 128714"/>
                    <a:gd name="connsiteY1" fmla="*/ 86011 h 86011"/>
                    <a:gd name="connsiteX2" fmla="*/ 0 w 128714"/>
                    <a:gd name="connsiteY2" fmla="*/ 43006 h 86011"/>
                    <a:gd name="connsiteX3" fmla="*/ 64357 w 128714"/>
                    <a:gd name="connsiteY3" fmla="*/ 0 h 86011"/>
                    <a:gd name="connsiteX4" fmla="*/ 128714 w 128714"/>
                    <a:gd name="connsiteY4" fmla="*/ 43006 h 860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8714" h="86011">
                      <a:moveTo>
                        <a:pt x="128714" y="43006"/>
                      </a:moveTo>
                      <a:cubicBezTo>
                        <a:pt x="128714" y="66757"/>
                        <a:pt x="99900" y="86011"/>
                        <a:pt x="64357" y="86011"/>
                      </a:cubicBezTo>
                      <a:cubicBezTo>
                        <a:pt x="28813" y="86011"/>
                        <a:pt x="0" y="66757"/>
                        <a:pt x="0" y="43006"/>
                      </a:cubicBezTo>
                      <a:cubicBezTo>
                        <a:pt x="0" y="19254"/>
                        <a:pt x="28813" y="0"/>
                        <a:pt x="64357" y="0"/>
                      </a:cubicBezTo>
                      <a:cubicBezTo>
                        <a:pt x="99900" y="0"/>
                        <a:pt x="128714" y="19254"/>
                        <a:pt x="128714" y="43006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4" name="Freihandform: Form 363">
                  <a:extLst>
                    <a:ext uri="{FF2B5EF4-FFF2-40B4-BE49-F238E27FC236}">
                      <a16:creationId xmlns:a16="http://schemas.microsoft.com/office/drawing/2014/main" id="{6AFD1CD0-FF7F-F59A-ADFC-C6D21E262FF5}"/>
                    </a:ext>
                  </a:extLst>
                </p:cNvPr>
                <p:cNvSpPr/>
                <p:nvPr/>
              </p:nvSpPr>
              <p:spPr>
                <a:xfrm rot="-1168199">
                  <a:off x="11511939" y="2141862"/>
                  <a:ext cx="86252" cy="128230"/>
                </a:xfrm>
                <a:custGeom>
                  <a:avLst/>
                  <a:gdLst>
                    <a:gd name="connsiteX0" fmla="*/ 86253 w 86252"/>
                    <a:gd name="connsiteY0" fmla="*/ 64115 h 128230"/>
                    <a:gd name="connsiteX1" fmla="*/ 43127 w 86252"/>
                    <a:gd name="connsiteY1" fmla="*/ 128230 h 128230"/>
                    <a:gd name="connsiteX2" fmla="*/ 0 w 86252"/>
                    <a:gd name="connsiteY2" fmla="*/ 64115 h 128230"/>
                    <a:gd name="connsiteX3" fmla="*/ 43127 w 86252"/>
                    <a:gd name="connsiteY3" fmla="*/ 0 h 128230"/>
                    <a:gd name="connsiteX4" fmla="*/ 86253 w 86252"/>
                    <a:gd name="connsiteY4" fmla="*/ 64115 h 128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6252" h="128230">
                      <a:moveTo>
                        <a:pt x="86253" y="64115"/>
                      </a:moveTo>
                      <a:cubicBezTo>
                        <a:pt x="86253" y="99525"/>
                        <a:pt x="66944" y="128230"/>
                        <a:pt x="43127" y="128230"/>
                      </a:cubicBezTo>
                      <a:cubicBezTo>
                        <a:pt x="19309" y="128230"/>
                        <a:pt x="0" y="99525"/>
                        <a:pt x="0" y="64115"/>
                      </a:cubicBezTo>
                      <a:cubicBezTo>
                        <a:pt x="0" y="28705"/>
                        <a:pt x="19309" y="0"/>
                        <a:pt x="43127" y="0"/>
                      </a:cubicBezTo>
                      <a:cubicBezTo>
                        <a:pt x="66944" y="0"/>
                        <a:pt x="86253" y="28705"/>
                        <a:pt x="86253" y="64115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5" name="Freihandform: Form 364">
                  <a:extLst>
                    <a:ext uri="{FF2B5EF4-FFF2-40B4-BE49-F238E27FC236}">
                      <a16:creationId xmlns:a16="http://schemas.microsoft.com/office/drawing/2014/main" id="{7A31F45A-38D8-84FB-AC04-96F0E0A6D8CF}"/>
                    </a:ext>
                  </a:extLst>
                </p:cNvPr>
                <p:cNvSpPr/>
                <p:nvPr/>
              </p:nvSpPr>
              <p:spPr>
                <a:xfrm>
                  <a:off x="11518704" y="1942617"/>
                  <a:ext cx="332793" cy="347915"/>
                </a:xfrm>
                <a:custGeom>
                  <a:avLst/>
                  <a:gdLst>
                    <a:gd name="connsiteX0" fmla="*/ 332794 w 332793"/>
                    <a:gd name="connsiteY0" fmla="*/ 173958 h 347915"/>
                    <a:gd name="connsiteX1" fmla="*/ 166397 w 332793"/>
                    <a:gd name="connsiteY1" fmla="*/ 347915 h 347915"/>
                    <a:gd name="connsiteX2" fmla="*/ 0 w 332793"/>
                    <a:gd name="connsiteY2" fmla="*/ 173958 h 347915"/>
                    <a:gd name="connsiteX3" fmla="*/ 166397 w 332793"/>
                    <a:gd name="connsiteY3" fmla="*/ 0 h 347915"/>
                    <a:gd name="connsiteX4" fmla="*/ 332794 w 332793"/>
                    <a:gd name="connsiteY4" fmla="*/ 173958 h 347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793" h="347915">
                      <a:moveTo>
                        <a:pt x="332794" y="173958"/>
                      </a:moveTo>
                      <a:cubicBezTo>
                        <a:pt x="332794" y="270032"/>
                        <a:pt x="258295" y="347915"/>
                        <a:pt x="166397" y="347915"/>
                      </a:cubicBezTo>
                      <a:cubicBezTo>
                        <a:pt x="74498" y="347915"/>
                        <a:pt x="0" y="270032"/>
                        <a:pt x="0" y="173958"/>
                      </a:cubicBezTo>
                      <a:cubicBezTo>
                        <a:pt x="0" y="77883"/>
                        <a:pt x="74498" y="0"/>
                        <a:pt x="166397" y="0"/>
                      </a:cubicBezTo>
                      <a:cubicBezTo>
                        <a:pt x="258295" y="0"/>
                        <a:pt x="332794" y="77883"/>
                        <a:pt x="332794" y="173958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6" name="Freihandform: Form 365">
                  <a:extLst>
                    <a:ext uri="{FF2B5EF4-FFF2-40B4-BE49-F238E27FC236}">
                      <a16:creationId xmlns:a16="http://schemas.microsoft.com/office/drawing/2014/main" id="{8206DBAA-572D-640E-0A3C-DCE009645D2A}"/>
                    </a:ext>
                  </a:extLst>
                </p:cNvPr>
                <p:cNvSpPr/>
                <p:nvPr/>
              </p:nvSpPr>
              <p:spPr>
                <a:xfrm>
                  <a:off x="11511370" y="1945641"/>
                  <a:ext cx="328272" cy="250230"/>
                </a:xfrm>
                <a:custGeom>
                  <a:avLst/>
                  <a:gdLst>
                    <a:gd name="connsiteX0" fmla="*/ 165625 w 328272"/>
                    <a:gd name="connsiteY0" fmla="*/ 78874 h 250230"/>
                    <a:gd name="connsiteX1" fmla="*/ 304198 w 328272"/>
                    <a:gd name="connsiteY1" fmla="*/ 250230 h 250230"/>
                    <a:gd name="connsiteX2" fmla="*/ 328272 w 328272"/>
                    <a:gd name="connsiteY2" fmla="*/ 173958 h 250230"/>
                    <a:gd name="connsiteX3" fmla="*/ 164839 w 328272"/>
                    <a:gd name="connsiteY3" fmla="*/ 0 h 250230"/>
                    <a:gd name="connsiteX4" fmla="*/ 54331 w 328272"/>
                    <a:gd name="connsiteY4" fmla="*/ 45788 h 250230"/>
                    <a:gd name="connsiteX5" fmla="*/ 20277 w 328272"/>
                    <a:gd name="connsiteY5" fmla="*/ 236561 h 250230"/>
                    <a:gd name="connsiteX6" fmla="*/ 165625 w 328272"/>
                    <a:gd name="connsiteY6" fmla="*/ 78874 h 250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8272" h="250230">
                      <a:moveTo>
                        <a:pt x="165625" y="78874"/>
                      </a:moveTo>
                      <a:cubicBezTo>
                        <a:pt x="284057" y="86374"/>
                        <a:pt x="269540" y="183756"/>
                        <a:pt x="304198" y="250230"/>
                      </a:cubicBezTo>
                      <a:cubicBezTo>
                        <a:pt x="310731" y="231419"/>
                        <a:pt x="328272" y="195188"/>
                        <a:pt x="328272" y="173958"/>
                      </a:cubicBezTo>
                      <a:cubicBezTo>
                        <a:pt x="328272" y="77845"/>
                        <a:pt x="255083" y="0"/>
                        <a:pt x="164839" y="0"/>
                      </a:cubicBezTo>
                      <a:cubicBezTo>
                        <a:pt x="122257" y="0"/>
                        <a:pt x="83424" y="17359"/>
                        <a:pt x="54331" y="45788"/>
                      </a:cubicBezTo>
                      <a:cubicBezTo>
                        <a:pt x="10841" y="66958"/>
                        <a:pt x="-23454" y="158655"/>
                        <a:pt x="20277" y="236561"/>
                      </a:cubicBezTo>
                      <a:cubicBezTo>
                        <a:pt x="62860" y="195007"/>
                        <a:pt x="58988" y="72160"/>
                        <a:pt x="165625" y="78874"/>
                      </a:cubicBezTo>
                      <a:close/>
                    </a:path>
                  </a:pathLst>
                </a:custGeom>
                <a:solidFill>
                  <a:srgbClr val="C09066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7" name="Freihandform: Form 366">
                  <a:extLst>
                    <a:ext uri="{FF2B5EF4-FFF2-40B4-BE49-F238E27FC236}">
                      <a16:creationId xmlns:a16="http://schemas.microsoft.com/office/drawing/2014/main" id="{F0588B6E-CC08-9117-9890-9FB0F8682F9A}"/>
                    </a:ext>
                  </a:extLst>
                </p:cNvPr>
                <p:cNvSpPr/>
                <p:nvPr/>
              </p:nvSpPr>
              <p:spPr>
                <a:xfrm>
                  <a:off x="11653285" y="2232163"/>
                  <a:ext cx="48738" cy="19839"/>
                </a:xfrm>
                <a:custGeom>
                  <a:avLst/>
                  <a:gdLst>
                    <a:gd name="connsiteX0" fmla="*/ 665 w 48738"/>
                    <a:gd name="connsiteY0" fmla="*/ 0 h 19839"/>
                    <a:gd name="connsiteX1" fmla="*/ 22138 w 48738"/>
                    <a:gd name="connsiteY1" fmla="*/ 6532 h 19839"/>
                    <a:gd name="connsiteX2" fmla="*/ 48147 w 48738"/>
                    <a:gd name="connsiteY2" fmla="*/ 0 h 19839"/>
                    <a:gd name="connsiteX3" fmla="*/ 48147 w 48738"/>
                    <a:gd name="connsiteY3" fmla="*/ 5686 h 19839"/>
                    <a:gd name="connsiteX4" fmla="*/ 22985 w 48738"/>
                    <a:gd name="connsiteY4" fmla="*/ 19839 h 19839"/>
                    <a:gd name="connsiteX5" fmla="*/ 726 w 48738"/>
                    <a:gd name="connsiteY5" fmla="*/ 6291 h 19839"/>
                    <a:gd name="connsiteX6" fmla="*/ 726 w 48738"/>
                    <a:gd name="connsiteY6" fmla="*/ 0 h 198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8738" h="19839">
                      <a:moveTo>
                        <a:pt x="665" y="0"/>
                      </a:moveTo>
                      <a:cubicBezTo>
                        <a:pt x="665" y="0"/>
                        <a:pt x="6835" y="6532"/>
                        <a:pt x="22138" y="6532"/>
                      </a:cubicBezTo>
                      <a:cubicBezTo>
                        <a:pt x="41493" y="6532"/>
                        <a:pt x="48147" y="0"/>
                        <a:pt x="48147" y="0"/>
                      </a:cubicBezTo>
                      <a:cubicBezTo>
                        <a:pt x="48147" y="0"/>
                        <a:pt x="49478" y="1936"/>
                        <a:pt x="48147" y="5686"/>
                      </a:cubicBezTo>
                      <a:cubicBezTo>
                        <a:pt x="47179" y="8347"/>
                        <a:pt x="38772" y="19839"/>
                        <a:pt x="22985" y="19839"/>
                      </a:cubicBezTo>
                      <a:cubicBezTo>
                        <a:pt x="10646" y="19839"/>
                        <a:pt x="2359" y="10162"/>
                        <a:pt x="726" y="6291"/>
                      </a:cubicBezTo>
                      <a:cubicBezTo>
                        <a:pt x="-907" y="2419"/>
                        <a:pt x="726" y="0"/>
                        <a:pt x="726" y="0"/>
                      </a:cubicBez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8" name="Freihandform: Form 367">
                  <a:extLst>
                    <a:ext uri="{FF2B5EF4-FFF2-40B4-BE49-F238E27FC236}">
                      <a16:creationId xmlns:a16="http://schemas.microsoft.com/office/drawing/2014/main" id="{A11EDB4B-768A-883B-A006-2DE202371D19}"/>
                    </a:ext>
                  </a:extLst>
                </p:cNvPr>
                <p:cNvSpPr/>
                <p:nvPr/>
              </p:nvSpPr>
              <p:spPr>
                <a:xfrm>
                  <a:off x="11697217" y="2129414"/>
                  <a:ext cx="86717" cy="29137"/>
                </a:xfrm>
                <a:custGeom>
                  <a:avLst/>
                  <a:gdLst>
                    <a:gd name="connsiteX0" fmla="*/ 67725 w 86717"/>
                    <a:gd name="connsiteY0" fmla="*/ 10931 h 29137"/>
                    <a:gd name="connsiteX1" fmla="*/ 34518 w 86717"/>
                    <a:gd name="connsiteY1" fmla="*/ 467 h 29137"/>
                    <a:gd name="connsiteX2" fmla="*/ 34518 w 86717"/>
                    <a:gd name="connsiteY2" fmla="*/ 467 h 29137"/>
                    <a:gd name="connsiteX3" fmla="*/ 4760 w 86717"/>
                    <a:gd name="connsiteY3" fmla="*/ 3854 h 29137"/>
                    <a:gd name="connsiteX4" fmla="*/ 2643 w 86717"/>
                    <a:gd name="connsiteY4" fmla="*/ 5487 h 29137"/>
                    <a:gd name="connsiteX5" fmla="*/ 8631 w 86717"/>
                    <a:gd name="connsiteY5" fmla="*/ 20609 h 29137"/>
                    <a:gd name="connsiteX6" fmla="*/ 25567 w 86717"/>
                    <a:gd name="connsiteY6" fmla="*/ 19036 h 29137"/>
                    <a:gd name="connsiteX7" fmla="*/ 65306 w 86717"/>
                    <a:gd name="connsiteY7" fmla="*/ 21335 h 29137"/>
                    <a:gd name="connsiteX8" fmla="*/ 86718 w 86717"/>
                    <a:gd name="connsiteY8" fmla="*/ 29137 h 29137"/>
                    <a:gd name="connsiteX9" fmla="*/ 67665 w 86717"/>
                    <a:gd name="connsiteY9" fmla="*/ 10991 h 29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6717" h="29137">
                      <a:moveTo>
                        <a:pt x="67725" y="10931"/>
                      </a:moveTo>
                      <a:cubicBezTo>
                        <a:pt x="56233" y="3612"/>
                        <a:pt x="43773" y="830"/>
                        <a:pt x="34518" y="467"/>
                      </a:cubicBezTo>
                      <a:lnTo>
                        <a:pt x="34518" y="467"/>
                      </a:lnTo>
                      <a:cubicBezTo>
                        <a:pt x="18671" y="-1106"/>
                        <a:pt x="8207" y="1616"/>
                        <a:pt x="4760" y="3854"/>
                      </a:cubicBezTo>
                      <a:cubicBezTo>
                        <a:pt x="3973" y="4399"/>
                        <a:pt x="3248" y="4943"/>
                        <a:pt x="2643" y="5487"/>
                      </a:cubicBezTo>
                      <a:cubicBezTo>
                        <a:pt x="-2983" y="10871"/>
                        <a:pt x="1010" y="20790"/>
                        <a:pt x="8631" y="20609"/>
                      </a:cubicBezTo>
                      <a:cubicBezTo>
                        <a:pt x="12139" y="20548"/>
                        <a:pt x="20668" y="19580"/>
                        <a:pt x="25567" y="19036"/>
                      </a:cubicBezTo>
                      <a:cubicBezTo>
                        <a:pt x="34095" y="18129"/>
                        <a:pt x="58350" y="19399"/>
                        <a:pt x="65306" y="21335"/>
                      </a:cubicBezTo>
                      <a:cubicBezTo>
                        <a:pt x="78916" y="25024"/>
                        <a:pt x="86718" y="29137"/>
                        <a:pt x="86718" y="29137"/>
                      </a:cubicBezTo>
                      <a:cubicBezTo>
                        <a:pt x="86718" y="29137"/>
                        <a:pt x="83028" y="20790"/>
                        <a:pt x="67665" y="10991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9" name="Freihandform: Form 368">
                  <a:extLst>
                    <a:ext uri="{FF2B5EF4-FFF2-40B4-BE49-F238E27FC236}">
                      <a16:creationId xmlns:a16="http://schemas.microsoft.com/office/drawing/2014/main" id="{220D00EC-33A9-4EBF-4D62-71E0C2AA6E8D}"/>
                    </a:ext>
                  </a:extLst>
                </p:cNvPr>
                <p:cNvSpPr/>
                <p:nvPr/>
              </p:nvSpPr>
              <p:spPr>
                <a:xfrm>
                  <a:off x="11633687" y="2269845"/>
                  <a:ext cx="95568" cy="44941"/>
                </a:xfrm>
                <a:custGeom>
                  <a:avLst/>
                  <a:gdLst>
                    <a:gd name="connsiteX0" fmla="*/ 0 w 95568"/>
                    <a:gd name="connsiteY0" fmla="*/ 4961 h 44941"/>
                    <a:gd name="connsiteX1" fmla="*/ 36170 w 95568"/>
                    <a:gd name="connsiteY1" fmla="*/ 545 h 44941"/>
                    <a:gd name="connsiteX2" fmla="*/ 45607 w 95568"/>
                    <a:gd name="connsiteY2" fmla="*/ 3630 h 44941"/>
                    <a:gd name="connsiteX3" fmla="*/ 54498 w 95568"/>
                    <a:gd name="connsiteY3" fmla="*/ 1 h 44941"/>
                    <a:gd name="connsiteX4" fmla="*/ 95568 w 95568"/>
                    <a:gd name="connsiteY4" fmla="*/ 5263 h 44941"/>
                    <a:gd name="connsiteX5" fmla="*/ 44396 w 95568"/>
                    <a:gd name="connsiteY5" fmla="*/ 44942 h 44941"/>
                    <a:gd name="connsiteX6" fmla="*/ 61 w 95568"/>
                    <a:gd name="connsiteY6" fmla="*/ 4900 h 449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5568" h="44941">
                      <a:moveTo>
                        <a:pt x="0" y="4961"/>
                      </a:moveTo>
                      <a:cubicBezTo>
                        <a:pt x="0" y="4961"/>
                        <a:pt x="12339" y="2602"/>
                        <a:pt x="36170" y="545"/>
                      </a:cubicBezTo>
                      <a:cubicBezTo>
                        <a:pt x="38046" y="364"/>
                        <a:pt x="40163" y="3811"/>
                        <a:pt x="45607" y="3630"/>
                      </a:cubicBezTo>
                      <a:cubicBezTo>
                        <a:pt x="52139" y="3448"/>
                        <a:pt x="52381" y="-60"/>
                        <a:pt x="54498" y="1"/>
                      </a:cubicBezTo>
                      <a:cubicBezTo>
                        <a:pt x="80144" y="908"/>
                        <a:pt x="95568" y="5263"/>
                        <a:pt x="95568" y="5263"/>
                      </a:cubicBezTo>
                      <a:cubicBezTo>
                        <a:pt x="95568" y="5263"/>
                        <a:pt x="82865" y="44942"/>
                        <a:pt x="44396" y="44942"/>
                      </a:cubicBezTo>
                      <a:cubicBezTo>
                        <a:pt x="9799" y="44942"/>
                        <a:pt x="61" y="4900"/>
                        <a:pt x="61" y="4900"/>
                      </a:cubicBez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0" name="Freihandform: Form 369">
                  <a:extLst>
                    <a:ext uri="{FF2B5EF4-FFF2-40B4-BE49-F238E27FC236}">
                      <a16:creationId xmlns:a16="http://schemas.microsoft.com/office/drawing/2014/main" id="{AF125A6C-528C-8F39-4B2C-4A385E335909}"/>
                    </a:ext>
                  </a:extLst>
                </p:cNvPr>
                <p:cNvSpPr/>
                <p:nvPr/>
              </p:nvSpPr>
              <p:spPr>
                <a:xfrm rot="-5166000">
                  <a:off x="11600716" y="2174957"/>
                  <a:ext cx="24920" cy="23468"/>
                </a:xfrm>
                <a:custGeom>
                  <a:avLst/>
                  <a:gdLst>
                    <a:gd name="connsiteX0" fmla="*/ 24920 w 24920"/>
                    <a:gd name="connsiteY0" fmla="*/ 11734 h 23468"/>
                    <a:gd name="connsiteX1" fmla="*/ 12459 w 24920"/>
                    <a:gd name="connsiteY1" fmla="*/ 23469 h 23468"/>
                    <a:gd name="connsiteX2" fmla="*/ -1 w 24920"/>
                    <a:gd name="connsiteY2" fmla="*/ 11734 h 23468"/>
                    <a:gd name="connsiteX3" fmla="*/ 12459 w 24920"/>
                    <a:gd name="connsiteY3" fmla="*/ 0 h 23468"/>
                    <a:gd name="connsiteX4" fmla="*/ 24920 w 24920"/>
                    <a:gd name="connsiteY4" fmla="*/ 11734 h 234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920" h="23468">
                      <a:moveTo>
                        <a:pt x="24920" y="11734"/>
                      </a:moveTo>
                      <a:cubicBezTo>
                        <a:pt x="24920" y="18215"/>
                        <a:pt x="19342" y="23469"/>
                        <a:pt x="12459" y="23469"/>
                      </a:cubicBezTo>
                      <a:cubicBezTo>
                        <a:pt x="5578" y="23469"/>
                        <a:pt x="-1" y="18215"/>
                        <a:pt x="-1" y="11734"/>
                      </a:cubicBezTo>
                      <a:cubicBezTo>
                        <a:pt x="-1" y="5254"/>
                        <a:pt x="5577" y="0"/>
                        <a:pt x="12459" y="0"/>
                      </a:cubicBezTo>
                      <a:cubicBezTo>
                        <a:pt x="19341" y="0"/>
                        <a:pt x="24920" y="5254"/>
                        <a:pt x="24920" y="11734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1" name="Freihandform: Form 370">
                  <a:extLst>
                    <a:ext uri="{FF2B5EF4-FFF2-40B4-BE49-F238E27FC236}">
                      <a16:creationId xmlns:a16="http://schemas.microsoft.com/office/drawing/2014/main" id="{FFFDEBDF-9851-B988-025C-F2790F767C40}"/>
                    </a:ext>
                  </a:extLst>
                </p:cNvPr>
                <p:cNvSpPr/>
                <p:nvPr/>
              </p:nvSpPr>
              <p:spPr>
                <a:xfrm>
                  <a:off x="11570056" y="2130443"/>
                  <a:ext cx="86657" cy="29137"/>
                </a:xfrm>
                <a:custGeom>
                  <a:avLst/>
                  <a:gdLst>
                    <a:gd name="connsiteX0" fmla="*/ 19053 w 86657"/>
                    <a:gd name="connsiteY0" fmla="*/ 10931 h 29137"/>
                    <a:gd name="connsiteX1" fmla="*/ 52199 w 86657"/>
                    <a:gd name="connsiteY1" fmla="*/ 467 h 29137"/>
                    <a:gd name="connsiteX2" fmla="*/ 52199 w 86657"/>
                    <a:gd name="connsiteY2" fmla="*/ 467 h 29137"/>
                    <a:gd name="connsiteX3" fmla="*/ 81898 w 86657"/>
                    <a:gd name="connsiteY3" fmla="*/ 3854 h 29137"/>
                    <a:gd name="connsiteX4" fmla="*/ 84015 w 86657"/>
                    <a:gd name="connsiteY4" fmla="*/ 5487 h 29137"/>
                    <a:gd name="connsiteX5" fmla="*/ 78027 w 86657"/>
                    <a:gd name="connsiteY5" fmla="*/ 20609 h 29137"/>
                    <a:gd name="connsiteX6" fmla="*/ 61151 w 86657"/>
                    <a:gd name="connsiteY6" fmla="*/ 19036 h 29137"/>
                    <a:gd name="connsiteX7" fmla="*/ 21412 w 86657"/>
                    <a:gd name="connsiteY7" fmla="*/ 21335 h 29137"/>
                    <a:gd name="connsiteX8" fmla="*/ 0 w 86657"/>
                    <a:gd name="connsiteY8" fmla="*/ 29137 h 29137"/>
                    <a:gd name="connsiteX9" fmla="*/ 18993 w 86657"/>
                    <a:gd name="connsiteY9" fmla="*/ 10991 h 29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6657" h="29137">
                      <a:moveTo>
                        <a:pt x="19053" y="10931"/>
                      </a:moveTo>
                      <a:cubicBezTo>
                        <a:pt x="30546" y="3612"/>
                        <a:pt x="43005" y="830"/>
                        <a:pt x="52199" y="467"/>
                      </a:cubicBezTo>
                      <a:lnTo>
                        <a:pt x="52199" y="467"/>
                      </a:lnTo>
                      <a:cubicBezTo>
                        <a:pt x="67986" y="-1106"/>
                        <a:pt x="78511" y="1616"/>
                        <a:pt x="81898" y="3854"/>
                      </a:cubicBezTo>
                      <a:cubicBezTo>
                        <a:pt x="82685" y="4399"/>
                        <a:pt x="83410" y="4943"/>
                        <a:pt x="84015" y="5487"/>
                      </a:cubicBezTo>
                      <a:cubicBezTo>
                        <a:pt x="89641" y="10871"/>
                        <a:pt x="85648" y="20790"/>
                        <a:pt x="78027" y="20609"/>
                      </a:cubicBezTo>
                      <a:cubicBezTo>
                        <a:pt x="74519" y="20548"/>
                        <a:pt x="65990" y="19581"/>
                        <a:pt x="61151" y="19036"/>
                      </a:cubicBezTo>
                      <a:cubicBezTo>
                        <a:pt x="52623" y="18129"/>
                        <a:pt x="28368" y="19399"/>
                        <a:pt x="21412" y="21335"/>
                      </a:cubicBezTo>
                      <a:cubicBezTo>
                        <a:pt x="7803" y="25024"/>
                        <a:pt x="0" y="29137"/>
                        <a:pt x="0" y="29137"/>
                      </a:cubicBezTo>
                      <a:cubicBezTo>
                        <a:pt x="0" y="29137"/>
                        <a:pt x="3690" y="20790"/>
                        <a:pt x="18993" y="10991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2" name="Freihandform: Form 371">
                  <a:extLst>
                    <a:ext uri="{FF2B5EF4-FFF2-40B4-BE49-F238E27FC236}">
                      <a16:creationId xmlns:a16="http://schemas.microsoft.com/office/drawing/2014/main" id="{3B5FF6F3-0B30-FF98-16E9-7F9E101083E5}"/>
                    </a:ext>
                  </a:extLst>
                </p:cNvPr>
                <p:cNvSpPr/>
                <p:nvPr/>
              </p:nvSpPr>
              <p:spPr>
                <a:xfrm>
                  <a:off x="11580553" y="2168491"/>
                  <a:ext cx="64100" cy="16950"/>
                </a:xfrm>
                <a:custGeom>
                  <a:avLst/>
                  <a:gdLst>
                    <a:gd name="connsiteX0" fmla="*/ 2085 w 64100"/>
                    <a:gd name="connsiteY0" fmla="*/ 10989 h 16950"/>
                    <a:gd name="connsiteX1" fmla="*/ 28637 w 64100"/>
                    <a:gd name="connsiteY1" fmla="*/ 101 h 16950"/>
                    <a:gd name="connsiteX2" fmla="*/ 62631 w 64100"/>
                    <a:gd name="connsiteY2" fmla="*/ 10807 h 16950"/>
                    <a:gd name="connsiteX3" fmla="*/ 60574 w 64100"/>
                    <a:gd name="connsiteY3" fmla="*/ 16614 h 16950"/>
                    <a:gd name="connsiteX4" fmla="*/ 33598 w 64100"/>
                    <a:gd name="connsiteY4" fmla="*/ 7178 h 16950"/>
                    <a:gd name="connsiteX5" fmla="*/ 6742 w 64100"/>
                    <a:gd name="connsiteY5" fmla="*/ 13166 h 16950"/>
                    <a:gd name="connsiteX6" fmla="*/ 814 w 64100"/>
                    <a:gd name="connsiteY6" fmla="*/ 15767 h 16950"/>
                    <a:gd name="connsiteX7" fmla="*/ 2085 w 64100"/>
                    <a:gd name="connsiteY7" fmla="*/ 10928 h 16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4100" h="16950">
                      <a:moveTo>
                        <a:pt x="2085" y="10989"/>
                      </a:moveTo>
                      <a:cubicBezTo>
                        <a:pt x="5049" y="7965"/>
                        <a:pt x="14847" y="888"/>
                        <a:pt x="28637" y="101"/>
                      </a:cubicBezTo>
                      <a:cubicBezTo>
                        <a:pt x="47449" y="-927"/>
                        <a:pt x="58215" y="6090"/>
                        <a:pt x="62631" y="10807"/>
                      </a:cubicBezTo>
                      <a:cubicBezTo>
                        <a:pt x="65837" y="14255"/>
                        <a:pt x="63175" y="18126"/>
                        <a:pt x="60574" y="16614"/>
                      </a:cubicBezTo>
                      <a:cubicBezTo>
                        <a:pt x="53800" y="12743"/>
                        <a:pt x="50171" y="9174"/>
                        <a:pt x="33598" y="7178"/>
                      </a:cubicBezTo>
                      <a:cubicBezTo>
                        <a:pt x="21984" y="5787"/>
                        <a:pt x="10976" y="10807"/>
                        <a:pt x="6742" y="13166"/>
                      </a:cubicBezTo>
                      <a:cubicBezTo>
                        <a:pt x="3476" y="14981"/>
                        <a:pt x="1843" y="16493"/>
                        <a:pt x="814" y="15767"/>
                      </a:cubicBezTo>
                      <a:cubicBezTo>
                        <a:pt x="-1000" y="14437"/>
                        <a:pt x="573" y="12501"/>
                        <a:pt x="2085" y="1092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3" name="Freihandform: Form 372">
                  <a:extLst>
                    <a:ext uri="{FF2B5EF4-FFF2-40B4-BE49-F238E27FC236}">
                      <a16:creationId xmlns:a16="http://schemas.microsoft.com/office/drawing/2014/main" id="{EDF27732-ACE5-031C-7149-8236B55CCA7C}"/>
                    </a:ext>
                  </a:extLst>
                </p:cNvPr>
                <p:cNvSpPr/>
                <p:nvPr/>
              </p:nvSpPr>
              <p:spPr>
                <a:xfrm rot="-234000">
                  <a:off x="11725754" y="2174535"/>
                  <a:ext cx="23468" cy="24920"/>
                </a:xfrm>
                <a:custGeom>
                  <a:avLst/>
                  <a:gdLst>
                    <a:gd name="connsiteX0" fmla="*/ 23468 w 23468"/>
                    <a:gd name="connsiteY0" fmla="*/ 12460 h 24920"/>
                    <a:gd name="connsiteX1" fmla="*/ 11734 w 23468"/>
                    <a:gd name="connsiteY1" fmla="*/ 24920 h 24920"/>
                    <a:gd name="connsiteX2" fmla="*/ 1 w 23468"/>
                    <a:gd name="connsiteY2" fmla="*/ 12460 h 24920"/>
                    <a:gd name="connsiteX3" fmla="*/ 11734 w 23468"/>
                    <a:gd name="connsiteY3" fmla="*/ 0 h 24920"/>
                    <a:gd name="connsiteX4" fmla="*/ 23468 w 23468"/>
                    <a:gd name="connsiteY4" fmla="*/ 12460 h 249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468" h="24920">
                      <a:moveTo>
                        <a:pt x="23468" y="12460"/>
                      </a:moveTo>
                      <a:cubicBezTo>
                        <a:pt x="23468" y="19342"/>
                        <a:pt x="18215" y="24920"/>
                        <a:pt x="11734" y="24920"/>
                      </a:cubicBezTo>
                      <a:cubicBezTo>
                        <a:pt x="5254" y="24920"/>
                        <a:pt x="1" y="19342"/>
                        <a:pt x="1" y="12460"/>
                      </a:cubicBezTo>
                      <a:cubicBezTo>
                        <a:pt x="1" y="5579"/>
                        <a:pt x="5254" y="0"/>
                        <a:pt x="11734" y="0"/>
                      </a:cubicBezTo>
                      <a:cubicBezTo>
                        <a:pt x="18215" y="0"/>
                        <a:pt x="23468" y="5579"/>
                        <a:pt x="23468" y="12460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4" name="Freihandform: Form 373">
                  <a:extLst>
                    <a:ext uri="{FF2B5EF4-FFF2-40B4-BE49-F238E27FC236}">
                      <a16:creationId xmlns:a16="http://schemas.microsoft.com/office/drawing/2014/main" id="{929624FA-0535-15D4-C59A-F1A38A3D152F}"/>
                    </a:ext>
                  </a:extLst>
                </p:cNvPr>
                <p:cNvSpPr/>
                <p:nvPr/>
              </p:nvSpPr>
              <p:spPr>
                <a:xfrm>
                  <a:off x="11706252" y="2168491"/>
                  <a:ext cx="64101" cy="16950"/>
                </a:xfrm>
                <a:custGeom>
                  <a:avLst/>
                  <a:gdLst>
                    <a:gd name="connsiteX0" fmla="*/ 62017 w 64101"/>
                    <a:gd name="connsiteY0" fmla="*/ 10989 h 16950"/>
                    <a:gd name="connsiteX1" fmla="*/ 35463 w 64101"/>
                    <a:gd name="connsiteY1" fmla="*/ 101 h 16950"/>
                    <a:gd name="connsiteX2" fmla="*/ 1470 w 64101"/>
                    <a:gd name="connsiteY2" fmla="*/ 10807 h 16950"/>
                    <a:gd name="connsiteX3" fmla="*/ 3526 w 64101"/>
                    <a:gd name="connsiteY3" fmla="*/ 16614 h 16950"/>
                    <a:gd name="connsiteX4" fmla="*/ 30504 w 64101"/>
                    <a:gd name="connsiteY4" fmla="*/ 7178 h 16950"/>
                    <a:gd name="connsiteX5" fmla="*/ 57359 w 64101"/>
                    <a:gd name="connsiteY5" fmla="*/ 13166 h 16950"/>
                    <a:gd name="connsiteX6" fmla="*/ 63287 w 64101"/>
                    <a:gd name="connsiteY6" fmla="*/ 15767 h 16950"/>
                    <a:gd name="connsiteX7" fmla="*/ 62017 w 64101"/>
                    <a:gd name="connsiteY7" fmla="*/ 10928 h 16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4101" h="16950">
                      <a:moveTo>
                        <a:pt x="62017" y="10989"/>
                      </a:moveTo>
                      <a:cubicBezTo>
                        <a:pt x="59053" y="7965"/>
                        <a:pt x="49254" y="888"/>
                        <a:pt x="35463" y="101"/>
                      </a:cubicBezTo>
                      <a:cubicBezTo>
                        <a:pt x="16652" y="-927"/>
                        <a:pt x="5885" y="6090"/>
                        <a:pt x="1470" y="10807"/>
                      </a:cubicBezTo>
                      <a:cubicBezTo>
                        <a:pt x="-1736" y="14255"/>
                        <a:pt x="926" y="18126"/>
                        <a:pt x="3526" y="16614"/>
                      </a:cubicBezTo>
                      <a:cubicBezTo>
                        <a:pt x="10301" y="12743"/>
                        <a:pt x="13931" y="9174"/>
                        <a:pt x="30504" y="7178"/>
                      </a:cubicBezTo>
                      <a:cubicBezTo>
                        <a:pt x="42116" y="5787"/>
                        <a:pt x="53125" y="10807"/>
                        <a:pt x="57359" y="13166"/>
                      </a:cubicBezTo>
                      <a:cubicBezTo>
                        <a:pt x="60625" y="14981"/>
                        <a:pt x="62259" y="16493"/>
                        <a:pt x="63287" y="15767"/>
                      </a:cubicBezTo>
                      <a:cubicBezTo>
                        <a:pt x="65101" y="14437"/>
                        <a:pt x="63529" y="12501"/>
                        <a:pt x="62017" y="1092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5" name="Freihandform: Form 374">
                  <a:extLst>
                    <a:ext uri="{FF2B5EF4-FFF2-40B4-BE49-F238E27FC236}">
                      <a16:creationId xmlns:a16="http://schemas.microsoft.com/office/drawing/2014/main" id="{A6E5C98A-4095-D7C8-22F5-519651820B9A}"/>
                    </a:ext>
                  </a:extLst>
                </p:cNvPr>
                <p:cNvSpPr/>
                <p:nvPr/>
              </p:nvSpPr>
              <p:spPr>
                <a:xfrm>
                  <a:off x="11643728" y="2279947"/>
                  <a:ext cx="75425" cy="18026"/>
                </a:xfrm>
                <a:custGeom>
                  <a:avLst/>
                  <a:gdLst>
                    <a:gd name="connsiteX0" fmla="*/ 61 w 75425"/>
                    <a:gd name="connsiteY0" fmla="*/ 0 h 18026"/>
                    <a:gd name="connsiteX1" fmla="*/ 75426 w 75425"/>
                    <a:gd name="connsiteY1" fmla="*/ 0 h 18026"/>
                    <a:gd name="connsiteX2" fmla="*/ 36533 w 75425"/>
                    <a:gd name="connsiteY2" fmla="*/ 18025 h 18026"/>
                    <a:gd name="connsiteX3" fmla="*/ 0 w 75425"/>
                    <a:gd name="connsiteY3" fmla="*/ 0 h 18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5425" h="18026">
                      <a:moveTo>
                        <a:pt x="61" y="0"/>
                      </a:moveTo>
                      <a:cubicBezTo>
                        <a:pt x="28731" y="3266"/>
                        <a:pt x="42340" y="3145"/>
                        <a:pt x="75426" y="0"/>
                      </a:cubicBezTo>
                      <a:cubicBezTo>
                        <a:pt x="75426" y="0"/>
                        <a:pt x="64054" y="17843"/>
                        <a:pt x="36533" y="18025"/>
                      </a:cubicBezTo>
                      <a:cubicBezTo>
                        <a:pt x="19355" y="18146"/>
                        <a:pt x="9012" y="10646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6" name="Freihandform: Form 375">
                  <a:extLst>
                    <a:ext uri="{FF2B5EF4-FFF2-40B4-BE49-F238E27FC236}">
                      <a16:creationId xmlns:a16="http://schemas.microsoft.com/office/drawing/2014/main" id="{EEF9E963-4D4E-9497-8D82-1C091EBCB542}"/>
                    </a:ext>
                  </a:extLst>
                </p:cNvPr>
                <p:cNvSpPr/>
                <p:nvPr/>
              </p:nvSpPr>
              <p:spPr>
                <a:xfrm>
                  <a:off x="11573867" y="1928127"/>
                  <a:ext cx="300796" cy="234231"/>
                </a:xfrm>
                <a:custGeom>
                  <a:avLst/>
                  <a:gdLst>
                    <a:gd name="connsiteX0" fmla="*/ 61 w 300796"/>
                    <a:gd name="connsiteY0" fmla="*/ 61185 h 234231"/>
                    <a:gd name="connsiteX1" fmla="*/ 196458 w 300796"/>
                    <a:gd name="connsiteY1" fmla="*/ 219417 h 234231"/>
                    <a:gd name="connsiteX2" fmla="*/ 300797 w 300796"/>
                    <a:gd name="connsiteY2" fmla="*/ 230123 h 234231"/>
                    <a:gd name="connsiteX3" fmla="*/ 275090 w 300796"/>
                    <a:gd name="connsiteY3" fmla="*/ 135220 h 234231"/>
                    <a:gd name="connsiteX4" fmla="*/ 0 w 300796"/>
                    <a:gd name="connsiteY4" fmla="*/ 61185 h 2342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0796" h="234231">
                      <a:moveTo>
                        <a:pt x="61" y="61185"/>
                      </a:moveTo>
                      <a:cubicBezTo>
                        <a:pt x="-2843" y="129172"/>
                        <a:pt x="103250" y="194254"/>
                        <a:pt x="196458" y="219417"/>
                      </a:cubicBezTo>
                      <a:cubicBezTo>
                        <a:pt x="289667" y="244518"/>
                        <a:pt x="300797" y="230123"/>
                        <a:pt x="300797" y="230123"/>
                      </a:cubicBezTo>
                      <a:cubicBezTo>
                        <a:pt x="300797" y="230123"/>
                        <a:pt x="277812" y="221836"/>
                        <a:pt x="275090" y="135220"/>
                      </a:cubicBezTo>
                      <a:cubicBezTo>
                        <a:pt x="272005" y="37354"/>
                        <a:pt x="118129" y="-70735"/>
                        <a:pt x="0" y="61185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7" name="Freihandform: Form 376">
                  <a:extLst>
                    <a:ext uri="{FF2B5EF4-FFF2-40B4-BE49-F238E27FC236}">
                      <a16:creationId xmlns:a16="http://schemas.microsoft.com/office/drawing/2014/main" id="{683D65E0-E42B-24A5-A68A-C352E75AA11A}"/>
                    </a:ext>
                  </a:extLst>
                </p:cNvPr>
                <p:cNvSpPr/>
                <p:nvPr/>
              </p:nvSpPr>
              <p:spPr>
                <a:xfrm>
                  <a:off x="11301257" y="2440900"/>
                  <a:ext cx="766961" cy="1169315"/>
                </a:xfrm>
                <a:custGeom>
                  <a:avLst/>
                  <a:gdLst>
                    <a:gd name="connsiteX0" fmla="*/ 110749 w 766961"/>
                    <a:gd name="connsiteY0" fmla="*/ 634680 h 1169315"/>
                    <a:gd name="connsiteX1" fmla="*/ 0 w 766961"/>
                    <a:gd name="connsiteY1" fmla="*/ 1169315 h 1169315"/>
                    <a:gd name="connsiteX2" fmla="*/ 766962 w 766961"/>
                    <a:gd name="connsiteY2" fmla="*/ 1169315 h 1169315"/>
                    <a:gd name="connsiteX3" fmla="*/ 659962 w 766961"/>
                    <a:gd name="connsiteY3" fmla="*/ 653794 h 1169315"/>
                    <a:gd name="connsiteX4" fmla="*/ 722565 w 766961"/>
                    <a:gd name="connsiteY4" fmla="*/ 82625 h 1169315"/>
                    <a:gd name="connsiteX5" fmla="*/ 508929 w 766961"/>
                    <a:gd name="connsiteY5" fmla="*/ 908 h 1169315"/>
                    <a:gd name="connsiteX6" fmla="*/ 494594 w 766961"/>
                    <a:gd name="connsiteY6" fmla="*/ 5384 h 1169315"/>
                    <a:gd name="connsiteX7" fmla="*/ 380094 w 766961"/>
                    <a:gd name="connsiteY7" fmla="*/ 133130 h 1169315"/>
                    <a:gd name="connsiteX8" fmla="*/ 272368 w 766961"/>
                    <a:gd name="connsiteY8" fmla="*/ 5082 h 1169315"/>
                    <a:gd name="connsiteX9" fmla="*/ 261360 w 766961"/>
                    <a:gd name="connsiteY9" fmla="*/ 1452 h 1169315"/>
                    <a:gd name="connsiteX10" fmla="*/ 45909 w 766961"/>
                    <a:gd name="connsiteY10" fmla="*/ 79721 h 1169315"/>
                    <a:gd name="connsiteX11" fmla="*/ 110871 w 766961"/>
                    <a:gd name="connsiteY11" fmla="*/ 634801 h 1169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766961" h="1169315">
                      <a:moveTo>
                        <a:pt x="110749" y="634680"/>
                      </a:moveTo>
                      <a:cubicBezTo>
                        <a:pt x="21351" y="876745"/>
                        <a:pt x="3145" y="1117539"/>
                        <a:pt x="0" y="1169315"/>
                      </a:cubicBezTo>
                      <a:lnTo>
                        <a:pt x="766962" y="1169315"/>
                      </a:lnTo>
                      <a:cubicBezTo>
                        <a:pt x="762849" y="1116995"/>
                        <a:pt x="736597" y="804464"/>
                        <a:pt x="659962" y="653794"/>
                      </a:cubicBezTo>
                      <a:cubicBezTo>
                        <a:pt x="619436" y="574134"/>
                        <a:pt x="722565" y="82625"/>
                        <a:pt x="722565" y="82625"/>
                      </a:cubicBezTo>
                      <a:cubicBezTo>
                        <a:pt x="640788" y="50023"/>
                        <a:pt x="609517" y="37381"/>
                        <a:pt x="508929" y="908"/>
                      </a:cubicBezTo>
                      <a:cubicBezTo>
                        <a:pt x="503425" y="-1088"/>
                        <a:pt x="497497" y="122"/>
                        <a:pt x="494594" y="5384"/>
                      </a:cubicBezTo>
                      <a:cubicBezTo>
                        <a:pt x="476568" y="38409"/>
                        <a:pt x="414450" y="134884"/>
                        <a:pt x="380094" y="133130"/>
                      </a:cubicBezTo>
                      <a:cubicBezTo>
                        <a:pt x="339870" y="131013"/>
                        <a:pt x="286461" y="35748"/>
                        <a:pt x="272368" y="5082"/>
                      </a:cubicBezTo>
                      <a:cubicBezTo>
                        <a:pt x="270372" y="727"/>
                        <a:pt x="265714" y="-181"/>
                        <a:pt x="261360" y="1452"/>
                      </a:cubicBezTo>
                      <a:cubicBezTo>
                        <a:pt x="177829" y="32240"/>
                        <a:pt x="141537" y="44700"/>
                        <a:pt x="45909" y="79721"/>
                      </a:cubicBezTo>
                      <a:cubicBezTo>
                        <a:pt x="45909" y="79721"/>
                        <a:pt x="113532" y="475420"/>
                        <a:pt x="110871" y="634801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8" name="Freihandform: Form 377">
                  <a:extLst>
                    <a:ext uri="{FF2B5EF4-FFF2-40B4-BE49-F238E27FC236}">
                      <a16:creationId xmlns:a16="http://schemas.microsoft.com/office/drawing/2014/main" id="{32714B26-9E41-FC22-4DA1-C8695C34F510}"/>
                    </a:ext>
                  </a:extLst>
                </p:cNvPr>
                <p:cNvSpPr/>
                <p:nvPr/>
              </p:nvSpPr>
              <p:spPr>
                <a:xfrm>
                  <a:off x="11815932" y="2760992"/>
                  <a:ext cx="126173" cy="70405"/>
                </a:xfrm>
                <a:custGeom>
                  <a:avLst/>
                  <a:gdLst>
                    <a:gd name="connsiteX0" fmla="*/ 0 w 126173"/>
                    <a:gd name="connsiteY0" fmla="*/ 0 h 70405"/>
                    <a:gd name="connsiteX1" fmla="*/ 126174 w 126173"/>
                    <a:gd name="connsiteY1" fmla="*/ 0 h 70405"/>
                    <a:gd name="connsiteX2" fmla="*/ 126174 w 126173"/>
                    <a:gd name="connsiteY2" fmla="*/ 70406 h 70405"/>
                    <a:gd name="connsiteX3" fmla="*/ 0 w 126173"/>
                    <a:gd name="connsiteY3" fmla="*/ 70406 h 70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6173" h="70405">
                      <a:moveTo>
                        <a:pt x="0" y="0"/>
                      </a:moveTo>
                      <a:lnTo>
                        <a:pt x="126174" y="0"/>
                      </a:lnTo>
                      <a:lnTo>
                        <a:pt x="126174" y="70406"/>
                      </a:lnTo>
                      <a:lnTo>
                        <a:pt x="0" y="7040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9" name="Freihandform: Form 378">
                  <a:extLst>
                    <a:ext uri="{FF2B5EF4-FFF2-40B4-BE49-F238E27FC236}">
                      <a16:creationId xmlns:a16="http://schemas.microsoft.com/office/drawing/2014/main" id="{5F02B349-B0CE-8A37-7D40-B8EFCEFF9FF6}"/>
                    </a:ext>
                  </a:extLst>
                </p:cNvPr>
                <p:cNvSpPr/>
                <p:nvPr/>
              </p:nvSpPr>
              <p:spPr>
                <a:xfrm>
                  <a:off x="11765212" y="2760932"/>
                  <a:ext cx="162195" cy="183574"/>
                </a:xfrm>
                <a:custGeom>
                  <a:avLst/>
                  <a:gdLst>
                    <a:gd name="connsiteX0" fmla="*/ 16183 w 162195"/>
                    <a:gd name="connsiteY0" fmla="*/ 60 h 183574"/>
                    <a:gd name="connsiteX1" fmla="*/ 16848 w 162195"/>
                    <a:gd name="connsiteY1" fmla="*/ 136517 h 183574"/>
                    <a:gd name="connsiteX2" fmla="*/ 95601 w 162195"/>
                    <a:gd name="connsiteY2" fmla="*/ 176075 h 183574"/>
                    <a:gd name="connsiteX3" fmla="*/ 162196 w 162195"/>
                    <a:gd name="connsiteY3" fmla="*/ 171538 h 183574"/>
                    <a:gd name="connsiteX4" fmla="*/ 162196 w 162195"/>
                    <a:gd name="connsiteY4" fmla="*/ 171538 h 183574"/>
                    <a:gd name="connsiteX5" fmla="*/ 94936 w 162195"/>
                    <a:gd name="connsiteY5" fmla="*/ 183575 h 183574"/>
                    <a:gd name="connsiteX6" fmla="*/ 7472 w 162195"/>
                    <a:gd name="connsiteY6" fmla="*/ 143836 h 183574"/>
                    <a:gd name="connsiteX7" fmla="*/ 577 w 162195"/>
                    <a:gd name="connsiteY7" fmla="*/ 6170 h 183574"/>
                    <a:gd name="connsiteX8" fmla="*/ 16183 w 162195"/>
                    <a:gd name="connsiteY8" fmla="*/ 0 h 1835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2195" h="183574">
                      <a:moveTo>
                        <a:pt x="16183" y="60"/>
                      </a:moveTo>
                      <a:lnTo>
                        <a:pt x="16848" y="136517"/>
                      </a:lnTo>
                      <a:lnTo>
                        <a:pt x="95601" y="176075"/>
                      </a:lnTo>
                      <a:lnTo>
                        <a:pt x="162196" y="171538"/>
                      </a:lnTo>
                      <a:lnTo>
                        <a:pt x="162196" y="171538"/>
                      </a:lnTo>
                      <a:lnTo>
                        <a:pt x="94936" y="183575"/>
                      </a:lnTo>
                      <a:cubicBezTo>
                        <a:pt x="94936" y="183575"/>
                        <a:pt x="12191" y="148795"/>
                        <a:pt x="7472" y="143836"/>
                      </a:cubicBezTo>
                      <a:cubicBezTo>
                        <a:pt x="2754" y="138876"/>
                        <a:pt x="-1600" y="10404"/>
                        <a:pt x="577" y="6170"/>
                      </a:cubicBezTo>
                      <a:cubicBezTo>
                        <a:pt x="2754" y="1936"/>
                        <a:pt x="16183" y="0"/>
                        <a:pt x="16183" y="0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0" name="Freihandform: Form 379">
                  <a:extLst>
                    <a:ext uri="{FF2B5EF4-FFF2-40B4-BE49-F238E27FC236}">
                      <a16:creationId xmlns:a16="http://schemas.microsoft.com/office/drawing/2014/main" id="{D218713D-AD01-2505-F198-718128AA77C4}"/>
                    </a:ext>
                  </a:extLst>
                </p:cNvPr>
                <p:cNvSpPr/>
                <p:nvPr/>
              </p:nvSpPr>
              <p:spPr>
                <a:xfrm>
                  <a:off x="11431785" y="2402008"/>
                  <a:ext cx="233899" cy="653611"/>
                </a:xfrm>
                <a:custGeom>
                  <a:avLst/>
                  <a:gdLst>
                    <a:gd name="connsiteX0" fmla="*/ 217266 w 233899"/>
                    <a:gd name="connsiteY0" fmla="*/ 603287 h 653611"/>
                    <a:gd name="connsiteX1" fmla="*/ 217266 w 233899"/>
                    <a:gd name="connsiteY1" fmla="*/ 493082 h 653611"/>
                    <a:gd name="connsiteX2" fmla="*/ 124661 w 233899"/>
                    <a:gd name="connsiteY2" fmla="*/ 304607 h 653611"/>
                    <a:gd name="connsiteX3" fmla="*/ 80870 w 233899"/>
                    <a:gd name="connsiteY3" fmla="*/ 163191 h 653611"/>
                    <a:gd name="connsiteX4" fmla="*/ 56615 w 233899"/>
                    <a:gd name="connsiteY4" fmla="*/ 111778 h 653611"/>
                    <a:gd name="connsiteX5" fmla="*/ 74639 w 233899"/>
                    <a:gd name="connsiteY5" fmla="*/ 45848 h 653611"/>
                    <a:gd name="connsiteX6" fmla="*/ 160953 w 233899"/>
                    <a:gd name="connsiteY6" fmla="*/ 12097 h 653611"/>
                    <a:gd name="connsiteX7" fmla="*/ 160953 w 233899"/>
                    <a:gd name="connsiteY7" fmla="*/ 0 h 653611"/>
                    <a:gd name="connsiteX8" fmla="*/ 65627 w 233899"/>
                    <a:gd name="connsiteY8" fmla="*/ 37743 h 653611"/>
                    <a:gd name="connsiteX9" fmla="*/ 44518 w 233899"/>
                    <a:gd name="connsiteY9" fmla="*/ 113048 h 653611"/>
                    <a:gd name="connsiteX10" fmla="*/ 71192 w 233899"/>
                    <a:gd name="connsiteY10" fmla="*/ 170570 h 653611"/>
                    <a:gd name="connsiteX11" fmla="*/ 112443 w 233899"/>
                    <a:gd name="connsiteY11" fmla="*/ 304668 h 653611"/>
                    <a:gd name="connsiteX12" fmla="*/ 20021 w 233899"/>
                    <a:gd name="connsiteY12" fmla="*/ 493082 h 653611"/>
                    <a:gd name="connsiteX13" fmla="*/ 20021 w 233899"/>
                    <a:gd name="connsiteY13" fmla="*/ 602259 h 653611"/>
                    <a:gd name="connsiteX14" fmla="*/ 0 w 233899"/>
                    <a:gd name="connsiteY14" fmla="*/ 627542 h 653611"/>
                    <a:gd name="connsiteX15" fmla="*/ 26070 w 233899"/>
                    <a:gd name="connsiteY15" fmla="*/ 653611 h 653611"/>
                    <a:gd name="connsiteX16" fmla="*/ 52139 w 233899"/>
                    <a:gd name="connsiteY16" fmla="*/ 627542 h 653611"/>
                    <a:gd name="connsiteX17" fmla="*/ 32118 w 233899"/>
                    <a:gd name="connsiteY17" fmla="*/ 602259 h 653611"/>
                    <a:gd name="connsiteX18" fmla="*/ 32118 w 233899"/>
                    <a:gd name="connsiteY18" fmla="*/ 493082 h 653611"/>
                    <a:gd name="connsiteX19" fmla="*/ 118552 w 233899"/>
                    <a:gd name="connsiteY19" fmla="*/ 406647 h 653611"/>
                    <a:gd name="connsiteX20" fmla="*/ 204987 w 233899"/>
                    <a:gd name="connsiteY20" fmla="*/ 493082 h 653611"/>
                    <a:gd name="connsiteX21" fmla="*/ 204987 w 233899"/>
                    <a:gd name="connsiteY21" fmla="*/ 601775 h 653611"/>
                    <a:gd name="connsiteX22" fmla="*/ 181761 w 233899"/>
                    <a:gd name="connsiteY22" fmla="*/ 627542 h 653611"/>
                    <a:gd name="connsiteX23" fmla="*/ 207830 w 233899"/>
                    <a:gd name="connsiteY23" fmla="*/ 653611 h 653611"/>
                    <a:gd name="connsiteX24" fmla="*/ 233899 w 233899"/>
                    <a:gd name="connsiteY24" fmla="*/ 627542 h 653611"/>
                    <a:gd name="connsiteX25" fmla="*/ 217145 w 233899"/>
                    <a:gd name="connsiteY25" fmla="*/ 603287 h 653611"/>
                    <a:gd name="connsiteX26" fmla="*/ 118734 w 233899"/>
                    <a:gd name="connsiteY26" fmla="*/ 394550 h 653611"/>
                    <a:gd name="connsiteX27" fmla="*/ 43308 w 233899"/>
                    <a:gd name="connsiteY27" fmla="*/ 429813 h 653611"/>
                    <a:gd name="connsiteX28" fmla="*/ 118734 w 233899"/>
                    <a:gd name="connsiteY28" fmla="*/ 316221 h 653611"/>
                    <a:gd name="connsiteX29" fmla="*/ 194160 w 233899"/>
                    <a:gd name="connsiteY29" fmla="*/ 429813 h 653611"/>
                    <a:gd name="connsiteX30" fmla="*/ 118734 w 233899"/>
                    <a:gd name="connsiteY30" fmla="*/ 394550 h 6536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233899" h="653611">
                      <a:moveTo>
                        <a:pt x="217266" y="603287"/>
                      </a:moveTo>
                      <a:lnTo>
                        <a:pt x="217266" y="493082"/>
                      </a:lnTo>
                      <a:cubicBezTo>
                        <a:pt x="217266" y="447596"/>
                        <a:pt x="180127" y="313741"/>
                        <a:pt x="124661" y="304607"/>
                      </a:cubicBezTo>
                      <a:cubicBezTo>
                        <a:pt x="123634" y="218838"/>
                        <a:pt x="99983" y="187990"/>
                        <a:pt x="80870" y="163191"/>
                      </a:cubicBezTo>
                      <a:cubicBezTo>
                        <a:pt x="68712" y="147404"/>
                        <a:pt x="59095" y="134944"/>
                        <a:pt x="56615" y="111778"/>
                      </a:cubicBezTo>
                      <a:cubicBezTo>
                        <a:pt x="53712" y="84559"/>
                        <a:pt x="59821" y="62422"/>
                        <a:pt x="74639" y="45848"/>
                      </a:cubicBezTo>
                      <a:cubicBezTo>
                        <a:pt x="104459" y="12581"/>
                        <a:pt x="160409" y="12097"/>
                        <a:pt x="160953" y="12097"/>
                      </a:cubicBezTo>
                      <a:lnTo>
                        <a:pt x="160953" y="0"/>
                      </a:lnTo>
                      <a:cubicBezTo>
                        <a:pt x="158413" y="0"/>
                        <a:pt x="99137" y="484"/>
                        <a:pt x="65627" y="37743"/>
                      </a:cubicBezTo>
                      <a:cubicBezTo>
                        <a:pt x="48389" y="56978"/>
                        <a:pt x="41252" y="82321"/>
                        <a:pt x="44518" y="113048"/>
                      </a:cubicBezTo>
                      <a:cubicBezTo>
                        <a:pt x="47360" y="139662"/>
                        <a:pt x="58913" y="154663"/>
                        <a:pt x="71192" y="170570"/>
                      </a:cubicBezTo>
                      <a:cubicBezTo>
                        <a:pt x="90124" y="195128"/>
                        <a:pt x="111536" y="223072"/>
                        <a:pt x="112443" y="304668"/>
                      </a:cubicBezTo>
                      <a:cubicBezTo>
                        <a:pt x="57099" y="314043"/>
                        <a:pt x="20021" y="447657"/>
                        <a:pt x="20021" y="493082"/>
                      </a:cubicBezTo>
                      <a:lnTo>
                        <a:pt x="20021" y="602259"/>
                      </a:lnTo>
                      <a:cubicBezTo>
                        <a:pt x="8589" y="604981"/>
                        <a:pt x="0" y="615263"/>
                        <a:pt x="0" y="627542"/>
                      </a:cubicBezTo>
                      <a:cubicBezTo>
                        <a:pt x="0" y="641938"/>
                        <a:pt x="11674" y="653611"/>
                        <a:pt x="26070" y="653611"/>
                      </a:cubicBezTo>
                      <a:cubicBezTo>
                        <a:pt x="40465" y="653611"/>
                        <a:pt x="52139" y="641938"/>
                        <a:pt x="52139" y="627542"/>
                      </a:cubicBezTo>
                      <a:cubicBezTo>
                        <a:pt x="52139" y="615263"/>
                        <a:pt x="43610" y="604981"/>
                        <a:pt x="32118" y="602259"/>
                      </a:cubicBezTo>
                      <a:lnTo>
                        <a:pt x="32118" y="493082"/>
                      </a:lnTo>
                      <a:cubicBezTo>
                        <a:pt x="32118" y="445419"/>
                        <a:pt x="70889" y="406647"/>
                        <a:pt x="118552" y="406647"/>
                      </a:cubicBezTo>
                      <a:cubicBezTo>
                        <a:pt x="166215" y="406647"/>
                        <a:pt x="204987" y="445419"/>
                        <a:pt x="204987" y="493082"/>
                      </a:cubicBezTo>
                      <a:lnTo>
                        <a:pt x="204987" y="601775"/>
                      </a:lnTo>
                      <a:cubicBezTo>
                        <a:pt x="191922" y="603166"/>
                        <a:pt x="181761" y="614114"/>
                        <a:pt x="181761" y="627542"/>
                      </a:cubicBezTo>
                      <a:cubicBezTo>
                        <a:pt x="181761" y="641938"/>
                        <a:pt x="193434" y="653611"/>
                        <a:pt x="207830" y="653611"/>
                      </a:cubicBezTo>
                      <a:cubicBezTo>
                        <a:pt x="222225" y="653611"/>
                        <a:pt x="233899" y="641938"/>
                        <a:pt x="233899" y="627542"/>
                      </a:cubicBezTo>
                      <a:cubicBezTo>
                        <a:pt x="233899" y="616412"/>
                        <a:pt x="226943" y="607037"/>
                        <a:pt x="217145" y="603287"/>
                      </a:cubicBezTo>
                      <a:close/>
                      <a:moveTo>
                        <a:pt x="118734" y="394550"/>
                      </a:moveTo>
                      <a:cubicBezTo>
                        <a:pt x="88491" y="394550"/>
                        <a:pt x="61393" y="408280"/>
                        <a:pt x="43308" y="429813"/>
                      </a:cubicBezTo>
                      <a:cubicBezTo>
                        <a:pt x="58490" y="376162"/>
                        <a:pt x="87644" y="316221"/>
                        <a:pt x="118734" y="316221"/>
                      </a:cubicBezTo>
                      <a:cubicBezTo>
                        <a:pt x="149824" y="316221"/>
                        <a:pt x="178978" y="376223"/>
                        <a:pt x="194160" y="429813"/>
                      </a:cubicBezTo>
                      <a:cubicBezTo>
                        <a:pt x="176075" y="408280"/>
                        <a:pt x="148977" y="394550"/>
                        <a:pt x="118734" y="394550"/>
                      </a:cubicBezTo>
                      <a:close/>
                    </a:path>
                  </a:pathLst>
                </a:custGeom>
                <a:solidFill>
                  <a:srgbClr val="F19E6A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1" name="Freihandform: Form 380">
                  <a:extLst>
                    <a:ext uri="{FF2B5EF4-FFF2-40B4-BE49-F238E27FC236}">
                      <a16:creationId xmlns:a16="http://schemas.microsoft.com/office/drawing/2014/main" id="{1F84D538-B7EF-065C-87EB-6F3B096FD5D2}"/>
                    </a:ext>
                  </a:extLst>
                </p:cNvPr>
                <p:cNvSpPr/>
                <p:nvPr/>
              </p:nvSpPr>
              <p:spPr>
                <a:xfrm>
                  <a:off x="11738570" y="2401947"/>
                  <a:ext cx="135445" cy="330434"/>
                </a:xfrm>
                <a:custGeom>
                  <a:avLst/>
                  <a:gdLst>
                    <a:gd name="connsiteX0" fmla="*/ 135428 w 135445"/>
                    <a:gd name="connsiteY0" fmla="*/ 85830 h 330434"/>
                    <a:gd name="connsiteX1" fmla="*/ 113653 w 135445"/>
                    <a:gd name="connsiteY1" fmla="*/ 27158 h 330434"/>
                    <a:gd name="connsiteX2" fmla="*/ 38651 w 135445"/>
                    <a:gd name="connsiteY2" fmla="*/ 0 h 330434"/>
                    <a:gd name="connsiteX3" fmla="*/ 38651 w 135445"/>
                    <a:gd name="connsiteY3" fmla="*/ 12097 h 330434"/>
                    <a:gd name="connsiteX4" fmla="*/ 105004 w 135445"/>
                    <a:gd name="connsiteY4" fmla="*/ 35626 h 330434"/>
                    <a:gd name="connsiteX5" fmla="*/ 123270 w 135445"/>
                    <a:gd name="connsiteY5" fmla="*/ 85588 h 330434"/>
                    <a:gd name="connsiteX6" fmla="*/ 87463 w 135445"/>
                    <a:gd name="connsiteY6" fmla="*/ 150671 h 330434"/>
                    <a:gd name="connsiteX7" fmla="*/ 37623 w 135445"/>
                    <a:gd name="connsiteY7" fmla="*/ 252045 h 330434"/>
                    <a:gd name="connsiteX8" fmla="*/ 0 w 135445"/>
                    <a:gd name="connsiteY8" fmla="*/ 291179 h 330434"/>
                    <a:gd name="connsiteX9" fmla="*/ 39255 w 135445"/>
                    <a:gd name="connsiteY9" fmla="*/ 330435 h 330434"/>
                    <a:gd name="connsiteX10" fmla="*/ 78511 w 135445"/>
                    <a:gd name="connsiteY10" fmla="*/ 291179 h 330434"/>
                    <a:gd name="connsiteX11" fmla="*/ 49720 w 135445"/>
                    <a:gd name="connsiteY11" fmla="*/ 253376 h 330434"/>
                    <a:gd name="connsiteX12" fmla="*/ 96173 w 135445"/>
                    <a:gd name="connsiteY12" fmla="*/ 159078 h 330434"/>
                    <a:gd name="connsiteX13" fmla="*/ 135428 w 135445"/>
                    <a:gd name="connsiteY13" fmla="*/ 85769 h 330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35445" h="330434">
                      <a:moveTo>
                        <a:pt x="135428" y="85830"/>
                      </a:moveTo>
                      <a:cubicBezTo>
                        <a:pt x="135852" y="62422"/>
                        <a:pt x="128352" y="42098"/>
                        <a:pt x="113653" y="27158"/>
                      </a:cubicBezTo>
                      <a:cubicBezTo>
                        <a:pt x="96476" y="9617"/>
                        <a:pt x="69862" y="0"/>
                        <a:pt x="38651" y="0"/>
                      </a:cubicBezTo>
                      <a:lnTo>
                        <a:pt x="38651" y="12097"/>
                      </a:lnTo>
                      <a:cubicBezTo>
                        <a:pt x="66535" y="12097"/>
                        <a:pt x="90124" y="20444"/>
                        <a:pt x="105004" y="35626"/>
                      </a:cubicBezTo>
                      <a:cubicBezTo>
                        <a:pt x="117525" y="48389"/>
                        <a:pt x="123694" y="65204"/>
                        <a:pt x="123270" y="85588"/>
                      </a:cubicBezTo>
                      <a:cubicBezTo>
                        <a:pt x="122726" y="114500"/>
                        <a:pt x="106395" y="131255"/>
                        <a:pt x="87463" y="150671"/>
                      </a:cubicBezTo>
                      <a:cubicBezTo>
                        <a:pt x="64720" y="174079"/>
                        <a:pt x="39376" y="200209"/>
                        <a:pt x="37623" y="252045"/>
                      </a:cubicBezTo>
                      <a:cubicBezTo>
                        <a:pt x="16694" y="252892"/>
                        <a:pt x="0" y="270070"/>
                        <a:pt x="0" y="291179"/>
                      </a:cubicBezTo>
                      <a:cubicBezTo>
                        <a:pt x="0" y="312289"/>
                        <a:pt x="17541" y="330435"/>
                        <a:pt x="39255" y="330435"/>
                      </a:cubicBezTo>
                      <a:cubicBezTo>
                        <a:pt x="60970" y="330435"/>
                        <a:pt x="78511" y="312894"/>
                        <a:pt x="78511" y="291179"/>
                      </a:cubicBezTo>
                      <a:cubicBezTo>
                        <a:pt x="78511" y="273155"/>
                        <a:pt x="66293" y="257973"/>
                        <a:pt x="49720" y="253376"/>
                      </a:cubicBezTo>
                      <a:cubicBezTo>
                        <a:pt x="51051" y="205531"/>
                        <a:pt x="73914" y="181942"/>
                        <a:pt x="96173" y="159078"/>
                      </a:cubicBezTo>
                      <a:cubicBezTo>
                        <a:pt x="116012" y="138694"/>
                        <a:pt x="134763" y="119460"/>
                        <a:pt x="135428" y="85769"/>
                      </a:cubicBezTo>
                      <a:close/>
                    </a:path>
                  </a:pathLst>
                </a:custGeom>
                <a:solidFill>
                  <a:srgbClr val="F19E6A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382" name="Grafik 297">
                  <a:extLst>
                    <a:ext uri="{FF2B5EF4-FFF2-40B4-BE49-F238E27FC236}">
                      <a16:creationId xmlns:a16="http://schemas.microsoft.com/office/drawing/2014/main" id="{E24B9011-1E06-73EB-4362-F5C6A731AB05}"/>
                    </a:ext>
                  </a:extLst>
                </p:cNvPr>
                <p:cNvGrpSpPr/>
                <p:nvPr/>
              </p:nvGrpSpPr>
              <p:grpSpPr>
                <a:xfrm>
                  <a:off x="11163281" y="3555052"/>
                  <a:ext cx="144145" cy="337753"/>
                  <a:chOff x="11163281" y="3555052"/>
                  <a:chExt cx="144145" cy="337753"/>
                </a:xfrm>
                <a:solidFill>
                  <a:srgbClr val="02787D"/>
                </a:solidFill>
              </p:grpSpPr>
              <p:grpSp>
                <p:nvGrpSpPr>
                  <p:cNvPr id="383" name="Grafik 297">
                    <a:extLst>
                      <a:ext uri="{FF2B5EF4-FFF2-40B4-BE49-F238E27FC236}">
                        <a16:creationId xmlns:a16="http://schemas.microsoft.com/office/drawing/2014/main" id="{949BB993-C474-118C-242F-1F10AF94CCF8}"/>
                      </a:ext>
                    </a:extLst>
                  </p:cNvPr>
                  <p:cNvGrpSpPr/>
                  <p:nvPr/>
                </p:nvGrpSpPr>
                <p:grpSpPr>
                  <a:xfrm>
                    <a:off x="11183347" y="3766601"/>
                    <a:ext cx="67615" cy="68318"/>
                    <a:chOff x="11183347" y="3766601"/>
                    <a:chExt cx="67615" cy="68318"/>
                  </a:xfrm>
                  <a:solidFill>
                    <a:srgbClr val="02787D"/>
                  </a:solidFill>
                </p:grpSpPr>
                <p:sp>
                  <p:nvSpPr>
                    <p:cNvPr id="384" name="Freihandform: Form 383">
                      <a:extLst>
                        <a:ext uri="{FF2B5EF4-FFF2-40B4-BE49-F238E27FC236}">
                          <a16:creationId xmlns:a16="http://schemas.microsoft.com/office/drawing/2014/main" id="{8F95C7A7-FC6E-8AFA-979E-5C68F7F7945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4392" y="3786015"/>
                      <a:ext cx="36570" cy="48905"/>
                    </a:xfrm>
                    <a:custGeom>
                      <a:avLst/>
                      <a:gdLst>
                        <a:gd name="connsiteX0" fmla="*/ 33515 w 36570"/>
                        <a:gd name="connsiteY0" fmla="*/ 48845 h 48905"/>
                        <a:gd name="connsiteX1" fmla="*/ 10652 w 36570"/>
                        <a:gd name="connsiteY1" fmla="*/ 34207 h 48905"/>
                        <a:gd name="connsiteX2" fmla="*/ 853 w 36570"/>
                        <a:gd name="connsiteY2" fmla="*/ 6262 h 48905"/>
                        <a:gd name="connsiteX3" fmla="*/ 3272 w 36570"/>
                        <a:gd name="connsiteY3" fmla="*/ 32 h 48905"/>
                        <a:gd name="connsiteX4" fmla="*/ 28193 w 36570"/>
                        <a:gd name="connsiteY4" fmla="*/ 22231 h 48905"/>
                        <a:gd name="connsiteX5" fmla="*/ 33515 w 36570"/>
                        <a:gd name="connsiteY5" fmla="*/ 48905 h 48905"/>
                        <a:gd name="connsiteX6" fmla="*/ 33515 w 36570"/>
                        <a:gd name="connsiteY6" fmla="*/ 48905 h 4890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6570" h="48905">
                          <a:moveTo>
                            <a:pt x="33515" y="48845"/>
                          </a:moveTo>
                          <a:lnTo>
                            <a:pt x="10652" y="34207"/>
                          </a:lnTo>
                          <a:cubicBezTo>
                            <a:pt x="2063" y="28521"/>
                            <a:pt x="-1869" y="18299"/>
                            <a:pt x="853" y="6262"/>
                          </a:cubicBezTo>
                          <a:cubicBezTo>
                            <a:pt x="1700" y="2391"/>
                            <a:pt x="2607" y="-330"/>
                            <a:pt x="3272" y="32"/>
                          </a:cubicBezTo>
                          <a:cubicBezTo>
                            <a:pt x="4604" y="758"/>
                            <a:pt x="15249" y="10194"/>
                            <a:pt x="28193" y="22231"/>
                          </a:cubicBezTo>
                          <a:cubicBezTo>
                            <a:pt x="36359" y="29852"/>
                            <a:pt x="39383" y="36747"/>
                            <a:pt x="33515" y="48905"/>
                          </a:cubicBezTo>
                          <a:lnTo>
                            <a:pt x="33515" y="48905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5" name="Freihandform: Form 384">
                      <a:extLst>
                        <a:ext uri="{FF2B5EF4-FFF2-40B4-BE49-F238E27FC236}">
                          <a16:creationId xmlns:a16="http://schemas.microsoft.com/office/drawing/2014/main" id="{9BCAB8A0-B051-A487-A47F-9E98F8164B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83347" y="3766601"/>
                      <a:ext cx="47654" cy="53620"/>
                    </a:xfrm>
                    <a:custGeom>
                      <a:avLst/>
                      <a:gdLst>
                        <a:gd name="connsiteX0" fmla="*/ 41698 w 47654"/>
                        <a:gd name="connsiteY0" fmla="*/ 53621 h 53620"/>
                        <a:gd name="connsiteX1" fmla="*/ 6797 w 47654"/>
                        <a:gd name="connsiteY1" fmla="*/ 29426 h 53620"/>
                        <a:gd name="connsiteX2" fmla="*/ 23 w 47654"/>
                        <a:gd name="connsiteY2" fmla="*/ 22047 h 53620"/>
                        <a:gd name="connsiteX3" fmla="*/ 22946 w 47654"/>
                        <a:gd name="connsiteY3" fmla="*/ 91 h 53620"/>
                        <a:gd name="connsiteX4" fmla="*/ 42302 w 47654"/>
                        <a:gd name="connsiteY4" fmla="*/ 25797 h 53620"/>
                        <a:gd name="connsiteX5" fmla="*/ 41698 w 47654"/>
                        <a:gd name="connsiteY5" fmla="*/ 53621 h 53620"/>
                        <a:gd name="connsiteX6" fmla="*/ 41698 w 47654"/>
                        <a:gd name="connsiteY6" fmla="*/ 53621 h 536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7654" h="53620">
                          <a:moveTo>
                            <a:pt x="41698" y="53621"/>
                          </a:moveTo>
                          <a:lnTo>
                            <a:pt x="6797" y="29426"/>
                          </a:lnTo>
                          <a:cubicBezTo>
                            <a:pt x="2563" y="26221"/>
                            <a:pt x="1111" y="23741"/>
                            <a:pt x="23" y="22047"/>
                          </a:cubicBezTo>
                          <a:cubicBezTo>
                            <a:pt x="-643" y="9950"/>
                            <a:pt x="13511" y="-1119"/>
                            <a:pt x="22946" y="91"/>
                          </a:cubicBezTo>
                          <a:lnTo>
                            <a:pt x="42302" y="25797"/>
                          </a:lnTo>
                          <a:cubicBezTo>
                            <a:pt x="50286" y="32814"/>
                            <a:pt x="48713" y="42310"/>
                            <a:pt x="41698" y="53621"/>
                          </a:cubicBezTo>
                          <a:lnTo>
                            <a:pt x="41698" y="53621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386" name="Grafik 297">
                    <a:extLst>
                      <a:ext uri="{FF2B5EF4-FFF2-40B4-BE49-F238E27FC236}">
                        <a16:creationId xmlns:a16="http://schemas.microsoft.com/office/drawing/2014/main" id="{85869E3B-BC14-F485-A352-B531AA9E4850}"/>
                      </a:ext>
                    </a:extLst>
                  </p:cNvPr>
                  <p:cNvGrpSpPr/>
                  <p:nvPr/>
                </p:nvGrpSpPr>
                <p:grpSpPr>
                  <a:xfrm>
                    <a:off x="11163288" y="3738619"/>
                    <a:ext cx="90846" cy="132471"/>
                    <a:chOff x="11163288" y="3738619"/>
                    <a:chExt cx="90846" cy="132471"/>
                  </a:xfrm>
                  <a:solidFill>
                    <a:srgbClr val="02787D"/>
                  </a:solidFill>
                </p:grpSpPr>
                <p:sp>
                  <p:nvSpPr>
                    <p:cNvPr id="387" name="Freihandform: Form 386">
                      <a:extLst>
                        <a:ext uri="{FF2B5EF4-FFF2-40B4-BE49-F238E27FC236}">
                          <a16:creationId xmlns:a16="http://schemas.microsoft.com/office/drawing/2014/main" id="{D6ADD04E-939E-1B28-A0D7-F97E333041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0554" y="3808727"/>
                      <a:ext cx="43580" cy="62363"/>
                    </a:xfrm>
                    <a:custGeom>
                      <a:avLst/>
                      <a:gdLst>
                        <a:gd name="connsiteX0" fmla="*/ 39895 w 43580"/>
                        <a:gd name="connsiteY0" fmla="*/ 62364 h 62363"/>
                        <a:gd name="connsiteX1" fmla="*/ 12615 w 43580"/>
                        <a:gd name="connsiteY1" fmla="*/ 41194 h 62363"/>
                        <a:gd name="connsiteX2" fmla="*/ 1062 w 43580"/>
                        <a:gd name="connsiteY2" fmla="*/ 6898 h 62363"/>
                        <a:gd name="connsiteX3" fmla="*/ 3966 w 43580"/>
                        <a:gd name="connsiteY3" fmla="*/ 63 h 62363"/>
                        <a:gd name="connsiteX4" fmla="*/ 33664 w 43580"/>
                        <a:gd name="connsiteY4" fmla="*/ 30367 h 62363"/>
                        <a:gd name="connsiteX5" fmla="*/ 39895 w 43580"/>
                        <a:gd name="connsiteY5" fmla="*/ 62364 h 62363"/>
                        <a:gd name="connsiteX6" fmla="*/ 39895 w 43580"/>
                        <a:gd name="connsiteY6" fmla="*/ 62364 h 6236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3580" h="62363">
                          <a:moveTo>
                            <a:pt x="39895" y="62364"/>
                          </a:moveTo>
                          <a:lnTo>
                            <a:pt x="12615" y="41194"/>
                          </a:lnTo>
                          <a:cubicBezTo>
                            <a:pt x="2394" y="32968"/>
                            <a:pt x="-2264" y="20447"/>
                            <a:pt x="1062" y="6898"/>
                          </a:cubicBezTo>
                          <a:cubicBezTo>
                            <a:pt x="2151" y="2543"/>
                            <a:pt x="3179" y="-481"/>
                            <a:pt x="3966" y="63"/>
                          </a:cubicBezTo>
                          <a:cubicBezTo>
                            <a:pt x="5538" y="1152"/>
                            <a:pt x="18241" y="14036"/>
                            <a:pt x="33664" y="30367"/>
                          </a:cubicBezTo>
                          <a:cubicBezTo>
                            <a:pt x="43403" y="40710"/>
                            <a:pt x="46911" y="49238"/>
                            <a:pt x="39895" y="62364"/>
                          </a:cubicBezTo>
                          <a:lnTo>
                            <a:pt x="39895" y="62364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8" name="Freihandform: Form 387">
                      <a:extLst>
                        <a:ext uri="{FF2B5EF4-FFF2-40B4-BE49-F238E27FC236}">
                          <a16:creationId xmlns:a16="http://schemas.microsoft.com/office/drawing/2014/main" id="{DA6422EE-E5C8-F6DE-E089-3DB1D29B89F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72474" y="3771894"/>
                      <a:ext cx="58537" cy="78389"/>
                    </a:xfrm>
                    <a:custGeom>
                      <a:avLst/>
                      <a:gdLst>
                        <a:gd name="connsiteX0" fmla="*/ 51360 w 58537"/>
                        <a:gd name="connsiteY0" fmla="*/ 78390 h 78389"/>
                        <a:gd name="connsiteX1" fmla="*/ 9807 w 58537"/>
                        <a:gd name="connsiteY1" fmla="*/ 45425 h 78389"/>
                        <a:gd name="connsiteX2" fmla="*/ 8415 w 58537"/>
                        <a:gd name="connsiteY2" fmla="*/ 3085 h 78389"/>
                        <a:gd name="connsiteX3" fmla="*/ 13557 w 58537"/>
                        <a:gd name="connsiteY3" fmla="*/ 0 h 78389"/>
                        <a:gd name="connsiteX4" fmla="*/ 52207 w 58537"/>
                        <a:gd name="connsiteY4" fmla="*/ 46030 h 78389"/>
                        <a:gd name="connsiteX5" fmla="*/ 51360 w 58537"/>
                        <a:gd name="connsiteY5" fmla="*/ 78329 h 78389"/>
                        <a:gd name="connsiteX6" fmla="*/ 51360 w 58537"/>
                        <a:gd name="connsiteY6" fmla="*/ 78329 h 7838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58537" h="78389">
                          <a:moveTo>
                            <a:pt x="51360" y="78390"/>
                          </a:moveTo>
                          <a:lnTo>
                            <a:pt x="9807" y="45425"/>
                          </a:lnTo>
                          <a:cubicBezTo>
                            <a:pt x="-2714" y="35324"/>
                            <a:pt x="-3319" y="15968"/>
                            <a:pt x="8415" y="3085"/>
                          </a:cubicBezTo>
                          <a:lnTo>
                            <a:pt x="13557" y="0"/>
                          </a:lnTo>
                          <a:lnTo>
                            <a:pt x="52207" y="46030"/>
                          </a:lnTo>
                          <a:cubicBezTo>
                            <a:pt x="61703" y="55587"/>
                            <a:pt x="59768" y="66414"/>
                            <a:pt x="51360" y="78329"/>
                          </a:cubicBezTo>
                          <a:lnTo>
                            <a:pt x="51360" y="78329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9" name="Freihandform: Form 388">
                      <a:extLst>
                        <a:ext uri="{FF2B5EF4-FFF2-40B4-BE49-F238E27FC236}">
                          <a16:creationId xmlns:a16="http://schemas.microsoft.com/office/drawing/2014/main" id="{2E7D34B8-A241-B499-4A1F-606EE74880D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63288" y="3738619"/>
                      <a:ext cx="39981" cy="70534"/>
                    </a:xfrm>
                    <a:custGeom>
                      <a:avLst/>
                      <a:gdLst>
                        <a:gd name="connsiteX0" fmla="*/ 61 w 39981"/>
                        <a:gd name="connsiteY0" fmla="*/ 7508 h 70534"/>
                        <a:gd name="connsiteX1" fmla="*/ 9133 w 39981"/>
                        <a:gd name="connsiteY1" fmla="*/ 63881 h 70534"/>
                        <a:gd name="connsiteX2" fmla="*/ 12400 w 39981"/>
                        <a:gd name="connsiteY2" fmla="*/ 70534 h 70534"/>
                        <a:gd name="connsiteX3" fmla="*/ 39679 w 39981"/>
                        <a:gd name="connsiteY3" fmla="*/ 39444 h 70534"/>
                        <a:gd name="connsiteX4" fmla="*/ 39981 w 39981"/>
                        <a:gd name="connsiteY4" fmla="*/ 8718 h 70534"/>
                        <a:gd name="connsiteX5" fmla="*/ 0 w 39981"/>
                        <a:gd name="connsiteY5" fmla="*/ 7447 h 705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39981" h="70534">
                          <a:moveTo>
                            <a:pt x="61" y="7508"/>
                          </a:moveTo>
                          <a:cubicBezTo>
                            <a:pt x="1633" y="19121"/>
                            <a:pt x="9133" y="63881"/>
                            <a:pt x="9133" y="63881"/>
                          </a:cubicBezTo>
                          <a:lnTo>
                            <a:pt x="12400" y="70534"/>
                          </a:lnTo>
                          <a:cubicBezTo>
                            <a:pt x="28912" y="68417"/>
                            <a:pt x="39860" y="54808"/>
                            <a:pt x="39679" y="39444"/>
                          </a:cubicBezTo>
                          <a:lnTo>
                            <a:pt x="39981" y="8718"/>
                          </a:lnTo>
                          <a:cubicBezTo>
                            <a:pt x="34175" y="-1142"/>
                            <a:pt x="3871" y="-4045"/>
                            <a:pt x="0" y="7447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390" name="Grafik 297">
                    <a:extLst>
                      <a:ext uri="{FF2B5EF4-FFF2-40B4-BE49-F238E27FC236}">
                        <a16:creationId xmlns:a16="http://schemas.microsoft.com/office/drawing/2014/main" id="{8E7C9462-4069-2F43-80E7-C996721EF8CA}"/>
                      </a:ext>
                    </a:extLst>
                  </p:cNvPr>
                  <p:cNvGrpSpPr/>
                  <p:nvPr/>
                </p:nvGrpSpPr>
                <p:grpSpPr>
                  <a:xfrm>
                    <a:off x="11175204" y="3729413"/>
                    <a:ext cx="72144" cy="163391"/>
                    <a:chOff x="11175204" y="3729413"/>
                    <a:chExt cx="72144" cy="163391"/>
                  </a:xfrm>
                  <a:solidFill>
                    <a:srgbClr val="02787D"/>
                  </a:solidFill>
                </p:grpSpPr>
                <p:sp>
                  <p:nvSpPr>
                    <p:cNvPr id="391" name="Freihandform: Form 390">
                      <a:extLst>
                        <a:ext uri="{FF2B5EF4-FFF2-40B4-BE49-F238E27FC236}">
                          <a16:creationId xmlns:a16="http://schemas.microsoft.com/office/drawing/2014/main" id="{BE813FF5-AFD8-334E-2F2C-7858B9A3C1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2650" y="3814241"/>
                      <a:ext cx="34698" cy="78564"/>
                    </a:xfrm>
                    <a:custGeom>
                      <a:avLst/>
                      <a:gdLst>
                        <a:gd name="connsiteX0" fmla="*/ 24310 w 34698"/>
                        <a:gd name="connsiteY0" fmla="*/ 78504 h 78564"/>
                        <a:gd name="connsiteX1" fmla="*/ 5015 w 34698"/>
                        <a:gd name="connsiteY1" fmla="*/ 45781 h 78564"/>
                        <a:gd name="connsiteX2" fmla="*/ 7072 w 34698"/>
                        <a:gd name="connsiteY2" fmla="*/ 5982 h 78564"/>
                        <a:gd name="connsiteX3" fmla="*/ 12818 w 34698"/>
                        <a:gd name="connsiteY3" fmla="*/ 175 h 78564"/>
                        <a:gd name="connsiteX4" fmla="*/ 30903 w 34698"/>
                        <a:gd name="connsiteY4" fmla="*/ 43241 h 78564"/>
                        <a:gd name="connsiteX5" fmla="*/ 24310 w 34698"/>
                        <a:gd name="connsiteY5" fmla="*/ 78565 h 78564"/>
                        <a:gd name="connsiteX6" fmla="*/ 24310 w 34698"/>
                        <a:gd name="connsiteY6" fmla="*/ 78565 h 785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4698" h="78564">
                          <a:moveTo>
                            <a:pt x="24310" y="78504"/>
                          </a:moveTo>
                          <a:lnTo>
                            <a:pt x="5015" y="45781"/>
                          </a:lnTo>
                          <a:cubicBezTo>
                            <a:pt x="-2122" y="33261"/>
                            <a:pt x="-1820" y="18502"/>
                            <a:pt x="7072" y="5982"/>
                          </a:cubicBezTo>
                          <a:cubicBezTo>
                            <a:pt x="9915" y="1990"/>
                            <a:pt x="12213" y="-732"/>
                            <a:pt x="12818" y="175"/>
                          </a:cubicBezTo>
                          <a:cubicBezTo>
                            <a:pt x="13967" y="1929"/>
                            <a:pt x="21770" y="20256"/>
                            <a:pt x="30903" y="43241"/>
                          </a:cubicBezTo>
                          <a:cubicBezTo>
                            <a:pt x="36710" y="57758"/>
                            <a:pt x="36831" y="67919"/>
                            <a:pt x="24310" y="78565"/>
                          </a:cubicBezTo>
                          <a:lnTo>
                            <a:pt x="24310" y="78565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92" name="Freihandform: Form 391">
                      <a:extLst>
                        <a:ext uri="{FF2B5EF4-FFF2-40B4-BE49-F238E27FC236}">
                          <a16:creationId xmlns:a16="http://schemas.microsoft.com/office/drawing/2014/main" id="{AD238B6D-DC67-C8DD-ED23-55CA3FC2044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86914" y="3784717"/>
                      <a:ext cx="48550" cy="77543"/>
                    </a:xfrm>
                    <a:custGeom>
                      <a:avLst/>
                      <a:gdLst>
                        <a:gd name="connsiteX0" fmla="*/ 32082 w 48550"/>
                        <a:gd name="connsiteY0" fmla="*/ 77543 h 77543"/>
                        <a:gd name="connsiteX1" fmla="*/ 3169 w 48550"/>
                        <a:gd name="connsiteY1" fmla="*/ 26614 h 77543"/>
                        <a:gd name="connsiteX2" fmla="*/ 24097 w 48550"/>
                        <a:gd name="connsiteY2" fmla="*/ 1573 h 77543"/>
                        <a:gd name="connsiteX3" fmla="*/ 26577 w 48550"/>
                        <a:gd name="connsiteY3" fmla="*/ 0 h 77543"/>
                        <a:gd name="connsiteX4" fmla="*/ 46296 w 48550"/>
                        <a:gd name="connsiteY4" fmla="*/ 44457 h 77543"/>
                        <a:gd name="connsiteX5" fmla="*/ 32928 w 48550"/>
                        <a:gd name="connsiteY5" fmla="*/ 76938 h 77543"/>
                        <a:gd name="connsiteX6" fmla="*/ 32021 w 48550"/>
                        <a:gd name="connsiteY6" fmla="*/ 77543 h 7754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8550" h="77543">
                          <a:moveTo>
                            <a:pt x="32082" y="77543"/>
                          </a:moveTo>
                          <a:lnTo>
                            <a:pt x="3169" y="26614"/>
                          </a:lnTo>
                          <a:cubicBezTo>
                            <a:pt x="-5541" y="11190"/>
                            <a:pt x="4439" y="4476"/>
                            <a:pt x="24097" y="1573"/>
                          </a:cubicBezTo>
                          <a:lnTo>
                            <a:pt x="26577" y="0"/>
                          </a:lnTo>
                          <a:lnTo>
                            <a:pt x="46296" y="44457"/>
                          </a:lnTo>
                          <a:cubicBezTo>
                            <a:pt x="52102" y="58127"/>
                            <a:pt x="46356" y="68107"/>
                            <a:pt x="32928" y="76938"/>
                          </a:cubicBezTo>
                          <a:lnTo>
                            <a:pt x="32021" y="77543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93" name="Freihandform: Form 392">
                      <a:extLst>
                        <a:ext uri="{FF2B5EF4-FFF2-40B4-BE49-F238E27FC236}">
                          <a16:creationId xmlns:a16="http://schemas.microsoft.com/office/drawing/2014/main" id="{A3DAE052-1E03-8EB4-2CC0-E4F22E1C3CD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75204" y="3729413"/>
                      <a:ext cx="39679" cy="76473"/>
                    </a:xfrm>
                    <a:custGeom>
                      <a:avLst/>
                      <a:gdLst>
                        <a:gd name="connsiteX0" fmla="*/ 0 w 39679"/>
                        <a:gd name="connsiteY0" fmla="*/ 10000 h 76473"/>
                        <a:gd name="connsiteX1" fmla="*/ 12642 w 39679"/>
                        <a:gd name="connsiteY1" fmla="*/ 76474 h 76473"/>
                        <a:gd name="connsiteX2" fmla="*/ 39376 w 39679"/>
                        <a:gd name="connsiteY2" fmla="*/ 55908 h 76473"/>
                        <a:gd name="connsiteX3" fmla="*/ 39679 w 39679"/>
                        <a:gd name="connsiteY3" fmla="*/ 7762 h 76473"/>
                        <a:gd name="connsiteX4" fmla="*/ 0 w 39679"/>
                        <a:gd name="connsiteY4" fmla="*/ 9939 h 764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9679" h="76473">
                          <a:moveTo>
                            <a:pt x="0" y="10000"/>
                          </a:moveTo>
                          <a:cubicBezTo>
                            <a:pt x="0" y="11209"/>
                            <a:pt x="12642" y="76474"/>
                            <a:pt x="12642" y="76474"/>
                          </a:cubicBezTo>
                          <a:cubicBezTo>
                            <a:pt x="30848" y="74236"/>
                            <a:pt x="39376" y="72844"/>
                            <a:pt x="39376" y="55908"/>
                          </a:cubicBezTo>
                          <a:lnTo>
                            <a:pt x="39679" y="7762"/>
                          </a:lnTo>
                          <a:cubicBezTo>
                            <a:pt x="33388" y="-3126"/>
                            <a:pt x="4356" y="-2702"/>
                            <a:pt x="0" y="9939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394" name="Grafik 297">
                    <a:extLst>
                      <a:ext uri="{FF2B5EF4-FFF2-40B4-BE49-F238E27FC236}">
                        <a16:creationId xmlns:a16="http://schemas.microsoft.com/office/drawing/2014/main" id="{B189E286-C055-C728-1160-CC2F98FB753E}"/>
                      </a:ext>
                    </a:extLst>
                  </p:cNvPr>
                  <p:cNvGrpSpPr/>
                  <p:nvPr/>
                </p:nvGrpSpPr>
                <p:grpSpPr>
                  <a:xfrm>
                    <a:off x="11188390" y="3736015"/>
                    <a:ext cx="61520" cy="156366"/>
                    <a:chOff x="11188390" y="3736015"/>
                    <a:chExt cx="61520" cy="156366"/>
                  </a:xfrm>
                  <a:solidFill>
                    <a:srgbClr val="02787D"/>
                  </a:solidFill>
                </p:grpSpPr>
                <p:sp>
                  <p:nvSpPr>
                    <p:cNvPr id="395" name="Freihandform: Form 394">
                      <a:extLst>
                        <a:ext uri="{FF2B5EF4-FFF2-40B4-BE49-F238E27FC236}">
                          <a16:creationId xmlns:a16="http://schemas.microsoft.com/office/drawing/2014/main" id="{B886DB75-5241-81E7-82D9-8A7363526A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8103" y="3821286"/>
                      <a:ext cx="31807" cy="71096"/>
                    </a:xfrm>
                    <a:custGeom>
                      <a:avLst/>
                      <a:gdLst>
                        <a:gd name="connsiteX0" fmla="*/ 18917 w 31807"/>
                        <a:gd name="connsiteY0" fmla="*/ 71096 h 71096"/>
                        <a:gd name="connsiteX1" fmla="*/ 3554 w 31807"/>
                        <a:gd name="connsiteY1" fmla="*/ 39462 h 71096"/>
                        <a:gd name="connsiteX2" fmla="*/ 8877 w 31807"/>
                        <a:gd name="connsiteY2" fmla="*/ 4804 h 71096"/>
                        <a:gd name="connsiteX3" fmla="*/ 15288 w 31807"/>
                        <a:gd name="connsiteY3" fmla="*/ 207 h 71096"/>
                        <a:gd name="connsiteX4" fmla="*/ 29744 w 31807"/>
                        <a:gd name="connsiteY4" fmla="*/ 39946 h 71096"/>
                        <a:gd name="connsiteX5" fmla="*/ 18917 w 31807"/>
                        <a:gd name="connsiteY5" fmla="*/ 71096 h 71096"/>
                        <a:gd name="connsiteX6" fmla="*/ 18917 w 31807"/>
                        <a:gd name="connsiteY6" fmla="*/ 71096 h 7109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1807" h="71096">
                          <a:moveTo>
                            <a:pt x="18917" y="71096"/>
                          </a:moveTo>
                          <a:lnTo>
                            <a:pt x="3554" y="39462"/>
                          </a:lnTo>
                          <a:cubicBezTo>
                            <a:pt x="-2072" y="27365"/>
                            <a:pt x="-1527" y="15147"/>
                            <a:pt x="8877" y="4804"/>
                          </a:cubicBezTo>
                          <a:cubicBezTo>
                            <a:pt x="12204" y="1477"/>
                            <a:pt x="14804" y="-701"/>
                            <a:pt x="15288" y="207"/>
                          </a:cubicBezTo>
                          <a:cubicBezTo>
                            <a:pt x="16195" y="1900"/>
                            <a:pt x="23333" y="18232"/>
                            <a:pt x="29744" y="39946"/>
                          </a:cubicBezTo>
                          <a:cubicBezTo>
                            <a:pt x="33797" y="53676"/>
                            <a:pt x="32708" y="62870"/>
                            <a:pt x="18917" y="71096"/>
                          </a:cubicBezTo>
                          <a:lnTo>
                            <a:pt x="18917" y="71096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96" name="Freihandform: Form 395">
                      <a:extLst>
                        <a:ext uri="{FF2B5EF4-FFF2-40B4-BE49-F238E27FC236}">
                          <a16:creationId xmlns:a16="http://schemas.microsoft.com/office/drawing/2014/main" id="{30FB23E6-3402-D93C-AA95-2515CFD9B80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96102" y="3785140"/>
                      <a:ext cx="43119" cy="75607"/>
                    </a:xfrm>
                    <a:custGeom>
                      <a:avLst/>
                      <a:gdLst>
                        <a:gd name="connsiteX0" fmla="*/ 25495 w 43119"/>
                        <a:gd name="connsiteY0" fmla="*/ 75607 h 75607"/>
                        <a:gd name="connsiteX1" fmla="*/ 2389 w 43119"/>
                        <a:gd name="connsiteY1" fmla="*/ 26856 h 75607"/>
                        <a:gd name="connsiteX2" fmla="*/ 21987 w 43119"/>
                        <a:gd name="connsiteY2" fmla="*/ 0 h 75607"/>
                        <a:gd name="connsiteX3" fmla="*/ 26099 w 43119"/>
                        <a:gd name="connsiteY3" fmla="*/ 5444 h 75607"/>
                        <a:gd name="connsiteX4" fmla="*/ 41826 w 43119"/>
                        <a:gd name="connsiteY4" fmla="*/ 48631 h 75607"/>
                        <a:gd name="connsiteX5" fmla="*/ 25495 w 43119"/>
                        <a:gd name="connsiteY5" fmla="*/ 75607 h 75607"/>
                        <a:gd name="connsiteX6" fmla="*/ 25495 w 43119"/>
                        <a:gd name="connsiteY6" fmla="*/ 75607 h 756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3119" h="75607">
                          <a:moveTo>
                            <a:pt x="25495" y="75607"/>
                          </a:moveTo>
                          <a:lnTo>
                            <a:pt x="2389" y="26856"/>
                          </a:lnTo>
                          <a:cubicBezTo>
                            <a:pt x="-4446" y="12037"/>
                            <a:pt x="3780" y="5746"/>
                            <a:pt x="21987" y="0"/>
                          </a:cubicBezTo>
                          <a:lnTo>
                            <a:pt x="26099" y="5444"/>
                          </a:lnTo>
                          <a:lnTo>
                            <a:pt x="41826" y="48631"/>
                          </a:lnTo>
                          <a:cubicBezTo>
                            <a:pt x="46000" y="61575"/>
                            <a:pt x="39951" y="69075"/>
                            <a:pt x="25495" y="75607"/>
                          </a:cubicBezTo>
                          <a:lnTo>
                            <a:pt x="25495" y="75607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97" name="Freihandform: Form 396">
                      <a:extLst>
                        <a:ext uri="{FF2B5EF4-FFF2-40B4-BE49-F238E27FC236}">
                          <a16:creationId xmlns:a16="http://schemas.microsoft.com/office/drawing/2014/main" id="{BC7402CD-75C1-0E35-DD64-2E1F953D6CD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88390" y="3736015"/>
                      <a:ext cx="34476" cy="69266"/>
                    </a:xfrm>
                    <a:custGeom>
                      <a:avLst/>
                      <a:gdLst>
                        <a:gd name="connsiteX0" fmla="*/ 0 w 34476"/>
                        <a:gd name="connsiteY0" fmla="*/ 5575 h 69266"/>
                        <a:gd name="connsiteX1" fmla="*/ 7924 w 34476"/>
                        <a:gd name="connsiteY1" fmla="*/ 69267 h 69266"/>
                        <a:gd name="connsiteX2" fmla="*/ 33872 w 34476"/>
                        <a:gd name="connsiteY2" fmla="*/ 56867 h 69266"/>
                        <a:gd name="connsiteX3" fmla="*/ 34477 w 34476"/>
                        <a:gd name="connsiteY3" fmla="*/ 12168 h 69266"/>
                        <a:gd name="connsiteX4" fmla="*/ 0 w 34476"/>
                        <a:gd name="connsiteY4" fmla="*/ 5575 h 6926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4476" h="69266">
                          <a:moveTo>
                            <a:pt x="0" y="5575"/>
                          </a:moveTo>
                          <a:cubicBezTo>
                            <a:pt x="0" y="6724"/>
                            <a:pt x="7924" y="69267"/>
                            <a:pt x="7924" y="69267"/>
                          </a:cubicBezTo>
                          <a:cubicBezTo>
                            <a:pt x="26311" y="68420"/>
                            <a:pt x="32723" y="72170"/>
                            <a:pt x="33872" y="56867"/>
                          </a:cubicBezTo>
                          <a:lnTo>
                            <a:pt x="34477" y="12168"/>
                          </a:lnTo>
                          <a:cubicBezTo>
                            <a:pt x="28912" y="1946"/>
                            <a:pt x="5262" y="-5675"/>
                            <a:pt x="0" y="557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398" name="Grafik 297">
                    <a:extLst>
                      <a:ext uri="{FF2B5EF4-FFF2-40B4-BE49-F238E27FC236}">
                        <a16:creationId xmlns:a16="http://schemas.microsoft.com/office/drawing/2014/main" id="{1AED2AE7-A47A-6F19-9EB3-9B47070AC0BF}"/>
                      </a:ext>
                    </a:extLst>
                  </p:cNvPr>
                  <p:cNvGrpSpPr/>
                  <p:nvPr/>
                </p:nvGrpSpPr>
                <p:grpSpPr>
                  <a:xfrm>
                    <a:off x="11208616" y="3610134"/>
                    <a:ext cx="98810" cy="216076"/>
                    <a:chOff x="11208616" y="3610134"/>
                    <a:chExt cx="98810" cy="216076"/>
                  </a:xfrm>
                  <a:solidFill>
                    <a:srgbClr val="02787D"/>
                  </a:solidFill>
                </p:grpSpPr>
                <p:sp>
                  <p:nvSpPr>
                    <p:cNvPr id="399" name="Freihandform: Form 398">
                      <a:extLst>
                        <a:ext uri="{FF2B5EF4-FFF2-40B4-BE49-F238E27FC236}">
                          <a16:creationId xmlns:a16="http://schemas.microsoft.com/office/drawing/2014/main" id="{73A4382B-4FD3-0421-0BA4-553E147B324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53713" y="3739314"/>
                      <a:ext cx="34296" cy="86896"/>
                    </a:xfrm>
                    <a:custGeom>
                      <a:avLst/>
                      <a:gdLst>
                        <a:gd name="connsiteX0" fmla="*/ 17724 w 34296"/>
                        <a:gd name="connsiteY0" fmla="*/ 86896 h 86896"/>
                        <a:gd name="connsiteX1" fmla="*/ 34297 w 34296"/>
                        <a:gd name="connsiteY1" fmla="*/ 45766 h 86896"/>
                        <a:gd name="connsiteX2" fmla="*/ 26918 w 34296"/>
                        <a:gd name="connsiteY2" fmla="*/ 2942 h 86896"/>
                        <a:gd name="connsiteX3" fmla="*/ 18571 w 34296"/>
                        <a:gd name="connsiteY3" fmla="*/ 825 h 86896"/>
                        <a:gd name="connsiteX4" fmla="*/ 1634 w 34296"/>
                        <a:gd name="connsiteY4" fmla="*/ 50968 h 86896"/>
                        <a:gd name="connsiteX5" fmla="*/ 17724 w 34296"/>
                        <a:gd name="connsiteY5" fmla="*/ 86896 h 86896"/>
                        <a:gd name="connsiteX6" fmla="*/ 17724 w 34296"/>
                        <a:gd name="connsiteY6" fmla="*/ 86896 h 8689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4296" h="86896">
                          <a:moveTo>
                            <a:pt x="17724" y="86896"/>
                          </a:moveTo>
                          <a:lnTo>
                            <a:pt x="34297" y="45766"/>
                          </a:lnTo>
                          <a:cubicBezTo>
                            <a:pt x="34176" y="31794"/>
                            <a:pt x="34660" y="10140"/>
                            <a:pt x="26918" y="2942"/>
                          </a:cubicBezTo>
                          <a:cubicBezTo>
                            <a:pt x="22503" y="-1111"/>
                            <a:pt x="19115" y="-82"/>
                            <a:pt x="18571" y="825"/>
                          </a:cubicBezTo>
                          <a:cubicBezTo>
                            <a:pt x="14760" y="7599"/>
                            <a:pt x="7199" y="29616"/>
                            <a:pt x="1634" y="50968"/>
                          </a:cubicBezTo>
                          <a:cubicBezTo>
                            <a:pt x="-2236" y="65787"/>
                            <a:pt x="-119" y="76190"/>
                            <a:pt x="17724" y="86896"/>
                          </a:cubicBezTo>
                          <a:lnTo>
                            <a:pt x="17724" y="86896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00" name="Freihandform: Form 399">
                      <a:extLst>
                        <a:ext uri="{FF2B5EF4-FFF2-40B4-BE49-F238E27FC236}">
                          <a16:creationId xmlns:a16="http://schemas.microsoft.com/office/drawing/2014/main" id="{FCD495F1-C29F-6677-618D-EFC4DE1A9E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57041" y="3712410"/>
                      <a:ext cx="50385" cy="74325"/>
                    </a:xfrm>
                    <a:custGeom>
                      <a:avLst/>
                      <a:gdLst>
                        <a:gd name="connsiteX0" fmla="*/ 50385 w 50385"/>
                        <a:gd name="connsiteY0" fmla="*/ 8615 h 74325"/>
                        <a:gd name="connsiteX1" fmla="*/ 0 w 50385"/>
                        <a:gd name="connsiteY1" fmla="*/ 10188 h 74325"/>
                        <a:gd name="connsiteX2" fmla="*/ 7682 w 50385"/>
                        <a:gd name="connsiteY2" fmla="*/ 46782 h 74325"/>
                        <a:gd name="connsiteX3" fmla="*/ 31029 w 50385"/>
                        <a:gd name="connsiteY3" fmla="*/ 72670 h 74325"/>
                        <a:gd name="connsiteX4" fmla="*/ 50385 w 50385"/>
                        <a:gd name="connsiteY4" fmla="*/ 8615 h 743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0385" h="74325">
                          <a:moveTo>
                            <a:pt x="50385" y="8615"/>
                          </a:moveTo>
                          <a:cubicBezTo>
                            <a:pt x="36352" y="-11648"/>
                            <a:pt x="0" y="10188"/>
                            <a:pt x="0" y="10188"/>
                          </a:cubicBezTo>
                          <a:lnTo>
                            <a:pt x="7682" y="46782"/>
                          </a:lnTo>
                          <a:cubicBezTo>
                            <a:pt x="7924" y="62508"/>
                            <a:pt x="17602" y="79807"/>
                            <a:pt x="31029" y="72670"/>
                          </a:cubicBezTo>
                          <a:cubicBezTo>
                            <a:pt x="31029" y="72670"/>
                            <a:pt x="50385" y="7890"/>
                            <a:pt x="50385" y="861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01" name="Freihandform: Form 400">
                      <a:extLst>
                        <a:ext uri="{FF2B5EF4-FFF2-40B4-BE49-F238E27FC236}">
                          <a16:creationId xmlns:a16="http://schemas.microsoft.com/office/drawing/2014/main" id="{EC7F333F-AC27-C194-ECB6-1699EB6812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08616" y="3610134"/>
                      <a:ext cx="98810" cy="121421"/>
                    </a:xfrm>
                    <a:custGeom>
                      <a:avLst/>
                      <a:gdLst>
                        <a:gd name="connsiteX0" fmla="*/ 91190 w 98810"/>
                        <a:gd name="connsiteY0" fmla="*/ 57180 h 121421"/>
                        <a:gd name="connsiteX1" fmla="*/ 98811 w 98810"/>
                        <a:gd name="connsiteY1" fmla="*/ 110831 h 121421"/>
                        <a:gd name="connsiteX2" fmla="*/ 98811 w 98810"/>
                        <a:gd name="connsiteY2" fmla="*/ 110831 h 121421"/>
                        <a:gd name="connsiteX3" fmla="*/ 48728 w 98810"/>
                        <a:gd name="connsiteY3" fmla="*/ 113311 h 121421"/>
                        <a:gd name="connsiteX4" fmla="*/ 7719 w 98810"/>
                        <a:gd name="connsiteY4" fmla="*/ 53006 h 121421"/>
                        <a:gd name="connsiteX5" fmla="*/ 62035 w 98810"/>
                        <a:gd name="connsiteY5" fmla="*/ 4920 h 121421"/>
                        <a:gd name="connsiteX6" fmla="*/ 91250 w 98810"/>
                        <a:gd name="connsiteY6" fmla="*/ 57119 h 1214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98810" h="121421">
                          <a:moveTo>
                            <a:pt x="91190" y="57180"/>
                          </a:moveTo>
                          <a:cubicBezTo>
                            <a:pt x="95121" y="72241"/>
                            <a:pt x="98811" y="110831"/>
                            <a:pt x="98811" y="110831"/>
                          </a:cubicBezTo>
                          <a:lnTo>
                            <a:pt x="98811" y="110831"/>
                          </a:lnTo>
                          <a:cubicBezTo>
                            <a:pt x="75463" y="113311"/>
                            <a:pt x="78427" y="131759"/>
                            <a:pt x="48728" y="113311"/>
                          </a:cubicBezTo>
                          <a:cubicBezTo>
                            <a:pt x="48728" y="113311"/>
                            <a:pt x="37296" y="72906"/>
                            <a:pt x="7719" y="53006"/>
                          </a:cubicBezTo>
                          <a:cubicBezTo>
                            <a:pt x="-17806" y="35828"/>
                            <a:pt x="25078" y="-16069"/>
                            <a:pt x="62035" y="4920"/>
                          </a:cubicBezTo>
                          <a:cubicBezTo>
                            <a:pt x="79576" y="26755"/>
                            <a:pt x="91250" y="57119"/>
                            <a:pt x="91250" y="57119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402" name="Freihandform: Form 401">
                    <a:extLst>
                      <a:ext uri="{FF2B5EF4-FFF2-40B4-BE49-F238E27FC236}">
                        <a16:creationId xmlns:a16="http://schemas.microsoft.com/office/drawing/2014/main" id="{09DA4B66-DB8A-4D6F-7A71-6C442002533F}"/>
                      </a:ext>
                    </a:extLst>
                  </p:cNvPr>
                  <p:cNvSpPr/>
                  <p:nvPr/>
                </p:nvSpPr>
                <p:spPr>
                  <a:xfrm>
                    <a:off x="11163281" y="3594186"/>
                    <a:ext cx="140662" cy="175772"/>
                  </a:xfrm>
                  <a:custGeom>
                    <a:avLst/>
                    <a:gdLst>
                      <a:gd name="connsiteX0" fmla="*/ 128 w 140662"/>
                      <a:gd name="connsiteY0" fmla="*/ 127202 h 175772"/>
                      <a:gd name="connsiteX1" fmla="*/ 20995 w 140662"/>
                      <a:gd name="connsiteY1" fmla="*/ 2057 h 175772"/>
                      <a:gd name="connsiteX2" fmla="*/ 105978 w 140662"/>
                      <a:gd name="connsiteY2" fmla="*/ 0 h 175772"/>
                      <a:gd name="connsiteX3" fmla="*/ 112027 w 140662"/>
                      <a:gd name="connsiteY3" fmla="*/ 22077 h 175772"/>
                      <a:gd name="connsiteX4" fmla="*/ 140576 w 140662"/>
                      <a:gd name="connsiteY4" fmla="*/ 100770 h 175772"/>
                      <a:gd name="connsiteX5" fmla="*/ 92913 w 140662"/>
                      <a:gd name="connsiteY5" fmla="*/ 122968 h 175772"/>
                      <a:gd name="connsiteX6" fmla="*/ 58376 w 140662"/>
                      <a:gd name="connsiteY6" fmla="*/ 175772 h 175772"/>
                      <a:gd name="connsiteX7" fmla="*/ 67 w 140662"/>
                      <a:gd name="connsiteY7" fmla="*/ 152001 h 175772"/>
                      <a:gd name="connsiteX8" fmla="*/ 67 w 140662"/>
                      <a:gd name="connsiteY8" fmla="*/ 127263 h 1757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40662" h="175772">
                        <a:moveTo>
                          <a:pt x="128" y="127202"/>
                        </a:moveTo>
                        <a:cubicBezTo>
                          <a:pt x="7326" y="95144"/>
                          <a:pt x="15491" y="57341"/>
                          <a:pt x="20995" y="2057"/>
                        </a:cubicBezTo>
                        <a:lnTo>
                          <a:pt x="105978" y="0"/>
                        </a:lnTo>
                        <a:cubicBezTo>
                          <a:pt x="106160" y="16089"/>
                          <a:pt x="109910" y="20021"/>
                          <a:pt x="112027" y="22077"/>
                        </a:cubicBezTo>
                        <a:cubicBezTo>
                          <a:pt x="143721" y="52562"/>
                          <a:pt x="140576" y="100770"/>
                          <a:pt x="140576" y="100770"/>
                        </a:cubicBezTo>
                        <a:cubicBezTo>
                          <a:pt x="140032" y="105306"/>
                          <a:pt x="109366" y="98411"/>
                          <a:pt x="92913" y="122968"/>
                        </a:cubicBezTo>
                        <a:cubicBezTo>
                          <a:pt x="88255" y="129863"/>
                          <a:pt x="62791" y="137545"/>
                          <a:pt x="58376" y="175772"/>
                        </a:cubicBezTo>
                        <a:cubicBezTo>
                          <a:pt x="19786" y="137848"/>
                          <a:pt x="1943" y="151215"/>
                          <a:pt x="67" y="152001"/>
                        </a:cubicBezTo>
                        <a:cubicBezTo>
                          <a:pt x="611" y="142263"/>
                          <a:pt x="-235" y="133855"/>
                          <a:pt x="67" y="127263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03" name="Freihandform: Form 402">
                    <a:extLst>
                      <a:ext uri="{FF2B5EF4-FFF2-40B4-BE49-F238E27FC236}">
                        <a16:creationId xmlns:a16="http://schemas.microsoft.com/office/drawing/2014/main" id="{641B8E1F-29F0-3DE6-320E-43D40E965D7A}"/>
                      </a:ext>
                    </a:extLst>
                  </p:cNvPr>
                  <p:cNvSpPr/>
                  <p:nvPr/>
                </p:nvSpPr>
                <p:spPr>
                  <a:xfrm>
                    <a:off x="11184216" y="3555052"/>
                    <a:ext cx="85164" cy="85164"/>
                  </a:xfrm>
                  <a:custGeom>
                    <a:avLst/>
                    <a:gdLst>
                      <a:gd name="connsiteX0" fmla="*/ 85164 w 85164"/>
                      <a:gd name="connsiteY0" fmla="*/ 42582 h 85164"/>
                      <a:gd name="connsiteX1" fmla="*/ 42582 w 85164"/>
                      <a:gd name="connsiteY1" fmla="*/ 85164 h 85164"/>
                      <a:gd name="connsiteX2" fmla="*/ 0 w 85164"/>
                      <a:gd name="connsiteY2" fmla="*/ 42582 h 85164"/>
                      <a:gd name="connsiteX3" fmla="*/ 42582 w 85164"/>
                      <a:gd name="connsiteY3" fmla="*/ 0 h 85164"/>
                      <a:gd name="connsiteX4" fmla="*/ 85164 w 85164"/>
                      <a:gd name="connsiteY4" fmla="*/ 42582 h 85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5164" h="85164">
                        <a:moveTo>
                          <a:pt x="85164" y="42582"/>
                        </a:moveTo>
                        <a:cubicBezTo>
                          <a:pt x="85164" y="66100"/>
                          <a:pt x="66100" y="85164"/>
                          <a:pt x="42582" y="85164"/>
                        </a:cubicBezTo>
                        <a:cubicBezTo>
                          <a:pt x="19065" y="85164"/>
                          <a:pt x="0" y="66100"/>
                          <a:pt x="0" y="42582"/>
                        </a:cubicBezTo>
                        <a:cubicBezTo>
                          <a:pt x="0" y="19065"/>
                          <a:pt x="19064" y="0"/>
                          <a:pt x="42582" y="0"/>
                        </a:cubicBezTo>
                        <a:cubicBezTo>
                          <a:pt x="66099" y="0"/>
                          <a:pt x="85164" y="19065"/>
                          <a:pt x="85164" y="42582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404" name="Freihandform: Form 403">
                  <a:extLst>
                    <a:ext uri="{FF2B5EF4-FFF2-40B4-BE49-F238E27FC236}">
                      <a16:creationId xmlns:a16="http://schemas.microsoft.com/office/drawing/2014/main" id="{0F017A4C-E966-4F4D-247B-87D042F362C9}"/>
                    </a:ext>
                  </a:extLst>
                </p:cNvPr>
                <p:cNvSpPr/>
                <p:nvPr/>
              </p:nvSpPr>
              <p:spPr>
                <a:xfrm>
                  <a:off x="11554269" y="2207424"/>
                  <a:ext cx="268013" cy="182791"/>
                </a:xfrm>
                <a:custGeom>
                  <a:avLst/>
                  <a:gdLst>
                    <a:gd name="connsiteX0" fmla="*/ 0 w 268013"/>
                    <a:gd name="connsiteY0" fmla="*/ 0 h 182791"/>
                    <a:gd name="connsiteX1" fmla="*/ 9133 w 268013"/>
                    <a:gd name="connsiteY1" fmla="*/ 120125 h 182791"/>
                    <a:gd name="connsiteX2" fmla="*/ 135186 w 268013"/>
                    <a:gd name="connsiteY2" fmla="*/ 182789 h 182791"/>
                    <a:gd name="connsiteX3" fmla="*/ 259606 w 268013"/>
                    <a:gd name="connsiteY3" fmla="*/ 101374 h 182791"/>
                    <a:gd name="connsiteX4" fmla="*/ 268014 w 268013"/>
                    <a:gd name="connsiteY4" fmla="*/ 7440 h 182791"/>
                    <a:gd name="connsiteX5" fmla="*/ 0 w 268013"/>
                    <a:gd name="connsiteY5" fmla="*/ 121 h 182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68013" h="182791">
                      <a:moveTo>
                        <a:pt x="0" y="0"/>
                      </a:moveTo>
                      <a:cubicBezTo>
                        <a:pt x="1694" y="2903"/>
                        <a:pt x="9133" y="120125"/>
                        <a:pt x="9133" y="120125"/>
                      </a:cubicBezTo>
                      <a:cubicBezTo>
                        <a:pt x="9133" y="120125"/>
                        <a:pt x="13670" y="182244"/>
                        <a:pt x="135186" y="182789"/>
                      </a:cubicBezTo>
                      <a:cubicBezTo>
                        <a:pt x="268014" y="183333"/>
                        <a:pt x="259606" y="101374"/>
                        <a:pt x="259606" y="101374"/>
                      </a:cubicBezTo>
                      <a:lnTo>
                        <a:pt x="268014" y="7440"/>
                      </a:lnTo>
                      <a:cubicBezTo>
                        <a:pt x="182547" y="25646"/>
                        <a:pt x="96838" y="27219"/>
                        <a:pt x="0" y="121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05" name="Grafik 297">
                <a:extLst>
                  <a:ext uri="{FF2B5EF4-FFF2-40B4-BE49-F238E27FC236}">
                    <a16:creationId xmlns:a16="http://schemas.microsoft.com/office/drawing/2014/main" id="{8D8C3F3B-6853-BAB3-0E8A-81B39A0FF7EC}"/>
                  </a:ext>
                </a:extLst>
              </p:cNvPr>
              <p:cNvGrpSpPr/>
              <p:nvPr/>
            </p:nvGrpSpPr>
            <p:grpSpPr>
              <a:xfrm>
                <a:off x="9590362" y="1659724"/>
                <a:ext cx="1540851" cy="3537443"/>
                <a:chOff x="48" y="1659724"/>
                <a:chExt cx="1540851" cy="3537443"/>
              </a:xfrm>
            </p:grpSpPr>
            <p:grpSp>
              <p:nvGrpSpPr>
                <p:cNvPr id="406" name="Grafik 297">
                  <a:extLst>
                    <a:ext uri="{FF2B5EF4-FFF2-40B4-BE49-F238E27FC236}">
                      <a16:creationId xmlns:a16="http://schemas.microsoft.com/office/drawing/2014/main" id="{9267AD3B-3978-93CF-2F04-0391F2212197}"/>
                    </a:ext>
                  </a:extLst>
                </p:cNvPr>
                <p:cNvGrpSpPr/>
                <p:nvPr/>
              </p:nvGrpSpPr>
              <p:grpSpPr>
                <a:xfrm>
                  <a:off x="134278" y="3425249"/>
                  <a:ext cx="206694" cy="389892"/>
                  <a:chOff x="134278" y="3425249"/>
                  <a:chExt cx="206694" cy="389892"/>
                </a:xfrm>
                <a:solidFill>
                  <a:srgbClr val="02787D"/>
                </a:solidFill>
              </p:grpSpPr>
              <p:sp>
                <p:nvSpPr>
                  <p:cNvPr id="407" name="Freihandform: Form 406">
                    <a:extLst>
                      <a:ext uri="{FF2B5EF4-FFF2-40B4-BE49-F238E27FC236}">
                        <a16:creationId xmlns:a16="http://schemas.microsoft.com/office/drawing/2014/main" id="{F1EFB7FA-9645-1CCA-D76A-2B04286F0456}"/>
                      </a:ext>
                    </a:extLst>
                  </p:cNvPr>
                  <p:cNvSpPr/>
                  <p:nvPr/>
                </p:nvSpPr>
                <p:spPr>
                  <a:xfrm>
                    <a:off x="194341" y="3425249"/>
                    <a:ext cx="116254" cy="116254"/>
                  </a:xfrm>
                  <a:custGeom>
                    <a:avLst/>
                    <a:gdLst>
                      <a:gd name="connsiteX0" fmla="*/ 116254 w 116254"/>
                      <a:gd name="connsiteY0" fmla="*/ 58127 h 116254"/>
                      <a:gd name="connsiteX1" fmla="*/ 58127 w 116254"/>
                      <a:gd name="connsiteY1" fmla="*/ 116254 h 116254"/>
                      <a:gd name="connsiteX2" fmla="*/ 0 w 116254"/>
                      <a:gd name="connsiteY2" fmla="*/ 58127 h 116254"/>
                      <a:gd name="connsiteX3" fmla="*/ 58127 w 116254"/>
                      <a:gd name="connsiteY3" fmla="*/ 0 h 116254"/>
                      <a:gd name="connsiteX4" fmla="*/ 116254 w 116254"/>
                      <a:gd name="connsiteY4" fmla="*/ 58127 h 1162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6254" h="116254">
                        <a:moveTo>
                          <a:pt x="116254" y="58127"/>
                        </a:moveTo>
                        <a:cubicBezTo>
                          <a:pt x="116254" y="90230"/>
                          <a:pt x="90230" y="116254"/>
                          <a:pt x="58127" y="116254"/>
                        </a:cubicBezTo>
                        <a:cubicBezTo>
                          <a:pt x="26024" y="116254"/>
                          <a:pt x="0" y="90229"/>
                          <a:pt x="0" y="58127"/>
                        </a:cubicBezTo>
                        <a:cubicBezTo>
                          <a:pt x="0" y="26024"/>
                          <a:pt x="26024" y="0"/>
                          <a:pt x="58127" y="0"/>
                        </a:cubicBezTo>
                        <a:cubicBezTo>
                          <a:pt x="90230" y="0"/>
                          <a:pt x="116254" y="26024"/>
                          <a:pt x="116254" y="58127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408" name="Grafik 297">
                    <a:extLst>
                      <a:ext uri="{FF2B5EF4-FFF2-40B4-BE49-F238E27FC236}">
                        <a16:creationId xmlns:a16="http://schemas.microsoft.com/office/drawing/2014/main" id="{96E041D4-6E70-C70C-392E-C213804505E7}"/>
                      </a:ext>
                    </a:extLst>
                  </p:cNvPr>
                  <p:cNvGrpSpPr/>
                  <p:nvPr/>
                </p:nvGrpSpPr>
                <p:grpSpPr>
                  <a:xfrm>
                    <a:off x="134278" y="3462369"/>
                    <a:ext cx="206694" cy="352772"/>
                    <a:chOff x="134278" y="3462369"/>
                    <a:chExt cx="206694" cy="352772"/>
                  </a:xfrm>
                  <a:solidFill>
                    <a:srgbClr val="02787D"/>
                  </a:solidFill>
                </p:grpSpPr>
                <p:grpSp>
                  <p:nvGrpSpPr>
                    <p:cNvPr id="409" name="Grafik 297">
                      <a:extLst>
                        <a:ext uri="{FF2B5EF4-FFF2-40B4-BE49-F238E27FC236}">
                          <a16:creationId xmlns:a16="http://schemas.microsoft.com/office/drawing/2014/main" id="{BEF07FCA-6CC6-0364-5F87-3FC7BBF9F58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17870" y="3649645"/>
                      <a:ext cx="45684" cy="153097"/>
                      <a:chOff x="217870" y="3649645"/>
                      <a:chExt cx="45684" cy="153097"/>
                    </a:xfrm>
                    <a:solidFill>
                      <a:srgbClr val="02787D"/>
                    </a:solidFill>
                  </p:grpSpPr>
                  <p:sp>
                    <p:nvSpPr>
                      <p:cNvPr id="410" name="Freihandform: Form 409">
                        <a:extLst>
                          <a:ext uri="{FF2B5EF4-FFF2-40B4-BE49-F238E27FC236}">
                            <a16:creationId xmlns:a16="http://schemas.microsoft.com/office/drawing/2014/main" id="{106B5EC0-B51C-26F2-FCAF-3488F8B337C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17870" y="3649645"/>
                        <a:ext cx="45684" cy="70664"/>
                      </a:xfrm>
                      <a:custGeom>
                        <a:avLst/>
                        <a:gdLst>
                          <a:gd name="connsiteX0" fmla="*/ 0 w 45684"/>
                          <a:gd name="connsiteY0" fmla="*/ 57227 h 70664"/>
                          <a:gd name="connsiteX1" fmla="*/ 18388 w 45684"/>
                          <a:gd name="connsiteY1" fmla="*/ 70655 h 70664"/>
                          <a:gd name="connsiteX2" fmla="*/ 36050 w 45684"/>
                          <a:gd name="connsiteY2" fmla="*/ 55594 h 70664"/>
                          <a:gd name="connsiteX3" fmla="*/ 45485 w 45684"/>
                          <a:gd name="connsiteY3" fmla="*/ 18818 h 70664"/>
                          <a:gd name="connsiteX4" fmla="*/ 32300 w 45684"/>
                          <a:gd name="connsiteY4" fmla="*/ 914 h 70664"/>
                          <a:gd name="connsiteX5" fmla="*/ 9073 w 45684"/>
                          <a:gd name="connsiteY5" fmla="*/ 13435 h 70664"/>
                          <a:gd name="connsiteX6" fmla="*/ 0 w 45684"/>
                          <a:gd name="connsiteY6" fmla="*/ 57227 h 706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5684" h="70664">
                            <a:moveTo>
                              <a:pt x="0" y="57227"/>
                            </a:moveTo>
                            <a:cubicBezTo>
                              <a:pt x="0" y="57227"/>
                              <a:pt x="5262" y="71078"/>
                              <a:pt x="18388" y="70655"/>
                            </a:cubicBezTo>
                            <a:cubicBezTo>
                              <a:pt x="32179" y="70231"/>
                              <a:pt x="36050" y="55594"/>
                              <a:pt x="36050" y="55594"/>
                            </a:cubicBezTo>
                            <a:lnTo>
                              <a:pt x="45485" y="18818"/>
                            </a:lnTo>
                            <a:cubicBezTo>
                              <a:pt x="46816" y="7568"/>
                              <a:pt x="41372" y="2971"/>
                              <a:pt x="32300" y="914"/>
                            </a:cubicBezTo>
                            <a:cubicBezTo>
                              <a:pt x="23287" y="-1566"/>
                              <a:pt x="12339" y="491"/>
                              <a:pt x="9073" y="13435"/>
                            </a:cubicBezTo>
                            <a:lnTo>
                              <a:pt x="0" y="5722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11" name="Freihandform: Form 410">
                        <a:extLst>
                          <a:ext uri="{FF2B5EF4-FFF2-40B4-BE49-F238E27FC236}">
                            <a16:creationId xmlns:a16="http://schemas.microsoft.com/office/drawing/2014/main" id="{0DD2EC8F-8D60-3009-5B1B-9F669EAB25A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17870" y="3693202"/>
                        <a:ext cx="36856" cy="56556"/>
                      </a:xfrm>
                      <a:custGeom>
                        <a:avLst/>
                        <a:gdLst>
                          <a:gd name="connsiteX0" fmla="*/ 7016 w 36856"/>
                          <a:gd name="connsiteY0" fmla="*/ 49175 h 56556"/>
                          <a:gd name="connsiteX1" fmla="*/ 22985 w 36856"/>
                          <a:gd name="connsiteY1" fmla="*/ 56554 h 56556"/>
                          <a:gd name="connsiteX2" fmla="*/ 36775 w 36856"/>
                          <a:gd name="connsiteY2" fmla="*/ 43187 h 56556"/>
                          <a:gd name="connsiteX3" fmla="*/ 36110 w 36856"/>
                          <a:gd name="connsiteY3" fmla="*/ 12037 h 56556"/>
                          <a:gd name="connsiteX4" fmla="*/ 19356 w 36856"/>
                          <a:gd name="connsiteY4" fmla="*/ 0 h 56556"/>
                          <a:gd name="connsiteX5" fmla="*/ 0 w 36856"/>
                          <a:gd name="connsiteY5" fmla="*/ 13670 h 56556"/>
                          <a:gd name="connsiteX6" fmla="*/ 6956 w 36856"/>
                          <a:gd name="connsiteY6" fmla="*/ 49175 h 5655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6856" h="56556">
                            <a:moveTo>
                              <a:pt x="7016" y="49175"/>
                            </a:moveTo>
                            <a:cubicBezTo>
                              <a:pt x="7016" y="49175"/>
                              <a:pt x="7198" y="56192"/>
                              <a:pt x="22985" y="56554"/>
                            </a:cubicBezTo>
                            <a:cubicBezTo>
                              <a:pt x="38772" y="56736"/>
                              <a:pt x="36775" y="43187"/>
                              <a:pt x="36775" y="43187"/>
                            </a:cubicBezTo>
                            <a:lnTo>
                              <a:pt x="36110" y="12037"/>
                            </a:lnTo>
                            <a:cubicBezTo>
                              <a:pt x="32179" y="4899"/>
                              <a:pt x="31392" y="0"/>
                              <a:pt x="19356" y="0"/>
                            </a:cubicBezTo>
                            <a:cubicBezTo>
                              <a:pt x="8649" y="665"/>
                              <a:pt x="4234" y="6653"/>
                              <a:pt x="0" y="13670"/>
                            </a:cubicBezTo>
                            <a:lnTo>
                              <a:pt x="6956" y="4917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12" name="Freihandform: Form 411">
                        <a:extLst>
                          <a:ext uri="{FF2B5EF4-FFF2-40B4-BE49-F238E27FC236}">
                            <a16:creationId xmlns:a16="http://schemas.microsoft.com/office/drawing/2014/main" id="{A214FEDE-85F4-3140-8438-9F452A726FF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24826" y="3726462"/>
                        <a:ext cx="35970" cy="76279"/>
                      </a:xfrm>
                      <a:custGeom>
                        <a:avLst/>
                        <a:gdLst>
                          <a:gd name="connsiteX0" fmla="*/ 10404 w 35970"/>
                          <a:gd name="connsiteY0" fmla="*/ 52086 h 76279"/>
                          <a:gd name="connsiteX1" fmla="*/ 18146 w 35970"/>
                          <a:gd name="connsiteY1" fmla="*/ 76280 h 76279"/>
                          <a:gd name="connsiteX2" fmla="*/ 35747 w 35970"/>
                          <a:gd name="connsiteY2" fmla="*/ 41319 h 76279"/>
                          <a:gd name="connsiteX3" fmla="*/ 30062 w 35970"/>
                          <a:gd name="connsiteY3" fmla="*/ 10713 h 76279"/>
                          <a:gd name="connsiteX4" fmla="*/ 11795 w 35970"/>
                          <a:gd name="connsiteY4" fmla="*/ 854 h 76279"/>
                          <a:gd name="connsiteX5" fmla="*/ 0 w 35970"/>
                          <a:gd name="connsiteY5" fmla="*/ 15915 h 76279"/>
                          <a:gd name="connsiteX6" fmla="*/ 10343 w 35970"/>
                          <a:gd name="connsiteY6" fmla="*/ 52146 h 7627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5970" h="76279">
                            <a:moveTo>
                              <a:pt x="10404" y="52086"/>
                            </a:moveTo>
                            <a:lnTo>
                              <a:pt x="18146" y="76280"/>
                            </a:lnTo>
                            <a:cubicBezTo>
                              <a:pt x="33993" y="72106"/>
                              <a:pt x="36896" y="53779"/>
                              <a:pt x="35747" y="41319"/>
                            </a:cubicBezTo>
                            <a:cubicBezTo>
                              <a:pt x="34598" y="28859"/>
                              <a:pt x="30062" y="10713"/>
                              <a:pt x="30062" y="10713"/>
                            </a:cubicBezTo>
                            <a:cubicBezTo>
                              <a:pt x="26372" y="-477"/>
                              <a:pt x="17420" y="-1082"/>
                              <a:pt x="11795" y="854"/>
                            </a:cubicBezTo>
                            <a:cubicBezTo>
                              <a:pt x="5625" y="2971"/>
                              <a:pt x="0" y="6963"/>
                              <a:pt x="0" y="15915"/>
                            </a:cubicBezTo>
                            <a:lnTo>
                              <a:pt x="10343" y="52146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13" name="Grafik 297">
                      <a:extLst>
                        <a:ext uri="{FF2B5EF4-FFF2-40B4-BE49-F238E27FC236}">
                          <a16:creationId xmlns:a16="http://schemas.microsoft.com/office/drawing/2014/main" id="{CFFBB6AC-1003-FEFA-D1D7-A44023C75CE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85994" y="3644681"/>
                      <a:ext cx="53203" cy="170460"/>
                      <a:chOff x="185994" y="3644681"/>
                      <a:chExt cx="53203" cy="170460"/>
                    </a:xfrm>
                    <a:solidFill>
                      <a:srgbClr val="02787D"/>
                    </a:solidFill>
                  </p:grpSpPr>
                  <p:sp>
                    <p:nvSpPr>
                      <p:cNvPr id="414" name="Freihandform: Form 413">
                        <a:extLst>
                          <a:ext uri="{FF2B5EF4-FFF2-40B4-BE49-F238E27FC236}">
                            <a16:creationId xmlns:a16="http://schemas.microsoft.com/office/drawing/2014/main" id="{FD2882AD-6F0E-E7D8-3D73-B00A51C07F1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85994" y="3644681"/>
                        <a:ext cx="50168" cy="77084"/>
                      </a:xfrm>
                      <a:custGeom>
                        <a:avLst/>
                        <a:gdLst>
                          <a:gd name="connsiteX0" fmla="*/ 0 w 50168"/>
                          <a:gd name="connsiteY0" fmla="*/ 63098 h 77084"/>
                          <a:gd name="connsiteX1" fmla="*/ 18932 w 50168"/>
                          <a:gd name="connsiteY1" fmla="*/ 77070 h 77084"/>
                          <a:gd name="connsiteX2" fmla="*/ 38892 w 50168"/>
                          <a:gd name="connsiteY2" fmla="*/ 63702 h 77084"/>
                          <a:gd name="connsiteX3" fmla="*/ 49840 w 50168"/>
                          <a:gd name="connsiteY3" fmla="*/ 20999 h 77084"/>
                          <a:gd name="connsiteX4" fmla="*/ 38106 w 50168"/>
                          <a:gd name="connsiteY4" fmla="*/ 918 h 77084"/>
                          <a:gd name="connsiteX5" fmla="*/ 10041 w 50168"/>
                          <a:gd name="connsiteY5" fmla="*/ 15072 h 77084"/>
                          <a:gd name="connsiteX6" fmla="*/ 60 w 50168"/>
                          <a:gd name="connsiteY6" fmla="*/ 63037 h 7708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0168" h="77084">
                            <a:moveTo>
                              <a:pt x="0" y="63098"/>
                            </a:moveTo>
                            <a:cubicBezTo>
                              <a:pt x="0" y="63098"/>
                              <a:pt x="3932" y="77614"/>
                              <a:pt x="18932" y="77070"/>
                            </a:cubicBezTo>
                            <a:cubicBezTo>
                              <a:pt x="34054" y="76525"/>
                              <a:pt x="38892" y="63702"/>
                              <a:pt x="38892" y="63702"/>
                            </a:cubicBezTo>
                            <a:lnTo>
                              <a:pt x="49840" y="20999"/>
                            </a:lnTo>
                            <a:cubicBezTo>
                              <a:pt x="51292" y="8721"/>
                              <a:pt x="48026" y="3156"/>
                              <a:pt x="38106" y="918"/>
                            </a:cubicBezTo>
                            <a:cubicBezTo>
                              <a:pt x="28247" y="-1743"/>
                              <a:pt x="13549" y="918"/>
                              <a:pt x="10041" y="15072"/>
                            </a:cubicBezTo>
                            <a:lnTo>
                              <a:pt x="60" y="6303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15" name="Freihandform: Form 414">
                        <a:extLst>
                          <a:ext uri="{FF2B5EF4-FFF2-40B4-BE49-F238E27FC236}">
                            <a16:creationId xmlns:a16="http://schemas.microsoft.com/office/drawing/2014/main" id="{310DD638-5EFB-DC20-5C8F-F33CD3C34B3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86054" y="3694653"/>
                        <a:ext cx="41227" cy="66339"/>
                      </a:xfrm>
                      <a:custGeom>
                        <a:avLst/>
                        <a:gdLst>
                          <a:gd name="connsiteX0" fmla="*/ 6291 w 41227"/>
                          <a:gd name="connsiteY0" fmla="*/ 58248 h 66339"/>
                          <a:gd name="connsiteX1" fmla="*/ 29699 w 41227"/>
                          <a:gd name="connsiteY1" fmla="*/ 64478 h 66339"/>
                          <a:gd name="connsiteX2" fmla="*/ 40284 w 41227"/>
                          <a:gd name="connsiteY2" fmla="*/ 45485 h 66339"/>
                          <a:gd name="connsiteX3" fmla="*/ 38832 w 41227"/>
                          <a:gd name="connsiteY3" fmla="*/ 13730 h 66339"/>
                          <a:gd name="connsiteX4" fmla="*/ 21533 w 41227"/>
                          <a:gd name="connsiteY4" fmla="*/ 0 h 66339"/>
                          <a:gd name="connsiteX5" fmla="*/ 0 w 41227"/>
                          <a:gd name="connsiteY5" fmla="*/ 13065 h 66339"/>
                          <a:gd name="connsiteX6" fmla="*/ 6351 w 41227"/>
                          <a:gd name="connsiteY6" fmla="*/ 58187 h 6633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1227" h="66339">
                            <a:moveTo>
                              <a:pt x="6291" y="58248"/>
                            </a:moveTo>
                            <a:cubicBezTo>
                              <a:pt x="6291" y="58248"/>
                              <a:pt x="12279" y="71010"/>
                              <a:pt x="29699" y="64478"/>
                            </a:cubicBezTo>
                            <a:cubicBezTo>
                              <a:pt x="45909" y="58429"/>
                              <a:pt x="40284" y="45485"/>
                              <a:pt x="40284" y="45485"/>
                            </a:cubicBezTo>
                            <a:lnTo>
                              <a:pt x="38832" y="13730"/>
                            </a:lnTo>
                            <a:cubicBezTo>
                              <a:pt x="36957" y="5323"/>
                              <a:pt x="31392" y="0"/>
                              <a:pt x="21533" y="0"/>
                            </a:cubicBezTo>
                            <a:cubicBezTo>
                              <a:pt x="7258" y="0"/>
                              <a:pt x="2964" y="4657"/>
                              <a:pt x="0" y="13065"/>
                            </a:cubicBezTo>
                            <a:lnTo>
                              <a:pt x="6351" y="5818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16" name="Freihandform: Form 415">
                        <a:extLst>
                          <a:ext uri="{FF2B5EF4-FFF2-40B4-BE49-F238E27FC236}">
                            <a16:creationId xmlns:a16="http://schemas.microsoft.com/office/drawing/2014/main" id="{FF2C60BF-0FD1-8F48-AF87-F6B1AB3B4A8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92405" y="3728005"/>
                        <a:ext cx="46792" cy="87136"/>
                      </a:xfrm>
                      <a:custGeom>
                        <a:avLst/>
                        <a:gdLst>
                          <a:gd name="connsiteX0" fmla="*/ 19356 w 46792"/>
                          <a:gd name="connsiteY0" fmla="*/ 61974 h 87136"/>
                          <a:gd name="connsiteX1" fmla="*/ 31271 w 46792"/>
                          <a:gd name="connsiteY1" fmla="*/ 87136 h 87136"/>
                          <a:gd name="connsiteX2" fmla="*/ 45364 w 46792"/>
                          <a:gd name="connsiteY2" fmla="*/ 46671 h 87136"/>
                          <a:gd name="connsiteX3" fmla="*/ 32783 w 46792"/>
                          <a:gd name="connsiteY3" fmla="*/ 9351 h 87136"/>
                          <a:gd name="connsiteX4" fmla="*/ 7682 w 46792"/>
                          <a:gd name="connsiteY4" fmla="*/ 702 h 87136"/>
                          <a:gd name="connsiteX5" fmla="*/ 0 w 46792"/>
                          <a:gd name="connsiteY5" fmla="*/ 25017 h 87136"/>
                          <a:gd name="connsiteX6" fmla="*/ 19416 w 46792"/>
                          <a:gd name="connsiteY6" fmla="*/ 62035 h 8713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6792" h="87136">
                            <a:moveTo>
                              <a:pt x="19356" y="61974"/>
                            </a:moveTo>
                            <a:lnTo>
                              <a:pt x="31271" y="87136"/>
                            </a:lnTo>
                            <a:cubicBezTo>
                              <a:pt x="47844" y="80362"/>
                              <a:pt x="48389" y="59978"/>
                              <a:pt x="45364" y="46671"/>
                            </a:cubicBezTo>
                            <a:cubicBezTo>
                              <a:pt x="42340" y="33304"/>
                              <a:pt x="32783" y="9351"/>
                              <a:pt x="32783" y="9351"/>
                            </a:cubicBezTo>
                            <a:cubicBezTo>
                              <a:pt x="26130" y="3666"/>
                              <a:pt x="14275" y="-2020"/>
                              <a:pt x="7682" y="702"/>
                            </a:cubicBezTo>
                            <a:cubicBezTo>
                              <a:pt x="1089" y="3363"/>
                              <a:pt x="726" y="16307"/>
                              <a:pt x="0" y="25017"/>
                            </a:cubicBezTo>
                            <a:lnTo>
                              <a:pt x="19416" y="6203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17" name="Grafik 297">
                      <a:extLst>
                        <a:ext uri="{FF2B5EF4-FFF2-40B4-BE49-F238E27FC236}">
                          <a16:creationId xmlns:a16="http://schemas.microsoft.com/office/drawing/2014/main" id="{7FF42A81-F4E3-4D64-ADC8-E812AA5C602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1880" y="3632666"/>
                      <a:ext cx="59919" cy="164209"/>
                      <a:chOff x="151880" y="3632666"/>
                      <a:chExt cx="59919" cy="164209"/>
                    </a:xfrm>
                    <a:solidFill>
                      <a:srgbClr val="02787D"/>
                    </a:solidFill>
                  </p:grpSpPr>
                  <p:sp>
                    <p:nvSpPr>
                      <p:cNvPr id="418" name="Freihandform: Form 417">
                        <a:extLst>
                          <a:ext uri="{FF2B5EF4-FFF2-40B4-BE49-F238E27FC236}">
                            <a16:creationId xmlns:a16="http://schemas.microsoft.com/office/drawing/2014/main" id="{9145AB4A-E206-3BFB-E542-8C1C1008E4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880" y="3632666"/>
                        <a:ext cx="47698" cy="76503"/>
                      </a:xfrm>
                      <a:custGeom>
                        <a:avLst/>
                        <a:gdLst>
                          <a:gd name="connsiteX0" fmla="*/ 0 w 47698"/>
                          <a:gd name="connsiteY0" fmla="*/ 67492 h 76503"/>
                          <a:gd name="connsiteX1" fmla="*/ 20505 w 47698"/>
                          <a:gd name="connsiteY1" fmla="*/ 76202 h 76503"/>
                          <a:gd name="connsiteX2" fmla="*/ 37562 w 47698"/>
                          <a:gd name="connsiteY2" fmla="*/ 60355 h 76503"/>
                          <a:gd name="connsiteX3" fmla="*/ 47542 w 47698"/>
                          <a:gd name="connsiteY3" fmla="*/ 21160 h 76503"/>
                          <a:gd name="connsiteX4" fmla="*/ 36231 w 47698"/>
                          <a:gd name="connsiteY4" fmla="*/ 897 h 76503"/>
                          <a:gd name="connsiteX5" fmla="*/ 8770 w 47698"/>
                          <a:gd name="connsiteY5" fmla="*/ 14748 h 76503"/>
                          <a:gd name="connsiteX6" fmla="*/ 0 w 47698"/>
                          <a:gd name="connsiteY6" fmla="*/ 67492 h 7650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7698" h="76503">
                            <a:moveTo>
                              <a:pt x="0" y="67492"/>
                            </a:moveTo>
                            <a:cubicBezTo>
                              <a:pt x="0" y="67492"/>
                              <a:pt x="4960" y="78440"/>
                              <a:pt x="20505" y="76202"/>
                            </a:cubicBezTo>
                            <a:cubicBezTo>
                              <a:pt x="35142" y="74085"/>
                              <a:pt x="37562" y="60355"/>
                              <a:pt x="37562" y="60355"/>
                            </a:cubicBezTo>
                            <a:lnTo>
                              <a:pt x="47542" y="21160"/>
                            </a:lnTo>
                            <a:cubicBezTo>
                              <a:pt x="48389" y="11361"/>
                              <a:pt x="45969" y="3074"/>
                              <a:pt x="36231" y="897"/>
                            </a:cubicBezTo>
                            <a:cubicBezTo>
                              <a:pt x="26614" y="-1704"/>
                              <a:pt x="12218" y="897"/>
                              <a:pt x="8770" y="14748"/>
                            </a:cubicBezTo>
                            <a:lnTo>
                              <a:pt x="0" y="67492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19" name="Freihandform: Form 418">
                        <a:extLst>
                          <a:ext uri="{FF2B5EF4-FFF2-40B4-BE49-F238E27FC236}">
                            <a16:creationId xmlns:a16="http://schemas.microsoft.com/office/drawing/2014/main" id="{3BB86A11-311D-D0FD-C00A-D8AE416DFE9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880" y="3683991"/>
                        <a:ext cx="48902" cy="63864"/>
                      </a:xfrm>
                      <a:custGeom>
                        <a:avLst/>
                        <a:gdLst>
                          <a:gd name="connsiteX0" fmla="*/ 18267 w 48902"/>
                          <a:gd name="connsiteY0" fmla="*/ 55603 h 63864"/>
                          <a:gd name="connsiteX1" fmla="*/ 38772 w 48902"/>
                          <a:gd name="connsiteY1" fmla="*/ 62801 h 63864"/>
                          <a:gd name="connsiteX2" fmla="*/ 46877 w 48902"/>
                          <a:gd name="connsiteY2" fmla="*/ 37276 h 63864"/>
                          <a:gd name="connsiteX3" fmla="*/ 37562 w 48902"/>
                          <a:gd name="connsiteY3" fmla="*/ 9089 h 63864"/>
                          <a:gd name="connsiteX4" fmla="*/ 19295 w 48902"/>
                          <a:gd name="connsiteY4" fmla="*/ 319 h 63864"/>
                          <a:gd name="connsiteX5" fmla="*/ 0 w 48902"/>
                          <a:gd name="connsiteY5" fmla="*/ 16227 h 63864"/>
                          <a:gd name="connsiteX6" fmla="*/ 18267 w 48902"/>
                          <a:gd name="connsiteY6" fmla="*/ 55603 h 638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8902" h="63864">
                            <a:moveTo>
                              <a:pt x="18267" y="55603"/>
                            </a:moveTo>
                            <a:cubicBezTo>
                              <a:pt x="18267" y="55603"/>
                              <a:pt x="22561" y="67398"/>
                              <a:pt x="38772" y="62801"/>
                            </a:cubicBezTo>
                            <a:cubicBezTo>
                              <a:pt x="54982" y="58083"/>
                              <a:pt x="46877" y="37276"/>
                              <a:pt x="46877" y="37276"/>
                            </a:cubicBezTo>
                            <a:lnTo>
                              <a:pt x="37562" y="9089"/>
                            </a:lnTo>
                            <a:cubicBezTo>
                              <a:pt x="35324" y="137"/>
                              <a:pt x="28065" y="-649"/>
                              <a:pt x="19295" y="319"/>
                            </a:cubicBezTo>
                            <a:cubicBezTo>
                              <a:pt x="10525" y="1287"/>
                              <a:pt x="2117" y="7759"/>
                              <a:pt x="0" y="16227"/>
                            </a:cubicBezTo>
                            <a:lnTo>
                              <a:pt x="18267" y="55603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20" name="Freihandform: Form 419">
                        <a:extLst>
                          <a:ext uri="{FF2B5EF4-FFF2-40B4-BE49-F238E27FC236}">
                            <a16:creationId xmlns:a16="http://schemas.microsoft.com/office/drawing/2014/main" id="{881CA624-3D6E-3DD5-C79E-E6878E2C50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68150" y="3716396"/>
                        <a:ext cx="43649" cy="80478"/>
                      </a:xfrm>
                      <a:custGeom>
                        <a:avLst/>
                        <a:gdLst>
                          <a:gd name="connsiteX0" fmla="*/ 16815 w 43649"/>
                          <a:gd name="connsiteY0" fmla="*/ 55800 h 80478"/>
                          <a:gd name="connsiteX1" fmla="*/ 28307 w 43649"/>
                          <a:gd name="connsiteY1" fmla="*/ 80479 h 80478"/>
                          <a:gd name="connsiteX2" fmla="*/ 42340 w 43649"/>
                          <a:gd name="connsiteY2" fmla="*/ 40981 h 80478"/>
                          <a:gd name="connsiteX3" fmla="*/ 30606 w 43649"/>
                          <a:gd name="connsiteY3" fmla="*/ 4871 h 80478"/>
                          <a:gd name="connsiteX4" fmla="*/ 10162 w 43649"/>
                          <a:gd name="connsiteY4" fmla="*/ 1605 h 80478"/>
                          <a:gd name="connsiteX5" fmla="*/ 0 w 43649"/>
                          <a:gd name="connsiteY5" fmla="*/ 18722 h 80478"/>
                          <a:gd name="connsiteX6" fmla="*/ 16876 w 43649"/>
                          <a:gd name="connsiteY6" fmla="*/ 55861 h 8047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3649" h="80478">
                            <a:moveTo>
                              <a:pt x="16815" y="55800"/>
                            </a:moveTo>
                            <a:lnTo>
                              <a:pt x="28307" y="80479"/>
                            </a:lnTo>
                            <a:cubicBezTo>
                              <a:pt x="44578" y="73946"/>
                              <a:pt x="45183" y="54046"/>
                              <a:pt x="42340" y="40981"/>
                            </a:cubicBezTo>
                            <a:cubicBezTo>
                              <a:pt x="39497" y="27916"/>
                              <a:pt x="30606" y="4871"/>
                              <a:pt x="30606" y="4871"/>
                            </a:cubicBezTo>
                            <a:cubicBezTo>
                              <a:pt x="24134" y="-694"/>
                              <a:pt x="16634" y="-1057"/>
                              <a:pt x="10162" y="1605"/>
                            </a:cubicBezTo>
                            <a:cubicBezTo>
                              <a:pt x="3690" y="4206"/>
                              <a:pt x="786" y="10194"/>
                              <a:pt x="0" y="18722"/>
                            </a:cubicBezTo>
                            <a:lnTo>
                              <a:pt x="16876" y="55861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21" name="Grafik 297">
                      <a:extLst>
                        <a:ext uri="{FF2B5EF4-FFF2-40B4-BE49-F238E27FC236}">
                          <a16:creationId xmlns:a16="http://schemas.microsoft.com/office/drawing/2014/main" id="{E8FAD5B3-0B89-ED00-88F5-67869CFF5A3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278" y="3599477"/>
                      <a:ext cx="56322" cy="153424"/>
                      <a:chOff x="134278" y="3599477"/>
                      <a:chExt cx="56322" cy="153424"/>
                    </a:xfrm>
                    <a:solidFill>
                      <a:srgbClr val="02787D"/>
                    </a:solidFill>
                  </p:grpSpPr>
                  <p:sp>
                    <p:nvSpPr>
                      <p:cNvPr id="422" name="Freihandform: Form 421">
                        <a:extLst>
                          <a:ext uri="{FF2B5EF4-FFF2-40B4-BE49-F238E27FC236}">
                            <a16:creationId xmlns:a16="http://schemas.microsoft.com/office/drawing/2014/main" id="{4E881F46-C9F0-F5E9-CF2C-A6C31BAB5AC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278" y="3599477"/>
                        <a:ext cx="44676" cy="72318"/>
                      </a:xfrm>
                      <a:custGeom>
                        <a:avLst/>
                        <a:gdLst>
                          <a:gd name="connsiteX0" fmla="*/ 0 w 44676"/>
                          <a:gd name="connsiteY0" fmla="*/ 63301 h 72318"/>
                          <a:gd name="connsiteX1" fmla="*/ 19537 w 44676"/>
                          <a:gd name="connsiteY1" fmla="*/ 72071 h 72318"/>
                          <a:gd name="connsiteX2" fmla="*/ 34719 w 44676"/>
                          <a:gd name="connsiteY2" fmla="*/ 55256 h 72318"/>
                          <a:gd name="connsiteX3" fmla="*/ 44397 w 44676"/>
                          <a:gd name="connsiteY3" fmla="*/ 19085 h 72318"/>
                          <a:gd name="connsiteX4" fmla="*/ 33570 w 44676"/>
                          <a:gd name="connsiteY4" fmla="*/ 819 h 72318"/>
                          <a:gd name="connsiteX5" fmla="*/ 7984 w 44676"/>
                          <a:gd name="connsiteY5" fmla="*/ 13884 h 72318"/>
                          <a:gd name="connsiteX6" fmla="*/ 60 w 44676"/>
                          <a:gd name="connsiteY6" fmla="*/ 63301 h 723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4676" h="72318">
                            <a:moveTo>
                              <a:pt x="0" y="63301"/>
                            </a:moveTo>
                            <a:cubicBezTo>
                              <a:pt x="0" y="63301"/>
                              <a:pt x="5867" y="74067"/>
                              <a:pt x="19537" y="72071"/>
                            </a:cubicBezTo>
                            <a:cubicBezTo>
                              <a:pt x="32904" y="70075"/>
                              <a:pt x="34719" y="55256"/>
                              <a:pt x="34719" y="55256"/>
                            </a:cubicBezTo>
                            <a:lnTo>
                              <a:pt x="44397" y="19085"/>
                            </a:lnTo>
                            <a:cubicBezTo>
                              <a:pt x="45667" y="7835"/>
                              <a:pt x="42703" y="2815"/>
                              <a:pt x="33570" y="819"/>
                            </a:cubicBezTo>
                            <a:cubicBezTo>
                              <a:pt x="24557" y="-1601"/>
                              <a:pt x="11129" y="940"/>
                              <a:pt x="7984" y="13884"/>
                            </a:cubicBezTo>
                            <a:lnTo>
                              <a:pt x="60" y="63301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23" name="Freihandform: Form 422">
                        <a:extLst>
                          <a:ext uri="{FF2B5EF4-FFF2-40B4-BE49-F238E27FC236}">
                            <a16:creationId xmlns:a16="http://schemas.microsoft.com/office/drawing/2014/main" id="{4C41643D-B859-8C82-353C-9320CB6432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339" y="3644143"/>
                        <a:ext cx="45538" cy="61600"/>
                      </a:xfrm>
                      <a:custGeom>
                        <a:avLst/>
                        <a:gdLst>
                          <a:gd name="connsiteX0" fmla="*/ 17239 w 45538"/>
                          <a:gd name="connsiteY0" fmla="*/ 55349 h 61600"/>
                          <a:gd name="connsiteX1" fmla="*/ 35808 w 45538"/>
                          <a:gd name="connsiteY1" fmla="*/ 60430 h 61600"/>
                          <a:gd name="connsiteX2" fmla="*/ 43913 w 45538"/>
                          <a:gd name="connsiteY2" fmla="*/ 39562 h 61600"/>
                          <a:gd name="connsiteX3" fmla="*/ 34719 w 45538"/>
                          <a:gd name="connsiteY3" fmla="*/ 10590 h 61600"/>
                          <a:gd name="connsiteX4" fmla="*/ 13972 w 45538"/>
                          <a:gd name="connsiteY4" fmla="*/ 1033 h 61600"/>
                          <a:gd name="connsiteX5" fmla="*/ 0 w 45538"/>
                          <a:gd name="connsiteY5" fmla="*/ 18634 h 61600"/>
                          <a:gd name="connsiteX6" fmla="*/ 17239 w 45538"/>
                          <a:gd name="connsiteY6" fmla="*/ 55349 h 616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5538" h="61600">
                            <a:moveTo>
                              <a:pt x="17239" y="55349"/>
                            </a:moveTo>
                            <a:cubicBezTo>
                              <a:pt x="17239" y="55349"/>
                              <a:pt x="20686" y="64846"/>
                              <a:pt x="35808" y="60430"/>
                            </a:cubicBezTo>
                            <a:cubicBezTo>
                              <a:pt x="50929" y="55894"/>
                              <a:pt x="43913" y="39562"/>
                              <a:pt x="43913" y="39562"/>
                            </a:cubicBezTo>
                            <a:lnTo>
                              <a:pt x="34719" y="10590"/>
                            </a:lnTo>
                            <a:cubicBezTo>
                              <a:pt x="31029" y="3513"/>
                              <a:pt x="24920" y="-2475"/>
                              <a:pt x="13972" y="1033"/>
                            </a:cubicBezTo>
                            <a:cubicBezTo>
                              <a:pt x="3932" y="4843"/>
                              <a:pt x="1936" y="10711"/>
                              <a:pt x="0" y="18634"/>
                            </a:cubicBezTo>
                            <a:lnTo>
                              <a:pt x="17239" y="55349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24" name="Freihandform: Form 423">
                        <a:extLst>
                          <a:ext uri="{FF2B5EF4-FFF2-40B4-BE49-F238E27FC236}">
                            <a16:creationId xmlns:a16="http://schemas.microsoft.com/office/drawing/2014/main" id="{54F5F9D4-DAF9-8652-7832-285BF4EF8CC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581" y="3678059"/>
                        <a:ext cx="41019" cy="74842"/>
                      </a:xfrm>
                      <a:custGeom>
                        <a:avLst/>
                        <a:gdLst>
                          <a:gd name="connsiteX0" fmla="*/ 15968 w 41019"/>
                          <a:gd name="connsiteY0" fmla="*/ 51858 h 74842"/>
                          <a:gd name="connsiteX1" fmla="*/ 26795 w 41019"/>
                          <a:gd name="connsiteY1" fmla="*/ 74842 h 74842"/>
                          <a:gd name="connsiteX2" fmla="*/ 39739 w 41019"/>
                          <a:gd name="connsiteY2" fmla="*/ 37825 h 74842"/>
                          <a:gd name="connsiteX3" fmla="*/ 28610 w 41019"/>
                          <a:gd name="connsiteY3" fmla="*/ 5586 h 74842"/>
                          <a:gd name="connsiteX4" fmla="*/ 9436 w 41019"/>
                          <a:gd name="connsiteY4" fmla="*/ 1110 h 74842"/>
                          <a:gd name="connsiteX5" fmla="*/ 0 w 41019"/>
                          <a:gd name="connsiteY5" fmla="*/ 17139 h 74842"/>
                          <a:gd name="connsiteX6" fmla="*/ 15968 w 41019"/>
                          <a:gd name="connsiteY6" fmla="*/ 51797 h 7484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1019" h="74842">
                            <a:moveTo>
                              <a:pt x="15968" y="51858"/>
                            </a:moveTo>
                            <a:lnTo>
                              <a:pt x="26795" y="74842"/>
                            </a:lnTo>
                            <a:cubicBezTo>
                              <a:pt x="41977" y="68673"/>
                              <a:pt x="42461" y="50043"/>
                              <a:pt x="39739" y="37825"/>
                            </a:cubicBezTo>
                            <a:cubicBezTo>
                              <a:pt x="37017" y="25607"/>
                              <a:pt x="28610" y="5586"/>
                              <a:pt x="28610" y="5586"/>
                            </a:cubicBezTo>
                            <a:cubicBezTo>
                              <a:pt x="22561" y="384"/>
                              <a:pt x="15484" y="-1370"/>
                              <a:pt x="9436" y="1110"/>
                            </a:cubicBezTo>
                            <a:cubicBezTo>
                              <a:pt x="3387" y="3530"/>
                              <a:pt x="726" y="9155"/>
                              <a:pt x="0" y="17139"/>
                            </a:cubicBezTo>
                            <a:lnTo>
                              <a:pt x="15968" y="5179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425" name="Freihandform: Form 424">
                      <a:extLst>
                        <a:ext uri="{FF2B5EF4-FFF2-40B4-BE49-F238E27FC236}">
                          <a16:creationId xmlns:a16="http://schemas.microsoft.com/office/drawing/2014/main" id="{D357EBCB-CC64-D119-FEFE-7D5C4F34F9C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537" y="3462369"/>
                      <a:ext cx="174817" cy="206099"/>
                    </a:xfrm>
                    <a:custGeom>
                      <a:avLst/>
                      <a:gdLst>
                        <a:gd name="connsiteX0" fmla="*/ 52804 w 174817"/>
                        <a:gd name="connsiteY0" fmla="*/ 17257 h 206099"/>
                        <a:gd name="connsiteX1" fmla="*/ 23831 w 174817"/>
                        <a:gd name="connsiteY1" fmla="*/ 59174 h 206099"/>
                        <a:gd name="connsiteX2" fmla="*/ 0 w 174817"/>
                        <a:gd name="connsiteY2" fmla="*/ 154742 h 206099"/>
                        <a:gd name="connsiteX3" fmla="*/ 121879 w 174817"/>
                        <a:gd name="connsiteY3" fmla="*/ 206034 h 206099"/>
                        <a:gd name="connsiteX4" fmla="*/ 137787 w 174817"/>
                        <a:gd name="connsiteY4" fmla="*/ 181174 h 206099"/>
                        <a:gd name="connsiteX5" fmla="*/ 174623 w 174817"/>
                        <a:gd name="connsiteY5" fmla="*/ 68670 h 206099"/>
                        <a:gd name="connsiteX6" fmla="*/ 168332 w 174817"/>
                        <a:gd name="connsiteY6" fmla="*/ 27721 h 206099"/>
                        <a:gd name="connsiteX7" fmla="*/ 52804 w 174817"/>
                        <a:gd name="connsiteY7" fmla="*/ 17257 h 2060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74817" h="206099">
                          <a:moveTo>
                            <a:pt x="52804" y="17257"/>
                          </a:moveTo>
                          <a:cubicBezTo>
                            <a:pt x="38892" y="30201"/>
                            <a:pt x="35021" y="36068"/>
                            <a:pt x="23831" y="59174"/>
                          </a:cubicBezTo>
                          <a:cubicBezTo>
                            <a:pt x="3327" y="112462"/>
                            <a:pt x="302" y="153472"/>
                            <a:pt x="0" y="154742"/>
                          </a:cubicBezTo>
                          <a:cubicBezTo>
                            <a:pt x="1210" y="158129"/>
                            <a:pt x="24920" y="208151"/>
                            <a:pt x="121879" y="206034"/>
                          </a:cubicBezTo>
                          <a:cubicBezTo>
                            <a:pt x="127988" y="172585"/>
                            <a:pt x="137666" y="181235"/>
                            <a:pt x="137787" y="181174"/>
                          </a:cubicBezTo>
                          <a:cubicBezTo>
                            <a:pt x="137787" y="181174"/>
                            <a:pt x="167667" y="127886"/>
                            <a:pt x="174623" y="68670"/>
                          </a:cubicBezTo>
                          <a:cubicBezTo>
                            <a:pt x="176135" y="55847"/>
                            <a:pt x="168332" y="27721"/>
                            <a:pt x="168332" y="27721"/>
                          </a:cubicBezTo>
                          <a:cubicBezTo>
                            <a:pt x="164038" y="-5667"/>
                            <a:pt x="76152" y="-8570"/>
                            <a:pt x="52804" y="17257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26" name="Freihandform: Form 425">
                      <a:extLst>
                        <a:ext uri="{FF2B5EF4-FFF2-40B4-BE49-F238E27FC236}">
                          <a16:creationId xmlns:a16="http://schemas.microsoft.com/office/drawing/2014/main" id="{C44C81AD-A4BA-B470-4011-A7FB3670E7F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3920" y="3485840"/>
                      <a:ext cx="87053" cy="155308"/>
                    </a:xfrm>
                    <a:custGeom>
                      <a:avLst/>
                      <a:gdLst>
                        <a:gd name="connsiteX0" fmla="*/ 55950 w 87053"/>
                        <a:gd name="connsiteY0" fmla="*/ 4250 h 155308"/>
                        <a:gd name="connsiteX1" fmla="*/ 85043 w 87053"/>
                        <a:gd name="connsiteY1" fmla="*/ 131331 h 155308"/>
                        <a:gd name="connsiteX2" fmla="*/ 21835 w 87053"/>
                        <a:gd name="connsiteY2" fmla="*/ 146150 h 155308"/>
                        <a:gd name="connsiteX3" fmla="*/ 0 w 87053"/>
                        <a:gd name="connsiteY3" fmla="*/ 76107 h 155308"/>
                        <a:gd name="connsiteX4" fmla="*/ 55950 w 87053"/>
                        <a:gd name="connsiteY4" fmla="*/ 4190 h 15530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7053" h="155308">
                          <a:moveTo>
                            <a:pt x="55950" y="4250"/>
                          </a:moveTo>
                          <a:cubicBezTo>
                            <a:pt x="77120" y="30682"/>
                            <a:pt x="92785" y="95644"/>
                            <a:pt x="85043" y="131331"/>
                          </a:cubicBezTo>
                          <a:cubicBezTo>
                            <a:pt x="80507" y="158368"/>
                            <a:pt x="26916" y="161392"/>
                            <a:pt x="21835" y="146150"/>
                          </a:cubicBezTo>
                          <a:cubicBezTo>
                            <a:pt x="21835" y="146150"/>
                            <a:pt x="0" y="101028"/>
                            <a:pt x="0" y="76107"/>
                          </a:cubicBezTo>
                          <a:cubicBezTo>
                            <a:pt x="0" y="30924"/>
                            <a:pt x="41312" y="-14138"/>
                            <a:pt x="55950" y="4190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27" name="Freihandform: Form 426">
                      <a:extLst>
                        <a:ext uri="{FF2B5EF4-FFF2-40B4-BE49-F238E27FC236}">
                          <a16:creationId xmlns:a16="http://schemas.microsoft.com/office/drawing/2014/main" id="{3F73E6A5-8A52-DEE0-F606-2468C1C373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67523" y="3590194"/>
                      <a:ext cx="71027" cy="149944"/>
                    </a:xfrm>
                    <a:custGeom>
                      <a:avLst/>
                      <a:gdLst>
                        <a:gd name="connsiteX0" fmla="*/ 70956 w 71027"/>
                        <a:gd name="connsiteY0" fmla="*/ 29336 h 149944"/>
                        <a:gd name="connsiteX1" fmla="*/ 51722 w 71027"/>
                        <a:gd name="connsiteY1" fmla="*/ 90910 h 149944"/>
                        <a:gd name="connsiteX2" fmla="*/ 14704 w 71027"/>
                        <a:gd name="connsiteY2" fmla="*/ 149945 h 149944"/>
                        <a:gd name="connsiteX3" fmla="*/ 6 w 71027"/>
                        <a:gd name="connsiteY3" fmla="*/ 123996 h 149944"/>
                        <a:gd name="connsiteX4" fmla="*/ 16035 w 71027"/>
                        <a:gd name="connsiteY4" fmla="*/ 85346 h 149944"/>
                        <a:gd name="connsiteX5" fmla="*/ 8293 w 71027"/>
                        <a:gd name="connsiteY5" fmla="*/ 41796 h 149944"/>
                        <a:gd name="connsiteX6" fmla="*/ 34725 w 71027"/>
                        <a:gd name="connsiteY6" fmla="*/ 423 h 149944"/>
                        <a:gd name="connsiteX7" fmla="*/ 71017 w 71027"/>
                        <a:gd name="connsiteY7" fmla="*/ 29275 h 14994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71027" h="149944">
                          <a:moveTo>
                            <a:pt x="70956" y="29336"/>
                          </a:moveTo>
                          <a:lnTo>
                            <a:pt x="51722" y="90910"/>
                          </a:lnTo>
                          <a:lnTo>
                            <a:pt x="14704" y="149945"/>
                          </a:lnTo>
                          <a:cubicBezTo>
                            <a:pt x="14704" y="149945"/>
                            <a:pt x="974" y="147646"/>
                            <a:pt x="6" y="123996"/>
                          </a:cubicBezTo>
                          <a:cubicBezTo>
                            <a:pt x="-296" y="117040"/>
                            <a:pt x="10349" y="98108"/>
                            <a:pt x="16035" y="85346"/>
                          </a:cubicBezTo>
                          <a:cubicBezTo>
                            <a:pt x="16398" y="62664"/>
                            <a:pt x="8293" y="41796"/>
                            <a:pt x="8293" y="41796"/>
                          </a:cubicBezTo>
                          <a:cubicBezTo>
                            <a:pt x="8293" y="41796"/>
                            <a:pt x="10652" y="4416"/>
                            <a:pt x="34725" y="423"/>
                          </a:cubicBezTo>
                          <a:cubicBezTo>
                            <a:pt x="55895" y="-3085"/>
                            <a:pt x="71501" y="15968"/>
                            <a:pt x="71017" y="2927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28" name="Freihandform: Form 427">
                      <a:extLst>
                        <a:ext uri="{FF2B5EF4-FFF2-40B4-BE49-F238E27FC236}">
                          <a16:creationId xmlns:a16="http://schemas.microsoft.com/office/drawing/2014/main" id="{E2895B75-2F18-59DC-BD69-5D8C32CA58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78856" y="3541362"/>
                      <a:ext cx="93208" cy="118390"/>
                    </a:xfrm>
                    <a:custGeom>
                      <a:avLst/>
                      <a:gdLst>
                        <a:gd name="connsiteX0" fmla="*/ 66837 w 93208"/>
                        <a:gd name="connsiteY0" fmla="*/ 23609 h 118390"/>
                        <a:gd name="connsiteX1" fmla="*/ 37078 w 93208"/>
                        <a:gd name="connsiteY1" fmla="*/ 17198 h 118390"/>
                        <a:gd name="connsiteX2" fmla="*/ 0 w 93208"/>
                        <a:gd name="connsiteY2" fmla="*/ 74478 h 118390"/>
                        <a:gd name="connsiteX3" fmla="*/ 86374 w 93208"/>
                        <a:gd name="connsiteY3" fmla="*/ 118391 h 118390"/>
                        <a:gd name="connsiteX4" fmla="*/ 93209 w 93208"/>
                        <a:gd name="connsiteY4" fmla="*/ 103390 h 118390"/>
                        <a:gd name="connsiteX5" fmla="*/ 66837 w 93208"/>
                        <a:gd name="connsiteY5" fmla="*/ 23609 h 11839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93208" h="118390">
                          <a:moveTo>
                            <a:pt x="66837" y="23609"/>
                          </a:moveTo>
                          <a:cubicBezTo>
                            <a:pt x="69861" y="-2400"/>
                            <a:pt x="47844" y="-10263"/>
                            <a:pt x="37078" y="17198"/>
                          </a:cubicBezTo>
                          <a:cubicBezTo>
                            <a:pt x="29941" y="35344"/>
                            <a:pt x="32904" y="48711"/>
                            <a:pt x="0" y="74478"/>
                          </a:cubicBezTo>
                          <a:cubicBezTo>
                            <a:pt x="35445" y="68792"/>
                            <a:pt x="57401" y="83490"/>
                            <a:pt x="86374" y="118391"/>
                          </a:cubicBezTo>
                          <a:cubicBezTo>
                            <a:pt x="90547" y="107080"/>
                            <a:pt x="93148" y="103390"/>
                            <a:pt x="93209" y="103390"/>
                          </a:cubicBezTo>
                          <a:cubicBezTo>
                            <a:pt x="79600" y="95345"/>
                            <a:pt x="62059" y="64619"/>
                            <a:pt x="66837" y="23609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grpSp>
              <p:nvGrpSpPr>
                <p:cNvPr id="429" name="Grafik 297">
                  <a:extLst>
                    <a:ext uri="{FF2B5EF4-FFF2-40B4-BE49-F238E27FC236}">
                      <a16:creationId xmlns:a16="http://schemas.microsoft.com/office/drawing/2014/main" id="{34675A6E-D9C7-D8AC-0EE5-27AE7AE89CFD}"/>
                    </a:ext>
                  </a:extLst>
                </p:cNvPr>
                <p:cNvGrpSpPr/>
                <p:nvPr/>
              </p:nvGrpSpPr>
              <p:grpSpPr>
                <a:xfrm>
                  <a:off x="194280" y="2857225"/>
                  <a:ext cx="247629" cy="636603"/>
                  <a:chOff x="194280" y="2857225"/>
                  <a:chExt cx="247629" cy="636603"/>
                </a:xfrm>
              </p:grpSpPr>
              <p:sp>
                <p:nvSpPr>
                  <p:cNvPr id="430" name="Freihandform: Form 429">
                    <a:extLst>
                      <a:ext uri="{FF2B5EF4-FFF2-40B4-BE49-F238E27FC236}">
                        <a16:creationId xmlns:a16="http://schemas.microsoft.com/office/drawing/2014/main" id="{0FC2DA7E-7E70-61B5-37C6-DC536A77B913}"/>
                      </a:ext>
                    </a:extLst>
                  </p:cNvPr>
                  <p:cNvSpPr/>
                  <p:nvPr/>
                </p:nvSpPr>
                <p:spPr>
                  <a:xfrm>
                    <a:off x="194280" y="2955333"/>
                    <a:ext cx="244484" cy="537175"/>
                  </a:xfrm>
                  <a:custGeom>
                    <a:avLst/>
                    <a:gdLst>
                      <a:gd name="connsiteX0" fmla="*/ 0 w 244484"/>
                      <a:gd name="connsiteY0" fmla="*/ 526712 h 537175"/>
                      <a:gd name="connsiteX1" fmla="*/ 115589 w 244484"/>
                      <a:gd name="connsiteY1" fmla="*/ 537176 h 537175"/>
                      <a:gd name="connsiteX2" fmla="*/ 244484 w 244484"/>
                      <a:gd name="connsiteY2" fmla="*/ 34356 h 537175"/>
                      <a:gd name="connsiteX3" fmla="*/ 34114 w 244484"/>
                      <a:gd name="connsiteY3" fmla="*/ 0 h 537175"/>
                      <a:gd name="connsiteX4" fmla="*/ 0 w 244484"/>
                      <a:gd name="connsiteY4" fmla="*/ 526712 h 537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4484" h="537175">
                        <a:moveTo>
                          <a:pt x="0" y="526712"/>
                        </a:moveTo>
                        <a:lnTo>
                          <a:pt x="115589" y="537176"/>
                        </a:lnTo>
                        <a:lnTo>
                          <a:pt x="244484" y="34356"/>
                        </a:lnTo>
                        <a:lnTo>
                          <a:pt x="34114" y="0"/>
                        </a:lnTo>
                        <a:lnTo>
                          <a:pt x="0" y="526712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1" name="Freihandform: Form 430">
                    <a:extLst>
                      <a:ext uri="{FF2B5EF4-FFF2-40B4-BE49-F238E27FC236}">
                        <a16:creationId xmlns:a16="http://schemas.microsoft.com/office/drawing/2014/main" id="{7946848D-7B34-E8D7-BDF3-A920E41851C5}"/>
                      </a:ext>
                    </a:extLst>
                  </p:cNvPr>
                  <p:cNvSpPr/>
                  <p:nvPr/>
                </p:nvSpPr>
                <p:spPr>
                  <a:xfrm>
                    <a:off x="228032" y="2857225"/>
                    <a:ext cx="213878" cy="213878"/>
                  </a:xfrm>
                  <a:custGeom>
                    <a:avLst/>
                    <a:gdLst>
                      <a:gd name="connsiteX0" fmla="*/ 213878 w 213878"/>
                      <a:gd name="connsiteY0" fmla="*/ 106939 h 213878"/>
                      <a:gd name="connsiteX1" fmla="*/ 106939 w 213878"/>
                      <a:gd name="connsiteY1" fmla="*/ 213878 h 213878"/>
                      <a:gd name="connsiteX2" fmla="*/ 0 w 213878"/>
                      <a:gd name="connsiteY2" fmla="*/ 106939 h 213878"/>
                      <a:gd name="connsiteX3" fmla="*/ 106939 w 213878"/>
                      <a:gd name="connsiteY3" fmla="*/ 0 h 213878"/>
                      <a:gd name="connsiteX4" fmla="*/ 213878 w 213878"/>
                      <a:gd name="connsiteY4" fmla="*/ 106939 h 21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3878" h="213878">
                        <a:moveTo>
                          <a:pt x="213878" y="106939"/>
                        </a:moveTo>
                        <a:cubicBezTo>
                          <a:pt x="213878" y="166000"/>
                          <a:pt x="166000" y="213878"/>
                          <a:pt x="106939" y="213878"/>
                        </a:cubicBezTo>
                        <a:cubicBezTo>
                          <a:pt x="47878" y="213878"/>
                          <a:pt x="0" y="166000"/>
                          <a:pt x="0" y="106939"/>
                        </a:cubicBezTo>
                        <a:cubicBezTo>
                          <a:pt x="0" y="47878"/>
                          <a:pt x="47878" y="0"/>
                          <a:pt x="106939" y="0"/>
                        </a:cubicBezTo>
                        <a:cubicBezTo>
                          <a:pt x="166000" y="0"/>
                          <a:pt x="213878" y="47878"/>
                          <a:pt x="213878" y="106939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2" name="Freihandform: Form 431">
                    <a:extLst>
                      <a:ext uri="{FF2B5EF4-FFF2-40B4-BE49-F238E27FC236}">
                        <a16:creationId xmlns:a16="http://schemas.microsoft.com/office/drawing/2014/main" id="{34014B00-1BCC-908E-A72C-11134A04F520}"/>
                      </a:ext>
                    </a:extLst>
                  </p:cNvPr>
                  <p:cNvSpPr/>
                  <p:nvPr/>
                </p:nvSpPr>
                <p:spPr>
                  <a:xfrm>
                    <a:off x="194280" y="3406377"/>
                    <a:ext cx="134944" cy="87451"/>
                  </a:xfrm>
                  <a:custGeom>
                    <a:avLst/>
                    <a:gdLst>
                      <a:gd name="connsiteX0" fmla="*/ 4899 w 134944"/>
                      <a:gd name="connsiteY0" fmla="*/ 0 h 87451"/>
                      <a:gd name="connsiteX1" fmla="*/ 0 w 134944"/>
                      <a:gd name="connsiteY1" fmla="*/ 75607 h 87451"/>
                      <a:gd name="connsiteX2" fmla="*/ 115528 w 134944"/>
                      <a:gd name="connsiteY2" fmla="*/ 86071 h 87451"/>
                      <a:gd name="connsiteX3" fmla="*/ 134944 w 134944"/>
                      <a:gd name="connsiteY3" fmla="*/ 10283 h 87451"/>
                      <a:gd name="connsiteX4" fmla="*/ 4839 w 134944"/>
                      <a:gd name="connsiteY4" fmla="*/ 0 h 874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4944" h="87451">
                        <a:moveTo>
                          <a:pt x="4899" y="0"/>
                        </a:moveTo>
                        <a:lnTo>
                          <a:pt x="0" y="75607"/>
                        </a:lnTo>
                        <a:cubicBezTo>
                          <a:pt x="36655" y="86676"/>
                          <a:pt x="75305" y="89519"/>
                          <a:pt x="115528" y="86071"/>
                        </a:cubicBezTo>
                        <a:lnTo>
                          <a:pt x="134944" y="10283"/>
                        </a:lnTo>
                        <a:lnTo>
                          <a:pt x="4839" y="0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33" name="Grafik 297">
                  <a:extLst>
                    <a:ext uri="{FF2B5EF4-FFF2-40B4-BE49-F238E27FC236}">
                      <a16:creationId xmlns:a16="http://schemas.microsoft.com/office/drawing/2014/main" id="{9C0B225F-D16E-1184-465F-D45B0308871A}"/>
                    </a:ext>
                  </a:extLst>
                </p:cNvPr>
                <p:cNvGrpSpPr/>
                <p:nvPr/>
              </p:nvGrpSpPr>
              <p:grpSpPr>
                <a:xfrm>
                  <a:off x="228455" y="2290411"/>
                  <a:ext cx="494351" cy="698612"/>
                  <a:chOff x="228455" y="2290411"/>
                  <a:chExt cx="494351" cy="698612"/>
                </a:xfrm>
              </p:grpSpPr>
              <p:sp>
                <p:nvSpPr>
                  <p:cNvPr id="434" name="Freihandform: Form 433">
                    <a:extLst>
                      <a:ext uri="{FF2B5EF4-FFF2-40B4-BE49-F238E27FC236}">
                        <a16:creationId xmlns:a16="http://schemas.microsoft.com/office/drawing/2014/main" id="{6AC75045-2628-3103-5DAA-2D44DAA1D762}"/>
                      </a:ext>
                    </a:extLst>
                  </p:cNvPr>
                  <p:cNvSpPr/>
                  <p:nvPr/>
                </p:nvSpPr>
                <p:spPr>
                  <a:xfrm>
                    <a:off x="237467" y="2772000"/>
                    <a:ext cx="265472" cy="217023"/>
                  </a:xfrm>
                  <a:custGeom>
                    <a:avLst/>
                    <a:gdLst>
                      <a:gd name="connsiteX0" fmla="*/ 0 w 265472"/>
                      <a:gd name="connsiteY0" fmla="*/ 148191 h 217023"/>
                      <a:gd name="connsiteX1" fmla="*/ 201297 w 265472"/>
                      <a:gd name="connsiteY1" fmla="*/ 217024 h 217023"/>
                      <a:gd name="connsiteX2" fmla="*/ 265473 w 265472"/>
                      <a:gd name="connsiteY2" fmla="*/ 95084 h 217023"/>
                      <a:gd name="connsiteX3" fmla="*/ 65567 w 265472"/>
                      <a:gd name="connsiteY3" fmla="*/ 0 h 217023"/>
                      <a:gd name="connsiteX4" fmla="*/ 0 w 265472"/>
                      <a:gd name="connsiteY4" fmla="*/ 148191 h 2170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5472" h="217023">
                        <a:moveTo>
                          <a:pt x="0" y="148191"/>
                        </a:moveTo>
                        <a:lnTo>
                          <a:pt x="201297" y="217024"/>
                        </a:lnTo>
                        <a:lnTo>
                          <a:pt x="265473" y="95084"/>
                        </a:lnTo>
                        <a:lnTo>
                          <a:pt x="65567" y="0"/>
                        </a:lnTo>
                        <a:lnTo>
                          <a:pt x="0" y="148191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5" name="Freihandform: Form 434">
                    <a:extLst>
                      <a:ext uri="{FF2B5EF4-FFF2-40B4-BE49-F238E27FC236}">
                        <a16:creationId xmlns:a16="http://schemas.microsoft.com/office/drawing/2014/main" id="{E484419E-9962-F876-2832-8C1D11CCE5F0}"/>
                      </a:ext>
                    </a:extLst>
                  </p:cNvPr>
                  <p:cNvSpPr/>
                  <p:nvPr/>
                </p:nvSpPr>
                <p:spPr>
                  <a:xfrm>
                    <a:off x="228455" y="2356643"/>
                    <a:ext cx="479532" cy="616231"/>
                  </a:xfrm>
                  <a:custGeom>
                    <a:avLst/>
                    <a:gdLst>
                      <a:gd name="connsiteX0" fmla="*/ 213576 w 479532"/>
                      <a:gd name="connsiteY0" fmla="*/ 60 h 616231"/>
                      <a:gd name="connsiteX1" fmla="*/ 0 w 479532"/>
                      <a:gd name="connsiteY1" fmla="*/ 525321 h 616231"/>
                      <a:gd name="connsiteX2" fmla="*/ 252347 w 479532"/>
                      <a:gd name="connsiteY2" fmla="*/ 616231 h 616231"/>
                      <a:gd name="connsiteX3" fmla="*/ 479533 w 479532"/>
                      <a:gd name="connsiteY3" fmla="*/ 153574 h 616231"/>
                      <a:gd name="connsiteX4" fmla="*/ 213515 w 479532"/>
                      <a:gd name="connsiteY4" fmla="*/ 0 h 6162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79532" h="616231">
                        <a:moveTo>
                          <a:pt x="213576" y="60"/>
                        </a:moveTo>
                        <a:cubicBezTo>
                          <a:pt x="130650" y="109963"/>
                          <a:pt x="0" y="525321"/>
                          <a:pt x="0" y="525321"/>
                        </a:cubicBezTo>
                        <a:lnTo>
                          <a:pt x="252347" y="616231"/>
                        </a:lnTo>
                        <a:lnTo>
                          <a:pt x="479533" y="153574"/>
                        </a:lnTo>
                        <a:cubicBezTo>
                          <a:pt x="397272" y="103854"/>
                          <a:pt x="353359" y="77785"/>
                          <a:pt x="213515" y="0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6" name="Freihandform: Form 435">
                    <a:extLst>
                      <a:ext uri="{FF2B5EF4-FFF2-40B4-BE49-F238E27FC236}">
                        <a16:creationId xmlns:a16="http://schemas.microsoft.com/office/drawing/2014/main" id="{15F28F44-AB44-F59F-E144-8414F2D692F5}"/>
                      </a:ext>
                    </a:extLst>
                  </p:cNvPr>
                  <p:cNvSpPr/>
                  <p:nvPr/>
                </p:nvSpPr>
                <p:spPr>
                  <a:xfrm>
                    <a:off x="414570" y="2290411"/>
                    <a:ext cx="308236" cy="308236"/>
                  </a:xfrm>
                  <a:custGeom>
                    <a:avLst/>
                    <a:gdLst>
                      <a:gd name="connsiteX0" fmla="*/ 308236 w 308236"/>
                      <a:gd name="connsiteY0" fmla="*/ 154118 h 308236"/>
                      <a:gd name="connsiteX1" fmla="*/ 154118 w 308236"/>
                      <a:gd name="connsiteY1" fmla="*/ 308237 h 308236"/>
                      <a:gd name="connsiteX2" fmla="*/ 0 w 308236"/>
                      <a:gd name="connsiteY2" fmla="*/ 154118 h 308236"/>
                      <a:gd name="connsiteX3" fmla="*/ 154118 w 308236"/>
                      <a:gd name="connsiteY3" fmla="*/ 0 h 308236"/>
                      <a:gd name="connsiteX4" fmla="*/ 308236 w 308236"/>
                      <a:gd name="connsiteY4" fmla="*/ 154118 h 3082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8236" h="308236">
                        <a:moveTo>
                          <a:pt x="308236" y="154118"/>
                        </a:moveTo>
                        <a:cubicBezTo>
                          <a:pt x="308236" y="239235"/>
                          <a:pt x="239235" y="308237"/>
                          <a:pt x="154118" y="308237"/>
                        </a:cubicBezTo>
                        <a:cubicBezTo>
                          <a:pt x="69001" y="308237"/>
                          <a:pt x="0" y="239235"/>
                          <a:pt x="0" y="154118"/>
                        </a:cubicBezTo>
                        <a:cubicBezTo>
                          <a:pt x="0" y="69001"/>
                          <a:pt x="69001" y="0"/>
                          <a:pt x="154118" y="0"/>
                        </a:cubicBezTo>
                        <a:cubicBezTo>
                          <a:pt x="239235" y="0"/>
                          <a:pt x="308236" y="69001"/>
                          <a:pt x="308236" y="15411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37" name="Grafik 297">
                  <a:extLst>
                    <a:ext uri="{FF2B5EF4-FFF2-40B4-BE49-F238E27FC236}">
                      <a16:creationId xmlns:a16="http://schemas.microsoft.com/office/drawing/2014/main" id="{350E551F-2075-A471-9F9C-DA200AC653B4}"/>
                    </a:ext>
                  </a:extLst>
                </p:cNvPr>
                <p:cNvGrpSpPr/>
                <p:nvPr/>
              </p:nvGrpSpPr>
              <p:grpSpPr>
                <a:xfrm>
                  <a:off x="1011981" y="4899413"/>
                  <a:ext cx="528917" cy="254497"/>
                  <a:chOff x="1011981" y="4899413"/>
                  <a:chExt cx="528917" cy="254497"/>
                </a:xfrm>
              </p:grpSpPr>
              <p:sp>
                <p:nvSpPr>
                  <p:cNvPr id="438" name="Freihandform: Form 437">
                    <a:extLst>
                      <a:ext uri="{FF2B5EF4-FFF2-40B4-BE49-F238E27FC236}">
                        <a16:creationId xmlns:a16="http://schemas.microsoft.com/office/drawing/2014/main" id="{AC218323-0BCF-3C67-2B26-E0282E13A7E7}"/>
                      </a:ext>
                    </a:extLst>
                  </p:cNvPr>
                  <p:cNvSpPr/>
                  <p:nvPr/>
                </p:nvSpPr>
                <p:spPr>
                  <a:xfrm>
                    <a:off x="1011981" y="4899413"/>
                    <a:ext cx="527136" cy="243225"/>
                  </a:xfrm>
                  <a:custGeom>
                    <a:avLst/>
                    <a:gdLst>
                      <a:gd name="connsiteX0" fmla="*/ 14162 w 527136"/>
                      <a:gd name="connsiteY0" fmla="*/ 88430 h 243225"/>
                      <a:gd name="connsiteX1" fmla="*/ 5876 w 527136"/>
                      <a:gd name="connsiteY1" fmla="*/ 184845 h 243225"/>
                      <a:gd name="connsiteX2" fmla="*/ 25776 w 527136"/>
                      <a:gd name="connsiteY2" fmla="*/ 233778 h 243225"/>
                      <a:gd name="connsiteX3" fmla="*/ 45071 w 527136"/>
                      <a:gd name="connsiteY3" fmla="*/ 242609 h 243225"/>
                      <a:gd name="connsiteX4" fmla="*/ 505550 w 527136"/>
                      <a:gd name="connsiteY4" fmla="*/ 72281 h 243225"/>
                      <a:gd name="connsiteX5" fmla="*/ 490066 w 527136"/>
                      <a:gd name="connsiteY5" fmla="*/ 0 h 243225"/>
                      <a:gd name="connsiteX6" fmla="*/ 307822 w 527136"/>
                      <a:gd name="connsiteY6" fmla="*/ 27824 h 243225"/>
                      <a:gd name="connsiteX7" fmla="*/ 169309 w 527136"/>
                      <a:gd name="connsiteY7" fmla="*/ 18811 h 243225"/>
                      <a:gd name="connsiteX8" fmla="*/ 146506 w 527136"/>
                      <a:gd name="connsiteY8" fmla="*/ 63510 h 243225"/>
                      <a:gd name="connsiteX9" fmla="*/ 14223 w 527136"/>
                      <a:gd name="connsiteY9" fmla="*/ 88491 h 2432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527136" h="243225">
                        <a:moveTo>
                          <a:pt x="14162" y="88430"/>
                        </a:moveTo>
                        <a:cubicBezTo>
                          <a:pt x="14162" y="88430"/>
                          <a:pt x="-11121" y="138876"/>
                          <a:pt x="5876" y="184845"/>
                        </a:cubicBezTo>
                        <a:cubicBezTo>
                          <a:pt x="14646" y="208616"/>
                          <a:pt x="21360" y="224222"/>
                          <a:pt x="25776" y="233778"/>
                        </a:cubicBezTo>
                        <a:cubicBezTo>
                          <a:pt x="29163" y="241037"/>
                          <a:pt x="37329" y="244787"/>
                          <a:pt x="45071" y="242609"/>
                        </a:cubicBezTo>
                        <a:cubicBezTo>
                          <a:pt x="110819" y="223980"/>
                          <a:pt x="446516" y="134702"/>
                          <a:pt x="505550" y="72281"/>
                        </a:cubicBezTo>
                        <a:cubicBezTo>
                          <a:pt x="561923" y="12702"/>
                          <a:pt x="490066" y="0"/>
                          <a:pt x="490066" y="0"/>
                        </a:cubicBezTo>
                        <a:cubicBezTo>
                          <a:pt x="490066" y="0"/>
                          <a:pt x="389599" y="46454"/>
                          <a:pt x="307822" y="27824"/>
                        </a:cubicBezTo>
                        <a:cubicBezTo>
                          <a:pt x="234997" y="11251"/>
                          <a:pt x="178926" y="11614"/>
                          <a:pt x="169309" y="18811"/>
                        </a:cubicBezTo>
                        <a:cubicBezTo>
                          <a:pt x="159692" y="26009"/>
                          <a:pt x="161506" y="44336"/>
                          <a:pt x="146506" y="63510"/>
                        </a:cubicBezTo>
                        <a:cubicBezTo>
                          <a:pt x="131505" y="82685"/>
                          <a:pt x="23840" y="79963"/>
                          <a:pt x="14223" y="88491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9" name="Freihandform: Form 438">
                    <a:extLst>
                      <a:ext uri="{FF2B5EF4-FFF2-40B4-BE49-F238E27FC236}">
                        <a16:creationId xmlns:a16="http://schemas.microsoft.com/office/drawing/2014/main" id="{DAFD54A2-D098-ECCA-3B3B-C138E65B8743}"/>
                      </a:ext>
                    </a:extLst>
                  </p:cNvPr>
                  <p:cNvSpPr/>
                  <p:nvPr/>
                </p:nvSpPr>
                <p:spPr>
                  <a:xfrm>
                    <a:off x="1023059" y="4902195"/>
                    <a:ext cx="517840" cy="251715"/>
                  </a:xfrm>
                  <a:custGeom>
                    <a:avLst/>
                    <a:gdLst>
                      <a:gd name="connsiteX0" fmla="*/ 37380 w 517840"/>
                      <a:gd name="connsiteY0" fmla="*/ 251077 h 251715"/>
                      <a:gd name="connsiteX1" fmla="*/ 432596 w 517840"/>
                      <a:gd name="connsiteY1" fmla="*/ 120004 h 251715"/>
                      <a:gd name="connsiteX2" fmla="*/ 496469 w 517840"/>
                      <a:gd name="connsiteY2" fmla="*/ 74761 h 251715"/>
                      <a:gd name="connsiteX3" fmla="*/ 489694 w 517840"/>
                      <a:gd name="connsiteY3" fmla="*/ 0 h 251715"/>
                      <a:gd name="connsiteX4" fmla="*/ 474149 w 517840"/>
                      <a:gd name="connsiteY4" fmla="*/ 33146 h 251715"/>
                      <a:gd name="connsiteX5" fmla="*/ 0 w 517840"/>
                      <a:gd name="connsiteY5" fmla="*/ 196035 h 251715"/>
                      <a:gd name="connsiteX6" fmla="*/ 17964 w 517840"/>
                      <a:gd name="connsiteY6" fmla="*/ 242186 h 251715"/>
                      <a:gd name="connsiteX7" fmla="*/ 37320 w 517840"/>
                      <a:gd name="connsiteY7" fmla="*/ 251077 h 2517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17840" h="251715">
                        <a:moveTo>
                          <a:pt x="37380" y="251077"/>
                        </a:moveTo>
                        <a:cubicBezTo>
                          <a:pt x="38832" y="250654"/>
                          <a:pt x="431386" y="120609"/>
                          <a:pt x="432596" y="120004"/>
                        </a:cubicBezTo>
                        <a:cubicBezTo>
                          <a:pt x="466407" y="105004"/>
                          <a:pt x="484734" y="87221"/>
                          <a:pt x="496469" y="74761"/>
                        </a:cubicBezTo>
                        <a:cubicBezTo>
                          <a:pt x="538688" y="30122"/>
                          <a:pt x="508506" y="4234"/>
                          <a:pt x="489694" y="0"/>
                        </a:cubicBezTo>
                        <a:cubicBezTo>
                          <a:pt x="486428" y="7319"/>
                          <a:pt x="483283" y="23469"/>
                          <a:pt x="474149" y="33146"/>
                        </a:cubicBezTo>
                        <a:cubicBezTo>
                          <a:pt x="411788" y="99076"/>
                          <a:pt x="41856" y="185631"/>
                          <a:pt x="0" y="196035"/>
                        </a:cubicBezTo>
                        <a:cubicBezTo>
                          <a:pt x="7621" y="216298"/>
                          <a:pt x="13972" y="233476"/>
                          <a:pt x="17964" y="242186"/>
                        </a:cubicBezTo>
                        <a:cubicBezTo>
                          <a:pt x="21352" y="249505"/>
                          <a:pt x="29517" y="253315"/>
                          <a:pt x="37320" y="251077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40" name="Grafik 297">
                  <a:extLst>
                    <a:ext uri="{FF2B5EF4-FFF2-40B4-BE49-F238E27FC236}">
                      <a16:creationId xmlns:a16="http://schemas.microsoft.com/office/drawing/2014/main" id="{18743901-C8B4-CA59-1F5C-C158022821E7}"/>
                    </a:ext>
                  </a:extLst>
                </p:cNvPr>
                <p:cNvGrpSpPr/>
                <p:nvPr/>
              </p:nvGrpSpPr>
              <p:grpSpPr>
                <a:xfrm>
                  <a:off x="741194" y="4087994"/>
                  <a:ext cx="551329" cy="969001"/>
                  <a:chOff x="741194" y="4087994"/>
                  <a:chExt cx="551329" cy="969001"/>
                </a:xfrm>
                <a:solidFill>
                  <a:srgbClr val="02787D"/>
                </a:solidFill>
              </p:grpSpPr>
              <p:sp>
                <p:nvSpPr>
                  <p:cNvPr id="441" name="Freihandform: Form 440">
                    <a:extLst>
                      <a:ext uri="{FF2B5EF4-FFF2-40B4-BE49-F238E27FC236}">
                        <a16:creationId xmlns:a16="http://schemas.microsoft.com/office/drawing/2014/main" id="{EDD8BBA0-D9F3-780E-7AB4-2B3BFC3F9537}"/>
                      </a:ext>
                    </a:extLst>
                  </p:cNvPr>
                  <p:cNvSpPr/>
                  <p:nvPr/>
                </p:nvSpPr>
                <p:spPr>
                  <a:xfrm>
                    <a:off x="753352" y="4197221"/>
                    <a:ext cx="539171" cy="859774"/>
                  </a:xfrm>
                  <a:custGeom>
                    <a:avLst/>
                    <a:gdLst>
                      <a:gd name="connsiteX0" fmla="*/ 258638 w 539171"/>
                      <a:gd name="connsiteY0" fmla="*/ 859637 h 859774"/>
                      <a:gd name="connsiteX1" fmla="*/ 539172 w 539171"/>
                      <a:gd name="connsiteY1" fmla="*/ 728141 h 859774"/>
                      <a:gd name="connsiteX2" fmla="*/ 437253 w 539171"/>
                      <a:gd name="connsiteY2" fmla="*/ 484685 h 859774"/>
                      <a:gd name="connsiteX3" fmla="*/ 309930 w 539171"/>
                      <a:gd name="connsiteY3" fmla="*/ 10535 h 859774"/>
                      <a:gd name="connsiteX4" fmla="*/ 0 w 539171"/>
                      <a:gd name="connsiteY4" fmla="*/ 117172 h 859774"/>
                      <a:gd name="connsiteX5" fmla="*/ 169905 w 539171"/>
                      <a:gd name="connsiteY5" fmla="*/ 715257 h 859774"/>
                      <a:gd name="connsiteX6" fmla="*/ 258638 w 539171"/>
                      <a:gd name="connsiteY6" fmla="*/ 859637 h 8597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39171" h="859774">
                        <a:moveTo>
                          <a:pt x="258638" y="859637"/>
                        </a:moveTo>
                        <a:lnTo>
                          <a:pt x="539172" y="728141"/>
                        </a:lnTo>
                        <a:cubicBezTo>
                          <a:pt x="539172" y="728141"/>
                          <a:pt x="448685" y="518133"/>
                          <a:pt x="437253" y="484685"/>
                        </a:cubicBezTo>
                        <a:cubicBezTo>
                          <a:pt x="425821" y="451236"/>
                          <a:pt x="309930" y="10535"/>
                          <a:pt x="309930" y="10535"/>
                        </a:cubicBezTo>
                        <a:cubicBezTo>
                          <a:pt x="194099" y="-20676"/>
                          <a:pt x="72160" y="18217"/>
                          <a:pt x="0" y="117172"/>
                        </a:cubicBezTo>
                        <a:cubicBezTo>
                          <a:pt x="26372" y="349740"/>
                          <a:pt x="140327" y="605535"/>
                          <a:pt x="169905" y="715257"/>
                        </a:cubicBezTo>
                        <a:cubicBezTo>
                          <a:pt x="187930" y="782276"/>
                          <a:pt x="222407" y="863569"/>
                          <a:pt x="258638" y="859637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2" name="Freihandform: Form 441">
                    <a:extLst>
                      <a:ext uri="{FF2B5EF4-FFF2-40B4-BE49-F238E27FC236}">
                        <a16:creationId xmlns:a16="http://schemas.microsoft.com/office/drawing/2014/main" id="{691B106E-B2F2-4620-A188-DBEC1AF28681}"/>
                      </a:ext>
                    </a:extLst>
                  </p:cNvPr>
                  <p:cNvSpPr/>
                  <p:nvPr/>
                </p:nvSpPr>
                <p:spPr>
                  <a:xfrm>
                    <a:off x="741194" y="4087994"/>
                    <a:ext cx="328196" cy="328196"/>
                  </a:xfrm>
                  <a:custGeom>
                    <a:avLst/>
                    <a:gdLst>
                      <a:gd name="connsiteX0" fmla="*/ 328197 w 328196"/>
                      <a:gd name="connsiteY0" fmla="*/ 164098 h 328196"/>
                      <a:gd name="connsiteX1" fmla="*/ 164098 w 328196"/>
                      <a:gd name="connsiteY1" fmla="*/ 328197 h 328196"/>
                      <a:gd name="connsiteX2" fmla="*/ 0 w 328196"/>
                      <a:gd name="connsiteY2" fmla="*/ 164098 h 328196"/>
                      <a:gd name="connsiteX3" fmla="*/ 164098 w 328196"/>
                      <a:gd name="connsiteY3" fmla="*/ 0 h 328196"/>
                      <a:gd name="connsiteX4" fmla="*/ 328197 w 328196"/>
                      <a:gd name="connsiteY4" fmla="*/ 164098 h 3281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8196" h="328196">
                        <a:moveTo>
                          <a:pt x="328197" y="164098"/>
                        </a:moveTo>
                        <a:cubicBezTo>
                          <a:pt x="328197" y="254727"/>
                          <a:pt x="254727" y="328197"/>
                          <a:pt x="164098" y="328197"/>
                        </a:cubicBezTo>
                        <a:cubicBezTo>
                          <a:pt x="73469" y="328197"/>
                          <a:pt x="0" y="254727"/>
                          <a:pt x="0" y="164098"/>
                        </a:cubicBezTo>
                        <a:cubicBezTo>
                          <a:pt x="0" y="73469"/>
                          <a:pt x="73469" y="0"/>
                          <a:pt x="164098" y="0"/>
                        </a:cubicBezTo>
                        <a:cubicBezTo>
                          <a:pt x="254727" y="0"/>
                          <a:pt x="328197" y="73469"/>
                          <a:pt x="328197" y="16409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43" name="Grafik 297">
                  <a:extLst>
                    <a:ext uri="{FF2B5EF4-FFF2-40B4-BE49-F238E27FC236}">
                      <a16:creationId xmlns:a16="http://schemas.microsoft.com/office/drawing/2014/main" id="{7F182C8F-B976-6A77-380B-3E0A6BAA7389}"/>
                    </a:ext>
                  </a:extLst>
                </p:cNvPr>
                <p:cNvGrpSpPr/>
                <p:nvPr/>
              </p:nvGrpSpPr>
              <p:grpSpPr>
                <a:xfrm>
                  <a:off x="415417" y="3058220"/>
                  <a:ext cx="647865" cy="1260991"/>
                  <a:chOff x="415417" y="3058220"/>
                  <a:chExt cx="647865" cy="1260991"/>
                </a:xfrm>
                <a:solidFill>
                  <a:srgbClr val="02787D"/>
                </a:solidFill>
              </p:grpSpPr>
              <p:sp>
                <p:nvSpPr>
                  <p:cNvPr id="444" name="Freihandform: Form 443">
                    <a:extLst>
                      <a:ext uri="{FF2B5EF4-FFF2-40B4-BE49-F238E27FC236}">
                        <a16:creationId xmlns:a16="http://schemas.microsoft.com/office/drawing/2014/main" id="{EB0DE10F-920D-C1D0-C328-3B039D26F312}"/>
                      </a:ext>
                    </a:extLst>
                  </p:cNvPr>
                  <p:cNvSpPr/>
                  <p:nvPr/>
                </p:nvSpPr>
                <p:spPr>
                  <a:xfrm>
                    <a:off x="422857" y="3262239"/>
                    <a:ext cx="640425" cy="1056972"/>
                  </a:xfrm>
                  <a:custGeom>
                    <a:avLst/>
                    <a:gdLst>
                      <a:gd name="connsiteX0" fmla="*/ 60 w 640425"/>
                      <a:gd name="connsiteY0" fmla="*/ 100588 h 1056972"/>
                      <a:gd name="connsiteX1" fmla="*/ 478021 w 640425"/>
                      <a:gd name="connsiteY1" fmla="*/ 0 h 1056972"/>
                      <a:gd name="connsiteX2" fmla="*/ 559616 w 640425"/>
                      <a:gd name="connsiteY2" fmla="*/ 405861 h 1056972"/>
                      <a:gd name="connsiteX3" fmla="*/ 640425 w 640425"/>
                      <a:gd name="connsiteY3" fmla="*/ 945517 h 1056972"/>
                      <a:gd name="connsiteX4" fmla="*/ 330616 w 640425"/>
                      <a:gd name="connsiteY4" fmla="*/ 1052396 h 1056972"/>
                      <a:gd name="connsiteX5" fmla="*/ 0 w 640425"/>
                      <a:gd name="connsiteY5" fmla="*/ 100588 h 10569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40425" h="1056972">
                        <a:moveTo>
                          <a:pt x="60" y="100588"/>
                        </a:moveTo>
                        <a:cubicBezTo>
                          <a:pt x="6049" y="100588"/>
                          <a:pt x="478021" y="0"/>
                          <a:pt x="478021" y="0"/>
                        </a:cubicBezTo>
                        <a:cubicBezTo>
                          <a:pt x="478021" y="0"/>
                          <a:pt x="539837" y="303216"/>
                          <a:pt x="559616" y="405861"/>
                        </a:cubicBezTo>
                        <a:cubicBezTo>
                          <a:pt x="635466" y="799141"/>
                          <a:pt x="640425" y="945517"/>
                          <a:pt x="640425" y="945517"/>
                        </a:cubicBezTo>
                        <a:cubicBezTo>
                          <a:pt x="558043" y="1025600"/>
                          <a:pt x="438765" y="1072295"/>
                          <a:pt x="330616" y="1052396"/>
                        </a:cubicBezTo>
                        <a:cubicBezTo>
                          <a:pt x="265654" y="932149"/>
                          <a:pt x="64055" y="315555"/>
                          <a:pt x="0" y="10058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5" name="Freihandform: Form 444">
                    <a:extLst>
                      <a:ext uri="{FF2B5EF4-FFF2-40B4-BE49-F238E27FC236}">
                        <a16:creationId xmlns:a16="http://schemas.microsoft.com/office/drawing/2014/main" id="{DDAC25BC-8211-019E-7578-D3B500E8CE3A}"/>
                      </a:ext>
                    </a:extLst>
                  </p:cNvPr>
                  <p:cNvSpPr/>
                  <p:nvPr/>
                </p:nvSpPr>
                <p:spPr>
                  <a:xfrm>
                    <a:off x="415417" y="3058220"/>
                    <a:ext cx="488847" cy="488847"/>
                  </a:xfrm>
                  <a:custGeom>
                    <a:avLst/>
                    <a:gdLst>
                      <a:gd name="connsiteX0" fmla="*/ 488848 w 488847"/>
                      <a:gd name="connsiteY0" fmla="*/ 244424 h 488847"/>
                      <a:gd name="connsiteX1" fmla="*/ 244424 w 488847"/>
                      <a:gd name="connsiteY1" fmla="*/ 488848 h 488847"/>
                      <a:gd name="connsiteX2" fmla="*/ 0 w 488847"/>
                      <a:gd name="connsiteY2" fmla="*/ 244424 h 488847"/>
                      <a:gd name="connsiteX3" fmla="*/ 244424 w 488847"/>
                      <a:gd name="connsiteY3" fmla="*/ 0 h 488847"/>
                      <a:gd name="connsiteX4" fmla="*/ 488848 w 488847"/>
                      <a:gd name="connsiteY4" fmla="*/ 244424 h 4888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88847" h="488847">
                        <a:moveTo>
                          <a:pt x="488848" y="244424"/>
                        </a:moveTo>
                        <a:cubicBezTo>
                          <a:pt x="488848" y="379415"/>
                          <a:pt x="379415" y="488848"/>
                          <a:pt x="244424" y="488848"/>
                        </a:cubicBezTo>
                        <a:cubicBezTo>
                          <a:pt x="109432" y="488848"/>
                          <a:pt x="0" y="379415"/>
                          <a:pt x="0" y="244424"/>
                        </a:cubicBezTo>
                        <a:cubicBezTo>
                          <a:pt x="0" y="109432"/>
                          <a:pt x="109432" y="0"/>
                          <a:pt x="244424" y="0"/>
                        </a:cubicBezTo>
                        <a:cubicBezTo>
                          <a:pt x="379415" y="0"/>
                          <a:pt x="488848" y="109432"/>
                          <a:pt x="488848" y="244424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46" name="Grafik 297">
                  <a:extLst>
                    <a:ext uri="{FF2B5EF4-FFF2-40B4-BE49-F238E27FC236}">
                      <a16:creationId xmlns:a16="http://schemas.microsoft.com/office/drawing/2014/main" id="{85BF5121-1219-0FC2-7ED8-15976E2A0E1C}"/>
                    </a:ext>
                  </a:extLst>
                </p:cNvPr>
                <p:cNvGrpSpPr/>
                <p:nvPr/>
              </p:nvGrpSpPr>
              <p:grpSpPr>
                <a:xfrm>
                  <a:off x="48" y="4970823"/>
                  <a:ext cx="543691" cy="226344"/>
                  <a:chOff x="48" y="4970823"/>
                  <a:chExt cx="543691" cy="226344"/>
                </a:xfrm>
              </p:grpSpPr>
              <p:sp>
                <p:nvSpPr>
                  <p:cNvPr id="447" name="Freihandform: Form 446">
                    <a:extLst>
                      <a:ext uri="{FF2B5EF4-FFF2-40B4-BE49-F238E27FC236}">
                        <a16:creationId xmlns:a16="http://schemas.microsoft.com/office/drawing/2014/main" id="{95E220C9-A200-AF2C-3BB6-222A2991B0DB}"/>
                      </a:ext>
                    </a:extLst>
                  </p:cNvPr>
                  <p:cNvSpPr/>
                  <p:nvPr/>
                </p:nvSpPr>
                <p:spPr>
                  <a:xfrm>
                    <a:off x="2105" y="4970823"/>
                    <a:ext cx="540897" cy="215866"/>
                  </a:xfrm>
                  <a:custGeom>
                    <a:avLst/>
                    <a:gdLst>
                      <a:gd name="connsiteX0" fmla="*/ 55780 w 540897"/>
                      <a:gd name="connsiteY0" fmla="*/ 23 h 215866"/>
                      <a:gd name="connsiteX1" fmla="*/ 4548 w 540897"/>
                      <a:gd name="connsiteY1" fmla="*/ 82163 h 215866"/>
                      <a:gd name="connsiteX2" fmla="*/ 12 w 540897"/>
                      <a:gd name="connsiteY2" fmla="*/ 134786 h 215866"/>
                      <a:gd name="connsiteX3" fmla="*/ 13198 w 540897"/>
                      <a:gd name="connsiteY3" fmla="*/ 151420 h 215866"/>
                      <a:gd name="connsiteX4" fmla="*/ 500775 w 540897"/>
                      <a:gd name="connsiteY4" fmla="*/ 209244 h 215866"/>
                      <a:gd name="connsiteX5" fmla="*/ 519889 w 540897"/>
                      <a:gd name="connsiteY5" fmla="*/ 137810 h 215866"/>
                      <a:gd name="connsiteX6" fmla="*/ 344903 w 540897"/>
                      <a:gd name="connsiteY6" fmla="*/ 79683 h 215866"/>
                      <a:gd name="connsiteX7" fmla="*/ 225685 w 540897"/>
                      <a:gd name="connsiteY7" fmla="*/ 8612 h 215866"/>
                      <a:gd name="connsiteX8" fmla="*/ 185038 w 540897"/>
                      <a:gd name="connsiteY8" fmla="*/ 38069 h 215866"/>
                      <a:gd name="connsiteX9" fmla="*/ 55901 w 540897"/>
                      <a:gd name="connsiteY9" fmla="*/ 144 h 2158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540897" h="215866">
                        <a:moveTo>
                          <a:pt x="55780" y="23"/>
                        </a:moveTo>
                        <a:cubicBezTo>
                          <a:pt x="55780" y="23"/>
                          <a:pt x="10294" y="33472"/>
                          <a:pt x="4548" y="82163"/>
                        </a:cubicBezTo>
                        <a:cubicBezTo>
                          <a:pt x="1524" y="107386"/>
                          <a:pt x="435" y="124322"/>
                          <a:pt x="12" y="134786"/>
                        </a:cubicBezTo>
                        <a:cubicBezTo>
                          <a:pt x="-291" y="142831"/>
                          <a:pt x="5274" y="149847"/>
                          <a:pt x="13198" y="151420"/>
                        </a:cubicBezTo>
                        <a:cubicBezTo>
                          <a:pt x="80216" y="164727"/>
                          <a:pt x="419784" y="237975"/>
                          <a:pt x="500775" y="209244"/>
                        </a:cubicBezTo>
                        <a:cubicBezTo>
                          <a:pt x="578076" y="181844"/>
                          <a:pt x="519889" y="137810"/>
                          <a:pt x="519889" y="137810"/>
                        </a:cubicBezTo>
                        <a:cubicBezTo>
                          <a:pt x="519889" y="137810"/>
                          <a:pt x="409260" y="133455"/>
                          <a:pt x="344903" y="79683"/>
                        </a:cubicBezTo>
                        <a:cubicBezTo>
                          <a:pt x="287623" y="31778"/>
                          <a:pt x="237480" y="6616"/>
                          <a:pt x="225685" y="8612"/>
                        </a:cubicBezTo>
                        <a:cubicBezTo>
                          <a:pt x="213830" y="10608"/>
                          <a:pt x="207116" y="27786"/>
                          <a:pt x="185038" y="38069"/>
                        </a:cubicBezTo>
                        <a:cubicBezTo>
                          <a:pt x="162961" y="48352"/>
                          <a:pt x="68361" y="-3061"/>
                          <a:pt x="55901" y="144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8" name="Freihandform: Form 447">
                    <a:extLst>
                      <a:ext uri="{FF2B5EF4-FFF2-40B4-BE49-F238E27FC236}">
                        <a16:creationId xmlns:a16="http://schemas.microsoft.com/office/drawing/2014/main" id="{01D95072-F151-5EFE-80A1-7E55AFDA9254}"/>
                      </a:ext>
                    </a:extLst>
                  </p:cNvPr>
                  <p:cNvSpPr/>
                  <p:nvPr/>
                </p:nvSpPr>
                <p:spPr>
                  <a:xfrm>
                    <a:off x="48" y="5067745"/>
                    <a:ext cx="543691" cy="129422"/>
                  </a:xfrm>
                  <a:custGeom>
                    <a:avLst/>
                    <a:gdLst>
                      <a:gd name="connsiteX0" fmla="*/ 13137 w 543691"/>
                      <a:gd name="connsiteY0" fmla="*/ 65990 h 129422"/>
                      <a:gd name="connsiteX1" fmla="*/ 424744 w 543691"/>
                      <a:gd name="connsiteY1" fmla="*/ 129077 h 129422"/>
                      <a:gd name="connsiteX2" fmla="*/ 502227 w 543691"/>
                      <a:gd name="connsiteY2" fmla="*/ 117887 h 129422"/>
                      <a:gd name="connsiteX3" fmla="*/ 530232 w 543691"/>
                      <a:gd name="connsiteY3" fmla="*/ 48208 h 129422"/>
                      <a:gd name="connsiteX4" fmla="*/ 501319 w 543691"/>
                      <a:gd name="connsiteY4" fmla="*/ 70648 h 129422"/>
                      <a:gd name="connsiteX5" fmla="*/ 4972 w 543691"/>
                      <a:gd name="connsiteY5" fmla="*/ 0 h 129422"/>
                      <a:gd name="connsiteX6" fmla="*/ 12 w 543691"/>
                      <a:gd name="connsiteY6" fmla="*/ 49236 h 129422"/>
                      <a:gd name="connsiteX7" fmla="*/ 13198 w 543691"/>
                      <a:gd name="connsiteY7" fmla="*/ 65930 h 129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43691" h="129422">
                        <a:moveTo>
                          <a:pt x="13137" y="65990"/>
                        </a:moveTo>
                        <a:cubicBezTo>
                          <a:pt x="14649" y="66293"/>
                          <a:pt x="423353" y="129017"/>
                          <a:pt x="424744" y="129077"/>
                        </a:cubicBezTo>
                        <a:cubicBezTo>
                          <a:pt x="461701" y="131134"/>
                          <a:pt x="486077" y="123573"/>
                          <a:pt x="502227" y="117887"/>
                        </a:cubicBezTo>
                        <a:cubicBezTo>
                          <a:pt x="560112" y="97322"/>
                          <a:pt x="544990" y="60547"/>
                          <a:pt x="530232" y="48208"/>
                        </a:cubicBezTo>
                        <a:cubicBezTo>
                          <a:pt x="524002" y="53228"/>
                          <a:pt x="513840" y="66232"/>
                          <a:pt x="501319" y="70648"/>
                        </a:cubicBezTo>
                        <a:cubicBezTo>
                          <a:pt x="415792" y="101012"/>
                          <a:pt x="46949" y="9799"/>
                          <a:pt x="4972" y="0"/>
                        </a:cubicBezTo>
                        <a:cubicBezTo>
                          <a:pt x="2552" y="21533"/>
                          <a:pt x="375" y="39679"/>
                          <a:pt x="12" y="49236"/>
                        </a:cubicBezTo>
                        <a:cubicBezTo>
                          <a:pt x="-291" y="57280"/>
                          <a:pt x="5274" y="64357"/>
                          <a:pt x="13198" y="65930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49" name="Grafik 297">
                  <a:extLst>
                    <a:ext uri="{FF2B5EF4-FFF2-40B4-BE49-F238E27FC236}">
                      <a16:creationId xmlns:a16="http://schemas.microsoft.com/office/drawing/2014/main" id="{5F0F7808-B71B-9E72-7695-B30E90208A80}"/>
                    </a:ext>
                  </a:extLst>
                </p:cNvPr>
                <p:cNvGrpSpPr/>
                <p:nvPr/>
              </p:nvGrpSpPr>
              <p:grpSpPr>
                <a:xfrm>
                  <a:off x="16751" y="4091502"/>
                  <a:ext cx="531069" cy="960275"/>
                  <a:chOff x="16751" y="4091502"/>
                  <a:chExt cx="531069" cy="960275"/>
                </a:xfrm>
                <a:solidFill>
                  <a:srgbClr val="009999"/>
                </a:solidFill>
              </p:grpSpPr>
              <p:sp>
                <p:nvSpPr>
                  <p:cNvPr id="450" name="Freihandform: Form 449">
                    <a:extLst>
                      <a:ext uri="{FF2B5EF4-FFF2-40B4-BE49-F238E27FC236}">
                        <a16:creationId xmlns:a16="http://schemas.microsoft.com/office/drawing/2014/main" id="{68E79449-6B33-494D-9AA3-ABA12D527170}"/>
                      </a:ext>
                    </a:extLst>
                  </p:cNvPr>
                  <p:cNvSpPr/>
                  <p:nvPr/>
                </p:nvSpPr>
                <p:spPr>
                  <a:xfrm>
                    <a:off x="16751" y="4199963"/>
                    <a:ext cx="525868" cy="851813"/>
                  </a:xfrm>
                  <a:custGeom>
                    <a:avLst/>
                    <a:gdLst>
                      <a:gd name="connsiteX0" fmla="*/ 206926 w 525868"/>
                      <a:gd name="connsiteY0" fmla="*/ 20132 h 851813"/>
                      <a:gd name="connsiteX1" fmla="*/ 29944 w 525868"/>
                      <a:gd name="connsiteY1" fmla="*/ 616221 h 851813"/>
                      <a:gd name="connsiteX2" fmla="*/ 9802 w 525868"/>
                      <a:gd name="connsiteY2" fmla="*/ 803788 h 851813"/>
                      <a:gd name="connsiteX3" fmla="*/ 331406 w 525868"/>
                      <a:gd name="connsiteY3" fmla="*/ 851814 h 851813"/>
                      <a:gd name="connsiteX4" fmla="*/ 384634 w 525868"/>
                      <a:gd name="connsiteY4" fmla="*/ 568498 h 851813"/>
                      <a:gd name="connsiteX5" fmla="*/ 525868 w 525868"/>
                      <a:gd name="connsiteY5" fmla="*/ 96042 h 851813"/>
                      <a:gd name="connsiteX6" fmla="*/ 206926 w 525868"/>
                      <a:gd name="connsiteY6" fmla="*/ 20071 h 8518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25868" h="851813">
                        <a:moveTo>
                          <a:pt x="206926" y="20132"/>
                        </a:moveTo>
                        <a:cubicBezTo>
                          <a:pt x="104463" y="230623"/>
                          <a:pt x="63816" y="507770"/>
                          <a:pt x="29944" y="616221"/>
                        </a:cubicBezTo>
                        <a:cubicBezTo>
                          <a:pt x="9258" y="682453"/>
                          <a:pt x="-13425" y="774271"/>
                          <a:pt x="9802" y="803788"/>
                        </a:cubicBezTo>
                        <a:lnTo>
                          <a:pt x="331406" y="851814"/>
                        </a:lnTo>
                        <a:cubicBezTo>
                          <a:pt x="331406" y="851814"/>
                          <a:pt x="365762" y="636605"/>
                          <a:pt x="384634" y="568498"/>
                        </a:cubicBezTo>
                        <a:cubicBezTo>
                          <a:pt x="394069" y="534383"/>
                          <a:pt x="525868" y="96042"/>
                          <a:pt x="525868" y="96042"/>
                        </a:cubicBezTo>
                        <a:cubicBezTo>
                          <a:pt x="444817" y="7611"/>
                          <a:pt x="320881" y="-24749"/>
                          <a:pt x="206926" y="20071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1" name="Freihandform: Form 450">
                    <a:extLst>
                      <a:ext uri="{FF2B5EF4-FFF2-40B4-BE49-F238E27FC236}">
                        <a16:creationId xmlns:a16="http://schemas.microsoft.com/office/drawing/2014/main" id="{AB53CBC1-70F3-D340-4B31-2F7100F6B540}"/>
                      </a:ext>
                    </a:extLst>
                  </p:cNvPr>
                  <p:cNvSpPr/>
                  <p:nvPr/>
                </p:nvSpPr>
                <p:spPr>
                  <a:xfrm>
                    <a:off x="220350" y="4091502"/>
                    <a:ext cx="327470" cy="327471"/>
                  </a:xfrm>
                  <a:custGeom>
                    <a:avLst/>
                    <a:gdLst>
                      <a:gd name="connsiteX0" fmla="*/ 327471 w 327470"/>
                      <a:gd name="connsiteY0" fmla="*/ 163736 h 327471"/>
                      <a:gd name="connsiteX1" fmla="*/ 163735 w 327470"/>
                      <a:gd name="connsiteY1" fmla="*/ 327471 h 327471"/>
                      <a:gd name="connsiteX2" fmla="*/ 0 w 327470"/>
                      <a:gd name="connsiteY2" fmla="*/ 163736 h 327471"/>
                      <a:gd name="connsiteX3" fmla="*/ 163735 w 327470"/>
                      <a:gd name="connsiteY3" fmla="*/ 0 h 327471"/>
                      <a:gd name="connsiteX4" fmla="*/ 327471 w 327470"/>
                      <a:gd name="connsiteY4" fmla="*/ 163736 h 3274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7470" h="327471">
                        <a:moveTo>
                          <a:pt x="327471" y="163736"/>
                        </a:moveTo>
                        <a:cubicBezTo>
                          <a:pt x="327471" y="254164"/>
                          <a:pt x="254164" y="327471"/>
                          <a:pt x="163735" y="327471"/>
                        </a:cubicBezTo>
                        <a:cubicBezTo>
                          <a:pt x="73307" y="327471"/>
                          <a:pt x="0" y="254164"/>
                          <a:pt x="0" y="163736"/>
                        </a:cubicBezTo>
                        <a:cubicBezTo>
                          <a:pt x="0" y="73307"/>
                          <a:pt x="73307" y="0"/>
                          <a:pt x="163735" y="0"/>
                        </a:cubicBezTo>
                        <a:cubicBezTo>
                          <a:pt x="254164" y="0"/>
                          <a:pt x="327471" y="73307"/>
                          <a:pt x="327471" y="16373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52" name="Grafik 297">
                  <a:extLst>
                    <a:ext uri="{FF2B5EF4-FFF2-40B4-BE49-F238E27FC236}">
                      <a16:creationId xmlns:a16="http://schemas.microsoft.com/office/drawing/2014/main" id="{0A337FE6-24E1-C424-CAF3-EF8A0CCBBCCE}"/>
                    </a:ext>
                  </a:extLst>
                </p:cNvPr>
                <p:cNvGrpSpPr/>
                <p:nvPr/>
              </p:nvGrpSpPr>
              <p:grpSpPr>
                <a:xfrm>
                  <a:off x="223798" y="3058220"/>
                  <a:ext cx="680467" cy="1246379"/>
                  <a:chOff x="223798" y="3058220"/>
                  <a:chExt cx="680467" cy="1246379"/>
                </a:xfrm>
              </p:grpSpPr>
              <p:sp>
                <p:nvSpPr>
                  <p:cNvPr id="453" name="Freihandform: Form 452">
                    <a:extLst>
                      <a:ext uri="{FF2B5EF4-FFF2-40B4-BE49-F238E27FC236}">
                        <a16:creationId xmlns:a16="http://schemas.microsoft.com/office/drawing/2014/main" id="{04445AE5-9D29-2DCC-AF0C-C737E4A478A8}"/>
                      </a:ext>
                    </a:extLst>
                  </p:cNvPr>
                  <p:cNvSpPr/>
                  <p:nvPr/>
                </p:nvSpPr>
                <p:spPr>
                  <a:xfrm>
                    <a:off x="415417" y="3058220"/>
                    <a:ext cx="488847" cy="488847"/>
                  </a:xfrm>
                  <a:custGeom>
                    <a:avLst/>
                    <a:gdLst>
                      <a:gd name="connsiteX0" fmla="*/ 488848 w 488847"/>
                      <a:gd name="connsiteY0" fmla="*/ 244424 h 488847"/>
                      <a:gd name="connsiteX1" fmla="*/ 244424 w 488847"/>
                      <a:gd name="connsiteY1" fmla="*/ 488848 h 488847"/>
                      <a:gd name="connsiteX2" fmla="*/ 0 w 488847"/>
                      <a:gd name="connsiteY2" fmla="*/ 244424 h 488847"/>
                      <a:gd name="connsiteX3" fmla="*/ 244424 w 488847"/>
                      <a:gd name="connsiteY3" fmla="*/ 0 h 488847"/>
                      <a:gd name="connsiteX4" fmla="*/ 488848 w 488847"/>
                      <a:gd name="connsiteY4" fmla="*/ 244424 h 4888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88847" h="488847">
                        <a:moveTo>
                          <a:pt x="488848" y="244424"/>
                        </a:moveTo>
                        <a:cubicBezTo>
                          <a:pt x="488848" y="379415"/>
                          <a:pt x="379415" y="488848"/>
                          <a:pt x="244424" y="488848"/>
                        </a:cubicBezTo>
                        <a:cubicBezTo>
                          <a:pt x="109432" y="488848"/>
                          <a:pt x="0" y="379415"/>
                          <a:pt x="0" y="244424"/>
                        </a:cubicBezTo>
                        <a:cubicBezTo>
                          <a:pt x="0" y="109432"/>
                          <a:pt x="109432" y="0"/>
                          <a:pt x="244424" y="0"/>
                        </a:cubicBezTo>
                        <a:cubicBezTo>
                          <a:pt x="379415" y="0"/>
                          <a:pt x="488848" y="109432"/>
                          <a:pt x="488848" y="244424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4" name="Freihandform: Form 453">
                    <a:extLst>
                      <a:ext uri="{FF2B5EF4-FFF2-40B4-BE49-F238E27FC236}">
                        <a16:creationId xmlns:a16="http://schemas.microsoft.com/office/drawing/2014/main" id="{E416457E-0D19-CA88-F0B3-F2F8E8340A4D}"/>
                      </a:ext>
                    </a:extLst>
                  </p:cNvPr>
                  <p:cNvSpPr/>
                  <p:nvPr/>
                </p:nvSpPr>
                <p:spPr>
                  <a:xfrm>
                    <a:off x="223798" y="3286434"/>
                    <a:ext cx="674539" cy="1018166"/>
                  </a:xfrm>
                  <a:custGeom>
                    <a:avLst/>
                    <a:gdLst>
                      <a:gd name="connsiteX0" fmla="*/ 192164 w 674539"/>
                      <a:gd name="connsiteY0" fmla="*/ 0 h 1018166"/>
                      <a:gd name="connsiteX1" fmla="*/ 674539 w 674539"/>
                      <a:gd name="connsiteY1" fmla="*/ 69740 h 1018166"/>
                      <a:gd name="connsiteX2" fmla="*/ 540321 w 674539"/>
                      <a:gd name="connsiteY2" fmla="*/ 510865 h 1018166"/>
                      <a:gd name="connsiteX3" fmla="*/ 318942 w 674539"/>
                      <a:gd name="connsiteY3" fmla="*/ 1009632 h 1018166"/>
                      <a:gd name="connsiteX4" fmla="*/ 0 w 674539"/>
                      <a:gd name="connsiteY4" fmla="*/ 933661 h 1018166"/>
                      <a:gd name="connsiteX5" fmla="*/ 192164 w 674539"/>
                      <a:gd name="connsiteY5" fmla="*/ 0 h 1018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4539" h="1018166">
                        <a:moveTo>
                          <a:pt x="192164" y="0"/>
                        </a:moveTo>
                        <a:cubicBezTo>
                          <a:pt x="197245" y="3206"/>
                          <a:pt x="674539" y="69740"/>
                          <a:pt x="674539" y="69740"/>
                        </a:cubicBezTo>
                        <a:cubicBezTo>
                          <a:pt x="674539" y="69740"/>
                          <a:pt x="578609" y="413603"/>
                          <a:pt x="540321" y="510865"/>
                        </a:cubicBezTo>
                        <a:cubicBezTo>
                          <a:pt x="393522" y="883519"/>
                          <a:pt x="318942" y="1009632"/>
                          <a:pt x="318942" y="1009632"/>
                        </a:cubicBezTo>
                        <a:cubicBezTo>
                          <a:pt x="206439" y="1033040"/>
                          <a:pt x="80567" y="1008483"/>
                          <a:pt x="0" y="933661"/>
                        </a:cubicBezTo>
                        <a:cubicBezTo>
                          <a:pt x="9617" y="797326"/>
                          <a:pt x="136577" y="272429"/>
                          <a:pt x="192164" y="0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5" name="Freihandform: Form 454">
                    <a:extLst>
                      <a:ext uri="{FF2B5EF4-FFF2-40B4-BE49-F238E27FC236}">
                        <a16:creationId xmlns:a16="http://schemas.microsoft.com/office/drawing/2014/main" id="{DAC89785-F42E-51B3-CBBE-A676C62F1F69}"/>
                      </a:ext>
                    </a:extLst>
                  </p:cNvPr>
                  <p:cNvSpPr/>
                  <p:nvPr/>
                </p:nvSpPr>
                <p:spPr>
                  <a:xfrm>
                    <a:off x="378884" y="3286434"/>
                    <a:ext cx="519392" cy="173110"/>
                  </a:xfrm>
                  <a:custGeom>
                    <a:avLst/>
                    <a:gdLst>
                      <a:gd name="connsiteX0" fmla="*/ 490239 w 519392"/>
                      <a:gd name="connsiteY0" fmla="*/ 172566 h 173110"/>
                      <a:gd name="connsiteX1" fmla="*/ 519393 w 519392"/>
                      <a:gd name="connsiteY1" fmla="*/ 69740 h 173110"/>
                      <a:gd name="connsiteX2" fmla="*/ 37017 w 519392"/>
                      <a:gd name="connsiteY2" fmla="*/ 0 h 173110"/>
                      <a:gd name="connsiteX3" fmla="*/ 0 w 519392"/>
                      <a:gd name="connsiteY3" fmla="*/ 173111 h 173110"/>
                      <a:gd name="connsiteX4" fmla="*/ 490178 w 519392"/>
                      <a:gd name="connsiteY4" fmla="*/ 172566 h 1731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9392" h="173110">
                        <a:moveTo>
                          <a:pt x="490239" y="172566"/>
                        </a:moveTo>
                        <a:cubicBezTo>
                          <a:pt x="507417" y="112685"/>
                          <a:pt x="519393" y="69740"/>
                          <a:pt x="519393" y="69740"/>
                        </a:cubicBezTo>
                        <a:cubicBezTo>
                          <a:pt x="519393" y="69740"/>
                          <a:pt x="42098" y="3206"/>
                          <a:pt x="37017" y="0"/>
                        </a:cubicBezTo>
                        <a:cubicBezTo>
                          <a:pt x="26735" y="50385"/>
                          <a:pt x="13972" y="109480"/>
                          <a:pt x="0" y="173111"/>
                        </a:cubicBezTo>
                        <a:cubicBezTo>
                          <a:pt x="109963" y="109782"/>
                          <a:pt x="360012" y="115468"/>
                          <a:pt x="490178" y="172566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56" name="Grafik 297">
                  <a:extLst>
                    <a:ext uri="{FF2B5EF4-FFF2-40B4-BE49-F238E27FC236}">
                      <a16:creationId xmlns:a16="http://schemas.microsoft.com/office/drawing/2014/main" id="{ABD05A6F-E92E-61F0-023B-E2B4796413F8}"/>
                    </a:ext>
                  </a:extLst>
                </p:cNvPr>
                <p:cNvGrpSpPr/>
                <p:nvPr/>
              </p:nvGrpSpPr>
              <p:grpSpPr>
                <a:xfrm>
                  <a:off x="477899" y="1918236"/>
                  <a:ext cx="322234" cy="429852"/>
                  <a:chOff x="477899" y="1918236"/>
                  <a:chExt cx="322234" cy="429852"/>
                </a:xfrm>
              </p:grpSpPr>
              <p:sp>
                <p:nvSpPr>
                  <p:cNvPr id="457" name="Freihandform: Form 456">
                    <a:extLst>
                      <a:ext uri="{FF2B5EF4-FFF2-40B4-BE49-F238E27FC236}">
                        <a16:creationId xmlns:a16="http://schemas.microsoft.com/office/drawing/2014/main" id="{AF9293BB-6702-4A40-6D50-72E5A0AB4709}"/>
                      </a:ext>
                    </a:extLst>
                  </p:cNvPr>
                  <p:cNvSpPr/>
                  <p:nvPr/>
                </p:nvSpPr>
                <p:spPr>
                  <a:xfrm>
                    <a:off x="477899" y="1918236"/>
                    <a:ext cx="322234" cy="429852"/>
                  </a:xfrm>
                  <a:custGeom>
                    <a:avLst/>
                    <a:gdLst>
                      <a:gd name="connsiteX0" fmla="*/ 0 w 322234"/>
                      <a:gd name="connsiteY0" fmla="*/ 329049 h 429852"/>
                      <a:gd name="connsiteX1" fmla="*/ 227972 w 322234"/>
                      <a:gd name="connsiteY1" fmla="*/ 410342 h 429852"/>
                      <a:gd name="connsiteX2" fmla="*/ 314043 w 322234"/>
                      <a:gd name="connsiteY2" fmla="*/ 168943 h 429852"/>
                      <a:gd name="connsiteX3" fmla="*/ 86071 w 322234"/>
                      <a:gd name="connsiteY3" fmla="*/ 87649 h 429852"/>
                      <a:gd name="connsiteX4" fmla="*/ 0 w 322234"/>
                      <a:gd name="connsiteY4" fmla="*/ 329049 h 4298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2234" h="429852">
                        <a:moveTo>
                          <a:pt x="0" y="329049"/>
                        </a:moveTo>
                        <a:cubicBezTo>
                          <a:pt x="16331" y="408467"/>
                          <a:pt x="157687" y="459941"/>
                          <a:pt x="227972" y="410342"/>
                        </a:cubicBezTo>
                        <a:lnTo>
                          <a:pt x="314043" y="168943"/>
                        </a:lnTo>
                        <a:cubicBezTo>
                          <a:pt x="366968" y="-5076"/>
                          <a:pt x="148493" y="-65441"/>
                          <a:pt x="86071" y="87649"/>
                        </a:cubicBezTo>
                        <a:lnTo>
                          <a:pt x="0" y="329049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8" name="Freihandform: Form 457">
                    <a:extLst>
                      <a:ext uri="{FF2B5EF4-FFF2-40B4-BE49-F238E27FC236}">
                        <a16:creationId xmlns:a16="http://schemas.microsoft.com/office/drawing/2014/main" id="{78859A30-7E72-8C42-D436-F91A3E108856}"/>
                      </a:ext>
                    </a:extLst>
                  </p:cNvPr>
                  <p:cNvSpPr/>
                  <p:nvPr/>
                </p:nvSpPr>
                <p:spPr>
                  <a:xfrm>
                    <a:off x="663707" y="2057624"/>
                    <a:ext cx="118237" cy="209535"/>
                  </a:xfrm>
                  <a:custGeom>
                    <a:avLst/>
                    <a:gdLst>
                      <a:gd name="connsiteX0" fmla="*/ 64060 w 118237"/>
                      <a:gd name="connsiteY0" fmla="*/ 209500 h 209535"/>
                      <a:gd name="connsiteX1" fmla="*/ 114505 w 118237"/>
                      <a:gd name="connsiteY1" fmla="*/ 68567 h 209535"/>
                      <a:gd name="connsiteX2" fmla="*/ 10772 w 118237"/>
                      <a:gd name="connsiteY2" fmla="*/ 97903 h 209535"/>
                      <a:gd name="connsiteX3" fmla="*/ 21599 w 118237"/>
                      <a:gd name="connsiteY3" fmla="*/ 160325 h 209535"/>
                      <a:gd name="connsiteX4" fmla="*/ 64060 w 118237"/>
                      <a:gd name="connsiteY4" fmla="*/ 209500 h 2095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8237" h="209535">
                        <a:moveTo>
                          <a:pt x="64060" y="209500"/>
                        </a:moveTo>
                        <a:lnTo>
                          <a:pt x="114505" y="68567"/>
                        </a:lnTo>
                        <a:cubicBezTo>
                          <a:pt x="147168" y="-43816"/>
                          <a:pt x="-46871" y="-6677"/>
                          <a:pt x="10772" y="97903"/>
                        </a:cubicBezTo>
                        <a:cubicBezTo>
                          <a:pt x="22990" y="118226"/>
                          <a:pt x="26256" y="127360"/>
                          <a:pt x="21599" y="160325"/>
                        </a:cubicBezTo>
                        <a:cubicBezTo>
                          <a:pt x="14159" y="212645"/>
                          <a:pt x="64060" y="209500"/>
                          <a:pt x="64060" y="20950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59" name="Grafik 297">
                  <a:extLst>
                    <a:ext uri="{FF2B5EF4-FFF2-40B4-BE49-F238E27FC236}">
                      <a16:creationId xmlns:a16="http://schemas.microsoft.com/office/drawing/2014/main" id="{318177A8-49CC-20B6-3865-A234305CAAD4}"/>
                    </a:ext>
                  </a:extLst>
                </p:cNvPr>
                <p:cNvGrpSpPr/>
                <p:nvPr/>
              </p:nvGrpSpPr>
              <p:grpSpPr>
                <a:xfrm>
                  <a:off x="443945" y="1659724"/>
                  <a:ext cx="481759" cy="506110"/>
                  <a:chOff x="443945" y="1659724"/>
                  <a:chExt cx="481759" cy="506110"/>
                </a:xfrm>
              </p:grpSpPr>
              <p:sp>
                <p:nvSpPr>
                  <p:cNvPr id="460" name="Freihandform: Form 459">
                    <a:extLst>
                      <a:ext uri="{FF2B5EF4-FFF2-40B4-BE49-F238E27FC236}">
                        <a16:creationId xmlns:a16="http://schemas.microsoft.com/office/drawing/2014/main" id="{EA5A0E55-3BE9-C6B7-11F8-91A8BEB81D5C}"/>
                      </a:ext>
                    </a:extLst>
                  </p:cNvPr>
                  <p:cNvSpPr/>
                  <p:nvPr/>
                </p:nvSpPr>
                <p:spPr>
                  <a:xfrm rot="-274200">
                    <a:off x="468855" y="1719942"/>
                    <a:ext cx="390981" cy="349246"/>
                  </a:xfrm>
                  <a:custGeom>
                    <a:avLst/>
                    <a:gdLst>
                      <a:gd name="connsiteX0" fmla="*/ 390981 w 390981"/>
                      <a:gd name="connsiteY0" fmla="*/ 174623 h 349246"/>
                      <a:gd name="connsiteX1" fmla="*/ 195491 w 390981"/>
                      <a:gd name="connsiteY1" fmla="*/ 349246 h 349246"/>
                      <a:gd name="connsiteX2" fmla="*/ 0 w 390981"/>
                      <a:gd name="connsiteY2" fmla="*/ 174623 h 349246"/>
                      <a:gd name="connsiteX3" fmla="*/ 195491 w 390981"/>
                      <a:gd name="connsiteY3" fmla="*/ 0 h 349246"/>
                      <a:gd name="connsiteX4" fmla="*/ 390981 w 390981"/>
                      <a:gd name="connsiteY4" fmla="*/ 174623 h 3492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0981" h="349246">
                        <a:moveTo>
                          <a:pt x="390981" y="174623"/>
                        </a:moveTo>
                        <a:cubicBezTo>
                          <a:pt x="390981" y="271065"/>
                          <a:pt x="303457" y="349246"/>
                          <a:pt x="195491" y="349246"/>
                        </a:cubicBezTo>
                        <a:cubicBezTo>
                          <a:pt x="87524" y="349246"/>
                          <a:pt x="0" y="271065"/>
                          <a:pt x="0" y="174623"/>
                        </a:cubicBezTo>
                        <a:cubicBezTo>
                          <a:pt x="0" y="78181"/>
                          <a:pt x="87524" y="0"/>
                          <a:pt x="195491" y="0"/>
                        </a:cubicBezTo>
                        <a:cubicBezTo>
                          <a:pt x="303457" y="0"/>
                          <a:pt x="390981" y="78181"/>
                          <a:pt x="390981" y="174623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1" name="Freihandform: Form 460">
                    <a:extLst>
                      <a:ext uri="{FF2B5EF4-FFF2-40B4-BE49-F238E27FC236}">
                        <a16:creationId xmlns:a16="http://schemas.microsoft.com/office/drawing/2014/main" id="{D67AC327-3DD1-5AFE-1261-FE9B7E10F015}"/>
                      </a:ext>
                    </a:extLst>
                  </p:cNvPr>
                  <p:cNvSpPr/>
                  <p:nvPr/>
                </p:nvSpPr>
                <p:spPr>
                  <a:xfrm>
                    <a:off x="650224" y="1870436"/>
                    <a:ext cx="272366" cy="292635"/>
                  </a:xfrm>
                  <a:custGeom>
                    <a:avLst/>
                    <a:gdLst>
                      <a:gd name="connsiteX0" fmla="*/ 232448 w 272366"/>
                      <a:gd name="connsiteY0" fmla="*/ 139925 h 292635"/>
                      <a:gd name="connsiteX1" fmla="*/ 268255 w 272366"/>
                      <a:gd name="connsiteY1" fmla="*/ 105629 h 292635"/>
                      <a:gd name="connsiteX2" fmla="*/ 209221 w 272366"/>
                      <a:gd name="connsiteY2" fmla="*/ 13570 h 292635"/>
                      <a:gd name="connsiteX3" fmla="*/ 0 w 272366"/>
                      <a:gd name="connsiteY3" fmla="*/ 86153 h 292635"/>
                      <a:gd name="connsiteX4" fmla="*/ 24073 w 272366"/>
                      <a:gd name="connsiteY4" fmla="*/ 213899 h 292635"/>
                      <a:gd name="connsiteX5" fmla="*/ 114560 w 272366"/>
                      <a:gd name="connsiteY5" fmla="*/ 292531 h 292635"/>
                      <a:gd name="connsiteX6" fmla="*/ 204624 w 272366"/>
                      <a:gd name="connsiteY6" fmla="*/ 285878 h 292635"/>
                      <a:gd name="connsiteX7" fmla="*/ 232448 w 272366"/>
                      <a:gd name="connsiteY7" fmla="*/ 242509 h 292635"/>
                      <a:gd name="connsiteX8" fmla="*/ 230996 w 272366"/>
                      <a:gd name="connsiteY8" fmla="*/ 222004 h 292635"/>
                      <a:gd name="connsiteX9" fmla="*/ 230996 w 272366"/>
                      <a:gd name="connsiteY9" fmla="*/ 222186 h 292635"/>
                      <a:gd name="connsiteX10" fmla="*/ 234383 w 272366"/>
                      <a:gd name="connsiteY10" fmla="*/ 207125 h 292635"/>
                      <a:gd name="connsiteX11" fmla="*/ 227730 w 272366"/>
                      <a:gd name="connsiteY11" fmla="*/ 186681 h 292635"/>
                      <a:gd name="connsiteX12" fmla="*/ 227730 w 272366"/>
                      <a:gd name="connsiteY12" fmla="*/ 186681 h 292635"/>
                      <a:gd name="connsiteX13" fmla="*/ 235230 w 272366"/>
                      <a:gd name="connsiteY13" fmla="*/ 170107 h 292635"/>
                      <a:gd name="connsiteX14" fmla="*/ 232508 w 272366"/>
                      <a:gd name="connsiteY14" fmla="*/ 139925 h 2926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72366" h="292635">
                        <a:moveTo>
                          <a:pt x="232448" y="139925"/>
                        </a:moveTo>
                        <a:cubicBezTo>
                          <a:pt x="244545" y="136356"/>
                          <a:pt x="285312" y="122868"/>
                          <a:pt x="268255" y="105629"/>
                        </a:cubicBezTo>
                        <a:cubicBezTo>
                          <a:pt x="239282" y="76415"/>
                          <a:pt x="213697" y="23792"/>
                          <a:pt x="209221" y="13570"/>
                        </a:cubicBezTo>
                        <a:cubicBezTo>
                          <a:pt x="208072" y="2682"/>
                          <a:pt x="16815" y="-33125"/>
                          <a:pt x="0" y="86153"/>
                        </a:cubicBezTo>
                        <a:cubicBezTo>
                          <a:pt x="0" y="86153"/>
                          <a:pt x="0" y="150691"/>
                          <a:pt x="24073" y="213899"/>
                        </a:cubicBezTo>
                        <a:cubicBezTo>
                          <a:pt x="29820" y="229021"/>
                          <a:pt x="73128" y="291261"/>
                          <a:pt x="114560" y="292531"/>
                        </a:cubicBezTo>
                        <a:cubicBezTo>
                          <a:pt x="150005" y="293620"/>
                          <a:pt x="204624" y="285878"/>
                          <a:pt x="204624" y="285878"/>
                        </a:cubicBezTo>
                        <a:cubicBezTo>
                          <a:pt x="204624" y="285878"/>
                          <a:pt x="232690" y="278982"/>
                          <a:pt x="232448" y="242509"/>
                        </a:cubicBezTo>
                        <a:cubicBezTo>
                          <a:pt x="232448" y="239666"/>
                          <a:pt x="231903" y="232347"/>
                          <a:pt x="230996" y="222004"/>
                        </a:cubicBezTo>
                        <a:lnTo>
                          <a:pt x="230996" y="222186"/>
                        </a:lnTo>
                        <a:cubicBezTo>
                          <a:pt x="230996" y="222186"/>
                          <a:pt x="230996" y="216137"/>
                          <a:pt x="234383" y="207125"/>
                        </a:cubicBezTo>
                        <a:cubicBezTo>
                          <a:pt x="238496" y="196056"/>
                          <a:pt x="239403" y="186197"/>
                          <a:pt x="227730" y="186681"/>
                        </a:cubicBezTo>
                        <a:lnTo>
                          <a:pt x="227730" y="186681"/>
                        </a:lnTo>
                        <a:cubicBezTo>
                          <a:pt x="236077" y="184382"/>
                          <a:pt x="236923" y="173858"/>
                          <a:pt x="235230" y="170107"/>
                        </a:cubicBezTo>
                        <a:cubicBezTo>
                          <a:pt x="230331" y="159401"/>
                          <a:pt x="229423" y="140832"/>
                          <a:pt x="232508" y="139925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2" name="Freihandform: Form 461">
                    <a:extLst>
                      <a:ext uri="{FF2B5EF4-FFF2-40B4-BE49-F238E27FC236}">
                        <a16:creationId xmlns:a16="http://schemas.microsoft.com/office/drawing/2014/main" id="{EF2E4258-E22C-291E-49DE-89DAC9DC4133}"/>
                      </a:ext>
                    </a:extLst>
                  </p:cNvPr>
                  <p:cNvSpPr/>
                  <p:nvPr/>
                </p:nvSpPr>
                <p:spPr>
                  <a:xfrm>
                    <a:off x="837065" y="1919511"/>
                    <a:ext cx="21653" cy="31694"/>
                  </a:xfrm>
                  <a:custGeom>
                    <a:avLst/>
                    <a:gdLst>
                      <a:gd name="connsiteX0" fmla="*/ 21654 w 21653"/>
                      <a:gd name="connsiteY0" fmla="*/ 15847 h 31694"/>
                      <a:gd name="connsiteX1" fmla="*/ 10827 w 21653"/>
                      <a:gd name="connsiteY1" fmla="*/ 31695 h 31694"/>
                      <a:gd name="connsiteX2" fmla="*/ 0 w 21653"/>
                      <a:gd name="connsiteY2" fmla="*/ 15847 h 31694"/>
                      <a:gd name="connsiteX3" fmla="*/ 10827 w 21653"/>
                      <a:gd name="connsiteY3" fmla="*/ 0 h 31694"/>
                      <a:gd name="connsiteX4" fmla="*/ 21654 w 21653"/>
                      <a:gd name="connsiteY4" fmla="*/ 15847 h 316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653" h="31694">
                        <a:moveTo>
                          <a:pt x="21654" y="15847"/>
                        </a:moveTo>
                        <a:cubicBezTo>
                          <a:pt x="21654" y="24600"/>
                          <a:pt x="16807" y="31695"/>
                          <a:pt x="10827" y="31695"/>
                        </a:cubicBezTo>
                        <a:cubicBezTo>
                          <a:pt x="4847" y="31695"/>
                          <a:pt x="0" y="24600"/>
                          <a:pt x="0" y="15847"/>
                        </a:cubicBezTo>
                        <a:cubicBezTo>
                          <a:pt x="0" y="7095"/>
                          <a:pt x="4847" y="0"/>
                          <a:pt x="10827" y="0"/>
                        </a:cubicBezTo>
                        <a:cubicBezTo>
                          <a:pt x="16807" y="0"/>
                          <a:pt x="21654" y="7095"/>
                          <a:pt x="21654" y="15847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3" name="Freihandform: Form 462">
                    <a:extLst>
                      <a:ext uri="{FF2B5EF4-FFF2-40B4-BE49-F238E27FC236}">
                        <a16:creationId xmlns:a16="http://schemas.microsoft.com/office/drawing/2014/main" id="{2A48A769-A14C-828C-FEAF-7410EBADFD16}"/>
                      </a:ext>
                    </a:extLst>
                  </p:cNvPr>
                  <p:cNvSpPr/>
                  <p:nvPr/>
                </p:nvSpPr>
                <p:spPr>
                  <a:xfrm>
                    <a:off x="767336" y="1853119"/>
                    <a:ext cx="83261" cy="40843"/>
                  </a:xfrm>
                  <a:custGeom>
                    <a:avLst/>
                    <a:gdLst>
                      <a:gd name="connsiteX0" fmla="*/ 16139 w 83261"/>
                      <a:gd name="connsiteY0" fmla="*/ 19455 h 40843"/>
                      <a:gd name="connsiteX1" fmla="*/ 47047 w 83261"/>
                      <a:gd name="connsiteY1" fmla="*/ 3245 h 40843"/>
                      <a:gd name="connsiteX2" fmla="*/ 47047 w 83261"/>
                      <a:gd name="connsiteY2" fmla="*/ 3245 h 40843"/>
                      <a:gd name="connsiteX3" fmla="*/ 77048 w 83261"/>
                      <a:gd name="connsiteY3" fmla="*/ 1249 h 40843"/>
                      <a:gd name="connsiteX4" fmla="*/ 79407 w 83261"/>
                      <a:gd name="connsiteY4" fmla="*/ 2519 h 40843"/>
                      <a:gd name="connsiteX5" fmla="*/ 76201 w 83261"/>
                      <a:gd name="connsiteY5" fmla="*/ 18427 h 40843"/>
                      <a:gd name="connsiteX6" fmla="*/ 59205 w 83261"/>
                      <a:gd name="connsiteY6" fmla="*/ 19939 h 40843"/>
                      <a:gd name="connsiteX7" fmla="*/ 20312 w 83261"/>
                      <a:gd name="connsiteY7" fmla="*/ 29254 h 40843"/>
                      <a:gd name="connsiteX8" fmla="*/ 533 w 83261"/>
                      <a:gd name="connsiteY8" fmla="*/ 40746 h 40843"/>
                      <a:gd name="connsiteX9" fmla="*/ 16139 w 83261"/>
                      <a:gd name="connsiteY9" fmla="*/ 19515 h 408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83261" h="40843">
                        <a:moveTo>
                          <a:pt x="16139" y="19455"/>
                        </a:moveTo>
                        <a:cubicBezTo>
                          <a:pt x="26179" y="10201"/>
                          <a:pt x="38034" y="5241"/>
                          <a:pt x="47047" y="3245"/>
                        </a:cubicBezTo>
                        <a:lnTo>
                          <a:pt x="47047" y="3245"/>
                        </a:lnTo>
                        <a:cubicBezTo>
                          <a:pt x="62410" y="-1110"/>
                          <a:pt x="73237" y="-324"/>
                          <a:pt x="77048" y="1249"/>
                        </a:cubicBezTo>
                        <a:cubicBezTo>
                          <a:pt x="77955" y="1612"/>
                          <a:pt x="78742" y="2035"/>
                          <a:pt x="79407" y="2519"/>
                        </a:cubicBezTo>
                        <a:cubicBezTo>
                          <a:pt x="85939" y="6813"/>
                          <a:pt x="83701" y="17277"/>
                          <a:pt x="76201" y="18427"/>
                        </a:cubicBezTo>
                        <a:cubicBezTo>
                          <a:pt x="72753" y="18971"/>
                          <a:pt x="64104" y="19576"/>
                          <a:pt x="59205" y="19939"/>
                        </a:cubicBezTo>
                        <a:cubicBezTo>
                          <a:pt x="50616" y="20604"/>
                          <a:pt x="26845" y="26169"/>
                          <a:pt x="20312" y="29254"/>
                        </a:cubicBezTo>
                        <a:cubicBezTo>
                          <a:pt x="7489" y="35302"/>
                          <a:pt x="2711" y="41714"/>
                          <a:pt x="533" y="40746"/>
                        </a:cubicBezTo>
                        <a:cubicBezTo>
                          <a:pt x="-1644" y="39778"/>
                          <a:pt x="2711" y="31854"/>
                          <a:pt x="16139" y="1951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4" name="Freihandform: Form 463">
                    <a:extLst>
                      <a:ext uri="{FF2B5EF4-FFF2-40B4-BE49-F238E27FC236}">
                        <a16:creationId xmlns:a16="http://schemas.microsoft.com/office/drawing/2014/main" id="{39212651-155C-EBF7-CA4F-15E7EC97A141}"/>
                      </a:ext>
                    </a:extLst>
                  </p:cNvPr>
                  <p:cNvSpPr/>
                  <p:nvPr/>
                </p:nvSpPr>
                <p:spPr>
                  <a:xfrm>
                    <a:off x="806812" y="1909914"/>
                    <a:ext cx="51859" cy="18055"/>
                  </a:xfrm>
                  <a:custGeom>
                    <a:avLst/>
                    <a:gdLst>
                      <a:gd name="connsiteX0" fmla="*/ 312 w 51859"/>
                      <a:gd name="connsiteY0" fmla="*/ 14496 h 18055"/>
                      <a:gd name="connsiteX1" fmla="*/ 38176 w 51859"/>
                      <a:gd name="connsiteY1" fmla="*/ 40 h 18055"/>
                      <a:gd name="connsiteX2" fmla="*/ 45192 w 51859"/>
                      <a:gd name="connsiteY2" fmla="*/ 10625 h 18055"/>
                      <a:gd name="connsiteX3" fmla="*/ 8840 w 51859"/>
                      <a:gd name="connsiteY3" fmla="*/ 17520 h 18055"/>
                      <a:gd name="connsiteX4" fmla="*/ 312 w 51859"/>
                      <a:gd name="connsiteY4" fmla="*/ 14496 h 180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859" h="18055">
                        <a:moveTo>
                          <a:pt x="312" y="14496"/>
                        </a:moveTo>
                        <a:cubicBezTo>
                          <a:pt x="1824" y="12258"/>
                          <a:pt x="20454" y="887"/>
                          <a:pt x="38176" y="40"/>
                        </a:cubicBezTo>
                        <a:cubicBezTo>
                          <a:pt x="52935" y="-686"/>
                          <a:pt x="56503" y="8689"/>
                          <a:pt x="45192" y="10625"/>
                        </a:cubicBezTo>
                        <a:cubicBezTo>
                          <a:pt x="31281" y="12984"/>
                          <a:pt x="14707" y="15887"/>
                          <a:pt x="8840" y="17520"/>
                        </a:cubicBezTo>
                        <a:cubicBezTo>
                          <a:pt x="2973" y="19154"/>
                          <a:pt x="-1200" y="16734"/>
                          <a:pt x="312" y="1449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5" name="Freihandform: Form 464">
                    <a:extLst>
                      <a:ext uri="{FF2B5EF4-FFF2-40B4-BE49-F238E27FC236}">
                        <a16:creationId xmlns:a16="http://schemas.microsoft.com/office/drawing/2014/main" id="{2FB705D3-0F02-0153-FFA2-D0AF5E08D3A3}"/>
                      </a:ext>
                    </a:extLst>
                  </p:cNvPr>
                  <p:cNvSpPr/>
                  <p:nvPr/>
                </p:nvSpPr>
                <p:spPr>
                  <a:xfrm>
                    <a:off x="701939" y="1951595"/>
                    <a:ext cx="223765" cy="214238"/>
                  </a:xfrm>
                  <a:custGeom>
                    <a:avLst/>
                    <a:gdLst>
                      <a:gd name="connsiteX0" fmla="*/ 15303 w 223765"/>
                      <a:gd name="connsiteY0" fmla="*/ 20962 h 214238"/>
                      <a:gd name="connsiteX1" fmla="*/ 0 w 223765"/>
                      <a:gd name="connsiteY1" fmla="*/ 121490 h 214238"/>
                      <a:gd name="connsiteX2" fmla="*/ 62784 w 223765"/>
                      <a:gd name="connsiteY2" fmla="*/ 211432 h 214238"/>
                      <a:gd name="connsiteX3" fmla="*/ 191378 w 223765"/>
                      <a:gd name="connsiteY3" fmla="*/ 203690 h 214238"/>
                      <a:gd name="connsiteX4" fmla="*/ 211459 w 223765"/>
                      <a:gd name="connsiteY4" fmla="*/ 3300 h 214238"/>
                      <a:gd name="connsiteX5" fmla="*/ 15242 w 223765"/>
                      <a:gd name="connsiteY5" fmla="*/ 20962 h 2142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23765" h="214238">
                        <a:moveTo>
                          <a:pt x="15303" y="20962"/>
                        </a:moveTo>
                        <a:lnTo>
                          <a:pt x="0" y="121490"/>
                        </a:lnTo>
                        <a:cubicBezTo>
                          <a:pt x="0" y="121490"/>
                          <a:pt x="9617" y="172358"/>
                          <a:pt x="62784" y="211432"/>
                        </a:cubicBezTo>
                        <a:cubicBezTo>
                          <a:pt x="117403" y="220808"/>
                          <a:pt x="191378" y="203690"/>
                          <a:pt x="191378" y="203690"/>
                        </a:cubicBezTo>
                        <a:cubicBezTo>
                          <a:pt x="191378" y="203690"/>
                          <a:pt x="248053" y="74492"/>
                          <a:pt x="211459" y="3300"/>
                        </a:cubicBezTo>
                        <a:cubicBezTo>
                          <a:pt x="205713" y="-9946"/>
                          <a:pt x="15242" y="20962"/>
                          <a:pt x="15242" y="20962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6" name="Freihandform: Form 465">
                    <a:extLst>
                      <a:ext uri="{FF2B5EF4-FFF2-40B4-BE49-F238E27FC236}">
                        <a16:creationId xmlns:a16="http://schemas.microsoft.com/office/drawing/2014/main" id="{E6A57E3B-5962-F4D0-DF06-DB46BF061C35}"/>
                      </a:ext>
                    </a:extLst>
                  </p:cNvPr>
                  <p:cNvSpPr/>
                  <p:nvPr/>
                </p:nvSpPr>
                <p:spPr>
                  <a:xfrm>
                    <a:off x="601944" y="1942055"/>
                    <a:ext cx="146387" cy="143187"/>
                  </a:xfrm>
                  <a:custGeom>
                    <a:avLst/>
                    <a:gdLst>
                      <a:gd name="connsiteX0" fmla="*/ 108282 w 146387"/>
                      <a:gd name="connsiteY0" fmla="*/ 143127 h 143187"/>
                      <a:gd name="connsiteX1" fmla="*/ 28259 w 146387"/>
                      <a:gd name="connsiteY1" fmla="*/ 110586 h 143187"/>
                      <a:gd name="connsiteX2" fmla="*/ 133 w 146387"/>
                      <a:gd name="connsiteY2" fmla="*/ 68185 h 143187"/>
                      <a:gd name="connsiteX3" fmla="*/ 30134 w 146387"/>
                      <a:gd name="connsiteY3" fmla="*/ 8304 h 143187"/>
                      <a:gd name="connsiteX4" fmla="*/ 120500 w 146387"/>
                      <a:gd name="connsiteY4" fmla="*/ 31893 h 143187"/>
                      <a:gd name="connsiteX5" fmla="*/ 146388 w 146387"/>
                      <a:gd name="connsiteY5" fmla="*/ 49555 h 143187"/>
                      <a:gd name="connsiteX6" fmla="*/ 108282 w 146387"/>
                      <a:gd name="connsiteY6" fmla="*/ 143188 h 143187"/>
                      <a:gd name="connsiteX7" fmla="*/ 55417 w 146387"/>
                      <a:gd name="connsiteY7" fmla="*/ 12961 h 143187"/>
                      <a:gd name="connsiteX8" fmla="*/ 38118 w 146387"/>
                      <a:gd name="connsiteY8" fmla="*/ 18587 h 143187"/>
                      <a:gd name="connsiteX9" fmla="*/ 13137 w 146387"/>
                      <a:gd name="connsiteY9" fmla="*/ 67278 h 143187"/>
                      <a:gd name="connsiteX10" fmla="*/ 34731 w 146387"/>
                      <a:gd name="connsiteY10" fmla="*/ 99275 h 143187"/>
                      <a:gd name="connsiteX11" fmla="*/ 101084 w 146387"/>
                      <a:gd name="connsiteY11" fmla="*/ 128066 h 143187"/>
                      <a:gd name="connsiteX12" fmla="*/ 130057 w 146387"/>
                      <a:gd name="connsiteY12" fmla="*/ 53971 h 143187"/>
                      <a:gd name="connsiteX13" fmla="*/ 112092 w 146387"/>
                      <a:gd name="connsiteY13" fmla="*/ 41632 h 143187"/>
                      <a:gd name="connsiteX14" fmla="*/ 55477 w 146387"/>
                      <a:gd name="connsiteY14" fmla="*/ 12901 h 1431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146387" h="143187">
                        <a:moveTo>
                          <a:pt x="108282" y="143127"/>
                        </a:moveTo>
                        <a:cubicBezTo>
                          <a:pt x="108282" y="143127"/>
                          <a:pt x="66546" y="132300"/>
                          <a:pt x="28259" y="110586"/>
                        </a:cubicBezTo>
                        <a:cubicBezTo>
                          <a:pt x="11383" y="100968"/>
                          <a:pt x="1403" y="85907"/>
                          <a:pt x="133" y="68185"/>
                        </a:cubicBezTo>
                        <a:cubicBezTo>
                          <a:pt x="-1379" y="46652"/>
                          <a:pt x="10113" y="23667"/>
                          <a:pt x="30134" y="8304"/>
                        </a:cubicBezTo>
                        <a:cubicBezTo>
                          <a:pt x="64671" y="-18249"/>
                          <a:pt x="115056" y="26934"/>
                          <a:pt x="120500" y="31893"/>
                        </a:cubicBezTo>
                        <a:lnTo>
                          <a:pt x="146388" y="49555"/>
                        </a:lnTo>
                        <a:lnTo>
                          <a:pt x="108282" y="143188"/>
                        </a:lnTo>
                        <a:close/>
                        <a:moveTo>
                          <a:pt x="55417" y="12961"/>
                        </a:moveTo>
                        <a:cubicBezTo>
                          <a:pt x="49247" y="12961"/>
                          <a:pt x="43320" y="14594"/>
                          <a:pt x="38118" y="18587"/>
                        </a:cubicBezTo>
                        <a:cubicBezTo>
                          <a:pt x="21484" y="31349"/>
                          <a:pt x="11928" y="50039"/>
                          <a:pt x="13137" y="67278"/>
                        </a:cubicBezTo>
                        <a:cubicBezTo>
                          <a:pt x="14045" y="80766"/>
                          <a:pt x="21545" y="91835"/>
                          <a:pt x="34731" y="99275"/>
                        </a:cubicBezTo>
                        <a:cubicBezTo>
                          <a:pt x="62494" y="115062"/>
                          <a:pt x="91043" y="125284"/>
                          <a:pt x="101084" y="128066"/>
                        </a:cubicBezTo>
                        <a:lnTo>
                          <a:pt x="130057" y="53971"/>
                        </a:lnTo>
                        <a:lnTo>
                          <a:pt x="112092" y="41632"/>
                        </a:lnTo>
                        <a:cubicBezTo>
                          <a:pt x="111729" y="41269"/>
                          <a:pt x="81365" y="12901"/>
                          <a:pt x="55477" y="12901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7" name="Freihandform: Form 466">
                    <a:extLst>
                      <a:ext uri="{FF2B5EF4-FFF2-40B4-BE49-F238E27FC236}">
                        <a16:creationId xmlns:a16="http://schemas.microsoft.com/office/drawing/2014/main" id="{098914F6-1F93-327B-118D-166124E158EE}"/>
                      </a:ext>
                    </a:extLst>
                  </p:cNvPr>
                  <p:cNvSpPr/>
                  <p:nvPr/>
                </p:nvSpPr>
                <p:spPr>
                  <a:xfrm>
                    <a:off x="443945" y="1659724"/>
                    <a:ext cx="397535" cy="386565"/>
                  </a:xfrm>
                  <a:custGeom>
                    <a:avLst/>
                    <a:gdLst>
                      <a:gd name="connsiteX0" fmla="*/ 105690 w 397535"/>
                      <a:gd name="connsiteY0" fmla="*/ 386566 h 386565"/>
                      <a:gd name="connsiteX1" fmla="*/ 397535 w 397535"/>
                      <a:gd name="connsiteY1" fmla="*/ 158352 h 386565"/>
                      <a:gd name="connsiteX2" fmla="*/ 206279 w 397535"/>
                      <a:gd name="connsiteY2" fmla="*/ 0 h 386565"/>
                      <a:gd name="connsiteX3" fmla="*/ 263 w 397535"/>
                      <a:gd name="connsiteY3" fmla="*/ 246057 h 386565"/>
                      <a:gd name="connsiteX4" fmla="*/ 105690 w 397535"/>
                      <a:gd name="connsiteY4" fmla="*/ 386505 h 3865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7535" h="386565">
                        <a:moveTo>
                          <a:pt x="105690" y="386566"/>
                        </a:moveTo>
                        <a:cubicBezTo>
                          <a:pt x="207972" y="341504"/>
                          <a:pt x="277894" y="163917"/>
                          <a:pt x="397535" y="158352"/>
                        </a:cubicBezTo>
                        <a:cubicBezTo>
                          <a:pt x="393785" y="80688"/>
                          <a:pt x="324650" y="0"/>
                          <a:pt x="206279" y="0"/>
                        </a:cubicBezTo>
                        <a:cubicBezTo>
                          <a:pt x="155107" y="0"/>
                          <a:pt x="-7418" y="149945"/>
                          <a:pt x="263" y="246057"/>
                        </a:cubicBezTo>
                        <a:cubicBezTo>
                          <a:pt x="4195" y="295172"/>
                          <a:pt x="66495" y="357774"/>
                          <a:pt x="105690" y="386505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8" name="Freihandform: Form 467">
                    <a:extLst>
                      <a:ext uri="{FF2B5EF4-FFF2-40B4-BE49-F238E27FC236}">
                        <a16:creationId xmlns:a16="http://schemas.microsoft.com/office/drawing/2014/main" id="{94F5C81E-F13E-A69A-05C8-38C30F2340A0}"/>
                      </a:ext>
                    </a:extLst>
                  </p:cNvPr>
                  <p:cNvSpPr/>
                  <p:nvPr/>
                </p:nvSpPr>
                <p:spPr>
                  <a:xfrm>
                    <a:off x="618710" y="1863562"/>
                    <a:ext cx="284700" cy="113350"/>
                  </a:xfrm>
                  <a:custGeom>
                    <a:avLst/>
                    <a:gdLst>
                      <a:gd name="connsiteX0" fmla="*/ 115589 w 284700"/>
                      <a:gd name="connsiteY0" fmla="*/ 113351 h 113350"/>
                      <a:gd name="connsiteX1" fmla="*/ 106032 w 284700"/>
                      <a:gd name="connsiteY1" fmla="*/ 59579 h 113350"/>
                      <a:gd name="connsiteX2" fmla="*/ 4415 w 284700"/>
                      <a:gd name="connsiteY2" fmla="*/ 86737 h 113350"/>
                      <a:gd name="connsiteX3" fmla="*/ 0 w 284700"/>
                      <a:gd name="connsiteY3" fmla="*/ 70224 h 113350"/>
                      <a:gd name="connsiteX4" fmla="*/ 262993 w 284700"/>
                      <a:gd name="connsiteY4" fmla="*/ 0 h 113350"/>
                      <a:gd name="connsiteX5" fmla="*/ 266320 w 284700"/>
                      <a:gd name="connsiteY5" fmla="*/ 5444 h 113350"/>
                      <a:gd name="connsiteX6" fmla="*/ 279748 w 284700"/>
                      <a:gd name="connsiteY6" fmla="*/ 97685 h 113350"/>
                      <a:gd name="connsiteX7" fmla="*/ 278114 w 284700"/>
                      <a:gd name="connsiteY7" fmla="*/ 103491 h 113350"/>
                      <a:gd name="connsiteX8" fmla="*/ 115649 w 284700"/>
                      <a:gd name="connsiteY8" fmla="*/ 113290 h 113350"/>
                      <a:gd name="connsiteX9" fmla="*/ 122545 w 284700"/>
                      <a:gd name="connsiteY9" fmla="*/ 55163 h 113350"/>
                      <a:gd name="connsiteX10" fmla="*/ 129742 w 284700"/>
                      <a:gd name="connsiteY10" fmla="*/ 95386 h 113350"/>
                      <a:gd name="connsiteX11" fmla="*/ 264808 w 284700"/>
                      <a:gd name="connsiteY11" fmla="*/ 87221 h 113350"/>
                      <a:gd name="connsiteX12" fmla="*/ 254888 w 284700"/>
                      <a:gd name="connsiteY12" fmla="*/ 19839 h 113350"/>
                      <a:gd name="connsiteX13" fmla="*/ 122545 w 284700"/>
                      <a:gd name="connsiteY13" fmla="*/ 55163 h 113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284700" h="113350">
                        <a:moveTo>
                          <a:pt x="115589" y="113351"/>
                        </a:moveTo>
                        <a:lnTo>
                          <a:pt x="106032" y="59579"/>
                        </a:lnTo>
                        <a:lnTo>
                          <a:pt x="4415" y="86737"/>
                        </a:lnTo>
                        <a:lnTo>
                          <a:pt x="0" y="70224"/>
                        </a:lnTo>
                        <a:lnTo>
                          <a:pt x="262993" y="0"/>
                        </a:lnTo>
                        <a:lnTo>
                          <a:pt x="266320" y="5444"/>
                        </a:lnTo>
                        <a:cubicBezTo>
                          <a:pt x="285252" y="36655"/>
                          <a:pt x="289244" y="64236"/>
                          <a:pt x="279748" y="97685"/>
                        </a:cubicBezTo>
                        <a:lnTo>
                          <a:pt x="278114" y="103491"/>
                        </a:lnTo>
                        <a:lnTo>
                          <a:pt x="115649" y="113290"/>
                        </a:lnTo>
                        <a:close/>
                        <a:moveTo>
                          <a:pt x="122545" y="55163"/>
                        </a:moveTo>
                        <a:lnTo>
                          <a:pt x="129742" y="95386"/>
                        </a:lnTo>
                        <a:lnTo>
                          <a:pt x="264808" y="87221"/>
                        </a:lnTo>
                        <a:cubicBezTo>
                          <a:pt x="270614" y="62724"/>
                          <a:pt x="267711" y="43006"/>
                          <a:pt x="254888" y="19839"/>
                        </a:cubicBezTo>
                        <a:lnTo>
                          <a:pt x="122545" y="55163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9" name="Freihandform: Form 468">
                    <a:extLst>
                      <a:ext uri="{FF2B5EF4-FFF2-40B4-BE49-F238E27FC236}">
                        <a16:creationId xmlns:a16="http://schemas.microsoft.com/office/drawing/2014/main" id="{AFD20B0A-CD7F-5E6D-EB36-54425BFFE64C}"/>
                      </a:ext>
                    </a:extLst>
                  </p:cNvPr>
                  <p:cNvSpPr/>
                  <p:nvPr/>
                </p:nvSpPr>
                <p:spPr>
                  <a:xfrm rot="-1304998">
                    <a:off x="588752" y="1930189"/>
                    <a:ext cx="87099" cy="135004"/>
                  </a:xfrm>
                  <a:custGeom>
                    <a:avLst/>
                    <a:gdLst>
                      <a:gd name="connsiteX0" fmla="*/ 87100 w 87099"/>
                      <a:gd name="connsiteY0" fmla="*/ 67502 h 135004"/>
                      <a:gd name="connsiteX1" fmla="*/ 43550 w 87099"/>
                      <a:gd name="connsiteY1" fmla="*/ 135005 h 135004"/>
                      <a:gd name="connsiteX2" fmla="*/ 0 w 87099"/>
                      <a:gd name="connsiteY2" fmla="*/ 67502 h 135004"/>
                      <a:gd name="connsiteX3" fmla="*/ 43550 w 87099"/>
                      <a:gd name="connsiteY3" fmla="*/ 0 h 135004"/>
                      <a:gd name="connsiteX4" fmla="*/ 87100 w 87099"/>
                      <a:gd name="connsiteY4" fmla="*/ 67502 h 1350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7099" h="135004">
                        <a:moveTo>
                          <a:pt x="87100" y="67502"/>
                        </a:moveTo>
                        <a:cubicBezTo>
                          <a:pt x="87100" y="104783"/>
                          <a:pt x="67602" y="135005"/>
                          <a:pt x="43550" y="135005"/>
                        </a:cubicBezTo>
                        <a:cubicBezTo>
                          <a:pt x="19498" y="135005"/>
                          <a:pt x="0" y="104783"/>
                          <a:pt x="0" y="67502"/>
                        </a:cubicBezTo>
                        <a:cubicBezTo>
                          <a:pt x="0" y="30222"/>
                          <a:pt x="19498" y="0"/>
                          <a:pt x="43550" y="0"/>
                        </a:cubicBezTo>
                        <a:cubicBezTo>
                          <a:pt x="67602" y="0"/>
                          <a:pt x="87100" y="30222"/>
                          <a:pt x="87100" y="67502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70" name="Grafik 297">
                  <a:extLst>
                    <a:ext uri="{FF2B5EF4-FFF2-40B4-BE49-F238E27FC236}">
                      <a16:creationId xmlns:a16="http://schemas.microsoft.com/office/drawing/2014/main" id="{36A1CD4A-BD06-DB8B-E426-91894D46EA2D}"/>
                    </a:ext>
                  </a:extLst>
                </p:cNvPr>
                <p:cNvGrpSpPr/>
                <p:nvPr/>
              </p:nvGrpSpPr>
              <p:grpSpPr>
                <a:xfrm>
                  <a:off x="372895" y="2175735"/>
                  <a:ext cx="581693" cy="1213887"/>
                  <a:chOff x="372895" y="2175735"/>
                  <a:chExt cx="581693" cy="1213887"/>
                </a:xfrm>
              </p:grpSpPr>
              <p:sp>
                <p:nvSpPr>
                  <p:cNvPr id="471" name="Freihandform: Form 470">
                    <a:extLst>
                      <a:ext uri="{FF2B5EF4-FFF2-40B4-BE49-F238E27FC236}">
                        <a16:creationId xmlns:a16="http://schemas.microsoft.com/office/drawing/2014/main" id="{AC7F5AA1-1C22-A00E-FCC8-76C758CBC93B}"/>
                      </a:ext>
                    </a:extLst>
                  </p:cNvPr>
                  <p:cNvSpPr/>
                  <p:nvPr/>
                </p:nvSpPr>
                <p:spPr>
                  <a:xfrm>
                    <a:off x="372895" y="2175735"/>
                    <a:ext cx="581693" cy="1213887"/>
                  </a:xfrm>
                  <a:custGeom>
                    <a:avLst/>
                    <a:gdLst>
                      <a:gd name="connsiteX0" fmla="*/ 0 w 581693"/>
                      <a:gd name="connsiteY0" fmla="*/ 1177656 h 1213887"/>
                      <a:gd name="connsiteX1" fmla="*/ 561189 w 581693"/>
                      <a:gd name="connsiteY1" fmla="*/ 1213888 h 1213887"/>
                      <a:gd name="connsiteX2" fmla="*/ 579637 w 581693"/>
                      <a:gd name="connsiteY2" fmla="*/ 480616 h 1213887"/>
                      <a:gd name="connsiteX3" fmla="*/ 434894 w 581693"/>
                      <a:gd name="connsiteY3" fmla="*/ 178610 h 1213887"/>
                      <a:gd name="connsiteX4" fmla="*/ 342230 w 581693"/>
                      <a:gd name="connsiteY4" fmla="*/ 70158 h 1213887"/>
                      <a:gd name="connsiteX5" fmla="*/ 125871 w 581693"/>
                      <a:gd name="connsiteY5" fmla="*/ 2535 h 1213887"/>
                      <a:gd name="connsiteX6" fmla="*/ 49296 w 581693"/>
                      <a:gd name="connsiteY6" fmla="*/ 803248 h 1213887"/>
                      <a:gd name="connsiteX7" fmla="*/ 0 w 581693"/>
                      <a:gd name="connsiteY7" fmla="*/ 1177596 h 12138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81693" h="1213887">
                        <a:moveTo>
                          <a:pt x="0" y="1177656"/>
                        </a:moveTo>
                        <a:lnTo>
                          <a:pt x="561189" y="1213888"/>
                        </a:lnTo>
                        <a:cubicBezTo>
                          <a:pt x="571229" y="1059769"/>
                          <a:pt x="587440" y="576063"/>
                          <a:pt x="579637" y="480616"/>
                        </a:cubicBezTo>
                        <a:cubicBezTo>
                          <a:pt x="567782" y="336055"/>
                          <a:pt x="434894" y="178610"/>
                          <a:pt x="434894" y="178610"/>
                        </a:cubicBezTo>
                        <a:cubicBezTo>
                          <a:pt x="434894" y="178610"/>
                          <a:pt x="368964" y="95502"/>
                          <a:pt x="342230" y="70158"/>
                        </a:cubicBezTo>
                        <a:cubicBezTo>
                          <a:pt x="338661" y="66771"/>
                          <a:pt x="237226" y="-15308"/>
                          <a:pt x="125871" y="2535"/>
                        </a:cubicBezTo>
                        <a:cubicBezTo>
                          <a:pt x="-63692" y="199477"/>
                          <a:pt x="37259" y="683668"/>
                          <a:pt x="49296" y="803248"/>
                        </a:cubicBezTo>
                        <a:cubicBezTo>
                          <a:pt x="60184" y="911397"/>
                          <a:pt x="8408" y="1132050"/>
                          <a:pt x="0" y="117759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2" name="Freihandform: Form 471">
                    <a:extLst>
                      <a:ext uri="{FF2B5EF4-FFF2-40B4-BE49-F238E27FC236}">
                        <a16:creationId xmlns:a16="http://schemas.microsoft.com/office/drawing/2014/main" id="{E2217F9D-68C2-49B3-653E-366333CF95FC}"/>
                      </a:ext>
                    </a:extLst>
                  </p:cNvPr>
                  <p:cNvSpPr/>
                  <p:nvPr/>
                </p:nvSpPr>
                <p:spPr>
                  <a:xfrm>
                    <a:off x="431918" y="2368973"/>
                    <a:ext cx="299871" cy="833700"/>
                  </a:xfrm>
                  <a:custGeom>
                    <a:avLst/>
                    <a:gdLst>
                      <a:gd name="connsiteX0" fmla="*/ 214737 w 299871"/>
                      <a:gd name="connsiteY0" fmla="*/ 243586 h 833700"/>
                      <a:gd name="connsiteX1" fmla="*/ 69934 w 299871"/>
                      <a:gd name="connsiteY1" fmla="*/ 12953 h 833700"/>
                      <a:gd name="connsiteX2" fmla="*/ 11625 w 299871"/>
                      <a:gd name="connsiteY2" fmla="*/ 413612 h 833700"/>
                      <a:gd name="connsiteX3" fmla="*/ 173062 w 299871"/>
                      <a:gd name="connsiteY3" fmla="*/ 832175 h 833700"/>
                      <a:gd name="connsiteX4" fmla="*/ 214737 w 299871"/>
                      <a:gd name="connsiteY4" fmla="*/ 243586 h 8337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9871" h="833700">
                        <a:moveTo>
                          <a:pt x="214737" y="243586"/>
                        </a:moveTo>
                        <a:cubicBezTo>
                          <a:pt x="198890" y="90315"/>
                          <a:pt x="116205" y="-42815"/>
                          <a:pt x="69934" y="12953"/>
                        </a:cubicBezTo>
                        <a:cubicBezTo>
                          <a:pt x="-45111" y="208323"/>
                          <a:pt x="17976" y="260462"/>
                          <a:pt x="11625" y="413612"/>
                        </a:cubicBezTo>
                        <a:cubicBezTo>
                          <a:pt x="2915" y="624103"/>
                          <a:pt x="31404" y="854676"/>
                          <a:pt x="173062" y="832175"/>
                        </a:cubicBezTo>
                        <a:cubicBezTo>
                          <a:pt x="424200" y="792315"/>
                          <a:pt x="226895" y="361473"/>
                          <a:pt x="214737" y="243586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73" name="Grafik 297">
                  <a:extLst>
                    <a:ext uri="{FF2B5EF4-FFF2-40B4-BE49-F238E27FC236}">
                      <a16:creationId xmlns:a16="http://schemas.microsoft.com/office/drawing/2014/main" id="{BC990033-B12E-225D-C171-DF3C51556DE1}"/>
                    </a:ext>
                  </a:extLst>
                </p:cNvPr>
                <p:cNvGrpSpPr/>
                <p:nvPr/>
              </p:nvGrpSpPr>
              <p:grpSpPr>
                <a:xfrm>
                  <a:off x="1054754" y="3219161"/>
                  <a:ext cx="382210" cy="209656"/>
                  <a:chOff x="1054754" y="3219161"/>
                  <a:chExt cx="382210" cy="209656"/>
                </a:xfrm>
                <a:solidFill>
                  <a:srgbClr val="02787D"/>
                </a:solidFill>
              </p:grpSpPr>
              <p:sp>
                <p:nvSpPr>
                  <p:cNvPr id="474" name="Freihandform: Form 473">
                    <a:extLst>
                      <a:ext uri="{FF2B5EF4-FFF2-40B4-BE49-F238E27FC236}">
                        <a16:creationId xmlns:a16="http://schemas.microsoft.com/office/drawing/2014/main" id="{AB937EF7-27B8-F587-C6B9-80F2FA9494E8}"/>
                      </a:ext>
                    </a:extLst>
                  </p:cNvPr>
                  <p:cNvSpPr/>
                  <p:nvPr/>
                </p:nvSpPr>
                <p:spPr>
                  <a:xfrm>
                    <a:off x="1054754" y="3240041"/>
                    <a:ext cx="118915" cy="118915"/>
                  </a:xfrm>
                  <a:custGeom>
                    <a:avLst/>
                    <a:gdLst>
                      <a:gd name="connsiteX0" fmla="*/ 118915 w 118915"/>
                      <a:gd name="connsiteY0" fmla="*/ 59458 h 118915"/>
                      <a:gd name="connsiteX1" fmla="*/ 59458 w 118915"/>
                      <a:gd name="connsiteY1" fmla="*/ 118915 h 118915"/>
                      <a:gd name="connsiteX2" fmla="*/ 0 w 118915"/>
                      <a:gd name="connsiteY2" fmla="*/ 59458 h 118915"/>
                      <a:gd name="connsiteX3" fmla="*/ 59458 w 118915"/>
                      <a:gd name="connsiteY3" fmla="*/ 0 h 118915"/>
                      <a:gd name="connsiteX4" fmla="*/ 118915 w 118915"/>
                      <a:gd name="connsiteY4" fmla="*/ 59458 h 118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8915" h="118915">
                        <a:moveTo>
                          <a:pt x="118915" y="59458"/>
                        </a:moveTo>
                        <a:cubicBezTo>
                          <a:pt x="118915" y="92295"/>
                          <a:pt x="92295" y="118915"/>
                          <a:pt x="59458" y="118915"/>
                        </a:cubicBezTo>
                        <a:cubicBezTo>
                          <a:pt x="26620" y="118915"/>
                          <a:pt x="0" y="92295"/>
                          <a:pt x="0" y="59458"/>
                        </a:cubicBezTo>
                        <a:cubicBezTo>
                          <a:pt x="0" y="26620"/>
                          <a:pt x="26620" y="0"/>
                          <a:pt x="59458" y="0"/>
                        </a:cubicBezTo>
                        <a:cubicBezTo>
                          <a:pt x="92295" y="0"/>
                          <a:pt x="118915" y="26620"/>
                          <a:pt x="118915" y="5945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475" name="Grafik 297">
                    <a:extLst>
                      <a:ext uri="{FF2B5EF4-FFF2-40B4-BE49-F238E27FC236}">
                        <a16:creationId xmlns:a16="http://schemas.microsoft.com/office/drawing/2014/main" id="{73FC30AC-B150-DA99-CD61-D7A71E6E4558}"/>
                      </a:ext>
                    </a:extLst>
                  </p:cNvPr>
                  <p:cNvGrpSpPr/>
                  <p:nvPr/>
                </p:nvGrpSpPr>
                <p:grpSpPr>
                  <a:xfrm>
                    <a:off x="1069820" y="3219161"/>
                    <a:ext cx="367143" cy="209656"/>
                    <a:chOff x="1069820" y="3219161"/>
                    <a:chExt cx="367143" cy="209656"/>
                  </a:xfrm>
                  <a:solidFill>
                    <a:srgbClr val="02787D"/>
                  </a:solidFill>
                </p:grpSpPr>
                <p:grpSp>
                  <p:nvGrpSpPr>
                    <p:cNvPr id="476" name="Grafik 297">
                      <a:extLst>
                        <a:ext uri="{FF2B5EF4-FFF2-40B4-BE49-F238E27FC236}">
                          <a16:creationId xmlns:a16="http://schemas.microsoft.com/office/drawing/2014/main" id="{98B9A424-AFA2-F455-104F-4D71848BFB4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64829" y="3326989"/>
                      <a:ext cx="172135" cy="51322"/>
                      <a:chOff x="1264829" y="3326989"/>
                      <a:chExt cx="172135" cy="51322"/>
                    </a:xfrm>
                    <a:solidFill>
                      <a:srgbClr val="02787D"/>
                    </a:solidFill>
                  </p:grpSpPr>
                  <p:sp>
                    <p:nvSpPr>
                      <p:cNvPr id="477" name="Freihandform: Form 476">
                        <a:extLst>
                          <a:ext uri="{FF2B5EF4-FFF2-40B4-BE49-F238E27FC236}">
                            <a16:creationId xmlns:a16="http://schemas.microsoft.com/office/drawing/2014/main" id="{7A45278D-E1EF-E357-F7EF-A0F4C0A84B4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64829" y="3326989"/>
                        <a:ext cx="79232" cy="51322"/>
                      </a:xfrm>
                      <a:custGeom>
                        <a:avLst/>
                        <a:gdLst>
                          <a:gd name="connsiteX0" fmla="*/ 63865 w 79232"/>
                          <a:gd name="connsiteY0" fmla="*/ 51323 h 51322"/>
                          <a:gd name="connsiteX1" fmla="*/ 79229 w 79232"/>
                          <a:gd name="connsiteY1" fmla="*/ 30999 h 51322"/>
                          <a:gd name="connsiteX2" fmla="*/ 65559 w 79232"/>
                          <a:gd name="connsiteY2" fmla="*/ 12551 h 51322"/>
                          <a:gd name="connsiteX3" fmla="*/ 23158 w 79232"/>
                          <a:gd name="connsiteY3" fmla="*/ 514 h 51322"/>
                          <a:gd name="connsiteX4" fmla="*/ 900 w 79232"/>
                          <a:gd name="connsiteY4" fmla="*/ 14668 h 51322"/>
                          <a:gd name="connsiteX5" fmla="*/ 16202 w 79232"/>
                          <a:gd name="connsiteY5" fmla="*/ 40133 h 51322"/>
                          <a:gd name="connsiteX6" fmla="*/ 63865 w 79232"/>
                          <a:gd name="connsiteY6" fmla="*/ 51323 h 5132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9232" h="51322">
                            <a:moveTo>
                              <a:pt x="63865" y="51323"/>
                            </a:moveTo>
                            <a:cubicBezTo>
                              <a:pt x="63865" y="51323"/>
                              <a:pt x="78987" y="46544"/>
                              <a:pt x="79229" y="30999"/>
                            </a:cubicBezTo>
                            <a:cubicBezTo>
                              <a:pt x="79471" y="15878"/>
                              <a:pt x="65559" y="12551"/>
                              <a:pt x="65559" y="12551"/>
                            </a:cubicBezTo>
                            <a:lnTo>
                              <a:pt x="23158" y="514"/>
                            </a:lnTo>
                            <a:cubicBezTo>
                              <a:pt x="11243" y="-1966"/>
                              <a:pt x="3440" y="4809"/>
                              <a:pt x="900" y="14668"/>
                            </a:cubicBezTo>
                            <a:cubicBezTo>
                              <a:pt x="-2064" y="24467"/>
                              <a:pt x="2109" y="36262"/>
                              <a:pt x="16202" y="40133"/>
                            </a:cubicBezTo>
                            <a:lnTo>
                              <a:pt x="63865" y="51323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78" name="Freihandform: Form 477">
                        <a:extLst>
                          <a:ext uri="{FF2B5EF4-FFF2-40B4-BE49-F238E27FC236}">
                            <a16:creationId xmlns:a16="http://schemas.microsoft.com/office/drawing/2014/main" id="{7DA27D00-08D0-E4BE-D7F9-27C1DD35C9C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6113" y="3336851"/>
                        <a:ext cx="66300" cy="41461"/>
                      </a:xfrm>
                      <a:custGeom>
                        <a:avLst/>
                        <a:gdLst>
                          <a:gd name="connsiteX0" fmla="*/ 57099 w 66300"/>
                          <a:gd name="connsiteY0" fmla="*/ 34384 h 41461"/>
                          <a:gd name="connsiteX1" fmla="*/ 65325 w 66300"/>
                          <a:gd name="connsiteY1" fmla="*/ 14424 h 41461"/>
                          <a:gd name="connsiteX2" fmla="*/ 51534 w 66300"/>
                          <a:gd name="connsiteY2" fmla="*/ 89 h 41461"/>
                          <a:gd name="connsiteX3" fmla="*/ 14275 w 66300"/>
                          <a:gd name="connsiteY3" fmla="*/ 2629 h 41461"/>
                          <a:gd name="connsiteX4" fmla="*/ 0 w 66300"/>
                          <a:gd name="connsiteY4" fmla="*/ 21319 h 41461"/>
                          <a:gd name="connsiteX5" fmla="*/ 12581 w 66300"/>
                          <a:gd name="connsiteY5" fmla="*/ 41461 h 41461"/>
                          <a:gd name="connsiteX6" fmla="*/ 57099 w 66300"/>
                          <a:gd name="connsiteY6" fmla="*/ 34384 h 4146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6300" h="41461">
                            <a:moveTo>
                              <a:pt x="57099" y="34384"/>
                            </a:moveTo>
                            <a:cubicBezTo>
                              <a:pt x="57099" y="34384"/>
                              <a:pt x="69861" y="28880"/>
                              <a:pt x="65325" y="14424"/>
                            </a:cubicBezTo>
                            <a:cubicBezTo>
                              <a:pt x="60184" y="-2028"/>
                              <a:pt x="51534" y="89"/>
                              <a:pt x="51534" y="89"/>
                            </a:cubicBezTo>
                            <a:lnTo>
                              <a:pt x="14275" y="2629"/>
                            </a:lnTo>
                            <a:cubicBezTo>
                              <a:pt x="5202" y="2629"/>
                              <a:pt x="61" y="13759"/>
                              <a:pt x="0" y="21319"/>
                            </a:cubicBezTo>
                            <a:cubicBezTo>
                              <a:pt x="423" y="33054"/>
                              <a:pt x="2057" y="38074"/>
                              <a:pt x="12581" y="41461"/>
                            </a:cubicBezTo>
                            <a:lnTo>
                              <a:pt x="57099" y="34384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79" name="Freihandform: Form 478">
                        <a:extLst>
                          <a:ext uri="{FF2B5EF4-FFF2-40B4-BE49-F238E27FC236}">
                            <a16:creationId xmlns:a16="http://schemas.microsoft.com/office/drawing/2014/main" id="{FEF10AE2-F1E7-6D8F-1523-CCCB7E0DB9A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780" y="3327234"/>
                        <a:ext cx="82184" cy="44013"/>
                      </a:xfrm>
                      <a:custGeom>
                        <a:avLst/>
                        <a:gdLst>
                          <a:gd name="connsiteX0" fmla="*/ 56720 w 82184"/>
                          <a:gd name="connsiteY0" fmla="*/ 27489 h 44013"/>
                          <a:gd name="connsiteX1" fmla="*/ 82185 w 82184"/>
                          <a:gd name="connsiteY1" fmla="*/ 16238 h 44013"/>
                          <a:gd name="connsiteX2" fmla="*/ 42082 w 82184"/>
                          <a:gd name="connsiteY2" fmla="*/ 1117 h 44013"/>
                          <a:gd name="connsiteX3" fmla="*/ 12868 w 82184"/>
                          <a:gd name="connsiteY3" fmla="*/ 9706 h 44013"/>
                          <a:gd name="connsiteX4" fmla="*/ 165 w 82184"/>
                          <a:gd name="connsiteY4" fmla="*/ 29484 h 44013"/>
                          <a:gd name="connsiteX5" fmla="*/ 18432 w 82184"/>
                          <a:gd name="connsiteY5" fmla="*/ 44001 h 44013"/>
                          <a:gd name="connsiteX6" fmla="*/ 56720 w 82184"/>
                          <a:gd name="connsiteY6" fmla="*/ 27489 h 440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82184" h="44013">
                            <a:moveTo>
                              <a:pt x="56720" y="27489"/>
                            </a:moveTo>
                            <a:lnTo>
                              <a:pt x="82185" y="16238"/>
                            </a:lnTo>
                            <a:cubicBezTo>
                              <a:pt x="75833" y="-517"/>
                              <a:pt x="55510" y="-1545"/>
                              <a:pt x="42082" y="1117"/>
                            </a:cubicBezTo>
                            <a:cubicBezTo>
                              <a:pt x="28654" y="3778"/>
                              <a:pt x="12868" y="9706"/>
                              <a:pt x="12868" y="9706"/>
                            </a:cubicBezTo>
                            <a:cubicBezTo>
                              <a:pt x="3916" y="11460"/>
                              <a:pt x="-984" y="19988"/>
                              <a:pt x="165" y="29484"/>
                            </a:cubicBezTo>
                            <a:cubicBezTo>
                              <a:pt x="1315" y="38981"/>
                              <a:pt x="9299" y="44304"/>
                              <a:pt x="18432" y="44001"/>
                            </a:cubicBezTo>
                            <a:lnTo>
                              <a:pt x="56720" y="27489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0" name="Freihandform: Form 479">
                        <a:extLst>
                          <a:ext uri="{FF2B5EF4-FFF2-40B4-BE49-F238E27FC236}">
                            <a16:creationId xmlns:a16="http://schemas.microsoft.com/office/drawing/2014/main" id="{5A4F0C9C-CD9E-05D5-4C19-4D699F1E2FA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85508" y="3327201"/>
                        <a:ext cx="103672" cy="28807"/>
                      </a:xfrm>
                      <a:custGeom>
                        <a:avLst/>
                        <a:gdLst>
                          <a:gd name="connsiteX0" fmla="*/ 103673 w 103672"/>
                          <a:gd name="connsiteY0" fmla="*/ 2964 h 28807"/>
                          <a:gd name="connsiteX1" fmla="*/ 82140 w 103672"/>
                          <a:gd name="connsiteY1" fmla="*/ 9799 h 28807"/>
                          <a:gd name="connsiteX2" fmla="*/ 44881 w 103672"/>
                          <a:gd name="connsiteY2" fmla="*/ 12339 h 28807"/>
                          <a:gd name="connsiteX3" fmla="*/ 2480 w 103672"/>
                          <a:gd name="connsiteY3" fmla="*/ 302 h 28807"/>
                          <a:gd name="connsiteX4" fmla="*/ 0 w 103672"/>
                          <a:gd name="connsiteY4" fmla="*/ 0 h 28807"/>
                          <a:gd name="connsiteX5" fmla="*/ 16573 w 103672"/>
                          <a:gd name="connsiteY5" fmla="*/ 22864 h 28807"/>
                          <a:gd name="connsiteX6" fmla="*/ 63510 w 103672"/>
                          <a:gd name="connsiteY6" fmla="*/ 26916 h 28807"/>
                          <a:gd name="connsiteX7" fmla="*/ 103673 w 103672"/>
                          <a:gd name="connsiteY7" fmla="*/ 3024 h 28807"/>
                          <a:gd name="connsiteX8" fmla="*/ 103673 w 103672"/>
                          <a:gd name="connsiteY8" fmla="*/ 3024 h 2880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03672" h="28807">
                            <a:moveTo>
                              <a:pt x="103673" y="2964"/>
                            </a:moveTo>
                            <a:cubicBezTo>
                              <a:pt x="92544" y="5867"/>
                              <a:pt x="82140" y="9799"/>
                              <a:pt x="82140" y="9799"/>
                            </a:cubicBezTo>
                            <a:lnTo>
                              <a:pt x="44881" y="12339"/>
                            </a:lnTo>
                            <a:lnTo>
                              <a:pt x="2480" y="302"/>
                            </a:lnTo>
                            <a:cubicBezTo>
                              <a:pt x="1633" y="121"/>
                              <a:pt x="847" y="121"/>
                              <a:pt x="0" y="0"/>
                            </a:cubicBezTo>
                            <a:cubicBezTo>
                              <a:pt x="0" y="0"/>
                              <a:pt x="7803" y="19718"/>
                              <a:pt x="16573" y="22864"/>
                            </a:cubicBezTo>
                            <a:cubicBezTo>
                              <a:pt x="25404" y="26009"/>
                              <a:pt x="32844" y="31815"/>
                              <a:pt x="63510" y="26916"/>
                            </a:cubicBezTo>
                            <a:cubicBezTo>
                              <a:pt x="84196" y="23589"/>
                              <a:pt x="103673" y="3024"/>
                              <a:pt x="103673" y="3024"/>
                            </a:cubicBezTo>
                            <a:lnTo>
                              <a:pt x="103673" y="3024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81" name="Grafik 297">
                      <a:extLst>
                        <a:ext uri="{FF2B5EF4-FFF2-40B4-BE49-F238E27FC236}">
                          <a16:creationId xmlns:a16="http://schemas.microsoft.com/office/drawing/2014/main" id="{E1D8EBF0-CEED-5DB8-4FDF-D9C9B820626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50636" y="3354113"/>
                      <a:ext cx="167214" cy="58191"/>
                      <a:chOff x="1250636" y="3354113"/>
                      <a:chExt cx="167214" cy="58191"/>
                    </a:xfrm>
                    <a:solidFill>
                      <a:srgbClr val="02787D"/>
                    </a:solidFill>
                  </p:grpSpPr>
                  <p:sp>
                    <p:nvSpPr>
                      <p:cNvPr id="482" name="Freihandform: Form 481">
                        <a:extLst>
                          <a:ext uri="{FF2B5EF4-FFF2-40B4-BE49-F238E27FC236}">
                            <a16:creationId xmlns:a16="http://schemas.microsoft.com/office/drawing/2014/main" id="{B46CC4C8-C6B8-97B0-C132-D3890BFE16B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50636" y="3363067"/>
                        <a:ext cx="81268" cy="49237"/>
                      </a:xfrm>
                      <a:custGeom>
                        <a:avLst/>
                        <a:gdLst>
                          <a:gd name="connsiteX0" fmla="*/ 69530 w 81268"/>
                          <a:gd name="connsiteY0" fmla="*/ 49177 h 49237"/>
                          <a:gd name="connsiteX1" fmla="*/ 81022 w 81268"/>
                          <a:gd name="connsiteY1" fmla="*/ 30426 h 49237"/>
                          <a:gd name="connsiteX2" fmla="*/ 64993 w 81268"/>
                          <a:gd name="connsiteY2" fmla="*/ 11131 h 49237"/>
                          <a:gd name="connsiteX3" fmla="*/ 23803 w 81268"/>
                          <a:gd name="connsiteY3" fmla="*/ 304 h 49237"/>
                          <a:gd name="connsiteX4" fmla="*/ 757 w 81268"/>
                          <a:gd name="connsiteY4" fmla="*/ 14216 h 49237"/>
                          <a:gd name="connsiteX5" fmla="*/ 17089 w 81268"/>
                          <a:gd name="connsiteY5" fmla="*/ 39076 h 49237"/>
                          <a:gd name="connsiteX6" fmla="*/ 69590 w 81268"/>
                          <a:gd name="connsiteY6" fmla="*/ 49237 h 492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81268" h="49237">
                            <a:moveTo>
                              <a:pt x="69530" y="49177"/>
                            </a:moveTo>
                            <a:cubicBezTo>
                              <a:pt x="69530" y="49177"/>
                              <a:pt x="83260" y="45003"/>
                              <a:pt x="81022" y="30426"/>
                            </a:cubicBezTo>
                            <a:cubicBezTo>
                              <a:pt x="78361" y="12885"/>
                              <a:pt x="64993" y="11131"/>
                              <a:pt x="64993" y="11131"/>
                            </a:cubicBezTo>
                            <a:lnTo>
                              <a:pt x="23803" y="304"/>
                            </a:lnTo>
                            <a:cubicBezTo>
                              <a:pt x="11826" y="-1450"/>
                              <a:pt x="3177" y="4538"/>
                              <a:pt x="757" y="14216"/>
                            </a:cubicBezTo>
                            <a:cubicBezTo>
                              <a:pt x="-2146" y="23773"/>
                              <a:pt x="3298" y="35265"/>
                              <a:pt x="17089" y="39076"/>
                            </a:cubicBezTo>
                            <a:lnTo>
                              <a:pt x="69590" y="4923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3" name="Freihandform: Form 482">
                        <a:extLst>
                          <a:ext uri="{FF2B5EF4-FFF2-40B4-BE49-F238E27FC236}">
                            <a16:creationId xmlns:a16="http://schemas.microsoft.com/office/drawing/2014/main" id="{344A496B-416F-377F-4403-3CBDB0EA17F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3585" y="3362437"/>
                        <a:ext cx="66097" cy="49807"/>
                      </a:xfrm>
                      <a:custGeom>
                        <a:avLst/>
                        <a:gdLst>
                          <a:gd name="connsiteX0" fmla="*/ 56441 w 66097"/>
                          <a:gd name="connsiteY0" fmla="*/ 32569 h 49807"/>
                          <a:gd name="connsiteX1" fmla="*/ 65272 w 66097"/>
                          <a:gd name="connsiteY1" fmla="*/ 13093 h 49807"/>
                          <a:gd name="connsiteX2" fmla="*/ 48578 w 66097"/>
                          <a:gd name="connsiteY2" fmla="*/ 330 h 49807"/>
                          <a:gd name="connsiteX3" fmla="*/ 11621 w 66097"/>
                          <a:gd name="connsiteY3" fmla="*/ 11762 h 49807"/>
                          <a:gd name="connsiteX4" fmla="*/ 68 w 66097"/>
                          <a:gd name="connsiteY4" fmla="*/ 31057 h 49807"/>
                          <a:gd name="connsiteX5" fmla="*/ 16581 w 66097"/>
                          <a:gd name="connsiteY5" fmla="*/ 49808 h 49807"/>
                          <a:gd name="connsiteX6" fmla="*/ 56441 w 66097"/>
                          <a:gd name="connsiteY6" fmla="*/ 32569 h 4980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6097" h="49807">
                            <a:moveTo>
                              <a:pt x="56441" y="32569"/>
                            </a:moveTo>
                            <a:cubicBezTo>
                              <a:pt x="56441" y="32569"/>
                              <a:pt x="69445" y="29424"/>
                              <a:pt x="65272" y="13093"/>
                            </a:cubicBezTo>
                            <a:cubicBezTo>
                              <a:pt x="60977" y="-3239"/>
                              <a:pt x="48578" y="330"/>
                              <a:pt x="48578" y="330"/>
                            </a:cubicBezTo>
                            <a:lnTo>
                              <a:pt x="11621" y="11762"/>
                            </a:lnTo>
                            <a:cubicBezTo>
                              <a:pt x="5391" y="17871"/>
                              <a:pt x="673" y="23194"/>
                              <a:pt x="68" y="31057"/>
                            </a:cubicBezTo>
                            <a:cubicBezTo>
                              <a:pt x="-537" y="38920"/>
                              <a:pt x="2729" y="47751"/>
                              <a:pt x="16581" y="49808"/>
                            </a:cubicBezTo>
                            <a:lnTo>
                              <a:pt x="56441" y="32569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4" name="Freihandform: Form 483">
                        <a:extLst>
                          <a:ext uri="{FF2B5EF4-FFF2-40B4-BE49-F238E27FC236}">
                            <a16:creationId xmlns:a16="http://schemas.microsoft.com/office/drawing/2014/main" id="{BDB77721-DB70-8551-CDB4-8BE8A1C2B22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3092" y="3354113"/>
                        <a:ext cx="74758" cy="40567"/>
                      </a:xfrm>
                      <a:custGeom>
                        <a:avLst/>
                        <a:gdLst>
                          <a:gd name="connsiteX0" fmla="*/ 49839 w 74758"/>
                          <a:gd name="connsiteY0" fmla="*/ 26920 h 40567"/>
                          <a:gd name="connsiteX1" fmla="*/ 74759 w 74758"/>
                          <a:gd name="connsiteY1" fmla="*/ 16093 h 40567"/>
                          <a:gd name="connsiteX2" fmla="*/ 35685 w 74758"/>
                          <a:gd name="connsiteY2" fmla="*/ 1032 h 40567"/>
                          <a:gd name="connsiteX3" fmla="*/ 7498 w 74758"/>
                          <a:gd name="connsiteY3" fmla="*/ 9137 h 40567"/>
                          <a:gd name="connsiteX4" fmla="*/ 845 w 74758"/>
                          <a:gd name="connsiteY4" fmla="*/ 28977 h 40567"/>
                          <a:gd name="connsiteX5" fmla="*/ 18507 w 74758"/>
                          <a:gd name="connsiteY5" fmla="*/ 40348 h 40567"/>
                          <a:gd name="connsiteX6" fmla="*/ 49899 w 74758"/>
                          <a:gd name="connsiteY6" fmla="*/ 26920 h 4056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4758" h="40567">
                            <a:moveTo>
                              <a:pt x="49839" y="26920"/>
                            </a:moveTo>
                            <a:lnTo>
                              <a:pt x="74759" y="16093"/>
                            </a:lnTo>
                            <a:cubicBezTo>
                              <a:pt x="68650" y="-359"/>
                              <a:pt x="48810" y="-1508"/>
                              <a:pt x="35685" y="1032"/>
                            </a:cubicBezTo>
                            <a:cubicBezTo>
                              <a:pt x="22559" y="3572"/>
                              <a:pt x="7498" y="9137"/>
                              <a:pt x="7498" y="9137"/>
                            </a:cubicBezTo>
                            <a:cubicBezTo>
                              <a:pt x="-1030" y="14400"/>
                              <a:pt x="-667" y="22202"/>
                              <a:pt x="845" y="28977"/>
                            </a:cubicBezTo>
                            <a:cubicBezTo>
                              <a:pt x="2599" y="36840"/>
                              <a:pt x="9676" y="41679"/>
                              <a:pt x="18507" y="40348"/>
                            </a:cubicBezTo>
                            <a:lnTo>
                              <a:pt x="49899" y="26920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85" name="Grafik 297">
                      <a:extLst>
                        <a:ext uri="{FF2B5EF4-FFF2-40B4-BE49-F238E27FC236}">
                          <a16:creationId xmlns:a16="http://schemas.microsoft.com/office/drawing/2014/main" id="{F641BF49-0106-98D8-4960-C17443E6F00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19789" y="3374219"/>
                      <a:ext cx="153786" cy="54598"/>
                      <a:chOff x="1219789" y="3374219"/>
                      <a:chExt cx="153786" cy="54598"/>
                    </a:xfrm>
                    <a:solidFill>
                      <a:srgbClr val="02787D"/>
                    </a:solidFill>
                  </p:grpSpPr>
                  <p:sp>
                    <p:nvSpPr>
                      <p:cNvPr id="486" name="Freihandform: Form 485">
                        <a:extLst>
                          <a:ext uri="{FF2B5EF4-FFF2-40B4-BE49-F238E27FC236}">
                            <a16:creationId xmlns:a16="http://schemas.microsoft.com/office/drawing/2014/main" id="{BCCAD320-23D8-0B40-718C-285C4EE90C6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19789" y="3382861"/>
                        <a:ext cx="71114" cy="45956"/>
                      </a:xfrm>
                      <a:custGeom>
                        <a:avLst/>
                        <a:gdLst>
                          <a:gd name="connsiteX0" fmla="*/ 62513 w 71114"/>
                          <a:gd name="connsiteY0" fmla="*/ 45956 h 45956"/>
                          <a:gd name="connsiteX1" fmla="*/ 70195 w 71114"/>
                          <a:gd name="connsiteY1" fmla="*/ 29746 h 45956"/>
                          <a:gd name="connsiteX2" fmla="*/ 65537 w 71114"/>
                          <a:gd name="connsiteY2" fmla="*/ 13233 h 45956"/>
                          <a:gd name="connsiteX3" fmla="*/ 19568 w 71114"/>
                          <a:gd name="connsiteY3" fmla="*/ 410 h 45956"/>
                          <a:gd name="connsiteX4" fmla="*/ 999 w 71114"/>
                          <a:gd name="connsiteY4" fmla="*/ 10753 h 45956"/>
                          <a:gd name="connsiteX5" fmla="*/ 13399 w 71114"/>
                          <a:gd name="connsiteY5" fmla="*/ 36702 h 45956"/>
                          <a:gd name="connsiteX6" fmla="*/ 62513 w 71114"/>
                          <a:gd name="connsiteY6" fmla="*/ 45956 h 4595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1114" h="45956">
                            <a:moveTo>
                              <a:pt x="62513" y="45956"/>
                            </a:moveTo>
                            <a:cubicBezTo>
                              <a:pt x="62513" y="45956"/>
                              <a:pt x="66566" y="43053"/>
                              <a:pt x="70195" y="29746"/>
                            </a:cubicBezTo>
                            <a:cubicBezTo>
                              <a:pt x="73824" y="16379"/>
                              <a:pt x="65537" y="13233"/>
                              <a:pt x="65537" y="13233"/>
                            </a:cubicBezTo>
                            <a:lnTo>
                              <a:pt x="19568" y="410"/>
                            </a:lnTo>
                            <a:cubicBezTo>
                              <a:pt x="8378" y="-1162"/>
                              <a:pt x="3237" y="1681"/>
                              <a:pt x="999" y="10753"/>
                            </a:cubicBezTo>
                            <a:cubicBezTo>
                              <a:pt x="-1662" y="19705"/>
                              <a:pt x="515" y="33194"/>
                              <a:pt x="13399" y="36702"/>
                            </a:cubicBezTo>
                            <a:lnTo>
                              <a:pt x="62513" y="45956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7" name="Freihandform: Form 486">
                        <a:extLst>
                          <a:ext uri="{FF2B5EF4-FFF2-40B4-BE49-F238E27FC236}">
                            <a16:creationId xmlns:a16="http://schemas.microsoft.com/office/drawing/2014/main" id="{FF070828-4CDE-604C-AD71-F8E8FE53BA2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70181" y="3381975"/>
                        <a:ext cx="59305" cy="46842"/>
                      </a:xfrm>
                      <a:custGeom>
                        <a:avLst/>
                        <a:gdLst>
                          <a:gd name="connsiteX0" fmla="*/ 49320 w 59305"/>
                          <a:gd name="connsiteY0" fmla="*/ 30572 h 46842"/>
                          <a:gd name="connsiteX1" fmla="*/ 58574 w 59305"/>
                          <a:gd name="connsiteY1" fmla="*/ 11338 h 46842"/>
                          <a:gd name="connsiteX2" fmla="*/ 41154 w 59305"/>
                          <a:gd name="connsiteY2" fmla="*/ 632 h 46842"/>
                          <a:gd name="connsiteX3" fmla="*/ 13330 w 59305"/>
                          <a:gd name="connsiteY3" fmla="*/ 13636 h 46842"/>
                          <a:gd name="connsiteX4" fmla="*/ 23 w 59305"/>
                          <a:gd name="connsiteY4" fmla="*/ 28213 h 46842"/>
                          <a:gd name="connsiteX5" fmla="*/ 12121 w 59305"/>
                          <a:gd name="connsiteY5" fmla="*/ 46843 h 46842"/>
                          <a:gd name="connsiteX6" fmla="*/ 49320 w 59305"/>
                          <a:gd name="connsiteY6" fmla="*/ 30572 h 4684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9305" h="46842">
                            <a:moveTo>
                              <a:pt x="49320" y="30572"/>
                            </a:moveTo>
                            <a:cubicBezTo>
                              <a:pt x="49320" y="30572"/>
                              <a:pt x="62506" y="26641"/>
                              <a:pt x="58574" y="11338"/>
                            </a:cubicBezTo>
                            <a:cubicBezTo>
                              <a:pt x="54461" y="-3905"/>
                              <a:pt x="41154" y="632"/>
                              <a:pt x="41154" y="632"/>
                            </a:cubicBezTo>
                            <a:lnTo>
                              <a:pt x="13330" y="13636"/>
                            </a:lnTo>
                            <a:cubicBezTo>
                              <a:pt x="5467" y="14967"/>
                              <a:pt x="326" y="15511"/>
                              <a:pt x="23" y="28213"/>
                            </a:cubicBezTo>
                            <a:cubicBezTo>
                              <a:pt x="-279" y="40915"/>
                              <a:pt x="2261" y="44968"/>
                              <a:pt x="12121" y="46843"/>
                            </a:cubicBezTo>
                            <a:lnTo>
                              <a:pt x="49320" y="30572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8" name="Freihandform: Form 487">
                        <a:extLst>
                          <a:ext uri="{FF2B5EF4-FFF2-40B4-BE49-F238E27FC236}">
                            <a16:creationId xmlns:a16="http://schemas.microsoft.com/office/drawing/2014/main" id="{95A5D970-2A19-EA1E-8346-CD4EC68DA0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4207" y="3374219"/>
                        <a:ext cx="69368" cy="38586"/>
                      </a:xfrm>
                      <a:custGeom>
                        <a:avLst/>
                        <a:gdLst>
                          <a:gd name="connsiteX0" fmla="*/ 46081 w 69368"/>
                          <a:gd name="connsiteY0" fmla="*/ 25142 h 38586"/>
                          <a:gd name="connsiteX1" fmla="*/ 69368 w 69368"/>
                          <a:gd name="connsiteY1" fmla="*/ 14920 h 38586"/>
                          <a:gd name="connsiteX2" fmla="*/ 32714 w 69368"/>
                          <a:gd name="connsiteY2" fmla="*/ 1008 h 38586"/>
                          <a:gd name="connsiteX3" fmla="*/ 7128 w 69368"/>
                          <a:gd name="connsiteY3" fmla="*/ 8447 h 38586"/>
                          <a:gd name="connsiteX4" fmla="*/ 656 w 69368"/>
                          <a:gd name="connsiteY4" fmla="*/ 23569 h 38586"/>
                          <a:gd name="connsiteX5" fmla="*/ 15294 w 69368"/>
                          <a:gd name="connsiteY5" fmla="*/ 38388 h 38586"/>
                          <a:gd name="connsiteX6" fmla="*/ 46081 w 69368"/>
                          <a:gd name="connsiteY6" fmla="*/ 25142 h 385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9368" h="38586">
                            <a:moveTo>
                              <a:pt x="46081" y="25142"/>
                            </a:moveTo>
                            <a:lnTo>
                              <a:pt x="69368" y="14920"/>
                            </a:lnTo>
                            <a:cubicBezTo>
                              <a:pt x="63562" y="-444"/>
                              <a:pt x="44992" y="-1412"/>
                              <a:pt x="32714" y="1008"/>
                            </a:cubicBezTo>
                            <a:cubicBezTo>
                              <a:pt x="20435" y="3427"/>
                              <a:pt x="7128" y="8447"/>
                              <a:pt x="7128" y="8447"/>
                            </a:cubicBezTo>
                            <a:cubicBezTo>
                              <a:pt x="-917" y="12863"/>
                              <a:pt x="-554" y="17157"/>
                              <a:pt x="656" y="23569"/>
                            </a:cubicBezTo>
                            <a:cubicBezTo>
                              <a:pt x="1926" y="30585"/>
                              <a:pt x="7128" y="40082"/>
                              <a:pt x="15294" y="38388"/>
                            </a:cubicBezTo>
                            <a:lnTo>
                              <a:pt x="46081" y="25142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489" name="Freihandform: Form 488">
                      <a:extLst>
                        <a:ext uri="{FF2B5EF4-FFF2-40B4-BE49-F238E27FC236}">
                          <a16:creationId xmlns:a16="http://schemas.microsoft.com/office/drawing/2014/main" id="{835EF62D-8ADC-B10D-4332-7379716CF6C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9820" y="3243005"/>
                      <a:ext cx="221554" cy="177405"/>
                    </a:xfrm>
                    <a:custGeom>
                      <a:avLst/>
                      <a:gdLst>
                        <a:gd name="connsiteX0" fmla="*/ 8644 w 221554"/>
                        <a:gd name="connsiteY0" fmla="*/ 104036 h 177405"/>
                        <a:gd name="connsiteX1" fmla="*/ 72154 w 221554"/>
                        <a:gd name="connsiteY1" fmla="*/ 151094 h 177405"/>
                        <a:gd name="connsiteX2" fmla="*/ 167056 w 221554"/>
                        <a:gd name="connsiteY2" fmla="*/ 177405 h 177405"/>
                        <a:gd name="connsiteX3" fmla="*/ 221554 w 221554"/>
                        <a:gd name="connsiteY3" fmla="*/ 56917 h 177405"/>
                        <a:gd name="connsiteX4" fmla="*/ 195001 w 221554"/>
                        <a:gd name="connsiteY4" fmla="*/ 39739 h 177405"/>
                        <a:gd name="connsiteX5" fmla="*/ 58968 w 221554"/>
                        <a:gd name="connsiteY5" fmla="*/ 0 h 177405"/>
                        <a:gd name="connsiteX6" fmla="*/ 8644 w 221554"/>
                        <a:gd name="connsiteY6" fmla="*/ 104096 h 17740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221554" h="177405">
                          <a:moveTo>
                            <a:pt x="8644" y="104036"/>
                          </a:moveTo>
                          <a:cubicBezTo>
                            <a:pt x="21890" y="119339"/>
                            <a:pt x="47415" y="136396"/>
                            <a:pt x="72154" y="151094"/>
                          </a:cubicBezTo>
                          <a:cubicBezTo>
                            <a:pt x="124898" y="172990"/>
                            <a:pt x="165786" y="177103"/>
                            <a:pt x="167056" y="177405"/>
                          </a:cubicBezTo>
                          <a:cubicBezTo>
                            <a:pt x="170504" y="176317"/>
                            <a:pt x="221131" y="153876"/>
                            <a:pt x="221554" y="56917"/>
                          </a:cubicBezTo>
                          <a:cubicBezTo>
                            <a:pt x="188287" y="49961"/>
                            <a:pt x="195061" y="39860"/>
                            <a:pt x="195001" y="39739"/>
                          </a:cubicBezTo>
                          <a:lnTo>
                            <a:pt x="58968" y="0"/>
                          </a:lnTo>
                          <a:cubicBezTo>
                            <a:pt x="22011" y="0"/>
                            <a:pt x="-17970" y="83229"/>
                            <a:pt x="8644" y="104096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90" name="Freihandform: Form 489">
                      <a:extLst>
                        <a:ext uri="{FF2B5EF4-FFF2-40B4-BE49-F238E27FC236}">
                          <a16:creationId xmlns:a16="http://schemas.microsoft.com/office/drawing/2014/main" id="{AB92DEA1-9D3C-EC90-CAF4-55DF7201FB5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0941" y="3219161"/>
                      <a:ext cx="147269" cy="87642"/>
                    </a:xfrm>
                    <a:custGeom>
                      <a:avLst/>
                      <a:gdLst>
                        <a:gd name="connsiteX0" fmla="*/ 8271 w 147269"/>
                        <a:gd name="connsiteY0" fmla="*/ 22815 h 87642"/>
                        <a:gd name="connsiteX1" fmla="*/ 123497 w 147269"/>
                        <a:gd name="connsiteY1" fmla="*/ 4428 h 87642"/>
                        <a:gd name="connsiteX2" fmla="*/ 134384 w 147269"/>
                        <a:gd name="connsiteY2" fmla="*/ 67454 h 87642"/>
                        <a:gd name="connsiteX3" fmla="*/ 63797 w 147269"/>
                        <a:gd name="connsiteY3" fmla="*/ 87475 h 87642"/>
                        <a:gd name="connsiteX4" fmla="*/ 8271 w 147269"/>
                        <a:gd name="connsiteY4" fmla="*/ 22815 h 8764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47269" h="87642">
                          <a:moveTo>
                            <a:pt x="8271" y="22815"/>
                          </a:moveTo>
                          <a:cubicBezTo>
                            <a:pt x="41720" y="-1258"/>
                            <a:pt x="87992" y="-4222"/>
                            <a:pt x="123497" y="4428"/>
                          </a:cubicBezTo>
                          <a:cubicBezTo>
                            <a:pt x="157006" y="18763"/>
                            <a:pt x="149687" y="62797"/>
                            <a:pt x="134384" y="67454"/>
                          </a:cubicBezTo>
                          <a:cubicBezTo>
                            <a:pt x="134384" y="67454"/>
                            <a:pt x="88717" y="86023"/>
                            <a:pt x="63797" y="87475"/>
                          </a:cubicBezTo>
                          <a:cubicBezTo>
                            <a:pt x="1073" y="91044"/>
                            <a:pt x="-10722" y="36546"/>
                            <a:pt x="8271" y="2281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91" name="Freihandform: Form 490">
                      <a:extLst>
                        <a:ext uri="{FF2B5EF4-FFF2-40B4-BE49-F238E27FC236}">
                          <a16:creationId xmlns:a16="http://schemas.microsoft.com/office/drawing/2014/main" id="{0EF72698-E998-8937-E4B2-A512AD6A70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14311" y="3223039"/>
                      <a:ext cx="149283" cy="73980"/>
                    </a:xfrm>
                    <a:custGeom>
                      <a:avLst/>
                      <a:gdLst>
                        <a:gd name="connsiteX0" fmla="*/ 30126 w 149283"/>
                        <a:gd name="connsiteY0" fmla="*/ 550 h 73980"/>
                        <a:gd name="connsiteX1" fmla="*/ 91217 w 149283"/>
                        <a:gd name="connsiteY1" fmla="*/ 21417 h 73980"/>
                        <a:gd name="connsiteX2" fmla="*/ 149284 w 149283"/>
                        <a:gd name="connsiteY2" fmla="*/ 59947 h 73980"/>
                        <a:gd name="connsiteX3" fmla="*/ 122912 w 149283"/>
                        <a:gd name="connsiteY3" fmla="*/ 73979 h 73980"/>
                        <a:gd name="connsiteX4" fmla="*/ 84685 w 149283"/>
                        <a:gd name="connsiteY4" fmla="*/ 56983 h 73980"/>
                        <a:gd name="connsiteX5" fmla="*/ 50510 w 149283"/>
                        <a:gd name="connsiteY5" fmla="*/ 59705 h 73980"/>
                        <a:gd name="connsiteX6" fmla="*/ 4 w 149283"/>
                        <a:gd name="connsiteY6" fmla="*/ 27526 h 73980"/>
                        <a:gd name="connsiteX7" fmla="*/ 30126 w 149283"/>
                        <a:gd name="connsiteY7" fmla="*/ 550 h 7398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49283" h="73980">
                          <a:moveTo>
                            <a:pt x="30126" y="550"/>
                          </a:moveTo>
                          <a:lnTo>
                            <a:pt x="91217" y="21417"/>
                          </a:lnTo>
                          <a:lnTo>
                            <a:pt x="149284" y="59947"/>
                          </a:lnTo>
                          <a:cubicBezTo>
                            <a:pt x="149284" y="59947"/>
                            <a:pt x="146622" y="73617"/>
                            <a:pt x="122912" y="73979"/>
                          </a:cubicBezTo>
                          <a:cubicBezTo>
                            <a:pt x="115956" y="74101"/>
                            <a:pt x="97266" y="62911"/>
                            <a:pt x="84685" y="56983"/>
                          </a:cubicBezTo>
                          <a:cubicBezTo>
                            <a:pt x="62002" y="56076"/>
                            <a:pt x="50510" y="59705"/>
                            <a:pt x="50510" y="59705"/>
                          </a:cubicBezTo>
                          <a:cubicBezTo>
                            <a:pt x="50510" y="59705"/>
                            <a:pt x="791" y="61398"/>
                            <a:pt x="4" y="27526"/>
                          </a:cubicBezTo>
                          <a:cubicBezTo>
                            <a:pt x="-359" y="12405"/>
                            <a:pt x="21900" y="-3140"/>
                            <a:pt x="30126" y="550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492" name="Grafik 297">
                      <a:extLst>
                        <a:ext uri="{FF2B5EF4-FFF2-40B4-BE49-F238E27FC236}">
                          <a16:creationId xmlns:a16="http://schemas.microsoft.com/office/drawing/2014/main" id="{DDDF0A67-EC11-8CBE-8A58-F2B26F68EC2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66882" y="3299490"/>
                      <a:ext cx="158227" cy="46280"/>
                      <a:chOff x="1266882" y="3299490"/>
                      <a:chExt cx="158227" cy="46280"/>
                    </a:xfrm>
                    <a:solidFill>
                      <a:srgbClr val="02787D"/>
                    </a:solidFill>
                  </p:grpSpPr>
                  <p:sp>
                    <p:nvSpPr>
                      <p:cNvPr id="493" name="Freihandform: Form 492">
                        <a:extLst>
                          <a:ext uri="{FF2B5EF4-FFF2-40B4-BE49-F238E27FC236}">
                            <a16:creationId xmlns:a16="http://schemas.microsoft.com/office/drawing/2014/main" id="{60C40D62-18B2-892E-14A9-C7F5724EA9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66882" y="3299490"/>
                        <a:ext cx="75457" cy="46280"/>
                      </a:xfrm>
                      <a:custGeom>
                        <a:avLst/>
                        <a:gdLst>
                          <a:gd name="connsiteX0" fmla="*/ 58849 w 75457"/>
                          <a:gd name="connsiteY0" fmla="*/ 46280 h 46280"/>
                          <a:gd name="connsiteX1" fmla="*/ 74938 w 75457"/>
                          <a:gd name="connsiteY1" fmla="*/ 30009 h 46280"/>
                          <a:gd name="connsiteX2" fmla="*/ 61450 w 75457"/>
                          <a:gd name="connsiteY2" fmla="*/ 10956 h 46280"/>
                          <a:gd name="connsiteX3" fmla="*/ 24432 w 75457"/>
                          <a:gd name="connsiteY3" fmla="*/ 432 h 46280"/>
                          <a:gd name="connsiteX4" fmla="*/ 540 w 75457"/>
                          <a:gd name="connsiteY4" fmla="*/ 10775 h 46280"/>
                          <a:gd name="connsiteX5" fmla="*/ 18142 w 75457"/>
                          <a:gd name="connsiteY5" fmla="*/ 36663 h 46280"/>
                          <a:gd name="connsiteX6" fmla="*/ 58849 w 75457"/>
                          <a:gd name="connsiteY6" fmla="*/ 46220 h 4628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5457" h="46280">
                            <a:moveTo>
                              <a:pt x="58849" y="46280"/>
                            </a:moveTo>
                            <a:cubicBezTo>
                              <a:pt x="58849" y="46280"/>
                              <a:pt x="71248" y="43316"/>
                              <a:pt x="74938" y="30009"/>
                            </a:cubicBezTo>
                            <a:cubicBezTo>
                              <a:pt x="78628" y="16703"/>
                              <a:pt x="61450" y="10956"/>
                              <a:pt x="61450" y="10956"/>
                            </a:cubicBezTo>
                            <a:lnTo>
                              <a:pt x="24432" y="432"/>
                            </a:lnTo>
                            <a:cubicBezTo>
                              <a:pt x="13242" y="-1201"/>
                              <a:pt x="2778" y="1702"/>
                              <a:pt x="540" y="10775"/>
                            </a:cubicBezTo>
                            <a:cubicBezTo>
                              <a:pt x="-2121" y="19727"/>
                              <a:pt x="5258" y="33094"/>
                              <a:pt x="18142" y="36663"/>
                            </a:cubicBezTo>
                            <a:lnTo>
                              <a:pt x="58849" y="46220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94" name="Freihandform: Form 493">
                        <a:extLst>
                          <a:ext uri="{FF2B5EF4-FFF2-40B4-BE49-F238E27FC236}">
                            <a16:creationId xmlns:a16="http://schemas.microsoft.com/office/drawing/2014/main" id="{21B64AC0-4136-EB30-E9E7-F80D4D0006E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0046" y="3310251"/>
                        <a:ext cx="65362" cy="35519"/>
                      </a:xfrm>
                      <a:custGeom>
                        <a:avLst/>
                        <a:gdLst>
                          <a:gd name="connsiteX0" fmla="*/ 54214 w 65362"/>
                          <a:gd name="connsiteY0" fmla="*/ 30137 h 35519"/>
                          <a:gd name="connsiteX1" fmla="*/ 65344 w 65362"/>
                          <a:gd name="connsiteY1" fmla="*/ 13926 h 35519"/>
                          <a:gd name="connsiteX2" fmla="*/ 51311 w 65362"/>
                          <a:gd name="connsiteY2" fmla="*/ 75 h 35519"/>
                          <a:gd name="connsiteX3" fmla="*/ 17741 w 65362"/>
                          <a:gd name="connsiteY3" fmla="*/ 75 h 35519"/>
                          <a:gd name="connsiteX4" fmla="*/ 382 w 65362"/>
                          <a:gd name="connsiteY4" fmla="*/ 16709 h 35519"/>
                          <a:gd name="connsiteX5" fmla="*/ 15685 w 65362"/>
                          <a:gd name="connsiteY5" fmla="*/ 35520 h 35519"/>
                          <a:gd name="connsiteX6" fmla="*/ 54214 w 65362"/>
                          <a:gd name="connsiteY6" fmla="*/ 30137 h 3551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5362" h="35519">
                            <a:moveTo>
                              <a:pt x="54214" y="30137"/>
                            </a:moveTo>
                            <a:cubicBezTo>
                              <a:pt x="54214" y="30137"/>
                              <a:pt x="64557" y="29653"/>
                              <a:pt x="65344" y="13926"/>
                            </a:cubicBezTo>
                            <a:cubicBezTo>
                              <a:pt x="65949" y="-1861"/>
                              <a:pt x="51311" y="75"/>
                              <a:pt x="51311" y="75"/>
                            </a:cubicBezTo>
                            <a:lnTo>
                              <a:pt x="17741" y="75"/>
                            </a:lnTo>
                            <a:cubicBezTo>
                              <a:pt x="6128" y="982"/>
                              <a:pt x="2680" y="4793"/>
                              <a:pt x="382" y="16709"/>
                            </a:cubicBezTo>
                            <a:cubicBezTo>
                              <a:pt x="-1856" y="28624"/>
                              <a:pt x="6068" y="33282"/>
                              <a:pt x="15685" y="35520"/>
                            </a:cubicBezTo>
                            <a:lnTo>
                              <a:pt x="54214" y="3013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95" name="Freihandform: Form 494">
                        <a:extLst>
                          <a:ext uri="{FF2B5EF4-FFF2-40B4-BE49-F238E27FC236}">
                            <a16:creationId xmlns:a16="http://schemas.microsoft.com/office/drawing/2014/main" id="{1A163C0A-3DBD-15B4-9E2E-C16511831A7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9145" y="3305185"/>
                        <a:ext cx="75964" cy="35201"/>
                      </a:xfrm>
                      <a:custGeom>
                        <a:avLst/>
                        <a:gdLst>
                          <a:gd name="connsiteX0" fmla="*/ 51588 w 75964"/>
                          <a:gd name="connsiteY0" fmla="*/ 25766 h 35201"/>
                          <a:gd name="connsiteX1" fmla="*/ 75964 w 75964"/>
                          <a:gd name="connsiteY1" fmla="*/ 18628 h 35201"/>
                          <a:gd name="connsiteX2" fmla="*/ 41427 w 75964"/>
                          <a:gd name="connsiteY2" fmla="*/ 120 h 35201"/>
                          <a:gd name="connsiteX3" fmla="*/ 12151 w 75964"/>
                          <a:gd name="connsiteY3" fmla="*/ 5080 h 35201"/>
                          <a:gd name="connsiteX4" fmla="*/ 54 w 75964"/>
                          <a:gd name="connsiteY4" fmla="*/ 20987 h 35201"/>
                          <a:gd name="connsiteX5" fmla="*/ 15055 w 75964"/>
                          <a:gd name="connsiteY5" fmla="*/ 35202 h 35201"/>
                          <a:gd name="connsiteX6" fmla="*/ 51528 w 75964"/>
                          <a:gd name="connsiteY6" fmla="*/ 25766 h 3520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5964" h="35201">
                            <a:moveTo>
                              <a:pt x="51588" y="25766"/>
                            </a:moveTo>
                            <a:lnTo>
                              <a:pt x="75964" y="18628"/>
                            </a:lnTo>
                            <a:cubicBezTo>
                              <a:pt x="72214" y="2660"/>
                              <a:pt x="53947" y="-727"/>
                              <a:pt x="41427" y="120"/>
                            </a:cubicBezTo>
                            <a:cubicBezTo>
                              <a:pt x="28967" y="906"/>
                              <a:pt x="12151" y="5080"/>
                              <a:pt x="12151" y="5080"/>
                            </a:cubicBezTo>
                            <a:cubicBezTo>
                              <a:pt x="3925" y="8285"/>
                              <a:pt x="-551" y="12761"/>
                              <a:pt x="54" y="20987"/>
                            </a:cubicBezTo>
                            <a:cubicBezTo>
                              <a:pt x="538" y="27520"/>
                              <a:pt x="5559" y="34294"/>
                              <a:pt x="15055" y="35202"/>
                            </a:cubicBezTo>
                            <a:lnTo>
                              <a:pt x="51528" y="25766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</p:grpSp>
            </p:grpSp>
            <p:grpSp>
              <p:nvGrpSpPr>
                <p:cNvPr id="496" name="Grafik 297">
                  <a:extLst>
                    <a:ext uri="{FF2B5EF4-FFF2-40B4-BE49-F238E27FC236}">
                      <a16:creationId xmlns:a16="http://schemas.microsoft.com/office/drawing/2014/main" id="{EA1885C7-E725-E2BD-7715-7D70C0A05135}"/>
                    </a:ext>
                  </a:extLst>
                </p:cNvPr>
                <p:cNvGrpSpPr/>
                <p:nvPr/>
              </p:nvGrpSpPr>
              <p:grpSpPr>
                <a:xfrm>
                  <a:off x="541712" y="2906158"/>
                  <a:ext cx="587500" cy="440882"/>
                  <a:chOff x="541712" y="2906158"/>
                  <a:chExt cx="587500" cy="440882"/>
                </a:xfrm>
              </p:grpSpPr>
              <p:sp>
                <p:nvSpPr>
                  <p:cNvPr id="497" name="Freihandform: Form 496">
                    <a:extLst>
                      <a:ext uri="{FF2B5EF4-FFF2-40B4-BE49-F238E27FC236}">
                        <a16:creationId xmlns:a16="http://schemas.microsoft.com/office/drawing/2014/main" id="{35E585B1-D87B-68D4-049B-E426DF9899B9}"/>
                      </a:ext>
                    </a:extLst>
                  </p:cNvPr>
                  <p:cNvSpPr/>
                  <p:nvPr/>
                </p:nvSpPr>
                <p:spPr>
                  <a:xfrm>
                    <a:off x="598145" y="2926300"/>
                    <a:ext cx="531066" cy="420740"/>
                  </a:xfrm>
                  <a:custGeom>
                    <a:avLst/>
                    <a:gdLst>
                      <a:gd name="connsiteX0" fmla="*/ 480319 w 531066"/>
                      <a:gd name="connsiteY0" fmla="*/ 420740 h 420740"/>
                      <a:gd name="connsiteX1" fmla="*/ 531067 w 531066"/>
                      <a:gd name="connsiteY1" fmla="*/ 315676 h 420740"/>
                      <a:gd name="connsiteX2" fmla="*/ 112927 w 531066"/>
                      <a:gd name="connsiteY2" fmla="*/ 0 h 420740"/>
                      <a:gd name="connsiteX3" fmla="*/ 0 w 531066"/>
                      <a:gd name="connsiteY3" fmla="*/ 181035 h 420740"/>
                      <a:gd name="connsiteX4" fmla="*/ 480319 w 531066"/>
                      <a:gd name="connsiteY4" fmla="*/ 420740 h 4207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31066" h="420740">
                        <a:moveTo>
                          <a:pt x="480319" y="420740"/>
                        </a:moveTo>
                        <a:lnTo>
                          <a:pt x="531067" y="315676"/>
                        </a:lnTo>
                        <a:lnTo>
                          <a:pt x="112927" y="0"/>
                        </a:lnTo>
                        <a:lnTo>
                          <a:pt x="0" y="181035"/>
                        </a:lnTo>
                        <a:lnTo>
                          <a:pt x="480319" y="420740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8" name="Freihandform: Form 497">
                    <a:extLst>
                      <a:ext uri="{FF2B5EF4-FFF2-40B4-BE49-F238E27FC236}">
                        <a16:creationId xmlns:a16="http://schemas.microsoft.com/office/drawing/2014/main" id="{CDFE11EB-6332-A8F9-00BF-334E58B77A85}"/>
                      </a:ext>
                    </a:extLst>
                  </p:cNvPr>
                  <p:cNvSpPr/>
                  <p:nvPr/>
                </p:nvSpPr>
                <p:spPr>
                  <a:xfrm>
                    <a:off x="541712" y="2906158"/>
                    <a:ext cx="213878" cy="213878"/>
                  </a:xfrm>
                  <a:custGeom>
                    <a:avLst/>
                    <a:gdLst>
                      <a:gd name="connsiteX0" fmla="*/ 213878 w 213878"/>
                      <a:gd name="connsiteY0" fmla="*/ 106939 h 213878"/>
                      <a:gd name="connsiteX1" fmla="*/ 106939 w 213878"/>
                      <a:gd name="connsiteY1" fmla="*/ 213878 h 213878"/>
                      <a:gd name="connsiteX2" fmla="*/ 0 w 213878"/>
                      <a:gd name="connsiteY2" fmla="*/ 106939 h 213878"/>
                      <a:gd name="connsiteX3" fmla="*/ 106939 w 213878"/>
                      <a:gd name="connsiteY3" fmla="*/ 0 h 213878"/>
                      <a:gd name="connsiteX4" fmla="*/ 213878 w 213878"/>
                      <a:gd name="connsiteY4" fmla="*/ 106939 h 21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3878" h="213878">
                        <a:moveTo>
                          <a:pt x="213878" y="106939"/>
                        </a:moveTo>
                        <a:cubicBezTo>
                          <a:pt x="213878" y="166000"/>
                          <a:pt x="166000" y="213878"/>
                          <a:pt x="106939" y="213878"/>
                        </a:cubicBezTo>
                        <a:cubicBezTo>
                          <a:pt x="47878" y="213878"/>
                          <a:pt x="0" y="166000"/>
                          <a:pt x="0" y="106939"/>
                        </a:cubicBezTo>
                        <a:cubicBezTo>
                          <a:pt x="0" y="47878"/>
                          <a:pt x="47878" y="0"/>
                          <a:pt x="106939" y="0"/>
                        </a:cubicBezTo>
                        <a:cubicBezTo>
                          <a:pt x="166000" y="0"/>
                          <a:pt x="213878" y="47878"/>
                          <a:pt x="213878" y="106939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9" name="Freihandform: Form 498">
                    <a:extLst>
                      <a:ext uri="{FF2B5EF4-FFF2-40B4-BE49-F238E27FC236}">
                        <a16:creationId xmlns:a16="http://schemas.microsoft.com/office/drawing/2014/main" id="{C10DAD7F-022C-0763-575D-E76D90B8D019}"/>
                      </a:ext>
                    </a:extLst>
                  </p:cNvPr>
                  <p:cNvSpPr/>
                  <p:nvPr/>
                </p:nvSpPr>
                <p:spPr>
                  <a:xfrm>
                    <a:off x="1001586" y="3186390"/>
                    <a:ext cx="127625" cy="160650"/>
                  </a:xfrm>
                  <a:custGeom>
                    <a:avLst/>
                    <a:gdLst>
                      <a:gd name="connsiteX0" fmla="*/ 53953 w 127625"/>
                      <a:gd name="connsiteY0" fmla="*/ 0 h 160650"/>
                      <a:gd name="connsiteX1" fmla="*/ 0 w 127625"/>
                      <a:gd name="connsiteY1" fmla="*/ 122121 h 160650"/>
                      <a:gd name="connsiteX2" fmla="*/ 76878 w 127625"/>
                      <a:gd name="connsiteY2" fmla="*/ 160651 h 160650"/>
                      <a:gd name="connsiteX3" fmla="*/ 127625 w 127625"/>
                      <a:gd name="connsiteY3" fmla="*/ 55587 h 160650"/>
                      <a:gd name="connsiteX4" fmla="*/ 53953 w 127625"/>
                      <a:gd name="connsiteY4" fmla="*/ 60 h 1606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7625" h="160650">
                        <a:moveTo>
                          <a:pt x="53953" y="0"/>
                        </a:moveTo>
                        <a:cubicBezTo>
                          <a:pt x="35505" y="41493"/>
                          <a:pt x="15182" y="87523"/>
                          <a:pt x="0" y="122121"/>
                        </a:cubicBezTo>
                        <a:lnTo>
                          <a:pt x="76878" y="160651"/>
                        </a:lnTo>
                        <a:cubicBezTo>
                          <a:pt x="102403" y="136094"/>
                          <a:pt x="118250" y="99802"/>
                          <a:pt x="127625" y="55587"/>
                        </a:cubicBezTo>
                        <a:lnTo>
                          <a:pt x="53953" y="60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500" name="Grafik 297">
                  <a:extLst>
                    <a:ext uri="{FF2B5EF4-FFF2-40B4-BE49-F238E27FC236}">
                      <a16:creationId xmlns:a16="http://schemas.microsoft.com/office/drawing/2014/main" id="{1BF3CF7F-5AE1-914C-4D9B-453676997E55}"/>
                    </a:ext>
                  </a:extLst>
                </p:cNvPr>
                <p:cNvGrpSpPr/>
                <p:nvPr/>
              </p:nvGrpSpPr>
              <p:grpSpPr>
                <a:xfrm>
                  <a:off x="469794" y="2286298"/>
                  <a:ext cx="311744" cy="732303"/>
                  <a:chOff x="469794" y="2286298"/>
                  <a:chExt cx="311744" cy="732303"/>
                </a:xfrm>
              </p:grpSpPr>
              <p:sp>
                <p:nvSpPr>
                  <p:cNvPr id="501" name="Freihandform: Form 500">
                    <a:extLst>
                      <a:ext uri="{FF2B5EF4-FFF2-40B4-BE49-F238E27FC236}">
                        <a16:creationId xmlns:a16="http://schemas.microsoft.com/office/drawing/2014/main" id="{43D48E93-F240-A579-4EA0-C1A15F0C7F13}"/>
                      </a:ext>
                    </a:extLst>
                  </p:cNvPr>
                  <p:cNvSpPr/>
                  <p:nvPr/>
                </p:nvSpPr>
                <p:spPr>
                  <a:xfrm>
                    <a:off x="469794" y="2286298"/>
                    <a:ext cx="308236" cy="308236"/>
                  </a:xfrm>
                  <a:custGeom>
                    <a:avLst/>
                    <a:gdLst>
                      <a:gd name="connsiteX0" fmla="*/ 308236 w 308236"/>
                      <a:gd name="connsiteY0" fmla="*/ 154118 h 308236"/>
                      <a:gd name="connsiteX1" fmla="*/ 154118 w 308236"/>
                      <a:gd name="connsiteY1" fmla="*/ 308236 h 308236"/>
                      <a:gd name="connsiteX2" fmla="*/ 0 w 308236"/>
                      <a:gd name="connsiteY2" fmla="*/ 154118 h 308236"/>
                      <a:gd name="connsiteX3" fmla="*/ 154118 w 308236"/>
                      <a:gd name="connsiteY3" fmla="*/ 0 h 308236"/>
                      <a:gd name="connsiteX4" fmla="*/ 308236 w 308236"/>
                      <a:gd name="connsiteY4" fmla="*/ 154118 h 3082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8236" h="308236">
                        <a:moveTo>
                          <a:pt x="308236" y="154118"/>
                        </a:moveTo>
                        <a:cubicBezTo>
                          <a:pt x="308236" y="239235"/>
                          <a:pt x="239235" y="308236"/>
                          <a:pt x="154118" y="308236"/>
                        </a:cubicBezTo>
                        <a:cubicBezTo>
                          <a:pt x="69001" y="308236"/>
                          <a:pt x="0" y="239235"/>
                          <a:pt x="0" y="154118"/>
                        </a:cubicBezTo>
                        <a:cubicBezTo>
                          <a:pt x="0" y="69001"/>
                          <a:pt x="69001" y="0"/>
                          <a:pt x="154118" y="0"/>
                        </a:cubicBezTo>
                        <a:cubicBezTo>
                          <a:pt x="239235" y="0"/>
                          <a:pt x="308236" y="69001"/>
                          <a:pt x="308236" y="154118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2" name="Freihandform: Form 501">
                    <a:extLst>
                      <a:ext uri="{FF2B5EF4-FFF2-40B4-BE49-F238E27FC236}">
                        <a16:creationId xmlns:a16="http://schemas.microsoft.com/office/drawing/2014/main" id="{F1F30D28-D6D1-804C-69BD-04EDF983CA50}"/>
                      </a:ext>
                    </a:extLst>
                  </p:cNvPr>
                  <p:cNvSpPr/>
                  <p:nvPr/>
                </p:nvSpPr>
                <p:spPr>
                  <a:xfrm>
                    <a:off x="519030" y="2805268"/>
                    <a:ext cx="245331" cy="213333"/>
                  </a:xfrm>
                  <a:custGeom>
                    <a:avLst/>
                    <a:gdLst>
                      <a:gd name="connsiteX0" fmla="*/ 22864 w 245331"/>
                      <a:gd name="connsiteY0" fmla="*/ 213334 h 213333"/>
                      <a:gd name="connsiteX1" fmla="*/ 236319 w 245331"/>
                      <a:gd name="connsiteY1" fmla="*/ 203354 h 213333"/>
                      <a:gd name="connsiteX2" fmla="*/ 245331 w 245331"/>
                      <a:gd name="connsiteY2" fmla="*/ 0 h 213333"/>
                      <a:gd name="connsiteX3" fmla="*/ 0 w 245331"/>
                      <a:gd name="connsiteY3" fmla="*/ 5807 h 213333"/>
                      <a:gd name="connsiteX4" fmla="*/ 22864 w 245331"/>
                      <a:gd name="connsiteY4" fmla="*/ 213334 h 2133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5331" h="213333">
                        <a:moveTo>
                          <a:pt x="22864" y="213334"/>
                        </a:moveTo>
                        <a:lnTo>
                          <a:pt x="236319" y="203354"/>
                        </a:lnTo>
                        <a:lnTo>
                          <a:pt x="245331" y="0"/>
                        </a:lnTo>
                        <a:lnTo>
                          <a:pt x="0" y="5807"/>
                        </a:lnTo>
                        <a:lnTo>
                          <a:pt x="22864" y="213334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3" name="Freihandform: Form 502">
                    <a:extLst>
                      <a:ext uri="{FF2B5EF4-FFF2-40B4-BE49-F238E27FC236}">
                        <a16:creationId xmlns:a16="http://schemas.microsoft.com/office/drawing/2014/main" id="{AAF6E9F9-342B-A193-FCF3-433205687F50}"/>
                      </a:ext>
                    </a:extLst>
                  </p:cNvPr>
                  <p:cNvSpPr/>
                  <p:nvPr/>
                </p:nvSpPr>
                <p:spPr>
                  <a:xfrm>
                    <a:off x="470096" y="2439751"/>
                    <a:ext cx="311442" cy="552236"/>
                  </a:xfrm>
                  <a:custGeom>
                    <a:avLst/>
                    <a:gdLst>
                      <a:gd name="connsiteX0" fmla="*/ 0 w 311442"/>
                      <a:gd name="connsiteY0" fmla="*/ 10041 h 552236"/>
                      <a:gd name="connsiteX1" fmla="*/ 46211 w 311442"/>
                      <a:gd name="connsiteY1" fmla="*/ 552237 h 552236"/>
                      <a:gd name="connsiteX2" fmla="*/ 311442 w 311442"/>
                      <a:gd name="connsiteY2" fmla="*/ 512195 h 552236"/>
                      <a:gd name="connsiteX3" fmla="*/ 307995 w 311442"/>
                      <a:gd name="connsiteY3" fmla="*/ 0 h 552236"/>
                      <a:gd name="connsiteX4" fmla="*/ 0 w 311442"/>
                      <a:gd name="connsiteY4" fmla="*/ 10041 h 5522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1442" h="552236">
                        <a:moveTo>
                          <a:pt x="0" y="10041"/>
                        </a:moveTo>
                        <a:cubicBezTo>
                          <a:pt x="4899" y="166881"/>
                          <a:pt x="46211" y="552237"/>
                          <a:pt x="46211" y="552237"/>
                        </a:cubicBezTo>
                        <a:lnTo>
                          <a:pt x="311442" y="512195"/>
                        </a:lnTo>
                        <a:lnTo>
                          <a:pt x="307995" y="0"/>
                        </a:lnTo>
                        <a:cubicBezTo>
                          <a:pt x="195551" y="3024"/>
                          <a:pt x="153876" y="4718"/>
                          <a:pt x="0" y="10041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</p:grpSp>
        <p:sp>
          <p:nvSpPr>
            <p:cNvPr id="515" name="Rechteck 514">
              <a:extLst>
                <a:ext uri="{FF2B5EF4-FFF2-40B4-BE49-F238E27FC236}">
                  <a16:creationId xmlns:a16="http://schemas.microsoft.com/office/drawing/2014/main" id="{6C8B6E2A-E84C-29A3-2AA4-775A92B96541}"/>
                </a:ext>
              </a:extLst>
            </p:cNvPr>
            <p:cNvSpPr>
              <a:spLocks/>
            </p:cNvSpPr>
            <p:nvPr/>
          </p:nvSpPr>
          <p:spPr>
            <a:xfrm>
              <a:off x="9210675" y="2912475"/>
              <a:ext cx="53975" cy="906229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l"/>
              <a:endParaRPr lang="en-US" sz="1000" b="1">
                <a:solidFill>
                  <a:schemeClr val="tx1"/>
                </a:solidFill>
              </a:endParaRPr>
            </a:p>
          </p:txBody>
        </p:sp>
      </p:grpSp>
      <p:cxnSp>
        <p:nvCxnSpPr>
          <p:cNvPr id="538" name="Gerader Verbinder 537">
            <a:extLst>
              <a:ext uri="{FF2B5EF4-FFF2-40B4-BE49-F238E27FC236}">
                <a16:creationId xmlns:a16="http://schemas.microsoft.com/office/drawing/2014/main" id="{E4558DFD-CF03-F684-C099-25DF95FC0F1D}"/>
              </a:ext>
            </a:extLst>
          </p:cNvPr>
          <p:cNvCxnSpPr>
            <a:cxnSpLocks/>
          </p:cNvCxnSpPr>
          <p:nvPr/>
        </p:nvCxnSpPr>
        <p:spPr>
          <a:xfrm>
            <a:off x="3176" y="6194425"/>
            <a:ext cx="7388224" cy="0"/>
          </a:xfrm>
          <a:prstGeom prst="line">
            <a:avLst/>
          </a:prstGeom>
          <a:ln w="12700" cap="rnd">
            <a:gradFill flip="none" rotWithShape="1">
              <a:gsLst>
                <a:gs pos="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0" scaled="1"/>
              <a:tileRect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1" name="Gruppieren 560">
            <a:extLst>
              <a:ext uri="{FF2B5EF4-FFF2-40B4-BE49-F238E27FC236}">
                <a16:creationId xmlns:a16="http://schemas.microsoft.com/office/drawing/2014/main" id="{1B311E3E-ECAF-7024-E058-0734B22CD410}"/>
              </a:ext>
            </a:extLst>
          </p:cNvPr>
          <p:cNvGrpSpPr>
            <a:grpSpLocks/>
          </p:cNvGrpSpPr>
          <p:nvPr/>
        </p:nvGrpSpPr>
        <p:grpSpPr>
          <a:xfrm>
            <a:off x="9210675" y="3998704"/>
            <a:ext cx="2201842" cy="906229"/>
            <a:chOff x="9210675" y="3998704"/>
            <a:chExt cx="2201842" cy="906229"/>
          </a:xfrm>
        </p:grpSpPr>
        <p:sp>
          <p:nvSpPr>
            <p:cNvPr id="549" name="Rechteck 548">
              <a:extLst>
                <a:ext uri="{FF2B5EF4-FFF2-40B4-BE49-F238E27FC236}">
                  <a16:creationId xmlns:a16="http://schemas.microsoft.com/office/drawing/2014/main" id="{43B11274-7C74-3277-78A1-940D4C267EC7}"/>
                </a:ext>
              </a:extLst>
            </p:cNvPr>
            <p:cNvSpPr>
              <a:spLocks/>
            </p:cNvSpPr>
            <p:nvPr/>
          </p:nvSpPr>
          <p:spPr>
            <a:xfrm>
              <a:off x="9210675" y="3998704"/>
              <a:ext cx="2201842" cy="90622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tlCol="0" anchor="t"/>
            <a:lstStyle/>
            <a:p>
              <a:pPr algn="l"/>
              <a:r>
                <a:rPr lang="en-US" sz="1200" b="1" err="1">
                  <a:solidFill>
                    <a:schemeClr val="tx1"/>
                  </a:solidFill>
                </a:rPr>
                <a:t>Patientinnen</a:t>
              </a:r>
              <a:r>
                <a:rPr lang="en-US" sz="1200" b="1">
                  <a:solidFill>
                    <a:schemeClr val="tx1"/>
                  </a:solidFill>
                </a:rPr>
                <a:t> &amp; </a:t>
              </a:r>
              <a:br>
                <a:rPr lang="en-US" sz="1200" b="1">
                  <a:solidFill>
                    <a:schemeClr val="tx1"/>
                  </a:solidFill>
                </a:rPr>
              </a:br>
              <a:r>
                <a:rPr lang="en-US" sz="1200" b="1" err="1">
                  <a:solidFill>
                    <a:schemeClr val="tx1"/>
                  </a:solidFill>
                </a:rPr>
                <a:t>Patienten</a:t>
              </a:r>
              <a:endParaRPr lang="en-US" sz="1200" b="1">
                <a:solidFill>
                  <a:schemeClr val="tx1"/>
                </a:solidFill>
              </a:endParaRPr>
            </a:p>
          </p:txBody>
        </p:sp>
        <p:sp>
          <p:nvSpPr>
            <p:cNvPr id="550" name="Rechteck 549">
              <a:extLst>
                <a:ext uri="{FF2B5EF4-FFF2-40B4-BE49-F238E27FC236}">
                  <a16:creationId xmlns:a16="http://schemas.microsoft.com/office/drawing/2014/main" id="{CCB54E46-8DFF-F83A-DBC6-4C92020378F8}"/>
                </a:ext>
              </a:extLst>
            </p:cNvPr>
            <p:cNvSpPr>
              <a:spLocks/>
            </p:cNvSpPr>
            <p:nvPr/>
          </p:nvSpPr>
          <p:spPr>
            <a:xfrm>
              <a:off x="9210675" y="3998704"/>
              <a:ext cx="53975" cy="906229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l"/>
              <a:endParaRPr lang="en-US" sz="1000" b="1">
                <a:solidFill>
                  <a:schemeClr val="tx1"/>
                </a:solidFill>
              </a:endParaRPr>
            </a:p>
          </p:txBody>
        </p:sp>
        <p:grpSp>
          <p:nvGrpSpPr>
            <p:cNvPr id="558" name="Gruppieren 557">
              <a:extLst>
                <a:ext uri="{FF2B5EF4-FFF2-40B4-BE49-F238E27FC236}">
                  <a16:creationId xmlns:a16="http://schemas.microsoft.com/office/drawing/2014/main" id="{6DD47228-A363-1D21-FD05-4086FB36CCE7}"/>
                </a:ext>
              </a:extLst>
            </p:cNvPr>
            <p:cNvGrpSpPr/>
            <p:nvPr/>
          </p:nvGrpSpPr>
          <p:grpSpPr>
            <a:xfrm>
              <a:off x="10614025" y="4114800"/>
              <a:ext cx="694387" cy="666750"/>
              <a:chOff x="10614025" y="4114800"/>
              <a:chExt cx="694387" cy="666750"/>
            </a:xfrm>
          </p:grpSpPr>
          <p:pic>
            <p:nvPicPr>
              <p:cNvPr id="552" name="Grafik 551">
                <a:extLst>
                  <a:ext uri="{FF2B5EF4-FFF2-40B4-BE49-F238E27FC236}">
                    <a16:creationId xmlns:a16="http://schemas.microsoft.com/office/drawing/2014/main" id="{093FA96E-6CA7-2F39-BF88-7F04D715FB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0829366" y="4114800"/>
                <a:ext cx="229159" cy="666750"/>
              </a:xfrm>
              <a:prstGeom prst="rect">
                <a:avLst/>
              </a:prstGeom>
            </p:spPr>
          </p:pic>
          <p:pic>
            <p:nvPicPr>
              <p:cNvPr id="554" name="Grafik 553">
                <a:extLst>
                  <a:ext uri="{FF2B5EF4-FFF2-40B4-BE49-F238E27FC236}">
                    <a16:creationId xmlns:a16="http://schemas.microsoft.com/office/drawing/2014/main" id="{E2A7F8B3-C647-D818-102A-1AD1D1D6206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 flipH="1">
                <a:off x="10954885" y="4257593"/>
                <a:ext cx="353527" cy="523957"/>
              </a:xfrm>
              <a:prstGeom prst="rect">
                <a:avLst/>
              </a:prstGeom>
            </p:spPr>
          </p:pic>
          <p:pic>
            <p:nvPicPr>
              <p:cNvPr id="556" name="Grafik 555">
                <a:extLst>
                  <a:ext uri="{FF2B5EF4-FFF2-40B4-BE49-F238E27FC236}">
                    <a16:creationId xmlns:a16="http://schemas.microsoft.com/office/drawing/2014/main" id="{D59F338D-3C2B-B7E6-C88D-AF97BBCDAFB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10614025" y="4185045"/>
                <a:ext cx="208431" cy="596505"/>
              </a:xfrm>
              <a:prstGeom prst="rect">
                <a:avLst/>
              </a:prstGeom>
            </p:spPr>
          </p:pic>
        </p:grpSp>
      </p:grpSp>
      <p:sp>
        <p:nvSpPr>
          <p:cNvPr id="564" name="Rechteck 563">
            <a:extLst>
              <a:ext uri="{FF2B5EF4-FFF2-40B4-BE49-F238E27FC236}">
                <a16:creationId xmlns:a16="http://schemas.microsoft.com/office/drawing/2014/main" id="{9A62BBFC-21AE-0D42-D2F7-544E8508812C}"/>
              </a:ext>
            </a:extLst>
          </p:cNvPr>
          <p:cNvSpPr>
            <a:spLocks/>
          </p:cNvSpPr>
          <p:nvPr/>
        </p:nvSpPr>
        <p:spPr>
          <a:xfrm>
            <a:off x="9210675" y="1826246"/>
            <a:ext cx="2201842" cy="906229"/>
          </a:xfrm>
          <a:prstGeom prst="rect">
            <a:avLst/>
          </a:prstGeom>
          <a:solidFill>
            <a:schemeClr val="bg1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5">
            <a:extLst>
              <a:ext uri="{FF2B5EF4-FFF2-40B4-BE49-F238E27FC236}">
                <a16:creationId xmlns:a16="http://schemas.microsoft.com/office/drawing/2014/main" id="{31B6863A-77FC-FD2E-2AE4-F1C3F7DD438F}"/>
              </a:ext>
            </a:extLst>
          </p:cNvPr>
          <p:cNvSpPr txBox="1"/>
          <p:nvPr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12</a:t>
            </a:fld>
            <a:endParaRPr lang="de-DE" sz="1000" b="1" i="0" u="none" kern="1200" spc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5" name="Restricted">
            <a:extLst>
              <a:ext uri="{FF2B5EF4-FFF2-40B4-BE49-F238E27FC236}">
                <a16:creationId xmlns:a16="http://schemas.microsoft.com/office/drawing/2014/main" id="{57CE2088-E075-754A-E43B-55FA9BC02BAA}"/>
              </a:ext>
            </a:extLst>
          </p:cNvPr>
          <p:cNvSpPr txBox="1"/>
          <p:nvPr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de-DE" sz="1000">
                <a:solidFill>
                  <a:schemeClr val="tx1"/>
                </a:solidFill>
              </a:rPr>
              <a:t>Frei verwendbar © Siemens Healthineers, 2023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23676E2E-2924-DB1A-835C-C14760DF70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Grafik 19">
            <a:extLst>
              <a:ext uri="{FF2B5EF4-FFF2-40B4-BE49-F238E27FC236}">
                <a16:creationId xmlns:a16="http://schemas.microsoft.com/office/drawing/2014/main" id="{41D20939-3463-5251-88EE-1354A8DA8CDC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079" y="3680001"/>
            <a:ext cx="3470643" cy="2851872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F3944091-2489-C890-91A1-4B8303AF9190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37628" y="3240076"/>
            <a:ext cx="1728057" cy="173149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9B89C960-4AF1-48D2-7948-E14ABDF40DE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544327" y="5734560"/>
            <a:ext cx="1617999" cy="218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5495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CCAE77A-0EFA-1BB7-727F-C68D0388AF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5491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CCAE77A-0EFA-1BB7-727F-C68D0388AF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16" name="Gruppieren 515">
            <a:extLst>
              <a:ext uri="{FF2B5EF4-FFF2-40B4-BE49-F238E27FC236}">
                <a16:creationId xmlns:a16="http://schemas.microsoft.com/office/drawing/2014/main" id="{38CA9695-9CD0-9897-CB7E-2B084CCE7C16}"/>
              </a:ext>
            </a:extLst>
          </p:cNvPr>
          <p:cNvGrpSpPr/>
          <p:nvPr/>
        </p:nvGrpSpPr>
        <p:grpSpPr>
          <a:xfrm>
            <a:off x="543054" y="1619250"/>
            <a:ext cx="5390507" cy="3283942"/>
            <a:chOff x="543054" y="1619250"/>
            <a:chExt cx="5390507" cy="3283942"/>
          </a:xfrm>
        </p:grpSpPr>
        <p:grpSp>
          <p:nvGrpSpPr>
            <p:cNvPr id="526" name="Gruppieren 525">
              <a:extLst>
                <a:ext uri="{FF2B5EF4-FFF2-40B4-BE49-F238E27FC236}">
                  <a16:creationId xmlns:a16="http://schemas.microsoft.com/office/drawing/2014/main" id="{7AD2DF6B-AB65-EED4-AE74-D04421367E48}"/>
                </a:ext>
              </a:extLst>
            </p:cNvPr>
            <p:cNvGrpSpPr>
              <a:grpSpLocks/>
            </p:cNvGrpSpPr>
            <p:nvPr/>
          </p:nvGrpSpPr>
          <p:grpSpPr>
            <a:xfrm>
              <a:off x="543054" y="1619250"/>
              <a:ext cx="5390507" cy="3283942"/>
              <a:chOff x="3185160" y="3688080"/>
              <a:chExt cx="5153310" cy="3139440"/>
            </a:xfrm>
          </p:grpSpPr>
          <p:sp>
            <p:nvSpPr>
              <p:cNvPr id="527" name="Rechteck 526">
                <a:extLst>
                  <a:ext uri="{FF2B5EF4-FFF2-40B4-BE49-F238E27FC236}">
                    <a16:creationId xmlns:a16="http://schemas.microsoft.com/office/drawing/2014/main" id="{EEBBFF5A-13B7-470E-6EA6-C4FE9C1767A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185160" y="3688080"/>
                <a:ext cx="5153310" cy="25908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8" name="Rechteck 527">
                <a:extLst>
                  <a:ext uri="{FF2B5EF4-FFF2-40B4-BE49-F238E27FC236}">
                    <a16:creationId xmlns:a16="http://schemas.microsoft.com/office/drawing/2014/main" id="{A9B09489-D65C-30D7-309F-58163152DB2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45380" y="6271260"/>
                <a:ext cx="1632870" cy="47244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9" name="Rechteck 528">
                <a:extLst>
                  <a:ext uri="{FF2B5EF4-FFF2-40B4-BE49-F238E27FC236}">
                    <a16:creationId xmlns:a16="http://schemas.microsoft.com/office/drawing/2014/main" id="{0EA01491-4591-2524-A25A-CCD4C1B77EE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482750" y="6736080"/>
                <a:ext cx="2558130" cy="9144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0" name="Rechtwinkliges Dreieck 529">
                <a:extLst>
                  <a:ext uri="{FF2B5EF4-FFF2-40B4-BE49-F238E27FC236}">
                    <a16:creationId xmlns:a16="http://schemas.microsoft.com/office/drawing/2014/main" id="{8E7176EC-B95D-BFD9-6EEA-3FC974D4CDFD}"/>
                  </a:ext>
                </a:extLst>
              </p:cNvPr>
              <p:cNvSpPr/>
              <p:nvPr/>
            </p:nvSpPr>
            <p:spPr>
              <a:xfrm flipH="1" flipV="1">
                <a:off x="4945379" y="6278880"/>
                <a:ext cx="1632870" cy="457200"/>
              </a:xfrm>
              <a:prstGeom prst="rtTriangle">
                <a:avLst/>
              </a:prstGeom>
              <a:solidFill>
                <a:schemeClr val="tx1">
                  <a:alpha val="3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12" name="Gruppieren 511">
              <a:extLst>
                <a:ext uri="{FF2B5EF4-FFF2-40B4-BE49-F238E27FC236}">
                  <a16:creationId xmlns:a16="http://schemas.microsoft.com/office/drawing/2014/main" id="{3CD76DF5-C5EB-FB80-D1E0-31313FAEF371}"/>
                </a:ext>
              </a:extLst>
            </p:cNvPr>
            <p:cNvGrpSpPr/>
            <p:nvPr/>
          </p:nvGrpSpPr>
          <p:grpSpPr>
            <a:xfrm>
              <a:off x="630952" y="1692121"/>
              <a:ext cx="5215884" cy="2557230"/>
              <a:chOff x="630952" y="1692121"/>
              <a:chExt cx="5215884" cy="2557230"/>
            </a:xfrm>
          </p:grpSpPr>
          <p:pic>
            <p:nvPicPr>
              <p:cNvPr id="293" name="Grafik 292">
                <a:extLst>
                  <a:ext uri="{FF2B5EF4-FFF2-40B4-BE49-F238E27FC236}">
                    <a16:creationId xmlns:a16="http://schemas.microsoft.com/office/drawing/2014/main" id="{5E5393B0-D794-40B0-ABF4-4DA86EFCDA8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b="-42122"/>
              <a:stretch/>
            </p:blipFill>
            <p:spPr>
              <a:xfrm>
                <a:off x="630952" y="1692121"/>
                <a:ext cx="5215884" cy="2557230"/>
              </a:xfrm>
              <a:prstGeom prst="rect">
                <a:avLst/>
              </a:prstGeom>
              <a:ln w="15875">
                <a:solidFill>
                  <a:srgbClr val="1B1B1B"/>
                </a:solidFill>
                <a:miter lim="800000"/>
              </a:ln>
            </p:spPr>
          </p:pic>
          <p:pic>
            <p:nvPicPr>
              <p:cNvPr id="511" name="Grafik 510">
                <a:extLst>
                  <a:ext uri="{FF2B5EF4-FFF2-40B4-BE49-F238E27FC236}">
                    <a16:creationId xmlns:a16="http://schemas.microsoft.com/office/drawing/2014/main" id="{A408A430-C52D-3746-DCFC-4223405B193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t="97589" b="18"/>
              <a:stretch/>
            </p:blipFill>
            <p:spPr>
              <a:xfrm>
                <a:off x="630952" y="3441701"/>
                <a:ext cx="5215884" cy="807650"/>
              </a:xfrm>
              <a:prstGeom prst="rect">
                <a:avLst/>
              </a:prstGeom>
              <a:ln w="15875">
                <a:noFill/>
                <a:miter lim="800000"/>
              </a:ln>
            </p:spPr>
          </p:pic>
        </p:grp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E697D4C5-95CA-F09F-FABF-6F4E26B68AC0}"/>
              </a:ext>
            </a:extLst>
          </p:cNvPr>
          <p:cNvGrpSpPr>
            <a:grpSpLocks/>
          </p:cNvGrpSpPr>
          <p:nvPr/>
        </p:nvGrpSpPr>
        <p:grpSpPr>
          <a:xfrm>
            <a:off x="8994773" y="1619250"/>
            <a:ext cx="3175003" cy="5238751"/>
            <a:chOff x="8994773" y="1619250"/>
            <a:chExt cx="3175003" cy="5238751"/>
          </a:xfrm>
        </p:grpSpPr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647D6AC3-ED16-C9A2-3588-E6B20562EC05}"/>
                </a:ext>
              </a:extLst>
            </p:cNvPr>
            <p:cNvSpPr/>
            <p:nvPr/>
          </p:nvSpPr>
          <p:spPr>
            <a:xfrm>
              <a:off x="8994773" y="1619250"/>
              <a:ext cx="3175003" cy="5238751"/>
            </a:xfrm>
            <a:custGeom>
              <a:avLst/>
              <a:gdLst>
                <a:gd name="connsiteX0" fmla="*/ 2641103 w 3175003"/>
                <a:gd name="connsiteY0" fmla="*/ 0 h 5238751"/>
                <a:gd name="connsiteX1" fmla="*/ 3175003 w 3175003"/>
                <a:gd name="connsiteY1" fmla="*/ 1401789 h 5238751"/>
                <a:gd name="connsiteX2" fmla="*/ 3175003 w 3175003"/>
                <a:gd name="connsiteY2" fmla="*/ 5238751 h 5238751"/>
                <a:gd name="connsiteX3" fmla="*/ 252737 w 3175003"/>
                <a:gd name="connsiteY3" fmla="*/ 5238751 h 5238751"/>
                <a:gd name="connsiteX4" fmla="*/ 0 w 3175003"/>
                <a:gd name="connsiteY4" fmla="*/ 4575174 h 5238751"/>
                <a:gd name="connsiteX5" fmla="*/ 2641103 w 3175003"/>
                <a:gd name="connsiteY5" fmla="*/ 4575174 h 5238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5003" h="5238751">
                  <a:moveTo>
                    <a:pt x="2641103" y="0"/>
                  </a:moveTo>
                  <a:lnTo>
                    <a:pt x="3175003" y="1401789"/>
                  </a:lnTo>
                  <a:lnTo>
                    <a:pt x="3175003" y="5238751"/>
                  </a:lnTo>
                  <a:lnTo>
                    <a:pt x="252737" y="5238751"/>
                  </a:lnTo>
                  <a:lnTo>
                    <a:pt x="0" y="4575174"/>
                  </a:lnTo>
                  <a:lnTo>
                    <a:pt x="2641103" y="4575174"/>
                  </a:lnTo>
                  <a:close/>
                </a:path>
              </a:pathLst>
            </a:custGeom>
            <a:pattFill prst="wdDnDiag">
              <a:fgClr>
                <a:srgbClr val="ECECEC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B3CB6A98-B5C3-8D77-68E5-00837CBE2790}"/>
                </a:ext>
              </a:extLst>
            </p:cNvPr>
            <p:cNvSpPr txBox="1">
              <a:spLocks/>
            </p:cNvSpPr>
            <p:nvPr/>
          </p:nvSpPr>
          <p:spPr>
            <a:xfrm>
              <a:off x="8994774" y="1619250"/>
              <a:ext cx="2633663" cy="4575175"/>
            </a:xfrm>
            <a:prstGeom prst="rect">
              <a:avLst/>
            </a:prstGeom>
            <a:solidFill>
              <a:srgbClr val="ECECEC"/>
            </a:solidFill>
            <a:effectLst>
              <a:outerShdw blurRad="50800" dist="38100" dir="2700000" algn="tl" rotWithShape="0">
                <a:prstClr val="black">
                  <a:alpha val="8000"/>
                </a:prstClr>
              </a:outerShdw>
            </a:effectLst>
          </p:spPr>
          <p:txBody>
            <a:bodyPr wrap="square" lIns="180000" tIns="144000" rIns="180000" bIns="0" rtlCol="0" anchor="t">
              <a:noAutofit/>
            </a:bodyPr>
            <a:lstStyle/>
            <a:p>
              <a:pPr>
                <a:spcAft>
                  <a:spcPts val="300"/>
                </a:spcAft>
              </a:pPr>
              <a:endParaRPr lang="de-DE" sz="44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0CF6A715-0F2A-5B18-60BE-FB41B9D72B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Klinische Konferenzen </a:t>
            </a:r>
            <a:r>
              <a:rPr lang="de-DE" noProof="0"/>
              <a:t>– Entscheidungsunterstützung </a:t>
            </a:r>
            <a:br>
              <a:rPr lang="de-DE" noProof="0"/>
            </a:br>
            <a:r>
              <a:rPr lang="de-DE" noProof="0"/>
              <a:t>durch multidisziplinäre Zusammenarbeit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20A8D9B-5820-6090-C211-86787BDF04E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238AD6-11E9-3EB9-935A-B1A9F6684AE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pt-BR"/>
              <a:t>A91GER-H-001672-E4</a:t>
            </a:r>
            <a:endParaRPr lang="de-DE"/>
          </a:p>
        </p:txBody>
      </p:sp>
      <p:grpSp>
        <p:nvGrpSpPr>
          <p:cNvPr id="562" name="Gruppieren 561">
            <a:extLst>
              <a:ext uri="{FF2B5EF4-FFF2-40B4-BE49-F238E27FC236}">
                <a16:creationId xmlns:a16="http://schemas.microsoft.com/office/drawing/2014/main" id="{05BA45E6-3D83-7FBC-CFCD-C92577A68CA4}"/>
              </a:ext>
            </a:extLst>
          </p:cNvPr>
          <p:cNvGrpSpPr/>
          <p:nvPr/>
        </p:nvGrpSpPr>
        <p:grpSpPr>
          <a:xfrm>
            <a:off x="9210675" y="5084932"/>
            <a:ext cx="2201842" cy="906229"/>
            <a:chOff x="9210675" y="5084932"/>
            <a:chExt cx="2201842" cy="906229"/>
          </a:xfrm>
        </p:grpSpPr>
        <p:sp>
          <p:nvSpPr>
            <p:cNvPr id="506" name="Rechteck 505">
              <a:extLst>
                <a:ext uri="{FF2B5EF4-FFF2-40B4-BE49-F238E27FC236}">
                  <a16:creationId xmlns:a16="http://schemas.microsoft.com/office/drawing/2014/main" id="{855ED48A-DA04-D66F-26F9-25B679633F3A}"/>
                </a:ext>
              </a:extLst>
            </p:cNvPr>
            <p:cNvSpPr>
              <a:spLocks/>
            </p:cNvSpPr>
            <p:nvPr/>
          </p:nvSpPr>
          <p:spPr>
            <a:xfrm>
              <a:off x="9210675" y="5084932"/>
              <a:ext cx="2201842" cy="90622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ctr"/>
              <a:r>
                <a:rPr lang="en-US" sz="1000" b="1" i="1">
                  <a:solidFill>
                    <a:schemeClr val="accent5"/>
                  </a:solidFill>
                </a:rPr>
                <a:t>Ein </a:t>
              </a:r>
              <a:r>
                <a:rPr lang="en-US" sz="1000" b="1" i="1" err="1">
                  <a:solidFill>
                    <a:schemeClr val="accent5"/>
                  </a:solidFill>
                </a:rPr>
                <a:t>Mehrwertdienst</a:t>
              </a:r>
              <a:r>
                <a:rPr lang="en-US" sz="1000" b="1" i="1">
                  <a:solidFill>
                    <a:schemeClr val="accent5"/>
                  </a:solidFill>
                </a:rPr>
                <a:t> der</a:t>
              </a:r>
            </a:p>
          </p:txBody>
        </p:sp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893DE335-B8A8-6D76-AC85-7C363D1BC1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b="30378"/>
            <a:stretch/>
          </p:blipFill>
          <p:spPr>
            <a:xfrm>
              <a:off x="9896567" y="5359400"/>
              <a:ext cx="764916" cy="360272"/>
            </a:xfrm>
            <a:prstGeom prst="rect">
              <a:avLst/>
            </a:prstGeom>
          </p:spPr>
        </p:pic>
      </p:grpSp>
      <p:grpSp>
        <p:nvGrpSpPr>
          <p:cNvPr id="559" name="Gruppieren 558">
            <a:extLst>
              <a:ext uri="{FF2B5EF4-FFF2-40B4-BE49-F238E27FC236}">
                <a16:creationId xmlns:a16="http://schemas.microsoft.com/office/drawing/2014/main" id="{CE283433-D750-4D0D-98CB-888E4C69F2EE}"/>
              </a:ext>
            </a:extLst>
          </p:cNvPr>
          <p:cNvGrpSpPr>
            <a:grpSpLocks/>
          </p:cNvGrpSpPr>
          <p:nvPr/>
        </p:nvGrpSpPr>
        <p:grpSpPr>
          <a:xfrm>
            <a:off x="9210675" y="1826246"/>
            <a:ext cx="2201842" cy="906229"/>
            <a:chOff x="9210675" y="1826246"/>
            <a:chExt cx="2201842" cy="906229"/>
          </a:xfrm>
        </p:grpSpPr>
        <p:sp>
          <p:nvSpPr>
            <p:cNvPr id="509" name="Rechteck 508">
              <a:extLst>
                <a:ext uri="{FF2B5EF4-FFF2-40B4-BE49-F238E27FC236}">
                  <a16:creationId xmlns:a16="http://schemas.microsoft.com/office/drawing/2014/main" id="{82756B9B-3349-F1AE-8459-889318524D47}"/>
                </a:ext>
              </a:extLst>
            </p:cNvPr>
            <p:cNvSpPr>
              <a:spLocks/>
            </p:cNvSpPr>
            <p:nvPr/>
          </p:nvSpPr>
          <p:spPr>
            <a:xfrm>
              <a:off x="9210675" y="1826246"/>
              <a:ext cx="2201842" cy="90622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tlCol="0" anchor="t"/>
            <a:lstStyle/>
            <a:p>
              <a:pPr algn="l"/>
              <a:r>
                <a:rPr lang="en-US" sz="1200" b="1" err="1">
                  <a:solidFill>
                    <a:schemeClr val="tx1"/>
                  </a:solidFill>
                </a:rPr>
                <a:t>Medizinische</a:t>
              </a:r>
              <a:r>
                <a:rPr lang="en-US" sz="1200" b="1">
                  <a:solidFill>
                    <a:schemeClr val="tx1"/>
                  </a:solidFill>
                </a:rPr>
                <a:t> </a:t>
              </a:r>
              <a:br>
                <a:rPr lang="en-US" sz="1200" b="1">
                  <a:solidFill>
                    <a:schemeClr val="tx1"/>
                  </a:solidFill>
                </a:rPr>
              </a:br>
              <a:r>
                <a:rPr lang="en-US" sz="1200" b="1">
                  <a:solidFill>
                    <a:schemeClr val="tx1"/>
                  </a:solidFill>
                </a:rPr>
                <a:t>Partner</a:t>
              </a:r>
            </a:p>
          </p:txBody>
        </p:sp>
        <p:grpSp>
          <p:nvGrpSpPr>
            <p:cNvPr id="291" name="Gruppieren 290">
              <a:extLst>
                <a:ext uri="{FF2B5EF4-FFF2-40B4-BE49-F238E27FC236}">
                  <a16:creationId xmlns:a16="http://schemas.microsoft.com/office/drawing/2014/main" id="{C41F10AB-0F43-9F63-4178-0CDC5C14C680}"/>
                </a:ext>
              </a:extLst>
            </p:cNvPr>
            <p:cNvGrpSpPr/>
            <p:nvPr/>
          </p:nvGrpSpPr>
          <p:grpSpPr>
            <a:xfrm>
              <a:off x="10463363" y="1936376"/>
              <a:ext cx="788837" cy="693056"/>
              <a:chOff x="9291637" y="1854304"/>
              <a:chExt cx="950913" cy="835453"/>
            </a:xfrm>
          </p:grpSpPr>
          <p:grpSp>
            <p:nvGrpSpPr>
              <p:cNvPr id="289" name="Gruppieren 288">
                <a:extLst>
                  <a:ext uri="{FF2B5EF4-FFF2-40B4-BE49-F238E27FC236}">
                    <a16:creationId xmlns:a16="http://schemas.microsoft.com/office/drawing/2014/main" id="{09D9AF2C-732A-5056-94BE-941C5AF4F8D9}"/>
                  </a:ext>
                </a:extLst>
              </p:cNvPr>
              <p:cNvGrpSpPr/>
              <p:nvPr/>
            </p:nvGrpSpPr>
            <p:grpSpPr>
              <a:xfrm>
                <a:off x="9956732" y="1880092"/>
                <a:ext cx="285818" cy="809665"/>
                <a:chOff x="8386350" y="7360423"/>
                <a:chExt cx="1906395" cy="5400434"/>
              </a:xfrm>
            </p:grpSpPr>
            <p:grpSp>
              <p:nvGrpSpPr>
                <p:cNvPr id="26" name="Grafik 23">
                  <a:extLst>
                    <a:ext uri="{FF2B5EF4-FFF2-40B4-BE49-F238E27FC236}">
                      <a16:creationId xmlns:a16="http://schemas.microsoft.com/office/drawing/2014/main" id="{FC80289D-3612-D318-79EC-412B3916977F}"/>
                    </a:ext>
                  </a:extLst>
                </p:cNvPr>
                <p:cNvGrpSpPr/>
                <p:nvPr/>
              </p:nvGrpSpPr>
              <p:grpSpPr>
                <a:xfrm>
                  <a:off x="8386350" y="7360423"/>
                  <a:ext cx="1583022" cy="5400434"/>
                  <a:chOff x="8386350" y="781823"/>
                  <a:chExt cx="1583022" cy="5400434"/>
                </a:xfrm>
              </p:grpSpPr>
              <p:sp>
                <p:nvSpPr>
                  <p:cNvPr id="27" name="Freihandform: Form 26">
                    <a:extLst>
                      <a:ext uri="{FF2B5EF4-FFF2-40B4-BE49-F238E27FC236}">
                        <a16:creationId xmlns:a16="http://schemas.microsoft.com/office/drawing/2014/main" id="{E61B68B9-FFC7-B1B7-B212-2BEB8E9D2CAD}"/>
                      </a:ext>
                    </a:extLst>
                  </p:cNvPr>
                  <p:cNvSpPr/>
                  <p:nvPr/>
                </p:nvSpPr>
                <p:spPr>
                  <a:xfrm>
                    <a:off x="9182798" y="5806059"/>
                    <a:ext cx="145732" cy="145732"/>
                  </a:xfrm>
                  <a:custGeom>
                    <a:avLst/>
                    <a:gdLst>
                      <a:gd name="connsiteX0" fmla="*/ 145732 w 145732"/>
                      <a:gd name="connsiteY0" fmla="*/ 72866 h 145732"/>
                      <a:gd name="connsiteX1" fmla="*/ 72866 w 145732"/>
                      <a:gd name="connsiteY1" fmla="*/ 145733 h 145732"/>
                      <a:gd name="connsiteX2" fmla="*/ -1 w 145732"/>
                      <a:gd name="connsiteY2" fmla="*/ 72866 h 145732"/>
                      <a:gd name="connsiteX3" fmla="*/ 72866 w 145732"/>
                      <a:gd name="connsiteY3" fmla="*/ 0 h 145732"/>
                      <a:gd name="connsiteX4" fmla="*/ 145732 w 145732"/>
                      <a:gd name="connsiteY4" fmla="*/ 72866 h 1457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5732" h="145732">
                        <a:moveTo>
                          <a:pt x="145732" y="72866"/>
                        </a:moveTo>
                        <a:cubicBezTo>
                          <a:pt x="145732" y="113109"/>
                          <a:pt x="113109" y="145733"/>
                          <a:pt x="72866" y="145733"/>
                        </a:cubicBezTo>
                        <a:cubicBezTo>
                          <a:pt x="32623" y="145733"/>
                          <a:pt x="-1" y="113109"/>
                          <a:pt x="-1" y="72866"/>
                        </a:cubicBezTo>
                        <a:cubicBezTo>
                          <a:pt x="-1" y="32624"/>
                          <a:pt x="32623" y="0"/>
                          <a:pt x="72866" y="0"/>
                        </a:cubicBezTo>
                        <a:cubicBezTo>
                          <a:pt x="113109" y="0"/>
                          <a:pt x="145732" y="32624"/>
                          <a:pt x="145732" y="7286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" name="Freihandform: Form 27">
                    <a:extLst>
                      <a:ext uri="{FF2B5EF4-FFF2-40B4-BE49-F238E27FC236}">
                        <a16:creationId xmlns:a16="http://schemas.microsoft.com/office/drawing/2014/main" id="{A592A07D-196E-B004-84E2-64C5303D567F}"/>
                      </a:ext>
                    </a:extLst>
                  </p:cNvPr>
                  <p:cNvSpPr/>
                  <p:nvPr/>
                </p:nvSpPr>
                <p:spPr>
                  <a:xfrm>
                    <a:off x="9365963" y="5825680"/>
                    <a:ext cx="145732" cy="145732"/>
                  </a:xfrm>
                  <a:custGeom>
                    <a:avLst/>
                    <a:gdLst>
                      <a:gd name="connsiteX0" fmla="*/ 145733 w 145732"/>
                      <a:gd name="connsiteY0" fmla="*/ 72866 h 145732"/>
                      <a:gd name="connsiteX1" fmla="*/ 72866 w 145732"/>
                      <a:gd name="connsiteY1" fmla="*/ 145733 h 145732"/>
                      <a:gd name="connsiteX2" fmla="*/ 0 w 145732"/>
                      <a:gd name="connsiteY2" fmla="*/ 72866 h 145732"/>
                      <a:gd name="connsiteX3" fmla="*/ 72866 w 145732"/>
                      <a:gd name="connsiteY3" fmla="*/ 0 h 145732"/>
                      <a:gd name="connsiteX4" fmla="*/ 145733 w 145732"/>
                      <a:gd name="connsiteY4" fmla="*/ 72866 h 1457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5732" h="145732">
                        <a:moveTo>
                          <a:pt x="145733" y="72866"/>
                        </a:moveTo>
                        <a:cubicBezTo>
                          <a:pt x="145733" y="113109"/>
                          <a:pt x="113109" y="145733"/>
                          <a:pt x="72866" y="145733"/>
                        </a:cubicBezTo>
                        <a:cubicBezTo>
                          <a:pt x="32623" y="145733"/>
                          <a:pt x="0" y="113109"/>
                          <a:pt x="0" y="72866"/>
                        </a:cubicBezTo>
                        <a:cubicBezTo>
                          <a:pt x="0" y="32624"/>
                          <a:pt x="32623" y="0"/>
                          <a:pt x="72866" y="0"/>
                        </a:cubicBezTo>
                        <a:cubicBezTo>
                          <a:pt x="113109" y="0"/>
                          <a:pt x="145733" y="32624"/>
                          <a:pt x="145733" y="7286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9" name="Freihandform: Form 28">
                    <a:extLst>
                      <a:ext uri="{FF2B5EF4-FFF2-40B4-BE49-F238E27FC236}">
                        <a16:creationId xmlns:a16="http://schemas.microsoft.com/office/drawing/2014/main" id="{D75520E1-259F-A2A8-9D16-3BA3C84038BE}"/>
                      </a:ext>
                    </a:extLst>
                  </p:cNvPr>
                  <p:cNvSpPr/>
                  <p:nvPr/>
                </p:nvSpPr>
                <p:spPr>
                  <a:xfrm>
                    <a:off x="8938672" y="4682013"/>
                    <a:ext cx="389953" cy="1217787"/>
                  </a:xfrm>
                  <a:custGeom>
                    <a:avLst/>
                    <a:gdLst>
                      <a:gd name="connsiteX0" fmla="*/ 389954 w 389953"/>
                      <a:gd name="connsiteY0" fmla="*/ 1196054 h 1217787"/>
                      <a:gd name="connsiteX1" fmla="*/ 245079 w 389953"/>
                      <a:gd name="connsiteY1" fmla="*/ 1208532 h 1217787"/>
                      <a:gd name="connsiteX2" fmla="*/ 52388 w 389953"/>
                      <a:gd name="connsiteY2" fmla="*/ 579406 h 1217787"/>
                      <a:gd name="connsiteX3" fmla="*/ 0 w 389953"/>
                      <a:gd name="connsiteY3" fmla="*/ 44863 h 1217787"/>
                      <a:gd name="connsiteX4" fmla="*/ 306705 w 389953"/>
                      <a:gd name="connsiteY4" fmla="*/ 0 h 1217787"/>
                      <a:gd name="connsiteX5" fmla="*/ 316039 w 389953"/>
                      <a:gd name="connsiteY5" fmla="*/ 166878 h 1217787"/>
                      <a:gd name="connsiteX6" fmla="*/ 351091 w 389953"/>
                      <a:gd name="connsiteY6" fmla="*/ 480251 h 1217787"/>
                      <a:gd name="connsiteX7" fmla="*/ 361760 w 389953"/>
                      <a:gd name="connsiteY7" fmla="*/ 876681 h 1217787"/>
                      <a:gd name="connsiteX8" fmla="*/ 389858 w 389953"/>
                      <a:gd name="connsiteY8" fmla="*/ 1195959 h 12177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89953" h="1217787">
                        <a:moveTo>
                          <a:pt x="389954" y="1196054"/>
                        </a:moveTo>
                        <a:cubicBezTo>
                          <a:pt x="339471" y="1220438"/>
                          <a:pt x="293561" y="1223867"/>
                          <a:pt x="245079" y="1208532"/>
                        </a:cubicBezTo>
                        <a:cubicBezTo>
                          <a:pt x="209550" y="1038987"/>
                          <a:pt x="96964" y="734759"/>
                          <a:pt x="52388" y="579406"/>
                        </a:cubicBezTo>
                        <a:cubicBezTo>
                          <a:pt x="7715" y="423767"/>
                          <a:pt x="0" y="44863"/>
                          <a:pt x="0" y="44863"/>
                        </a:cubicBezTo>
                        <a:lnTo>
                          <a:pt x="306705" y="0"/>
                        </a:lnTo>
                        <a:lnTo>
                          <a:pt x="316039" y="166878"/>
                        </a:lnTo>
                        <a:cubicBezTo>
                          <a:pt x="316039" y="166878"/>
                          <a:pt x="347472" y="345662"/>
                          <a:pt x="351091" y="480251"/>
                        </a:cubicBezTo>
                        <a:cubicBezTo>
                          <a:pt x="354711" y="614839"/>
                          <a:pt x="361760" y="876681"/>
                          <a:pt x="361760" y="876681"/>
                        </a:cubicBezTo>
                        <a:lnTo>
                          <a:pt x="389858" y="1195959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0" name="Freihandform: Form 29">
                    <a:extLst>
                      <a:ext uri="{FF2B5EF4-FFF2-40B4-BE49-F238E27FC236}">
                        <a16:creationId xmlns:a16="http://schemas.microsoft.com/office/drawing/2014/main" id="{B49B46D6-1FB3-A453-808B-826FD673B7ED}"/>
                      </a:ext>
                    </a:extLst>
                  </p:cNvPr>
                  <p:cNvSpPr/>
                  <p:nvPr/>
                </p:nvSpPr>
                <p:spPr>
                  <a:xfrm>
                    <a:off x="8936291" y="4539329"/>
                    <a:ext cx="309943" cy="318515"/>
                  </a:xfrm>
                  <a:custGeom>
                    <a:avLst/>
                    <a:gdLst>
                      <a:gd name="connsiteX0" fmla="*/ 309944 w 309943"/>
                      <a:gd name="connsiteY0" fmla="*/ 159258 h 318515"/>
                      <a:gd name="connsiteX1" fmla="*/ 154972 w 309943"/>
                      <a:gd name="connsiteY1" fmla="*/ 318516 h 318515"/>
                      <a:gd name="connsiteX2" fmla="*/ 0 w 309943"/>
                      <a:gd name="connsiteY2" fmla="*/ 159258 h 318515"/>
                      <a:gd name="connsiteX3" fmla="*/ 154972 w 309943"/>
                      <a:gd name="connsiteY3" fmla="*/ 0 h 318515"/>
                      <a:gd name="connsiteX4" fmla="*/ 309944 w 309943"/>
                      <a:gd name="connsiteY4" fmla="*/ 159258 h 3185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9943" h="318515">
                        <a:moveTo>
                          <a:pt x="309944" y="159258"/>
                        </a:moveTo>
                        <a:cubicBezTo>
                          <a:pt x="309944" y="247214"/>
                          <a:pt x="240561" y="318516"/>
                          <a:pt x="154972" y="318516"/>
                        </a:cubicBezTo>
                        <a:cubicBezTo>
                          <a:pt x="69383" y="318516"/>
                          <a:pt x="0" y="247214"/>
                          <a:pt x="0" y="159258"/>
                        </a:cubicBezTo>
                        <a:cubicBezTo>
                          <a:pt x="0" y="71302"/>
                          <a:pt x="69383" y="0"/>
                          <a:pt x="154972" y="0"/>
                        </a:cubicBezTo>
                        <a:cubicBezTo>
                          <a:pt x="240560" y="0"/>
                          <a:pt x="309944" y="71302"/>
                          <a:pt x="309944" y="159258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1" name="Freihandform: Form 30">
                    <a:extLst>
                      <a:ext uri="{FF2B5EF4-FFF2-40B4-BE49-F238E27FC236}">
                        <a16:creationId xmlns:a16="http://schemas.microsoft.com/office/drawing/2014/main" id="{E6A38647-741A-92BB-087F-C728C9B9CBB9}"/>
                      </a:ext>
                    </a:extLst>
                  </p:cNvPr>
                  <p:cNvSpPr/>
                  <p:nvPr/>
                </p:nvSpPr>
                <p:spPr>
                  <a:xfrm>
                    <a:off x="9325196" y="4544758"/>
                    <a:ext cx="311086" cy="311086"/>
                  </a:xfrm>
                  <a:custGeom>
                    <a:avLst/>
                    <a:gdLst>
                      <a:gd name="connsiteX0" fmla="*/ 311086 w 311086"/>
                      <a:gd name="connsiteY0" fmla="*/ 155543 h 311086"/>
                      <a:gd name="connsiteX1" fmla="*/ 155543 w 311086"/>
                      <a:gd name="connsiteY1" fmla="*/ 311086 h 311086"/>
                      <a:gd name="connsiteX2" fmla="*/ -1 w 311086"/>
                      <a:gd name="connsiteY2" fmla="*/ 155543 h 311086"/>
                      <a:gd name="connsiteX3" fmla="*/ 155543 w 311086"/>
                      <a:gd name="connsiteY3" fmla="*/ 0 h 311086"/>
                      <a:gd name="connsiteX4" fmla="*/ 311086 w 311086"/>
                      <a:gd name="connsiteY4" fmla="*/ 155543 h 3110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1086" h="311086">
                        <a:moveTo>
                          <a:pt x="311086" y="155543"/>
                        </a:moveTo>
                        <a:cubicBezTo>
                          <a:pt x="311086" y="241447"/>
                          <a:pt x="241447" y="311086"/>
                          <a:pt x="155543" y="311086"/>
                        </a:cubicBezTo>
                        <a:cubicBezTo>
                          <a:pt x="69639" y="311086"/>
                          <a:pt x="-1" y="241447"/>
                          <a:pt x="-1" y="155543"/>
                        </a:cubicBezTo>
                        <a:cubicBezTo>
                          <a:pt x="-1" y="69639"/>
                          <a:pt x="69639" y="0"/>
                          <a:pt x="155543" y="0"/>
                        </a:cubicBezTo>
                        <a:cubicBezTo>
                          <a:pt x="241447" y="0"/>
                          <a:pt x="311086" y="69639"/>
                          <a:pt x="311086" y="155543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2" name="Freihandform: Form 31">
                    <a:extLst>
                      <a:ext uri="{FF2B5EF4-FFF2-40B4-BE49-F238E27FC236}">
                        <a16:creationId xmlns:a16="http://schemas.microsoft.com/office/drawing/2014/main" id="{588E08F5-DAB6-2980-EC19-CFE8F03211F0}"/>
                      </a:ext>
                    </a:extLst>
                  </p:cNvPr>
                  <p:cNvSpPr/>
                  <p:nvPr/>
                </p:nvSpPr>
                <p:spPr>
                  <a:xfrm>
                    <a:off x="9111551" y="5873591"/>
                    <a:ext cx="251269" cy="207930"/>
                  </a:xfrm>
                  <a:custGeom>
                    <a:avLst/>
                    <a:gdLst>
                      <a:gd name="connsiteX0" fmla="*/ 72294 w 251269"/>
                      <a:gd name="connsiteY0" fmla="*/ 0 h 207930"/>
                      <a:gd name="connsiteX1" fmla="*/ 0 w 251269"/>
                      <a:gd name="connsiteY1" fmla="*/ 201549 h 207930"/>
                      <a:gd name="connsiteX2" fmla="*/ 251270 w 251269"/>
                      <a:gd name="connsiteY2" fmla="*/ 207930 h 207930"/>
                      <a:gd name="connsiteX3" fmla="*/ 216789 w 251269"/>
                      <a:gd name="connsiteY3" fmla="*/ 3334 h 207930"/>
                      <a:gd name="connsiteX4" fmla="*/ 72294 w 251269"/>
                      <a:gd name="connsiteY4" fmla="*/ 95 h 207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51269" h="207930">
                        <a:moveTo>
                          <a:pt x="72294" y="0"/>
                        </a:moveTo>
                        <a:cubicBezTo>
                          <a:pt x="56579" y="148399"/>
                          <a:pt x="952" y="162496"/>
                          <a:pt x="0" y="201549"/>
                        </a:cubicBezTo>
                        <a:lnTo>
                          <a:pt x="251270" y="207930"/>
                        </a:lnTo>
                        <a:cubicBezTo>
                          <a:pt x="246126" y="145922"/>
                          <a:pt x="216789" y="118300"/>
                          <a:pt x="216789" y="3334"/>
                        </a:cubicBezTo>
                        <a:lnTo>
                          <a:pt x="72294" y="95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3" name="Freihandform: Form 32">
                    <a:extLst>
                      <a:ext uri="{FF2B5EF4-FFF2-40B4-BE49-F238E27FC236}">
                        <a16:creationId xmlns:a16="http://schemas.microsoft.com/office/drawing/2014/main" id="{6E1C5875-E337-B3F8-BCEB-14952D6BB77C}"/>
                      </a:ext>
                    </a:extLst>
                  </p:cNvPr>
                  <p:cNvSpPr/>
                  <p:nvPr/>
                </p:nvSpPr>
                <p:spPr>
                  <a:xfrm>
                    <a:off x="9040208" y="6087713"/>
                    <a:ext cx="343280" cy="94544"/>
                  </a:xfrm>
                  <a:custGeom>
                    <a:avLst/>
                    <a:gdLst>
                      <a:gd name="connsiteX0" fmla="*/ 322326 w 343280"/>
                      <a:gd name="connsiteY0" fmla="*/ 89821 h 94544"/>
                      <a:gd name="connsiteX1" fmla="*/ 21145 w 343280"/>
                      <a:gd name="connsiteY1" fmla="*/ 89630 h 94544"/>
                      <a:gd name="connsiteX2" fmla="*/ 0 w 343280"/>
                      <a:gd name="connsiteY2" fmla="*/ 60960 h 94544"/>
                      <a:gd name="connsiteX3" fmla="*/ 0 w 343280"/>
                      <a:gd name="connsiteY3" fmla="*/ 0 h 94544"/>
                      <a:gd name="connsiteX4" fmla="*/ 343281 w 343280"/>
                      <a:gd name="connsiteY4" fmla="*/ 0 h 94544"/>
                      <a:gd name="connsiteX5" fmla="*/ 343281 w 343280"/>
                      <a:gd name="connsiteY5" fmla="*/ 61150 h 94544"/>
                      <a:gd name="connsiteX6" fmla="*/ 322326 w 343280"/>
                      <a:gd name="connsiteY6" fmla="*/ 89821 h 945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43280" h="94544">
                        <a:moveTo>
                          <a:pt x="322326" y="89821"/>
                        </a:moveTo>
                        <a:cubicBezTo>
                          <a:pt x="218218" y="97822"/>
                          <a:pt x="135160" y="94202"/>
                          <a:pt x="21145" y="89630"/>
                        </a:cubicBezTo>
                        <a:cubicBezTo>
                          <a:pt x="8954" y="89154"/>
                          <a:pt x="0" y="75533"/>
                          <a:pt x="0" y="60960"/>
                        </a:cubicBezTo>
                        <a:lnTo>
                          <a:pt x="0" y="0"/>
                        </a:lnTo>
                        <a:cubicBezTo>
                          <a:pt x="0" y="0"/>
                          <a:pt x="343281" y="0"/>
                          <a:pt x="343281" y="0"/>
                        </a:cubicBezTo>
                        <a:lnTo>
                          <a:pt x="343281" y="61150"/>
                        </a:lnTo>
                        <a:cubicBezTo>
                          <a:pt x="343281" y="75629"/>
                          <a:pt x="334423" y="88868"/>
                          <a:pt x="322326" y="89821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" name="Freihandform: Form 33">
                    <a:extLst>
                      <a:ext uri="{FF2B5EF4-FFF2-40B4-BE49-F238E27FC236}">
                        <a16:creationId xmlns:a16="http://schemas.microsoft.com/office/drawing/2014/main" id="{E3EE99E0-89D8-E49D-96D7-8145A6F81818}"/>
                      </a:ext>
                    </a:extLst>
                  </p:cNvPr>
                  <p:cNvSpPr/>
                  <p:nvPr/>
                </p:nvSpPr>
                <p:spPr>
                  <a:xfrm>
                    <a:off x="9040208" y="5934550"/>
                    <a:ext cx="343280" cy="181734"/>
                  </a:xfrm>
                  <a:custGeom>
                    <a:avLst/>
                    <a:gdLst>
                      <a:gd name="connsiteX0" fmla="*/ 343281 w 343280"/>
                      <a:gd name="connsiteY0" fmla="*/ 153163 h 181734"/>
                      <a:gd name="connsiteX1" fmla="*/ 294227 w 343280"/>
                      <a:gd name="connsiteY1" fmla="*/ 23147 h 181734"/>
                      <a:gd name="connsiteX2" fmla="*/ 279273 w 343280"/>
                      <a:gd name="connsiteY2" fmla="*/ 64199 h 181734"/>
                      <a:gd name="connsiteX3" fmla="*/ 98964 w 343280"/>
                      <a:gd name="connsiteY3" fmla="*/ 59628 h 181734"/>
                      <a:gd name="connsiteX4" fmla="*/ 0 w 343280"/>
                      <a:gd name="connsiteY4" fmla="*/ 153163 h 181734"/>
                      <a:gd name="connsiteX5" fmla="*/ 343281 w 343280"/>
                      <a:gd name="connsiteY5" fmla="*/ 153163 h 1817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43280" h="181734">
                        <a:moveTo>
                          <a:pt x="343281" y="153163"/>
                        </a:moveTo>
                        <a:cubicBezTo>
                          <a:pt x="303847" y="73344"/>
                          <a:pt x="306133" y="10193"/>
                          <a:pt x="294227" y="23147"/>
                        </a:cubicBezTo>
                        <a:cubicBezTo>
                          <a:pt x="301276" y="53055"/>
                          <a:pt x="295656" y="65914"/>
                          <a:pt x="279273" y="64199"/>
                        </a:cubicBezTo>
                        <a:cubicBezTo>
                          <a:pt x="279273" y="64199"/>
                          <a:pt x="167544" y="-77151"/>
                          <a:pt x="98964" y="59628"/>
                        </a:cubicBezTo>
                        <a:cubicBezTo>
                          <a:pt x="57340" y="142591"/>
                          <a:pt x="4096" y="120397"/>
                          <a:pt x="0" y="153163"/>
                        </a:cubicBezTo>
                        <a:cubicBezTo>
                          <a:pt x="16478" y="185738"/>
                          <a:pt x="323945" y="196406"/>
                          <a:pt x="343281" y="15316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" name="Freihandform: Form 34">
                    <a:extLst>
                      <a:ext uri="{FF2B5EF4-FFF2-40B4-BE49-F238E27FC236}">
                        <a16:creationId xmlns:a16="http://schemas.microsoft.com/office/drawing/2014/main" id="{735EB25D-09DE-8829-0CFB-EF4EE5463E0D}"/>
                      </a:ext>
                    </a:extLst>
                  </p:cNvPr>
                  <p:cNvSpPr/>
                  <p:nvPr/>
                </p:nvSpPr>
                <p:spPr>
                  <a:xfrm>
                    <a:off x="9324879" y="4677727"/>
                    <a:ext cx="326797" cy="1236394"/>
                  </a:xfrm>
                  <a:custGeom>
                    <a:avLst/>
                    <a:gdLst>
                      <a:gd name="connsiteX0" fmla="*/ 41084 w 326797"/>
                      <a:gd name="connsiteY0" fmla="*/ 1218819 h 1236394"/>
                      <a:gd name="connsiteX1" fmla="*/ 186626 w 326797"/>
                      <a:gd name="connsiteY1" fmla="*/ 1215199 h 1236394"/>
                      <a:gd name="connsiteX2" fmla="*/ 315405 w 326797"/>
                      <a:gd name="connsiteY2" fmla="*/ 571024 h 1236394"/>
                      <a:gd name="connsiteX3" fmla="*/ 309594 w 326797"/>
                      <a:gd name="connsiteY3" fmla="*/ 0 h 1236394"/>
                      <a:gd name="connsiteX4" fmla="*/ 222 w 326797"/>
                      <a:gd name="connsiteY4" fmla="*/ 286 h 1236394"/>
                      <a:gd name="connsiteX5" fmla="*/ 8033 w 326797"/>
                      <a:gd name="connsiteY5" fmla="*/ 502825 h 1236394"/>
                      <a:gd name="connsiteX6" fmla="*/ 37655 w 326797"/>
                      <a:gd name="connsiteY6" fmla="*/ 898302 h 1236394"/>
                      <a:gd name="connsiteX7" fmla="*/ 40989 w 326797"/>
                      <a:gd name="connsiteY7" fmla="*/ 1218819 h 12363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797" h="1236394">
                        <a:moveTo>
                          <a:pt x="41084" y="1218819"/>
                        </a:moveTo>
                        <a:cubicBezTo>
                          <a:pt x="93853" y="1243870"/>
                          <a:pt x="140049" y="1241679"/>
                          <a:pt x="186626" y="1215199"/>
                        </a:cubicBezTo>
                        <a:cubicBezTo>
                          <a:pt x="204724" y="1042892"/>
                          <a:pt x="286830" y="730091"/>
                          <a:pt x="315405" y="571024"/>
                        </a:cubicBezTo>
                        <a:cubicBezTo>
                          <a:pt x="344075" y="411575"/>
                          <a:pt x="309594" y="0"/>
                          <a:pt x="309594" y="0"/>
                        </a:cubicBezTo>
                        <a:lnTo>
                          <a:pt x="222" y="286"/>
                        </a:lnTo>
                        <a:cubicBezTo>
                          <a:pt x="222" y="286"/>
                          <a:pt x="-2064" y="368617"/>
                          <a:pt x="8033" y="502825"/>
                        </a:cubicBezTo>
                        <a:cubicBezTo>
                          <a:pt x="18129" y="637032"/>
                          <a:pt x="37655" y="898302"/>
                          <a:pt x="37655" y="898302"/>
                        </a:cubicBezTo>
                        <a:lnTo>
                          <a:pt x="40989" y="1218819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6" name="Freihandform: Form 35">
                    <a:extLst>
                      <a:ext uri="{FF2B5EF4-FFF2-40B4-BE49-F238E27FC236}">
                        <a16:creationId xmlns:a16="http://schemas.microsoft.com/office/drawing/2014/main" id="{4891889A-B054-8BDC-EE83-B0E1075F6962}"/>
                      </a:ext>
                    </a:extLst>
                  </p:cNvPr>
                  <p:cNvSpPr/>
                  <p:nvPr/>
                </p:nvSpPr>
                <p:spPr>
                  <a:xfrm>
                    <a:off x="9333007" y="5892926"/>
                    <a:ext cx="284035" cy="215074"/>
                  </a:xfrm>
                  <a:custGeom>
                    <a:avLst/>
                    <a:gdLst>
                      <a:gd name="connsiteX0" fmla="*/ 178498 w 284035"/>
                      <a:gd name="connsiteY0" fmla="*/ 0 h 215074"/>
                      <a:gd name="connsiteX1" fmla="*/ 284036 w 284035"/>
                      <a:gd name="connsiteY1" fmla="*/ 215075 h 215074"/>
                      <a:gd name="connsiteX2" fmla="*/ 0 w 284035"/>
                      <a:gd name="connsiteY2" fmla="*/ 215075 h 215074"/>
                      <a:gd name="connsiteX3" fmla="*/ 32956 w 284035"/>
                      <a:gd name="connsiteY3" fmla="*/ 4477 h 215074"/>
                      <a:gd name="connsiteX4" fmla="*/ 178594 w 284035"/>
                      <a:gd name="connsiteY4" fmla="*/ 0 h 2150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84035" h="215074">
                        <a:moveTo>
                          <a:pt x="178498" y="0"/>
                        </a:moveTo>
                        <a:cubicBezTo>
                          <a:pt x="199549" y="148685"/>
                          <a:pt x="284036" y="176022"/>
                          <a:pt x="284036" y="215075"/>
                        </a:cubicBezTo>
                        <a:lnTo>
                          <a:pt x="0" y="215075"/>
                        </a:lnTo>
                        <a:cubicBezTo>
                          <a:pt x="0" y="139637"/>
                          <a:pt x="37529" y="86963"/>
                          <a:pt x="32956" y="4477"/>
                        </a:cubicBezTo>
                        <a:lnTo>
                          <a:pt x="178594" y="0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7" name="Freihandform: Form 36">
                    <a:extLst>
                      <a:ext uri="{FF2B5EF4-FFF2-40B4-BE49-F238E27FC236}">
                        <a16:creationId xmlns:a16="http://schemas.microsoft.com/office/drawing/2014/main" id="{04425868-2B88-B380-308B-FA513490E376}"/>
                      </a:ext>
                    </a:extLst>
                  </p:cNvPr>
                  <p:cNvSpPr/>
                  <p:nvPr/>
                </p:nvSpPr>
                <p:spPr>
                  <a:xfrm>
                    <a:off x="9312909" y="6089332"/>
                    <a:ext cx="343280" cy="92916"/>
                  </a:xfrm>
                  <a:custGeom>
                    <a:avLst/>
                    <a:gdLst>
                      <a:gd name="connsiteX0" fmla="*/ 20955 w 343280"/>
                      <a:gd name="connsiteY0" fmla="*/ 89821 h 92916"/>
                      <a:gd name="connsiteX1" fmla="*/ 322135 w 343280"/>
                      <a:gd name="connsiteY1" fmla="*/ 89631 h 92916"/>
                      <a:gd name="connsiteX2" fmla="*/ 343281 w 343280"/>
                      <a:gd name="connsiteY2" fmla="*/ 60960 h 92916"/>
                      <a:gd name="connsiteX3" fmla="*/ 343281 w 343280"/>
                      <a:gd name="connsiteY3" fmla="*/ 0 h 92916"/>
                      <a:gd name="connsiteX4" fmla="*/ 0 w 343280"/>
                      <a:gd name="connsiteY4" fmla="*/ 0 h 92916"/>
                      <a:gd name="connsiteX5" fmla="*/ 0 w 343280"/>
                      <a:gd name="connsiteY5" fmla="*/ 61150 h 92916"/>
                      <a:gd name="connsiteX6" fmla="*/ 20955 w 343280"/>
                      <a:gd name="connsiteY6" fmla="*/ 89821 h 929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43280" h="92916">
                        <a:moveTo>
                          <a:pt x="20955" y="89821"/>
                        </a:moveTo>
                        <a:cubicBezTo>
                          <a:pt x="138969" y="93345"/>
                          <a:pt x="221932" y="94583"/>
                          <a:pt x="322135" y="89631"/>
                        </a:cubicBezTo>
                        <a:cubicBezTo>
                          <a:pt x="334327" y="89059"/>
                          <a:pt x="343281" y="75533"/>
                          <a:pt x="343281" y="60960"/>
                        </a:cubicBezTo>
                        <a:lnTo>
                          <a:pt x="343281" y="0"/>
                        </a:lnTo>
                        <a:cubicBezTo>
                          <a:pt x="343281" y="0"/>
                          <a:pt x="0" y="0"/>
                          <a:pt x="0" y="0"/>
                        </a:cubicBezTo>
                        <a:lnTo>
                          <a:pt x="0" y="61150"/>
                        </a:lnTo>
                        <a:cubicBezTo>
                          <a:pt x="0" y="75629"/>
                          <a:pt x="8858" y="89440"/>
                          <a:pt x="20955" y="89821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8" name="Freihandform: Form 37">
                    <a:extLst>
                      <a:ext uri="{FF2B5EF4-FFF2-40B4-BE49-F238E27FC236}">
                        <a16:creationId xmlns:a16="http://schemas.microsoft.com/office/drawing/2014/main" id="{A69FB320-E4AC-6C72-AFDA-4EB0F1A1075D}"/>
                      </a:ext>
                    </a:extLst>
                  </p:cNvPr>
                  <p:cNvSpPr/>
                  <p:nvPr/>
                </p:nvSpPr>
                <p:spPr>
                  <a:xfrm>
                    <a:off x="9312909" y="5936264"/>
                    <a:ext cx="343280" cy="181734"/>
                  </a:xfrm>
                  <a:custGeom>
                    <a:avLst/>
                    <a:gdLst>
                      <a:gd name="connsiteX0" fmla="*/ 0 w 343280"/>
                      <a:gd name="connsiteY0" fmla="*/ 153163 h 181734"/>
                      <a:gd name="connsiteX1" fmla="*/ 49053 w 343280"/>
                      <a:gd name="connsiteY1" fmla="*/ 23147 h 181734"/>
                      <a:gd name="connsiteX2" fmla="*/ 64008 w 343280"/>
                      <a:gd name="connsiteY2" fmla="*/ 64199 h 181734"/>
                      <a:gd name="connsiteX3" fmla="*/ 244316 w 343280"/>
                      <a:gd name="connsiteY3" fmla="*/ 59628 h 181734"/>
                      <a:gd name="connsiteX4" fmla="*/ 343281 w 343280"/>
                      <a:gd name="connsiteY4" fmla="*/ 153163 h 181734"/>
                      <a:gd name="connsiteX5" fmla="*/ 0 w 343280"/>
                      <a:gd name="connsiteY5" fmla="*/ 153163 h 1817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43280" h="181734">
                        <a:moveTo>
                          <a:pt x="0" y="153163"/>
                        </a:moveTo>
                        <a:cubicBezTo>
                          <a:pt x="39433" y="73344"/>
                          <a:pt x="37147" y="10193"/>
                          <a:pt x="49053" y="23147"/>
                        </a:cubicBezTo>
                        <a:cubicBezTo>
                          <a:pt x="42005" y="53055"/>
                          <a:pt x="47625" y="65914"/>
                          <a:pt x="64008" y="64199"/>
                        </a:cubicBezTo>
                        <a:cubicBezTo>
                          <a:pt x="64008" y="64199"/>
                          <a:pt x="175736" y="-77151"/>
                          <a:pt x="244316" y="59628"/>
                        </a:cubicBezTo>
                        <a:cubicBezTo>
                          <a:pt x="285940" y="142591"/>
                          <a:pt x="339185" y="120397"/>
                          <a:pt x="343281" y="153163"/>
                        </a:cubicBezTo>
                        <a:cubicBezTo>
                          <a:pt x="326803" y="185738"/>
                          <a:pt x="19335" y="196406"/>
                          <a:pt x="0" y="15316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9" name="Freihandform: Form 38">
                    <a:extLst>
                      <a:ext uri="{FF2B5EF4-FFF2-40B4-BE49-F238E27FC236}">
                        <a16:creationId xmlns:a16="http://schemas.microsoft.com/office/drawing/2014/main" id="{84EA4B2E-DED4-65DC-36FB-CCABAB302212}"/>
                      </a:ext>
                    </a:extLst>
                  </p:cNvPr>
                  <p:cNvSpPr/>
                  <p:nvPr/>
                </p:nvSpPr>
                <p:spPr>
                  <a:xfrm>
                    <a:off x="8692641" y="2714148"/>
                    <a:ext cx="1197659" cy="1963864"/>
                  </a:xfrm>
                  <a:custGeom>
                    <a:avLst/>
                    <a:gdLst>
                      <a:gd name="connsiteX0" fmla="*/ 1130998 w 1197659"/>
                      <a:gd name="connsiteY0" fmla="*/ 302133 h 1963864"/>
                      <a:gd name="connsiteX1" fmla="*/ 919353 w 1197659"/>
                      <a:gd name="connsiteY1" fmla="*/ 1429 h 1963864"/>
                      <a:gd name="connsiteX2" fmla="*/ 598075 w 1197659"/>
                      <a:gd name="connsiteY2" fmla="*/ 0 h 1963864"/>
                      <a:gd name="connsiteX3" fmla="*/ 598075 w 1197659"/>
                      <a:gd name="connsiteY3" fmla="*/ 0 h 1963864"/>
                      <a:gd name="connsiteX4" fmla="*/ 594646 w 1197659"/>
                      <a:gd name="connsiteY4" fmla="*/ 0 h 1963864"/>
                      <a:gd name="connsiteX5" fmla="*/ 591216 w 1197659"/>
                      <a:gd name="connsiteY5" fmla="*/ 0 h 1963864"/>
                      <a:gd name="connsiteX6" fmla="*/ 591216 w 1197659"/>
                      <a:gd name="connsiteY6" fmla="*/ 0 h 1963864"/>
                      <a:gd name="connsiteX7" fmla="*/ 269938 w 1197659"/>
                      <a:gd name="connsiteY7" fmla="*/ 1429 h 1963864"/>
                      <a:gd name="connsiteX8" fmla="*/ 65531 w 1197659"/>
                      <a:gd name="connsiteY8" fmla="*/ 316421 h 1963864"/>
                      <a:gd name="connsiteX9" fmla="*/ 0 w 1197659"/>
                      <a:gd name="connsiteY9" fmla="*/ 635127 h 1963864"/>
                      <a:gd name="connsiteX10" fmla="*/ 24384 w 1197659"/>
                      <a:gd name="connsiteY10" fmla="*/ 1062895 h 1963864"/>
                      <a:gd name="connsiteX11" fmla="*/ 117634 w 1197659"/>
                      <a:gd name="connsiteY11" fmla="*/ 1567434 h 1963864"/>
                      <a:gd name="connsiteX12" fmla="*/ 209264 w 1197659"/>
                      <a:gd name="connsiteY12" fmla="*/ 1963865 h 1963864"/>
                      <a:gd name="connsiteX13" fmla="*/ 978217 w 1197659"/>
                      <a:gd name="connsiteY13" fmla="*/ 1963865 h 1963864"/>
                      <a:gd name="connsiteX14" fmla="*/ 1069848 w 1197659"/>
                      <a:gd name="connsiteY14" fmla="*/ 1567434 h 1963864"/>
                      <a:gd name="connsiteX15" fmla="*/ 1163098 w 1197659"/>
                      <a:gd name="connsiteY15" fmla="*/ 1062895 h 1963864"/>
                      <a:gd name="connsiteX16" fmla="*/ 1131189 w 1197659"/>
                      <a:gd name="connsiteY16" fmla="*/ 302133 h 19638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1197659" h="1963864">
                        <a:moveTo>
                          <a:pt x="1130998" y="302133"/>
                        </a:moveTo>
                        <a:cubicBezTo>
                          <a:pt x="1066895" y="164021"/>
                          <a:pt x="919353" y="1429"/>
                          <a:pt x="919353" y="1429"/>
                        </a:cubicBezTo>
                        <a:lnTo>
                          <a:pt x="598075" y="0"/>
                        </a:lnTo>
                        <a:lnTo>
                          <a:pt x="598075" y="0"/>
                        </a:lnTo>
                        <a:cubicBezTo>
                          <a:pt x="598075" y="0"/>
                          <a:pt x="594646" y="0"/>
                          <a:pt x="594646" y="0"/>
                        </a:cubicBezTo>
                        <a:lnTo>
                          <a:pt x="591216" y="0"/>
                        </a:lnTo>
                        <a:cubicBezTo>
                          <a:pt x="591216" y="0"/>
                          <a:pt x="591216" y="0"/>
                          <a:pt x="591216" y="0"/>
                        </a:cubicBezTo>
                        <a:lnTo>
                          <a:pt x="269938" y="1429"/>
                        </a:lnTo>
                        <a:cubicBezTo>
                          <a:pt x="269938" y="1429"/>
                          <a:pt x="120205" y="174308"/>
                          <a:pt x="65531" y="316421"/>
                        </a:cubicBezTo>
                        <a:cubicBezTo>
                          <a:pt x="10953" y="458534"/>
                          <a:pt x="0" y="635127"/>
                          <a:pt x="0" y="635127"/>
                        </a:cubicBezTo>
                        <a:cubicBezTo>
                          <a:pt x="0" y="635127"/>
                          <a:pt x="6477" y="908114"/>
                          <a:pt x="24384" y="1062895"/>
                        </a:cubicBezTo>
                        <a:cubicBezTo>
                          <a:pt x="42196" y="1217676"/>
                          <a:pt x="82677" y="1449991"/>
                          <a:pt x="117634" y="1567434"/>
                        </a:cubicBezTo>
                        <a:cubicBezTo>
                          <a:pt x="152590" y="1684877"/>
                          <a:pt x="209264" y="1963865"/>
                          <a:pt x="209264" y="1963865"/>
                        </a:cubicBezTo>
                        <a:lnTo>
                          <a:pt x="978217" y="1963865"/>
                        </a:lnTo>
                        <a:cubicBezTo>
                          <a:pt x="978217" y="1963865"/>
                          <a:pt x="1034891" y="1684973"/>
                          <a:pt x="1069848" y="1567434"/>
                        </a:cubicBezTo>
                        <a:cubicBezTo>
                          <a:pt x="1104805" y="1449991"/>
                          <a:pt x="1134999" y="1216152"/>
                          <a:pt x="1163098" y="1062895"/>
                        </a:cubicBezTo>
                        <a:cubicBezTo>
                          <a:pt x="1214818" y="780859"/>
                          <a:pt x="1211866" y="476059"/>
                          <a:pt x="1131189" y="302133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0" name="Freihandform: Form 39">
                    <a:extLst>
                      <a:ext uri="{FF2B5EF4-FFF2-40B4-BE49-F238E27FC236}">
                        <a16:creationId xmlns:a16="http://schemas.microsoft.com/office/drawing/2014/main" id="{4D3DEEDE-4302-BC58-B628-7C6A674AC117}"/>
                      </a:ext>
                    </a:extLst>
                  </p:cNvPr>
                  <p:cNvSpPr/>
                  <p:nvPr/>
                </p:nvSpPr>
                <p:spPr>
                  <a:xfrm>
                    <a:off x="8910483" y="810018"/>
                    <a:ext cx="817969" cy="1046717"/>
                  </a:xfrm>
                  <a:custGeom>
                    <a:avLst/>
                    <a:gdLst>
                      <a:gd name="connsiteX0" fmla="*/ 720465 w 817969"/>
                      <a:gd name="connsiteY0" fmla="*/ 892765 h 1046717"/>
                      <a:gd name="connsiteX1" fmla="*/ 679603 w 817969"/>
                      <a:gd name="connsiteY1" fmla="*/ 349364 h 1046717"/>
                      <a:gd name="connsiteX2" fmla="*/ 351467 w 817969"/>
                      <a:gd name="connsiteY2" fmla="*/ 1321 h 1046717"/>
                      <a:gd name="connsiteX3" fmla="*/ 212974 w 817969"/>
                      <a:gd name="connsiteY3" fmla="*/ 66472 h 1046717"/>
                      <a:gd name="connsiteX4" fmla="*/ 25522 w 817969"/>
                      <a:gd name="connsiteY4" fmla="*/ 310312 h 1046717"/>
                      <a:gd name="connsiteX5" fmla="*/ 68956 w 817969"/>
                      <a:gd name="connsiteY5" fmla="*/ 866857 h 1046717"/>
                      <a:gd name="connsiteX6" fmla="*/ 720465 w 817969"/>
                      <a:gd name="connsiteY6" fmla="*/ 892765 h 10467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17969" h="1046717">
                        <a:moveTo>
                          <a:pt x="720465" y="892765"/>
                        </a:moveTo>
                        <a:cubicBezTo>
                          <a:pt x="720465" y="892765"/>
                          <a:pt x="964972" y="672262"/>
                          <a:pt x="679603" y="349364"/>
                        </a:cubicBezTo>
                        <a:cubicBezTo>
                          <a:pt x="593307" y="251733"/>
                          <a:pt x="546444" y="-21254"/>
                          <a:pt x="351467" y="1321"/>
                        </a:cubicBezTo>
                        <a:cubicBezTo>
                          <a:pt x="299555" y="8560"/>
                          <a:pt x="250502" y="23038"/>
                          <a:pt x="212974" y="66472"/>
                        </a:cubicBezTo>
                        <a:cubicBezTo>
                          <a:pt x="212974" y="66472"/>
                          <a:pt x="81243" y="74568"/>
                          <a:pt x="25522" y="310312"/>
                        </a:cubicBezTo>
                        <a:cubicBezTo>
                          <a:pt x="-22008" y="511480"/>
                          <a:pt x="-672" y="769036"/>
                          <a:pt x="68956" y="866857"/>
                        </a:cubicBezTo>
                        <a:cubicBezTo>
                          <a:pt x="228975" y="1099363"/>
                          <a:pt x="446907" y="1104792"/>
                          <a:pt x="720465" y="89276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1" name="Freihandform: Form 40">
                    <a:extLst>
                      <a:ext uri="{FF2B5EF4-FFF2-40B4-BE49-F238E27FC236}">
                        <a16:creationId xmlns:a16="http://schemas.microsoft.com/office/drawing/2014/main" id="{957AE813-D5E4-A05E-4132-D4274EE46EB0}"/>
                      </a:ext>
                    </a:extLst>
                  </p:cNvPr>
                  <p:cNvSpPr/>
                  <p:nvPr/>
                </p:nvSpPr>
                <p:spPr>
                  <a:xfrm>
                    <a:off x="9143174" y="1311973"/>
                    <a:ext cx="298227" cy="463654"/>
                  </a:xfrm>
                  <a:custGeom>
                    <a:avLst/>
                    <a:gdLst>
                      <a:gd name="connsiteX0" fmla="*/ 0 w 298227"/>
                      <a:gd name="connsiteY0" fmla="*/ 385001 h 463654"/>
                      <a:gd name="connsiteX1" fmla="*/ 298228 w 298227"/>
                      <a:gd name="connsiteY1" fmla="*/ 385001 h 463654"/>
                      <a:gd name="connsiteX2" fmla="*/ 298228 w 298227"/>
                      <a:gd name="connsiteY2" fmla="*/ 0 h 463654"/>
                      <a:gd name="connsiteX3" fmla="*/ 0 w 298227"/>
                      <a:gd name="connsiteY3" fmla="*/ 0 h 463654"/>
                      <a:gd name="connsiteX4" fmla="*/ 0 w 298227"/>
                      <a:gd name="connsiteY4" fmla="*/ 385001 h 4636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8227" h="463654">
                        <a:moveTo>
                          <a:pt x="0" y="385001"/>
                        </a:moveTo>
                        <a:cubicBezTo>
                          <a:pt x="51816" y="489109"/>
                          <a:pt x="237172" y="490633"/>
                          <a:pt x="298228" y="385001"/>
                        </a:cubicBezTo>
                        <a:lnTo>
                          <a:pt x="298228" y="0"/>
                        </a:lnTo>
                        <a:lnTo>
                          <a:pt x="0" y="0"/>
                        </a:lnTo>
                        <a:cubicBezTo>
                          <a:pt x="0" y="0"/>
                          <a:pt x="0" y="385001"/>
                          <a:pt x="0" y="385001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2" name="Freihandform: Form 41">
                    <a:extLst>
                      <a:ext uri="{FF2B5EF4-FFF2-40B4-BE49-F238E27FC236}">
                        <a16:creationId xmlns:a16="http://schemas.microsoft.com/office/drawing/2014/main" id="{15ED007A-78A3-8D52-D845-FB4756E2E848}"/>
                      </a:ext>
                    </a:extLst>
                  </p:cNvPr>
                  <p:cNvSpPr/>
                  <p:nvPr/>
                </p:nvSpPr>
                <p:spPr>
                  <a:xfrm>
                    <a:off x="9054877" y="1366837"/>
                    <a:ext cx="361378" cy="476350"/>
                  </a:xfrm>
                  <a:custGeom>
                    <a:avLst/>
                    <a:gdLst>
                      <a:gd name="connsiteX0" fmla="*/ 361379 w 361378"/>
                      <a:gd name="connsiteY0" fmla="*/ 0 h 476350"/>
                      <a:gd name="connsiteX1" fmla="*/ 347186 w 361378"/>
                      <a:gd name="connsiteY1" fmla="*/ 72295 h 476350"/>
                      <a:gd name="connsiteX2" fmla="*/ 224790 w 361378"/>
                      <a:gd name="connsiteY2" fmla="*/ 204121 h 476350"/>
                      <a:gd name="connsiteX3" fmla="*/ 143542 w 361378"/>
                      <a:gd name="connsiteY3" fmla="*/ 260890 h 476350"/>
                      <a:gd name="connsiteX4" fmla="*/ 220313 w 361378"/>
                      <a:gd name="connsiteY4" fmla="*/ 473012 h 476350"/>
                      <a:gd name="connsiteX5" fmla="*/ 0 w 361378"/>
                      <a:gd name="connsiteY5" fmla="*/ 278987 h 476350"/>
                      <a:gd name="connsiteX6" fmla="*/ 88106 w 361378"/>
                      <a:gd name="connsiteY6" fmla="*/ 244888 h 476350"/>
                      <a:gd name="connsiteX7" fmla="*/ 88106 w 361378"/>
                      <a:gd name="connsiteY7" fmla="*/ 0 h 476350"/>
                      <a:gd name="connsiteX8" fmla="*/ 361379 w 361378"/>
                      <a:gd name="connsiteY8" fmla="*/ 0 h 476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61378" h="476350">
                        <a:moveTo>
                          <a:pt x="361379" y="0"/>
                        </a:moveTo>
                        <a:lnTo>
                          <a:pt x="347186" y="72295"/>
                        </a:lnTo>
                        <a:cubicBezTo>
                          <a:pt x="347186" y="72295"/>
                          <a:pt x="321945" y="199168"/>
                          <a:pt x="224790" y="204121"/>
                        </a:cubicBezTo>
                        <a:cubicBezTo>
                          <a:pt x="166688" y="207073"/>
                          <a:pt x="143827" y="229362"/>
                          <a:pt x="143542" y="260890"/>
                        </a:cubicBezTo>
                        <a:cubicBezTo>
                          <a:pt x="142590" y="384810"/>
                          <a:pt x="240030" y="440627"/>
                          <a:pt x="220313" y="473012"/>
                        </a:cubicBezTo>
                        <a:cubicBezTo>
                          <a:pt x="147733" y="501110"/>
                          <a:pt x="34100" y="344519"/>
                          <a:pt x="0" y="278987"/>
                        </a:cubicBezTo>
                        <a:lnTo>
                          <a:pt x="88106" y="244888"/>
                        </a:lnTo>
                        <a:lnTo>
                          <a:pt x="88106" y="0"/>
                        </a:lnTo>
                        <a:lnTo>
                          <a:pt x="361379" y="0"/>
                        </a:ln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" name="Freihandform: Form 42">
                    <a:extLst>
                      <a:ext uri="{FF2B5EF4-FFF2-40B4-BE49-F238E27FC236}">
                        <a16:creationId xmlns:a16="http://schemas.microsoft.com/office/drawing/2014/main" id="{E069042B-EB84-3381-B4C9-40CEBB383B6F}"/>
                      </a:ext>
                    </a:extLst>
                  </p:cNvPr>
                  <p:cNvSpPr/>
                  <p:nvPr/>
                </p:nvSpPr>
                <p:spPr>
                  <a:xfrm>
                    <a:off x="9092333" y="984096"/>
                    <a:ext cx="400153" cy="557524"/>
                  </a:xfrm>
                  <a:custGeom>
                    <a:avLst/>
                    <a:gdLst>
                      <a:gd name="connsiteX0" fmla="*/ 398979 w 400153"/>
                      <a:gd name="connsiteY0" fmla="*/ 188336 h 557524"/>
                      <a:gd name="connsiteX1" fmla="*/ 346687 w 400153"/>
                      <a:gd name="connsiteY1" fmla="*/ 49080 h 557524"/>
                      <a:gd name="connsiteX2" fmla="*/ 200097 w 400153"/>
                      <a:gd name="connsiteY2" fmla="*/ 26 h 557524"/>
                      <a:gd name="connsiteX3" fmla="*/ 53507 w 400153"/>
                      <a:gd name="connsiteY3" fmla="*/ 49080 h 557524"/>
                      <a:gd name="connsiteX4" fmla="*/ 1215 w 400153"/>
                      <a:gd name="connsiteY4" fmla="*/ 188336 h 557524"/>
                      <a:gd name="connsiteX5" fmla="*/ 2073 w 400153"/>
                      <a:gd name="connsiteY5" fmla="*/ 321400 h 557524"/>
                      <a:gd name="connsiteX6" fmla="*/ 61604 w 400153"/>
                      <a:gd name="connsiteY6" fmla="*/ 469704 h 557524"/>
                      <a:gd name="connsiteX7" fmla="*/ 200097 w 400153"/>
                      <a:gd name="connsiteY7" fmla="*/ 557525 h 557524"/>
                      <a:gd name="connsiteX8" fmla="*/ 338591 w 400153"/>
                      <a:gd name="connsiteY8" fmla="*/ 469704 h 557524"/>
                      <a:gd name="connsiteX9" fmla="*/ 398122 w 400153"/>
                      <a:gd name="connsiteY9" fmla="*/ 321400 h 557524"/>
                      <a:gd name="connsiteX10" fmla="*/ 398979 w 400153"/>
                      <a:gd name="connsiteY10" fmla="*/ 188336 h 5575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400153" h="557524">
                        <a:moveTo>
                          <a:pt x="398979" y="188336"/>
                        </a:moveTo>
                        <a:cubicBezTo>
                          <a:pt x="398979" y="188336"/>
                          <a:pt x="394217" y="105278"/>
                          <a:pt x="346687" y="49080"/>
                        </a:cubicBezTo>
                        <a:cubicBezTo>
                          <a:pt x="307540" y="2789"/>
                          <a:pt x="227148" y="-355"/>
                          <a:pt x="200097" y="26"/>
                        </a:cubicBezTo>
                        <a:cubicBezTo>
                          <a:pt x="173046" y="-355"/>
                          <a:pt x="92655" y="2789"/>
                          <a:pt x="53507" y="49080"/>
                        </a:cubicBezTo>
                        <a:cubicBezTo>
                          <a:pt x="5978" y="105278"/>
                          <a:pt x="1215" y="188336"/>
                          <a:pt x="1215" y="188336"/>
                        </a:cubicBezTo>
                        <a:cubicBezTo>
                          <a:pt x="1215" y="188336"/>
                          <a:pt x="-2023" y="284252"/>
                          <a:pt x="2073" y="321400"/>
                        </a:cubicBezTo>
                        <a:cubicBezTo>
                          <a:pt x="6073" y="358452"/>
                          <a:pt x="1882" y="409316"/>
                          <a:pt x="61604" y="469704"/>
                        </a:cubicBezTo>
                        <a:cubicBezTo>
                          <a:pt x="119802" y="528664"/>
                          <a:pt x="159711" y="556191"/>
                          <a:pt x="200097" y="557525"/>
                        </a:cubicBezTo>
                        <a:cubicBezTo>
                          <a:pt x="240483" y="556191"/>
                          <a:pt x="280393" y="528664"/>
                          <a:pt x="338591" y="469704"/>
                        </a:cubicBezTo>
                        <a:cubicBezTo>
                          <a:pt x="398217" y="409316"/>
                          <a:pt x="394026" y="358452"/>
                          <a:pt x="398122" y="321400"/>
                        </a:cubicBezTo>
                        <a:cubicBezTo>
                          <a:pt x="402123" y="284348"/>
                          <a:pt x="398979" y="188336"/>
                          <a:pt x="398979" y="18833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" name="Freihandform: Form 43">
                    <a:extLst>
                      <a:ext uri="{FF2B5EF4-FFF2-40B4-BE49-F238E27FC236}">
                        <a16:creationId xmlns:a16="http://schemas.microsoft.com/office/drawing/2014/main" id="{795D31F1-B719-39EE-BCA1-900652C70242}"/>
                      </a:ext>
                    </a:extLst>
                  </p:cNvPr>
                  <p:cNvSpPr/>
                  <p:nvPr/>
                </p:nvSpPr>
                <p:spPr>
                  <a:xfrm rot="-3581400">
                    <a:off x="9397508" y="1182954"/>
                    <a:ext cx="196214" cy="136778"/>
                  </a:xfrm>
                  <a:custGeom>
                    <a:avLst/>
                    <a:gdLst>
                      <a:gd name="connsiteX0" fmla="*/ 196215 w 196214"/>
                      <a:gd name="connsiteY0" fmla="*/ 68389 h 136778"/>
                      <a:gd name="connsiteX1" fmla="*/ 98107 w 196214"/>
                      <a:gd name="connsiteY1" fmla="*/ 136779 h 136778"/>
                      <a:gd name="connsiteX2" fmla="*/ 0 w 196214"/>
                      <a:gd name="connsiteY2" fmla="*/ 68389 h 136778"/>
                      <a:gd name="connsiteX3" fmla="*/ 98107 w 196214"/>
                      <a:gd name="connsiteY3" fmla="*/ 0 h 136778"/>
                      <a:gd name="connsiteX4" fmla="*/ 196215 w 196214"/>
                      <a:gd name="connsiteY4" fmla="*/ 68389 h 1367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6214" h="136778">
                        <a:moveTo>
                          <a:pt x="196215" y="68389"/>
                        </a:moveTo>
                        <a:cubicBezTo>
                          <a:pt x="196215" y="106160"/>
                          <a:pt x="152291" y="136779"/>
                          <a:pt x="98107" y="136779"/>
                        </a:cubicBezTo>
                        <a:cubicBezTo>
                          <a:pt x="43924" y="136779"/>
                          <a:pt x="0" y="106160"/>
                          <a:pt x="0" y="68389"/>
                        </a:cubicBezTo>
                        <a:cubicBezTo>
                          <a:pt x="0" y="30619"/>
                          <a:pt x="43924" y="0"/>
                          <a:pt x="98107" y="0"/>
                        </a:cubicBezTo>
                        <a:cubicBezTo>
                          <a:pt x="152291" y="0"/>
                          <a:pt x="196215" y="30619"/>
                          <a:pt x="196215" y="68389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" name="Freihandform: Form 44">
                    <a:extLst>
                      <a:ext uri="{FF2B5EF4-FFF2-40B4-BE49-F238E27FC236}">
                        <a16:creationId xmlns:a16="http://schemas.microsoft.com/office/drawing/2014/main" id="{381727DC-617E-70A3-9375-C80D3B2C7479}"/>
                      </a:ext>
                    </a:extLst>
                  </p:cNvPr>
                  <p:cNvSpPr/>
                  <p:nvPr/>
                </p:nvSpPr>
                <p:spPr>
                  <a:xfrm rot="-1416000">
                    <a:off x="9013384" y="1154698"/>
                    <a:ext cx="138112" cy="194310"/>
                  </a:xfrm>
                  <a:custGeom>
                    <a:avLst/>
                    <a:gdLst>
                      <a:gd name="connsiteX0" fmla="*/ 138113 w 138112"/>
                      <a:gd name="connsiteY0" fmla="*/ 97155 h 194310"/>
                      <a:gd name="connsiteX1" fmla="*/ 69056 w 138112"/>
                      <a:gd name="connsiteY1" fmla="*/ 194310 h 194310"/>
                      <a:gd name="connsiteX2" fmla="*/ 0 w 138112"/>
                      <a:gd name="connsiteY2" fmla="*/ 97155 h 194310"/>
                      <a:gd name="connsiteX3" fmla="*/ 69056 w 138112"/>
                      <a:gd name="connsiteY3" fmla="*/ 0 h 194310"/>
                      <a:gd name="connsiteX4" fmla="*/ 138113 w 138112"/>
                      <a:gd name="connsiteY4" fmla="*/ 97155 h 1943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8112" h="194310">
                        <a:moveTo>
                          <a:pt x="138113" y="97155"/>
                        </a:moveTo>
                        <a:cubicBezTo>
                          <a:pt x="138113" y="150812"/>
                          <a:pt x="107195" y="194310"/>
                          <a:pt x="69056" y="194310"/>
                        </a:cubicBezTo>
                        <a:cubicBezTo>
                          <a:pt x="30917" y="194310"/>
                          <a:pt x="0" y="150812"/>
                          <a:pt x="0" y="97155"/>
                        </a:cubicBezTo>
                        <a:cubicBezTo>
                          <a:pt x="0" y="43498"/>
                          <a:pt x="30917" y="0"/>
                          <a:pt x="69056" y="0"/>
                        </a:cubicBezTo>
                        <a:cubicBezTo>
                          <a:pt x="107195" y="0"/>
                          <a:pt x="138113" y="43498"/>
                          <a:pt x="138113" y="97155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" name="Freihandform: Form 45">
                    <a:extLst>
                      <a:ext uri="{FF2B5EF4-FFF2-40B4-BE49-F238E27FC236}">
                        <a16:creationId xmlns:a16="http://schemas.microsoft.com/office/drawing/2014/main" id="{E7B9C82E-0B7B-A99E-66F7-B630C7F7785B}"/>
                      </a:ext>
                    </a:extLst>
                  </p:cNvPr>
                  <p:cNvSpPr/>
                  <p:nvPr/>
                </p:nvSpPr>
                <p:spPr>
                  <a:xfrm>
                    <a:off x="9023349" y="818483"/>
                    <a:ext cx="538162" cy="562546"/>
                  </a:xfrm>
                  <a:custGeom>
                    <a:avLst/>
                    <a:gdLst>
                      <a:gd name="connsiteX0" fmla="*/ 538163 w 538162"/>
                      <a:gd name="connsiteY0" fmla="*/ 281273 h 562546"/>
                      <a:gd name="connsiteX1" fmla="*/ 269081 w 538162"/>
                      <a:gd name="connsiteY1" fmla="*/ 562547 h 562546"/>
                      <a:gd name="connsiteX2" fmla="*/ 0 w 538162"/>
                      <a:gd name="connsiteY2" fmla="*/ 281273 h 562546"/>
                      <a:gd name="connsiteX3" fmla="*/ 269081 w 538162"/>
                      <a:gd name="connsiteY3" fmla="*/ 0 h 562546"/>
                      <a:gd name="connsiteX4" fmla="*/ 538163 w 538162"/>
                      <a:gd name="connsiteY4" fmla="*/ 281273 h 5625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38162" h="562546">
                        <a:moveTo>
                          <a:pt x="538163" y="281273"/>
                        </a:moveTo>
                        <a:cubicBezTo>
                          <a:pt x="538163" y="436616"/>
                          <a:pt x="417691" y="562547"/>
                          <a:pt x="269081" y="562547"/>
                        </a:cubicBezTo>
                        <a:cubicBezTo>
                          <a:pt x="120472" y="562547"/>
                          <a:pt x="0" y="436616"/>
                          <a:pt x="0" y="281273"/>
                        </a:cubicBezTo>
                        <a:cubicBezTo>
                          <a:pt x="0" y="125930"/>
                          <a:pt x="120472" y="0"/>
                          <a:pt x="269081" y="0"/>
                        </a:cubicBezTo>
                        <a:cubicBezTo>
                          <a:pt x="417691" y="0"/>
                          <a:pt x="538163" y="125930"/>
                          <a:pt x="538163" y="281273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" name="Freihandform: Form 46">
                    <a:extLst>
                      <a:ext uri="{FF2B5EF4-FFF2-40B4-BE49-F238E27FC236}">
                        <a16:creationId xmlns:a16="http://schemas.microsoft.com/office/drawing/2014/main" id="{B330A15B-864A-53E6-DBD3-0CEEBD1FA839}"/>
                      </a:ext>
                    </a:extLst>
                  </p:cNvPr>
                  <p:cNvSpPr/>
                  <p:nvPr/>
                </p:nvSpPr>
                <p:spPr>
                  <a:xfrm>
                    <a:off x="9011639" y="823245"/>
                    <a:ext cx="530631" cy="404621"/>
                  </a:xfrm>
                  <a:custGeom>
                    <a:avLst/>
                    <a:gdLst>
                      <a:gd name="connsiteX0" fmla="*/ 267647 w 530631"/>
                      <a:gd name="connsiteY0" fmla="*/ 127540 h 404621"/>
                      <a:gd name="connsiteX1" fmla="*/ 491770 w 530631"/>
                      <a:gd name="connsiteY1" fmla="*/ 404622 h 404621"/>
                      <a:gd name="connsiteX2" fmla="*/ 530632 w 530631"/>
                      <a:gd name="connsiteY2" fmla="*/ 281273 h 404621"/>
                      <a:gd name="connsiteX3" fmla="*/ 266408 w 530631"/>
                      <a:gd name="connsiteY3" fmla="*/ 0 h 404621"/>
                      <a:gd name="connsiteX4" fmla="*/ 87814 w 530631"/>
                      <a:gd name="connsiteY4" fmla="*/ 74009 h 404621"/>
                      <a:gd name="connsiteX5" fmla="*/ 54382 w 530631"/>
                      <a:gd name="connsiteY5" fmla="*/ 389858 h 404621"/>
                      <a:gd name="connsiteX6" fmla="*/ 267647 w 530631"/>
                      <a:gd name="connsiteY6" fmla="*/ 127540 h 4046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30631" h="404621">
                        <a:moveTo>
                          <a:pt x="267647" y="127540"/>
                        </a:moveTo>
                        <a:cubicBezTo>
                          <a:pt x="459099" y="139637"/>
                          <a:pt x="435572" y="297085"/>
                          <a:pt x="491770" y="404622"/>
                        </a:cubicBezTo>
                        <a:cubicBezTo>
                          <a:pt x="502343" y="374142"/>
                          <a:pt x="530632" y="315659"/>
                          <a:pt x="530632" y="281273"/>
                        </a:cubicBezTo>
                        <a:cubicBezTo>
                          <a:pt x="530632" y="125920"/>
                          <a:pt x="412331" y="0"/>
                          <a:pt x="266408" y="0"/>
                        </a:cubicBezTo>
                        <a:cubicBezTo>
                          <a:pt x="197543" y="0"/>
                          <a:pt x="134773" y="28004"/>
                          <a:pt x="87814" y="74009"/>
                        </a:cubicBezTo>
                        <a:cubicBezTo>
                          <a:pt x="17520" y="108204"/>
                          <a:pt x="-51250" y="297085"/>
                          <a:pt x="54382" y="389858"/>
                        </a:cubicBezTo>
                        <a:cubicBezTo>
                          <a:pt x="94958" y="311753"/>
                          <a:pt x="95244" y="116681"/>
                          <a:pt x="267647" y="127540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" name="Freihandform: Form 47">
                    <a:extLst>
                      <a:ext uri="{FF2B5EF4-FFF2-40B4-BE49-F238E27FC236}">
                        <a16:creationId xmlns:a16="http://schemas.microsoft.com/office/drawing/2014/main" id="{FB610446-9360-C8FB-4BAA-0ADD397502F3}"/>
                      </a:ext>
                    </a:extLst>
                  </p:cNvPr>
                  <p:cNvSpPr/>
                  <p:nvPr/>
                </p:nvSpPr>
                <p:spPr>
                  <a:xfrm>
                    <a:off x="9240995" y="1305210"/>
                    <a:ext cx="78793" cy="32099"/>
                  </a:xfrm>
                  <a:custGeom>
                    <a:avLst/>
                    <a:gdLst>
                      <a:gd name="connsiteX0" fmla="*/ 1143 w 78793"/>
                      <a:gd name="connsiteY0" fmla="*/ 0 h 32099"/>
                      <a:gd name="connsiteX1" fmla="*/ 35814 w 78793"/>
                      <a:gd name="connsiteY1" fmla="*/ 10573 h 32099"/>
                      <a:gd name="connsiteX2" fmla="*/ 77820 w 78793"/>
                      <a:gd name="connsiteY2" fmla="*/ 0 h 32099"/>
                      <a:gd name="connsiteX3" fmla="*/ 77820 w 78793"/>
                      <a:gd name="connsiteY3" fmla="*/ 9239 h 32099"/>
                      <a:gd name="connsiteX4" fmla="*/ 37148 w 78793"/>
                      <a:gd name="connsiteY4" fmla="*/ 32099 h 32099"/>
                      <a:gd name="connsiteX5" fmla="*/ 1143 w 78793"/>
                      <a:gd name="connsiteY5" fmla="*/ 10192 h 32099"/>
                      <a:gd name="connsiteX6" fmla="*/ 1143 w 78793"/>
                      <a:gd name="connsiteY6" fmla="*/ 95 h 320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793" h="32099">
                        <a:moveTo>
                          <a:pt x="1143" y="0"/>
                        </a:moveTo>
                        <a:cubicBezTo>
                          <a:pt x="1143" y="0"/>
                          <a:pt x="11049" y="10573"/>
                          <a:pt x="35814" y="10573"/>
                        </a:cubicBezTo>
                        <a:cubicBezTo>
                          <a:pt x="67152" y="10573"/>
                          <a:pt x="77820" y="0"/>
                          <a:pt x="77820" y="0"/>
                        </a:cubicBezTo>
                        <a:cubicBezTo>
                          <a:pt x="77820" y="0"/>
                          <a:pt x="80010" y="3143"/>
                          <a:pt x="77820" y="9239"/>
                        </a:cubicBezTo>
                        <a:cubicBezTo>
                          <a:pt x="76295" y="13525"/>
                          <a:pt x="62675" y="32099"/>
                          <a:pt x="37148" y="32099"/>
                        </a:cubicBezTo>
                        <a:cubicBezTo>
                          <a:pt x="17240" y="32099"/>
                          <a:pt x="3715" y="16383"/>
                          <a:pt x="1143" y="10192"/>
                        </a:cubicBezTo>
                        <a:cubicBezTo>
                          <a:pt x="-1429" y="4000"/>
                          <a:pt x="1143" y="95"/>
                          <a:pt x="1143" y="95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" name="Freihandform: Form 48">
                    <a:extLst>
                      <a:ext uri="{FF2B5EF4-FFF2-40B4-BE49-F238E27FC236}">
                        <a16:creationId xmlns:a16="http://schemas.microsoft.com/office/drawing/2014/main" id="{CCD21F1A-8193-BE9A-6894-5FE25785B836}"/>
                      </a:ext>
                    </a:extLst>
                  </p:cNvPr>
                  <p:cNvSpPr/>
                  <p:nvPr/>
                </p:nvSpPr>
                <p:spPr>
                  <a:xfrm>
                    <a:off x="9312056" y="1120425"/>
                    <a:ext cx="140203" cy="47053"/>
                  </a:xfrm>
                  <a:custGeom>
                    <a:avLst/>
                    <a:gdLst>
                      <a:gd name="connsiteX0" fmla="*/ 109438 w 140203"/>
                      <a:gd name="connsiteY0" fmla="*/ 17716 h 47053"/>
                      <a:gd name="connsiteX1" fmla="*/ 55812 w 140203"/>
                      <a:gd name="connsiteY1" fmla="*/ 762 h 47053"/>
                      <a:gd name="connsiteX2" fmla="*/ 55812 w 140203"/>
                      <a:gd name="connsiteY2" fmla="*/ 762 h 47053"/>
                      <a:gd name="connsiteX3" fmla="*/ 7711 w 140203"/>
                      <a:gd name="connsiteY3" fmla="*/ 6191 h 47053"/>
                      <a:gd name="connsiteX4" fmla="*/ 4282 w 140203"/>
                      <a:gd name="connsiteY4" fmla="*/ 8858 h 47053"/>
                      <a:gd name="connsiteX5" fmla="*/ 13902 w 140203"/>
                      <a:gd name="connsiteY5" fmla="*/ 33242 h 47053"/>
                      <a:gd name="connsiteX6" fmla="*/ 41239 w 140203"/>
                      <a:gd name="connsiteY6" fmla="*/ 30766 h 47053"/>
                      <a:gd name="connsiteX7" fmla="*/ 105533 w 140203"/>
                      <a:gd name="connsiteY7" fmla="*/ 34480 h 47053"/>
                      <a:gd name="connsiteX8" fmla="*/ 140204 w 140203"/>
                      <a:gd name="connsiteY8" fmla="*/ 47053 h 47053"/>
                      <a:gd name="connsiteX9" fmla="*/ 109438 w 140203"/>
                      <a:gd name="connsiteY9" fmla="*/ 17716 h 470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40203" h="47053">
                        <a:moveTo>
                          <a:pt x="109438" y="17716"/>
                        </a:moveTo>
                        <a:cubicBezTo>
                          <a:pt x="90864" y="5905"/>
                          <a:pt x="70671" y="1429"/>
                          <a:pt x="55812" y="762"/>
                        </a:cubicBezTo>
                        <a:lnTo>
                          <a:pt x="55812" y="762"/>
                        </a:lnTo>
                        <a:cubicBezTo>
                          <a:pt x="30285" y="-1810"/>
                          <a:pt x="13236" y="2667"/>
                          <a:pt x="7711" y="6191"/>
                        </a:cubicBezTo>
                        <a:cubicBezTo>
                          <a:pt x="6377" y="7048"/>
                          <a:pt x="5234" y="7906"/>
                          <a:pt x="4282" y="8858"/>
                        </a:cubicBezTo>
                        <a:cubicBezTo>
                          <a:pt x="-4862" y="17526"/>
                          <a:pt x="1710" y="33623"/>
                          <a:pt x="13902" y="33242"/>
                        </a:cubicBezTo>
                        <a:cubicBezTo>
                          <a:pt x="19522" y="33147"/>
                          <a:pt x="33333" y="31528"/>
                          <a:pt x="41239" y="30766"/>
                        </a:cubicBezTo>
                        <a:cubicBezTo>
                          <a:pt x="55050" y="29337"/>
                          <a:pt x="94293" y="31432"/>
                          <a:pt x="105533" y="34480"/>
                        </a:cubicBezTo>
                        <a:cubicBezTo>
                          <a:pt x="127536" y="40481"/>
                          <a:pt x="140204" y="47053"/>
                          <a:pt x="140204" y="47053"/>
                        </a:cubicBezTo>
                        <a:cubicBezTo>
                          <a:pt x="140204" y="47053"/>
                          <a:pt x="134203" y="33528"/>
                          <a:pt x="109438" y="1771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" name="Freihandform: Form 49">
                    <a:extLst>
                      <a:ext uri="{FF2B5EF4-FFF2-40B4-BE49-F238E27FC236}">
                        <a16:creationId xmlns:a16="http://schemas.microsoft.com/office/drawing/2014/main" id="{A993ECED-1B37-5516-9616-1A4A683BCD54}"/>
                      </a:ext>
                    </a:extLst>
                  </p:cNvPr>
                  <p:cNvSpPr/>
                  <p:nvPr/>
                </p:nvSpPr>
                <p:spPr>
                  <a:xfrm rot="-5166000">
                    <a:off x="9156216" y="1194137"/>
                    <a:ext cx="40385" cy="37909"/>
                  </a:xfrm>
                  <a:custGeom>
                    <a:avLst/>
                    <a:gdLst>
                      <a:gd name="connsiteX0" fmla="*/ 40386 w 40385"/>
                      <a:gd name="connsiteY0" fmla="*/ 18955 h 37909"/>
                      <a:gd name="connsiteX1" fmla="*/ 20193 w 40385"/>
                      <a:gd name="connsiteY1" fmla="*/ 37910 h 37909"/>
                      <a:gd name="connsiteX2" fmla="*/ 0 w 40385"/>
                      <a:gd name="connsiteY2" fmla="*/ 18955 h 37909"/>
                      <a:gd name="connsiteX3" fmla="*/ 20193 w 40385"/>
                      <a:gd name="connsiteY3" fmla="*/ 0 h 37909"/>
                      <a:gd name="connsiteX4" fmla="*/ 40386 w 40385"/>
                      <a:gd name="connsiteY4" fmla="*/ 18955 h 379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385" h="37909">
                        <a:moveTo>
                          <a:pt x="40386" y="18955"/>
                        </a:moveTo>
                        <a:cubicBezTo>
                          <a:pt x="40386" y="29423"/>
                          <a:pt x="31345" y="37910"/>
                          <a:pt x="20193" y="37910"/>
                        </a:cubicBezTo>
                        <a:cubicBezTo>
                          <a:pt x="9041" y="37910"/>
                          <a:pt x="0" y="29423"/>
                          <a:pt x="0" y="18955"/>
                        </a:cubicBezTo>
                        <a:cubicBezTo>
                          <a:pt x="0" y="8486"/>
                          <a:pt x="9041" y="0"/>
                          <a:pt x="20193" y="0"/>
                        </a:cubicBezTo>
                        <a:cubicBezTo>
                          <a:pt x="31345" y="0"/>
                          <a:pt x="40386" y="8486"/>
                          <a:pt x="40386" y="18955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1" name="Freihandform: Form 50">
                    <a:extLst>
                      <a:ext uri="{FF2B5EF4-FFF2-40B4-BE49-F238E27FC236}">
                        <a16:creationId xmlns:a16="http://schemas.microsoft.com/office/drawing/2014/main" id="{ECD515D3-6962-194F-D723-85BEA4820EBF}"/>
                      </a:ext>
                    </a:extLst>
                  </p:cNvPr>
                  <p:cNvSpPr/>
                  <p:nvPr/>
                </p:nvSpPr>
                <p:spPr>
                  <a:xfrm>
                    <a:off x="9106502" y="1122045"/>
                    <a:ext cx="140013" cy="47053"/>
                  </a:xfrm>
                  <a:custGeom>
                    <a:avLst/>
                    <a:gdLst>
                      <a:gd name="connsiteX0" fmla="*/ 30766 w 140013"/>
                      <a:gd name="connsiteY0" fmla="*/ 17716 h 47053"/>
                      <a:gd name="connsiteX1" fmla="*/ 84297 w 140013"/>
                      <a:gd name="connsiteY1" fmla="*/ 762 h 47053"/>
                      <a:gd name="connsiteX2" fmla="*/ 84297 w 140013"/>
                      <a:gd name="connsiteY2" fmla="*/ 762 h 47053"/>
                      <a:gd name="connsiteX3" fmla="*/ 132302 w 140013"/>
                      <a:gd name="connsiteY3" fmla="*/ 6191 h 47053"/>
                      <a:gd name="connsiteX4" fmla="*/ 135731 w 140013"/>
                      <a:gd name="connsiteY4" fmla="*/ 8858 h 47053"/>
                      <a:gd name="connsiteX5" fmla="*/ 126111 w 140013"/>
                      <a:gd name="connsiteY5" fmla="*/ 33242 h 47053"/>
                      <a:gd name="connsiteX6" fmla="*/ 98774 w 140013"/>
                      <a:gd name="connsiteY6" fmla="*/ 30766 h 47053"/>
                      <a:gd name="connsiteX7" fmla="*/ 34576 w 140013"/>
                      <a:gd name="connsiteY7" fmla="*/ 34480 h 47053"/>
                      <a:gd name="connsiteX8" fmla="*/ 0 w 140013"/>
                      <a:gd name="connsiteY8" fmla="*/ 47053 h 47053"/>
                      <a:gd name="connsiteX9" fmla="*/ 30766 w 140013"/>
                      <a:gd name="connsiteY9" fmla="*/ 17716 h 470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40013" h="47053">
                        <a:moveTo>
                          <a:pt x="30766" y="17716"/>
                        </a:moveTo>
                        <a:cubicBezTo>
                          <a:pt x="49339" y="5905"/>
                          <a:pt x="69438" y="1429"/>
                          <a:pt x="84297" y="762"/>
                        </a:cubicBezTo>
                        <a:lnTo>
                          <a:pt x="84297" y="762"/>
                        </a:lnTo>
                        <a:cubicBezTo>
                          <a:pt x="109824" y="-1810"/>
                          <a:pt x="126778" y="2667"/>
                          <a:pt x="132302" y="6191"/>
                        </a:cubicBezTo>
                        <a:cubicBezTo>
                          <a:pt x="133636" y="7048"/>
                          <a:pt x="134684" y="7906"/>
                          <a:pt x="135731" y="8858"/>
                        </a:cubicBezTo>
                        <a:cubicBezTo>
                          <a:pt x="144875" y="17526"/>
                          <a:pt x="138303" y="33623"/>
                          <a:pt x="126111" y="33242"/>
                        </a:cubicBezTo>
                        <a:cubicBezTo>
                          <a:pt x="120491" y="33147"/>
                          <a:pt x="106680" y="31528"/>
                          <a:pt x="98774" y="30766"/>
                        </a:cubicBezTo>
                        <a:cubicBezTo>
                          <a:pt x="84963" y="29337"/>
                          <a:pt x="45815" y="31432"/>
                          <a:pt x="34576" y="34480"/>
                        </a:cubicBezTo>
                        <a:cubicBezTo>
                          <a:pt x="12573" y="40481"/>
                          <a:pt x="0" y="47053"/>
                          <a:pt x="0" y="47053"/>
                        </a:cubicBezTo>
                        <a:cubicBezTo>
                          <a:pt x="0" y="47053"/>
                          <a:pt x="6001" y="33528"/>
                          <a:pt x="30766" y="1771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2" name="Freihandform: Form 51">
                    <a:extLst>
                      <a:ext uri="{FF2B5EF4-FFF2-40B4-BE49-F238E27FC236}">
                        <a16:creationId xmlns:a16="http://schemas.microsoft.com/office/drawing/2014/main" id="{98F85ADD-1F3D-5B5D-3DB8-A58CBE057AA4}"/>
                      </a:ext>
                    </a:extLst>
                  </p:cNvPr>
                  <p:cNvSpPr/>
                  <p:nvPr/>
                </p:nvSpPr>
                <p:spPr>
                  <a:xfrm>
                    <a:off x="9123564" y="1183592"/>
                    <a:ext cx="103635" cy="27457"/>
                  </a:xfrm>
                  <a:custGeom>
                    <a:avLst/>
                    <a:gdLst>
                      <a:gd name="connsiteX0" fmla="*/ 3227 w 103635"/>
                      <a:gd name="connsiteY0" fmla="*/ 17795 h 27457"/>
                      <a:gd name="connsiteX1" fmla="*/ 46185 w 103635"/>
                      <a:gd name="connsiteY1" fmla="*/ 174 h 27457"/>
                      <a:gd name="connsiteX2" fmla="*/ 101239 w 103635"/>
                      <a:gd name="connsiteY2" fmla="*/ 17509 h 27457"/>
                      <a:gd name="connsiteX3" fmla="*/ 97905 w 103635"/>
                      <a:gd name="connsiteY3" fmla="*/ 26939 h 27457"/>
                      <a:gd name="connsiteX4" fmla="*/ 54281 w 103635"/>
                      <a:gd name="connsiteY4" fmla="*/ 11699 h 27457"/>
                      <a:gd name="connsiteX5" fmla="*/ 10847 w 103635"/>
                      <a:gd name="connsiteY5" fmla="*/ 21415 h 27457"/>
                      <a:gd name="connsiteX6" fmla="*/ 1322 w 103635"/>
                      <a:gd name="connsiteY6" fmla="*/ 25606 h 27457"/>
                      <a:gd name="connsiteX7" fmla="*/ 3417 w 103635"/>
                      <a:gd name="connsiteY7" fmla="*/ 17795 h 274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03635" h="27457">
                        <a:moveTo>
                          <a:pt x="3227" y="17795"/>
                        </a:moveTo>
                        <a:cubicBezTo>
                          <a:pt x="7989" y="12938"/>
                          <a:pt x="23896" y="1412"/>
                          <a:pt x="46185" y="174"/>
                        </a:cubicBezTo>
                        <a:cubicBezTo>
                          <a:pt x="76569" y="-1541"/>
                          <a:pt x="94000" y="9794"/>
                          <a:pt x="101239" y="17509"/>
                        </a:cubicBezTo>
                        <a:cubicBezTo>
                          <a:pt x="106478" y="23034"/>
                          <a:pt x="102096" y="29321"/>
                          <a:pt x="97905" y="26939"/>
                        </a:cubicBezTo>
                        <a:cubicBezTo>
                          <a:pt x="86952" y="20748"/>
                          <a:pt x="81046" y="14843"/>
                          <a:pt x="54281" y="11699"/>
                        </a:cubicBezTo>
                        <a:cubicBezTo>
                          <a:pt x="35517" y="9413"/>
                          <a:pt x="17705" y="17605"/>
                          <a:pt x="10847" y="21415"/>
                        </a:cubicBezTo>
                        <a:cubicBezTo>
                          <a:pt x="5608" y="24368"/>
                          <a:pt x="2941" y="26844"/>
                          <a:pt x="1322" y="25606"/>
                        </a:cubicBezTo>
                        <a:cubicBezTo>
                          <a:pt x="-1631" y="23415"/>
                          <a:pt x="941" y="20272"/>
                          <a:pt x="3417" y="17795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3" name="Freihandform: Form 52">
                    <a:extLst>
                      <a:ext uri="{FF2B5EF4-FFF2-40B4-BE49-F238E27FC236}">
                        <a16:creationId xmlns:a16="http://schemas.microsoft.com/office/drawing/2014/main" id="{53EC35B7-7D61-5377-EF69-8393457061F0}"/>
                      </a:ext>
                    </a:extLst>
                  </p:cNvPr>
                  <p:cNvSpPr/>
                  <p:nvPr/>
                </p:nvSpPr>
                <p:spPr>
                  <a:xfrm rot="-234000">
                    <a:off x="9358240" y="1193075"/>
                    <a:ext cx="37909" cy="40385"/>
                  </a:xfrm>
                  <a:custGeom>
                    <a:avLst/>
                    <a:gdLst>
                      <a:gd name="connsiteX0" fmla="*/ 37910 w 37909"/>
                      <a:gd name="connsiteY0" fmla="*/ 20193 h 40385"/>
                      <a:gd name="connsiteX1" fmla="*/ 18955 w 37909"/>
                      <a:gd name="connsiteY1" fmla="*/ 40386 h 40385"/>
                      <a:gd name="connsiteX2" fmla="*/ 0 w 37909"/>
                      <a:gd name="connsiteY2" fmla="*/ 20193 h 40385"/>
                      <a:gd name="connsiteX3" fmla="*/ 18955 w 37909"/>
                      <a:gd name="connsiteY3" fmla="*/ 0 h 40385"/>
                      <a:gd name="connsiteX4" fmla="*/ 37910 w 37909"/>
                      <a:gd name="connsiteY4" fmla="*/ 20193 h 403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7909" h="40385">
                        <a:moveTo>
                          <a:pt x="37910" y="20193"/>
                        </a:moveTo>
                        <a:cubicBezTo>
                          <a:pt x="37910" y="31345"/>
                          <a:pt x="29424" y="40386"/>
                          <a:pt x="18955" y="40386"/>
                        </a:cubicBezTo>
                        <a:cubicBezTo>
                          <a:pt x="8486" y="40386"/>
                          <a:pt x="0" y="31345"/>
                          <a:pt x="0" y="20193"/>
                        </a:cubicBezTo>
                        <a:cubicBezTo>
                          <a:pt x="0" y="9041"/>
                          <a:pt x="8486" y="0"/>
                          <a:pt x="18955" y="0"/>
                        </a:cubicBezTo>
                        <a:cubicBezTo>
                          <a:pt x="29424" y="0"/>
                          <a:pt x="37910" y="9041"/>
                          <a:pt x="37910" y="20193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4" name="Freihandform: Form 53">
                    <a:extLst>
                      <a:ext uri="{FF2B5EF4-FFF2-40B4-BE49-F238E27FC236}">
                        <a16:creationId xmlns:a16="http://schemas.microsoft.com/office/drawing/2014/main" id="{6E2C35ED-5BDA-CC20-0DC0-4CA98B61DBFC}"/>
                      </a:ext>
                    </a:extLst>
                  </p:cNvPr>
                  <p:cNvSpPr/>
                  <p:nvPr/>
                </p:nvSpPr>
                <p:spPr>
                  <a:xfrm>
                    <a:off x="9326515" y="1183592"/>
                    <a:ext cx="103634" cy="27457"/>
                  </a:xfrm>
                  <a:custGeom>
                    <a:avLst/>
                    <a:gdLst>
                      <a:gd name="connsiteX0" fmla="*/ 100408 w 103634"/>
                      <a:gd name="connsiteY0" fmla="*/ 17795 h 27457"/>
                      <a:gd name="connsiteX1" fmla="*/ 57450 w 103634"/>
                      <a:gd name="connsiteY1" fmla="*/ 174 h 27457"/>
                      <a:gd name="connsiteX2" fmla="*/ 2396 w 103634"/>
                      <a:gd name="connsiteY2" fmla="*/ 17509 h 27457"/>
                      <a:gd name="connsiteX3" fmla="*/ 5730 w 103634"/>
                      <a:gd name="connsiteY3" fmla="*/ 26939 h 27457"/>
                      <a:gd name="connsiteX4" fmla="*/ 49354 w 103634"/>
                      <a:gd name="connsiteY4" fmla="*/ 11699 h 27457"/>
                      <a:gd name="connsiteX5" fmla="*/ 92788 w 103634"/>
                      <a:gd name="connsiteY5" fmla="*/ 21415 h 27457"/>
                      <a:gd name="connsiteX6" fmla="*/ 102313 w 103634"/>
                      <a:gd name="connsiteY6" fmla="*/ 25606 h 27457"/>
                      <a:gd name="connsiteX7" fmla="*/ 100218 w 103634"/>
                      <a:gd name="connsiteY7" fmla="*/ 17795 h 274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03634" h="27457">
                        <a:moveTo>
                          <a:pt x="100408" y="17795"/>
                        </a:moveTo>
                        <a:cubicBezTo>
                          <a:pt x="95646" y="12938"/>
                          <a:pt x="79739" y="1412"/>
                          <a:pt x="57450" y="174"/>
                        </a:cubicBezTo>
                        <a:cubicBezTo>
                          <a:pt x="27066" y="-1541"/>
                          <a:pt x="9635" y="9794"/>
                          <a:pt x="2396" y="17509"/>
                        </a:cubicBezTo>
                        <a:cubicBezTo>
                          <a:pt x="-2842" y="23034"/>
                          <a:pt x="1539" y="29321"/>
                          <a:pt x="5730" y="26939"/>
                        </a:cubicBezTo>
                        <a:cubicBezTo>
                          <a:pt x="16684" y="20748"/>
                          <a:pt x="22589" y="14843"/>
                          <a:pt x="49354" y="11699"/>
                        </a:cubicBezTo>
                        <a:cubicBezTo>
                          <a:pt x="68118" y="9413"/>
                          <a:pt x="85930" y="17605"/>
                          <a:pt x="92788" y="21415"/>
                        </a:cubicBezTo>
                        <a:cubicBezTo>
                          <a:pt x="98027" y="24368"/>
                          <a:pt x="100694" y="26844"/>
                          <a:pt x="102313" y="25606"/>
                        </a:cubicBezTo>
                        <a:cubicBezTo>
                          <a:pt x="105266" y="23415"/>
                          <a:pt x="102694" y="20272"/>
                          <a:pt x="100218" y="17795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5" name="Freihandform: Form 54">
                    <a:extLst>
                      <a:ext uri="{FF2B5EF4-FFF2-40B4-BE49-F238E27FC236}">
                        <a16:creationId xmlns:a16="http://schemas.microsoft.com/office/drawing/2014/main" id="{C327A88E-C59A-1EAC-BDB4-823BED8FAD62}"/>
                      </a:ext>
                    </a:extLst>
                  </p:cNvPr>
                  <p:cNvSpPr/>
                  <p:nvPr/>
                </p:nvSpPr>
                <p:spPr>
                  <a:xfrm>
                    <a:off x="9123366" y="781823"/>
                    <a:ext cx="508630" cy="429280"/>
                  </a:xfrm>
                  <a:custGeom>
                    <a:avLst/>
                    <a:gdLst>
                      <a:gd name="connsiteX0" fmla="*/ 91 w 508630"/>
                      <a:gd name="connsiteY0" fmla="*/ 94667 h 429280"/>
                      <a:gd name="connsiteX1" fmla="*/ 318131 w 508630"/>
                      <a:gd name="connsiteY1" fmla="*/ 352223 h 429280"/>
                      <a:gd name="connsiteX2" fmla="*/ 508631 w 508630"/>
                      <a:gd name="connsiteY2" fmla="*/ 429281 h 429280"/>
                      <a:gd name="connsiteX3" fmla="*/ 449956 w 508630"/>
                      <a:gd name="connsiteY3" fmla="*/ 231446 h 429280"/>
                      <a:gd name="connsiteX4" fmla="*/ 91 w 508630"/>
                      <a:gd name="connsiteY4" fmla="*/ 94667 h 4292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8630" h="429280">
                        <a:moveTo>
                          <a:pt x="91" y="94667"/>
                        </a:moveTo>
                        <a:cubicBezTo>
                          <a:pt x="-4576" y="204586"/>
                          <a:pt x="171731" y="297931"/>
                          <a:pt x="318131" y="352223"/>
                        </a:cubicBezTo>
                        <a:cubicBezTo>
                          <a:pt x="464530" y="406516"/>
                          <a:pt x="508631" y="429281"/>
                          <a:pt x="508631" y="429281"/>
                        </a:cubicBezTo>
                        <a:cubicBezTo>
                          <a:pt x="508631" y="429281"/>
                          <a:pt x="454338" y="371464"/>
                          <a:pt x="449956" y="231446"/>
                        </a:cubicBezTo>
                        <a:cubicBezTo>
                          <a:pt x="445003" y="73236"/>
                          <a:pt x="191067" y="-118597"/>
                          <a:pt x="91" y="94667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56" name="Grafik 23">
                    <a:extLst>
                      <a:ext uri="{FF2B5EF4-FFF2-40B4-BE49-F238E27FC236}">
                        <a16:creationId xmlns:a16="http://schemas.microsoft.com/office/drawing/2014/main" id="{A6A5ABC8-7618-813C-8374-0F9285ABDEB7}"/>
                      </a:ext>
                    </a:extLst>
                  </p:cNvPr>
                  <p:cNvGrpSpPr/>
                  <p:nvPr/>
                </p:nvGrpSpPr>
                <p:grpSpPr>
                  <a:xfrm>
                    <a:off x="8395080" y="3305841"/>
                    <a:ext cx="234464" cy="670178"/>
                    <a:chOff x="8395080" y="3305841"/>
                    <a:chExt cx="234464" cy="670178"/>
                  </a:xfrm>
                  <a:solidFill>
                    <a:srgbClr val="8A5942"/>
                  </a:solidFill>
                </p:grpSpPr>
                <p:sp>
                  <p:nvSpPr>
                    <p:cNvPr id="57" name="Freihandform: Form 56">
                      <a:extLst>
                        <a:ext uri="{FF2B5EF4-FFF2-40B4-BE49-F238E27FC236}">
                          <a16:creationId xmlns:a16="http://schemas.microsoft.com/office/drawing/2014/main" id="{4B9E6B82-F549-77E8-5B56-2A96E212A38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33275" y="3305841"/>
                      <a:ext cx="191738" cy="211264"/>
                    </a:xfrm>
                    <a:custGeom>
                      <a:avLst/>
                      <a:gdLst>
                        <a:gd name="connsiteX0" fmla="*/ 95 w 191738"/>
                        <a:gd name="connsiteY0" fmla="*/ 0 h 211264"/>
                        <a:gd name="connsiteX1" fmla="*/ 21431 w 191738"/>
                        <a:gd name="connsiteY1" fmla="*/ 211264 h 211264"/>
                        <a:gd name="connsiteX2" fmla="*/ 156782 w 191738"/>
                        <a:gd name="connsiteY2" fmla="*/ 200406 h 211264"/>
                        <a:gd name="connsiteX3" fmla="*/ 191738 w 191738"/>
                        <a:gd name="connsiteY3" fmla="*/ 10763 h 211264"/>
                        <a:gd name="connsiteX4" fmla="*/ 0 w 191738"/>
                        <a:gd name="connsiteY4" fmla="*/ 0 h 2112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91738" h="211264">
                          <a:moveTo>
                            <a:pt x="95" y="0"/>
                          </a:moveTo>
                          <a:cubicBezTo>
                            <a:pt x="5239" y="79629"/>
                            <a:pt x="13525" y="148495"/>
                            <a:pt x="21431" y="211264"/>
                          </a:cubicBezTo>
                          <a:lnTo>
                            <a:pt x="156782" y="200406"/>
                          </a:lnTo>
                          <a:cubicBezTo>
                            <a:pt x="156782" y="200406"/>
                            <a:pt x="172212" y="119158"/>
                            <a:pt x="191738" y="10763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58" name="Grafik 23">
                      <a:extLst>
                        <a:ext uri="{FF2B5EF4-FFF2-40B4-BE49-F238E27FC236}">
                          <a16:creationId xmlns:a16="http://schemas.microsoft.com/office/drawing/2014/main" id="{D2B54FFA-5FCE-8A52-681C-DA7C6ED9431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395080" y="3436239"/>
                      <a:ext cx="234464" cy="539781"/>
                      <a:chOff x="8395080" y="3436239"/>
                      <a:chExt cx="234464" cy="539781"/>
                    </a:xfrm>
                    <a:solidFill>
                      <a:srgbClr val="8A5942"/>
                    </a:solidFill>
                  </p:grpSpPr>
                  <p:sp>
                    <p:nvSpPr>
                      <p:cNvPr id="59" name="Freihandform: Form 58">
                        <a:extLst>
                          <a:ext uri="{FF2B5EF4-FFF2-40B4-BE49-F238E27FC236}">
                            <a16:creationId xmlns:a16="http://schemas.microsoft.com/office/drawing/2014/main" id="{CC18B521-95C5-445D-EB08-039A8291F5A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66681" y="3802691"/>
                        <a:ext cx="54546" cy="83127"/>
                      </a:xfrm>
                      <a:custGeom>
                        <a:avLst/>
                        <a:gdLst>
                          <a:gd name="connsiteX0" fmla="*/ 47557 w 54546"/>
                          <a:gd name="connsiteY0" fmla="*/ 83128 h 83127"/>
                          <a:gd name="connsiteX1" fmla="*/ 13648 w 54546"/>
                          <a:gd name="connsiteY1" fmla="*/ 55791 h 83127"/>
                          <a:gd name="connsiteX2" fmla="*/ 2885 w 54546"/>
                          <a:gd name="connsiteY2" fmla="*/ 9595 h 83127"/>
                          <a:gd name="connsiteX3" fmla="*/ 7838 w 54546"/>
                          <a:gd name="connsiteY3" fmla="*/ 70 h 83127"/>
                          <a:gd name="connsiteX4" fmla="*/ 43747 w 54546"/>
                          <a:gd name="connsiteY4" fmla="*/ 39694 h 83127"/>
                          <a:gd name="connsiteX5" fmla="*/ 47557 w 54546"/>
                          <a:gd name="connsiteY5" fmla="*/ 83128 h 83127"/>
                          <a:gd name="connsiteX6" fmla="*/ 47557 w 54546"/>
                          <a:gd name="connsiteY6" fmla="*/ 83128 h 831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4546" h="83127">
                            <a:moveTo>
                              <a:pt x="47557" y="83128"/>
                            </a:moveTo>
                            <a:lnTo>
                              <a:pt x="13648" y="55791"/>
                            </a:lnTo>
                            <a:cubicBezTo>
                              <a:pt x="979" y="45218"/>
                              <a:pt x="-3497" y="28264"/>
                              <a:pt x="2885" y="9595"/>
                            </a:cubicBezTo>
                            <a:cubicBezTo>
                              <a:pt x="4980" y="3594"/>
                              <a:pt x="6790" y="-597"/>
                              <a:pt x="7838" y="70"/>
                            </a:cubicBezTo>
                            <a:cubicBezTo>
                              <a:pt x="9743" y="1499"/>
                              <a:pt x="25173" y="18262"/>
                              <a:pt x="43747" y="39694"/>
                            </a:cubicBezTo>
                            <a:cubicBezTo>
                              <a:pt x="55463" y="53219"/>
                              <a:pt x="58987" y="64744"/>
                              <a:pt x="47557" y="83128"/>
                            </a:cubicBezTo>
                            <a:lnTo>
                              <a:pt x="47557" y="83128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60" name="Freihandform: Form 59">
                        <a:extLst>
                          <a:ext uri="{FF2B5EF4-FFF2-40B4-BE49-F238E27FC236}">
                            <a16:creationId xmlns:a16="http://schemas.microsoft.com/office/drawing/2014/main" id="{8AC3B62C-26E9-ABED-89E7-26DC3F97620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19369" y="3769457"/>
                        <a:ext cx="73352" cy="89024"/>
                      </a:xfrm>
                      <a:custGeom>
                        <a:avLst/>
                        <a:gdLst>
                          <a:gd name="connsiteX0" fmla="*/ 60960 w 73352"/>
                          <a:gd name="connsiteY0" fmla="*/ 89025 h 89024"/>
                          <a:gd name="connsiteX1" fmla="*/ 9525 w 73352"/>
                          <a:gd name="connsiteY1" fmla="*/ 44448 h 89024"/>
                          <a:gd name="connsiteX2" fmla="*/ 0 w 73352"/>
                          <a:gd name="connsiteY2" fmla="*/ 31494 h 89024"/>
                          <a:gd name="connsiteX3" fmla="*/ 40291 w 73352"/>
                          <a:gd name="connsiteY3" fmla="*/ 537 h 89024"/>
                          <a:gd name="connsiteX4" fmla="*/ 66675 w 73352"/>
                          <a:gd name="connsiteY4" fmla="*/ 44829 h 89024"/>
                          <a:gd name="connsiteX5" fmla="*/ 60864 w 73352"/>
                          <a:gd name="connsiteY5" fmla="*/ 89025 h 89024"/>
                          <a:gd name="connsiteX6" fmla="*/ 60864 w 73352"/>
                          <a:gd name="connsiteY6" fmla="*/ 89025 h 8902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3352" h="89024">
                            <a:moveTo>
                              <a:pt x="60960" y="89025"/>
                            </a:moveTo>
                            <a:lnTo>
                              <a:pt x="9525" y="44448"/>
                            </a:lnTo>
                            <a:cubicBezTo>
                              <a:pt x="3334" y="38637"/>
                              <a:pt x="1524" y="34446"/>
                              <a:pt x="0" y="31494"/>
                            </a:cubicBezTo>
                            <a:cubicBezTo>
                              <a:pt x="1048" y="12063"/>
                              <a:pt x="25432" y="-3082"/>
                              <a:pt x="40291" y="537"/>
                            </a:cubicBezTo>
                            <a:lnTo>
                              <a:pt x="66675" y="44829"/>
                            </a:lnTo>
                            <a:cubicBezTo>
                              <a:pt x="78105" y="57307"/>
                              <a:pt x="74009" y="72261"/>
                              <a:pt x="60864" y="89025"/>
                            </a:cubicBezTo>
                            <a:lnTo>
                              <a:pt x="60864" y="89025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61" name="Freihandform: Form 60">
                        <a:extLst>
                          <a:ext uri="{FF2B5EF4-FFF2-40B4-BE49-F238E27FC236}">
                            <a16:creationId xmlns:a16="http://schemas.microsoft.com/office/drawing/2014/main" id="{D3E69C00-87E9-EE0C-8ECC-0B57CD45E59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55898" y="3838165"/>
                        <a:ext cx="63906" cy="105660"/>
                      </a:xfrm>
                      <a:custGeom>
                        <a:avLst/>
                        <a:gdLst>
                          <a:gd name="connsiteX0" fmla="*/ 55673 w 63906"/>
                          <a:gd name="connsiteY0" fmla="*/ 105660 h 105660"/>
                          <a:gd name="connsiteX1" fmla="*/ 15954 w 63906"/>
                          <a:gd name="connsiteY1" fmla="*/ 67179 h 105660"/>
                          <a:gd name="connsiteX2" fmla="*/ 3476 w 63906"/>
                          <a:gd name="connsiteY2" fmla="*/ 10506 h 105660"/>
                          <a:gd name="connsiteX3" fmla="*/ 9287 w 63906"/>
                          <a:gd name="connsiteY3" fmla="*/ 123 h 105660"/>
                          <a:gd name="connsiteX4" fmla="*/ 51292 w 63906"/>
                          <a:gd name="connsiteY4" fmla="*/ 53559 h 105660"/>
                          <a:gd name="connsiteX5" fmla="*/ 55673 w 63906"/>
                          <a:gd name="connsiteY5" fmla="*/ 105565 h 105660"/>
                          <a:gd name="connsiteX6" fmla="*/ 55673 w 63906"/>
                          <a:gd name="connsiteY6" fmla="*/ 105565 h 1056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3906" h="105660">
                            <a:moveTo>
                              <a:pt x="55673" y="105660"/>
                            </a:moveTo>
                            <a:lnTo>
                              <a:pt x="15954" y="67179"/>
                            </a:lnTo>
                            <a:cubicBezTo>
                              <a:pt x="1095" y="52321"/>
                              <a:pt x="-4144" y="31556"/>
                              <a:pt x="3476" y="10506"/>
                            </a:cubicBezTo>
                            <a:cubicBezTo>
                              <a:pt x="5953" y="3838"/>
                              <a:pt x="8144" y="-829"/>
                              <a:pt x="9287" y="123"/>
                            </a:cubicBezTo>
                            <a:cubicBezTo>
                              <a:pt x="11573" y="2124"/>
                              <a:pt x="29575" y="24793"/>
                              <a:pt x="51292" y="53559"/>
                            </a:cubicBezTo>
                            <a:cubicBezTo>
                              <a:pt x="65008" y="71656"/>
                              <a:pt x="69103" y="85944"/>
                              <a:pt x="55673" y="105565"/>
                            </a:cubicBezTo>
                            <a:lnTo>
                              <a:pt x="55673" y="105565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62" name="Freihandform: Form 61">
                        <a:extLst>
                          <a:ext uri="{FF2B5EF4-FFF2-40B4-BE49-F238E27FC236}">
                            <a16:creationId xmlns:a16="http://schemas.microsoft.com/office/drawing/2014/main" id="{DEFA3D49-22FA-A732-5050-9B4D8B14572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00115" y="3774757"/>
                        <a:ext cx="87440" cy="131349"/>
                      </a:xfrm>
                      <a:custGeom>
                        <a:avLst/>
                        <a:gdLst>
                          <a:gd name="connsiteX0" fmla="*/ 72689 w 87440"/>
                          <a:gd name="connsiteY0" fmla="*/ 131350 h 131349"/>
                          <a:gd name="connsiteX1" fmla="*/ 12205 w 87440"/>
                          <a:gd name="connsiteY1" fmla="*/ 71628 h 131349"/>
                          <a:gd name="connsiteX2" fmla="*/ 17349 w 87440"/>
                          <a:gd name="connsiteY2" fmla="*/ 4001 h 131349"/>
                          <a:gd name="connsiteX3" fmla="*/ 26112 w 87440"/>
                          <a:gd name="connsiteY3" fmla="*/ 0 h 131349"/>
                          <a:gd name="connsiteX4" fmla="*/ 79642 w 87440"/>
                          <a:gd name="connsiteY4" fmla="*/ 80010 h 131349"/>
                          <a:gd name="connsiteX5" fmla="*/ 72689 w 87440"/>
                          <a:gd name="connsiteY5" fmla="*/ 131254 h 131349"/>
                          <a:gd name="connsiteX6" fmla="*/ 72689 w 87440"/>
                          <a:gd name="connsiteY6" fmla="*/ 131254 h 13134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87440" h="131349">
                            <a:moveTo>
                              <a:pt x="72689" y="131350"/>
                            </a:moveTo>
                            <a:lnTo>
                              <a:pt x="12205" y="71628"/>
                            </a:lnTo>
                            <a:cubicBezTo>
                              <a:pt x="-5892" y="53340"/>
                              <a:pt x="-3606" y="22479"/>
                              <a:pt x="17349" y="4001"/>
                            </a:cubicBezTo>
                            <a:lnTo>
                              <a:pt x="26112" y="0"/>
                            </a:lnTo>
                            <a:lnTo>
                              <a:pt x="79642" y="80010"/>
                            </a:lnTo>
                            <a:cubicBezTo>
                              <a:pt x="93073" y="96869"/>
                              <a:pt x="88120" y="113729"/>
                              <a:pt x="72689" y="131254"/>
                            </a:cubicBezTo>
                            <a:lnTo>
                              <a:pt x="72689" y="131254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63" name="Freihandform: Form 62">
                        <a:extLst>
                          <a:ext uri="{FF2B5EF4-FFF2-40B4-BE49-F238E27FC236}">
                            <a16:creationId xmlns:a16="http://schemas.microsoft.com/office/drawing/2014/main" id="{7D636039-949B-5FB5-8B8E-127F20B714C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395080" y="3720421"/>
                        <a:ext cx="62960" cy="111771"/>
                      </a:xfrm>
                      <a:custGeom>
                        <a:avLst/>
                        <a:gdLst>
                          <a:gd name="connsiteX0" fmla="*/ 0 w 62960"/>
                          <a:gd name="connsiteY0" fmla="*/ 9378 h 111771"/>
                          <a:gd name="connsiteX1" fmla="*/ 4191 w 62960"/>
                          <a:gd name="connsiteY1" fmla="*/ 100628 h 111771"/>
                          <a:gd name="connsiteX2" fmla="*/ 8287 w 62960"/>
                          <a:gd name="connsiteY2" fmla="*/ 111772 h 111771"/>
                          <a:gd name="connsiteX3" fmla="*/ 57150 w 62960"/>
                          <a:gd name="connsiteY3" fmla="*/ 67100 h 111771"/>
                          <a:gd name="connsiteX4" fmla="*/ 62961 w 62960"/>
                          <a:gd name="connsiteY4" fmla="*/ 18236 h 111771"/>
                          <a:gd name="connsiteX5" fmla="*/ 0 w 62960"/>
                          <a:gd name="connsiteY5" fmla="*/ 9378 h 11177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62960" h="111771">
                            <a:moveTo>
                              <a:pt x="0" y="9378"/>
                            </a:moveTo>
                            <a:cubicBezTo>
                              <a:pt x="477" y="28142"/>
                              <a:pt x="4191" y="100628"/>
                              <a:pt x="4191" y="100628"/>
                            </a:cubicBezTo>
                            <a:lnTo>
                              <a:pt x="8287" y="111772"/>
                            </a:lnTo>
                            <a:cubicBezTo>
                              <a:pt x="34957" y="111296"/>
                              <a:pt x="54674" y="91484"/>
                              <a:pt x="57150" y="67100"/>
                            </a:cubicBezTo>
                            <a:lnTo>
                              <a:pt x="62961" y="18236"/>
                            </a:lnTo>
                            <a:cubicBezTo>
                              <a:pt x="55436" y="1568"/>
                              <a:pt x="8192" y="-8338"/>
                              <a:pt x="0" y="9378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grpSp>
                    <p:nvGrpSpPr>
                      <p:cNvPr id="64" name="Grafik 23">
                        <a:extLst>
                          <a:ext uri="{FF2B5EF4-FFF2-40B4-BE49-F238E27FC236}">
                            <a16:creationId xmlns:a16="http://schemas.microsoft.com/office/drawing/2014/main" id="{97BC5F13-636B-7883-A0BB-A3ADC5B3AB2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8415082" y="3708417"/>
                        <a:ext cx="91882" cy="267603"/>
                        <a:chOff x="8415082" y="3708417"/>
                        <a:chExt cx="91882" cy="267603"/>
                      </a:xfrm>
                      <a:solidFill>
                        <a:srgbClr val="8A5942"/>
                      </a:solidFill>
                    </p:grpSpPr>
                    <p:sp>
                      <p:nvSpPr>
                        <p:cNvPr id="65" name="Freihandform: Form 64">
                          <a:extLst>
                            <a:ext uri="{FF2B5EF4-FFF2-40B4-BE49-F238E27FC236}">
                              <a16:creationId xmlns:a16="http://schemas.microsoft.com/office/drawing/2014/main" id="{7D7FB65F-813D-CC44-BBBB-326AD0C6369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56624" y="3848906"/>
                          <a:ext cx="50341" cy="127114"/>
                        </a:xfrm>
                        <a:custGeom>
                          <a:avLst/>
                          <a:gdLst>
                            <a:gd name="connsiteX0" fmla="*/ 30182 w 50341"/>
                            <a:gd name="connsiteY0" fmla="*/ 127114 h 127114"/>
                            <a:gd name="connsiteX1" fmla="*/ 5131 w 50341"/>
                            <a:gd name="connsiteY1" fmla="*/ 71584 h 127114"/>
                            <a:gd name="connsiteX2" fmla="*/ 15323 w 50341"/>
                            <a:gd name="connsiteY2" fmla="*/ 8528 h 127114"/>
                            <a:gd name="connsiteX3" fmla="*/ 25515 w 50341"/>
                            <a:gd name="connsiteY3" fmla="*/ 337 h 127114"/>
                            <a:gd name="connsiteX4" fmla="*/ 46851 w 50341"/>
                            <a:gd name="connsiteY4" fmla="*/ 72060 h 127114"/>
                            <a:gd name="connsiteX5" fmla="*/ 30182 w 50341"/>
                            <a:gd name="connsiteY5" fmla="*/ 127114 h 127114"/>
                            <a:gd name="connsiteX6" fmla="*/ 30182 w 50341"/>
                            <a:gd name="connsiteY6" fmla="*/ 127114 h 12711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50341" h="127114">
                              <a:moveTo>
                                <a:pt x="30182" y="127114"/>
                              </a:moveTo>
                              <a:lnTo>
                                <a:pt x="5131" y="71584"/>
                              </a:lnTo>
                              <a:cubicBezTo>
                                <a:pt x="-4108" y="50343"/>
                                <a:pt x="-964" y="26912"/>
                                <a:pt x="15323" y="8528"/>
                              </a:cubicBezTo>
                              <a:cubicBezTo>
                                <a:pt x="20562" y="2623"/>
                                <a:pt x="24658" y="-1187"/>
                                <a:pt x="25515" y="337"/>
                              </a:cubicBezTo>
                              <a:cubicBezTo>
                                <a:pt x="27039" y="3385"/>
                                <a:pt x="36278" y="33865"/>
                                <a:pt x="46851" y="72060"/>
                              </a:cubicBezTo>
                              <a:cubicBezTo>
                                <a:pt x="53518" y="96158"/>
                                <a:pt x="51995" y="112446"/>
                                <a:pt x="30182" y="127114"/>
                              </a:cubicBezTo>
                              <a:lnTo>
                                <a:pt x="30182" y="127114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6" name="Freihandform: Form 65">
                          <a:extLst>
                            <a:ext uri="{FF2B5EF4-FFF2-40B4-BE49-F238E27FC236}">
                              <a16:creationId xmlns:a16="http://schemas.microsoft.com/office/drawing/2014/main" id="{0C3134B7-EC18-7BA4-8EF9-EB3919DC29D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22907" y="3799998"/>
                          <a:ext cx="71113" cy="124396"/>
                        </a:xfrm>
                        <a:custGeom>
                          <a:avLst/>
                          <a:gdLst>
                            <a:gd name="connsiteX0" fmla="*/ 40563 w 71113"/>
                            <a:gd name="connsiteY0" fmla="*/ 124396 h 124396"/>
                            <a:gd name="connsiteX1" fmla="*/ 3415 w 71113"/>
                            <a:gd name="connsiteY1" fmla="*/ 38290 h 124396"/>
                            <a:gd name="connsiteX2" fmla="*/ 41135 w 71113"/>
                            <a:gd name="connsiteY2" fmla="*/ 2000 h 124396"/>
                            <a:gd name="connsiteX3" fmla="*/ 45325 w 71113"/>
                            <a:gd name="connsiteY3" fmla="*/ 0 h 124396"/>
                            <a:gd name="connsiteX4" fmla="*/ 69043 w 71113"/>
                            <a:gd name="connsiteY4" fmla="*/ 74295 h 124396"/>
                            <a:gd name="connsiteX5" fmla="*/ 42087 w 71113"/>
                            <a:gd name="connsiteY5" fmla="*/ 123634 h 124396"/>
                            <a:gd name="connsiteX6" fmla="*/ 40563 w 71113"/>
                            <a:gd name="connsiteY6" fmla="*/ 124396 h 12439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71113" h="124396">
                              <a:moveTo>
                                <a:pt x="40563" y="124396"/>
                              </a:moveTo>
                              <a:lnTo>
                                <a:pt x="3415" y="38290"/>
                              </a:lnTo>
                              <a:cubicBezTo>
                                <a:pt x="-7729" y="12192"/>
                                <a:pt x="9321" y="3238"/>
                                <a:pt x="41135" y="2000"/>
                              </a:cubicBezTo>
                              <a:lnTo>
                                <a:pt x="45325" y="0"/>
                              </a:lnTo>
                              <a:lnTo>
                                <a:pt x="69043" y="74295"/>
                              </a:lnTo>
                              <a:cubicBezTo>
                                <a:pt x="75996" y="97060"/>
                                <a:pt x="65042" y="112014"/>
                                <a:pt x="42087" y="123634"/>
                              </a:cubicBezTo>
                              <a:lnTo>
                                <a:pt x="40563" y="124396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7" name="Freihandform: Form 66">
                          <a:extLst>
                            <a:ext uri="{FF2B5EF4-FFF2-40B4-BE49-F238E27FC236}">
                              <a16:creationId xmlns:a16="http://schemas.microsoft.com/office/drawing/2014/main" id="{4C5BDDF3-9973-FF94-E2BF-FE006A5FF1D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15082" y="3708417"/>
                          <a:ext cx="63532" cy="120728"/>
                        </a:xfrm>
                        <a:custGeom>
                          <a:avLst/>
                          <a:gdLst>
                            <a:gd name="connsiteX0" fmla="*/ 1 w 63532"/>
                            <a:gd name="connsiteY0" fmla="*/ 12715 h 120728"/>
                            <a:gd name="connsiteX1" fmla="*/ 8573 w 63532"/>
                            <a:gd name="connsiteY1" fmla="*/ 120728 h 120728"/>
                            <a:gd name="connsiteX2" fmla="*/ 54674 w 63532"/>
                            <a:gd name="connsiteY2" fmla="*/ 92629 h 120728"/>
                            <a:gd name="connsiteX3" fmla="*/ 63532 w 63532"/>
                            <a:gd name="connsiteY3" fmla="*/ 16048 h 120728"/>
                            <a:gd name="connsiteX4" fmla="*/ 1 w 63532"/>
                            <a:gd name="connsiteY4" fmla="*/ 12619 h 12072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63532" h="120728">
                              <a:moveTo>
                                <a:pt x="1" y="12715"/>
                              </a:moveTo>
                              <a:cubicBezTo>
                                <a:pt x="-95" y="14715"/>
                                <a:pt x="8573" y="120728"/>
                                <a:pt x="8573" y="120728"/>
                              </a:cubicBezTo>
                              <a:cubicBezTo>
                                <a:pt x="37910" y="120347"/>
                                <a:pt x="51817" y="119585"/>
                                <a:pt x="54674" y="92629"/>
                              </a:cubicBezTo>
                              <a:lnTo>
                                <a:pt x="63532" y="16048"/>
                              </a:lnTo>
                              <a:cubicBezTo>
                                <a:pt x="55341" y="-2335"/>
                                <a:pt x="9144" y="-6812"/>
                                <a:pt x="1" y="12619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sp>
                    <p:nvSpPr>
                      <p:cNvPr id="68" name="Freihandform: Form 67">
                        <a:extLst>
                          <a:ext uri="{FF2B5EF4-FFF2-40B4-BE49-F238E27FC236}">
                            <a16:creationId xmlns:a16="http://schemas.microsoft.com/office/drawing/2014/main" id="{6C7AACEA-614D-D12E-47FF-99706C38BC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63914" y="3855038"/>
                        <a:ext cx="46483" cy="113934"/>
                      </a:xfrm>
                      <a:custGeom>
                        <a:avLst/>
                        <a:gdLst>
                          <a:gd name="connsiteX0" fmla="*/ 22320 w 46483"/>
                          <a:gd name="connsiteY0" fmla="*/ 113744 h 113934"/>
                          <a:gd name="connsiteX1" fmla="*/ 3366 w 46483"/>
                          <a:gd name="connsiteY1" fmla="*/ 60784 h 113934"/>
                          <a:gd name="connsiteX2" fmla="*/ 17844 w 46483"/>
                          <a:gd name="connsiteY2" fmla="*/ 6587 h 113934"/>
                          <a:gd name="connsiteX3" fmla="*/ 28893 w 46483"/>
                          <a:gd name="connsiteY3" fmla="*/ 396 h 113934"/>
                          <a:gd name="connsiteX4" fmla="*/ 44990 w 46483"/>
                          <a:gd name="connsiteY4" fmla="*/ 66214 h 113934"/>
                          <a:gd name="connsiteX5" fmla="*/ 22416 w 46483"/>
                          <a:gd name="connsiteY5" fmla="*/ 113934 h 113934"/>
                          <a:gd name="connsiteX6" fmla="*/ 22416 w 46483"/>
                          <a:gd name="connsiteY6" fmla="*/ 113934 h 11393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6483" h="113934">
                            <a:moveTo>
                              <a:pt x="22320" y="113744"/>
                            </a:moveTo>
                            <a:lnTo>
                              <a:pt x="3366" y="60784"/>
                            </a:lnTo>
                            <a:cubicBezTo>
                              <a:pt x="-3492" y="40591"/>
                              <a:pt x="-444" y="21161"/>
                              <a:pt x="17844" y="6587"/>
                            </a:cubicBezTo>
                            <a:cubicBezTo>
                              <a:pt x="23749" y="1920"/>
                              <a:pt x="28321" y="-1128"/>
                              <a:pt x="28893" y="396"/>
                            </a:cubicBezTo>
                            <a:cubicBezTo>
                              <a:pt x="30036" y="3254"/>
                              <a:pt x="38608" y="30495"/>
                              <a:pt x="44990" y="66214"/>
                            </a:cubicBezTo>
                            <a:cubicBezTo>
                              <a:pt x="49086" y="88788"/>
                              <a:pt x="45752" y="103171"/>
                              <a:pt x="22416" y="113934"/>
                            </a:cubicBezTo>
                            <a:lnTo>
                              <a:pt x="22416" y="113934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69" name="Freihandform: Form 68">
                        <a:extLst>
                          <a:ext uri="{FF2B5EF4-FFF2-40B4-BE49-F238E27FC236}">
                            <a16:creationId xmlns:a16="http://schemas.microsoft.com/office/drawing/2014/main" id="{0A603A35-09B5-DAD7-70D7-A1C7BB8760C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36560" y="3794759"/>
                        <a:ext cx="62340" cy="120967"/>
                      </a:xfrm>
                      <a:custGeom>
                        <a:avLst/>
                        <a:gdLst>
                          <a:gd name="connsiteX0" fmla="*/ 30624 w 62340"/>
                          <a:gd name="connsiteY0" fmla="*/ 120968 h 120967"/>
                          <a:gd name="connsiteX1" fmla="*/ 2335 w 62340"/>
                          <a:gd name="connsiteY1" fmla="*/ 39338 h 120967"/>
                          <a:gd name="connsiteX2" fmla="*/ 38244 w 62340"/>
                          <a:gd name="connsiteY2" fmla="*/ 0 h 120967"/>
                          <a:gd name="connsiteX3" fmla="*/ 43864 w 62340"/>
                          <a:gd name="connsiteY3" fmla="*/ 9335 h 120967"/>
                          <a:gd name="connsiteX4" fmla="*/ 61390 w 62340"/>
                          <a:gd name="connsiteY4" fmla="*/ 80867 h 120967"/>
                          <a:gd name="connsiteX5" fmla="*/ 30719 w 62340"/>
                          <a:gd name="connsiteY5" fmla="*/ 120968 h 120967"/>
                          <a:gd name="connsiteX6" fmla="*/ 30719 w 62340"/>
                          <a:gd name="connsiteY6" fmla="*/ 120968 h 12096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2340" h="120967">
                            <a:moveTo>
                              <a:pt x="30624" y="120968"/>
                            </a:moveTo>
                            <a:lnTo>
                              <a:pt x="2335" y="39338"/>
                            </a:lnTo>
                            <a:cubicBezTo>
                              <a:pt x="-5952" y="14573"/>
                              <a:pt x="8240" y="6001"/>
                              <a:pt x="38244" y="0"/>
                            </a:cubicBezTo>
                            <a:lnTo>
                              <a:pt x="43864" y="9335"/>
                            </a:lnTo>
                            <a:lnTo>
                              <a:pt x="61390" y="80867"/>
                            </a:lnTo>
                            <a:cubicBezTo>
                              <a:pt x="65771" y="102203"/>
                              <a:pt x="54912" y="113157"/>
                              <a:pt x="30719" y="120968"/>
                            </a:cubicBezTo>
                            <a:lnTo>
                              <a:pt x="30719" y="120968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0" name="Freihandform: Form 69">
                        <a:extLst>
                          <a:ext uri="{FF2B5EF4-FFF2-40B4-BE49-F238E27FC236}">
                            <a16:creationId xmlns:a16="http://schemas.microsoft.com/office/drawing/2014/main" id="{FFE30E86-F9EF-A026-C612-8C9944386E0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35054" y="3713098"/>
                        <a:ext cx="53751" cy="112434"/>
                      </a:xfrm>
                      <a:custGeom>
                        <a:avLst/>
                        <a:gdLst>
                          <a:gd name="connsiteX0" fmla="*/ 31 w 53751"/>
                          <a:gd name="connsiteY0" fmla="*/ 7176 h 112434"/>
                          <a:gd name="connsiteX1" fmla="*/ 1555 w 53751"/>
                          <a:gd name="connsiteY1" fmla="*/ 110046 h 112434"/>
                          <a:gd name="connsiteX2" fmla="*/ 44989 w 53751"/>
                          <a:gd name="connsiteY2" fmla="*/ 94806 h 112434"/>
                          <a:gd name="connsiteX3" fmla="*/ 53752 w 53751"/>
                          <a:gd name="connsiteY3" fmla="*/ 23654 h 112434"/>
                          <a:gd name="connsiteX4" fmla="*/ 31 w 53751"/>
                          <a:gd name="connsiteY4" fmla="*/ 7176 h 11243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53751" h="112434">
                            <a:moveTo>
                              <a:pt x="31" y="7176"/>
                            </a:moveTo>
                            <a:cubicBezTo>
                              <a:pt x="-255" y="8986"/>
                              <a:pt x="1555" y="110046"/>
                              <a:pt x="1555" y="110046"/>
                            </a:cubicBezTo>
                            <a:cubicBezTo>
                              <a:pt x="30987" y="111856"/>
                              <a:pt x="40512" y="119000"/>
                              <a:pt x="44989" y="94806"/>
                            </a:cubicBezTo>
                            <a:lnTo>
                              <a:pt x="53752" y="23654"/>
                            </a:lnTo>
                            <a:cubicBezTo>
                              <a:pt x="46703" y="6414"/>
                              <a:pt x="10318" y="-9778"/>
                              <a:pt x="31" y="7176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grpSp>
                    <p:nvGrpSpPr>
                      <p:cNvPr id="71" name="Grafik 23">
                        <a:extLst>
                          <a:ext uri="{FF2B5EF4-FFF2-40B4-BE49-F238E27FC236}">
                            <a16:creationId xmlns:a16="http://schemas.microsoft.com/office/drawing/2014/main" id="{B097A2B0-DDD8-E3BC-E93B-9F0074DCEE88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8483816" y="3539440"/>
                        <a:ext cx="145001" cy="336662"/>
                        <a:chOff x="8483816" y="3539440"/>
                        <a:chExt cx="145001" cy="336662"/>
                      </a:xfrm>
                      <a:solidFill>
                        <a:srgbClr val="8A5942"/>
                      </a:solidFill>
                    </p:grpSpPr>
                    <p:sp>
                      <p:nvSpPr>
                        <p:cNvPr id="72" name="Freihandform: Form 71">
                          <a:extLst>
                            <a:ext uri="{FF2B5EF4-FFF2-40B4-BE49-F238E27FC236}">
                              <a16:creationId xmlns:a16="http://schemas.microsoft.com/office/drawing/2014/main" id="{F8B3906A-249D-6BA9-447D-C0044D4069D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529038" y="3738176"/>
                          <a:ext cx="60495" cy="137927"/>
                        </a:xfrm>
                        <a:custGeom>
                          <a:avLst/>
                          <a:gdLst>
                            <a:gd name="connsiteX0" fmla="*/ 24158 w 60495"/>
                            <a:gd name="connsiteY0" fmla="*/ 137927 h 137927"/>
                            <a:gd name="connsiteX1" fmla="*/ 57685 w 60495"/>
                            <a:gd name="connsiteY1" fmla="*/ 75253 h 137927"/>
                            <a:gd name="connsiteX2" fmla="*/ 53304 w 60495"/>
                            <a:gd name="connsiteY2" fmla="*/ 5815 h 137927"/>
                            <a:gd name="connsiteX3" fmla="*/ 40350 w 60495"/>
                            <a:gd name="connsiteY3" fmla="*/ 958 h 137927"/>
                            <a:gd name="connsiteX4" fmla="*/ 4726 w 60495"/>
                            <a:gd name="connsiteY4" fmla="*/ 77824 h 137927"/>
                            <a:gd name="connsiteX5" fmla="*/ 24062 w 60495"/>
                            <a:gd name="connsiteY5" fmla="*/ 137832 h 137927"/>
                            <a:gd name="connsiteX6" fmla="*/ 24062 w 60495"/>
                            <a:gd name="connsiteY6" fmla="*/ 137832 h 13792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60495" h="137927">
                              <a:moveTo>
                                <a:pt x="24158" y="137927"/>
                              </a:moveTo>
                              <a:lnTo>
                                <a:pt x="57685" y="75253"/>
                              </a:lnTo>
                              <a:cubicBezTo>
                                <a:pt x="59876" y="52964"/>
                                <a:pt x="64448" y="18579"/>
                                <a:pt x="53304" y="5815"/>
                              </a:cubicBezTo>
                              <a:cubicBezTo>
                                <a:pt x="47017" y="-1424"/>
                                <a:pt x="41398" y="-376"/>
                                <a:pt x="40350" y="958"/>
                              </a:cubicBezTo>
                              <a:cubicBezTo>
                                <a:pt x="33111" y="11149"/>
                                <a:pt x="17204" y="44868"/>
                                <a:pt x="4726" y="77824"/>
                              </a:cubicBezTo>
                              <a:cubicBezTo>
                                <a:pt x="-3941" y="100780"/>
                                <a:pt x="-2417" y="117639"/>
                                <a:pt x="24062" y="137832"/>
                              </a:cubicBezTo>
                              <a:lnTo>
                                <a:pt x="24062" y="13783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3" name="Freihandform: Form 72">
                          <a:extLst>
                            <a:ext uri="{FF2B5EF4-FFF2-40B4-BE49-F238E27FC236}">
                              <a16:creationId xmlns:a16="http://schemas.microsoft.com/office/drawing/2014/main" id="{C469FA3C-E703-43E2-E9CB-E1CD7ABD5A7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548242" y="3697576"/>
                          <a:ext cx="80486" cy="117625"/>
                        </a:xfrm>
                        <a:custGeom>
                          <a:avLst/>
                          <a:gdLst>
                            <a:gd name="connsiteX0" fmla="*/ 80486 w 80486"/>
                            <a:gd name="connsiteY0" fmla="*/ 17269 h 117625"/>
                            <a:gd name="connsiteX1" fmla="*/ 0 w 80486"/>
                            <a:gd name="connsiteY1" fmla="*/ 10982 h 117625"/>
                            <a:gd name="connsiteX2" fmla="*/ 5810 w 80486"/>
                            <a:gd name="connsiteY2" fmla="*/ 70608 h 117625"/>
                            <a:gd name="connsiteX3" fmla="*/ 38481 w 80486"/>
                            <a:gd name="connsiteY3" fmla="*/ 115948 h 117625"/>
                            <a:gd name="connsiteX4" fmla="*/ 80486 w 80486"/>
                            <a:gd name="connsiteY4" fmla="*/ 17269 h 11762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80486" h="117625">
                              <a:moveTo>
                                <a:pt x="80486" y="17269"/>
                              </a:moveTo>
                              <a:cubicBezTo>
                                <a:pt x="61627" y="-17498"/>
                                <a:pt x="0" y="10982"/>
                                <a:pt x="0" y="10982"/>
                              </a:cubicBezTo>
                              <a:lnTo>
                                <a:pt x="5810" y="70608"/>
                              </a:lnTo>
                              <a:cubicBezTo>
                                <a:pt x="3429" y="95659"/>
                                <a:pt x="15907" y="124996"/>
                                <a:pt x="38481" y="115948"/>
                              </a:cubicBezTo>
                              <a:cubicBezTo>
                                <a:pt x="38481" y="115948"/>
                                <a:pt x="80582" y="16221"/>
                                <a:pt x="80486" y="17269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4" name="Freihandform: Form 73">
                          <a:extLst>
                            <a:ext uri="{FF2B5EF4-FFF2-40B4-BE49-F238E27FC236}">
                              <a16:creationId xmlns:a16="http://schemas.microsoft.com/office/drawing/2014/main" id="{D442AB8C-3A35-5422-8DAF-935CFBF688A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83816" y="3539440"/>
                          <a:ext cx="145001" cy="187300"/>
                        </a:xfrm>
                        <a:custGeom>
                          <a:avLst/>
                          <a:gdLst>
                            <a:gd name="connsiteX0" fmla="*/ 142151 w 145001"/>
                            <a:gd name="connsiteY0" fmla="*/ 88632 h 187300"/>
                            <a:gd name="connsiteX1" fmla="*/ 144913 w 145001"/>
                            <a:gd name="connsiteY1" fmla="*/ 175405 h 187300"/>
                            <a:gd name="connsiteX2" fmla="*/ 144913 w 145001"/>
                            <a:gd name="connsiteY2" fmla="*/ 175405 h 187300"/>
                            <a:gd name="connsiteX3" fmla="*/ 64712 w 145001"/>
                            <a:gd name="connsiteY3" fmla="*/ 170642 h 187300"/>
                            <a:gd name="connsiteX4" fmla="*/ 9848 w 145001"/>
                            <a:gd name="connsiteY4" fmla="*/ 67486 h 187300"/>
                            <a:gd name="connsiteX5" fmla="*/ 104717 w 145001"/>
                            <a:gd name="connsiteY5" fmla="*/ 431 h 187300"/>
                            <a:gd name="connsiteX6" fmla="*/ 142151 w 145001"/>
                            <a:gd name="connsiteY6" fmla="*/ 88632 h 18730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145001" h="187300">
                              <a:moveTo>
                                <a:pt x="142151" y="88632"/>
                              </a:moveTo>
                              <a:cubicBezTo>
                                <a:pt x="145770" y="113302"/>
                                <a:pt x="144913" y="175405"/>
                                <a:pt x="144913" y="175405"/>
                              </a:cubicBezTo>
                              <a:lnTo>
                                <a:pt x="144913" y="175405"/>
                              </a:lnTo>
                              <a:cubicBezTo>
                                <a:pt x="107289" y="175214"/>
                                <a:pt x="108813" y="205218"/>
                                <a:pt x="64712" y="170642"/>
                              </a:cubicBezTo>
                              <a:cubicBezTo>
                                <a:pt x="64712" y="170642"/>
                                <a:pt x="53472" y="104253"/>
                                <a:pt x="9848" y="67486"/>
                              </a:cubicBezTo>
                              <a:cubicBezTo>
                                <a:pt x="-27871" y="35768"/>
                                <a:pt x="51186" y="-4618"/>
                                <a:pt x="104717" y="431"/>
                              </a:cubicBezTo>
                              <a:cubicBezTo>
                                <a:pt x="128815" y="38244"/>
                                <a:pt x="142151" y="88632"/>
                                <a:pt x="142151" y="8863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sp>
                    <p:nvSpPr>
                      <p:cNvPr id="75" name="Freihandform: Form 74">
                        <a:extLst>
                          <a:ext uri="{FF2B5EF4-FFF2-40B4-BE49-F238E27FC236}">
                            <a16:creationId xmlns:a16="http://schemas.microsoft.com/office/drawing/2014/main" id="{C717B5E7-21E0-3492-587A-B95C05ADAC4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395080" y="3494722"/>
                        <a:ext cx="234464" cy="282987"/>
                      </a:xfrm>
                      <a:custGeom>
                        <a:avLst/>
                        <a:gdLst>
                          <a:gd name="connsiteX0" fmla="*/ 4382 w 234464"/>
                          <a:gd name="connsiteY0" fmla="*/ 195644 h 282987"/>
                          <a:gd name="connsiteX1" fmla="*/ 59341 w 234464"/>
                          <a:gd name="connsiteY1" fmla="*/ 0 h 282987"/>
                          <a:gd name="connsiteX2" fmla="*/ 194977 w 234464"/>
                          <a:gd name="connsiteY2" fmla="*/ 11430 h 282987"/>
                          <a:gd name="connsiteX3" fmla="*/ 200787 w 234464"/>
                          <a:gd name="connsiteY3" fmla="*/ 47625 h 282987"/>
                          <a:gd name="connsiteX4" fmla="*/ 232601 w 234464"/>
                          <a:gd name="connsiteY4" fmla="*/ 177832 h 282987"/>
                          <a:gd name="connsiteX5" fmla="*/ 152877 w 234464"/>
                          <a:gd name="connsiteY5" fmla="*/ 204883 h 282987"/>
                          <a:gd name="connsiteX6" fmla="*/ 88678 w 234464"/>
                          <a:gd name="connsiteY6" fmla="*/ 282988 h 282987"/>
                          <a:gd name="connsiteX7" fmla="*/ 0 w 234464"/>
                          <a:gd name="connsiteY7" fmla="*/ 234982 h 282987"/>
                          <a:gd name="connsiteX8" fmla="*/ 4382 w 234464"/>
                          <a:gd name="connsiteY8" fmla="*/ 195548 h 2829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234464" h="282987">
                            <a:moveTo>
                              <a:pt x="4382" y="195644"/>
                            </a:moveTo>
                            <a:cubicBezTo>
                              <a:pt x="21431" y="145828"/>
                              <a:pt x="40958" y="87154"/>
                              <a:pt x="59341" y="0"/>
                            </a:cubicBezTo>
                            <a:lnTo>
                              <a:pt x="194977" y="11430"/>
                            </a:lnTo>
                            <a:cubicBezTo>
                              <a:pt x="194977" y="32099"/>
                              <a:pt x="197739" y="44005"/>
                              <a:pt x="200787" y="47625"/>
                            </a:cubicBezTo>
                            <a:cubicBezTo>
                              <a:pt x="246031" y="101727"/>
                              <a:pt x="232601" y="177832"/>
                              <a:pt x="232601" y="177832"/>
                            </a:cubicBezTo>
                            <a:cubicBezTo>
                              <a:pt x="230981" y="184976"/>
                              <a:pt x="183261" y="168688"/>
                              <a:pt x="152877" y="204883"/>
                            </a:cubicBezTo>
                            <a:cubicBezTo>
                              <a:pt x="144304" y="215075"/>
                              <a:pt x="102394" y="222885"/>
                              <a:pt x="88678" y="282988"/>
                            </a:cubicBezTo>
                            <a:cubicBezTo>
                              <a:pt x="33909" y="215837"/>
                              <a:pt x="3048" y="234125"/>
                              <a:pt x="0" y="234982"/>
                            </a:cubicBezTo>
                            <a:cubicBezTo>
                              <a:pt x="2572" y="219551"/>
                              <a:pt x="2667" y="206026"/>
                              <a:pt x="4382" y="195548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6" name="Freihandform: Form 75">
                        <a:extLst>
                          <a:ext uri="{FF2B5EF4-FFF2-40B4-BE49-F238E27FC236}">
                            <a16:creationId xmlns:a16="http://schemas.microsoft.com/office/drawing/2014/main" id="{B78F126A-E226-154D-8C4B-E2C16756549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53659" y="3436239"/>
                        <a:ext cx="136397" cy="136398"/>
                      </a:xfrm>
                      <a:custGeom>
                        <a:avLst/>
                        <a:gdLst>
                          <a:gd name="connsiteX0" fmla="*/ 136398 w 136397"/>
                          <a:gd name="connsiteY0" fmla="*/ 68199 h 136398"/>
                          <a:gd name="connsiteX1" fmla="*/ 68199 w 136397"/>
                          <a:gd name="connsiteY1" fmla="*/ 136398 h 136398"/>
                          <a:gd name="connsiteX2" fmla="*/ 1 w 136397"/>
                          <a:gd name="connsiteY2" fmla="*/ 68199 h 136398"/>
                          <a:gd name="connsiteX3" fmla="*/ 68199 w 136397"/>
                          <a:gd name="connsiteY3" fmla="*/ 0 h 136398"/>
                          <a:gd name="connsiteX4" fmla="*/ 136398 w 136397"/>
                          <a:gd name="connsiteY4" fmla="*/ 68199 h 13639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36397" h="136398">
                            <a:moveTo>
                              <a:pt x="136398" y="68199"/>
                            </a:moveTo>
                            <a:cubicBezTo>
                              <a:pt x="136398" y="105864"/>
                              <a:pt x="105864" y="136398"/>
                              <a:pt x="68199" y="136398"/>
                            </a:cubicBezTo>
                            <a:cubicBezTo>
                              <a:pt x="30534" y="136398"/>
                              <a:pt x="1" y="105865"/>
                              <a:pt x="1" y="68199"/>
                            </a:cubicBezTo>
                            <a:cubicBezTo>
                              <a:pt x="1" y="30534"/>
                              <a:pt x="30534" y="0"/>
                              <a:pt x="68199" y="0"/>
                            </a:cubicBezTo>
                            <a:cubicBezTo>
                              <a:pt x="105864" y="0"/>
                              <a:pt x="136398" y="30534"/>
                              <a:pt x="136398" y="68199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</p:grpSp>
              <p:sp>
                <p:nvSpPr>
                  <p:cNvPr id="77" name="Freihandform: Form 76">
                    <a:extLst>
                      <a:ext uri="{FF2B5EF4-FFF2-40B4-BE49-F238E27FC236}">
                        <a16:creationId xmlns:a16="http://schemas.microsoft.com/office/drawing/2014/main" id="{033BB49D-DDE7-266B-D20F-045717888045}"/>
                      </a:ext>
                    </a:extLst>
                  </p:cNvPr>
                  <p:cNvSpPr/>
                  <p:nvPr/>
                </p:nvSpPr>
                <p:spPr>
                  <a:xfrm>
                    <a:off x="8688572" y="1533884"/>
                    <a:ext cx="1208416" cy="1222459"/>
                  </a:xfrm>
                  <a:custGeom>
                    <a:avLst/>
                    <a:gdLst>
                      <a:gd name="connsiteX0" fmla="*/ 1189550 w 1208416"/>
                      <a:gd name="connsiteY0" fmla="*/ 262626 h 1222459"/>
                      <a:gd name="connsiteX1" fmla="*/ 821695 w 1208416"/>
                      <a:gd name="connsiteY1" fmla="*/ 114131 h 1222459"/>
                      <a:gd name="connsiteX2" fmla="*/ 766641 w 1208416"/>
                      <a:gd name="connsiteY2" fmla="*/ 15071 h 1222459"/>
                      <a:gd name="connsiteX3" fmla="*/ 747971 w 1208416"/>
                      <a:gd name="connsiteY3" fmla="*/ 6879 h 1222459"/>
                      <a:gd name="connsiteX4" fmla="*/ 454506 w 1208416"/>
                      <a:gd name="connsiteY4" fmla="*/ 1164 h 1222459"/>
                      <a:gd name="connsiteX5" fmla="*/ 438885 w 1208416"/>
                      <a:gd name="connsiteY5" fmla="*/ 8975 h 1222459"/>
                      <a:gd name="connsiteX6" fmla="*/ 424026 w 1208416"/>
                      <a:gd name="connsiteY6" fmla="*/ 67744 h 1222459"/>
                      <a:gd name="connsiteX7" fmla="*/ 390879 w 1208416"/>
                      <a:gd name="connsiteY7" fmla="*/ 96986 h 1222459"/>
                      <a:gd name="connsiteX8" fmla="*/ 17594 w 1208416"/>
                      <a:gd name="connsiteY8" fmla="*/ 279771 h 1222459"/>
                      <a:gd name="connsiteX9" fmla="*/ 143896 w 1208416"/>
                      <a:gd name="connsiteY9" fmla="*/ 680868 h 1222459"/>
                      <a:gd name="connsiteX10" fmla="*/ 240384 w 1208416"/>
                      <a:gd name="connsiteY10" fmla="*/ 1222460 h 1222459"/>
                      <a:gd name="connsiteX11" fmla="*/ 955235 w 1208416"/>
                      <a:gd name="connsiteY11" fmla="*/ 1220364 h 1222459"/>
                      <a:gd name="connsiteX12" fmla="*/ 1093729 w 1208416"/>
                      <a:gd name="connsiteY12" fmla="*/ 696870 h 1222459"/>
                      <a:gd name="connsiteX13" fmla="*/ 1189455 w 1208416"/>
                      <a:gd name="connsiteY13" fmla="*/ 262530 h 12224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208416" h="1222459">
                        <a:moveTo>
                          <a:pt x="1189550" y="262626"/>
                        </a:moveTo>
                        <a:cubicBezTo>
                          <a:pt x="1103921" y="179663"/>
                          <a:pt x="966475" y="205666"/>
                          <a:pt x="821695" y="114131"/>
                        </a:cubicBezTo>
                        <a:cubicBezTo>
                          <a:pt x="785500" y="80793"/>
                          <a:pt x="771689" y="38597"/>
                          <a:pt x="766641" y="15071"/>
                        </a:cubicBezTo>
                        <a:cubicBezTo>
                          <a:pt x="764831" y="6689"/>
                          <a:pt x="755401" y="2593"/>
                          <a:pt x="747971" y="6879"/>
                        </a:cubicBezTo>
                        <a:cubicBezTo>
                          <a:pt x="655769" y="60791"/>
                          <a:pt x="553947" y="49837"/>
                          <a:pt x="454506" y="1164"/>
                        </a:cubicBezTo>
                        <a:cubicBezTo>
                          <a:pt x="447934" y="-2074"/>
                          <a:pt x="440123" y="1736"/>
                          <a:pt x="438885" y="8975"/>
                        </a:cubicBezTo>
                        <a:cubicBezTo>
                          <a:pt x="436504" y="22500"/>
                          <a:pt x="431932" y="44122"/>
                          <a:pt x="424026" y="67744"/>
                        </a:cubicBezTo>
                        <a:cubicBezTo>
                          <a:pt x="421073" y="74316"/>
                          <a:pt x="412501" y="88223"/>
                          <a:pt x="390879" y="96986"/>
                        </a:cubicBezTo>
                        <a:cubicBezTo>
                          <a:pt x="225049" y="164137"/>
                          <a:pt x="111987" y="195188"/>
                          <a:pt x="17594" y="279771"/>
                        </a:cubicBezTo>
                        <a:cubicBezTo>
                          <a:pt x="-59939" y="349303"/>
                          <a:pt x="143896" y="680868"/>
                          <a:pt x="143896" y="680868"/>
                        </a:cubicBezTo>
                        <a:lnTo>
                          <a:pt x="240384" y="1222460"/>
                        </a:lnTo>
                        <a:lnTo>
                          <a:pt x="955235" y="1220364"/>
                        </a:lnTo>
                        <a:lnTo>
                          <a:pt x="1093729" y="696870"/>
                        </a:lnTo>
                        <a:cubicBezTo>
                          <a:pt x="1093729" y="696870"/>
                          <a:pt x="1264227" y="335016"/>
                          <a:pt x="1189455" y="262530"/>
                        </a:cubicBezTo>
                        <a:close/>
                      </a:path>
                    </a:pathLst>
                  </a:custGeom>
                  <a:solidFill>
                    <a:srgbClr val="FFE98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8" name="Freihandform: Form 77">
                    <a:extLst>
                      <a:ext uri="{FF2B5EF4-FFF2-40B4-BE49-F238E27FC236}">
                        <a16:creationId xmlns:a16="http://schemas.microsoft.com/office/drawing/2014/main" id="{8125EA3B-A5DD-C997-346C-13FD71A879CF}"/>
                      </a:ext>
                    </a:extLst>
                  </p:cNvPr>
                  <p:cNvSpPr/>
                  <p:nvPr/>
                </p:nvSpPr>
                <p:spPr>
                  <a:xfrm>
                    <a:off x="9209944" y="1375027"/>
                    <a:ext cx="147256" cy="49531"/>
                  </a:xfrm>
                  <a:custGeom>
                    <a:avLst/>
                    <a:gdLst>
                      <a:gd name="connsiteX0" fmla="*/ 0 w 147256"/>
                      <a:gd name="connsiteY0" fmla="*/ 5431 h 49531"/>
                      <a:gd name="connsiteX1" fmla="*/ 55721 w 147256"/>
                      <a:gd name="connsiteY1" fmla="*/ 573 h 49531"/>
                      <a:gd name="connsiteX2" fmla="*/ 70294 w 147256"/>
                      <a:gd name="connsiteY2" fmla="*/ 4002 h 49531"/>
                      <a:gd name="connsiteX3" fmla="*/ 84010 w 147256"/>
                      <a:gd name="connsiteY3" fmla="*/ 2 h 49531"/>
                      <a:gd name="connsiteX4" fmla="*/ 147256 w 147256"/>
                      <a:gd name="connsiteY4" fmla="*/ 5812 h 49531"/>
                      <a:gd name="connsiteX5" fmla="*/ 68389 w 147256"/>
                      <a:gd name="connsiteY5" fmla="*/ 49532 h 49531"/>
                      <a:gd name="connsiteX6" fmla="*/ 0 w 147256"/>
                      <a:gd name="connsiteY6" fmla="*/ 5431 h 495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7256" h="49531">
                        <a:moveTo>
                          <a:pt x="0" y="5431"/>
                        </a:moveTo>
                        <a:cubicBezTo>
                          <a:pt x="0" y="5431"/>
                          <a:pt x="19050" y="2859"/>
                          <a:pt x="55721" y="573"/>
                        </a:cubicBezTo>
                        <a:cubicBezTo>
                          <a:pt x="58578" y="383"/>
                          <a:pt x="61817" y="4193"/>
                          <a:pt x="70294" y="4002"/>
                        </a:cubicBezTo>
                        <a:cubicBezTo>
                          <a:pt x="80296" y="3812"/>
                          <a:pt x="80676" y="-94"/>
                          <a:pt x="84010" y="2"/>
                        </a:cubicBezTo>
                        <a:cubicBezTo>
                          <a:pt x="123539" y="1049"/>
                          <a:pt x="147256" y="5812"/>
                          <a:pt x="147256" y="5812"/>
                        </a:cubicBezTo>
                        <a:cubicBezTo>
                          <a:pt x="147256" y="5812"/>
                          <a:pt x="127635" y="49532"/>
                          <a:pt x="68389" y="49532"/>
                        </a:cubicBezTo>
                        <a:cubicBezTo>
                          <a:pt x="15049" y="49532"/>
                          <a:pt x="0" y="5431"/>
                          <a:pt x="0" y="5431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9" name="Freihandform: Form 78">
                    <a:extLst>
                      <a:ext uri="{FF2B5EF4-FFF2-40B4-BE49-F238E27FC236}">
                        <a16:creationId xmlns:a16="http://schemas.microsoft.com/office/drawing/2014/main" id="{E3648D5E-E69D-0495-1039-D1F0853422F7}"/>
                      </a:ext>
                    </a:extLst>
                  </p:cNvPr>
                  <p:cNvSpPr/>
                  <p:nvPr/>
                </p:nvSpPr>
                <p:spPr>
                  <a:xfrm>
                    <a:off x="8620918" y="1760791"/>
                    <a:ext cx="314705" cy="314706"/>
                  </a:xfrm>
                  <a:custGeom>
                    <a:avLst/>
                    <a:gdLst>
                      <a:gd name="connsiteX0" fmla="*/ 314706 w 314705"/>
                      <a:gd name="connsiteY0" fmla="*/ 157353 h 314706"/>
                      <a:gd name="connsiteX1" fmla="*/ 157353 w 314705"/>
                      <a:gd name="connsiteY1" fmla="*/ 314706 h 314706"/>
                      <a:gd name="connsiteX2" fmla="*/ -1 w 314705"/>
                      <a:gd name="connsiteY2" fmla="*/ 157353 h 314706"/>
                      <a:gd name="connsiteX3" fmla="*/ 157353 w 314705"/>
                      <a:gd name="connsiteY3" fmla="*/ 0 h 314706"/>
                      <a:gd name="connsiteX4" fmla="*/ 314706 w 314705"/>
                      <a:gd name="connsiteY4" fmla="*/ 157353 h 3147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4705" h="314706">
                        <a:moveTo>
                          <a:pt x="314706" y="157353"/>
                        </a:moveTo>
                        <a:cubicBezTo>
                          <a:pt x="314706" y="244257"/>
                          <a:pt x="244257" y="314706"/>
                          <a:pt x="157353" y="314706"/>
                        </a:cubicBezTo>
                        <a:cubicBezTo>
                          <a:pt x="70449" y="314706"/>
                          <a:pt x="-1" y="244257"/>
                          <a:pt x="-1" y="157353"/>
                        </a:cubicBezTo>
                        <a:cubicBezTo>
                          <a:pt x="-1" y="70449"/>
                          <a:pt x="70449" y="0"/>
                          <a:pt x="157353" y="0"/>
                        </a:cubicBezTo>
                        <a:cubicBezTo>
                          <a:pt x="244256" y="0"/>
                          <a:pt x="314706" y="70449"/>
                          <a:pt x="314706" y="15735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0" name="Freihandform: Form 79">
                    <a:extLst>
                      <a:ext uri="{FF2B5EF4-FFF2-40B4-BE49-F238E27FC236}">
                        <a16:creationId xmlns:a16="http://schemas.microsoft.com/office/drawing/2014/main" id="{9521ECC7-1396-14E9-4855-E61AF7BE8E90}"/>
                      </a:ext>
                    </a:extLst>
                  </p:cNvPr>
                  <p:cNvSpPr/>
                  <p:nvPr/>
                </p:nvSpPr>
                <p:spPr>
                  <a:xfrm>
                    <a:off x="8398795" y="1816227"/>
                    <a:ext cx="523018" cy="989647"/>
                  </a:xfrm>
                  <a:custGeom>
                    <a:avLst/>
                    <a:gdLst>
                      <a:gd name="connsiteX0" fmla="*/ 0 w 523018"/>
                      <a:gd name="connsiteY0" fmla="*/ 947261 h 989647"/>
                      <a:gd name="connsiteX1" fmla="*/ 307467 w 523018"/>
                      <a:gd name="connsiteY1" fmla="*/ 989648 h 989647"/>
                      <a:gd name="connsiteX2" fmla="*/ 523018 w 523018"/>
                      <a:gd name="connsiteY2" fmla="*/ 167259 h 989647"/>
                      <a:gd name="connsiteX3" fmla="*/ 259747 w 523018"/>
                      <a:gd name="connsiteY3" fmla="*/ 0 h 989647"/>
                      <a:gd name="connsiteX4" fmla="*/ 0 w 523018"/>
                      <a:gd name="connsiteY4" fmla="*/ 947261 h 9896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23018" h="989647">
                        <a:moveTo>
                          <a:pt x="0" y="947261"/>
                        </a:moveTo>
                        <a:lnTo>
                          <a:pt x="307467" y="989648"/>
                        </a:lnTo>
                        <a:lnTo>
                          <a:pt x="523018" y="167259"/>
                        </a:lnTo>
                        <a:lnTo>
                          <a:pt x="259747" y="0"/>
                        </a:lnTo>
                        <a:cubicBezTo>
                          <a:pt x="171069" y="80486"/>
                          <a:pt x="0" y="947261"/>
                          <a:pt x="0" y="94726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1" name="Freihandform: Form 80">
                    <a:extLst>
                      <a:ext uri="{FF2B5EF4-FFF2-40B4-BE49-F238E27FC236}">
                        <a16:creationId xmlns:a16="http://schemas.microsoft.com/office/drawing/2014/main" id="{E199C73E-E592-AFE2-63C2-30F5BE004913}"/>
                      </a:ext>
                    </a:extLst>
                  </p:cNvPr>
                  <p:cNvSpPr/>
                  <p:nvPr/>
                </p:nvSpPr>
                <p:spPr>
                  <a:xfrm>
                    <a:off x="8398128" y="2625471"/>
                    <a:ext cx="310133" cy="310134"/>
                  </a:xfrm>
                  <a:custGeom>
                    <a:avLst/>
                    <a:gdLst>
                      <a:gd name="connsiteX0" fmla="*/ 310134 w 310133"/>
                      <a:gd name="connsiteY0" fmla="*/ 155067 h 310134"/>
                      <a:gd name="connsiteX1" fmla="*/ 155067 w 310133"/>
                      <a:gd name="connsiteY1" fmla="*/ 310134 h 310134"/>
                      <a:gd name="connsiteX2" fmla="*/ -1 w 310133"/>
                      <a:gd name="connsiteY2" fmla="*/ 155067 h 310134"/>
                      <a:gd name="connsiteX3" fmla="*/ 155067 w 310133"/>
                      <a:gd name="connsiteY3" fmla="*/ 0 h 310134"/>
                      <a:gd name="connsiteX4" fmla="*/ 310134 w 310133"/>
                      <a:gd name="connsiteY4" fmla="*/ 155067 h 3101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0133" h="310134">
                        <a:moveTo>
                          <a:pt x="310134" y="155067"/>
                        </a:moveTo>
                        <a:cubicBezTo>
                          <a:pt x="310134" y="240708"/>
                          <a:pt x="240708" y="310134"/>
                          <a:pt x="155067" y="310134"/>
                        </a:cubicBezTo>
                        <a:cubicBezTo>
                          <a:pt x="69425" y="310134"/>
                          <a:pt x="-1" y="240708"/>
                          <a:pt x="-1" y="155067"/>
                        </a:cubicBezTo>
                        <a:cubicBezTo>
                          <a:pt x="-1" y="69426"/>
                          <a:pt x="69425" y="0"/>
                          <a:pt x="155067" y="0"/>
                        </a:cubicBezTo>
                        <a:cubicBezTo>
                          <a:pt x="240708" y="0"/>
                          <a:pt x="310134" y="69426"/>
                          <a:pt x="310134" y="15506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2" name="Freihandform: Form 81">
                    <a:extLst>
                      <a:ext uri="{FF2B5EF4-FFF2-40B4-BE49-F238E27FC236}">
                        <a16:creationId xmlns:a16="http://schemas.microsoft.com/office/drawing/2014/main" id="{7305E45E-18A7-42C2-7E7B-48326B7D94DE}"/>
                      </a:ext>
                    </a:extLst>
                  </p:cNvPr>
                  <p:cNvSpPr/>
                  <p:nvPr/>
                </p:nvSpPr>
                <p:spPr>
                  <a:xfrm>
                    <a:off x="8616251" y="1610010"/>
                    <a:ext cx="575214" cy="3144202"/>
                  </a:xfrm>
                  <a:custGeom>
                    <a:avLst/>
                    <a:gdLst>
                      <a:gd name="connsiteX0" fmla="*/ 197358 w 575214"/>
                      <a:gd name="connsiteY0" fmla="*/ 1136999 h 3144202"/>
                      <a:gd name="connsiteX1" fmla="*/ 0 w 575214"/>
                      <a:gd name="connsiteY1" fmla="*/ 3144203 h 3144202"/>
                      <a:gd name="connsiteX2" fmla="*/ 527590 w 575214"/>
                      <a:gd name="connsiteY2" fmla="*/ 3144203 h 3144202"/>
                      <a:gd name="connsiteX3" fmla="*/ 575215 w 575214"/>
                      <a:gd name="connsiteY3" fmla="*/ 576167 h 3144202"/>
                      <a:gd name="connsiteX4" fmla="*/ 467868 w 575214"/>
                      <a:gd name="connsiteY4" fmla="*/ 0 h 3144202"/>
                      <a:gd name="connsiteX5" fmla="*/ 28194 w 575214"/>
                      <a:gd name="connsiteY5" fmla="*/ 225647 h 3144202"/>
                      <a:gd name="connsiteX6" fmla="*/ 216312 w 575214"/>
                      <a:gd name="connsiteY6" fmla="*/ 604838 h 3144202"/>
                      <a:gd name="connsiteX7" fmla="*/ 197453 w 575214"/>
                      <a:gd name="connsiteY7" fmla="*/ 1137095 h 31442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75214" h="3144202">
                        <a:moveTo>
                          <a:pt x="197358" y="1136999"/>
                        </a:moveTo>
                        <a:cubicBezTo>
                          <a:pt x="-28861" y="1726597"/>
                          <a:pt x="51340" y="2820543"/>
                          <a:pt x="0" y="3144203"/>
                        </a:cubicBezTo>
                        <a:lnTo>
                          <a:pt x="527590" y="3144203"/>
                        </a:lnTo>
                        <a:lnTo>
                          <a:pt x="575215" y="576167"/>
                        </a:lnTo>
                        <a:lnTo>
                          <a:pt x="467868" y="0"/>
                        </a:lnTo>
                        <a:cubicBezTo>
                          <a:pt x="302037" y="67151"/>
                          <a:pt x="69437" y="144590"/>
                          <a:pt x="28194" y="225647"/>
                        </a:cubicBezTo>
                        <a:cubicBezTo>
                          <a:pt x="120682" y="378047"/>
                          <a:pt x="216312" y="604838"/>
                          <a:pt x="216312" y="604838"/>
                        </a:cubicBezTo>
                        <a:cubicBezTo>
                          <a:pt x="216312" y="604838"/>
                          <a:pt x="200406" y="745903"/>
                          <a:pt x="197453" y="113709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3" name="Freihandform: Form 82">
                    <a:extLst>
                      <a:ext uri="{FF2B5EF4-FFF2-40B4-BE49-F238E27FC236}">
                        <a16:creationId xmlns:a16="http://schemas.microsoft.com/office/drawing/2014/main" id="{FA73E432-3626-EB46-B4C0-3C775ECA0C7D}"/>
                      </a:ext>
                    </a:extLst>
                  </p:cNvPr>
                  <p:cNvSpPr/>
                  <p:nvPr/>
                </p:nvSpPr>
                <p:spPr>
                  <a:xfrm>
                    <a:off x="8923527" y="1659159"/>
                    <a:ext cx="199834" cy="706945"/>
                  </a:xfrm>
                  <a:custGeom>
                    <a:avLst/>
                    <a:gdLst>
                      <a:gd name="connsiteX0" fmla="*/ 35528 w 199834"/>
                      <a:gd name="connsiteY0" fmla="*/ 0 h 706945"/>
                      <a:gd name="connsiteX1" fmla="*/ 0 w 199834"/>
                      <a:gd name="connsiteY1" fmla="*/ 13906 h 706945"/>
                      <a:gd name="connsiteX2" fmla="*/ 88106 w 199834"/>
                      <a:gd name="connsiteY2" fmla="*/ 352234 h 706945"/>
                      <a:gd name="connsiteX3" fmla="*/ 199834 w 199834"/>
                      <a:gd name="connsiteY3" fmla="*/ 706946 h 706945"/>
                      <a:gd name="connsiteX4" fmla="*/ 123539 w 199834"/>
                      <a:gd name="connsiteY4" fmla="*/ 352234 h 706945"/>
                      <a:gd name="connsiteX5" fmla="*/ 35623 w 199834"/>
                      <a:gd name="connsiteY5" fmla="*/ 0 h 7069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99834" h="706945">
                        <a:moveTo>
                          <a:pt x="35528" y="0"/>
                        </a:moveTo>
                        <a:lnTo>
                          <a:pt x="0" y="13906"/>
                        </a:lnTo>
                        <a:cubicBezTo>
                          <a:pt x="0" y="13906"/>
                          <a:pt x="76009" y="206692"/>
                          <a:pt x="88106" y="352234"/>
                        </a:cubicBezTo>
                        <a:cubicBezTo>
                          <a:pt x="100108" y="497776"/>
                          <a:pt x="199834" y="706946"/>
                          <a:pt x="199834" y="706946"/>
                        </a:cubicBezTo>
                        <a:cubicBezTo>
                          <a:pt x="199834" y="706946"/>
                          <a:pt x="128968" y="398050"/>
                          <a:pt x="123539" y="352234"/>
                        </a:cubicBezTo>
                        <a:cubicBezTo>
                          <a:pt x="118110" y="306419"/>
                          <a:pt x="35623" y="0"/>
                          <a:pt x="35623" y="0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4" name="Freihandform: Form 83">
                    <a:extLst>
                      <a:ext uri="{FF2B5EF4-FFF2-40B4-BE49-F238E27FC236}">
                        <a16:creationId xmlns:a16="http://schemas.microsoft.com/office/drawing/2014/main" id="{054EBD5D-1AD6-F502-375E-2BC7F6F1CFFC}"/>
                      </a:ext>
                    </a:extLst>
                  </p:cNvPr>
                  <p:cNvSpPr/>
                  <p:nvPr/>
                </p:nvSpPr>
                <p:spPr>
                  <a:xfrm>
                    <a:off x="8664457" y="2198655"/>
                    <a:ext cx="159748" cy="575881"/>
                  </a:xfrm>
                  <a:custGeom>
                    <a:avLst/>
                    <a:gdLst>
                      <a:gd name="connsiteX0" fmla="*/ 132483 w 159748"/>
                      <a:gd name="connsiteY0" fmla="*/ 0 h 575881"/>
                      <a:gd name="connsiteX1" fmla="*/ 6753 w 159748"/>
                      <a:gd name="connsiteY1" fmla="*/ 303467 h 575881"/>
                      <a:gd name="connsiteX2" fmla="*/ 50568 w 159748"/>
                      <a:gd name="connsiteY2" fmla="*/ 575881 h 575881"/>
                      <a:gd name="connsiteX3" fmla="*/ 50568 w 159748"/>
                      <a:gd name="connsiteY3" fmla="*/ 575881 h 575881"/>
                      <a:gd name="connsiteX4" fmla="*/ 157343 w 159748"/>
                      <a:gd name="connsiteY4" fmla="*/ 197834 h 575881"/>
                      <a:gd name="connsiteX5" fmla="*/ 132387 w 159748"/>
                      <a:gd name="connsiteY5" fmla="*/ 0 h 5758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59748" h="575881">
                        <a:moveTo>
                          <a:pt x="132483" y="0"/>
                        </a:moveTo>
                        <a:cubicBezTo>
                          <a:pt x="80191" y="30004"/>
                          <a:pt x="-28013" y="139351"/>
                          <a:pt x="6753" y="303467"/>
                        </a:cubicBezTo>
                        <a:cubicBezTo>
                          <a:pt x="41614" y="467582"/>
                          <a:pt x="50568" y="575881"/>
                          <a:pt x="50568" y="575881"/>
                        </a:cubicBezTo>
                        <a:lnTo>
                          <a:pt x="50568" y="575881"/>
                        </a:lnTo>
                        <a:lnTo>
                          <a:pt x="157343" y="197834"/>
                        </a:lnTo>
                        <a:cubicBezTo>
                          <a:pt x="160201" y="166592"/>
                          <a:pt x="166582" y="73057"/>
                          <a:pt x="132387" y="0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5" name="Freihandform: Form 84">
                    <a:extLst>
                      <a:ext uri="{FF2B5EF4-FFF2-40B4-BE49-F238E27FC236}">
                        <a16:creationId xmlns:a16="http://schemas.microsoft.com/office/drawing/2014/main" id="{C86B9CA5-5466-6D3D-6253-B42ACB4C338B}"/>
                      </a:ext>
                    </a:extLst>
                  </p:cNvPr>
                  <p:cNvSpPr/>
                  <p:nvPr/>
                </p:nvSpPr>
                <p:spPr>
                  <a:xfrm>
                    <a:off x="8695689" y="3364706"/>
                    <a:ext cx="330837" cy="409959"/>
                  </a:xfrm>
                  <a:custGeom>
                    <a:avLst/>
                    <a:gdLst>
                      <a:gd name="connsiteX0" fmla="*/ 49911 w 330837"/>
                      <a:gd name="connsiteY0" fmla="*/ 0 h 409959"/>
                      <a:gd name="connsiteX1" fmla="*/ 37338 w 330837"/>
                      <a:gd name="connsiteY1" fmla="*/ 351377 h 409959"/>
                      <a:gd name="connsiteX2" fmla="*/ 330804 w 330837"/>
                      <a:gd name="connsiteY2" fmla="*/ 359093 h 409959"/>
                      <a:gd name="connsiteX3" fmla="*/ 0 w 330837"/>
                      <a:gd name="connsiteY3" fmla="*/ 388715 h 409959"/>
                      <a:gd name="connsiteX4" fmla="*/ 25146 w 330837"/>
                      <a:gd name="connsiteY4" fmla="*/ 81724 h 409959"/>
                      <a:gd name="connsiteX5" fmla="*/ 49911 w 330837"/>
                      <a:gd name="connsiteY5" fmla="*/ 0 h 409959"/>
                      <a:gd name="connsiteX6" fmla="*/ 49911 w 330837"/>
                      <a:gd name="connsiteY6" fmla="*/ 0 h 4099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30837" h="409959">
                        <a:moveTo>
                          <a:pt x="49911" y="0"/>
                        </a:moveTo>
                        <a:cubicBezTo>
                          <a:pt x="49911" y="0"/>
                          <a:pt x="33909" y="310229"/>
                          <a:pt x="37338" y="351377"/>
                        </a:cubicBezTo>
                        <a:cubicBezTo>
                          <a:pt x="43149" y="368713"/>
                          <a:pt x="307372" y="358616"/>
                          <a:pt x="330804" y="359093"/>
                        </a:cubicBezTo>
                        <a:cubicBezTo>
                          <a:pt x="334709" y="393859"/>
                          <a:pt x="0" y="436340"/>
                          <a:pt x="0" y="388715"/>
                        </a:cubicBezTo>
                        <a:cubicBezTo>
                          <a:pt x="0" y="341090"/>
                          <a:pt x="20193" y="122015"/>
                          <a:pt x="25146" y="81724"/>
                        </a:cubicBezTo>
                        <a:cubicBezTo>
                          <a:pt x="31909" y="25813"/>
                          <a:pt x="32861" y="8572"/>
                          <a:pt x="49911" y="0"/>
                        </a:cubicBezTo>
                        <a:lnTo>
                          <a:pt x="49911" y="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6" name="Freihandform: Form 85">
                    <a:extLst>
                      <a:ext uri="{FF2B5EF4-FFF2-40B4-BE49-F238E27FC236}">
                        <a16:creationId xmlns:a16="http://schemas.microsoft.com/office/drawing/2014/main" id="{2A09F8D6-B1AA-B232-9375-ADF179D0391C}"/>
                      </a:ext>
                    </a:extLst>
                  </p:cNvPr>
                  <p:cNvSpPr/>
                  <p:nvPr/>
                </p:nvSpPr>
                <p:spPr>
                  <a:xfrm>
                    <a:off x="9393395" y="1633156"/>
                    <a:ext cx="575977" cy="3121056"/>
                  </a:xfrm>
                  <a:custGeom>
                    <a:avLst/>
                    <a:gdLst>
                      <a:gd name="connsiteX0" fmla="*/ 575977 w 575977"/>
                      <a:gd name="connsiteY0" fmla="*/ 3121057 h 3121056"/>
                      <a:gd name="connsiteX1" fmla="*/ 377857 w 575977"/>
                      <a:gd name="connsiteY1" fmla="*/ 1113854 h 3121056"/>
                      <a:gd name="connsiteX2" fmla="*/ 358997 w 575977"/>
                      <a:gd name="connsiteY2" fmla="*/ 581597 h 3121056"/>
                      <a:gd name="connsiteX3" fmla="*/ 540925 w 575977"/>
                      <a:gd name="connsiteY3" fmla="*/ 220123 h 3121056"/>
                      <a:gd name="connsiteX4" fmla="*/ 102680 w 575977"/>
                      <a:gd name="connsiteY4" fmla="*/ 0 h 3121056"/>
                      <a:gd name="connsiteX5" fmla="*/ 0 w 575977"/>
                      <a:gd name="connsiteY5" fmla="*/ 552926 h 3121056"/>
                      <a:gd name="connsiteX6" fmla="*/ 47816 w 575977"/>
                      <a:gd name="connsiteY6" fmla="*/ 3120962 h 3121056"/>
                      <a:gd name="connsiteX7" fmla="*/ 575977 w 575977"/>
                      <a:gd name="connsiteY7" fmla="*/ 3120962 h 31210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75977" h="3121056">
                        <a:moveTo>
                          <a:pt x="575977" y="3121057"/>
                        </a:moveTo>
                        <a:cubicBezTo>
                          <a:pt x="522923" y="2803493"/>
                          <a:pt x="605219" y="1706594"/>
                          <a:pt x="377857" y="1113854"/>
                        </a:cubicBezTo>
                        <a:cubicBezTo>
                          <a:pt x="374904" y="722757"/>
                          <a:pt x="358997" y="581597"/>
                          <a:pt x="358997" y="581597"/>
                        </a:cubicBezTo>
                        <a:cubicBezTo>
                          <a:pt x="358997" y="581597"/>
                          <a:pt x="448437" y="372523"/>
                          <a:pt x="540925" y="220123"/>
                        </a:cubicBezTo>
                        <a:cubicBezTo>
                          <a:pt x="496729" y="112681"/>
                          <a:pt x="254889" y="58102"/>
                          <a:pt x="102680" y="0"/>
                        </a:cubicBezTo>
                        <a:lnTo>
                          <a:pt x="0" y="552926"/>
                        </a:lnTo>
                        <a:lnTo>
                          <a:pt x="47816" y="3120962"/>
                        </a:lnTo>
                        <a:lnTo>
                          <a:pt x="575977" y="312096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7" name="Freihandform: Form 86">
                    <a:extLst>
                      <a:ext uri="{FF2B5EF4-FFF2-40B4-BE49-F238E27FC236}">
                        <a16:creationId xmlns:a16="http://schemas.microsoft.com/office/drawing/2014/main" id="{BB241EC8-1EAE-0D6B-18D4-80EEE59F5CBA}"/>
                      </a:ext>
                    </a:extLst>
                  </p:cNvPr>
                  <p:cNvSpPr/>
                  <p:nvPr/>
                </p:nvSpPr>
                <p:spPr>
                  <a:xfrm>
                    <a:off x="9346962" y="1469469"/>
                    <a:ext cx="321998" cy="541925"/>
                  </a:xfrm>
                  <a:custGeom>
                    <a:avLst/>
                    <a:gdLst>
                      <a:gd name="connsiteX0" fmla="*/ 108251 w 321998"/>
                      <a:gd name="connsiteY0" fmla="*/ 79486 h 541925"/>
                      <a:gd name="connsiteX1" fmla="*/ 300084 w 321998"/>
                      <a:gd name="connsiteY1" fmla="*/ 216265 h 541925"/>
                      <a:gd name="connsiteX2" fmla="*/ 180641 w 321998"/>
                      <a:gd name="connsiteY2" fmla="*/ 354378 h 541925"/>
                      <a:gd name="connsiteX3" fmla="*/ 149113 w 321998"/>
                      <a:gd name="connsiteY3" fmla="*/ 541925 h 541925"/>
                      <a:gd name="connsiteX4" fmla="*/ 35289 w 321998"/>
                      <a:gd name="connsiteY4" fmla="*/ 264176 h 541925"/>
                      <a:gd name="connsiteX5" fmla="*/ 108251 w 321998"/>
                      <a:gd name="connsiteY5" fmla="*/ 79486 h 5419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21998" h="541925">
                        <a:moveTo>
                          <a:pt x="108251" y="79486"/>
                        </a:moveTo>
                        <a:cubicBezTo>
                          <a:pt x="82534" y="-113585"/>
                          <a:pt x="407717" y="89964"/>
                          <a:pt x="300084" y="216265"/>
                        </a:cubicBezTo>
                        <a:cubicBezTo>
                          <a:pt x="300084" y="216265"/>
                          <a:pt x="221217" y="286750"/>
                          <a:pt x="180641" y="354378"/>
                        </a:cubicBezTo>
                        <a:cubicBezTo>
                          <a:pt x="140064" y="422005"/>
                          <a:pt x="146256" y="484870"/>
                          <a:pt x="149113" y="541925"/>
                        </a:cubicBezTo>
                        <a:cubicBezTo>
                          <a:pt x="-20336" y="527161"/>
                          <a:pt x="-25194" y="321612"/>
                          <a:pt x="35289" y="264176"/>
                        </a:cubicBezTo>
                        <a:cubicBezTo>
                          <a:pt x="133968" y="170450"/>
                          <a:pt x="123015" y="126635"/>
                          <a:pt x="108251" y="7948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8" name="Freihandform: Form 87">
                    <a:extLst>
                      <a:ext uri="{FF2B5EF4-FFF2-40B4-BE49-F238E27FC236}">
                        <a16:creationId xmlns:a16="http://schemas.microsoft.com/office/drawing/2014/main" id="{D66003DA-622D-D4B3-8D25-E87873BDCD46}"/>
                      </a:ext>
                    </a:extLst>
                  </p:cNvPr>
                  <p:cNvSpPr/>
                  <p:nvPr/>
                </p:nvSpPr>
                <p:spPr>
                  <a:xfrm>
                    <a:off x="8386350" y="2763488"/>
                    <a:ext cx="319816" cy="722471"/>
                  </a:xfrm>
                  <a:custGeom>
                    <a:avLst/>
                    <a:gdLst>
                      <a:gd name="connsiteX0" fmla="*/ 11778 w 319816"/>
                      <a:gd name="connsiteY0" fmla="*/ 722471 h 722471"/>
                      <a:gd name="connsiteX1" fmla="*/ 243998 w 319816"/>
                      <a:gd name="connsiteY1" fmla="*/ 722471 h 722471"/>
                      <a:gd name="connsiteX2" fmla="*/ 319817 w 319816"/>
                      <a:gd name="connsiteY2" fmla="*/ 42386 h 722471"/>
                      <a:gd name="connsiteX3" fmla="*/ 12350 w 319816"/>
                      <a:gd name="connsiteY3" fmla="*/ 0 h 722471"/>
                      <a:gd name="connsiteX4" fmla="*/ 11683 w 319816"/>
                      <a:gd name="connsiteY4" fmla="*/ 722471 h 7224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9816" h="722471">
                        <a:moveTo>
                          <a:pt x="11778" y="722471"/>
                        </a:moveTo>
                        <a:lnTo>
                          <a:pt x="243998" y="722471"/>
                        </a:lnTo>
                        <a:cubicBezTo>
                          <a:pt x="243998" y="722471"/>
                          <a:pt x="304100" y="215360"/>
                          <a:pt x="319817" y="42386"/>
                        </a:cubicBezTo>
                        <a:lnTo>
                          <a:pt x="12350" y="0"/>
                        </a:lnTo>
                        <a:cubicBezTo>
                          <a:pt x="12350" y="339566"/>
                          <a:pt x="-14987" y="531781"/>
                          <a:pt x="11683" y="72247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89" name="Grafik 23">
                  <a:extLst>
                    <a:ext uri="{FF2B5EF4-FFF2-40B4-BE49-F238E27FC236}">
                      <a16:creationId xmlns:a16="http://schemas.microsoft.com/office/drawing/2014/main" id="{539E2105-853C-28FA-6B78-C40458F2FB7D}"/>
                    </a:ext>
                  </a:extLst>
                </p:cNvPr>
                <p:cNvGrpSpPr/>
                <p:nvPr/>
              </p:nvGrpSpPr>
              <p:grpSpPr>
                <a:xfrm>
                  <a:off x="9633235" y="8339391"/>
                  <a:ext cx="650747" cy="968216"/>
                  <a:chOff x="9633235" y="1760791"/>
                  <a:chExt cx="650747" cy="968216"/>
                </a:xfrm>
                <a:solidFill>
                  <a:srgbClr val="FFFFFF"/>
                </a:solidFill>
              </p:grpSpPr>
              <p:sp>
                <p:nvSpPr>
                  <p:cNvPr id="90" name="Freihandform: Form 89">
                    <a:extLst>
                      <a:ext uri="{FF2B5EF4-FFF2-40B4-BE49-F238E27FC236}">
                        <a16:creationId xmlns:a16="http://schemas.microsoft.com/office/drawing/2014/main" id="{1576543B-8C5E-87BE-1843-E27A2DD868F9}"/>
                      </a:ext>
                    </a:extLst>
                  </p:cNvPr>
                  <p:cNvSpPr/>
                  <p:nvPr/>
                </p:nvSpPr>
                <p:spPr>
                  <a:xfrm>
                    <a:off x="9633235" y="1760791"/>
                    <a:ext cx="314705" cy="314706"/>
                  </a:xfrm>
                  <a:custGeom>
                    <a:avLst/>
                    <a:gdLst>
                      <a:gd name="connsiteX0" fmla="*/ 314706 w 314705"/>
                      <a:gd name="connsiteY0" fmla="*/ 157353 h 314706"/>
                      <a:gd name="connsiteX1" fmla="*/ 157353 w 314705"/>
                      <a:gd name="connsiteY1" fmla="*/ 314706 h 314706"/>
                      <a:gd name="connsiteX2" fmla="*/ 0 w 314705"/>
                      <a:gd name="connsiteY2" fmla="*/ 157353 h 314706"/>
                      <a:gd name="connsiteX3" fmla="*/ 157353 w 314705"/>
                      <a:gd name="connsiteY3" fmla="*/ 0 h 314706"/>
                      <a:gd name="connsiteX4" fmla="*/ 314706 w 314705"/>
                      <a:gd name="connsiteY4" fmla="*/ 157353 h 3147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4705" h="314706">
                        <a:moveTo>
                          <a:pt x="314706" y="157353"/>
                        </a:moveTo>
                        <a:cubicBezTo>
                          <a:pt x="314706" y="244257"/>
                          <a:pt x="244257" y="314706"/>
                          <a:pt x="157353" y="314706"/>
                        </a:cubicBezTo>
                        <a:cubicBezTo>
                          <a:pt x="70449" y="314706"/>
                          <a:pt x="0" y="244257"/>
                          <a:pt x="0" y="157353"/>
                        </a:cubicBezTo>
                        <a:cubicBezTo>
                          <a:pt x="0" y="70449"/>
                          <a:pt x="70449" y="0"/>
                          <a:pt x="157353" y="0"/>
                        </a:cubicBezTo>
                        <a:cubicBezTo>
                          <a:pt x="244256" y="0"/>
                          <a:pt x="314706" y="70449"/>
                          <a:pt x="314706" y="15735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1" name="Freihandform: Form 90">
                    <a:extLst>
                      <a:ext uri="{FF2B5EF4-FFF2-40B4-BE49-F238E27FC236}">
                        <a16:creationId xmlns:a16="http://schemas.microsoft.com/office/drawing/2014/main" id="{E60EE7DD-B747-2127-D9AE-2E1B10E85BB2}"/>
                      </a:ext>
                    </a:extLst>
                  </p:cNvPr>
                  <p:cNvSpPr/>
                  <p:nvPr/>
                </p:nvSpPr>
                <p:spPr>
                  <a:xfrm>
                    <a:off x="9658000" y="1838991"/>
                    <a:ext cx="625982" cy="890015"/>
                  </a:xfrm>
                  <a:custGeom>
                    <a:avLst/>
                    <a:gdLst>
                      <a:gd name="connsiteX0" fmla="*/ 625888 w 625982"/>
                      <a:gd name="connsiteY0" fmla="*/ 774287 h 890015"/>
                      <a:gd name="connsiteX1" fmla="*/ 334518 w 625982"/>
                      <a:gd name="connsiteY1" fmla="*/ 890016 h 890015"/>
                      <a:gd name="connsiteX2" fmla="*/ 135064 w 625982"/>
                      <a:gd name="connsiteY2" fmla="*/ 426720 h 890015"/>
                      <a:gd name="connsiteX3" fmla="*/ 0 w 625982"/>
                      <a:gd name="connsiteY3" fmla="*/ 163163 h 890015"/>
                      <a:gd name="connsiteX4" fmla="*/ 268986 w 625982"/>
                      <a:gd name="connsiteY4" fmla="*/ 0 h 890015"/>
                      <a:gd name="connsiteX5" fmla="*/ 430339 w 625982"/>
                      <a:gd name="connsiteY5" fmla="*/ 315373 h 890015"/>
                      <a:gd name="connsiteX6" fmla="*/ 625983 w 625982"/>
                      <a:gd name="connsiteY6" fmla="*/ 774287 h 8900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25982" h="890015">
                        <a:moveTo>
                          <a:pt x="625888" y="774287"/>
                        </a:moveTo>
                        <a:lnTo>
                          <a:pt x="334518" y="890016"/>
                        </a:lnTo>
                        <a:lnTo>
                          <a:pt x="135064" y="426720"/>
                        </a:lnTo>
                        <a:lnTo>
                          <a:pt x="0" y="163163"/>
                        </a:lnTo>
                        <a:lnTo>
                          <a:pt x="268986" y="0"/>
                        </a:lnTo>
                        <a:cubicBezTo>
                          <a:pt x="311182" y="74009"/>
                          <a:pt x="367665" y="187928"/>
                          <a:pt x="430339" y="315373"/>
                        </a:cubicBezTo>
                        <a:cubicBezTo>
                          <a:pt x="529780" y="517589"/>
                          <a:pt x="625983" y="774287"/>
                          <a:pt x="625983" y="77428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2" name="Grafik 23">
                  <a:extLst>
                    <a:ext uri="{FF2B5EF4-FFF2-40B4-BE49-F238E27FC236}">
                      <a16:creationId xmlns:a16="http://schemas.microsoft.com/office/drawing/2014/main" id="{F4BA013B-E70D-FCA3-0C6F-E2645DF78B75}"/>
                    </a:ext>
                  </a:extLst>
                </p:cNvPr>
                <p:cNvGrpSpPr/>
                <p:nvPr/>
              </p:nvGrpSpPr>
              <p:grpSpPr>
                <a:xfrm>
                  <a:off x="9348914" y="8729059"/>
                  <a:ext cx="629316" cy="785241"/>
                  <a:chOff x="9348914" y="2150459"/>
                  <a:chExt cx="629316" cy="785241"/>
                </a:xfrm>
              </p:grpSpPr>
              <p:sp>
                <p:nvSpPr>
                  <p:cNvPr id="93" name="Freihandform: Form 92">
                    <a:extLst>
                      <a:ext uri="{FF2B5EF4-FFF2-40B4-BE49-F238E27FC236}">
                        <a16:creationId xmlns:a16="http://schemas.microsoft.com/office/drawing/2014/main" id="{3F42AF5B-560A-850A-4EFD-9046F48B79D6}"/>
                      </a:ext>
                    </a:extLst>
                  </p:cNvPr>
                  <p:cNvSpPr/>
                  <p:nvPr/>
                </p:nvSpPr>
                <p:spPr>
                  <a:xfrm>
                    <a:off x="9381870" y="2150459"/>
                    <a:ext cx="596360" cy="785241"/>
                  </a:xfrm>
                  <a:custGeom>
                    <a:avLst/>
                    <a:gdLst>
                      <a:gd name="connsiteX0" fmla="*/ 572548 w 596360"/>
                      <a:gd name="connsiteY0" fmla="*/ 0 h 785241"/>
                      <a:gd name="connsiteX1" fmla="*/ 596360 w 596360"/>
                      <a:gd name="connsiteY1" fmla="*/ 23813 h 785241"/>
                      <a:gd name="connsiteX2" fmla="*/ 596360 w 596360"/>
                      <a:gd name="connsiteY2" fmla="*/ 761429 h 785241"/>
                      <a:gd name="connsiteX3" fmla="*/ 572548 w 596360"/>
                      <a:gd name="connsiteY3" fmla="*/ 785241 h 785241"/>
                      <a:gd name="connsiteX4" fmla="*/ 23813 w 596360"/>
                      <a:gd name="connsiteY4" fmla="*/ 785241 h 785241"/>
                      <a:gd name="connsiteX5" fmla="*/ 0 w 596360"/>
                      <a:gd name="connsiteY5" fmla="*/ 761429 h 785241"/>
                      <a:gd name="connsiteX6" fmla="*/ 0 w 596360"/>
                      <a:gd name="connsiteY6" fmla="*/ 23813 h 785241"/>
                      <a:gd name="connsiteX7" fmla="*/ 23813 w 596360"/>
                      <a:gd name="connsiteY7" fmla="*/ 0 h 785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96360" h="785241">
                        <a:moveTo>
                          <a:pt x="572548" y="0"/>
                        </a:moveTo>
                        <a:cubicBezTo>
                          <a:pt x="585699" y="0"/>
                          <a:pt x="596360" y="10661"/>
                          <a:pt x="596360" y="23813"/>
                        </a:cubicBezTo>
                        <a:lnTo>
                          <a:pt x="596360" y="761429"/>
                        </a:lnTo>
                        <a:cubicBezTo>
                          <a:pt x="596360" y="774580"/>
                          <a:pt x="585699" y="785241"/>
                          <a:pt x="572548" y="785241"/>
                        </a:cubicBezTo>
                        <a:lnTo>
                          <a:pt x="23813" y="785241"/>
                        </a:lnTo>
                        <a:cubicBezTo>
                          <a:pt x="10661" y="785241"/>
                          <a:pt x="0" y="774580"/>
                          <a:pt x="0" y="761429"/>
                        </a:cubicBezTo>
                        <a:lnTo>
                          <a:pt x="0" y="23813"/>
                        </a:lnTo>
                        <a:cubicBezTo>
                          <a:pt x="0" y="10661"/>
                          <a:pt x="10661" y="0"/>
                          <a:pt x="23813" y="0"/>
                        </a:cubicBezTo>
                        <a:close/>
                      </a:path>
                    </a:pathLst>
                  </a:custGeom>
                  <a:solidFill>
                    <a:srgbClr val="EDEDE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4" name="Freihandform: Form 93">
                    <a:extLst>
                      <a:ext uri="{FF2B5EF4-FFF2-40B4-BE49-F238E27FC236}">
                        <a16:creationId xmlns:a16="http://schemas.microsoft.com/office/drawing/2014/main" id="{9105707A-EF1A-7890-78FA-997AFF493DEC}"/>
                      </a:ext>
                    </a:extLst>
                  </p:cNvPr>
                  <p:cNvSpPr/>
                  <p:nvPr/>
                </p:nvSpPr>
                <p:spPr>
                  <a:xfrm>
                    <a:off x="9348914" y="2150459"/>
                    <a:ext cx="596360" cy="785241"/>
                  </a:xfrm>
                  <a:custGeom>
                    <a:avLst/>
                    <a:gdLst>
                      <a:gd name="connsiteX0" fmla="*/ 0 w 596360"/>
                      <a:gd name="connsiteY0" fmla="*/ 0 h 785241"/>
                      <a:gd name="connsiteX1" fmla="*/ 596360 w 596360"/>
                      <a:gd name="connsiteY1" fmla="*/ 0 h 785241"/>
                      <a:gd name="connsiteX2" fmla="*/ 596360 w 596360"/>
                      <a:gd name="connsiteY2" fmla="*/ 785241 h 785241"/>
                      <a:gd name="connsiteX3" fmla="*/ 0 w 596360"/>
                      <a:gd name="connsiteY3" fmla="*/ 785241 h 785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96360" h="785241">
                        <a:moveTo>
                          <a:pt x="0" y="0"/>
                        </a:moveTo>
                        <a:lnTo>
                          <a:pt x="596360" y="0"/>
                        </a:lnTo>
                        <a:lnTo>
                          <a:pt x="596360" y="785241"/>
                        </a:lnTo>
                        <a:lnTo>
                          <a:pt x="0" y="785241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5" name="Freihandform: Form 94">
                    <a:extLst>
                      <a:ext uri="{FF2B5EF4-FFF2-40B4-BE49-F238E27FC236}">
                        <a16:creationId xmlns:a16="http://schemas.microsoft.com/office/drawing/2014/main" id="{BD6D2B86-E5B5-E31A-360E-423CDAE0740B}"/>
                      </a:ext>
                    </a:extLst>
                  </p:cNvPr>
                  <p:cNvSpPr/>
                  <p:nvPr/>
                </p:nvSpPr>
                <p:spPr>
                  <a:xfrm>
                    <a:off x="9578942" y="2272093"/>
                    <a:ext cx="123253" cy="123253"/>
                  </a:xfrm>
                  <a:custGeom>
                    <a:avLst/>
                    <a:gdLst>
                      <a:gd name="connsiteX0" fmla="*/ 123254 w 123253"/>
                      <a:gd name="connsiteY0" fmla="*/ 61627 h 123253"/>
                      <a:gd name="connsiteX1" fmla="*/ 61627 w 123253"/>
                      <a:gd name="connsiteY1" fmla="*/ 123253 h 123253"/>
                      <a:gd name="connsiteX2" fmla="*/ 1 w 123253"/>
                      <a:gd name="connsiteY2" fmla="*/ 61627 h 123253"/>
                      <a:gd name="connsiteX3" fmla="*/ 61627 w 123253"/>
                      <a:gd name="connsiteY3" fmla="*/ 0 h 123253"/>
                      <a:gd name="connsiteX4" fmla="*/ 123254 w 123253"/>
                      <a:gd name="connsiteY4" fmla="*/ 61627 h 1232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3253" h="123253">
                        <a:moveTo>
                          <a:pt x="123254" y="61627"/>
                        </a:moveTo>
                        <a:cubicBezTo>
                          <a:pt x="123254" y="95662"/>
                          <a:pt x="95662" y="123253"/>
                          <a:pt x="61627" y="123253"/>
                        </a:cubicBezTo>
                        <a:cubicBezTo>
                          <a:pt x="27592" y="123253"/>
                          <a:pt x="1" y="95662"/>
                          <a:pt x="1" y="61627"/>
                        </a:cubicBezTo>
                        <a:cubicBezTo>
                          <a:pt x="1" y="27591"/>
                          <a:pt x="27592" y="0"/>
                          <a:pt x="61627" y="0"/>
                        </a:cubicBezTo>
                        <a:cubicBezTo>
                          <a:pt x="95663" y="0"/>
                          <a:pt x="123254" y="27591"/>
                          <a:pt x="123254" y="61627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6" name="Freihandform: Form 95">
                    <a:extLst>
                      <a:ext uri="{FF2B5EF4-FFF2-40B4-BE49-F238E27FC236}">
                        <a16:creationId xmlns:a16="http://schemas.microsoft.com/office/drawing/2014/main" id="{F55B17AE-DC0D-9649-062E-B56D16FFEB45}"/>
                      </a:ext>
                    </a:extLst>
                  </p:cNvPr>
                  <p:cNvSpPr/>
                  <p:nvPr/>
                </p:nvSpPr>
                <p:spPr>
                  <a:xfrm>
                    <a:off x="9852024" y="2186178"/>
                    <a:ext cx="24955" cy="24955"/>
                  </a:xfrm>
                  <a:custGeom>
                    <a:avLst/>
                    <a:gdLst>
                      <a:gd name="connsiteX0" fmla="*/ 24955 w 24955"/>
                      <a:gd name="connsiteY0" fmla="*/ 12478 h 24955"/>
                      <a:gd name="connsiteX1" fmla="*/ 12478 w 24955"/>
                      <a:gd name="connsiteY1" fmla="*/ 24955 h 24955"/>
                      <a:gd name="connsiteX2" fmla="*/ 0 w 24955"/>
                      <a:gd name="connsiteY2" fmla="*/ 12478 h 24955"/>
                      <a:gd name="connsiteX3" fmla="*/ 12478 w 24955"/>
                      <a:gd name="connsiteY3" fmla="*/ 0 h 24955"/>
                      <a:gd name="connsiteX4" fmla="*/ 24955 w 24955"/>
                      <a:gd name="connsiteY4" fmla="*/ 12478 h 249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955" h="24955">
                        <a:moveTo>
                          <a:pt x="24955" y="12478"/>
                        </a:moveTo>
                        <a:cubicBezTo>
                          <a:pt x="24955" y="19369"/>
                          <a:pt x="19369" y="24955"/>
                          <a:pt x="12478" y="24955"/>
                        </a:cubicBezTo>
                        <a:cubicBezTo>
                          <a:pt x="5586" y="24955"/>
                          <a:pt x="0" y="19369"/>
                          <a:pt x="0" y="12478"/>
                        </a:cubicBezTo>
                        <a:cubicBezTo>
                          <a:pt x="0" y="5586"/>
                          <a:pt x="5586" y="0"/>
                          <a:pt x="12478" y="0"/>
                        </a:cubicBezTo>
                        <a:cubicBezTo>
                          <a:pt x="19369" y="0"/>
                          <a:pt x="24955" y="5586"/>
                          <a:pt x="24955" y="12478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7" name="Grafik 23">
                  <a:extLst>
                    <a:ext uri="{FF2B5EF4-FFF2-40B4-BE49-F238E27FC236}">
                      <a16:creationId xmlns:a16="http://schemas.microsoft.com/office/drawing/2014/main" id="{7CDB460A-7057-9236-3590-98675600B16B}"/>
                    </a:ext>
                  </a:extLst>
                </p:cNvPr>
                <p:cNvGrpSpPr/>
                <p:nvPr/>
              </p:nvGrpSpPr>
              <p:grpSpPr>
                <a:xfrm>
                  <a:off x="9261970" y="8864885"/>
                  <a:ext cx="346213" cy="324535"/>
                  <a:chOff x="9261970" y="2286285"/>
                  <a:chExt cx="346213" cy="324535"/>
                </a:xfrm>
                <a:solidFill>
                  <a:srgbClr val="8A5942"/>
                </a:solidFill>
              </p:grpSpPr>
              <p:sp>
                <p:nvSpPr>
                  <p:cNvPr id="98" name="Freihandform: Form 97">
                    <a:extLst>
                      <a:ext uri="{FF2B5EF4-FFF2-40B4-BE49-F238E27FC236}">
                        <a16:creationId xmlns:a16="http://schemas.microsoft.com/office/drawing/2014/main" id="{6D34E14A-D7E3-69D5-62C2-0FBB34FD55CB}"/>
                      </a:ext>
                    </a:extLst>
                  </p:cNvPr>
                  <p:cNvSpPr/>
                  <p:nvPr/>
                </p:nvSpPr>
                <p:spPr>
                  <a:xfrm>
                    <a:off x="9472929" y="2452497"/>
                    <a:ext cx="135255" cy="135254"/>
                  </a:xfrm>
                  <a:custGeom>
                    <a:avLst/>
                    <a:gdLst>
                      <a:gd name="connsiteX0" fmla="*/ 135255 w 135255"/>
                      <a:gd name="connsiteY0" fmla="*/ 67628 h 135254"/>
                      <a:gd name="connsiteX1" fmla="*/ 67628 w 135255"/>
                      <a:gd name="connsiteY1" fmla="*/ 135255 h 135254"/>
                      <a:gd name="connsiteX2" fmla="*/ 1 w 135255"/>
                      <a:gd name="connsiteY2" fmla="*/ 67628 h 135254"/>
                      <a:gd name="connsiteX3" fmla="*/ 67628 w 135255"/>
                      <a:gd name="connsiteY3" fmla="*/ 0 h 135254"/>
                      <a:gd name="connsiteX4" fmla="*/ 135255 w 135255"/>
                      <a:gd name="connsiteY4" fmla="*/ 67628 h 1352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5255" h="135254">
                        <a:moveTo>
                          <a:pt x="135255" y="67628"/>
                        </a:moveTo>
                        <a:cubicBezTo>
                          <a:pt x="135255" y="104977"/>
                          <a:pt x="104977" y="135255"/>
                          <a:pt x="67628" y="135255"/>
                        </a:cubicBezTo>
                        <a:cubicBezTo>
                          <a:pt x="30279" y="135255"/>
                          <a:pt x="1" y="104977"/>
                          <a:pt x="1" y="67628"/>
                        </a:cubicBezTo>
                        <a:cubicBezTo>
                          <a:pt x="1" y="30278"/>
                          <a:pt x="30279" y="0"/>
                          <a:pt x="67628" y="0"/>
                        </a:cubicBezTo>
                        <a:cubicBezTo>
                          <a:pt x="104977" y="0"/>
                          <a:pt x="135255" y="30278"/>
                          <a:pt x="135255" y="67628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9" name="Freihandform: Form 98">
                    <a:extLst>
                      <a:ext uri="{FF2B5EF4-FFF2-40B4-BE49-F238E27FC236}">
                        <a16:creationId xmlns:a16="http://schemas.microsoft.com/office/drawing/2014/main" id="{8E4C1F49-2DA0-1997-4518-4DA19B924C75}"/>
                      </a:ext>
                    </a:extLst>
                  </p:cNvPr>
                  <p:cNvSpPr/>
                  <p:nvPr/>
                </p:nvSpPr>
                <p:spPr>
                  <a:xfrm>
                    <a:off x="9261970" y="2286285"/>
                    <a:ext cx="308150" cy="265148"/>
                  </a:xfrm>
                  <a:custGeom>
                    <a:avLst/>
                    <a:gdLst>
                      <a:gd name="connsiteX0" fmla="*/ 167049 w 308150"/>
                      <a:gd name="connsiteY0" fmla="*/ 59246 h 265148"/>
                      <a:gd name="connsiteX1" fmla="*/ 245725 w 308150"/>
                      <a:gd name="connsiteY1" fmla="*/ 106299 h 265148"/>
                      <a:gd name="connsiteX2" fmla="*/ 306685 w 308150"/>
                      <a:gd name="connsiteY2" fmla="*/ 206788 h 265148"/>
                      <a:gd name="connsiteX3" fmla="*/ 197338 w 308150"/>
                      <a:gd name="connsiteY3" fmla="*/ 239173 h 265148"/>
                      <a:gd name="connsiteX4" fmla="*/ 131520 w 308150"/>
                      <a:gd name="connsiteY4" fmla="*/ 136588 h 265148"/>
                      <a:gd name="connsiteX5" fmla="*/ 67322 w 308150"/>
                      <a:gd name="connsiteY5" fmla="*/ 96012 h 265148"/>
                      <a:gd name="connsiteX6" fmla="*/ 67322 w 308150"/>
                      <a:gd name="connsiteY6" fmla="*/ 96012 h 265148"/>
                      <a:gd name="connsiteX7" fmla="*/ 22269 w 308150"/>
                      <a:gd name="connsiteY7" fmla="*/ 64579 h 265148"/>
                      <a:gd name="connsiteX8" fmla="*/ 5790 w 308150"/>
                      <a:gd name="connsiteY8" fmla="*/ 0 h 265148"/>
                      <a:gd name="connsiteX9" fmla="*/ 71036 w 308150"/>
                      <a:gd name="connsiteY9" fmla="*/ 37147 h 265148"/>
                      <a:gd name="connsiteX10" fmla="*/ 166000 w 308150"/>
                      <a:gd name="connsiteY10" fmla="*/ 58674 h 265148"/>
                      <a:gd name="connsiteX11" fmla="*/ 166572 w 308150"/>
                      <a:gd name="connsiteY11" fmla="*/ 59912 h 265148"/>
                      <a:gd name="connsiteX12" fmla="*/ 167049 w 308150"/>
                      <a:gd name="connsiteY12" fmla="*/ 59150 h 2651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308150" h="265148">
                        <a:moveTo>
                          <a:pt x="167049" y="59246"/>
                        </a:moveTo>
                        <a:cubicBezTo>
                          <a:pt x="167049" y="59246"/>
                          <a:pt x="224770" y="90297"/>
                          <a:pt x="245725" y="106299"/>
                        </a:cubicBezTo>
                        <a:cubicBezTo>
                          <a:pt x="245725" y="106299"/>
                          <a:pt x="319353" y="177927"/>
                          <a:pt x="306685" y="206788"/>
                        </a:cubicBezTo>
                        <a:cubicBezTo>
                          <a:pt x="283920" y="258699"/>
                          <a:pt x="207244" y="290322"/>
                          <a:pt x="197338" y="239173"/>
                        </a:cubicBezTo>
                        <a:cubicBezTo>
                          <a:pt x="186765" y="184975"/>
                          <a:pt x="139331" y="143256"/>
                          <a:pt x="131520" y="136588"/>
                        </a:cubicBezTo>
                        <a:lnTo>
                          <a:pt x="67322" y="96012"/>
                        </a:lnTo>
                        <a:cubicBezTo>
                          <a:pt x="67322" y="96012"/>
                          <a:pt x="67322" y="96012"/>
                          <a:pt x="67322" y="96012"/>
                        </a:cubicBezTo>
                        <a:cubicBezTo>
                          <a:pt x="53606" y="87154"/>
                          <a:pt x="37508" y="76009"/>
                          <a:pt x="22269" y="64579"/>
                        </a:cubicBezTo>
                        <a:cubicBezTo>
                          <a:pt x="1599" y="48958"/>
                          <a:pt x="-6497" y="32957"/>
                          <a:pt x="5790" y="0"/>
                        </a:cubicBezTo>
                        <a:lnTo>
                          <a:pt x="71036" y="37147"/>
                        </a:lnTo>
                        <a:cubicBezTo>
                          <a:pt x="71036" y="37147"/>
                          <a:pt x="167049" y="59150"/>
                          <a:pt x="166000" y="58674"/>
                        </a:cubicBezTo>
                        <a:cubicBezTo>
                          <a:pt x="166286" y="59055"/>
                          <a:pt x="166382" y="59531"/>
                          <a:pt x="166572" y="59912"/>
                        </a:cubicBezTo>
                        <a:cubicBezTo>
                          <a:pt x="166763" y="59626"/>
                          <a:pt x="166858" y="59436"/>
                          <a:pt x="167049" y="59150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0" name="Freihandform: Form 99">
                    <a:extLst>
                      <a:ext uri="{FF2B5EF4-FFF2-40B4-BE49-F238E27FC236}">
                        <a16:creationId xmlns:a16="http://schemas.microsoft.com/office/drawing/2014/main" id="{734E7DAD-2CB1-AB55-9F42-70E24B1557E1}"/>
                      </a:ext>
                    </a:extLst>
                  </p:cNvPr>
                  <p:cNvSpPr/>
                  <p:nvPr/>
                </p:nvSpPr>
                <p:spPr>
                  <a:xfrm>
                    <a:off x="9265221" y="2389083"/>
                    <a:ext cx="295814" cy="221737"/>
                  </a:xfrm>
                  <a:custGeom>
                    <a:avLst/>
                    <a:gdLst>
                      <a:gd name="connsiteX0" fmla="*/ 209422 w 295814"/>
                      <a:gd name="connsiteY0" fmla="*/ 11026 h 221737"/>
                      <a:gd name="connsiteX1" fmla="*/ 68357 w 295814"/>
                      <a:gd name="connsiteY1" fmla="*/ 15598 h 221737"/>
                      <a:gd name="connsiteX2" fmla="*/ 6158 w 295814"/>
                      <a:gd name="connsiteY2" fmla="*/ 29790 h 221737"/>
                      <a:gd name="connsiteX3" fmla="*/ 63785 w 295814"/>
                      <a:gd name="connsiteY3" fmla="*/ 220290 h 221737"/>
                      <a:gd name="connsiteX4" fmla="*/ 268382 w 295814"/>
                      <a:gd name="connsiteY4" fmla="*/ 198573 h 221737"/>
                      <a:gd name="connsiteX5" fmla="*/ 295814 w 295814"/>
                      <a:gd name="connsiteY5" fmla="*/ 73034 h 221737"/>
                      <a:gd name="connsiteX6" fmla="*/ 209422 w 295814"/>
                      <a:gd name="connsiteY6" fmla="*/ 11026 h 2217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95814" h="221737">
                        <a:moveTo>
                          <a:pt x="209422" y="11026"/>
                        </a:moveTo>
                        <a:cubicBezTo>
                          <a:pt x="153224" y="-16216"/>
                          <a:pt x="68357" y="15598"/>
                          <a:pt x="68357" y="15598"/>
                        </a:cubicBezTo>
                        <a:lnTo>
                          <a:pt x="6158" y="29790"/>
                        </a:lnTo>
                        <a:cubicBezTo>
                          <a:pt x="-10986" y="83416"/>
                          <a:pt x="7492" y="164188"/>
                          <a:pt x="63785" y="220290"/>
                        </a:cubicBezTo>
                        <a:cubicBezTo>
                          <a:pt x="156559" y="228577"/>
                          <a:pt x="268382" y="198573"/>
                          <a:pt x="268382" y="198573"/>
                        </a:cubicBezTo>
                        <a:lnTo>
                          <a:pt x="295814" y="73034"/>
                        </a:lnTo>
                        <a:cubicBezTo>
                          <a:pt x="295814" y="73034"/>
                          <a:pt x="265620" y="38172"/>
                          <a:pt x="209422" y="1102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101" name="Freihandform: Form 100">
                  <a:extLst>
                    <a:ext uri="{FF2B5EF4-FFF2-40B4-BE49-F238E27FC236}">
                      <a16:creationId xmlns:a16="http://schemas.microsoft.com/office/drawing/2014/main" id="{57AC9EB3-1156-FFB5-E043-9B6B024936DE}"/>
                    </a:ext>
                  </a:extLst>
                </p:cNvPr>
                <p:cNvSpPr/>
                <p:nvPr/>
              </p:nvSpPr>
              <p:spPr>
                <a:xfrm>
                  <a:off x="9182798" y="12384659"/>
                  <a:ext cx="145732" cy="145732"/>
                </a:xfrm>
                <a:custGeom>
                  <a:avLst/>
                  <a:gdLst>
                    <a:gd name="connsiteX0" fmla="*/ 145732 w 145732"/>
                    <a:gd name="connsiteY0" fmla="*/ 72866 h 145732"/>
                    <a:gd name="connsiteX1" fmla="*/ 72866 w 145732"/>
                    <a:gd name="connsiteY1" fmla="*/ 145733 h 145732"/>
                    <a:gd name="connsiteX2" fmla="*/ -1 w 145732"/>
                    <a:gd name="connsiteY2" fmla="*/ 72866 h 145732"/>
                    <a:gd name="connsiteX3" fmla="*/ 72866 w 145732"/>
                    <a:gd name="connsiteY3" fmla="*/ 0 h 145732"/>
                    <a:gd name="connsiteX4" fmla="*/ 145732 w 145732"/>
                    <a:gd name="connsiteY4" fmla="*/ 72866 h 145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5732" h="145732">
                      <a:moveTo>
                        <a:pt x="145732" y="72866"/>
                      </a:moveTo>
                      <a:cubicBezTo>
                        <a:pt x="145732" y="113109"/>
                        <a:pt x="113109" y="145733"/>
                        <a:pt x="72866" y="145733"/>
                      </a:cubicBezTo>
                      <a:cubicBezTo>
                        <a:pt x="32623" y="145733"/>
                        <a:pt x="-1" y="113109"/>
                        <a:pt x="-1" y="72866"/>
                      </a:cubicBezTo>
                      <a:cubicBezTo>
                        <a:pt x="-1" y="32624"/>
                        <a:pt x="32623" y="0"/>
                        <a:pt x="72866" y="0"/>
                      </a:cubicBezTo>
                      <a:cubicBezTo>
                        <a:pt x="113109" y="0"/>
                        <a:pt x="145732" y="32624"/>
                        <a:pt x="145732" y="7286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2" name="Freihandform: Form 101">
                  <a:extLst>
                    <a:ext uri="{FF2B5EF4-FFF2-40B4-BE49-F238E27FC236}">
                      <a16:creationId xmlns:a16="http://schemas.microsoft.com/office/drawing/2014/main" id="{3AD9C50D-316B-F8FA-56C1-7311B1A68D9A}"/>
                    </a:ext>
                  </a:extLst>
                </p:cNvPr>
                <p:cNvSpPr/>
                <p:nvPr/>
              </p:nvSpPr>
              <p:spPr>
                <a:xfrm>
                  <a:off x="9365963" y="12404280"/>
                  <a:ext cx="145732" cy="145732"/>
                </a:xfrm>
                <a:custGeom>
                  <a:avLst/>
                  <a:gdLst>
                    <a:gd name="connsiteX0" fmla="*/ 145733 w 145732"/>
                    <a:gd name="connsiteY0" fmla="*/ 72866 h 145732"/>
                    <a:gd name="connsiteX1" fmla="*/ 72866 w 145732"/>
                    <a:gd name="connsiteY1" fmla="*/ 145733 h 145732"/>
                    <a:gd name="connsiteX2" fmla="*/ 0 w 145732"/>
                    <a:gd name="connsiteY2" fmla="*/ 72866 h 145732"/>
                    <a:gd name="connsiteX3" fmla="*/ 72866 w 145732"/>
                    <a:gd name="connsiteY3" fmla="*/ 0 h 145732"/>
                    <a:gd name="connsiteX4" fmla="*/ 145733 w 145732"/>
                    <a:gd name="connsiteY4" fmla="*/ 72866 h 145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5732" h="145732">
                      <a:moveTo>
                        <a:pt x="145733" y="72866"/>
                      </a:moveTo>
                      <a:cubicBezTo>
                        <a:pt x="145733" y="113109"/>
                        <a:pt x="113109" y="145733"/>
                        <a:pt x="72866" y="145733"/>
                      </a:cubicBezTo>
                      <a:cubicBezTo>
                        <a:pt x="32623" y="145733"/>
                        <a:pt x="0" y="113109"/>
                        <a:pt x="0" y="72866"/>
                      </a:cubicBezTo>
                      <a:cubicBezTo>
                        <a:pt x="0" y="32624"/>
                        <a:pt x="32623" y="0"/>
                        <a:pt x="72866" y="0"/>
                      </a:cubicBezTo>
                      <a:cubicBezTo>
                        <a:pt x="113109" y="0"/>
                        <a:pt x="145733" y="32624"/>
                        <a:pt x="145733" y="7286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3" name="Freihandform: Form 102">
                  <a:extLst>
                    <a:ext uri="{FF2B5EF4-FFF2-40B4-BE49-F238E27FC236}">
                      <a16:creationId xmlns:a16="http://schemas.microsoft.com/office/drawing/2014/main" id="{436A653F-9D78-B183-3B45-2421257B96F3}"/>
                    </a:ext>
                  </a:extLst>
                </p:cNvPr>
                <p:cNvSpPr/>
                <p:nvPr/>
              </p:nvSpPr>
              <p:spPr>
                <a:xfrm>
                  <a:off x="8938672" y="11260613"/>
                  <a:ext cx="389953" cy="1217787"/>
                </a:xfrm>
                <a:custGeom>
                  <a:avLst/>
                  <a:gdLst>
                    <a:gd name="connsiteX0" fmla="*/ 389954 w 389953"/>
                    <a:gd name="connsiteY0" fmla="*/ 1196054 h 1217787"/>
                    <a:gd name="connsiteX1" fmla="*/ 245079 w 389953"/>
                    <a:gd name="connsiteY1" fmla="*/ 1208532 h 1217787"/>
                    <a:gd name="connsiteX2" fmla="*/ 52388 w 389953"/>
                    <a:gd name="connsiteY2" fmla="*/ 579406 h 1217787"/>
                    <a:gd name="connsiteX3" fmla="*/ 0 w 389953"/>
                    <a:gd name="connsiteY3" fmla="*/ 44863 h 1217787"/>
                    <a:gd name="connsiteX4" fmla="*/ 306705 w 389953"/>
                    <a:gd name="connsiteY4" fmla="*/ 0 h 1217787"/>
                    <a:gd name="connsiteX5" fmla="*/ 316039 w 389953"/>
                    <a:gd name="connsiteY5" fmla="*/ 166878 h 1217787"/>
                    <a:gd name="connsiteX6" fmla="*/ 351091 w 389953"/>
                    <a:gd name="connsiteY6" fmla="*/ 480251 h 1217787"/>
                    <a:gd name="connsiteX7" fmla="*/ 361760 w 389953"/>
                    <a:gd name="connsiteY7" fmla="*/ 876681 h 1217787"/>
                    <a:gd name="connsiteX8" fmla="*/ 389858 w 389953"/>
                    <a:gd name="connsiteY8" fmla="*/ 1195959 h 12177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89953" h="1217787">
                      <a:moveTo>
                        <a:pt x="389954" y="1196054"/>
                      </a:moveTo>
                      <a:cubicBezTo>
                        <a:pt x="339471" y="1220438"/>
                        <a:pt x="293561" y="1223867"/>
                        <a:pt x="245079" y="1208532"/>
                      </a:cubicBezTo>
                      <a:cubicBezTo>
                        <a:pt x="209550" y="1038987"/>
                        <a:pt x="96964" y="734759"/>
                        <a:pt x="52388" y="579406"/>
                      </a:cubicBezTo>
                      <a:cubicBezTo>
                        <a:pt x="7715" y="423767"/>
                        <a:pt x="0" y="44863"/>
                        <a:pt x="0" y="44863"/>
                      </a:cubicBezTo>
                      <a:lnTo>
                        <a:pt x="306705" y="0"/>
                      </a:lnTo>
                      <a:lnTo>
                        <a:pt x="316039" y="166878"/>
                      </a:lnTo>
                      <a:cubicBezTo>
                        <a:pt x="316039" y="166878"/>
                        <a:pt x="347472" y="345662"/>
                        <a:pt x="351091" y="480251"/>
                      </a:cubicBezTo>
                      <a:cubicBezTo>
                        <a:pt x="354711" y="614839"/>
                        <a:pt x="361760" y="876681"/>
                        <a:pt x="361760" y="876681"/>
                      </a:cubicBezTo>
                      <a:lnTo>
                        <a:pt x="389858" y="1195959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4" name="Freihandform: Form 103">
                  <a:extLst>
                    <a:ext uri="{FF2B5EF4-FFF2-40B4-BE49-F238E27FC236}">
                      <a16:creationId xmlns:a16="http://schemas.microsoft.com/office/drawing/2014/main" id="{0C462DC0-A90F-D1D7-FF1F-70D1F31AE434}"/>
                    </a:ext>
                  </a:extLst>
                </p:cNvPr>
                <p:cNvSpPr/>
                <p:nvPr/>
              </p:nvSpPr>
              <p:spPr>
                <a:xfrm>
                  <a:off x="8936291" y="11117929"/>
                  <a:ext cx="309943" cy="318515"/>
                </a:xfrm>
                <a:custGeom>
                  <a:avLst/>
                  <a:gdLst>
                    <a:gd name="connsiteX0" fmla="*/ 309944 w 309943"/>
                    <a:gd name="connsiteY0" fmla="*/ 159258 h 318515"/>
                    <a:gd name="connsiteX1" fmla="*/ 154972 w 309943"/>
                    <a:gd name="connsiteY1" fmla="*/ 318516 h 318515"/>
                    <a:gd name="connsiteX2" fmla="*/ 0 w 309943"/>
                    <a:gd name="connsiteY2" fmla="*/ 159258 h 318515"/>
                    <a:gd name="connsiteX3" fmla="*/ 154972 w 309943"/>
                    <a:gd name="connsiteY3" fmla="*/ 0 h 318515"/>
                    <a:gd name="connsiteX4" fmla="*/ 309944 w 309943"/>
                    <a:gd name="connsiteY4" fmla="*/ 159258 h 3185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9943" h="318515">
                      <a:moveTo>
                        <a:pt x="309944" y="159258"/>
                      </a:moveTo>
                      <a:cubicBezTo>
                        <a:pt x="309944" y="247214"/>
                        <a:pt x="240561" y="318516"/>
                        <a:pt x="154972" y="318516"/>
                      </a:cubicBezTo>
                      <a:cubicBezTo>
                        <a:pt x="69383" y="318516"/>
                        <a:pt x="0" y="247214"/>
                        <a:pt x="0" y="159258"/>
                      </a:cubicBezTo>
                      <a:cubicBezTo>
                        <a:pt x="0" y="71302"/>
                        <a:pt x="69383" y="0"/>
                        <a:pt x="154972" y="0"/>
                      </a:cubicBezTo>
                      <a:cubicBezTo>
                        <a:pt x="240560" y="0"/>
                        <a:pt x="309944" y="71302"/>
                        <a:pt x="309944" y="15925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5" name="Freihandform: Form 104">
                  <a:extLst>
                    <a:ext uri="{FF2B5EF4-FFF2-40B4-BE49-F238E27FC236}">
                      <a16:creationId xmlns:a16="http://schemas.microsoft.com/office/drawing/2014/main" id="{CB981138-363A-8E93-E99A-DCFBAFA23880}"/>
                    </a:ext>
                  </a:extLst>
                </p:cNvPr>
                <p:cNvSpPr/>
                <p:nvPr/>
              </p:nvSpPr>
              <p:spPr>
                <a:xfrm>
                  <a:off x="9325196" y="11123358"/>
                  <a:ext cx="311086" cy="311086"/>
                </a:xfrm>
                <a:custGeom>
                  <a:avLst/>
                  <a:gdLst>
                    <a:gd name="connsiteX0" fmla="*/ 311086 w 311086"/>
                    <a:gd name="connsiteY0" fmla="*/ 155543 h 311086"/>
                    <a:gd name="connsiteX1" fmla="*/ 155543 w 311086"/>
                    <a:gd name="connsiteY1" fmla="*/ 311086 h 311086"/>
                    <a:gd name="connsiteX2" fmla="*/ -1 w 311086"/>
                    <a:gd name="connsiteY2" fmla="*/ 155543 h 311086"/>
                    <a:gd name="connsiteX3" fmla="*/ 155543 w 311086"/>
                    <a:gd name="connsiteY3" fmla="*/ 0 h 311086"/>
                    <a:gd name="connsiteX4" fmla="*/ 311086 w 311086"/>
                    <a:gd name="connsiteY4" fmla="*/ 155543 h 3110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1086" h="311086">
                      <a:moveTo>
                        <a:pt x="311086" y="155543"/>
                      </a:moveTo>
                      <a:cubicBezTo>
                        <a:pt x="311086" y="241447"/>
                        <a:pt x="241447" y="311086"/>
                        <a:pt x="155543" y="311086"/>
                      </a:cubicBezTo>
                      <a:cubicBezTo>
                        <a:pt x="69639" y="311086"/>
                        <a:pt x="-1" y="241447"/>
                        <a:pt x="-1" y="155543"/>
                      </a:cubicBezTo>
                      <a:cubicBezTo>
                        <a:pt x="-1" y="69639"/>
                        <a:pt x="69639" y="0"/>
                        <a:pt x="155543" y="0"/>
                      </a:cubicBezTo>
                      <a:cubicBezTo>
                        <a:pt x="241447" y="0"/>
                        <a:pt x="311086" y="69639"/>
                        <a:pt x="311086" y="155543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6" name="Freihandform: Form 105">
                  <a:extLst>
                    <a:ext uri="{FF2B5EF4-FFF2-40B4-BE49-F238E27FC236}">
                      <a16:creationId xmlns:a16="http://schemas.microsoft.com/office/drawing/2014/main" id="{67784386-5860-8DA6-CD95-3BDBEC48E4E5}"/>
                    </a:ext>
                  </a:extLst>
                </p:cNvPr>
                <p:cNvSpPr/>
                <p:nvPr/>
              </p:nvSpPr>
              <p:spPr>
                <a:xfrm>
                  <a:off x="9111551" y="12452191"/>
                  <a:ext cx="251269" cy="207930"/>
                </a:xfrm>
                <a:custGeom>
                  <a:avLst/>
                  <a:gdLst>
                    <a:gd name="connsiteX0" fmla="*/ 72294 w 251269"/>
                    <a:gd name="connsiteY0" fmla="*/ 0 h 207930"/>
                    <a:gd name="connsiteX1" fmla="*/ 0 w 251269"/>
                    <a:gd name="connsiteY1" fmla="*/ 201549 h 207930"/>
                    <a:gd name="connsiteX2" fmla="*/ 251270 w 251269"/>
                    <a:gd name="connsiteY2" fmla="*/ 207930 h 207930"/>
                    <a:gd name="connsiteX3" fmla="*/ 216789 w 251269"/>
                    <a:gd name="connsiteY3" fmla="*/ 3334 h 207930"/>
                    <a:gd name="connsiteX4" fmla="*/ 72294 w 251269"/>
                    <a:gd name="connsiteY4" fmla="*/ 95 h 2079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1269" h="207930">
                      <a:moveTo>
                        <a:pt x="72294" y="0"/>
                      </a:moveTo>
                      <a:cubicBezTo>
                        <a:pt x="56579" y="148399"/>
                        <a:pt x="952" y="162496"/>
                        <a:pt x="0" y="201549"/>
                      </a:cubicBezTo>
                      <a:lnTo>
                        <a:pt x="251270" y="207930"/>
                      </a:lnTo>
                      <a:cubicBezTo>
                        <a:pt x="246126" y="145922"/>
                        <a:pt x="216789" y="118300"/>
                        <a:pt x="216789" y="3334"/>
                      </a:cubicBezTo>
                      <a:lnTo>
                        <a:pt x="72294" y="95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7" name="Freihandform: Form 106">
                  <a:extLst>
                    <a:ext uri="{FF2B5EF4-FFF2-40B4-BE49-F238E27FC236}">
                      <a16:creationId xmlns:a16="http://schemas.microsoft.com/office/drawing/2014/main" id="{3BA7FD74-2780-2D5D-2598-B627BFFE1A5B}"/>
                    </a:ext>
                  </a:extLst>
                </p:cNvPr>
                <p:cNvSpPr/>
                <p:nvPr/>
              </p:nvSpPr>
              <p:spPr>
                <a:xfrm>
                  <a:off x="9040208" y="12666313"/>
                  <a:ext cx="343280" cy="94544"/>
                </a:xfrm>
                <a:custGeom>
                  <a:avLst/>
                  <a:gdLst>
                    <a:gd name="connsiteX0" fmla="*/ 322326 w 343280"/>
                    <a:gd name="connsiteY0" fmla="*/ 89821 h 94544"/>
                    <a:gd name="connsiteX1" fmla="*/ 21145 w 343280"/>
                    <a:gd name="connsiteY1" fmla="*/ 89630 h 94544"/>
                    <a:gd name="connsiteX2" fmla="*/ 0 w 343280"/>
                    <a:gd name="connsiteY2" fmla="*/ 60960 h 94544"/>
                    <a:gd name="connsiteX3" fmla="*/ 0 w 343280"/>
                    <a:gd name="connsiteY3" fmla="*/ 0 h 94544"/>
                    <a:gd name="connsiteX4" fmla="*/ 343281 w 343280"/>
                    <a:gd name="connsiteY4" fmla="*/ 0 h 94544"/>
                    <a:gd name="connsiteX5" fmla="*/ 343281 w 343280"/>
                    <a:gd name="connsiteY5" fmla="*/ 61150 h 94544"/>
                    <a:gd name="connsiteX6" fmla="*/ 322326 w 343280"/>
                    <a:gd name="connsiteY6" fmla="*/ 89821 h 945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43280" h="94544">
                      <a:moveTo>
                        <a:pt x="322326" y="89821"/>
                      </a:moveTo>
                      <a:cubicBezTo>
                        <a:pt x="218218" y="97822"/>
                        <a:pt x="135160" y="94202"/>
                        <a:pt x="21145" y="89630"/>
                      </a:cubicBezTo>
                      <a:cubicBezTo>
                        <a:pt x="8954" y="89154"/>
                        <a:pt x="0" y="75533"/>
                        <a:pt x="0" y="60960"/>
                      </a:cubicBezTo>
                      <a:lnTo>
                        <a:pt x="0" y="0"/>
                      </a:lnTo>
                      <a:cubicBezTo>
                        <a:pt x="0" y="0"/>
                        <a:pt x="343281" y="0"/>
                        <a:pt x="343281" y="0"/>
                      </a:cubicBezTo>
                      <a:lnTo>
                        <a:pt x="343281" y="61150"/>
                      </a:lnTo>
                      <a:cubicBezTo>
                        <a:pt x="343281" y="75629"/>
                        <a:pt x="334423" y="88868"/>
                        <a:pt x="322326" y="89821"/>
                      </a:cubicBezTo>
                      <a:close/>
                    </a:path>
                  </a:pathLst>
                </a:custGeom>
                <a:solidFill>
                  <a:srgbClr val="40404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8" name="Freihandform: Form 107">
                  <a:extLst>
                    <a:ext uri="{FF2B5EF4-FFF2-40B4-BE49-F238E27FC236}">
                      <a16:creationId xmlns:a16="http://schemas.microsoft.com/office/drawing/2014/main" id="{D264128F-5940-F850-8AC1-DACC4353B774}"/>
                    </a:ext>
                  </a:extLst>
                </p:cNvPr>
                <p:cNvSpPr/>
                <p:nvPr/>
              </p:nvSpPr>
              <p:spPr>
                <a:xfrm>
                  <a:off x="9040208" y="12513150"/>
                  <a:ext cx="343280" cy="181734"/>
                </a:xfrm>
                <a:custGeom>
                  <a:avLst/>
                  <a:gdLst>
                    <a:gd name="connsiteX0" fmla="*/ 343281 w 343280"/>
                    <a:gd name="connsiteY0" fmla="*/ 153163 h 181734"/>
                    <a:gd name="connsiteX1" fmla="*/ 294227 w 343280"/>
                    <a:gd name="connsiteY1" fmla="*/ 23147 h 181734"/>
                    <a:gd name="connsiteX2" fmla="*/ 279273 w 343280"/>
                    <a:gd name="connsiteY2" fmla="*/ 64199 h 181734"/>
                    <a:gd name="connsiteX3" fmla="*/ 98964 w 343280"/>
                    <a:gd name="connsiteY3" fmla="*/ 59628 h 181734"/>
                    <a:gd name="connsiteX4" fmla="*/ 0 w 343280"/>
                    <a:gd name="connsiteY4" fmla="*/ 153163 h 181734"/>
                    <a:gd name="connsiteX5" fmla="*/ 343281 w 343280"/>
                    <a:gd name="connsiteY5" fmla="*/ 153163 h 181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3280" h="181734">
                      <a:moveTo>
                        <a:pt x="343281" y="153163"/>
                      </a:moveTo>
                      <a:cubicBezTo>
                        <a:pt x="303847" y="73344"/>
                        <a:pt x="306133" y="10193"/>
                        <a:pt x="294227" y="23147"/>
                      </a:cubicBezTo>
                      <a:cubicBezTo>
                        <a:pt x="301276" y="53055"/>
                        <a:pt x="295656" y="65914"/>
                        <a:pt x="279273" y="64199"/>
                      </a:cubicBezTo>
                      <a:cubicBezTo>
                        <a:pt x="279273" y="64199"/>
                        <a:pt x="167544" y="-77151"/>
                        <a:pt x="98964" y="59628"/>
                      </a:cubicBezTo>
                      <a:cubicBezTo>
                        <a:pt x="57340" y="142591"/>
                        <a:pt x="4096" y="120397"/>
                        <a:pt x="0" y="153163"/>
                      </a:cubicBezTo>
                      <a:cubicBezTo>
                        <a:pt x="16478" y="185738"/>
                        <a:pt x="323945" y="196406"/>
                        <a:pt x="343281" y="15316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9" name="Freihandform: Form 108">
                  <a:extLst>
                    <a:ext uri="{FF2B5EF4-FFF2-40B4-BE49-F238E27FC236}">
                      <a16:creationId xmlns:a16="http://schemas.microsoft.com/office/drawing/2014/main" id="{D25415B4-44B1-2D2E-19AA-8A2D2C2B7717}"/>
                    </a:ext>
                  </a:extLst>
                </p:cNvPr>
                <p:cNvSpPr/>
                <p:nvPr/>
              </p:nvSpPr>
              <p:spPr>
                <a:xfrm>
                  <a:off x="9324879" y="11256327"/>
                  <a:ext cx="326797" cy="1236394"/>
                </a:xfrm>
                <a:custGeom>
                  <a:avLst/>
                  <a:gdLst>
                    <a:gd name="connsiteX0" fmla="*/ 41084 w 326797"/>
                    <a:gd name="connsiteY0" fmla="*/ 1218819 h 1236394"/>
                    <a:gd name="connsiteX1" fmla="*/ 186626 w 326797"/>
                    <a:gd name="connsiteY1" fmla="*/ 1215199 h 1236394"/>
                    <a:gd name="connsiteX2" fmla="*/ 315405 w 326797"/>
                    <a:gd name="connsiteY2" fmla="*/ 571024 h 1236394"/>
                    <a:gd name="connsiteX3" fmla="*/ 309594 w 326797"/>
                    <a:gd name="connsiteY3" fmla="*/ 0 h 1236394"/>
                    <a:gd name="connsiteX4" fmla="*/ 222 w 326797"/>
                    <a:gd name="connsiteY4" fmla="*/ 286 h 1236394"/>
                    <a:gd name="connsiteX5" fmla="*/ 8033 w 326797"/>
                    <a:gd name="connsiteY5" fmla="*/ 502825 h 1236394"/>
                    <a:gd name="connsiteX6" fmla="*/ 37655 w 326797"/>
                    <a:gd name="connsiteY6" fmla="*/ 898302 h 1236394"/>
                    <a:gd name="connsiteX7" fmla="*/ 40989 w 326797"/>
                    <a:gd name="connsiteY7" fmla="*/ 1218819 h 12363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797" h="1236394">
                      <a:moveTo>
                        <a:pt x="41084" y="1218819"/>
                      </a:moveTo>
                      <a:cubicBezTo>
                        <a:pt x="93853" y="1243870"/>
                        <a:pt x="140049" y="1241679"/>
                        <a:pt x="186626" y="1215199"/>
                      </a:cubicBezTo>
                      <a:cubicBezTo>
                        <a:pt x="204724" y="1042892"/>
                        <a:pt x="286830" y="730091"/>
                        <a:pt x="315405" y="571024"/>
                      </a:cubicBezTo>
                      <a:cubicBezTo>
                        <a:pt x="344075" y="411575"/>
                        <a:pt x="309594" y="0"/>
                        <a:pt x="309594" y="0"/>
                      </a:cubicBezTo>
                      <a:lnTo>
                        <a:pt x="222" y="286"/>
                      </a:lnTo>
                      <a:cubicBezTo>
                        <a:pt x="222" y="286"/>
                        <a:pt x="-2064" y="368617"/>
                        <a:pt x="8033" y="502825"/>
                      </a:cubicBezTo>
                      <a:cubicBezTo>
                        <a:pt x="18129" y="637032"/>
                        <a:pt x="37655" y="898302"/>
                        <a:pt x="37655" y="898302"/>
                      </a:cubicBezTo>
                      <a:lnTo>
                        <a:pt x="40989" y="1218819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0" name="Freihandform: Form 109">
                  <a:extLst>
                    <a:ext uri="{FF2B5EF4-FFF2-40B4-BE49-F238E27FC236}">
                      <a16:creationId xmlns:a16="http://schemas.microsoft.com/office/drawing/2014/main" id="{6DCAA3CF-7503-B61C-B00A-D85FD87B1553}"/>
                    </a:ext>
                  </a:extLst>
                </p:cNvPr>
                <p:cNvSpPr/>
                <p:nvPr/>
              </p:nvSpPr>
              <p:spPr>
                <a:xfrm>
                  <a:off x="9333007" y="12471526"/>
                  <a:ext cx="284035" cy="215074"/>
                </a:xfrm>
                <a:custGeom>
                  <a:avLst/>
                  <a:gdLst>
                    <a:gd name="connsiteX0" fmla="*/ 178498 w 284035"/>
                    <a:gd name="connsiteY0" fmla="*/ 0 h 215074"/>
                    <a:gd name="connsiteX1" fmla="*/ 284036 w 284035"/>
                    <a:gd name="connsiteY1" fmla="*/ 215075 h 215074"/>
                    <a:gd name="connsiteX2" fmla="*/ 0 w 284035"/>
                    <a:gd name="connsiteY2" fmla="*/ 215075 h 215074"/>
                    <a:gd name="connsiteX3" fmla="*/ 32956 w 284035"/>
                    <a:gd name="connsiteY3" fmla="*/ 4477 h 215074"/>
                    <a:gd name="connsiteX4" fmla="*/ 178594 w 284035"/>
                    <a:gd name="connsiteY4" fmla="*/ 0 h 2150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84035" h="215074">
                      <a:moveTo>
                        <a:pt x="178498" y="0"/>
                      </a:moveTo>
                      <a:cubicBezTo>
                        <a:pt x="199549" y="148685"/>
                        <a:pt x="284036" y="176022"/>
                        <a:pt x="284036" y="215075"/>
                      </a:cubicBezTo>
                      <a:lnTo>
                        <a:pt x="0" y="215075"/>
                      </a:lnTo>
                      <a:cubicBezTo>
                        <a:pt x="0" y="139637"/>
                        <a:pt x="37529" y="86963"/>
                        <a:pt x="32956" y="4477"/>
                      </a:cubicBezTo>
                      <a:lnTo>
                        <a:pt x="178594" y="0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1" name="Freihandform: Form 110">
                  <a:extLst>
                    <a:ext uri="{FF2B5EF4-FFF2-40B4-BE49-F238E27FC236}">
                      <a16:creationId xmlns:a16="http://schemas.microsoft.com/office/drawing/2014/main" id="{FE448C79-73AA-1232-7820-85B64D051923}"/>
                    </a:ext>
                  </a:extLst>
                </p:cNvPr>
                <p:cNvSpPr/>
                <p:nvPr/>
              </p:nvSpPr>
              <p:spPr>
                <a:xfrm>
                  <a:off x="9312909" y="12667932"/>
                  <a:ext cx="343280" cy="92916"/>
                </a:xfrm>
                <a:custGeom>
                  <a:avLst/>
                  <a:gdLst>
                    <a:gd name="connsiteX0" fmla="*/ 20955 w 343280"/>
                    <a:gd name="connsiteY0" fmla="*/ 89821 h 92916"/>
                    <a:gd name="connsiteX1" fmla="*/ 322135 w 343280"/>
                    <a:gd name="connsiteY1" fmla="*/ 89631 h 92916"/>
                    <a:gd name="connsiteX2" fmla="*/ 343281 w 343280"/>
                    <a:gd name="connsiteY2" fmla="*/ 60960 h 92916"/>
                    <a:gd name="connsiteX3" fmla="*/ 343281 w 343280"/>
                    <a:gd name="connsiteY3" fmla="*/ 0 h 92916"/>
                    <a:gd name="connsiteX4" fmla="*/ 0 w 343280"/>
                    <a:gd name="connsiteY4" fmla="*/ 0 h 92916"/>
                    <a:gd name="connsiteX5" fmla="*/ 0 w 343280"/>
                    <a:gd name="connsiteY5" fmla="*/ 61150 h 92916"/>
                    <a:gd name="connsiteX6" fmla="*/ 20955 w 343280"/>
                    <a:gd name="connsiteY6" fmla="*/ 89821 h 929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43280" h="92916">
                      <a:moveTo>
                        <a:pt x="20955" y="89821"/>
                      </a:moveTo>
                      <a:cubicBezTo>
                        <a:pt x="138969" y="93345"/>
                        <a:pt x="221932" y="94583"/>
                        <a:pt x="322135" y="89631"/>
                      </a:cubicBezTo>
                      <a:cubicBezTo>
                        <a:pt x="334327" y="89059"/>
                        <a:pt x="343281" y="75533"/>
                        <a:pt x="343281" y="60960"/>
                      </a:cubicBezTo>
                      <a:lnTo>
                        <a:pt x="343281" y="0"/>
                      </a:lnTo>
                      <a:cubicBezTo>
                        <a:pt x="343281" y="0"/>
                        <a:pt x="0" y="0"/>
                        <a:pt x="0" y="0"/>
                      </a:cubicBezTo>
                      <a:lnTo>
                        <a:pt x="0" y="61150"/>
                      </a:lnTo>
                      <a:cubicBezTo>
                        <a:pt x="0" y="75629"/>
                        <a:pt x="8858" y="89440"/>
                        <a:pt x="20955" y="89821"/>
                      </a:cubicBezTo>
                      <a:close/>
                    </a:path>
                  </a:pathLst>
                </a:custGeom>
                <a:solidFill>
                  <a:srgbClr val="40404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2" name="Freihandform: Form 111">
                  <a:extLst>
                    <a:ext uri="{FF2B5EF4-FFF2-40B4-BE49-F238E27FC236}">
                      <a16:creationId xmlns:a16="http://schemas.microsoft.com/office/drawing/2014/main" id="{0913BEBA-E87C-B51B-FB4A-1DD4CE5CFAAC}"/>
                    </a:ext>
                  </a:extLst>
                </p:cNvPr>
                <p:cNvSpPr/>
                <p:nvPr/>
              </p:nvSpPr>
              <p:spPr>
                <a:xfrm>
                  <a:off x="9312909" y="12514864"/>
                  <a:ext cx="343280" cy="181734"/>
                </a:xfrm>
                <a:custGeom>
                  <a:avLst/>
                  <a:gdLst>
                    <a:gd name="connsiteX0" fmla="*/ 0 w 343280"/>
                    <a:gd name="connsiteY0" fmla="*/ 153163 h 181734"/>
                    <a:gd name="connsiteX1" fmla="*/ 49053 w 343280"/>
                    <a:gd name="connsiteY1" fmla="*/ 23147 h 181734"/>
                    <a:gd name="connsiteX2" fmla="*/ 64008 w 343280"/>
                    <a:gd name="connsiteY2" fmla="*/ 64199 h 181734"/>
                    <a:gd name="connsiteX3" fmla="*/ 244316 w 343280"/>
                    <a:gd name="connsiteY3" fmla="*/ 59628 h 181734"/>
                    <a:gd name="connsiteX4" fmla="*/ 343281 w 343280"/>
                    <a:gd name="connsiteY4" fmla="*/ 153163 h 181734"/>
                    <a:gd name="connsiteX5" fmla="*/ 0 w 343280"/>
                    <a:gd name="connsiteY5" fmla="*/ 153163 h 181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3280" h="181734">
                      <a:moveTo>
                        <a:pt x="0" y="153163"/>
                      </a:moveTo>
                      <a:cubicBezTo>
                        <a:pt x="39433" y="73344"/>
                        <a:pt x="37147" y="10193"/>
                        <a:pt x="49053" y="23147"/>
                      </a:cubicBezTo>
                      <a:cubicBezTo>
                        <a:pt x="42005" y="53055"/>
                        <a:pt x="47625" y="65914"/>
                        <a:pt x="64008" y="64199"/>
                      </a:cubicBezTo>
                      <a:cubicBezTo>
                        <a:pt x="64008" y="64199"/>
                        <a:pt x="175736" y="-77151"/>
                        <a:pt x="244316" y="59628"/>
                      </a:cubicBezTo>
                      <a:cubicBezTo>
                        <a:pt x="285940" y="142591"/>
                        <a:pt x="339185" y="120397"/>
                        <a:pt x="343281" y="153163"/>
                      </a:cubicBezTo>
                      <a:cubicBezTo>
                        <a:pt x="326803" y="185738"/>
                        <a:pt x="19335" y="196406"/>
                        <a:pt x="0" y="15316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3" name="Freihandform: Form 112">
                  <a:extLst>
                    <a:ext uri="{FF2B5EF4-FFF2-40B4-BE49-F238E27FC236}">
                      <a16:creationId xmlns:a16="http://schemas.microsoft.com/office/drawing/2014/main" id="{3B371553-8310-7B69-F6E3-6D79EA97EB06}"/>
                    </a:ext>
                  </a:extLst>
                </p:cNvPr>
                <p:cNvSpPr/>
                <p:nvPr/>
              </p:nvSpPr>
              <p:spPr>
                <a:xfrm>
                  <a:off x="8692641" y="9292748"/>
                  <a:ext cx="1197659" cy="1963864"/>
                </a:xfrm>
                <a:custGeom>
                  <a:avLst/>
                  <a:gdLst>
                    <a:gd name="connsiteX0" fmla="*/ 1130998 w 1197659"/>
                    <a:gd name="connsiteY0" fmla="*/ 302133 h 1963864"/>
                    <a:gd name="connsiteX1" fmla="*/ 919353 w 1197659"/>
                    <a:gd name="connsiteY1" fmla="*/ 1429 h 1963864"/>
                    <a:gd name="connsiteX2" fmla="*/ 598075 w 1197659"/>
                    <a:gd name="connsiteY2" fmla="*/ 0 h 1963864"/>
                    <a:gd name="connsiteX3" fmla="*/ 598075 w 1197659"/>
                    <a:gd name="connsiteY3" fmla="*/ 0 h 1963864"/>
                    <a:gd name="connsiteX4" fmla="*/ 594646 w 1197659"/>
                    <a:gd name="connsiteY4" fmla="*/ 0 h 1963864"/>
                    <a:gd name="connsiteX5" fmla="*/ 591216 w 1197659"/>
                    <a:gd name="connsiteY5" fmla="*/ 0 h 1963864"/>
                    <a:gd name="connsiteX6" fmla="*/ 591216 w 1197659"/>
                    <a:gd name="connsiteY6" fmla="*/ 0 h 1963864"/>
                    <a:gd name="connsiteX7" fmla="*/ 269938 w 1197659"/>
                    <a:gd name="connsiteY7" fmla="*/ 1429 h 1963864"/>
                    <a:gd name="connsiteX8" fmla="*/ 65531 w 1197659"/>
                    <a:gd name="connsiteY8" fmla="*/ 316421 h 1963864"/>
                    <a:gd name="connsiteX9" fmla="*/ 0 w 1197659"/>
                    <a:gd name="connsiteY9" fmla="*/ 635127 h 1963864"/>
                    <a:gd name="connsiteX10" fmla="*/ 24384 w 1197659"/>
                    <a:gd name="connsiteY10" fmla="*/ 1062895 h 1963864"/>
                    <a:gd name="connsiteX11" fmla="*/ 117634 w 1197659"/>
                    <a:gd name="connsiteY11" fmla="*/ 1567434 h 1963864"/>
                    <a:gd name="connsiteX12" fmla="*/ 209264 w 1197659"/>
                    <a:gd name="connsiteY12" fmla="*/ 1963865 h 1963864"/>
                    <a:gd name="connsiteX13" fmla="*/ 978217 w 1197659"/>
                    <a:gd name="connsiteY13" fmla="*/ 1963865 h 1963864"/>
                    <a:gd name="connsiteX14" fmla="*/ 1069848 w 1197659"/>
                    <a:gd name="connsiteY14" fmla="*/ 1567434 h 1963864"/>
                    <a:gd name="connsiteX15" fmla="*/ 1163098 w 1197659"/>
                    <a:gd name="connsiteY15" fmla="*/ 1062895 h 1963864"/>
                    <a:gd name="connsiteX16" fmla="*/ 1131189 w 1197659"/>
                    <a:gd name="connsiteY16" fmla="*/ 302133 h 1963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197659" h="1963864">
                      <a:moveTo>
                        <a:pt x="1130998" y="302133"/>
                      </a:moveTo>
                      <a:cubicBezTo>
                        <a:pt x="1066895" y="164021"/>
                        <a:pt x="919353" y="1429"/>
                        <a:pt x="919353" y="1429"/>
                      </a:cubicBezTo>
                      <a:lnTo>
                        <a:pt x="598075" y="0"/>
                      </a:lnTo>
                      <a:lnTo>
                        <a:pt x="598075" y="0"/>
                      </a:lnTo>
                      <a:cubicBezTo>
                        <a:pt x="598075" y="0"/>
                        <a:pt x="594646" y="0"/>
                        <a:pt x="594646" y="0"/>
                      </a:cubicBezTo>
                      <a:lnTo>
                        <a:pt x="591216" y="0"/>
                      </a:lnTo>
                      <a:cubicBezTo>
                        <a:pt x="591216" y="0"/>
                        <a:pt x="591216" y="0"/>
                        <a:pt x="591216" y="0"/>
                      </a:cubicBezTo>
                      <a:lnTo>
                        <a:pt x="269938" y="1429"/>
                      </a:lnTo>
                      <a:cubicBezTo>
                        <a:pt x="269938" y="1429"/>
                        <a:pt x="120205" y="174308"/>
                        <a:pt x="65531" y="316421"/>
                      </a:cubicBezTo>
                      <a:cubicBezTo>
                        <a:pt x="10953" y="458534"/>
                        <a:pt x="0" y="635127"/>
                        <a:pt x="0" y="635127"/>
                      </a:cubicBezTo>
                      <a:cubicBezTo>
                        <a:pt x="0" y="635127"/>
                        <a:pt x="6477" y="908114"/>
                        <a:pt x="24384" y="1062895"/>
                      </a:cubicBezTo>
                      <a:cubicBezTo>
                        <a:pt x="42196" y="1217676"/>
                        <a:pt x="82677" y="1449991"/>
                        <a:pt x="117634" y="1567434"/>
                      </a:cubicBezTo>
                      <a:cubicBezTo>
                        <a:pt x="152590" y="1684877"/>
                        <a:pt x="209264" y="1963865"/>
                        <a:pt x="209264" y="1963865"/>
                      </a:cubicBezTo>
                      <a:lnTo>
                        <a:pt x="978217" y="1963865"/>
                      </a:lnTo>
                      <a:cubicBezTo>
                        <a:pt x="978217" y="1963865"/>
                        <a:pt x="1034891" y="1684973"/>
                        <a:pt x="1069848" y="1567434"/>
                      </a:cubicBezTo>
                      <a:cubicBezTo>
                        <a:pt x="1104805" y="1449991"/>
                        <a:pt x="1134999" y="1216152"/>
                        <a:pt x="1163098" y="1062895"/>
                      </a:cubicBezTo>
                      <a:cubicBezTo>
                        <a:pt x="1214818" y="780859"/>
                        <a:pt x="1211866" y="476059"/>
                        <a:pt x="1131189" y="302133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4" name="Freihandform: Form 113">
                  <a:extLst>
                    <a:ext uri="{FF2B5EF4-FFF2-40B4-BE49-F238E27FC236}">
                      <a16:creationId xmlns:a16="http://schemas.microsoft.com/office/drawing/2014/main" id="{41432A89-9C29-E1F4-FD65-758A037FCCA5}"/>
                    </a:ext>
                  </a:extLst>
                </p:cNvPr>
                <p:cNvSpPr/>
                <p:nvPr/>
              </p:nvSpPr>
              <p:spPr>
                <a:xfrm>
                  <a:off x="8910483" y="7388618"/>
                  <a:ext cx="817969" cy="1046717"/>
                </a:xfrm>
                <a:custGeom>
                  <a:avLst/>
                  <a:gdLst>
                    <a:gd name="connsiteX0" fmla="*/ 720465 w 817969"/>
                    <a:gd name="connsiteY0" fmla="*/ 892765 h 1046717"/>
                    <a:gd name="connsiteX1" fmla="*/ 679603 w 817969"/>
                    <a:gd name="connsiteY1" fmla="*/ 349364 h 1046717"/>
                    <a:gd name="connsiteX2" fmla="*/ 351467 w 817969"/>
                    <a:gd name="connsiteY2" fmla="*/ 1321 h 1046717"/>
                    <a:gd name="connsiteX3" fmla="*/ 212974 w 817969"/>
                    <a:gd name="connsiteY3" fmla="*/ 66472 h 1046717"/>
                    <a:gd name="connsiteX4" fmla="*/ 25522 w 817969"/>
                    <a:gd name="connsiteY4" fmla="*/ 310312 h 1046717"/>
                    <a:gd name="connsiteX5" fmla="*/ 68956 w 817969"/>
                    <a:gd name="connsiteY5" fmla="*/ 866857 h 1046717"/>
                    <a:gd name="connsiteX6" fmla="*/ 720465 w 817969"/>
                    <a:gd name="connsiteY6" fmla="*/ 892765 h 1046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7969" h="1046717">
                      <a:moveTo>
                        <a:pt x="720465" y="892765"/>
                      </a:moveTo>
                      <a:cubicBezTo>
                        <a:pt x="720465" y="892765"/>
                        <a:pt x="964972" y="672262"/>
                        <a:pt x="679603" y="349364"/>
                      </a:cubicBezTo>
                      <a:cubicBezTo>
                        <a:pt x="593307" y="251733"/>
                        <a:pt x="546444" y="-21254"/>
                        <a:pt x="351467" y="1321"/>
                      </a:cubicBezTo>
                      <a:cubicBezTo>
                        <a:pt x="299555" y="8560"/>
                        <a:pt x="250502" y="23038"/>
                        <a:pt x="212974" y="66472"/>
                      </a:cubicBezTo>
                      <a:cubicBezTo>
                        <a:pt x="212974" y="66472"/>
                        <a:pt x="81243" y="74568"/>
                        <a:pt x="25522" y="310312"/>
                      </a:cubicBezTo>
                      <a:cubicBezTo>
                        <a:pt x="-22008" y="511480"/>
                        <a:pt x="-672" y="769036"/>
                        <a:pt x="68956" y="866857"/>
                      </a:cubicBezTo>
                      <a:cubicBezTo>
                        <a:pt x="228975" y="1099363"/>
                        <a:pt x="446907" y="1104792"/>
                        <a:pt x="720465" y="89276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5" name="Freihandform: Form 114">
                  <a:extLst>
                    <a:ext uri="{FF2B5EF4-FFF2-40B4-BE49-F238E27FC236}">
                      <a16:creationId xmlns:a16="http://schemas.microsoft.com/office/drawing/2014/main" id="{D21DEB1A-B612-686E-3459-80BBDCF48640}"/>
                    </a:ext>
                  </a:extLst>
                </p:cNvPr>
                <p:cNvSpPr/>
                <p:nvPr/>
              </p:nvSpPr>
              <p:spPr>
                <a:xfrm>
                  <a:off x="9143174" y="7890573"/>
                  <a:ext cx="298227" cy="463654"/>
                </a:xfrm>
                <a:custGeom>
                  <a:avLst/>
                  <a:gdLst>
                    <a:gd name="connsiteX0" fmla="*/ 0 w 298227"/>
                    <a:gd name="connsiteY0" fmla="*/ 385001 h 463654"/>
                    <a:gd name="connsiteX1" fmla="*/ 298228 w 298227"/>
                    <a:gd name="connsiteY1" fmla="*/ 385001 h 463654"/>
                    <a:gd name="connsiteX2" fmla="*/ 298228 w 298227"/>
                    <a:gd name="connsiteY2" fmla="*/ 0 h 463654"/>
                    <a:gd name="connsiteX3" fmla="*/ 0 w 298227"/>
                    <a:gd name="connsiteY3" fmla="*/ 0 h 463654"/>
                    <a:gd name="connsiteX4" fmla="*/ 0 w 298227"/>
                    <a:gd name="connsiteY4" fmla="*/ 385001 h 4636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8227" h="463654">
                      <a:moveTo>
                        <a:pt x="0" y="385001"/>
                      </a:moveTo>
                      <a:cubicBezTo>
                        <a:pt x="51816" y="489109"/>
                        <a:pt x="237172" y="490633"/>
                        <a:pt x="298228" y="385001"/>
                      </a:cubicBezTo>
                      <a:lnTo>
                        <a:pt x="298228" y="0"/>
                      </a:lnTo>
                      <a:lnTo>
                        <a:pt x="0" y="0"/>
                      </a:lnTo>
                      <a:cubicBezTo>
                        <a:pt x="0" y="0"/>
                        <a:pt x="0" y="385001"/>
                        <a:pt x="0" y="385001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6" name="Freihandform: Form 115">
                  <a:extLst>
                    <a:ext uri="{FF2B5EF4-FFF2-40B4-BE49-F238E27FC236}">
                      <a16:creationId xmlns:a16="http://schemas.microsoft.com/office/drawing/2014/main" id="{23DDFB16-2B81-0311-E5FF-DA5841195B9C}"/>
                    </a:ext>
                  </a:extLst>
                </p:cNvPr>
                <p:cNvSpPr/>
                <p:nvPr/>
              </p:nvSpPr>
              <p:spPr>
                <a:xfrm>
                  <a:off x="9054877" y="7945437"/>
                  <a:ext cx="361378" cy="476350"/>
                </a:xfrm>
                <a:custGeom>
                  <a:avLst/>
                  <a:gdLst>
                    <a:gd name="connsiteX0" fmla="*/ 361379 w 361378"/>
                    <a:gd name="connsiteY0" fmla="*/ 0 h 476350"/>
                    <a:gd name="connsiteX1" fmla="*/ 347186 w 361378"/>
                    <a:gd name="connsiteY1" fmla="*/ 72295 h 476350"/>
                    <a:gd name="connsiteX2" fmla="*/ 224790 w 361378"/>
                    <a:gd name="connsiteY2" fmla="*/ 204121 h 476350"/>
                    <a:gd name="connsiteX3" fmla="*/ 143542 w 361378"/>
                    <a:gd name="connsiteY3" fmla="*/ 260890 h 476350"/>
                    <a:gd name="connsiteX4" fmla="*/ 220313 w 361378"/>
                    <a:gd name="connsiteY4" fmla="*/ 473012 h 476350"/>
                    <a:gd name="connsiteX5" fmla="*/ 0 w 361378"/>
                    <a:gd name="connsiteY5" fmla="*/ 278987 h 476350"/>
                    <a:gd name="connsiteX6" fmla="*/ 88106 w 361378"/>
                    <a:gd name="connsiteY6" fmla="*/ 244888 h 476350"/>
                    <a:gd name="connsiteX7" fmla="*/ 88106 w 361378"/>
                    <a:gd name="connsiteY7" fmla="*/ 0 h 476350"/>
                    <a:gd name="connsiteX8" fmla="*/ 361379 w 361378"/>
                    <a:gd name="connsiteY8" fmla="*/ 0 h 476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61378" h="476350">
                      <a:moveTo>
                        <a:pt x="361379" y="0"/>
                      </a:moveTo>
                      <a:lnTo>
                        <a:pt x="347186" y="72295"/>
                      </a:lnTo>
                      <a:cubicBezTo>
                        <a:pt x="347186" y="72295"/>
                        <a:pt x="321945" y="199168"/>
                        <a:pt x="224790" y="204121"/>
                      </a:cubicBezTo>
                      <a:cubicBezTo>
                        <a:pt x="166688" y="207073"/>
                        <a:pt x="143827" y="229362"/>
                        <a:pt x="143542" y="260890"/>
                      </a:cubicBezTo>
                      <a:cubicBezTo>
                        <a:pt x="142590" y="384810"/>
                        <a:pt x="240030" y="440627"/>
                        <a:pt x="220313" y="473012"/>
                      </a:cubicBezTo>
                      <a:cubicBezTo>
                        <a:pt x="147733" y="501110"/>
                        <a:pt x="34100" y="344519"/>
                        <a:pt x="0" y="278987"/>
                      </a:cubicBezTo>
                      <a:lnTo>
                        <a:pt x="88106" y="244888"/>
                      </a:lnTo>
                      <a:lnTo>
                        <a:pt x="88106" y="0"/>
                      </a:lnTo>
                      <a:lnTo>
                        <a:pt x="361379" y="0"/>
                      </a:lnTo>
                      <a:close/>
                    </a:path>
                  </a:pathLst>
                </a:custGeom>
                <a:solidFill>
                  <a:srgbClr val="4B2E1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7" name="Freihandform: Form 116">
                  <a:extLst>
                    <a:ext uri="{FF2B5EF4-FFF2-40B4-BE49-F238E27FC236}">
                      <a16:creationId xmlns:a16="http://schemas.microsoft.com/office/drawing/2014/main" id="{E6A5F262-92EC-48FB-FBFF-7E3B5BB59752}"/>
                    </a:ext>
                  </a:extLst>
                </p:cNvPr>
                <p:cNvSpPr/>
                <p:nvPr/>
              </p:nvSpPr>
              <p:spPr>
                <a:xfrm>
                  <a:off x="9092333" y="7562696"/>
                  <a:ext cx="400153" cy="557524"/>
                </a:xfrm>
                <a:custGeom>
                  <a:avLst/>
                  <a:gdLst>
                    <a:gd name="connsiteX0" fmla="*/ 398979 w 400153"/>
                    <a:gd name="connsiteY0" fmla="*/ 188336 h 557524"/>
                    <a:gd name="connsiteX1" fmla="*/ 346687 w 400153"/>
                    <a:gd name="connsiteY1" fmla="*/ 49080 h 557524"/>
                    <a:gd name="connsiteX2" fmla="*/ 200097 w 400153"/>
                    <a:gd name="connsiteY2" fmla="*/ 26 h 557524"/>
                    <a:gd name="connsiteX3" fmla="*/ 53507 w 400153"/>
                    <a:gd name="connsiteY3" fmla="*/ 49080 h 557524"/>
                    <a:gd name="connsiteX4" fmla="*/ 1215 w 400153"/>
                    <a:gd name="connsiteY4" fmla="*/ 188336 h 557524"/>
                    <a:gd name="connsiteX5" fmla="*/ 2073 w 400153"/>
                    <a:gd name="connsiteY5" fmla="*/ 321400 h 557524"/>
                    <a:gd name="connsiteX6" fmla="*/ 61604 w 400153"/>
                    <a:gd name="connsiteY6" fmla="*/ 469704 h 557524"/>
                    <a:gd name="connsiteX7" fmla="*/ 200097 w 400153"/>
                    <a:gd name="connsiteY7" fmla="*/ 557525 h 557524"/>
                    <a:gd name="connsiteX8" fmla="*/ 338591 w 400153"/>
                    <a:gd name="connsiteY8" fmla="*/ 469704 h 557524"/>
                    <a:gd name="connsiteX9" fmla="*/ 398122 w 400153"/>
                    <a:gd name="connsiteY9" fmla="*/ 321400 h 557524"/>
                    <a:gd name="connsiteX10" fmla="*/ 398979 w 400153"/>
                    <a:gd name="connsiteY10" fmla="*/ 188336 h 5575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00153" h="557524">
                      <a:moveTo>
                        <a:pt x="398979" y="188336"/>
                      </a:moveTo>
                      <a:cubicBezTo>
                        <a:pt x="398979" y="188336"/>
                        <a:pt x="394217" y="105278"/>
                        <a:pt x="346687" y="49080"/>
                      </a:cubicBezTo>
                      <a:cubicBezTo>
                        <a:pt x="307540" y="2789"/>
                        <a:pt x="227148" y="-355"/>
                        <a:pt x="200097" y="26"/>
                      </a:cubicBezTo>
                      <a:cubicBezTo>
                        <a:pt x="173046" y="-355"/>
                        <a:pt x="92655" y="2789"/>
                        <a:pt x="53507" y="49080"/>
                      </a:cubicBezTo>
                      <a:cubicBezTo>
                        <a:pt x="5978" y="105278"/>
                        <a:pt x="1215" y="188336"/>
                        <a:pt x="1215" y="188336"/>
                      </a:cubicBezTo>
                      <a:cubicBezTo>
                        <a:pt x="1215" y="188336"/>
                        <a:pt x="-2023" y="284252"/>
                        <a:pt x="2073" y="321400"/>
                      </a:cubicBezTo>
                      <a:cubicBezTo>
                        <a:pt x="6073" y="358452"/>
                        <a:pt x="1882" y="409316"/>
                        <a:pt x="61604" y="469704"/>
                      </a:cubicBezTo>
                      <a:cubicBezTo>
                        <a:pt x="119802" y="528664"/>
                        <a:pt x="159711" y="556191"/>
                        <a:pt x="200097" y="557525"/>
                      </a:cubicBezTo>
                      <a:cubicBezTo>
                        <a:pt x="240483" y="556191"/>
                        <a:pt x="280393" y="528664"/>
                        <a:pt x="338591" y="469704"/>
                      </a:cubicBezTo>
                      <a:cubicBezTo>
                        <a:pt x="398217" y="409316"/>
                        <a:pt x="394026" y="358452"/>
                        <a:pt x="398122" y="321400"/>
                      </a:cubicBezTo>
                      <a:cubicBezTo>
                        <a:pt x="402123" y="284348"/>
                        <a:pt x="398979" y="188336"/>
                        <a:pt x="398979" y="18833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8" name="Freihandform: Form 117">
                  <a:extLst>
                    <a:ext uri="{FF2B5EF4-FFF2-40B4-BE49-F238E27FC236}">
                      <a16:creationId xmlns:a16="http://schemas.microsoft.com/office/drawing/2014/main" id="{91B26D5F-758C-13F5-4A17-EBFD1112D69A}"/>
                    </a:ext>
                  </a:extLst>
                </p:cNvPr>
                <p:cNvSpPr/>
                <p:nvPr/>
              </p:nvSpPr>
              <p:spPr>
                <a:xfrm rot="18018600">
                  <a:off x="9397508" y="7761554"/>
                  <a:ext cx="196214" cy="136778"/>
                </a:xfrm>
                <a:custGeom>
                  <a:avLst/>
                  <a:gdLst>
                    <a:gd name="connsiteX0" fmla="*/ 196215 w 196214"/>
                    <a:gd name="connsiteY0" fmla="*/ 68389 h 136778"/>
                    <a:gd name="connsiteX1" fmla="*/ 98107 w 196214"/>
                    <a:gd name="connsiteY1" fmla="*/ 136779 h 136778"/>
                    <a:gd name="connsiteX2" fmla="*/ 0 w 196214"/>
                    <a:gd name="connsiteY2" fmla="*/ 68389 h 136778"/>
                    <a:gd name="connsiteX3" fmla="*/ 98107 w 196214"/>
                    <a:gd name="connsiteY3" fmla="*/ 0 h 136778"/>
                    <a:gd name="connsiteX4" fmla="*/ 196215 w 196214"/>
                    <a:gd name="connsiteY4" fmla="*/ 68389 h 136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6214" h="136778">
                      <a:moveTo>
                        <a:pt x="196215" y="68389"/>
                      </a:moveTo>
                      <a:cubicBezTo>
                        <a:pt x="196215" y="106160"/>
                        <a:pt x="152291" y="136779"/>
                        <a:pt x="98107" y="136779"/>
                      </a:cubicBezTo>
                      <a:cubicBezTo>
                        <a:pt x="43924" y="136779"/>
                        <a:pt x="0" y="106160"/>
                        <a:pt x="0" y="68389"/>
                      </a:cubicBezTo>
                      <a:cubicBezTo>
                        <a:pt x="0" y="30619"/>
                        <a:pt x="43924" y="0"/>
                        <a:pt x="98107" y="0"/>
                      </a:cubicBezTo>
                      <a:cubicBezTo>
                        <a:pt x="152291" y="0"/>
                        <a:pt x="196215" y="30619"/>
                        <a:pt x="196215" y="68389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9" name="Freihandform: Form 118">
                  <a:extLst>
                    <a:ext uri="{FF2B5EF4-FFF2-40B4-BE49-F238E27FC236}">
                      <a16:creationId xmlns:a16="http://schemas.microsoft.com/office/drawing/2014/main" id="{13428BB7-5E8E-B0A7-C6E4-9F420DA2BFC4}"/>
                    </a:ext>
                  </a:extLst>
                </p:cNvPr>
                <p:cNvSpPr/>
                <p:nvPr/>
              </p:nvSpPr>
              <p:spPr>
                <a:xfrm rot="20184000">
                  <a:off x="9013384" y="7733298"/>
                  <a:ext cx="138112" cy="194310"/>
                </a:xfrm>
                <a:custGeom>
                  <a:avLst/>
                  <a:gdLst>
                    <a:gd name="connsiteX0" fmla="*/ 138113 w 138112"/>
                    <a:gd name="connsiteY0" fmla="*/ 97155 h 194310"/>
                    <a:gd name="connsiteX1" fmla="*/ 69056 w 138112"/>
                    <a:gd name="connsiteY1" fmla="*/ 194310 h 194310"/>
                    <a:gd name="connsiteX2" fmla="*/ 0 w 138112"/>
                    <a:gd name="connsiteY2" fmla="*/ 97155 h 194310"/>
                    <a:gd name="connsiteX3" fmla="*/ 69056 w 138112"/>
                    <a:gd name="connsiteY3" fmla="*/ 0 h 194310"/>
                    <a:gd name="connsiteX4" fmla="*/ 138113 w 138112"/>
                    <a:gd name="connsiteY4" fmla="*/ 97155 h 1943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8112" h="194310">
                      <a:moveTo>
                        <a:pt x="138113" y="97155"/>
                      </a:moveTo>
                      <a:cubicBezTo>
                        <a:pt x="138113" y="150812"/>
                        <a:pt x="107195" y="194310"/>
                        <a:pt x="69056" y="194310"/>
                      </a:cubicBezTo>
                      <a:cubicBezTo>
                        <a:pt x="30917" y="194310"/>
                        <a:pt x="0" y="150812"/>
                        <a:pt x="0" y="97155"/>
                      </a:cubicBezTo>
                      <a:cubicBezTo>
                        <a:pt x="0" y="43498"/>
                        <a:pt x="30917" y="0"/>
                        <a:pt x="69056" y="0"/>
                      </a:cubicBezTo>
                      <a:cubicBezTo>
                        <a:pt x="107195" y="0"/>
                        <a:pt x="138113" y="43498"/>
                        <a:pt x="138113" y="97155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0" name="Freihandform: Form 119">
                  <a:extLst>
                    <a:ext uri="{FF2B5EF4-FFF2-40B4-BE49-F238E27FC236}">
                      <a16:creationId xmlns:a16="http://schemas.microsoft.com/office/drawing/2014/main" id="{86E09787-667C-C4AE-0CE2-D1CF0CB94BBF}"/>
                    </a:ext>
                  </a:extLst>
                </p:cNvPr>
                <p:cNvSpPr/>
                <p:nvPr/>
              </p:nvSpPr>
              <p:spPr>
                <a:xfrm>
                  <a:off x="9023349" y="7397083"/>
                  <a:ext cx="538162" cy="562546"/>
                </a:xfrm>
                <a:custGeom>
                  <a:avLst/>
                  <a:gdLst>
                    <a:gd name="connsiteX0" fmla="*/ 538163 w 538162"/>
                    <a:gd name="connsiteY0" fmla="*/ 281273 h 562546"/>
                    <a:gd name="connsiteX1" fmla="*/ 269081 w 538162"/>
                    <a:gd name="connsiteY1" fmla="*/ 562547 h 562546"/>
                    <a:gd name="connsiteX2" fmla="*/ 0 w 538162"/>
                    <a:gd name="connsiteY2" fmla="*/ 281273 h 562546"/>
                    <a:gd name="connsiteX3" fmla="*/ 269081 w 538162"/>
                    <a:gd name="connsiteY3" fmla="*/ 0 h 562546"/>
                    <a:gd name="connsiteX4" fmla="*/ 538163 w 538162"/>
                    <a:gd name="connsiteY4" fmla="*/ 281273 h 562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8162" h="562546">
                      <a:moveTo>
                        <a:pt x="538163" y="281273"/>
                      </a:moveTo>
                      <a:cubicBezTo>
                        <a:pt x="538163" y="436616"/>
                        <a:pt x="417691" y="562547"/>
                        <a:pt x="269081" y="562547"/>
                      </a:cubicBezTo>
                      <a:cubicBezTo>
                        <a:pt x="120472" y="562547"/>
                        <a:pt x="0" y="436616"/>
                        <a:pt x="0" y="281273"/>
                      </a:cubicBezTo>
                      <a:cubicBezTo>
                        <a:pt x="0" y="125930"/>
                        <a:pt x="120472" y="0"/>
                        <a:pt x="269081" y="0"/>
                      </a:cubicBezTo>
                      <a:cubicBezTo>
                        <a:pt x="417691" y="0"/>
                        <a:pt x="538163" y="125930"/>
                        <a:pt x="538163" y="281273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1" name="Freihandform: Form 120">
                  <a:extLst>
                    <a:ext uri="{FF2B5EF4-FFF2-40B4-BE49-F238E27FC236}">
                      <a16:creationId xmlns:a16="http://schemas.microsoft.com/office/drawing/2014/main" id="{756205D1-73F1-86DC-6062-86338FFC72ED}"/>
                    </a:ext>
                  </a:extLst>
                </p:cNvPr>
                <p:cNvSpPr/>
                <p:nvPr/>
              </p:nvSpPr>
              <p:spPr>
                <a:xfrm>
                  <a:off x="9011639" y="7401845"/>
                  <a:ext cx="530631" cy="404621"/>
                </a:xfrm>
                <a:custGeom>
                  <a:avLst/>
                  <a:gdLst>
                    <a:gd name="connsiteX0" fmla="*/ 267647 w 530631"/>
                    <a:gd name="connsiteY0" fmla="*/ 127540 h 404621"/>
                    <a:gd name="connsiteX1" fmla="*/ 491770 w 530631"/>
                    <a:gd name="connsiteY1" fmla="*/ 404622 h 404621"/>
                    <a:gd name="connsiteX2" fmla="*/ 530632 w 530631"/>
                    <a:gd name="connsiteY2" fmla="*/ 281273 h 404621"/>
                    <a:gd name="connsiteX3" fmla="*/ 266408 w 530631"/>
                    <a:gd name="connsiteY3" fmla="*/ 0 h 404621"/>
                    <a:gd name="connsiteX4" fmla="*/ 87814 w 530631"/>
                    <a:gd name="connsiteY4" fmla="*/ 74009 h 404621"/>
                    <a:gd name="connsiteX5" fmla="*/ 54382 w 530631"/>
                    <a:gd name="connsiteY5" fmla="*/ 389858 h 404621"/>
                    <a:gd name="connsiteX6" fmla="*/ 267647 w 530631"/>
                    <a:gd name="connsiteY6" fmla="*/ 127540 h 4046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0631" h="404621">
                      <a:moveTo>
                        <a:pt x="267647" y="127540"/>
                      </a:moveTo>
                      <a:cubicBezTo>
                        <a:pt x="459099" y="139637"/>
                        <a:pt x="435572" y="297085"/>
                        <a:pt x="491770" y="404622"/>
                      </a:cubicBezTo>
                      <a:cubicBezTo>
                        <a:pt x="502343" y="374142"/>
                        <a:pt x="530632" y="315659"/>
                        <a:pt x="530632" y="281273"/>
                      </a:cubicBezTo>
                      <a:cubicBezTo>
                        <a:pt x="530632" y="125920"/>
                        <a:pt x="412331" y="0"/>
                        <a:pt x="266408" y="0"/>
                      </a:cubicBezTo>
                      <a:cubicBezTo>
                        <a:pt x="197543" y="0"/>
                        <a:pt x="134773" y="28004"/>
                        <a:pt x="87814" y="74009"/>
                      </a:cubicBezTo>
                      <a:cubicBezTo>
                        <a:pt x="17520" y="108204"/>
                        <a:pt x="-51250" y="297085"/>
                        <a:pt x="54382" y="389858"/>
                      </a:cubicBezTo>
                      <a:cubicBezTo>
                        <a:pt x="94958" y="311753"/>
                        <a:pt x="95244" y="116681"/>
                        <a:pt x="267647" y="12754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2" name="Freihandform: Form 121">
                  <a:extLst>
                    <a:ext uri="{FF2B5EF4-FFF2-40B4-BE49-F238E27FC236}">
                      <a16:creationId xmlns:a16="http://schemas.microsoft.com/office/drawing/2014/main" id="{9090493D-3C68-EA4D-35B5-667E293ADB14}"/>
                    </a:ext>
                  </a:extLst>
                </p:cNvPr>
                <p:cNvSpPr/>
                <p:nvPr/>
              </p:nvSpPr>
              <p:spPr>
                <a:xfrm>
                  <a:off x="9240995" y="7883810"/>
                  <a:ext cx="78793" cy="32099"/>
                </a:xfrm>
                <a:custGeom>
                  <a:avLst/>
                  <a:gdLst>
                    <a:gd name="connsiteX0" fmla="*/ 1143 w 78793"/>
                    <a:gd name="connsiteY0" fmla="*/ 0 h 32099"/>
                    <a:gd name="connsiteX1" fmla="*/ 35814 w 78793"/>
                    <a:gd name="connsiteY1" fmla="*/ 10573 h 32099"/>
                    <a:gd name="connsiteX2" fmla="*/ 77820 w 78793"/>
                    <a:gd name="connsiteY2" fmla="*/ 0 h 32099"/>
                    <a:gd name="connsiteX3" fmla="*/ 77820 w 78793"/>
                    <a:gd name="connsiteY3" fmla="*/ 9239 h 32099"/>
                    <a:gd name="connsiteX4" fmla="*/ 37148 w 78793"/>
                    <a:gd name="connsiteY4" fmla="*/ 32099 h 32099"/>
                    <a:gd name="connsiteX5" fmla="*/ 1143 w 78793"/>
                    <a:gd name="connsiteY5" fmla="*/ 10192 h 32099"/>
                    <a:gd name="connsiteX6" fmla="*/ 1143 w 78793"/>
                    <a:gd name="connsiteY6" fmla="*/ 95 h 32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8793" h="32099">
                      <a:moveTo>
                        <a:pt x="1143" y="0"/>
                      </a:moveTo>
                      <a:cubicBezTo>
                        <a:pt x="1143" y="0"/>
                        <a:pt x="11049" y="10573"/>
                        <a:pt x="35814" y="10573"/>
                      </a:cubicBezTo>
                      <a:cubicBezTo>
                        <a:pt x="67152" y="10573"/>
                        <a:pt x="77820" y="0"/>
                        <a:pt x="77820" y="0"/>
                      </a:cubicBezTo>
                      <a:cubicBezTo>
                        <a:pt x="77820" y="0"/>
                        <a:pt x="80010" y="3143"/>
                        <a:pt x="77820" y="9239"/>
                      </a:cubicBezTo>
                      <a:cubicBezTo>
                        <a:pt x="76295" y="13525"/>
                        <a:pt x="62675" y="32099"/>
                        <a:pt x="37148" y="32099"/>
                      </a:cubicBezTo>
                      <a:cubicBezTo>
                        <a:pt x="17240" y="32099"/>
                        <a:pt x="3715" y="16383"/>
                        <a:pt x="1143" y="10192"/>
                      </a:cubicBezTo>
                      <a:cubicBezTo>
                        <a:pt x="-1429" y="4000"/>
                        <a:pt x="1143" y="95"/>
                        <a:pt x="1143" y="95"/>
                      </a:cubicBezTo>
                      <a:close/>
                    </a:path>
                  </a:pathLst>
                </a:custGeom>
                <a:solidFill>
                  <a:srgbClr val="4B2E1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3" name="Freihandform: Form 122">
                  <a:extLst>
                    <a:ext uri="{FF2B5EF4-FFF2-40B4-BE49-F238E27FC236}">
                      <a16:creationId xmlns:a16="http://schemas.microsoft.com/office/drawing/2014/main" id="{49C62122-9D11-E523-71B2-7013062F6D39}"/>
                    </a:ext>
                  </a:extLst>
                </p:cNvPr>
                <p:cNvSpPr/>
                <p:nvPr/>
              </p:nvSpPr>
              <p:spPr>
                <a:xfrm>
                  <a:off x="9312056" y="7699025"/>
                  <a:ext cx="140203" cy="47053"/>
                </a:xfrm>
                <a:custGeom>
                  <a:avLst/>
                  <a:gdLst>
                    <a:gd name="connsiteX0" fmla="*/ 109438 w 140203"/>
                    <a:gd name="connsiteY0" fmla="*/ 17716 h 47053"/>
                    <a:gd name="connsiteX1" fmla="*/ 55812 w 140203"/>
                    <a:gd name="connsiteY1" fmla="*/ 762 h 47053"/>
                    <a:gd name="connsiteX2" fmla="*/ 55812 w 140203"/>
                    <a:gd name="connsiteY2" fmla="*/ 762 h 47053"/>
                    <a:gd name="connsiteX3" fmla="*/ 7711 w 140203"/>
                    <a:gd name="connsiteY3" fmla="*/ 6191 h 47053"/>
                    <a:gd name="connsiteX4" fmla="*/ 4282 w 140203"/>
                    <a:gd name="connsiteY4" fmla="*/ 8858 h 47053"/>
                    <a:gd name="connsiteX5" fmla="*/ 13902 w 140203"/>
                    <a:gd name="connsiteY5" fmla="*/ 33242 h 47053"/>
                    <a:gd name="connsiteX6" fmla="*/ 41239 w 140203"/>
                    <a:gd name="connsiteY6" fmla="*/ 30766 h 47053"/>
                    <a:gd name="connsiteX7" fmla="*/ 105533 w 140203"/>
                    <a:gd name="connsiteY7" fmla="*/ 34480 h 47053"/>
                    <a:gd name="connsiteX8" fmla="*/ 140204 w 140203"/>
                    <a:gd name="connsiteY8" fmla="*/ 47053 h 47053"/>
                    <a:gd name="connsiteX9" fmla="*/ 109438 w 140203"/>
                    <a:gd name="connsiteY9" fmla="*/ 17716 h 4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0203" h="47053">
                      <a:moveTo>
                        <a:pt x="109438" y="17716"/>
                      </a:moveTo>
                      <a:cubicBezTo>
                        <a:pt x="90864" y="5905"/>
                        <a:pt x="70671" y="1429"/>
                        <a:pt x="55812" y="762"/>
                      </a:cubicBezTo>
                      <a:lnTo>
                        <a:pt x="55812" y="762"/>
                      </a:lnTo>
                      <a:cubicBezTo>
                        <a:pt x="30285" y="-1810"/>
                        <a:pt x="13236" y="2667"/>
                        <a:pt x="7711" y="6191"/>
                      </a:cubicBezTo>
                      <a:cubicBezTo>
                        <a:pt x="6377" y="7048"/>
                        <a:pt x="5234" y="7906"/>
                        <a:pt x="4282" y="8858"/>
                      </a:cubicBezTo>
                      <a:cubicBezTo>
                        <a:pt x="-4862" y="17526"/>
                        <a:pt x="1710" y="33623"/>
                        <a:pt x="13902" y="33242"/>
                      </a:cubicBezTo>
                      <a:cubicBezTo>
                        <a:pt x="19522" y="33147"/>
                        <a:pt x="33333" y="31528"/>
                        <a:pt x="41239" y="30766"/>
                      </a:cubicBezTo>
                      <a:cubicBezTo>
                        <a:pt x="55050" y="29337"/>
                        <a:pt x="94293" y="31432"/>
                        <a:pt x="105533" y="34480"/>
                      </a:cubicBezTo>
                      <a:cubicBezTo>
                        <a:pt x="127536" y="40481"/>
                        <a:pt x="140204" y="47053"/>
                        <a:pt x="140204" y="47053"/>
                      </a:cubicBezTo>
                      <a:cubicBezTo>
                        <a:pt x="140204" y="47053"/>
                        <a:pt x="134203" y="33528"/>
                        <a:pt x="109438" y="1771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4" name="Freihandform: Form 123">
                  <a:extLst>
                    <a:ext uri="{FF2B5EF4-FFF2-40B4-BE49-F238E27FC236}">
                      <a16:creationId xmlns:a16="http://schemas.microsoft.com/office/drawing/2014/main" id="{69631DEF-C31A-2B50-2720-80AF17A1E993}"/>
                    </a:ext>
                  </a:extLst>
                </p:cNvPr>
                <p:cNvSpPr/>
                <p:nvPr/>
              </p:nvSpPr>
              <p:spPr>
                <a:xfrm rot="16434000">
                  <a:off x="9156216" y="7772737"/>
                  <a:ext cx="40385" cy="37909"/>
                </a:xfrm>
                <a:custGeom>
                  <a:avLst/>
                  <a:gdLst>
                    <a:gd name="connsiteX0" fmla="*/ 40386 w 40385"/>
                    <a:gd name="connsiteY0" fmla="*/ 18955 h 37909"/>
                    <a:gd name="connsiteX1" fmla="*/ 20193 w 40385"/>
                    <a:gd name="connsiteY1" fmla="*/ 37910 h 37909"/>
                    <a:gd name="connsiteX2" fmla="*/ 0 w 40385"/>
                    <a:gd name="connsiteY2" fmla="*/ 18955 h 37909"/>
                    <a:gd name="connsiteX3" fmla="*/ 20193 w 40385"/>
                    <a:gd name="connsiteY3" fmla="*/ 0 h 37909"/>
                    <a:gd name="connsiteX4" fmla="*/ 40386 w 40385"/>
                    <a:gd name="connsiteY4" fmla="*/ 18955 h 37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385" h="37909">
                      <a:moveTo>
                        <a:pt x="40386" y="18955"/>
                      </a:moveTo>
                      <a:cubicBezTo>
                        <a:pt x="40386" y="29423"/>
                        <a:pt x="31345" y="37910"/>
                        <a:pt x="20193" y="37910"/>
                      </a:cubicBezTo>
                      <a:cubicBezTo>
                        <a:pt x="9041" y="37910"/>
                        <a:pt x="0" y="29423"/>
                        <a:pt x="0" y="18955"/>
                      </a:cubicBezTo>
                      <a:cubicBezTo>
                        <a:pt x="0" y="8486"/>
                        <a:pt x="9041" y="0"/>
                        <a:pt x="20193" y="0"/>
                      </a:cubicBezTo>
                      <a:cubicBezTo>
                        <a:pt x="31345" y="0"/>
                        <a:pt x="40386" y="8486"/>
                        <a:pt x="40386" y="18955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5" name="Freihandform: Form 124">
                  <a:extLst>
                    <a:ext uri="{FF2B5EF4-FFF2-40B4-BE49-F238E27FC236}">
                      <a16:creationId xmlns:a16="http://schemas.microsoft.com/office/drawing/2014/main" id="{EBE8FCDB-262D-14AC-1E63-1E90EE200942}"/>
                    </a:ext>
                  </a:extLst>
                </p:cNvPr>
                <p:cNvSpPr/>
                <p:nvPr/>
              </p:nvSpPr>
              <p:spPr>
                <a:xfrm>
                  <a:off x="9106502" y="7700645"/>
                  <a:ext cx="140013" cy="47053"/>
                </a:xfrm>
                <a:custGeom>
                  <a:avLst/>
                  <a:gdLst>
                    <a:gd name="connsiteX0" fmla="*/ 30766 w 140013"/>
                    <a:gd name="connsiteY0" fmla="*/ 17716 h 47053"/>
                    <a:gd name="connsiteX1" fmla="*/ 84297 w 140013"/>
                    <a:gd name="connsiteY1" fmla="*/ 762 h 47053"/>
                    <a:gd name="connsiteX2" fmla="*/ 84297 w 140013"/>
                    <a:gd name="connsiteY2" fmla="*/ 762 h 47053"/>
                    <a:gd name="connsiteX3" fmla="*/ 132302 w 140013"/>
                    <a:gd name="connsiteY3" fmla="*/ 6191 h 47053"/>
                    <a:gd name="connsiteX4" fmla="*/ 135731 w 140013"/>
                    <a:gd name="connsiteY4" fmla="*/ 8858 h 47053"/>
                    <a:gd name="connsiteX5" fmla="*/ 126111 w 140013"/>
                    <a:gd name="connsiteY5" fmla="*/ 33242 h 47053"/>
                    <a:gd name="connsiteX6" fmla="*/ 98774 w 140013"/>
                    <a:gd name="connsiteY6" fmla="*/ 30766 h 47053"/>
                    <a:gd name="connsiteX7" fmla="*/ 34576 w 140013"/>
                    <a:gd name="connsiteY7" fmla="*/ 34480 h 47053"/>
                    <a:gd name="connsiteX8" fmla="*/ 0 w 140013"/>
                    <a:gd name="connsiteY8" fmla="*/ 47053 h 47053"/>
                    <a:gd name="connsiteX9" fmla="*/ 30766 w 140013"/>
                    <a:gd name="connsiteY9" fmla="*/ 17716 h 4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0013" h="47053">
                      <a:moveTo>
                        <a:pt x="30766" y="17716"/>
                      </a:moveTo>
                      <a:cubicBezTo>
                        <a:pt x="49339" y="5905"/>
                        <a:pt x="69438" y="1429"/>
                        <a:pt x="84297" y="762"/>
                      </a:cubicBezTo>
                      <a:lnTo>
                        <a:pt x="84297" y="762"/>
                      </a:lnTo>
                      <a:cubicBezTo>
                        <a:pt x="109824" y="-1810"/>
                        <a:pt x="126778" y="2667"/>
                        <a:pt x="132302" y="6191"/>
                      </a:cubicBezTo>
                      <a:cubicBezTo>
                        <a:pt x="133636" y="7048"/>
                        <a:pt x="134684" y="7906"/>
                        <a:pt x="135731" y="8858"/>
                      </a:cubicBezTo>
                      <a:cubicBezTo>
                        <a:pt x="144875" y="17526"/>
                        <a:pt x="138303" y="33623"/>
                        <a:pt x="126111" y="33242"/>
                      </a:cubicBezTo>
                      <a:cubicBezTo>
                        <a:pt x="120491" y="33147"/>
                        <a:pt x="106680" y="31528"/>
                        <a:pt x="98774" y="30766"/>
                      </a:cubicBezTo>
                      <a:cubicBezTo>
                        <a:pt x="84963" y="29337"/>
                        <a:pt x="45815" y="31432"/>
                        <a:pt x="34576" y="34480"/>
                      </a:cubicBezTo>
                      <a:cubicBezTo>
                        <a:pt x="12573" y="40481"/>
                        <a:pt x="0" y="47053"/>
                        <a:pt x="0" y="47053"/>
                      </a:cubicBezTo>
                      <a:cubicBezTo>
                        <a:pt x="0" y="47053"/>
                        <a:pt x="6001" y="33528"/>
                        <a:pt x="30766" y="1771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6" name="Freihandform: Form 125">
                  <a:extLst>
                    <a:ext uri="{FF2B5EF4-FFF2-40B4-BE49-F238E27FC236}">
                      <a16:creationId xmlns:a16="http://schemas.microsoft.com/office/drawing/2014/main" id="{19DC9FEE-20FB-D943-234A-744DBB1ACDEE}"/>
                    </a:ext>
                  </a:extLst>
                </p:cNvPr>
                <p:cNvSpPr/>
                <p:nvPr/>
              </p:nvSpPr>
              <p:spPr>
                <a:xfrm>
                  <a:off x="9123564" y="7762192"/>
                  <a:ext cx="103635" cy="27457"/>
                </a:xfrm>
                <a:custGeom>
                  <a:avLst/>
                  <a:gdLst>
                    <a:gd name="connsiteX0" fmla="*/ 3227 w 103635"/>
                    <a:gd name="connsiteY0" fmla="*/ 17795 h 27457"/>
                    <a:gd name="connsiteX1" fmla="*/ 46185 w 103635"/>
                    <a:gd name="connsiteY1" fmla="*/ 174 h 27457"/>
                    <a:gd name="connsiteX2" fmla="*/ 101239 w 103635"/>
                    <a:gd name="connsiteY2" fmla="*/ 17509 h 27457"/>
                    <a:gd name="connsiteX3" fmla="*/ 97905 w 103635"/>
                    <a:gd name="connsiteY3" fmla="*/ 26939 h 27457"/>
                    <a:gd name="connsiteX4" fmla="*/ 54281 w 103635"/>
                    <a:gd name="connsiteY4" fmla="*/ 11699 h 27457"/>
                    <a:gd name="connsiteX5" fmla="*/ 10847 w 103635"/>
                    <a:gd name="connsiteY5" fmla="*/ 21415 h 27457"/>
                    <a:gd name="connsiteX6" fmla="*/ 1322 w 103635"/>
                    <a:gd name="connsiteY6" fmla="*/ 25606 h 27457"/>
                    <a:gd name="connsiteX7" fmla="*/ 3417 w 103635"/>
                    <a:gd name="connsiteY7" fmla="*/ 17795 h 274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3635" h="27457">
                      <a:moveTo>
                        <a:pt x="3227" y="17795"/>
                      </a:moveTo>
                      <a:cubicBezTo>
                        <a:pt x="7989" y="12938"/>
                        <a:pt x="23896" y="1412"/>
                        <a:pt x="46185" y="174"/>
                      </a:cubicBezTo>
                      <a:cubicBezTo>
                        <a:pt x="76569" y="-1541"/>
                        <a:pt x="94000" y="9794"/>
                        <a:pt x="101239" y="17509"/>
                      </a:cubicBezTo>
                      <a:cubicBezTo>
                        <a:pt x="106478" y="23034"/>
                        <a:pt x="102096" y="29321"/>
                        <a:pt x="97905" y="26939"/>
                      </a:cubicBezTo>
                      <a:cubicBezTo>
                        <a:pt x="86952" y="20748"/>
                        <a:pt x="81046" y="14843"/>
                        <a:pt x="54281" y="11699"/>
                      </a:cubicBezTo>
                      <a:cubicBezTo>
                        <a:pt x="35517" y="9413"/>
                        <a:pt x="17705" y="17605"/>
                        <a:pt x="10847" y="21415"/>
                      </a:cubicBezTo>
                      <a:cubicBezTo>
                        <a:pt x="5608" y="24368"/>
                        <a:pt x="2941" y="26844"/>
                        <a:pt x="1322" y="25606"/>
                      </a:cubicBezTo>
                      <a:cubicBezTo>
                        <a:pt x="-1631" y="23415"/>
                        <a:pt x="941" y="20272"/>
                        <a:pt x="3417" y="17795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7" name="Freihandform: Form 126">
                  <a:extLst>
                    <a:ext uri="{FF2B5EF4-FFF2-40B4-BE49-F238E27FC236}">
                      <a16:creationId xmlns:a16="http://schemas.microsoft.com/office/drawing/2014/main" id="{22C5B982-9729-1B85-E5E7-FCE6891A7C42}"/>
                    </a:ext>
                  </a:extLst>
                </p:cNvPr>
                <p:cNvSpPr/>
                <p:nvPr/>
              </p:nvSpPr>
              <p:spPr>
                <a:xfrm rot="21366000">
                  <a:off x="9358240" y="7771675"/>
                  <a:ext cx="37909" cy="40385"/>
                </a:xfrm>
                <a:custGeom>
                  <a:avLst/>
                  <a:gdLst>
                    <a:gd name="connsiteX0" fmla="*/ 37910 w 37909"/>
                    <a:gd name="connsiteY0" fmla="*/ 20193 h 40385"/>
                    <a:gd name="connsiteX1" fmla="*/ 18955 w 37909"/>
                    <a:gd name="connsiteY1" fmla="*/ 40386 h 40385"/>
                    <a:gd name="connsiteX2" fmla="*/ 0 w 37909"/>
                    <a:gd name="connsiteY2" fmla="*/ 20193 h 40385"/>
                    <a:gd name="connsiteX3" fmla="*/ 18955 w 37909"/>
                    <a:gd name="connsiteY3" fmla="*/ 0 h 40385"/>
                    <a:gd name="connsiteX4" fmla="*/ 37910 w 37909"/>
                    <a:gd name="connsiteY4" fmla="*/ 20193 h 40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7909" h="40385">
                      <a:moveTo>
                        <a:pt x="37910" y="20193"/>
                      </a:moveTo>
                      <a:cubicBezTo>
                        <a:pt x="37910" y="31345"/>
                        <a:pt x="29424" y="40386"/>
                        <a:pt x="18955" y="40386"/>
                      </a:cubicBezTo>
                      <a:cubicBezTo>
                        <a:pt x="8486" y="40386"/>
                        <a:pt x="0" y="31345"/>
                        <a:pt x="0" y="20193"/>
                      </a:cubicBezTo>
                      <a:cubicBezTo>
                        <a:pt x="0" y="9041"/>
                        <a:pt x="8486" y="0"/>
                        <a:pt x="18955" y="0"/>
                      </a:cubicBezTo>
                      <a:cubicBezTo>
                        <a:pt x="29424" y="0"/>
                        <a:pt x="37910" y="9041"/>
                        <a:pt x="37910" y="20193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8" name="Freihandform: Form 127">
                  <a:extLst>
                    <a:ext uri="{FF2B5EF4-FFF2-40B4-BE49-F238E27FC236}">
                      <a16:creationId xmlns:a16="http://schemas.microsoft.com/office/drawing/2014/main" id="{6FC37FC6-F10A-4C8C-D3CB-FE929BFB1478}"/>
                    </a:ext>
                  </a:extLst>
                </p:cNvPr>
                <p:cNvSpPr/>
                <p:nvPr/>
              </p:nvSpPr>
              <p:spPr>
                <a:xfrm>
                  <a:off x="9326515" y="7762192"/>
                  <a:ext cx="103634" cy="27457"/>
                </a:xfrm>
                <a:custGeom>
                  <a:avLst/>
                  <a:gdLst>
                    <a:gd name="connsiteX0" fmla="*/ 100408 w 103634"/>
                    <a:gd name="connsiteY0" fmla="*/ 17795 h 27457"/>
                    <a:gd name="connsiteX1" fmla="*/ 57450 w 103634"/>
                    <a:gd name="connsiteY1" fmla="*/ 174 h 27457"/>
                    <a:gd name="connsiteX2" fmla="*/ 2396 w 103634"/>
                    <a:gd name="connsiteY2" fmla="*/ 17509 h 27457"/>
                    <a:gd name="connsiteX3" fmla="*/ 5730 w 103634"/>
                    <a:gd name="connsiteY3" fmla="*/ 26939 h 27457"/>
                    <a:gd name="connsiteX4" fmla="*/ 49354 w 103634"/>
                    <a:gd name="connsiteY4" fmla="*/ 11699 h 27457"/>
                    <a:gd name="connsiteX5" fmla="*/ 92788 w 103634"/>
                    <a:gd name="connsiteY5" fmla="*/ 21415 h 27457"/>
                    <a:gd name="connsiteX6" fmla="*/ 102313 w 103634"/>
                    <a:gd name="connsiteY6" fmla="*/ 25606 h 27457"/>
                    <a:gd name="connsiteX7" fmla="*/ 100218 w 103634"/>
                    <a:gd name="connsiteY7" fmla="*/ 17795 h 274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3634" h="27457">
                      <a:moveTo>
                        <a:pt x="100408" y="17795"/>
                      </a:moveTo>
                      <a:cubicBezTo>
                        <a:pt x="95646" y="12938"/>
                        <a:pt x="79739" y="1412"/>
                        <a:pt x="57450" y="174"/>
                      </a:cubicBezTo>
                      <a:cubicBezTo>
                        <a:pt x="27066" y="-1541"/>
                        <a:pt x="9635" y="9794"/>
                        <a:pt x="2396" y="17509"/>
                      </a:cubicBezTo>
                      <a:cubicBezTo>
                        <a:pt x="-2842" y="23034"/>
                        <a:pt x="1539" y="29321"/>
                        <a:pt x="5730" y="26939"/>
                      </a:cubicBezTo>
                      <a:cubicBezTo>
                        <a:pt x="16684" y="20748"/>
                        <a:pt x="22589" y="14843"/>
                        <a:pt x="49354" y="11699"/>
                      </a:cubicBezTo>
                      <a:cubicBezTo>
                        <a:pt x="68118" y="9413"/>
                        <a:pt x="85930" y="17605"/>
                        <a:pt x="92788" y="21415"/>
                      </a:cubicBezTo>
                      <a:cubicBezTo>
                        <a:pt x="98027" y="24368"/>
                        <a:pt x="100694" y="26844"/>
                        <a:pt x="102313" y="25606"/>
                      </a:cubicBezTo>
                      <a:cubicBezTo>
                        <a:pt x="105266" y="23415"/>
                        <a:pt x="102694" y="20272"/>
                        <a:pt x="100218" y="17795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9" name="Freihandform: Form 128">
                  <a:extLst>
                    <a:ext uri="{FF2B5EF4-FFF2-40B4-BE49-F238E27FC236}">
                      <a16:creationId xmlns:a16="http://schemas.microsoft.com/office/drawing/2014/main" id="{FC4B430F-F670-E1E8-527B-F83C3610805E}"/>
                    </a:ext>
                  </a:extLst>
                </p:cNvPr>
                <p:cNvSpPr/>
                <p:nvPr/>
              </p:nvSpPr>
              <p:spPr>
                <a:xfrm>
                  <a:off x="9123366" y="7360423"/>
                  <a:ext cx="508630" cy="429280"/>
                </a:xfrm>
                <a:custGeom>
                  <a:avLst/>
                  <a:gdLst>
                    <a:gd name="connsiteX0" fmla="*/ 91 w 508630"/>
                    <a:gd name="connsiteY0" fmla="*/ 94667 h 429280"/>
                    <a:gd name="connsiteX1" fmla="*/ 318131 w 508630"/>
                    <a:gd name="connsiteY1" fmla="*/ 352223 h 429280"/>
                    <a:gd name="connsiteX2" fmla="*/ 508631 w 508630"/>
                    <a:gd name="connsiteY2" fmla="*/ 429281 h 429280"/>
                    <a:gd name="connsiteX3" fmla="*/ 449956 w 508630"/>
                    <a:gd name="connsiteY3" fmla="*/ 231446 h 429280"/>
                    <a:gd name="connsiteX4" fmla="*/ 91 w 508630"/>
                    <a:gd name="connsiteY4" fmla="*/ 94667 h 429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8630" h="429280">
                      <a:moveTo>
                        <a:pt x="91" y="94667"/>
                      </a:moveTo>
                      <a:cubicBezTo>
                        <a:pt x="-4576" y="204586"/>
                        <a:pt x="171731" y="297931"/>
                        <a:pt x="318131" y="352223"/>
                      </a:cubicBezTo>
                      <a:cubicBezTo>
                        <a:pt x="464530" y="406516"/>
                        <a:pt x="508631" y="429281"/>
                        <a:pt x="508631" y="429281"/>
                      </a:cubicBezTo>
                      <a:cubicBezTo>
                        <a:pt x="508631" y="429281"/>
                        <a:pt x="454338" y="371464"/>
                        <a:pt x="449956" y="231446"/>
                      </a:cubicBezTo>
                      <a:cubicBezTo>
                        <a:pt x="445003" y="73236"/>
                        <a:pt x="191067" y="-118597"/>
                        <a:pt x="91" y="94667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130" name="Grafik 23">
                  <a:extLst>
                    <a:ext uri="{FF2B5EF4-FFF2-40B4-BE49-F238E27FC236}">
                      <a16:creationId xmlns:a16="http://schemas.microsoft.com/office/drawing/2014/main" id="{AFE154A5-8EF4-98B5-F5D2-6D37BFEAEA70}"/>
                    </a:ext>
                  </a:extLst>
                </p:cNvPr>
                <p:cNvGrpSpPr/>
                <p:nvPr/>
              </p:nvGrpSpPr>
              <p:grpSpPr>
                <a:xfrm>
                  <a:off x="8395080" y="9884441"/>
                  <a:ext cx="234464" cy="670178"/>
                  <a:chOff x="8395080" y="3305841"/>
                  <a:chExt cx="234464" cy="670178"/>
                </a:xfrm>
                <a:solidFill>
                  <a:srgbClr val="8A5942"/>
                </a:solidFill>
              </p:grpSpPr>
              <p:sp>
                <p:nvSpPr>
                  <p:cNvPr id="131" name="Freihandform: Form 130">
                    <a:extLst>
                      <a:ext uri="{FF2B5EF4-FFF2-40B4-BE49-F238E27FC236}">
                        <a16:creationId xmlns:a16="http://schemas.microsoft.com/office/drawing/2014/main" id="{4E59A560-B845-0F99-D595-A32B432DD518}"/>
                      </a:ext>
                    </a:extLst>
                  </p:cNvPr>
                  <p:cNvSpPr/>
                  <p:nvPr/>
                </p:nvSpPr>
                <p:spPr>
                  <a:xfrm>
                    <a:off x="8433275" y="3305841"/>
                    <a:ext cx="191738" cy="211264"/>
                  </a:xfrm>
                  <a:custGeom>
                    <a:avLst/>
                    <a:gdLst>
                      <a:gd name="connsiteX0" fmla="*/ 95 w 191738"/>
                      <a:gd name="connsiteY0" fmla="*/ 0 h 211264"/>
                      <a:gd name="connsiteX1" fmla="*/ 21431 w 191738"/>
                      <a:gd name="connsiteY1" fmla="*/ 211264 h 211264"/>
                      <a:gd name="connsiteX2" fmla="*/ 156782 w 191738"/>
                      <a:gd name="connsiteY2" fmla="*/ 200406 h 211264"/>
                      <a:gd name="connsiteX3" fmla="*/ 191738 w 191738"/>
                      <a:gd name="connsiteY3" fmla="*/ 10763 h 211264"/>
                      <a:gd name="connsiteX4" fmla="*/ 0 w 191738"/>
                      <a:gd name="connsiteY4" fmla="*/ 0 h 2112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1738" h="211264">
                        <a:moveTo>
                          <a:pt x="95" y="0"/>
                        </a:moveTo>
                        <a:cubicBezTo>
                          <a:pt x="5239" y="79629"/>
                          <a:pt x="13525" y="148495"/>
                          <a:pt x="21431" y="211264"/>
                        </a:cubicBezTo>
                        <a:lnTo>
                          <a:pt x="156782" y="200406"/>
                        </a:lnTo>
                        <a:cubicBezTo>
                          <a:pt x="156782" y="200406"/>
                          <a:pt x="172212" y="119158"/>
                          <a:pt x="191738" y="10763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132" name="Grafik 23">
                    <a:extLst>
                      <a:ext uri="{FF2B5EF4-FFF2-40B4-BE49-F238E27FC236}">
                        <a16:creationId xmlns:a16="http://schemas.microsoft.com/office/drawing/2014/main" id="{672348D4-031B-83BE-F823-0237FCED8900}"/>
                      </a:ext>
                    </a:extLst>
                  </p:cNvPr>
                  <p:cNvGrpSpPr/>
                  <p:nvPr/>
                </p:nvGrpSpPr>
                <p:grpSpPr>
                  <a:xfrm>
                    <a:off x="8395080" y="3436239"/>
                    <a:ext cx="234464" cy="539781"/>
                    <a:chOff x="8395080" y="3436239"/>
                    <a:chExt cx="234464" cy="539781"/>
                  </a:xfrm>
                  <a:solidFill>
                    <a:srgbClr val="8A5942"/>
                  </a:solidFill>
                </p:grpSpPr>
                <p:sp>
                  <p:nvSpPr>
                    <p:cNvPr id="133" name="Freihandform: Form 132">
                      <a:extLst>
                        <a:ext uri="{FF2B5EF4-FFF2-40B4-BE49-F238E27FC236}">
                          <a16:creationId xmlns:a16="http://schemas.microsoft.com/office/drawing/2014/main" id="{7084E740-C481-911C-7A96-6CDB4A77575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66681" y="3802691"/>
                      <a:ext cx="54546" cy="83127"/>
                    </a:xfrm>
                    <a:custGeom>
                      <a:avLst/>
                      <a:gdLst>
                        <a:gd name="connsiteX0" fmla="*/ 47557 w 54546"/>
                        <a:gd name="connsiteY0" fmla="*/ 83128 h 83127"/>
                        <a:gd name="connsiteX1" fmla="*/ 13648 w 54546"/>
                        <a:gd name="connsiteY1" fmla="*/ 55791 h 83127"/>
                        <a:gd name="connsiteX2" fmla="*/ 2885 w 54546"/>
                        <a:gd name="connsiteY2" fmla="*/ 9595 h 83127"/>
                        <a:gd name="connsiteX3" fmla="*/ 7838 w 54546"/>
                        <a:gd name="connsiteY3" fmla="*/ 70 h 83127"/>
                        <a:gd name="connsiteX4" fmla="*/ 43747 w 54546"/>
                        <a:gd name="connsiteY4" fmla="*/ 39694 h 83127"/>
                        <a:gd name="connsiteX5" fmla="*/ 47557 w 54546"/>
                        <a:gd name="connsiteY5" fmla="*/ 83128 h 83127"/>
                        <a:gd name="connsiteX6" fmla="*/ 47557 w 54546"/>
                        <a:gd name="connsiteY6" fmla="*/ 83128 h 831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54546" h="83127">
                          <a:moveTo>
                            <a:pt x="47557" y="83128"/>
                          </a:moveTo>
                          <a:lnTo>
                            <a:pt x="13648" y="55791"/>
                          </a:lnTo>
                          <a:cubicBezTo>
                            <a:pt x="979" y="45218"/>
                            <a:pt x="-3497" y="28264"/>
                            <a:pt x="2885" y="9595"/>
                          </a:cubicBezTo>
                          <a:cubicBezTo>
                            <a:pt x="4980" y="3594"/>
                            <a:pt x="6790" y="-597"/>
                            <a:pt x="7838" y="70"/>
                          </a:cubicBezTo>
                          <a:cubicBezTo>
                            <a:pt x="9743" y="1499"/>
                            <a:pt x="25173" y="18262"/>
                            <a:pt x="43747" y="39694"/>
                          </a:cubicBezTo>
                          <a:cubicBezTo>
                            <a:pt x="55463" y="53219"/>
                            <a:pt x="58987" y="64744"/>
                            <a:pt x="47557" y="83128"/>
                          </a:cubicBezTo>
                          <a:lnTo>
                            <a:pt x="47557" y="83128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4" name="Freihandform: Form 133">
                      <a:extLst>
                        <a:ext uri="{FF2B5EF4-FFF2-40B4-BE49-F238E27FC236}">
                          <a16:creationId xmlns:a16="http://schemas.microsoft.com/office/drawing/2014/main" id="{F7BDB574-4460-98DE-95DB-12095F3D45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19369" y="3769457"/>
                      <a:ext cx="73352" cy="89024"/>
                    </a:xfrm>
                    <a:custGeom>
                      <a:avLst/>
                      <a:gdLst>
                        <a:gd name="connsiteX0" fmla="*/ 60960 w 73352"/>
                        <a:gd name="connsiteY0" fmla="*/ 89025 h 89024"/>
                        <a:gd name="connsiteX1" fmla="*/ 9525 w 73352"/>
                        <a:gd name="connsiteY1" fmla="*/ 44448 h 89024"/>
                        <a:gd name="connsiteX2" fmla="*/ 0 w 73352"/>
                        <a:gd name="connsiteY2" fmla="*/ 31494 h 89024"/>
                        <a:gd name="connsiteX3" fmla="*/ 40291 w 73352"/>
                        <a:gd name="connsiteY3" fmla="*/ 537 h 89024"/>
                        <a:gd name="connsiteX4" fmla="*/ 66675 w 73352"/>
                        <a:gd name="connsiteY4" fmla="*/ 44829 h 89024"/>
                        <a:gd name="connsiteX5" fmla="*/ 60864 w 73352"/>
                        <a:gd name="connsiteY5" fmla="*/ 89025 h 89024"/>
                        <a:gd name="connsiteX6" fmla="*/ 60864 w 73352"/>
                        <a:gd name="connsiteY6" fmla="*/ 89025 h 8902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73352" h="89024">
                          <a:moveTo>
                            <a:pt x="60960" y="89025"/>
                          </a:moveTo>
                          <a:lnTo>
                            <a:pt x="9525" y="44448"/>
                          </a:lnTo>
                          <a:cubicBezTo>
                            <a:pt x="3334" y="38637"/>
                            <a:pt x="1524" y="34446"/>
                            <a:pt x="0" y="31494"/>
                          </a:cubicBezTo>
                          <a:cubicBezTo>
                            <a:pt x="1048" y="12063"/>
                            <a:pt x="25432" y="-3082"/>
                            <a:pt x="40291" y="537"/>
                          </a:cubicBezTo>
                          <a:lnTo>
                            <a:pt x="66675" y="44829"/>
                          </a:lnTo>
                          <a:cubicBezTo>
                            <a:pt x="78105" y="57307"/>
                            <a:pt x="74009" y="72261"/>
                            <a:pt x="60864" y="89025"/>
                          </a:cubicBezTo>
                          <a:lnTo>
                            <a:pt x="60864" y="89025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5" name="Freihandform: Form 134">
                      <a:extLst>
                        <a:ext uri="{FF2B5EF4-FFF2-40B4-BE49-F238E27FC236}">
                          <a16:creationId xmlns:a16="http://schemas.microsoft.com/office/drawing/2014/main" id="{AD5B7AA4-2FB0-32DC-2659-15DBD0AAB03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55898" y="3838165"/>
                      <a:ext cx="63906" cy="105660"/>
                    </a:xfrm>
                    <a:custGeom>
                      <a:avLst/>
                      <a:gdLst>
                        <a:gd name="connsiteX0" fmla="*/ 55673 w 63906"/>
                        <a:gd name="connsiteY0" fmla="*/ 105660 h 105660"/>
                        <a:gd name="connsiteX1" fmla="*/ 15954 w 63906"/>
                        <a:gd name="connsiteY1" fmla="*/ 67179 h 105660"/>
                        <a:gd name="connsiteX2" fmla="*/ 3476 w 63906"/>
                        <a:gd name="connsiteY2" fmla="*/ 10506 h 105660"/>
                        <a:gd name="connsiteX3" fmla="*/ 9287 w 63906"/>
                        <a:gd name="connsiteY3" fmla="*/ 123 h 105660"/>
                        <a:gd name="connsiteX4" fmla="*/ 51292 w 63906"/>
                        <a:gd name="connsiteY4" fmla="*/ 53559 h 105660"/>
                        <a:gd name="connsiteX5" fmla="*/ 55673 w 63906"/>
                        <a:gd name="connsiteY5" fmla="*/ 105565 h 105660"/>
                        <a:gd name="connsiteX6" fmla="*/ 55673 w 63906"/>
                        <a:gd name="connsiteY6" fmla="*/ 105565 h 10566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63906" h="105660">
                          <a:moveTo>
                            <a:pt x="55673" y="105660"/>
                          </a:moveTo>
                          <a:lnTo>
                            <a:pt x="15954" y="67179"/>
                          </a:lnTo>
                          <a:cubicBezTo>
                            <a:pt x="1095" y="52321"/>
                            <a:pt x="-4144" y="31556"/>
                            <a:pt x="3476" y="10506"/>
                          </a:cubicBezTo>
                          <a:cubicBezTo>
                            <a:pt x="5953" y="3838"/>
                            <a:pt x="8144" y="-829"/>
                            <a:pt x="9287" y="123"/>
                          </a:cubicBezTo>
                          <a:cubicBezTo>
                            <a:pt x="11573" y="2124"/>
                            <a:pt x="29575" y="24793"/>
                            <a:pt x="51292" y="53559"/>
                          </a:cubicBezTo>
                          <a:cubicBezTo>
                            <a:pt x="65008" y="71656"/>
                            <a:pt x="69103" y="85944"/>
                            <a:pt x="55673" y="105565"/>
                          </a:cubicBezTo>
                          <a:lnTo>
                            <a:pt x="55673" y="105565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6" name="Freihandform: Form 135">
                      <a:extLst>
                        <a:ext uri="{FF2B5EF4-FFF2-40B4-BE49-F238E27FC236}">
                          <a16:creationId xmlns:a16="http://schemas.microsoft.com/office/drawing/2014/main" id="{8A27D2F2-49B1-A7DB-C54D-DE2309C116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00115" y="3774757"/>
                      <a:ext cx="87440" cy="131349"/>
                    </a:xfrm>
                    <a:custGeom>
                      <a:avLst/>
                      <a:gdLst>
                        <a:gd name="connsiteX0" fmla="*/ 72689 w 87440"/>
                        <a:gd name="connsiteY0" fmla="*/ 131350 h 131349"/>
                        <a:gd name="connsiteX1" fmla="*/ 12205 w 87440"/>
                        <a:gd name="connsiteY1" fmla="*/ 71628 h 131349"/>
                        <a:gd name="connsiteX2" fmla="*/ 17349 w 87440"/>
                        <a:gd name="connsiteY2" fmla="*/ 4001 h 131349"/>
                        <a:gd name="connsiteX3" fmla="*/ 26112 w 87440"/>
                        <a:gd name="connsiteY3" fmla="*/ 0 h 131349"/>
                        <a:gd name="connsiteX4" fmla="*/ 79642 w 87440"/>
                        <a:gd name="connsiteY4" fmla="*/ 80010 h 131349"/>
                        <a:gd name="connsiteX5" fmla="*/ 72689 w 87440"/>
                        <a:gd name="connsiteY5" fmla="*/ 131254 h 131349"/>
                        <a:gd name="connsiteX6" fmla="*/ 72689 w 87440"/>
                        <a:gd name="connsiteY6" fmla="*/ 131254 h 1313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87440" h="131349">
                          <a:moveTo>
                            <a:pt x="72689" y="131350"/>
                          </a:moveTo>
                          <a:lnTo>
                            <a:pt x="12205" y="71628"/>
                          </a:lnTo>
                          <a:cubicBezTo>
                            <a:pt x="-5892" y="53340"/>
                            <a:pt x="-3606" y="22479"/>
                            <a:pt x="17349" y="4001"/>
                          </a:cubicBezTo>
                          <a:lnTo>
                            <a:pt x="26112" y="0"/>
                          </a:lnTo>
                          <a:lnTo>
                            <a:pt x="79642" y="80010"/>
                          </a:lnTo>
                          <a:cubicBezTo>
                            <a:pt x="93073" y="96869"/>
                            <a:pt x="88120" y="113729"/>
                            <a:pt x="72689" y="131254"/>
                          </a:cubicBezTo>
                          <a:lnTo>
                            <a:pt x="72689" y="131254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7" name="Freihandform: Form 136">
                      <a:extLst>
                        <a:ext uri="{FF2B5EF4-FFF2-40B4-BE49-F238E27FC236}">
                          <a16:creationId xmlns:a16="http://schemas.microsoft.com/office/drawing/2014/main" id="{3043CB75-638D-D048-1CC1-E4645B6398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95080" y="3720421"/>
                      <a:ext cx="62960" cy="111771"/>
                    </a:xfrm>
                    <a:custGeom>
                      <a:avLst/>
                      <a:gdLst>
                        <a:gd name="connsiteX0" fmla="*/ 0 w 62960"/>
                        <a:gd name="connsiteY0" fmla="*/ 9378 h 111771"/>
                        <a:gd name="connsiteX1" fmla="*/ 4191 w 62960"/>
                        <a:gd name="connsiteY1" fmla="*/ 100628 h 111771"/>
                        <a:gd name="connsiteX2" fmla="*/ 8287 w 62960"/>
                        <a:gd name="connsiteY2" fmla="*/ 111772 h 111771"/>
                        <a:gd name="connsiteX3" fmla="*/ 57150 w 62960"/>
                        <a:gd name="connsiteY3" fmla="*/ 67100 h 111771"/>
                        <a:gd name="connsiteX4" fmla="*/ 62961 w 62960"/>
                        <a:gd name="connsiteY4" fmla="*/ 18236 h 111771"/>
                        <a:gd name="connsiteX5" fmla="*/ 0 w 62960"/>
                        <a:gd name="connsiteY5" fmla="*/ 9378 h 1117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62960" h="111771">
                          <a:moveTo>
                            <a:pt x="0" y="9378"/>
                          </a:moveTo>
                          <a:cubicBezTo>
                            <a:pt x="477" y="28142"/>
                            <a:pt x="4191" y="100628"/>
                            <a:pt x="4191" y="100628"/>
                          </a:cubicBezTo>
                          <a:lnTo>
                            <a:pt x="8287" y="111772"/>
                          </a:lnTo>
                          <a:cubicBezTo>
                            <a:pt x="34957" y="111296"/>
                            <a:pt x="54674" y="91484"/>
                            <a:pt x="57150" y="67100"/>
                          </a:cubicBezTo>
                          <a:lnTo>
                            <a:pt x="62961" y="18236"/>
                          </a:lnTo>
                          <a:cubicBezTo>
                            <a:pt x="55436" y="1568"/>
                            <a:pt x="8192" y="-8338"/>
                            <a:pt x="0" y="9378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138" name="Grafik 23">
                      <a:extLst>
                        <a:ext uri="{FF2B5EF4-FFF2-40B4-BE49-F238E27FC236}">
                          <a16:creationId xmlns:a16="http://schemas.microsoft.com/office/drawing/2014/main" id="{AFD5768D-42F7-3C4F-6819-3AA542E55BC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415082" y="3708417"/>
                      <a:ext cx="91882" cy="267603"/>
                      <a:chOff x="8415082" y="3708417"/>
                      <a:chExt cx="91882" cy="267603"/>
                    </a:xfrm>
                    <a:solidFill>
                      <a:srgbClr val="8A5942"/>
                    </a:solidFill>
                  </p:grpSpPr>
                  <p:sp>
                    <p:nvSpPr>
                      <p:cNvPr id="139" name="Freihandform: Form 138">
                        <a:extLst>
                          <a:ext uri="{FF2B5EF4-FFF2-40B4-BE49-F238E27FC236}">
                            <a16:creationId xmlns:a16="http://schemas.microsoft.com/office/drawing/2014/main" id="{64489C81-027D-70D3-E0B3-2BBFE7984AB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56624" y="3848906"/>
                        <a:ext cx="50341" cy="127114"/>
                      </a:xfrm>
                      <a:custGeom>
                        <a:avLst/>
                        <a:gdLst>
                          <a:gd name="connsiteX0" fmla="*/ 30182 w 50341"/>
                          <a:gd name="connsiteY0" fmla="*/ 127114 h 127114"/>
                          <a:gd name="connsiteX1" fmla="*/ 5131 w 50341"/>
                          <a:gd name="connsiteY1" fmla="*/ 71584 h 127114"/>
                          <a:gd name="connsiteX2" fmla="*/ 15323 w 50341"/>
                          <a:gd name="connsiteY2" fmla="*/ 8528 h 127114"/>
                          <a:gd name="connsiteX3" fmla="*/ 25515 w 50341"/>
                          <a:gd name="connsiteY3" fmla="*/ 337 h 127114"/>
                          <a:gd name="connsiteX4" fmla="*/ 46851 w 50341"/>
                          <a:gd name="connsiteY4" fmla="*/ 72060 h 127114"/>
                          <a:gd name="connsiteX5" fmla="*/ 30182 w 50341"/>
                          <a:gd name="connsiteY5" fmla="*/ 127114 h 127114"/>
                          <a:gd name="connsiteX6" fmla="*/ 30182 w 50341"/>
                          <a:gd name="connsiteY6" fmla="*/ 127114 h 12711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0341" h="127114">
                            <a:moveTo>
                              <a:pt x="30182" y="127114"/>
                            </a:moveTo>
                            <a:lnTo>
                              <a:pt x="5131" y="71584"/>
                            </a:lnTo>
                            <a:cubicBezTo>
                              <a:pt x="-4108" y="50343"/>
                              <a:pt x="-964" y="26912"/>
                              <a:pt x="15323" y="8528"/>
                            </a:cubicBezTo>
                            <a:cubicBezTo>
                              <a:pt x="20562" y="2623"/>
                              <a:pt x="24658" y="-1187"/>
                              <a:pt x="25515" y="337"/>
                            </a:cubicBezTo>
                            <a:cubicBezTo>
                              <a:pt x="27039" y="3385"/>
                              <a:pt x="36278" y="33865"/>
                              <a:pt x="46851" y="72060"/>
                            </a:cubicBezTo>
                            <a:cubicBezTo>
                              <a:pt x="53518" y="96158"/>
                              <a:pt x="51995" y="112446"/>
                              <a:pt x="30182" y="127114"/>
                            </a:cubicBezTo>
                            <a:lnTo>
                              <a:pt x="30182" y="127114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0" name="Freihandform: Form 139">
                        <a:extLst>
                          <a:ext uri="{FF2B5EF4-FFF2-40B4-BE49-F238E27FC236}">
                            <a16:creationId xmlns:a16="http://schemas.microsoft.com/office/drawing/2014/main" id="{9CA1BE31-E09A-839D-6AD2-9A25B27FF1A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22907" y="3799998"/>
                        <a:ext cx="71113" cy="124396"/>
                      </a:xfrm>
                      <a:custGeom>
                        <a:avLst/>
                        <a:gdLst>
                          <a:gd name="connsiteX0" fmla="*/ 40563 w 71113"/>
                          <a:gd name="connsiteY0" fmla="*/ 124396 h 124396"/>
                          <a:gd name="connsiteX1" fmla="*/ 3415 w 71113"/>
                          <a:gd name="connsiteY1" fmla="*/ 38290 h 124396"/>
                          <a:gd name="connsiteX2" fmla="*/ 41135 w 71113"/>
                          <a:gd name="connsiteY2" fmla="*/ 2000 h 124396"/>
                          <a:gd name="connsiteX3" fmla="*/ 45325 w 71113"/>
                          <a:gd name="connsiteY3" fmla="*/ 0 h 124396"/>
                          <a:gd name="connsiteX4" fmla="*/ 69043 w 71113"/>
                          <a:gd name="connsiteY4" fmla="*/ 74295 h 124396"/>
                          <a:gd name="connsiteX5" fmla="*/ 42087 w 71113"/>
                          <a:gd name="connsiteY5" fmla="*/ 123634 h 124396"/>
                          <a:gd name="connsiteX6" fmla="*/ 40563 w 71113"/>
                          <a:gd name="connsiteY6" fmla="*/ 124396 h 12439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1113" h="124396">
                            <a:moveTo>
                              <a:pt x="40563" y="124396"/>
                            </a:moveTo>
                            <a:lnTo>
                              <a:pt x="3415" y="38290"/>
                            </a:lnTo>
                            <a:cubicBezTo>
                              <a:pt x="-7729" y="12192"/>
                              <a:pt x="9321" y="3238"/>
                              <a:pt x="41135" y="2000"/>
                            </a:cubicBezTo>
                            <a:lnTo>
                              <a:pt x="45325" y="0"/>
                            </a:lnTo>
                            <a:lnTo>
                              <a:pt x="69043" y="74295"/>
                            </a:lnTo>
                            <a:cubicBezTo>
                              <a:pt x="75996" y="97060"/>
                              <a:pt x="65042" y="112014"/>
                              <a:pt x="42087" y="123634"/>
                            </a:cubicBezTo>
                            <a:lnTo>
                              <a:pt x="40563" y="124396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1" name="Freihandform: Form 140">
                        <a:extLst>
                          <a:ext uri="{FF2B5EF4-FFF2-40B4-BE49-F238E27FC236}">
                            <a16:creationId xmlns:a16="http://schemas.microsoft.com/office/drawing/2014/main" id="{6232A221-A762-18A0-3488-CAE3294FEFC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15082" y="3708417"/>
                        <a:ext cx="63532" cy="120728"/>
                      </a:xfrm>
                      <a:custGeom>
                        <a:avLst/>
                        <a:gdLst>
                          <a:gd name="connsiteX0" fmla="*/ 1 w 63532"/>
                          <a:gd name="connsiteY0" fmla="*/ 12715 h 120728"/>
                          <a:gd name="connsiteX1" fmla="*/ 8573 w 63532"/>
                          <a:gd name="connsiteY1" fmla="*/ 120728 h 120728"/>
                          <a:gd name="connsiteX2" fmla="*/ 54674 w 63532"/>
                          <a:gd name="connsiteY2" fmla="*/ 92629 h 120728"/>
                          <a:gd name="connsiteX3" fmla="*/ 63532 w 63532"/>
                          <a:gd name="connsiteY3" fmla="*/ 16048 h 120728"/>
                          <a:gd name="connsiteX4" fmla="*/ 1 w 63532"/>
                          <a:gd name="connsiteY4" fmla="*/ 12619 h 12072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63532" h="120728">
                            <a:moveTo>
                              <a:pt x="1" y="12715"/>
                            </a:moveTo>
                            <a:cubicBezTo>
                              <a:pt x="-95" y="14715"/>
                              <a:pt x="8573" y="120728"/>
                              <a:pt x="8573" y="120728"/>
                            </a:cubicBezTo>
                            <a:cubicBezTo>
                              <a:pt x="37910" y="120347"/>
                              <a:pt x="51817" y="119585"/>
                              <a:pt x="54674" y="92629"/>
                            </a:cubicBezTo>
                            <a:lnTo>
                              <a:pt x="63532" y="16048"/>
                            </a:lnTo>
                            <a:cubicBezTo>
                              <a:pt x="55341" y="-2335"/>
                              <a:pt x="9144" y="-6812"/>
                              <a:pt x="1" y="12619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142" name="Freihandform: Form 141">
                      <a:extLst>
                        <a:ext uri="{FF2B5EF4-FFF2-40B4-BE49-F238E27FC236}">
                          <a16:creationId xmlns:a16="http://schemas.microsoft.com/office/drawing/2014/main" id="{3E9AAA7C-E82F-4398-76BD-E68050BC27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63914" y="3855038"/>
                      <a:ext cx="46483" cy="113934"/>
                    </a:xfrm>
                    <a:custGeom>
                      <a:avLst/>
                      <a:gdLst>
                        <a:gd name="connsiteX0" fmla="*/ 22320 w 46483"/>
                        <a:gd name="connsiteY0" fmla="*/ 113744 h 113934"/>
                        <a:gd name="connsiteX1" fmla="*/ 3366 w 46483"/>
                        <a:gd name="connsiteY1" fmla="*/ 60784 h 113934"/>
                        <a:gd name="connsiteX2" fmla="*/ 17844 w 46483"/>
                        <a:gd name="connsiteY2" fmla="*/ 6587 h 113934"/>
                        <a:gd name="connsiteX3" fmla="*/ 28893 w 46483"/>
                        <a:gd name="connsiteY3" fmla="*/ 396 h 113934"/>
                        <a:gd name="connsiteX4" fmla="*/ 44990 w 46483"/>
                        <a:gd name="connsiteY4" fmla="*/ 66214 h 113934"/>
                        <a:gd name="connsiteX5" fmla="*/ 22416 w 46483"/>
                        <a:gd name="connsiteY5" fmla="*/ 113934 h 113934"/>
                        <a:gd name="connsiteX6" fmla="*/ 22416 w 46483"/>
                        <a:gd name="connsiteY6" fmla="*/ 113934 h 1139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6483" h="113934">
                          <a:moveTo>
                            <a:pt x="22320" y="113744"/>
                          </a:moveTo>
                          <a:lnTo>
                            <a:pt x="3366" y="60784"/>
                          </a:lnTo>
                          <a:cubicBezTo>
                            <a:pt x="-3492" y="40591"/>
                            <a:pt x="-444" y="21161"/>
                            <a:pt x="17844" y="6587"/>
                          </a:cubicBezTo>
                          <a:cubicBezTo>
                            <a:pt x="23749" y="1920"/>
                            <a:pt x="28321" y="-1128"/>
                            <a:pt x="28893" y="396"/>
                          </a:cubicBezTo>
                          <a:cubicBezTo>
                            <a:pt x="30036" y="3254"/>
                            <a:pt x="38608" y="30495"/>
                            <a:pt x="44990" y="66214"/>
                          </a:cubicBezTo>
                          <a:cubicBezTo>
                            <a:pt x="49086" y="88788"/>
                            <a:pt x="45752" y="103171"/>
                            <a:pt x="22416" y="113934"/>
                          </a:cubicBezTo>
                          <a:lnTo>
                            <a:pt x="22416" y="113934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3" name="Freihandform: Form 142">
                      <a:extLst>
                        <a:ext uri="{FF2B5EF4-FFF2-40B4-BE49-F238E27FC236}">
                          <a16:creationId xmlns:a16="http://schemas.microsoft.com/office/drawing/2014/main" id="{C1E554D7-B79F-9601-06CB-E78D68ECFE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36560" y="3794759"/>
                      <a:ext cx="62340" cy="120967"/>
                    </a:xfrm>
                    <a:custGeom>
                      <a:avLst/>
                      <a:gdLst>
                        <a:gd name="connsiteX0" fmla="*/ 30624 w 62340"/>
                        <a:gd name="connsiteY0" fmla="*/ 120968 h 120967"/>
                        <a:gd name="connsiteX1" fmla="*/ 2335 w 62340"/>
                        <a:gd name="connsiteY1" fmla="*/ 39338 h 120967"/>
                        <a:gd name="connsiteX2" fmla="*/ 38244 w 62340"/>
                        <a:gd name="connsiteY2" fmla="*/ 0 h 120967"/>
                        <a:gd name="connsiteX3" fmla="*/ 43864 w 62340"/>
                        <a:gd name="connsiteY3" fmla="*/ 9335 h 120967"/>
                        <a:gd name="connsiteX4" fmla="*/ 61390 w 62340"/>
                        <a:gd name="connsiteY4" fmla="*/ 80867 h 120967"/>
                        <a:gd name="connsiteX5" fmla="*/ 30719 w 62340"/>
                        <a:gd name="connsiteY5" fmla="*/ 120968 h 120967"/>
                        <a:gd name="connsiteX6" fmla="*/ 30719 w 62340"/>
                        <a:gd name="connsiteY6" fmla="*/ 120968 h 12096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62340" h="120967">
                          <a:moveTo>
                            <a:pt x="30624" y="120968"/>
                          </a:moveTo>
                          <a:lnTo>
                            <a:pt x="2335" y="39338"/>
                          </a:lnTo>
                          <a:cubicBezTo>
                            <a:pt x="-5952" y="14573"/>
                            <a:pt x="8240" y="6001"/>
                            <a:pt x="38244" y="0"/>
                          </a:cubicBezTo>
                          <a:lnTo>
                            <a:pt x="43864" y="9335"/>
                          </a:lnTo>
                          <a:lnTo>
                            <a:pt x="61390" y="80867"/>
                          </a:lnTo>
                          <a:cubicBezTo>
                            <a:pt x="65771" y="102203"/>
                            <a:pt x="54912" y="113157"/>
                            <a:pt x="30719" y="120968"/>
                          </a:cubicBezTo>
                          <a:lnTo>
                            <a:pt x="30719" y="120968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4" name="Freihandform: Form 143">
                      <a:extLst>
                        <a:ext uri="{FF2B5EF4-FFF2-40B4-BE49-F238E27FC236}">
                          <a16:creationId xmlns:a16="http://schemas.microsoft.com/office/drawing/2014/main" id="{74237269-5DE5-6299-0F13-088F9948556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35054" y="3713098"/>
                      <a:ext cx="53751" cy="112434"/>
                    </a:xfrm>
                    <a:custGeom>
                      <a:avLst/>
                      <a:gdLst>
                        <a:gd name="connsiteX0" fmla="*/ 31 w 53751"/>
                        <a:gd name="connsiteY0" fmla="*/ 7176 h 112434"/>
                        <a:gd name="connsiteX1" fmla="*/ 1555 w 53751"/>
                        <a:gd name="connsiteY1" fmla="*/ 110046 h 112434"/>
                        <a:gd name="connsiteX2" fmla="*/ 44989 w 53751"/>
                        <a:gd name="connsiteY2" fmla="*/ 94806 h 112434"/>
                        <a:gd name="connsiteX3" fmla="*/ 53752 w 53751"/>
                        <a:gd name="connsiteY3" fmla="*/ 23654 h 112434"/>
                        <a:gd name="connsiteX4" fmla="*/ 31 w 53751"/>
                        <a:gd name="connsiteY4" fmla="*/ 7176 h 1124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3751" h="112434">
                          <a:moveTo>
                            <a:pt x="31" y="7176"/>
                          </a:moveTo>
                          <a:cubicBezTo>
                            <a:pt x="-255" y="8986"/>
                            <a:pt x="1555" y="110046"/>
                            <a:pt x="1555" y="110046"/>
                          </a:cubicBezTo>
                          <a:cubicBezTo>
                            <a:pt x="30987" y="111856"/>
                            <a:pt x="40512" y="119000"/>
                            <a:pt x="44989" y="94806"/>
                          </a:cubicBezTo>
                          <a:lnTo>
                            <a:pt x="53752" y="23654"/>
                          </a:lnTo>
                          <a:cubicBezTo>
                            <a:pt x="46703" y="6414"/>
                            <a:pt x="10318" y="-9778"/>
                            <a:pt x="31" y="7176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145" name="Grafik 23">
                      <a:extLst>
                        <a:ext uri="{FF2B5EF4-FFF2-40B4-BE49-F238E27FC236}">
                          <a16:creationId xmlns:a16="http://schemas.microsoft.com/office/drawing/2014/main" id="{29224C71-D6C2-1B58-C61F-31C107041F4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483816" y="3539440"/>
                      <a:ext cx="145001" cy="336662"/>
                      <a:chOff x="8483816" y="3539440"/>
                      <a:chExt cx="145001" cy="336662"/>
                    </a:xfrm>
                    <a:solidFill>
                      <a:srgbClr val="8A5942"/>
                    </a:solidFill>
                  </p:grpSpPr>
                  <p:sp>
                    <p:nvSpPr>
                      <p:cNvPr id="146" name="Freihandform: Form 145">
                        <a:extLst>
                          <a:ext uri="{FF2B5EF4-FFF2-40B4-BE49-F238E27FC236}">
                            <a16:creationId xmlns:a16="http://schemas.microsoft.com/office/drawing/2014/main" id="{5E8C416D-9517-8BCB-EEB9-A1CA11AD317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529038" y="3738176"/>
                        <a:ext cx="60495" cy="137927"/>
                      </a:xfrm>
                      <a:custGeom>
                        <a:avLst/>
                        <a:gdLst>
                          <a:gd name="connsiteX0" fmla="*/ 24158 w 60495"/>
                          <a:gd name="connsiteY0" fmla="*/ 137927 h 137927"/>
                          <a:gd name="connsiteX1" fmla="*/ 57685 w 60495"/>
                          <a:gd name="connsiteY1" fmla="*/ 75253 h 137927"/>
                          <a:gd name="connsiteX2" fmla="*/ 53304 w 60495"/>
                          <a:gd name="connsiteY2" fmla="*/ 5815 h 137927"/>
                          <a:gd name="connsiteX3" fmla="*/ 40350 w 60495"/>
                          <a:gd name="connsiteY3" fmla="*/ 958 h 137927"/>
                          <a:gd name="connsiteX4" fmla="*/ 4726 w 60495"/>
                          <a:gd name="connsiteY4" fmla="*/ 77824 h 137927"/>
                          <a:gd name="connsiteX5" fmla="*/ 24062 w 60495"/>
                          <a:gd name="connsiteY5" fmla="*/ 137832 h 137927"/>
                          <a:gd name="connsiteX6" fmla="*/ 24062 w 60495"/>
                          <a:gd name="connsiteY6" fmla="*/ 137832 h 1379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0495" h="137927">
                            <a:moveTo>
                              <a:pt x="24158" y="137927"/>
                            </a:moveTo>
                            <a:lnTo>
                              <a:pt x="57685" y="75253"/>
                            </a:lnTo>
                            <a:cubicBezTo>
                              <a:pt x="59876" y="52964"/>
                              <a:pt x="64448" y="18579"/>
                              <a:pt x="53304" y="5815"/>
                            </a:cubicBezTo>
                            <a:cubicBezTo>
                              <a:pt x="47017" y="-1424"/>
                              <a:pt x="41398" y="-376"/>
                              <a:pt x="40350" y="958"/>
                            </a:cubicBezTo>
                            <a:cubicBezTo>
                              <a:pt x="33111" y="11149"/>
                              <a:pt x="17204" y="44868"/>
                              <a:pt x="4726" y="77824"/>
                            </a:cubicBezTo>
                            <a:cubicBezTo>
                              <a:pt x="-3941" y="100780"/>
                              <a:pt x="-2417" y="117639"/>
                              <a:pt x="24062" y="137832"/>
                            </a:cubicBezTo>
                            <a:lnTo>
                              <a:pt x="24062" y="137832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7" name="Freihandform: Form 146">
                        <a:extLst>
                          <a:ext uri="{FF2B5EF4-FFF2-40B4-BE49-F238E27FC236}">
                            <a16:creationId xmlns:a16="http://schemas.microsoft.com/office/drawing/2014/main" id="{ABBDED4A-28A6-4635-1BF6-8D03689783B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548242" y="3697576"/>
                        <a:ext cx="80486" cy="117625"/>
                      </a:xfrm>
                      <a:custGeom>
                        <a:avLst/>
                        <a:gdLst>
                          <a:gd name="connsiteX0" fmla="*/ 80486 w 80486"/>
                          <a:gd name="connsiteY0" fmla="*/ 17269 h 117625"/>
                          <a:gd name="connsiteX1" fmla="*/ 0 w 80486"/>
                          <a:gd name="connsiteY1" fmla="*/ 10982 h 117625"/>
                          <a:gd name="connsiteX2" fmla="*/ 5810 w 80486"/>
                          <a:gd name="connsiteY2" fmla="*/ 70608 h 117625"/>
                          <a:gd name="connsiteX3" fmla="*/ 38481 w 80486"/>
                          <a:gd name="connsiteY3" fmla="*/ 115948 h 117625"/>
                          <a:gd name="connsiteX4" fmla="*/ 80486 w 80486"/>
                          <a:gd name="connsiteY4" fmla="*/ 17269 h 11762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80486" h="117625">
                            <a:moveTo>
                              <a:pt x="80486" y="17269"/>
                            </a:moveTo>
                            <a:cubicBezTo>
                              <a:pt x="61627" y="-17498"/>
                              <a:pt x="0" y="10982"/>
                              <a:pt x="0" y="10982"/>
                            </a:cubicBezTo>
                            <a:lnTo>
                              <a:pt x="5810" y="70608"/>
                            </a:lnTo>
                            <a:cubicBezTo>
                              <a:pt x="3429" y="95659"/>
                              <a:pt x="15907" y="124996"/>
                              <a:pt x="38481" y="115948"/>
                            </a:cubicBezTo>
                            <a:cubicBezTo>
                              <a:pt x="38481" y="115948"/>
                              <a:pt x="80582" y="16221"/>
                              <a:pt x="80486" y="17269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8" name="Freihandform: Form 147">
                        <a:extLst>
                          <a:ext uri="{FF2B5EF4-FFF2-40B4-BE49-F238E27FC236}">
                            <a16:creationId xmlns:a16="http://schemas.microsoft.com/office/drawing/2014/main" id="{AD80B3D3-8A54-E0B5-BFD7-25BC7E526D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83816" y="3539440"/>
                        <a:ext cx="145001" cy="187300"/>
                      </a:xfrm>
                      <a:custGeom>
                        <a:avLst/>
                        <a:gdLst>
                          <a:gd name="connsiteX0" fmla="*/ 142151 w 145001"/>
                          <a:gd name="connsiteY0" fmla="*/ 88632 h 187300"/>
                          <a:gd name="connsiteX1" fmla="*/ 144913 w 145001"/>
                          <a:gd name="connsiteY1" fmla="*/ 175405 h 187300"/>
                          <a:gd name="connsiteX2" fmla="*/ 144913 w 145001"/>
                          <a:gd name="connsiteY2" fmla="*/ 175405 h 187300"/>
                          <a:gd name="connsiteX3" fmla="*/ 64712 w 145001"/>
                          <a:gd name="connsiteY3" fmla="*/ 170642 h 187300"/>
                          <a:gd name="connsiteX4" fmla="*/ 9848 w 145001"/>
                          <a:gd name="connsiteY4" fmla="*/ 67486 h 187300"/>
                          <a:gd name="connsiteX5" fmla="*/ 104717 w 145001"/>
                          <a:gd name="connsiteY5" fmla="*/ 431 h 187300"/>
                          <a:gd name="connsiteX6" fmla="*/ 142151 w 145001"/>
                          <a:gd name="connsiteY6" fmla="*/ 88632 h 1873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145001" h="187300">
                            <a:moveTo>
                              <a:pt x="142151" y="88632"/>
                            </a:moveTo>
                            <a:cubicBezTo>
                              <a:pt x="145770" y="113302"/>
                              <a:pt x="144913" y="175405"/>
                              <a:pt x="144913" y="175405"/>
                            </a:cubicBezTo>
                            <a:lnTo>
                              <a:pt x="144913" y="175405"/>
                            </a:lnTo>
                            <a:cubicBezTo>
                              <a:pt x="107289" y="175214"/>
                              <a:pt x="108813" y="205218"/>
                              <a:pt x="64712" y="170642"/>
                            </a:cubicBezTo>
                            <a:cubicBezTo>
                              <a:pt x="64712" y="170642"/>
                              <a:pt x="53472" y="104253"/>
                              <a:pt x="9848" y="67486"/>
                            </a:cubicBezTo>
                            <a:cubicBezTo>
                              <a:pt x="-27871" y="35768"/>
                              <a:pt x="51186" y="-4618"/>
                              <a:pt x="104717" y="431"/>
                            </a:cubicBezTo>
                            <a:cubicBezTo>
                              <a:pt x="128815" y="38244"/>
                              <a:pt x="142151" y="88632"/>
                              <a:pt x="142151" y="88632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149" name="Freihandform: Form 148">
                      <a:extLst>
                        <a:ext uri="{FF2B5EF4-FFF2-40B4-BE49-F238E27FC236}">
                          <a16:creationId xmlns:a16="http://schemas.microsoft.com/office/drawing/2014/main" id="{839A98A6-CBDB-DA06-AA7A-2F96EA353C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95080" y="3494722"/>
                      <a:ext cx="234464" cy="282987"/>
                    </a:xfrm>
                    <a:custGeom>
                      <a:avLst/>
                      <a:gdLst>
                        <a:gd name="connsiteX0" fmla="*/ 4382 w 234464"/>
                        <a:gd name="connsiteY0" fmla="*/ 195644 h 282987"/>
                        <a:gd name="connsiteX1" fmla="*/ 59341 w 234464"/>
                        <a:gd name="connsiteY1" fmla="*/ 0 h 282987"/>
                        <a:gd name="connsiteX2" fmla="*/ 194977 w 234464"/>
                        <a:gd name="connsiteY2" fmla="*/ 11430 h 282987"/>
                        <a:gd name="connsiteX3" fmla="*/ 200787 w 234464"/>
                        <a:gd name="connsiteY3" fmla="*/ 47625 h 282987"/>
                        <a:gd name="connsiteX4" fmla="*/ 232601 w 234464"/>
                        <a:gd name="connsiteY4" fmla="*/ 177832 h 282987"/>
                        <a:gd name="connsiteX5" fmla="*/ 152877 w 234464"/>
                        <a:gd name="connsiteY5" fmla="*/ 204883 h 282987"/>
                        <a:gd name="connsiteX6" fmla="*/ 88678 w 234464"/>
                        <a:gd name="connsiteY6" fmla="*/ 282988 h 282987"/>
                        <a:gd name="connsiteX7" fmla="*/ 0 w 234464"/>
                        <a:gd name="connsiteY7" fmla="*/ 234982 h 282987"/>
                        <a:gd name="connsiteX8" fmla="*/ 4382 w 234464"/>
                        <a:gd name="connsiteY8" fmla="*/ 195548 h 28298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234464" h="282987">
                          <a:moveTo>
                            <a:pt x="4382" y="195644"/>
                          </a:moveTo>
                          <a:cubicBezTo>
                            <a:pt x="21431" y="145828"/>
                            <a:pt x="40958" y="87154"/>
                            <a:pt x="59341" y="0"/>
                          </a:cubicBezTo>
                          <a:lnTo>
                            <a:pt x="194977" y="11430"/>
                          </a:lnTo>
                          <a:cubicBezTo>
                            <a:pt x="194977" y="32099"/>
                            <a:pt x="197739" y="44005"/>
                            <a:pt x="200787" y="47625"/>
                          </a:cubicBezTo>
                          <a:cubicBezTo>
                            <a:pt x="246031" y="101727"/>
                            <a:pt x="232601" y="177832"/>
                            <a:pt x="232601" y="177832"/>
                          </a:cubicBezTo>
                          <a:cubicBezTo>
                            <a:pt x="230981" y="184976"/>
                            <a:pt x="183261" y="168688"/>
                            <a:pt x="152877" y="204883"/>
                          </a:cubicBezTo>
                          <a:cubicBezTo>
                            <a:pt x="144304" y="215075"/>
                            <a:pt x="102394" y="222885"/>
                            <a:pt x="88678" y="282988"/>
                          </a:cubicBezTo>
                          <a:cubicBezTo>
                            <a:pt x="33909" y="215837"/>
                            <a:pt x="3048" y="234125"/>
                            <a:pt x="0" y="234982"/>
                          </a:cubicBezTo>
                          <a:cubicBezTo>
                            <a:pt x="2572" y="219551"/>
                            <a:pt x="2667" y="206026"/>
                            <a:pt x="4382" y="195548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0" name="Freihandform: Form 149">
                      <a:extLst>
                        <a:ext uri="{FF2B5EF4-FFF2-40B4-BE49-F238E27FC236}">
                          <a16:creationId xmlns:a16="http://schemas.microsoft.com/office/drawing/2014/main" id="{8A5C9B05-F056-D1F4-A5B0-0402375B1DE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53659" y="3436239"/>
                      <a:ext cx="136397" cy="136398"/>
                    </a:xfrm>
                    <a:custGeom>
                      <a:avLst/>
                      <a:gdLst>
                        <a:gd name="connsiteX0" fmla="*/ 136398 w 136397"/>
                        <a:gd name="connsiteY0" fmla="*/ 68199 h 136398"/>
                        <a:gd name="connsiteX1" fmla="*/ 68199 w 136397"/>
                        <a:gd name="connsiteY1" fmla="*/ 136398 h 136398"/>
                        <a:gd name="connsiteX2" fmla="*/ 1 w 136397"/>
                        <a:gd name="connsiteY2" fmla="*/ 68199 h 136398"/>
                        <a:gd name="connsiteX3" fmla="*/ 68199 w 136397"/>
                        <a:gd name="connsiteY3" fmla="*/ 0 h 136398"/>
                        <a:gd name="connsiteX4" fmla="*/ 136398 w 136397"/>
                        <a:gd name="connsiteY4" fmla="*/ 68199 h 1363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36397" h="136398">
                          <a:moveTo>
                            <a:pt x="136398" y="68199"/>
                          </a:moveTo>
                          <a:cubicBezTo>
                            <a:pt x="136398" y="105864"/>
                            <a:pt x="105864" y="136398"/>
                            <a:pt x="68199" y="136398"/>
                          </a:cubicBezTo>
                          <a:cubicBezTo>
                            <a:pt x="30534" y="136398"/>
                            <a:pt x="1" y="105865"/>
                            <a:pt x="1" y="68199"/>
                          </a:cubicBezTo>
                          <a:cubicBezTo>
                            <a:pt x="1" y="30534"/>
                            <a:pt x="30534" y="0"/>
                            <a:pt x="68199" y="0"/>
                          </a:cubicBezTo>
                          <a:cubicBezTo>
                            <a:pt x="105864" y="0"/>
                            <a:pt x="136398" y="30534"/>
                            <a:pt x="136398" y="68199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sp>
              <p:nvSpPr>
                <p:cNvPr id="151" name="Freihandform: Form 150">
                  <a:extLst>
                    <a:ext uri="{FF2B5EF4-FFF2-40B4-BE49-F238E27FC236}">
                      <a16:creationId xmlns:a16="http://schemas.microsoft.com/office/drawing/2014/main" id="{985B5F64-D098-FC9F-8B69-1EB448DF1B1A}"/>
                    </a:ext>
                  </a:extLst>
                </p:cNvPr>
                <p:cNvSpPr/>
                <p:nvPr/>
              </p:nvSpPr>
              <p:spPr>
                <a:xfrm>
                  <a:off x="8688572" y="8112484"/>
                  <a:ext cx="1208416" cy="1222459"/>
                </a:xfrm>
                <a:custGeom>
                  <a:avLst/>
                  <a:gdLst>
                    <a:gd name="connsiteX0" fmla="*/ 1189550 w 1208416"/>
                    <a:gd name="connsiteY0" fmla="*/ 262626 h 1222459"/>
                    <a:gd name="connsiteX1" fmla="*/ 821695 w 1208416"/>
                    <a:gd name="connsiteY1" fmla="*/ 114131 h 1222459"/>
                    <a:gd name="connsiteX2" fmla="*/ 766641 w 1208416"/>
                    <a:gd name="connsiteY2" fmla="*/ 15071 h 1222459"/>
                    <a:gd name="connsiteX3" fmla="*/ 747971 w 1208416"/>
                    <a:gd name="connsiteY3" fmla="*/ 6879 h 1222459"/>
                    <a:gd name="connsiteX4" fmla="*/ 454506 w 1208416"/>
                    <a:gd name="connsiteY4" fmla="*/ 1164 h 1222459"/>
                    <a:gd name="connsiteX5" fmla="*/ 438885 w 1208416"/>
                    <a:gd name="connsiteY5" fmla="*/ 8975 h 1222459"/>
                    <a:gd name="connsiteX6" fmla="*/ 424026 w 1208416"/>
                    <a:gd name="connsiteY6" fmla="*/ 67744 h 1222459"/>
                    <a:gd name="connsiteX7" fmla="*/ 390879 w 1208416"/>
                    <a:gd name="connsiteY7" fmla="*/ 96986 h 1222459"/>
                    <a:gd name="connsiteX8" fmla="*/ 17594 w 1208416"/>
                    <a:gd name="connsiteY8" fmla="*/ 279771 h 1222459"/>
                    <a:gd name="connsiteX9" fmla="*/ 143896 w 1208416"/>
                    <a:gd name="connsiteY9" fmla="*/ 680868 h 1222459"/>
                    <a:gd name="connsiteX10" fmla="*/ 240384 w 1208416"/>
                    <a:gd name="connsiteY10" fmla="*/ 1222460 h 1222459"/>
                    <a:gd name="connsiteX11" fmla="*/ 955235 w 1208416"/>
                    <a:gd name="connsiteY11" fmla="*/ 1220364 h 1222459"/>
                    <a:gd name="connsiteX12" fmla="*/ 1093729 w 1208416"/>
                    <a:gd name="connsiteY12" fmla="*/ 696870 h 1222459"/>
                    <a:gd name="connsiteX13" fmla="*/ 1189455 w 1208416"/>
                    <a:gd name="connsiteY13" fmla="*/ 262530 h 1222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208416" h="1222459">
                      <a:moveTo>
                        <a:pt x="1189550" y="262626"/>
                      </a:moveTo>
                      <a:cubicBezTo>
                        <a:pt x="1103921" y="179663"/>
                        <a:pt x="966475" y="205666"/>
                        <a:pt x="821695" y="114131"/>
                      </a:cubicBezTo>
                      <a:cubicBezTo>
                        <a:pt x="785500" y="80793"/>
                        <a:pt x="771689" y="38597"/>
                        <a:pt x="766641" y="15071"/>
                      </a:cubicBezTo>
                      <a:cubicBezTo>
                        <a:pt x="764831" y="6689"/>
                        <a:pt x="755401" y="2593"/>
                        <a:pt x="747971" y="6879"/>
                      </a:cubicBezTo>
                      <a:cubicBezTo>
                        <a:pt x="655769" y="60791"/>
                        <a:pt x="553947" y="49837"/>
                        <a:pt x="454506" y="1164"/>
                      </a:cubicBezTo>
                      <a:cubicBezTo>
                        <a:pt x="447934" y="-2074"/>
                        <a:pt x="440123" y="1736"/>
                        <a:pt x="438885" y="8975"/>
                      </a:cubicBezTo>
                      <a:cubicBezTo>
                        <a:pt x="436504" y="22500"/>
                        <a:pt x="431932" y="44122"/>
                        <a:pt x="424026" y="67744"/>
                      </a:cubicBezTo>
                      <a:cubicBezTo>
                        <a:pt x="421073" y="74316"/>
                        <a:pt x="412501" y="88223"/>
                        <a:pt x="390879" y="96986"/>
                      </a:cubicBezTo>
                      <a:cubicBezTo>
                        <a:pt x="225049" y="164137"/>
                        <a:pt x="111987" y="195188"/>
                        <a:pt x="17594" y="279771"/>
                      </a:cubicBezTo>
                      <a:cubicBezTo>
                        <a:pt x="-59939" y="349303"/>
                        <a:pt x="143896" y="680868"/>
                        <a:pt x="143896" y="680868"/>
                      </a:cubicBezTo>
                      <a:lnTo>
                        <a:pt x="240384" y="1222460"/>
                      </a:lnTo>
                      <a:lnTo>
                        <a:pt x="955235" y="1220364"/>
                      </a:lnTo>
                      <a:lnTo>
                        <a:pt x="1093729" y="696870"/>
                      </a:lnTo>
                      <a:cubicBezTo>
                        <a:pt x="1093729" y="696870"/>
                        <a:pt x="1264227" y="335016"/>
                        <a:pt x="1189455" y="262530"/>
                      </a:cubicBezTo>
                      <a:close/>
                    </a:path>
                  </a:pathLst>
                </a:custGeom>
                <a:solidFill>
                  <a:srgbClr val="FFE98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2" name="Freihandform: Form 151">
                  <a:extLst>
                    <a:ext uri="{FF2B5EF4-FFF2-40B4-BE49-F238E27FC236}">
                      <a16:creationId xmlns:a16="http://schemas.microsoft.com/office/drawing/2014/main" id="{0225C28A-0ADB-46D7-A84D-CB7F75D56FC8}"/>
                    </a:ext>
                  </a:extLst>
                </p:cNvPr>
                <p:cNvSpPr/>
                <p:nvPr/>
              </p:nvSpPr>
              <p:spPr>
                <a:xfrm>
                  <a:off x="9209944" y="7953627"/>
                  <a:ext cx="147256" cy="49531"/>
                </a:xfrm>
                <a:custGeom>
                  <a:avLst/>
                  <a:gdLst>
                    <a:gd name="connsiteX0" fmla="*/ 0 w 147256"/>
                    <a:gd name="connsiteY0" fmla="*/ 5431 h 49531"/>
                    <a:gd name="connsiteX1" fmla="*/ 55721 w 147256"/>
                    <a:gd name="connsiteY1" fmla="*/ 573 h 49531"/>
                    <a:gd name="connsiteX2" fmla="*/ 70294 w 147256"/>
                    <a:gd name="connsiteY2" fmla="*/ 4002 h 49531"/>
                    <a:gd name="connsiteX3" fmla="*/ 84010 w 147256"/>
                    <a:gd name="connsiteY3" fmla="*/ 2 h 49531"/>
                    <a:gd name="connsiteX4" fmla="*/ 147256 w 147256"/>
                    <a:gd name="connsiteY4" fmla="*/ 5812 h 49531"/>
                    <a:gd name="connsiteX5" fmla="*/ 68389 w 147256"/>
                    <a:gd name="connsiteY5" fmla="*/ 49532 h 49531"/>
                    <a:gd name="connsiteX6" fmla="*/ 0 w 147256"/>
                    <a:gd name="connsiteY6" fmla="*/ 5431 h 49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7256" h="49531">
                      <a:moveTo>
                        <a:pt x="0" y="5431"/>
                      </a:moveTo>
                      <a:cubicBezTo>
                        <a:pt x="0" y="5431"/>
                        <a:pt x="19050" y="2859"/>
                        <a:pt x="55721" y="573"/>
                      </a:cubicBezTo>
                      <a:cubicBezTo>
                        <a:pt x="58578" y="383"/>
                        <a:pt x="61817" y="4193"/>
                        <a:pt x="70294" y="4002"/>
                      </a:cubicBezTo>
                      <a:cubicBezTo>
                        <a:pt x="80296" y="3812"/>
                        <a:pt x="80676" y="-94"/>
                        <a:pt x="84010" y="2"/>
                      </a:cubicBezTo>
                      <a:cubicBezTo>
                        <a:pt x="123539" y="1049"/>
                        <a:pt x="147256" y="5812"/>
                        <a:pt x="147256" y="5812"/>
                      </a:cubicBezTo>
                      <a:cubicBezTo>
                        <a:pt x="147256" y="5812"/>
                        <a:pt x="127635" y="49532"/>
                        <a:pt x="68389" y="49532"/>
                      </a:cubicBezTo>
                      <a:cubicBezTo>
                        <a:pt x="15049" y="49532"/>
                        <a:pt x="0" y="5431"/>
                        <a:pt x="0" y="5431"/>
                      </a:cubicBezTo>
                      <a:close/>
                    </a:path>
                  </a:pathLst>
                </a:custGeom>
                <a:solidFill>
                  <a:srgbClr val="4B2E1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3" name="Freihandform: Form 152">
                  <a:extLst>
                    <a:ext uri="{FF2B5EF4-FFF2-40B4-BE49-F238E27FC236}">
                      <a16:creationId xmlns:a16="http://schemas.microsoft.com/office/drawing/2014/main" id="{11498922-06B2-0A90-1733-3C1D8DFB854A}"/>
                    </a:ext>
                  </a:extLst>
                </p:cNvPr>
                <p:cNvSpPr/>
                <p:nvPr/>
              </p:nvSpPr>
              <p:spPr>
                <a:xfrm>
                  <a:off x="8620918" y="8339391"/>
                  <a:ext cx="314705" cy="314706"/>
                </a:xfrm>
                <a:custGeom>
                  <a:avLst/>
                  <a:gdLst>
                    <a:gd name="connsiteX0" fmla="*/ 314706 w 314705"/>
                    <a:gd name="connsiteY0" fmla="*/ 157353 h 314706"/>
                    <a:gd name="connsiteX1" fmla="*/ 157353 w 314705"/>
                    <a:gd name="connsiteY1" fmla="*/ 314706 h 314706"/>
                    <a:gd name="connsiteX2" fmla="*/ -1 w 314705"/>
                    <a:gd name="connsiteY2" fmla="*/ 157353 h 314706"/>
                    <a:gd name="connsiteX3" fmla="*/ 157353 w 314705"/>
                    <a:gd name="connsiteY3" fmla="*/ 0 h 314706"/>
                    <a:gd name="connsiteX4" fmla="*/ 314706 w 314705"/>
                    <a:gd name="connsiteY4" fmla="*/ 157353 h 314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4705" h="314706">
                      <a:moveTo>
                        <a:pt x="314706" y="157353"/>
                      </a:moveTo>
                      <a:cubicBezTo>
                        <a:pt x="314706" y="244257"/>
                        <a:pt x="244257" y="314706"/>
                        <a:pt x="157353" y="314706"/>
                      </a:cubicBezTo>
                      <a:cubicBezTo>
                        <a:pt x="70449" y="314706"/>
                        <a:pt x="-1" y="244257"/>
                        <a:pt x="-1" y="157353"/>
                      </a:cubicBezTo>
                      <a:cubicBezTo>
                        <a:pt x="-1" y="70449"/>
                        <a:pt x="70449" y="0"/>
                        <a:pt x="157353" y="0"/>
                      </a:cubicBezTo>
                      <a:cubicBezTo>
                        <a:pt x="244256" y="0"/>
                        <a:pt x="314706" y="70449"/>
                        <a:pt x="314706" y="15735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4" name="Freihandform: Form 153">
                  <a:extLst>
                    <a:ext uri="{FF2B5EF4-FFF2-40B4-BE49-F238E27FC236}">
                      <a16:creationId xmlns:a16="http://schemas.microsoft.com/office/drawing/2014/main" id="{187E0055-EE41-8421-7AE0-5ED8AD912C28}"/>
                    </a:ext>
                  </a:extLst>
                </p:cNvPr>
                <p:cNvSpPr/>
                <p:nvPr/>
              </p:nvSpPr>
              <p:spPr>
                <a:xfrm>
                  <a:off x="8398795" y="8394827"/>
                  <a:ext cx="523018" cy="989647"/>
                </a:xfrm>
                <a:custGeom>
                  <a:avLst/>
                  <a:gdLst>
                    <a:gd name="connsiteX0" fmla="*/ 0 w 523018"/>
                    <a:gd name="connsiteY0" fmla="*/ 947261 h 989647"/>
                    <a:gd name="connsiteX1" fmla="*/ 307467 w 523018"/>
                    <a:gd name="connsiteY1" fmla="*/ 989648 h 989647"/>
                    <a:gd name="connsiteX2" fmla="*/ 523018 w 523018"/>
                    <a:gd name="connsiteY2" fmla="*/ 167259 h 989647"/>
                    <a:gd name="connsiteX3" fmla="*/ 259747 w 523018"/>
                    <a:gd name="connsiteY3" fmla="*/ 0 h 989647"/>
                    <a:gd name="connsiteX4" fmla="*/ 0 w 523018"/>
                    <a:gd name="connsiteY4" fmla="*/ 947261 h 9896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3018" h="989647">
                      <a:moveTo>
                        <a:pt x="0" y="947261"/>
                      </a:moveTo>
                      <a:lnTo>
                        <a:pt x="307467" y="989648"/>
                      </a:lnTo>
                      <a:lnTo>
                        <a:pt x="523018" y="167259"/>
                      </a:lnTo>
                      <a:lnTo>
                        <a:pt x="259747" y="0"/>
                      </a:lnTo>
                      <a:cubicBezTo>
                        <a:pt x="171069" y="80486"/>
                        <a:pt x="0" y="947261"/>
                        <a:pt x="0" y="94726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5" name="Freihandform: Form 154">
                  <a:extLst>
                    <a:ext uri="{FF2B5EF4-FFF2-40B4-BE49-F238E27FC236}">
                      <a16:creationId xmlns:a16="http://schemas.microsoft.com/office/drawing/2014/main" id="{AC2D8300-597A-BCDC-C56D-1E149E70B5B9}"/>
                    </a:ext>
                  </a:extLst>
                </p:cNvPr>
                <p:cNvSpPr/>
                <p:nvPr/>
              </p:nvSpPr>
              <p:spPr>
                <a:xfrm>
                  <a:off x="8398128" y="9204071"/>
                  <a:ext cx="310133" cy="310134"/>
                </a:xfrm>
                <a:custGeom>
                  <a:avLst/>
                  <a:gdLst>
                    <a:gd name="connsiteX0" fmla="*/ 310134 w 310133"/>
                    <a:gd name="connsiteY0" fmla="*/ 155067 h 310134"/>
                    <a:gd name="connsiteX1" fmla="*/ 155067 w 310133"/>
                    <a:gd name="connsiteY1" fmla="*/ 310134 h 310134"/>
                    <a:gd name="connsiteX2" fmla="*/ -1 w 310133"/>
                    <a:gd name="connsiteY2" fmla="*/ 155067 h 310134"/>
                    <a:gd name="connsiteX3" fmla="*/ 155067 w 310133"/>
                    <a:gd name="connsiteY3" fmla="*/ 0 h 310134"/>
                    <a:gd name="connsiteX4" fmla="*/ 310134 w 310133"/>
                    <a:gd name="connsiteY4" fmla="*/ 155067 h 3101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0133" h="310134">
                      <a:moveTo>
                        <a:pt x="310134" y="155067"/>
                      </a:moveTo>
                      <a:cubicBezTo>
                        <a:pt x="310134" y="240708"/>
                        <a:pt x="240708" y="310134"/>
                        <a:pt x="155067" y="310134"/>
                      </a:cubicBezTo>
                      <a:cubicBezTo>
                        <a:pt x="69425" y="310134"/>
                        <a:pt x="-1" y="240708"/>
                        <a:pt x="-1" y="155067"/>
                      </a:cubicBezTo>
                      <a:cubicBezTo>
                        <a:pt x="-1" y="69426"/>
                        <a:pt x="69425" y="0"/>
                        <a:pt x="155067" y="0"/>
                      </a:cubicBezTo>
                      <a:cubicBezTo>
                        <a:pt x="240708" y="0"/>
                        <a:pt x="310134" y="69426"/>
                        <a:pt x="310134" y="15506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6" name="Freihandform: Form 155">
                  <a:extLst>
                    <a:ext uri="{FF2B5EF4-FFF2-40B4-BE49-F238E27FC236}">
                      <a16:creationId xmlns:a16="http://schemas.microsoft.com/office/drawing/2014/main" id="{5ED076B0-4F74-B6DA-C9C8-A4EAA0A2B706}"/>
                    </a:ext>
                  </a:extLst>
                </p:cNvPr>
                <p:cNvSpPr/>
                <p:nvPr/>
              </p:nvSpPr>
              <p:spPr>
                <a:xfrm>
                  <a:off x="8616251" y="8188610"/>
                  <a:ext cx="575214" cy="3144202"/>
                </a:xfrm>
                <a:custGeom>
                  <a:avLst/>
                  <a:gdLst>
                    <a:gd name="connsiteX0" fmla="*/ 197358 w 575214"/>
                    <a:gd name="connsiteY0" fmla="*/ 1136999 h 3144202"/>
                    <a:gd name="connsiteX1" fmla="*/ 0 w 575214"/>
                    <a:gd name="connsiteY1" fmla="*/ 3144203 h 3144202"/>
                    <a:gd name="connsiteX2" fmla="*/ 527590 w 575214"/>
                    <a:gd name="connsiteY2" fmla="*/ 3144203 h 3144202"/>
                    <a:gd name="connsiteX3" fmla="*/ 575215 w 575214"/>
                    <a:gd name="connsiteY3" fmla="*/ 576167 h 3144202"/>
                    <a:gd name="connsiteX4" fmla="*/ 467868 w 575214"/>
                    <a:gd name="connsiteY4" fmla="*/ 0 h 3144202"/>
                    <a:gd name="connsiteX5" fmla="*/ 28194 w 575214"/>
                    <a:gd name="connsiteY5" fmla="*/ 225647 h 3144202"/>
                    <a:gd name="connsiteX6" fmla="*/ 216312 w 575214"/>
                    <a:gd name="connsiteY6" fmla="*/ 604838 h 3144202"/>
                    <a:gd name="connsiteX7" fmla="*/ 197453 w 575214"/>
                    <a:gd name="connsiteY7" fmla="*/ 1137095 h 3144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75214" h="3144202">
                      <a:moveTo>
                        <a:pt x="197358" y="1136999"/>
                      </a:moveTo>
                      <a:cubicBezTo>
                        <a:pt x="-28861" y="1726597"/>
                        <a:pt x="51340" y="2820543"/>
                        <a:pt x="0" y="3144203"/>
                      </a:cubicBezTo>
                      <a:lnTo>
                        <a:pt x="527590" y="3144203"/>
                      </a:lnTo>
                      <a:lnTo>
                        <a:pt x="575215" y="576167"/>
                      </a:lnTo>
                      <a:lnTo>
                        <a:pt x="467868" y="0"/>
                      </a:lnTo>
                      <a:cubicBezTo>
                        <a:pt x="302037" y="67151"/>
                        <a:pt x="69437" y="144590"/>
                        <a:pt x="28194" y="225647"/>
                      </a:cubicBezTo>
                      <a:cubicBezTo>
                        <a:pt x="120682" y="378047"/>
                        <a:pt x="216312" y="604838"/>
                        <a:pt x="216312" y="604838"/>
                      </a:cubicBezTo>
                      <a:cubicBezTo>
                        <a:pt x="216312" y="604838"/>
                        <a:pt x="200406" y="745903"/>
                        <a:pt x="197453" y="113709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7" name="Freihandform: Form 156">
                  <a:extLst>
                    <a:ext uri="{FF2B5EF4-FFF2-40B4-BE49-F238E27FC236}">
                      <a16:creationId xmlns:a16="http://schemas.microsoft.com/office/drawing/2014/main" id="{428B9EF3-D082-6A9A-5217-A7DEF58B5FFC}"/>
                    </a:ext>
                  </a:extLst>
                </p:cNvPr>
                <p:cNvSpPr/>
                <p:nvPr/>
              </p:nvSpPr>
              <p:spPr>
                <a:xfrm>
                  <a:off x="8923527" y="8237759"/>
                  <a:ext cx="199834" cy="706945"/>
                </a:xfrm>
                <a:custGeom>
                  <a:avLst/>
                  <a:gdLst>
                    <a:gd name="connsiteX0" fmla="*/ 35528 w 199834"/>
                    <a:gd name="connsiteY0" fmla="*/ 0 h 706945"/>
                    <a:gd name="connsiteX1" fmla="*/ 0 w 199834"/>
                    <a:gd name="connsiteY1" fmla="*/ 13906 h 706945"/>
                    <a:gd name="connsiteX2" fmla="*/ 88106 w 199834"/>
                    <a:gd name="connsiteY2" fmla="*/ 352234 h 706945"/>
                    <a:gd name="connsiteX3" fmla="*/ 199834 w 199834"/>
                    <a:gd name="connsiteY3" fmla="*/ 706946 h 706945"/>
                    <a:gd name="connsiteX4" fmla="*/ 123539 w 199834"/>
                    <a:gd name="connsiteY4" fmla="*/ 352234 h 706945"/>
                    <a:gd name="connsiteX5" fmla="*/ 35623 w 199834"/>
                    <a:gd name="connsiteY5" fmla="*/ 0 h 706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99834" h="706945">
                      <a:moveTo>
                        <a:pt x="35528" y="0"/>
                      </a:moveTo>
                      <a:lnTo>
                        <a:pt x="0" y="13906"/>
                      </a:lnTo>
                      <a:cubicBezTo>
                        <a:pt x="0" y="13906"/>
                        <a:pt x="76009" y="206692"/>
                        <a:pt x="88106" y="352234"/>
                      </a:cubicBezTo>
                      <a:cubicBezTo>
                        <a:pt x="100108" y="497776"/>
                        <a:pt x="199834" y="706946"/>
                        <a:pt x="199834" y="706946"/>
                      </a:cubicBezTo>
                      <a:cubicBezTo>
                        <a:pt x="199834" y="706946"/>
                        <a:pt x="128968" y="398050"/>
                        <a:pt x="123539" y="352234"/>
                      </a:cubicBezTo>
                      <a:cubicBezTo>
                        <a:pt x="118110" y="306419"/>
                        <a:pt x="35623" y="0"/>
                        <a:pt x="35623" y="0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8" name="Freihandform: Form 157">
                  <a:extLst>
                    <a:ext uri="{FF2B5EF4-FFF2-40B4-BE49-F238E27FC236}">
                      <a16:creationId xmlns:a16="http://schemas.microsoft.com/office/drawing/2014/main" id="{18507769-A6D6-D035-0333-5AC014C97E8C}"/>
                    </a:ext>
                  </a:extLst>
                </p:cNvPr>
                <p:cNvSpPr/>
                <p:nvPr/>
              </p:nvSpPr>
              <p:spPr>
                <a:xfrm>
                  <a:off x="8664457" y="8777255"/>
                  <a:ext cx="159748" cy="575881"/>
                </a:xfrm>
                <a:custGeom>
                  <a:avLst/>
                  <a:gdLst>
                    <a:gd name="connsiteX0" fmla="*/ 132483 w 159748"/>
                    <a:gd name="connsiteY0" fmla="*/ 0 h 575881"/>
                    <a:gd name="connsiteX1" fmla="*/ 6753 w 159748"/>
                    <a:gd name="connsiteY1" fmla="*/ 303467 h 575881"/>
                    <a:gd name="connsiteX2" fmla="*/ 50568 w 159748"/>
                    <a:gd name="connsiteY2" fmla="*/ 575881 h 575881"/>
                    <a:gd name="connsiteX3" fmla="*/ 50568 w 159748"/>
                    <a:gd name="connsiteY3" fmla="*/ 575881 h 575881"/>
                    <a:gd name="connsiteX4" fmla="*/ 157343 w 159748"/>
                    <a:gd name="connsiteY4" fmla="*/ 197834 h 575881"/>
                    <a:gd name="connsiteX5" fmla="*/ 132387 w 159748"/>
                    <a:gd name="connsiteY5" fmla="*/ 0 h 575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59748" h="575881">
                      <a:moveTo>
                        <a:pt x="132483" y="0"/>
                      </a:moveTo>
                      <a:cubicBezTo>
                        <a:pt x="80191" y="30004"/>
                        <a:pt x="-28013" y="139351"/>
                        <a:pt x="6753" y="303467"/>
                      </a:cubicBezTo>
                      <a:cubicBezTo>
                        <a:pt x="41614" y="467582"/>
                        <a:pt x="50568" y="575881"/>
                        <a:pt x="50568" y="575881"/>
                      </a:cubicBezTo>
                      <a:lnTo>
                        <a:pt x="50568" y="575881"/>
                      </a:lnTo>
                      <a:lnTo>
                        <a:pt x="157343" y="197834"/>
                      </a:lnTo>
                      <a:cubicBezTo>
                        <a:pt x="160201" y="166592"/>
                        <a:pt x="166582" y="73057"/>
                        <a:pt x="132387" y="0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9" name="Freihandform: Form 158">
                  <a:extLst>
                    <a:ext uri="{FF2B5EF4-FFF2-40B4-BE49-F238E27FC236}">
                      <a16:creationId xmlns:a16="http://schemas.microsoft.com/office/drawing/2014/main" id="{9724B1A0-2EC5-CA8A-1856-A5CE13B9B99A}"/>
                    </a:ext>
                  </a:extLst>
                </p:cNvPr>
                <p:cNvSpPr/>
                <p:nvPr/>
              </p:nvSpPr>
              <p:spPr>
                <a:xfrm>
                  <a:off x="8695689" y="9943306"/>
                  <a:ext cx="330837" cy="409959"/>
                </a:xfrm>
                <a:custGeom>
                  <a:avLst/>
                  <a:gdLst>
                    <a:gd name="connsiteX0" fmla="*/ 49911 w 330837"/>
                    <a:gd name="connsiteY0" fmla="*/ 0 h 409959"/>
                    <a:gd name="connsiteX1" fmla="*/ 37338 w 330837"/>
                    <a:gd name="connsiteY1" fmla="*/ 351377 h 409959"/>
                    <a:gd name="connsiteX2" fmla="*/ 330804 w 330837"/>
                    <a:gd name="connsiteY2" fmla="*/ 359093 h 409959"/>
                    <a:gd name="connsiteX3" fmla="*/ 0 w 330837"/>
                    <a:gd name="connsiteY3" fmla="*/ 388715 h 409959"/>
                    <a:gd name="connsiteX4" fmla="*/ 25146 w 330837"/>
                    <a:gd name="connsiteY4" fmla="*/ 81724 h 409959"/>
                    <a:gd name="connsiteX5" fmla="*/ 49911 w 330837"/>
                    <a:gd name="connsiteY5" fmla="*/ 0 h 409959"/>
                    <a:gd name="connsiteX6" fmla="*/ 49911 w 330837"/>
                    <a:gd name="connsiteY6" fmla="*/ 0 h 409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30837" h="409959">
                      <a:moveTo>
                        <a:pt x="49911" y="0"/>
                      </a:moveTo>
                      <a:cubicBezTo>
                        <a:pt x="49911" y="0"/>
                        <a:pt x="33909" y="310229"/>
                        <a:pt x="37338" y="351377"/>
                      </a:cubicBezTo>
                      <a:cubicBezTo>
                        <a:pt x="43149" y="368713"/>
                        <a:pt x="307372" y="358616"/>
                        <a:pt x="330804" y="359093"/>
                      </a:cubicBezTo>
                      <a:cubicBezTo>
                        <a:pt x="334709" y="393859"/>
                        <a:pt x="0" y="436340"/>
                        <a:pt x="0" y="388715"/>
                      </a:cubicBezTo>
                      <a:cubicBezTo>
                        <a:pt x="0" y="341090"/>
                        <a:pt x="20193" y="122015"/>
                        <a:pt x="25146" y="81724"/>
                      </a:cubicBezTo>
                      <a:cubicBezTo>
                        <a:pt x="31909" y="25813"/>
                        <a:pt x="32861" y="8572"/>
                        <a:pt x="49911" y="0"/>
                      </a:cubicBezTo>
                      <a:lnTo>
                        <a:pt x="49911" y="0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0" name="Freihandform: Form 159">
                  <a:extLst>
                    <a:ext uri="{FF2B5EF4-FFF2-40B4-BE49-F238E27FC236}">
                      <a16:creationId xmlns:a16="http://schemas.microsoft.com/office/drawing/2014/main" id="{ECD1431D-A7A3-E30B-0D66-4FF18466F40D}"/>
                    </a:ext>
                  </a:extLst>
                </p:cNvPr>
                <p:cNvSpPr/>
                <p:nvPr/>
              </p:nvSpPr>
              <p:spPr>
                <a:xfrm>
                  <a:off x="9393395" y="8211756"/>
                  <a:ext cx="575977" cy="3121056"/>
                </a:xfrm>
                <a:custGeom>
                  <a:avLst/>
                  <a:gdLst>
                    <a:gd name="connsiteX0" fmla="*/ 575977 w 575977"/>
                    <a:gd name="connsiteY0" fmla="*/ 3121057 h 3121056"/>
                    <a:gd name="connsiteX1" fmla="*/ 377857 w 575977"/>
                    <a:gd name="connsiteY1" fmla="*/ 1113854 h 3121056"/>
                    <a:gd name="connsiteX2" fmla="*/ 358997 w 575977"/>
                    <a:gd name="connsiteY2" fmla="*/ 581597 h 3121056"/>
                    <a:gd name="connsiteX3" fmla="*/ 540925 w 575977"/>
                    <a:gd name="connsiteY3" fmla="*/ 220123 h 3121056"/>
                    <a:gd name="connsiteX4" fmla="*/ 102680 w 575977"/>
                    <a:gd name="connsiteY4" fmla="*/ 0 h 3121056"/>
                    <a:gd name="connsiteX5" fmla="*/ 0 w 575977"/>
                    <a:gd name="connsiteY5" fmla="*/ 552926 h 3121056"/>
                    <a:gd name="connsiteX6" fmla="*/ 47816 w 575977"/>
                    <a:gd name="connsiteY6" fmla="*/ 3120962 h 3121056"/>
                    <a:gd name="connsiteX7" fmla="*/ 575977 w 575977"/>
                    <a:gd name="connsiteY7" fmla="*/ 3120962 h 3121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75977" h="3121056">
                      <a:moveTo>
                        <a:pt x="575977" y="3121057"/>
                      </a:moveTo>
                      <a:cubicBezTo>
                        <a:pt x="522923" y="2803493"/>
                        <a:pt x="605219" y="1706594"/>
                        <a:pt x="377857" y="1113854"/>
                      </a:cubicBezTo>
                      <a:cubicBezTo>
                        <a:pt x="374904" y="722757"/>
                        <a:pt x="358997" y="581597"/>
                        <a:pt x="358997" y="581597"/>
                      </a:cubicBezTo>
                      <a:cubicBezTo>
                        <a:pt x="358997" y="581597"/>
                        <a:pt x="448437" y="372523"/>
                        <a:pt x="540925" y="220123"/>
                      </a:cubicBezTo>
                      <a:cubicBezTo>
                        <a:pt x="496729" y="112681"/>
                        <a:pt x="254889" y="58102"/>
                        <a:pt x="102680" y="0"/>
                      </a:cubicBezTo>
                      <a:lnTo>
                        <a:pt x="0" y="552926"/>
                      </a:lnTo>
                      <a:lnTo>
                        <a:pt x="47816" y="3120962"/>
                      </a:lnTo>
                      <a:lnTo>
                        <a:pt x="575977" y="312096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1" name="Freihandform: Form 160">
                  <a:extLst>
                    <a:ext uri="{FF2B5EF4-FFF2-40B4-BE49-F238E27FC236}">
                      <a16:creationId xmlns:a16="http://schemas.microsoft.com/office/drawing/2014/main" id="{E94B8753-FD2E-50BC-C29D-31EA77A7B3D5}"/>
                    </a:ext>
                  </a:extLst>
                </p:cNvPr>
                <p:cNvSpPr/>
                <p:nvPr/>
              </p:nvSpPr>
              <p:spPr>
                <a:xfrm>
                  <a:off x="9346962" y="8048069"/>
                  <a:ext cx="321998" cy="541925"/>
                </a:xfrm>
                <a:custGeom>
                  <a:avLst/>
                  <a:gdLst>
                    <a:gd name="connsiteX0" fmla="*/ 108251 w 321998"/>
                    <a:gd name="connsiteY0" fmla="*/ 79486 h 541925"/>
                    <a:gd name="connsiteX1" fmla="*/ 300084 w 321998"/>
                    <a:gd name="connsiteY1" fmla="*/ 216265 h 541925"/>
                    <a:gd name="connsiteX2" fmla="*/ 180641 w 321998"/>
                    <a:gd name="connsiteY2" fmla="*/ 354378 h 541925"/>
                    <a:gd name="connsiteX3" fmla="*/ 149113 w 321998"/>
                    <a:gd name="connsiteY3" fmla="*/ 541925 h 541925"/>
                    <a:gd name="connsiteX4" fmla="*/ 35289 w 321998"/>
                    <a:gd name="connsiteY4" fmla="*/ 264176 h 541925"/>
                    <a:gd name="connsiteX5" fmla="*/ 108251 w 321998"/>
                    <a:gd name="connsiteY5" fmla="*/ 79486 h 541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1998" h="541925">
                      <a:moveTo>
                        <a:pt x="108251" y="79486"/>
                      </a:moveTo>
                      <a:cubicBezTo>
                        <a:pt x="82534" y="-113585"/>
                        <a:pt x="407717" y="89964"/>
                        <a:pt x="300084" y="216265"/>
                      </a:cubicBezTo>
                      <a:cubicBezTo>
                        <a:pt x="300084" y="216265"/>
                        <a:pt x="221217" y="286750"/>
                        <a:pt x="180641" y="354378"/>
                      </a:cubicBezTo>
                      <a:cubicBezTo>
                        <a:pt x="140064" y="422005"/>
                        <a:pt x="146256" y="484870"/>
                        <a:pt x="149113" y="541925"/>
                      </a:cubicBezTo>
                      <a:cubicBezTo>
                        <a:pt x="-20336" y="527161"/>
                        <a:pt x="-25194" y="321612"/>
                        <a:pt x="35289" y="264176"/>
                      </a:cubicBezTo>
                      <a:cubicBezTo>
                        <a:pt x="133968" y="170450"/>
                        <a:pt x="123015" y="126635"/>
                        <a:pt x="108251" y="7948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2" name="Freihandform: Form 161">
                  <a:extLst>
                    <a:ext uri="{FF2B5EF4-FFF2-40B4-BE49-F238E27FC236}">
                      <a16:creationId xmlns:a16="http://schemas.microsoft.com/office/drawing/2014/main" id="{EF20A702-583F-A000-508D-7D09859DA7CB}"/>
                    </a:ext>
                  </a:extLst>
                </p:cNvPr>
                <p:cNvSpPr/>
                <p:nvPr/>
              </p:nvSpPr>
              <p:spPr>
                <a:xfrm>
                  <a:off x="8386350" y="9342088"/>
                  <a:ext cx="319816" cy="722471"/>
                </a:xfrm>
                <a:custGeom>
                  <a:avLst/>
                  <a:gdLst>
                    <a:gd name="connsiteX0" fmla="*/ 11778 w 319816"/>
                    <a:gd name="connsiteY0" fmla="*/ 722471 h 722471"/>
                    <a:gd name="connsiteX1" fmla="*/ 243998 w 319816"/>
                    <a:gd name="connsiteY1" fmla="*/ 722471 h 722471"/>
                    <a:gd name="connsiteX2" fmla="*/ 319817 w 319816"/>
                    <a:gd name="connsiteY2" fmla="*/ 42386 h 722471"/>
                    <a:gd name="connsiteX3" fmla="*/ 12350 w 319816"/>
                    <a:gd name="connsiteY3" fmla="*/ 0 h 722471"/>
                    <a:gd name="connsiteX4" fmla="*/ 11683 w 319816"/>
                    <a:gd name="connsiteY4" fmla="*/ 722471 h 7224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9816" h="722471">
                      <a:moveTo>
                        <a:pt x="11778" y="722471"/>
                      </a:moveTo>
                      <a:lnTo>
                        <a:pt x="243998" y="722471"/>
                      </a:lnTo>
                      <a:cubicBezTo>
                        <a:pt x="243998" y="722471"/>
                        <a:pt x="304100" y="215360"/>
                        <a:pt x="319817" y="42386"/>
                      </a:cubicBezTo>
                      <a:lnTo>
                        <a:pt x="12350" y="0"/>
                      </a:lnTo>
                      <a:cubicBezTo>
                        <a:pt x="12350" y="339566"/>
                        <a:pt x="-14987" y="531781"/>
                        <a:pt x="11683" y="72247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3" name="Freihandform: Form 162">
                  <a:extLst>
                    <a:ext uri="{FF2B5EF4-FFF2-40B4-BE49-F238E27FC236}">
                      <a16:creationId xmlns:a16="http://schemas.microsoft.com/office/drawing/2014/main" id="{A9858B92-41E1-D564-8C3B-907D068FCFBF}"/>
                    </a:ext>
                  </a:extLst>
                </p:cNvPr>
                <p:cNvSpPr/>
                <p:nvPr/>
              </p:nvSpPr>
              <p:spPr>
                <a:xfrm>
                  <a:off x="9633235" y="8339391"/>
                  <a:ext cx="314705" cy="314706"/>
                </a:xfrm>
                <a:custGeom>
                  <a:avLst/>
                  <a:gdLst>
                    <a:gd name="connsiteX0" fmla="*/ 314706 w 314705"/>
                    <a:gd name="connsiteY0" fmla="*/ 157353 h 314706"/>
                    <a:gd name="connsiteX1" fmla="*/ 157353 w 314705"/>
                    <a:gd name="connsiteY1" fmla="*/ 314706 h 314706"/>
                    <a:gd name="connsiteX2" fmla="*/ 0 w 314705"/>
                    <a:gd name="connsiteY2" fmla="*/ 157353 h 314706"/>
                    <a:gd name="connsiteX3" fmla="*/ 157353 w 314705"/>
                    <a:gd name="connsiteY3" fmla="*/ 0 h 314706"/>
                    <a:gd name="connsiteX4" fmla="*/ 314706 w 314705"/>
                    <a:gd name="connsiteY4" fmla="*/ 157353 h 314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4705" h="314706">
                      <a:moveTo>
                        <a:pt x="314706" y="157353"/>
                      </a:moveTo>
                      <a:cubicBezTo>
                        <a:pt x="314706" y="244257"/>
                        <a:pt x="244257" y="314706"/>
                        <a:pt x="157353" y="314706"/>
                      </a:cubicBezTo>
                      <a:cubicBezTo>
                        <a:pt x="70449" y="314706"/>
                        <a:pt x="0" y="244257"/>
                        <a:pt x="0" y="157353"/>
                      </a:cubicBezTo>
                      <a:cubicBezTo>
                        <a:pt x="0" y="70449"/>
                        <a:pt x="70449" y="0"/>
                        <a:pt x="157353" y="0"/>
                      </a:cubicBezTo>
                      <a:cubicBezTo>
                        <a:pt x="244256" y="0"/>
                        <a:pt x="314706" y="70449"/>
                        <a:pt x="314706" y="15735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4" name="Freihandform: Form 163">
                  <a:extLst>
                    <a:ext uri="{FF2B5EF4-FFF2-40B4-BE49-F238E27FC236}">
                      <a16:creationId xmlns:a16="http://schemas.microsoft.com/office/drawing/2014/main" id="{1BC5C391-05AC-9562-1452-E6FD39E1ED8C}"/>
                    </a:ext>
                  </a:extLst>
                </p:cNvPr>
                <p:cNvSpPr/>
                <p:nvPr/>
              </p:nvSpPr>
              <p:spPr>
                <a:xfrm>
                  <a:off x="9658000" y="8417591"/>
                  <a:ext cx="625982" cy="890015"/>
                </a:xfrm>
                <a:custGeom>
                  <a:avLst/>
                  <a:gdLst>
                    <a:gd name="connsiteX0" fmla="*/ 625888 w 625982"/>
                    <a:gd name="connsiteY0" fmla="*/ 774287 h 890015"/>
                    <a:gd name="connsiteX1" fmla="*/ 334518 w 625982"/>
                    <a:gd name="connsiteY1" fmla="*/ 890016 h 890015"/>
                    <a:gd name="connsiteX2" fmla="*/ 135064 w 625982"/>
                    <a:gd name="connsiteY2" fmla="*/ 426720 h 890015"/>
                    <a:gd name="connsiteX3" fmla="*/ 0 w 625982"/>
                    <a:gd name="connsiteY3" fmla="*/ 163163 h 890015"/>
                    <a:gd name="connsiteX4" fmla="*/ 268986 w 625982"/>
                    <a:gd name="connsiteY4" fmla="*/ 0 h 890015"/>
                    <a:gd name="connsiteX5" fmla="*/ 430339 w 625982"/>
                    <a:gd name="connsiteY5" fmla="*/ 315373 h 890015"/>
                    <a:gd name="connsiteX6" fmla="*/ 625983 w 625982"/>
                    <a:gd name="connsiteY6" fmla="*/ 774287 h 890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5982" h="890015">
                      <a:moveTo>
                        <a:pt x="625888" y="774287"/>
                      </a:moveTo>
                      <a:lnTo>
                        <a:pt x="334518" y="890016"/>
                      </a:lnTo>
                      <a:lnTo>
                        <a:pt x="135064" y="426720"/>
                      </a:lnTo>
                      <a:lnTo>
                        <a:pt x="0" y="163163"/>
                      </a:lnTo>
                      <a:lnTo>
                        <a:pt x="268986" y="0"/>
                      </a:lnTo>
                      <a:cubicBezTo>
                        <a:pt x="311182" y="74009"/>
                        <a:pt x="367665" y="187928"/>
                        <a:pt x="430339" y="315373"/>
                      </a:cubicBezTo>
                      <a:cubicBezTo>
                        <a:pt x="529780" y="517589"/>
                        <a:pt x="625983" y="774287"/>
                        <a:pt x="625983" y="77428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5" name="Freihandform: Form 164">
                  <a:extLst>
                    <a:ext uri="{FF2B5EF4-FFF2-40B4-BE49-F238E27FC236}">
                      <a16:creationId xmlns:a16="http://schemas.microsoft.com/office/drawing/2014/main" id="{FC2F2DBD-EF16-FDCF-5CD0-F1C7EADFA2F8}"/>
                    </a:ext>
                  </a:extLst>
                </p:cNvPr>
                <p:cNvSpPr/>
                <p:nvPr/>
              </p:nvSpPr>
              <p:spPr>
                <a:xfrm>
                  <a:off x="9381870" y="8729059"/>
                  <a:ext cx="596360" cy="785241"/>
                </a:xfrm>
                <a:custGeom>
                  <a:avLst/>
                  <a:gdLst>
                    <a:gd name="connsiteX0" fmla="*/ 572548 w 596360"/>
                    <a:gd name="connsiteY0" fmla="*/ 0 h 785241"/>
                    <a:gd name="connsiteX1" fmla="*/ 596360 w 596360"/>
                    <a:gd name="connsiteY1" fmla="*/ 23813 h 785241"/>
                    <a:gd name="connsiteX2" fmla="*/ 596360 w 596360"/>
                    <a:gd name="connsiteY2" fmla="*/ 761429 h 785241"/>
                    <a:gd name="connsiteX3" fmla="*/ 572548 w 596360"/>
                    <a:gd name="connsiteY3" fmla="*/ 785241 h 785241"/>
                    <a:gd name="connsiteX4" fmla="*/ 23813 w 596360"/>
                    <a:gd name="connsiteY4" fmla="*/ 785241 h 785241"/>
                    <a:gd name="connsiteX5" fmla="*/ 0 w 596360"/>
                    <a:gd name="connsiteY5" fmla="*/ 761429 h 785241"/>
                    <a:gd name="connsiteX6" fmla="*/ 0 w 596360"/>
                    <a:gd name="connsiteY6" fmla="*/ 23813 h 785241"/>
                    <a:gd name="connsiteX7" fmla="*/ 23813 w 596360"/>
                    <a:gd name="connsiteY7" fmla="*/ 0 h 785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96360" h="785241">
                      <a:moveTo>
                        <a:pt x="572548" y="0"/>
                      </a:moveTo>
                      <a:cubicBezTo>
                        <a:pt x="585699" y="0"/>
                        <a:pt x="596360" y="10661"/>
                        <a:pt x="596360" y="23813"/>
                      </a:cubicBezTo>
                      <a:lnTo>
                        <a:pt x="596360" y="761429"/>
                      </a:lnTo>
                      <a:cubicBezTo>
                        <a:pt x="596360" y="774580"/>
                        <a:pt x="585699" y="785241"/>
                        <a:pt x="572548" y="785241"/>
                      </a:cubicBezTo>
                      <a:lnTo>
                        <a:pt x="23813" y="785241"/>
                      </a:lnTo>
                      <a:cubicBezTo>
                        <a:pt x="10661" y="785241"/>
                        <a:pt x="0" y="774580"/>
                        <a:pt x="0" y="761429"/>
                      </a:cubicBezTo>
                      <a:lnTo>
                        <a:pt x="0" y="23813"/>
                      </a:lnTo>
                      <a:cubicBezTo>
                        <a:pt x="0" y="10661"/>
                        <a:pt x="10661" y="0"/>
                        <a:pt x="23813" y="0"/>
                      </a:cubicBezTo>
                      <a:close/>
                    </a:path>
                  </a:pathLst>
                </a:custGeom>
                <a:solidFill>
                  <a:srgbClr val="EDEDE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6" name="Freihandform: Form 165">
                  <a:extLst>
                    <a:ext uri="{FF2B5EF4-FFF2-40B4-BE49-F238E27FC236}">
                      <a16:creationId xmlns:a16="http://schemas.microsoft.com/office/drawing/2014/main" id="{74F51648-D0C5-7588-444D-05093F679C0E}"/>
                    </a:ext>
                  </a:extLst>
                </p:cNvPr>
                <p:cNvSpPr/>
                <p:nvPr/>
              </p:nvSpPr>
              <p:spPr>
                <a:xfrm>
                  <a:off x="9348914" y="8729059"/>
                  <a:ext cx="596360" cy="785241"/>
                </a:xfrm>
                <a:custGeom>
                  <a:avLst/>
                  <a:gdLst>
                    <a:gd name="connsiteX0" fmla="*/ 0 w 596360"/>
                    <a:gd name="connsiteY0" fmla="*/ 0 h 785241"/>
                    <a:gd name="connsiteX1" fmla="*/ 596360 w 596360"/>
                    <a:gd name="connsiteY1" fmla="*/ 0 h 785241"/>
                    <a:gd name="connsiteX2" fmla="*/ 596360 w 596360"/>
                    <a:gd name="connsiteY2" fmla="*/ 785241 h 785241"/>
                    <a:gd name="connsiteX3" fmla="*/ 0 w 596360"/>
                    <a:gd name="connsiteY3" fmla="*/ 785241 h 785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96360" h="785241">
                      <a:moveTo>
                        <a:pt x="0" y="0"/>
                      </a:moveTo>
                      <a:lnTo>
                        <a:pt x="596360" y="0"/>
                      </a:lnTo>
                      <a:lnTo>
                        <a:pt x="596360" y="785241"/>
                      </a:lnTo>
                      <a:lnTo>
                        <a:pt x="0" y="785241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7" name="Freihandform: Form 166">
                  <a:extLst>
                    <a:ext uri="{FF2B5EF4-FFF2-40B4-BE49-F238E27FC236}">
                      <a16:creationId xmlns:a16="http://schemas.microsoft.com/office/drawing/2014/main" id="{E6236043-A530-38BD-D818-F119299DE817}"/>
                    </a:ext>
                  </a:extLst>
                </p:cNvPr>
                <p:cNvSpPr/>
                <p:nvPr/>
              </p:nvSpPr>
              <p:spPr>
                <a:xfrm>
                  <a:off x="9578942" y="8850693"/>
                  <a:ext cx="123253" cy="123253"/>
                </a:xfrm>
                <a:custGeom>
                  <a:avLst/>
                  <a:gdLst>
                    <a:gd name="connsiteX0" fmla="*/ 123254 w 123253"/>
                    <a:gd name="connsiteY0" fmla="*/ 61627 h 123253"/>
                    <a:gd name="connsiteX1" fmla="*/ 61627 w 123253"/>
                    <a:gd name="connsiteY1" fmla="*/ 123253 h 123253"/>
                    <a:gd name="connsiteX2" fmla="*/ 1 w 123253"/>
                    <a:gd name="connsiteY2" fmla="*/ 61627 h 123253"/>
                    <a:gd name="connsiteX3" fmla="*/ 61627 w 123253"/>
                    <a:gd name="connsiteY3" fmla="*/ 0 h 123253"/>
                    <a:gd name="connsiteX4" fmla="*/ 123254 w 123253"/>
                    <a:gd name="connsiteY4" fmla="*/ 61627 h 1232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3253" h="123253">
                      <a:moveTo>
                        <a:pt x="123254" y="61627"/>
                      </a:moveTo>
                      <a:cubicBezTo>
                        <a:pt x="123254" y="95662"/>
                        <a:pt x="95662" y="123253"/>
                        <a:pt x="61627" y="123253"/>
                      </a:cubicBezTo>
                      <a:cubicBezTo>
                        <a:pt x="27592" y="123253"/>
                        <a:pt x="1" y="95662"/>
                        <a:pt x="1" y="61627"/>
                      </a:cubicBezTo>
                      <a:cubicBezTo>
                        <a:pt x="1" y="27591"/>
                        <a:pt x="27592" y="0"/>
                        <a:pt x="61627" y="0"/>
                      </a:cubicBezTo>
                      <a:cubicBezTo>
                        <a:pt x="95663" y="0"/>
                        <a:pt x="123254" y="27591"/>
                        <a:pt x="123254" y="61627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8" name="Freihandform: Form 167">
                  <a:extLst>
                    <a:ext uri="{FF2B5EF4-FFF2-40B4-BE49-F238E27FC236}">
                      <a16:creationId xmlns:a16="http://schemas.microsoft.com/office/drawing/2014/main" id="{8E3FA608-B7E8-8DD6-4AB6-F61DC357A081}"/>
                    </a:ext>
                  </a:extLst>
                </p:cNvPr>
                <p:cNvSpPr/>
                <p:nvPr/>
              </p:nvSpPr>
              <p:spPr>
                <a:xfrm>
                  <a:off x="9852024" y="8764778"/>
                  <a:ext cx="24955" cy="24955"/>
                </a:xfrm>
                <a:custGeom>
                  <a:avLst/>
                  <a:gdLst>
                    <a:gd name="connsiteX0" fmla="*/ 24955 w 24955"/>
                    <a:gd name="connsiteY0" fmla="*/ 12478 h 24955"/>
                    <a:gd name="connsiteX1" fmla="*/ 12478 w 24955"/>
                    <a:gd name="connsiteY1" fmla="*/ 24955 h 24955"/>
                    <a:gd name="connsiteX2" fmla="*/ 0 w 24955"/>
                    <a:gd name="connsiteY2" fmla="*/ 12478 h 24955"/>
                    <a:gd name="connsiteX3" fmla="*/ 12478 w 24955"/>
                    <a:gd name="connsiteY3" fmla="*/ 0 h 24955"/>
                    <a:gd name="connsiteX4" fmla="*/ 24955 w 24955"/>
                    <a:gd name="connsiteY4" fmla="*/ 12478 h 24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955" h="24955">
                      <a:moveTo>
                        <a:pt x="24955" y="12478"/>
                      </a:moveTo>
                      <a:cubicBezTo>
                        <a:pt x="24955" y="19369"/>
                        <a:pt x="19369" y="24955"/>
                        <a:pt x="12478" y="24955"/>
                      </a:cubicBezTo>
                      <a:cubicBezTo>
                        <a:pt x="5586" y="24955"/>
                        <a:pt x="0" y="19369"/>
                        <a:pt x="0" y="12478"/>
                      </a:cubicBezTo>
                      <a:cubicBezTo>
                        <a:pt x="0" y="5586"/>
                        <a:pt x="5586" y="0"/>
                        <a:pt x="12478" y="0"/>
                      </a:cubicBezTo>
                      <a:cubicBezTo>
                        <a:pt x="19369" y="0"/>
                        <a:pt x="24955" y="5586"/>
                        <a:pt x="24955" y="12478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9" name="Freihandform: Form 168">
                  <a:extLst>
                    <a:ext uri="{FF2B5EF4-FFF2-40B4-BE49-F238E27FC236}">
                      <a16:creationId xmlns:a16="http://schemas.microsoft.com/office/drawing/2014/main" id="{CB385690-8B69-8E62-847B-E8CA154DE699}"/>
                    </a:ext>
                  </a:extLst>
                </p:cNvPr>
                <p:cNvSpPr/>
                <p:nvPr/>
              </p:nvSpPr>
              <p:spPr>
                <a:xfrm>
                  <a:off x="9472929" y="9031097"/>
                  <a:ext cx="135255" cy="135254"/>
                </a:xfrm>
                <a:custGeom>
                  <a:avLst/>
                  <a:gdLst>
                    <a:gd name="connsiteX0" fmla="*/ 135255 w 135255"/>
                    <a:gd name="connsiteY0" fmla="*/ 67628 h 135254"/>
                    <a:gd name="connsiteX1" fmla="*/ 67628 w 135255"/>
                    <a:gd name="connsiteY1" fmla="*/ 135255 h 135254"/>
                    <a:gd name="connsiteX2" fmla="*/ 1 w 135255"/>
                    <a:gd name="connsiteY2" fmla="*/ 67628 h 135254"/>
                    <a:gd name="connsiteX3" fmla="*/ 67628 w 135255"/>
                    <a:gd name="connsiteY3" fmla="*/ 0 h 135254"/>
                    <a:gd name="connsiteX4" fmla="*/ 135255 w 135255"/>
                    <a:gd name="connsiteY4" fmla="*/ 67628 h 1352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255" h="135254">
                      <a:moveTo>
                        <a:pt x="135255" y="67628"/>
                      </a:moveTo>
                      <a:cubicBezTo>
                        <a:pt x="135255" y="104977"/>
                        <a:pt x="104977" y="135255"/>
                        <a:pt x="67628" y="135255"/>
                      </a:cubicBezTo>
                      <a:cubicBezTo>
                        <a:pt x="30279" y="135255"/>
                        <a:pt x="1" y="104977"/>
                        <a:pt x="1" y="67628"/>
                      </a:cubicBezTo>
                      <a:cubicBezTo>
                        <a:pt x="1" y="30278"/>
                        <a:pt x="30279" y="0"/>
                        <a:pt x="67628" y="0"/>
                      </a:cubicBezTo>
                      <a:cubicBezTo>
                        <a:pt x="104977" y="0"/>
                        <a:pt x="135255" y="30278"/>
                        <a:pt x="135255" y="6762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0" name="Freihandform: Form 169">
                  <a:extLst>
                    <a:ext uri="{FF2B5EF4-FFF2-40B4-BE49-F238E27FC236}">
                      <a16:creationId xmlns:a16="http://schemas.microsoft.com/office/drawing/2014/main" id="{9ACC2546-94E8-6ACA-417C-4F295F918A47}"/>
                    </a:ext>
                  </a:extLst>
                </p:cNvPr>
                <p:cNvSpPr/>
                <p:nvPr/>
              </p:nvSpPr>
              <p:spPr>
                <a:xfrm>
                  <a:off x="9261970" y="8864885"/>
                  <a:ext cx="308150" cy="265148"/>
                </a:xfrm>
                <a:custGeom>
                  <a:avLst/>
                  <a:gdLst>
                    <a:gd name="connsiteX0" fmla="*/ 167049 w 308150"/>
                    <a:gd name="connsiteY0" fmla="*/ 59246 h 265148"/>
                    <a:gd name="connsiteX1" fmla="*/ 245725 w 308150"/>
                    <a:gd name="connsiteY1" fmla="*/ 106299 h 265148"/>
                    <a:gd name="connsiteX2" fmla="*/ 306685 w 308150"/>
                    <a:gd name="connsiteY2" fmla="*/ 206788 h 265148"/>
                    <a:gd name="connsiteX3" fmla="*/ 197338 w 308150"/>
                    <a:gd name="connsiteY3" fmla="*/ 239173 h 265148"/>
                    <a:gd name="connsiteX4" fmla="*/ 131520 w 308150"/>
                    <a:gd name="connsiteY4" fmla="*/ 136588 h 265148"/>
                    <a:gd name="connsiteX5" fmla="*/ 67322 w 308150"/>
                    <a:gd name="connsiteY5" fmla="*/ 96012 h 265148"/>
                    <a:gd name="connsiteX6" fmla="*/ 67322 w 308150"/>
                    <a:gd name="connsiteY6" fmla="*/ 96012 h 265148"/>
                    <a:gd name="connsiteX7" fmla="*/ 22269 w 308150"/>
                    <a:gd name="connsiteY7" fmla="*/ 64579 h 265148"/>
                    <a:gd name="connsiteX8" fmla="*/ 5790 w 308150"/>
                    <a:gd name="connsiteY8" fmla="*/ 0 h 265148"/>
                    <a:gd name="connsiteX9" fmla="*/ 71036 w 308150"/>
                    <a:gd name="connsiteY9" fmla="*/ 37147 h 265148"/>
                    <a:gd name="connsiteX10" fmla="*/ 166000 w 308150"/>
                    <a:gd name="connsiteY10" fmla="*/ 58674 h 265148"/>
                    <a:gd name="connsiteX11" fmla="*/ 166572 w 308150"/>
                    <a:gd name="connsiteY11" fmla="*/ 59912 h 265148"/>
                    <a:gd name="connsiteX12" fmla="*/ 167049 w 308150"/>
                    <a:gd name="connsiteY12" fmla="*/ 59150 h 265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08150" h="265148">
                      <a:moveTo>
                        <a:pt x="167049" y="59246"/>
                      </a:moveTo>
                      <a:cubicBezTo>
                        <a:pt x="167049" y="59246"/>
                        <a:pt x="224770" y="90297"/>
                        <a:pt x="245725" y="106299"/>
                      </a:cubicBezTo>
                      <a:cubicBezTo>
                        <a:pt x="245725" y="106299"/>
                        <a:pt x="319353" y="177927"/>
                        <a:pt x="306685" y="206788"/>
                      </a:cubicBezTo>
                      <a:cubicBezTo>
                        <a:pt x="283920" y="258699"/>
                        <a:pt x="207244" y="290322"/>
                        <a:pt x="197338" y="239173"/>
                      </a:cubicBezTo>
                      <a:cubicBezTo>
                        <a:pt x="186765" y="184975"/>
                        <a:pt x="139331" y="143256"/>
                        <a:pt x="131520" y="136588"/>
                      </a:cubicBezTo>
                      <a:lnTo>
                        <a:pt x="67322" y="96012"/>
                      </a:lnTo>
                      <a:cubicBezTo>
                        <a:pt x="67322" y="96012"/>
                        <a:pt x="67322" y="96012"/>
                        <a:pt x="67322" y="96012"/>
                      </a:cubicBezTo>
                      <a:cubicBezTo>
                        <a:pt x="53606" y="87154"/>
                        <a:pt x="37508" y="76009"/>
                        <a:pt x="22269" y="64579"/>
                      </a:cubicBezTo>
                      <a:cubicBezTo>
                        <a:pt x="1599" y="48958"/>
                        <a:pt x="-6497" y="32957"/>
                        <a:pt x="5790" y="0"/>
                      </a:cubicBezTo>
                      <a:lnTo>
                        <a:pt x="71036" y="37147"/>
                      </a:lnTo>
                      <a:cubicBezTo>
                        <a:pt x="71036" y="37147"/>
                        <a:pt x="167049" y="59150"/>
                        <a:pt x="166000" y="58674"/>
                      </a:cubicBezTo>
                      <a:cubicBezTo>
                        <a:pt x="166286" y="59055"/>
                        <a:pt x="166382" y="59531"/>
                        <a:pt x="166572" y="59912"/>
                      </a:cubicBezTo>
                      <a:cubicBezTo>
                        <a:pt x="166763" y="59626"/>
                        <a:pt x="166858" y="59436"/>
                        <a:pt x="167049" y="59150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1" name="Freihandform: Form 170">
                  <a:extLst>
                    <a:ext uri="{FF2B5EF4-FFF2-40B4-BE49-F238E27FC236}">
                      <a16:creationId xmlns:a16="http://schemas.microsoft.com/office/drawing/2014/main" id="{79F30F25-5747-1D05-31B3-B0E840E7A98A}"/>
                    </a:ext>
                  </a:extLst>
                </p:cNvPr>
                <p:cNvSpPr/>
                <p:nvPr/>
              </p:nvSpPr>
              <p:spPr>
                <a:xfrm>
                  <a:off x="9265221" y="8967683"/>
                  <a:ext cx="295814" cy="221737"/>
                </a:xfrm>
                <a:custGeom>
                  <a:avLst/>
                  <a:gdLst>
                    <a:gd name="connsiteX0" fmla="*/ 209422 w 295814"/>
                    <a:gd name="connsiteY0" fmla="*/ 11026 h 221737"/>
                    <a:gd name="connsiteX1" fmla="*/ 68357 w 295814"/>
                    <a:gd name="connsiteY1" fmla="*/ 15598 h 221737"/>
                    <a:gd name="connsiteX2" fmla="*/ 6158 w 295814"/>
                    <a:gd name="connsiteY2" fmla="*/ 29790 h 221737"/>
                    <a:gd name="connsiteX3" fmla="*/ 63785 w 295814"/>
                    <a:gd name="connsiteY3" fmla="*/ 220290 h 221737"/>
                    <a:gd name="connsiteX4" fmla="*/ 268382 w 295814"/>
                    <a:gd name="connsiteY4" fmla="*/ 198573 h 221737"/>
                    <a:gd name="connsiteX5" fmla="*/ 295814 w 295814"/>
                    <a:gd name="connsiteY5" fmla="*/ 73034 h 221737"/>
                    <a:gd name="connsiteX6" fmla="*/ 209422 w 295814"/>
                    <a:gd name="connsiteY6" fmla="*/ 11026 h 2217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95814" h="221737">
                      <a:moveTo>
                        <a:pt x="209422" y="11026"/>
                      </a:moveTo>
                      <a:cubicBezTo>
                        <a:pt x="153224" y="-16216"/>
                        <a:pt x="68357" y="15598"/>
                        <a:pt x="68357" y="15598"/>
                      </a:cubicBezTo>
                      <a:lnTo>
                        <a:pt x="6158" y="29790"/>
                      </a:lnTo>
                      <a:cubicBezTo>
                        <a:pt x="-10986" y="83416"/>
                        <a:pt x="7492" y="164188"/>
                        <a:pt x="63785" y="220290"/>
                      </a:cubicBezTo>
                      <a:cubicBezTo>
                        <a:pt x="156559" y="228577"/>
                        <a:pt x="268382" y="198573"/>
                        <a:pt x="268382" y="198573"/>
                      </a:cubicBezTo>
                      <a:lnTo>
                        <a:pt x="295814" y="73034"/>
                      </a:lnTo>
                      <a:cubicBezTo>
                        <a:pt x="295814" y="73034"/>
                        <a:pt x="265620" y="38172"/>
                        <a:pt x="209422" y="1102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2" name="Freihandform: Form 171">
                  <a:extLst>
                    <a:ext uri="{FF2B5EF4-FFF2-40B4-BE49-F238E27FC236}">
                      <a16:creationId xmlns:a16="http://schemas.microsoft.com/office/drawing/2014/main" id="{6DED3D6A-92C1-77E7-FFB1-F1A5144D74CF}"/>
                    </a:ext>
                  </a:extLst>
                </p:cNvPr>
                <p:cNvSpPr/>
                <p:nvPr/>
              </p:nvSpPr>
              <p:spPr>
                <a:xfrm>
                  <a:off x="9533603" y="9032430"/>
                  <a:ext cx="239553" cy="198405"/>
                </a:xfrm>
                <a:custGeom>
                  <a:avLst/>
                  <a:gdLst>
                    <a:gd name="connsiteX0" fmla="*/ 0 w 239553"/>
                    <a:gd name="connsiteY0" fmla="*/ 133826 h 198405"/>
                    <a:gd name="connsiteX1" fmla="*/ 20478 w 239553"/>
                    <a:gd name="connsiteY1" fmla="*/ 0 h 198405"/>
                    <a:gd name="connsiteX2" fmla="*/ 239553 w 239553"/>
                    <a:gd name="connsiteY2" fmla="*/ 49721 h 198405"/>
                    <a:gd name="connsiteX3" fmla="*/ 200406 w 239553"/>
                    <a:gd name="connsiteY3" fmla="*/ 198406 h 198405"/>
                    <a:gd name="connsiteX4" fmla="*/ 0 w 239553"/>
                    <a:gd name="connsiteY4" fmla="*/ 133826 h 198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9553" h="198405">
                      <a:moveTo>
                        <a:pt x="0" y="133826"/>
                      </a:moveTo>
                      <a:lnTo>
                        <a:pt x="20478" y="0"/>
                      </a:lnTo>
                      <a:lnTo>
                        <a:pt x="239553" y="49721"/>
                      </a:lnTo>
                      <a:lnTo>
                        <a:pt x="200406" y="198406"/>
                      </a:lnTo>
                      <a:lnTo>
                        <a:pt x="0" y="133826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3" name="Freihandform: Form 172">
                  <a:extLst>
                    <a:ext uri="{FF2B5EF4-FFF2-40B4-BE49-F238E27FC236}">
                      <a16:creationId xmlns:a16="http://schemas.microsoft.com/office/drawing/2014/main" id="{A8B23441-EC8B-C244-F244-F1E9075E26B1}"/>
                    </a:ext>
                  </a:extLst>
                </p:cNvPr>
                <p:cNvSpPr/>
                <p:nvPr/>
              </p:nvSpPr>
              <p:spPr>
                <a:xfrm>
                  <a:off x="9549034" y="9025226"/>
                  <a:ext cx="631316" cy="372202"/>
                </a:xfrm>
                <a:custGeom>
                  <a:avLst/>
                  <a:gdLst>
                    <a:gd name="connsiteX0" fmla="*/ 0 w 631316"/>
                    <a:gd name="connsiteY0" fmla="*/ 261998 h 372202"/>
                    <a:gd name="connsiteX1" fmla="*/ 59912 w 631316"/>
                    <a:gd name="connsiteY1" fmla="*/ 5776 h 372202"/>
                    <a:gd name="connsiteX2" fmla="*/ 173831 w 631316"/>
                    <a:gd name="connsiteY2" fmla="*/ 1585 h 372202"/>
                    <a:gd name="connsiteX3" fmla="*/ 631317 w 631316"/>
                    <a:gd name="connsiteY3" fmla="*/ 68069 h 372202"/>
                    <a:gd name="connsiteX4" fmla="*/ 555403 w 631316"/>
                    <a:gd name="connsiteY4" fmla="*/ 372202 h 372202"/>
                    <a:gd name="connsiteX5" fmla="*/ 0 w 631316"/>
                    <a:gd name="connsiteY5" fmla="*/ 261998 h 372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31316" h="372202">
                      <a:moveTo>
                        <a:pt x="0" y="261998"/>
                      </a:moveTo>
                      <a:lnTo>
                        <a:pt x="59912" y="5776"/>
                      </a:lnTo>
                      <a:cubicBezTo>
                        <a:pt x="59912" y="5776"/>
                        <a:pt x="102203" y="-3654"/>
                        <a:pt x="173831" y="1585"/>
                      </a:cubicBezTo>
                      <a:cubicBezTo>
                        <a:pt x="414051" y="19015"/>
                        <a:pt x="495585" y="31588"/>
                        <a:pt x="631317" y="68069"/>
                      </a:cubicBezTo>
                      <a:lnTo>
                        <a:pt x="555403" y="372202"/>
                      </a:lnTo>
                      <a:cubicBezTo>
                        <a:pt x="227171" y="313719"/>
                        <a:pt x="191929" y="311623"/>
                        <a:pt x="0" y="26199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4" name="Freihandform: Form 173">
                  <a:extLst>
                    <a:ext uri="{FF2B5EF4-FFF2-40B4-BE49-F238E27FC236}">
                      <a16:creationId xmlns:a16="http://schemas.microsoft.com/office/drawing/2014/main" id="{0E2E43BA-5289-EF1E-083B-DE6063896678}"/>
                    </a:ext>
                  </a:extLst>
                </p:cNvPr>
                <p:cNvSpPr/>
                <p:nvPr/>
              </p:nvSpPr>
              <p:spPr>
                <a:xfrm>
                  <a:off x="9978992" y="9086913"/>
                  <a:ext cx="313753" cy="313753"/>
                </a:xfrm>
                <a:custGeom>
                  <a:avLst/>
                  <a:gdLst>
                    <a:gd name="connsiteX0" fmla="*/ 313754 w 313753"/>
                    <a:gd name="connsiteY0" fmla="*/ 156877 h 313753"/>
                    <a:gd name="connsiteX1" fmla="*/ 156877 w 313753"/>
                    <a:gd name="connsiteY1" fmla="*/ 313754 h 313753"/>
                    <a:gd name="connsiteX2" fmla="*/ 1 w 313753"/>
                    <a:gd name="connsiteY2" fmla="*/ 156877 h 313753"/>
                    <a:gd name="connsiteX3" fmla="*/ 156877 w 313753"/>
                    <a:gd name="connsiteY3" fmla="*/ 0 h 313753"/>
                    <a:gd name="connsiteX4" fmla="*/ 313754 w 313753"/>
                    <a:gd name="connsiteY4" fmla="*/ 156877 h 313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3753" h="313753">
                      <a:moveTo>
                        <a:pt x="313754" y="156877"/>
                      </a:moveTo>
                      <a:cubicBezTo>
                        <a:pt x="313754" y="243517"/>
                        <a:pt x="243518" y="313754"/>
                        <a:pt x="156877" y="313754"/>
                      </a:cubicBezTo>
                      <a:cubicBezTo>
                        <a:pt x="70237" y="313754"/>
                        <a:pt x="1" y="243517"/>
                        <a:pt x="1" y="156877"/>
                      </a:cubicBezTo>
                      <a:cubicBezTo>
                        <a:pt x="1" y="70236"/>
                        <a:pt x="70237" y="0"/>
                        <a:pt x="156877" y="0"/>
                      </a:cubicBezTo>
                      <a:cubicBezTo>
                        <a:pt x="243518" y="0"/>
                        <a:pt x="313754" y="70236"/>
                        <a:pt x="313754" y="15687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5" name="Freihandform: Form 174">
                  <a:extLst>
                    <a:ext uri="{FF2B5EF4-FFF2-40B4-BE49-F238E27FC236}">
                      <a16:creationId xmlns:a16="http://schemas.microsoft.com/office/drawing/2014/main" id="{10391BBF-40C9-C432-8C03-88B1CB11431E}"/>
                    </a:ext>
                  </a:extLst>
                </p:cNvPr>
                <p:cNvSpPr/>
                <p:nvPr/>
              </p:nvSpPr>
              <p:spPr>
                <a:xfrm>
                  <a:off x="9533603" y="9032430"/>
                  <a:ext cx="239553" cy="198405"/>
                </a:xfrm>
                <a:custGeom>
                  <a:avLst/>
                  <a:gdLst>
                    <a:gd name="connsiteX0" fmla="*/ 0 w 239553"/>
                    <a:gd name="connsiteY0" fmla="*/ 133826 h 198405"/>
                    <a:gd name="connsiteX1" fmla="*/ 20478 w 239553"/>
                    <a:gd name="connsiteY1" fmla="*/ 0 h 198405"/>
                    <a:gd name="connsiteX2" fmla="*/ 239553 w 239553"/>
                    <a:gd name="connsiteY2" fmla="*/ 49721 h 198405"/>
                    <a:gd name="connsiteX3" fmla="*/ 200406 w 239553"/>
                    <a:gd name="connsiteY3" fmla="*/ 198406 h 198405"/>
                    <a:gd name="connsiteX4" fmla="*/ 0 w 239553"/>
                    <a:gd name="connsiteY4" fmla="*/ 133826 h 198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9553" h="198405">
                      <a:moveTo>
                        <a:pt x="0" y="133826"/>
                      </a:moveTo>
                      <a:lnTo>
                        <a:pt x="20478" y="0"/>
                      </a:lnTo>
                      <a:lnTo>
                        <a:pt x="239553" y="49721"/>
                      </a:lnTo>
                      <a:lnTo>
                        <a:pt x="200406" y="198406"/>
                      </a:lnTo>
                      <a:lnTo>
                        <a:pt x="0" y="133826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6" name="Freihandform: Form 175">
                  <a:extLst>
                    <a:ext uri="{FF2B5EF4-FFF2-40B4-BE49-F238E27FC236}">
                      <a16:creationId xmlns:a16="http://schemas.microsoft.com/office/drawing/2014/main" id="{1F2D9368-7508-98D3-6A61-0BCE20E6C1E6}"/>
                    </a:ext>
                  </a:extLst>
                </p:cNvPr>
                <p:cNvSpPr/>
                <p:nvPr/>
              </p:nvSpPr>
              <p:spPr>
                <a:xfrm>
                  <a:off x="9549034" y="9025226"/>
                  <a:ext cx="631316" cy="372202"/>
                </a:xfrm>
                <a:custGeom>
                  <a:avLst/>
                  <a:gdLst>
                    <a:gd name="connsiteX0" fmla="*/ 0 w 631316"/>
                    <a:gd name="connsiteY0" fmla="*/ 261998 h 372202"/>
                    <a:gd name="connsiteX1" fmla="*/ 59912 w 631316"/>
                    <a:gd name="connsiteY1" fmla="*/ 5776 h 372202"/>
                    <a:gd name="connsiteX2" fmla="*/ 173831 w 631316"/>
                    <a:gd name="connsiteY2" fmla="*/ 1585 h 372202"/>
                    <a:gd name="connsiteX3" fmla="*/ 631317 w 631316"/>
                    <a:gd name="connsiteY3" fmla="*/ 68069 h 372202"/>
                    <a:gd name="connsiteX4" fmla="*/ 555403 w 631316"/>
                    <a:gd name="connsiteY4" fmla="*/ 372202 h 372202"/>
                    <a:gd name="connsiteX5" fmla="*/ 0 w 631316"/>
                    <a:gd name="connsiteY5" fmla="*/ 261998 h 372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31316" h="372202">
                      <a:moveTo>
                        <a:pt x="0" y="261998"/>
                      </a:moveTo>
                      <a:lnTo>
                        <a:pt x="59912" y="5776"/>
                      </a:lnTo>
                      <a:cubicBezTo>
                        <a:pt x="59912" y="5776"/>
                        <a:pt x="102203" y="-3654"/>
                        <a:pt x="173831" y="1585"/>
                      </a:cubicBezTo>
                      <a:cubicBezTo>
                        <a:pt x="414051" y="19015"/>
                        <a:pt x="495585" y="31588"/>
                        <a:pt x="631317" y="68069"/>
                      </a:cubicBezTo>
                      <a:lnTo>
                        <a:pt x="555403" y="372202"/>
                      </a:lnTo>
                      <a:cubicBezTo>
                        <a:pt x="227171" y="313719"/>
                        <a:pt x="191929" y="311623"/>
                        <a:pt x="0" y="26199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7" name="Freihandform: Form 176">
                  <a:extLst>
                    <a:ext uri="{FF2B5EF4-FFF2-40B4-BE49-F238E27FC236}">
                      <a16:creationId xmlns:a16="http://schemas.microsoft.com/office/drawing/2014/main" id="{8B73AB5C-DF66-3E55-A2CE-9C6C01490669}"/>
                    </a:ext>
                  </a:extLst>
                </p:cNvPr>
                <p:cNvSpPr/>
                <p:nvPr/>
              </p:nvSpPr>
              <p:spPr>
                <a:xfrm>
                  <a:off x="9978992" y="9086913"/>
                  <a:ext cx="313753" cy="313753"/>
                </a:xfrm>
                <a:custGeom>
                  <a:avLst/>
                  <a:gdLst>
                    <a:gd name="connsiteX0" fmla="*/ 313754 w 313753"/>
                    <a:gd name="connsiteY0" fmla="*/ 156877 h 313753"/>
                    <a:gd name="connsiteX1" fmla="*/ 156877 w 313753"/>
                    <a:gd name="connsiteY1" fmla="*/ 313754 h 313753"/>
                    <a:gd name="connsiteX2" fmla="*/ 1 w 313753"/>
                    <a:gd name="connsiteY2" fmla="*/ 156877 h 313753"/>
                    <a:gd name="connsiteX3" fmla="*/ 156877 w 313753"/>
                    <a:gd name="connsiteY3" fmla="*/ 0 h 313753"/>
                    <a:gd name="connsiteX4" fmla="*/ 313754 w 313753"/>
                    <a:gd name="connsiteY4" fmla="*/ 156877 h 313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3753" h="313753">
                      <a:moveTo>
                        <a:pt x="313754" y="156877"/>
                      </a:moveTo>
                      <a:cubicBezTo>
                        <a:pt x="313754" y="243517"/>
                        <a:pt x="243518" y="313754"/>
                        <a:pt x="156877" y="313754"/>
                      </a:cubicBezTo>
                      <a:cubicBezTo>
                        <a:pt x="70237" y="313754"/>
                        <a:pt x="1" y="243517"/>
                        <a:pt x="1" y="156877"/>
                      </a:cubicBezTo>
                      <a:cubicBezTo>
                        <a:pt x="1" y="70236"/>
                        <a:pt x="70237" y="0"/>
                        <a:pt x="156877" y="0"/>
                      </a:cubicBezTo>
                      <a:cubicBezTo>
                        <a:pt x="243518" y="0"/>
                        <a:pt x="313754" y="70236"/>
                        <a:pt x="313754" y="15687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78" name="Grafik 23">
                <a:extLst>
                  <a:ext uri="{FF2B5EF4-FFF2-40B4-BE49-F238E27FC236}">
                    <a16:creationId xmlns:a16="http://schemas.microsoft.com/office/drawing/2014/main" id="{27BF7DDB-6FC1-6901-7629-C1105CC8EB35}"/>
                  </a:ext>
                </a:extLst>
              </p:cNvPr>
              <p:cNvGrpSpPr/>
              <p:nvPr/>
            </p:nvGrpSpPr>
            <p:grpSpPr>
              <a:xfrm>
                <a:off x="9633988" y="1862812"/>
                <a:ext cx="257205" cy="824026"/>
                <a:chOff x="5217159" y="666564"/>
                <a:chExt cx="1715547" cy="5496224"/>
              </a:xfrm>
            </p:grpSpPr>
            <p:grpSp>
              <p:nvGrpSpPr>
                <p:cNvPr id="179" name="Grafik 23">
                  <a:extLst>
                    <a:ext uri="{FF2B5EF4-FFF2-40B4-BE49-F238E27FC236}">
                      <a16:creationId xmlns:a16="http://schemas.microsoft.com/office/drawing/2014/main" id="{728D4977-71F5-DBF6-11FE-06241AE61071}"/>
                    </a:ext>
                  </a:extLst>
                </p:cNvPr>
                <p:cNvGrpSpPr/>
                <p:nvPr/>
              </p:nvGrpSpPr>
              <p:grpSpPr>
                <a:xfrm>
                  <a:off x="5934296" y="1562671"/>
                  <a:ext cx="563308" cy="1157858"/>
                  <a:chOff x="5934296" y="1562671"/>
                  <a:chExt cx="563308" cy="1157858"/>
                </a:xfrm>
                <a:solidFill>
                  <a:srgbClr val="E6E6E6"/>
                </a:solidFill>
              </p:grpSpPr>
              <p:sp>
                <p:nvSpPr>
                  <p:cNvPr id="180" name="Freihandform: Form 179">
                    <a:extLst>
                      <a:ext uri="{FF2B5EF4-FFF2-40B4-BE49-F238E27FC236}">
                        <a16:creationId xmlns:a16="http://schemas.microsoft.com/office/drawing/2014/main" id="{BAD27138-BDD1-EEEE-E087-40217B9E3ACD}"/>
                      </a:ext>
                    </a:extLst>
                  </p:cNvPr>
                  <p:cNvSpPr/>
                  <p:nvPr/>
                </p:nvSpPr>
                <p:spPr>
                  <a:xfrm>
                    <a:off x="6100984" y="1562671"/>
                    <a:ext cx="396620" cy="396620"/>
                  </a:xfrm>
                  <a:custGeom>
                    <a:avLst/>
                    <a:gdLst>
                      <a:gd name="connsiteX0" fmla="*/ 396621 w 396620"/>
                      <a:gd name="connsiteY0" fmla="*/ 198310 h 396620"/>
                      <a:gd name="connsiteX1" fmla="*/ 198310 w 396620"/>
                      <a:gd name="connsiteY1" fmla="*/ 396621 h 396620"/>
                      <a:gd name="connsiteX2" fmla="*/ 0 w 396620"/>
                      <a:gd name="connsiteY2" fmla="*/ 198310 h 396620"/>
                      <a:gd name="connsiteX3" fmla="*/ 198310 w 396620"/>
                      <a:gd name="connsiteY3" fmla="*/ 0 h 396620"/>
                      <a:gd name="connsiteX4" fmla="*/ 396621 w 396620"/>
                      <a:gd name="connsiteY4" fmla="*/ 198310 h 396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6620" h="396620">
                        <a:moveTo>
                          <a:pt x="396621" y="198310"/>
                        </a:moveTo>
                        <a:cubicBezTo>
                          <a:pt x="396621" y="307834"/>
                          <a:pt x="307834" y="396621"/>
                          <a:pt x="198310" y="396621"/>
                        </a:cubicBezTo>
                        <a:cubicBezTo>
                          <a:pt x="88786" y="396621"/>
                          <a:pt x="0" y="307834"/>
                          <a:pt x="0" y="198310"/>
                        </a:cubicBezTo>
                        <a:cubicBezTo>
                          <a:pt x="0" y="88787"/>
                          <a:pt x="88786" y="0"/>
                          <a:pt x="198310" y="0"/>
                        </a:cubicBezTo>
                        <a:cubicBezTo>
                          <a:pt x="307834" y="0"/>
                          <a:pt x="396621" y="88787"/>
                          <a:pt x="396621" y="198310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1" name="Freihandform: Form 180">
                    <a:extLst>
                      <a:ext uri="{FF2B5EF4-FFF2-40B4-BE49-F238E27FC236}">
                        <a16:creationId xmlns:a16="http://schemas.microsoft.com/office/drawing/2014/main" id="{B341C712-A5FC-A016-DB6E-84BB657DD566}"/>
                      </a:ext>
                    </a:extLst>
                  </p:cNvPr>
                  <p:cNvSpPr/>
                  <p:nvPr/>
                </p:nvSpPr>
                <p:spPr>
                  <a:xfrm>
                    <a:off x="5934296" y="1725453"/>
                    <a:ext cx="558736" cy="995076"/>
                  </a:xfrm>
                  <a:custGeom>
                    <a:avLst/>
                    <a:gdLst>
                      <a:gd name="connsiteX0" fmla="*/ 339566 w 558736"/>
                      <a:gd name="connsiteY0" fmla="*/ 995077 h 995076"/>
                      <a:gd name="connsiteX1" fmla="*/ 0 w 558736"/>
                      <a:gd name="connsiteY1" fmla="*/ 930211 h 995076"/>
                      <a:gd name="connsiteX2" fmla="*/ 110204 w 558736"/>
                      <a:gd name="connsiteY2" fmla="*/ 327184 h 995076"/>
                      <a:gd name="connsiteX3" fmla="*/ 169926 w 558736"/>
                      <a:gd name="connsiteY3" fmla="*/ 0 h 995076"/>
                      <a:gd name="connsiteX4" fmla="*/ 558737 w 558736"/>
                      <a:gd name="connsiteY4" fmla="*/ 78010 h 995076"/>
                      <a:gd name="connsiteX5" fmla="*/ 478441 w 558736"/>
                      <a:gd name="connsiteY5" fmla="*/ 413194 h 995076"/>
                      <a:gd name="connsiteX6" fmla="*/ 339566 w 558736"/>
                      <a:gd name="connsiteY6" fmla="*/ 995077 h 9950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58736" h="995076">
                        <a:moveTo>
                          <a:pt x="339566" y="995077"/>
                        </a:moveTo>
                        <a:lnTo>
                          <a:pt x="0" y="930211"/>
                        </a:lnTo>
                        <a:lnTo>
                          <a:pt x="110204" y="327184"/>
                        </a:lnTo>
                        <a:lnTo>
                          <a:pt x="169926" y="0"/>
                        </a:lnTo>
                        <a:lnTo>
                          <a:pt x="558737" y="78010"/>
                        </a:lnTo>
                        <a:lnTo>
                          <a:pt x="478441" y="413194"/>
                        </a:lnTo>
                        <a:lnTo>
                          <a:pt x="339566" y="995077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82" name="Grafik 23">
                  <a:extLst>
                    <a:ext uri="{FF2B5EF4-FFF2-40B4-BE49-F238E27FC236}">
                      <a16:creationId xmlns:a16="http://schemas.microsoft.com/office/drawing/2014/main" id="{25E1B8E9-1EA3-88DB-94E1-5B2EB83A4877}"/>
                    </a:ext>
                  </a:extLst>
                </p:cNvPr>
                <p:cNvGrpSpPr/>
                <p:nvPr/>
              </p:nvGrpSpPr>
              <p:grpSpPr>
                <a:xfrm>
                  <a:off x="5435186" y="2434208"/>
                  <a:ext cx="841914" cy="425196"/>
                  <a:chOff x="5435186" y="2434208"/>
                  <a:chExt cx="841914" cy="425196"/>
                </a:xfrm>
                <a:solidFill>
                  <a:srgbClr val="E6E6E6"/>
                </a:solidFill>
              </p:grpSpPr>
              <p:sp>
                <p:nvSpPr>
                  <p:cNvPr id="183" name="Freihandform: Form 182">
                    <a:extLst>
                      <a:ext uri="{FF2B5EF4-FFF2-40B4-BE49-F238E27FC236}">
                        <a16:creationId xmlns:a16="http://schemas.microsoft.com/office/drawing/2014/main" id="{602B54DD-E88F-83A4-4438-F48DC09A16E2}"/>
                      </a:ext>
                    </a:extLst>
                  </p:cNvPr>
                  <p:cNvSpPr/>
                  <p:nvPr/>
                </p:nvSpPr>
                <p:spPr>
                  <a:xfrm>
                    <a:off x="5435186" y="2434208"/>
                    <a:ext cx="703611" cy="423481"/>
                  </a:xfrm>
                  <a:custGeom>
                    <a:avLst/>
                    <a:gdLst>
                      <a:gd name="connsiteX0" fmla="*/ 0 w 703611"/>
                      <a:gd name="connsiteY0" fmla="*/ 329946 h 423481"/>
                      <a:gd name="connsiteX1" fmla="*/ 52483 w 703611"/>
                      <a:gd name="connsiteY1" fmla="*/ 0 h 423481"/>
                      <a:gd name="connsiteX2" fmla="*/ 703612 w 703611"/>
                      <a:gd name="connsiteY2" fmla="*/ 83058 h 423481"/>
                      <a:gd name="connsiteX3" fmla="*/ 644462 w 703611"/>
                      <a:gd name="connsiteY3" fmla="*/ 423482 h 423481"/>
                      <a:gd name="connsiteX4" fmla="*/ 0 w 703611"/>
                      <a:gd name="connsiteY4" fmla="*/ 329946 h 4234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03611" h="423481">
                        <a:moveTo>
                          <a:pt x="0" y="329946"/>
                        </a:moveTo>
                        <a:lnTo>
                          <a:pt x="52483" y="0"/>
                        </a:lnTo>
                        <a:lnTo>
                          <a:pt x="703612" y="83058"/>
                        </a:lnTo>
                        <a:lnTo>
                          <a:pt x="644462" y="423482"/>
                        </a:lnTo>
                        <a:lnTo>
                          <a:pt x="0" y="329946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4" name="Freihandform: Form 183">
                    <a:extLst>
                      <a:ext uri="{FF2B5EF4-FFF2-40B4-BE49-F238E27FC236}">
                        <a16:creationId xmlns:a16="http://schemas.microsoft.com/office/drawing/2014/main" id="{BCAF9815-9411-6FCE-64F3-F4A707C6798E}"/>
                      </a:ext>
                    </a:extLst>
                  </p:cNvPr>
                  <p:cNvSpPr/>
                  <p:nvPr/>
                </p:nvSpPr>
                <p:spPr>
                  <a:xfrm>
                    <a:off x="5931534" y="2513838"/>
                    <a:ext cx="345566" cy="345566"/>
                  </a:xfrm>
                  <a:custGeom>
                    <a:avLst/>
                    <a:gdLst>
                      <a:gd name="connsiteX0" fmla="*/ 345567 w 345566"/>
                      <a:gd name="connsiteY0" fmla="*/ 172783 h 345566"/>
                      <a:gd name="connsiteX1" fmla="*/ 172783 w 345566"/>
                      <a:gd name="connsiteY1" fmla="*/ 345567 h 345566"/>
                      <a:gd name="connsiteX2" fmla="*/ 0 w 345566"/>
                      <a:gd name="connsiteY2" fmla="*/ 172783 h 345566"/>
                      <a:gd name="connsiteX3" fmla="*/ 172783 w 345566"/>
                      <a:gd name="connsiteY3" fmla="*/ 0 h 345566"/>
                      <a:gd name="connsiteX4" fmla="*/ 345567 w 345566"/>
                      <a:gd name="connsiteY4" fmla="*/ 172783 h 3455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45566" h="345566">
                        <a:moveTo>
                          <a:pt x="345567" y="172783"/>
                        </a:moveTo>
                        <a:cubicBezTo>
                          <a:pt x="345567" y="268209"/>
                          <a:pt x="268209" y="345567"/>
                          <a:pt x="172783" y="345567"/>
                        </a:cubicBezTo>
                        <a:cubicBezTo>
                          <a:pt x="77358" y="345567"/>
                          <a:pt x="0" y="268209"/>
                          <a:pt x="0" y="172783"/>
                        </a:cubicBezTo>
                        <a:cubicBezTo>
                          <a:pt x="0" y="77358"/>
                          <a:pt x="77357" y="0"/>
                          <a:pt x="172783" y="0"/>
                        </a:cubicBezTo>
                        <a:cubicBezTo>
                          <a:pt x="268209" y="0"/>
                          <a:pt x="345567" y="77358"/>
                          <a:pt x="345567" y="172783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85" name="Grafik 23">
                  <a:extLst>
                    <a:ext uri="{FF2B5EF4-FFF2-40B4-BE49-F238E27FC236}">
                      <a16:creationId xmlns:a16="http://schemas.microsoft.com/office/drawing/2014/main" id="{8F7FE62C-0461-5499-BF9F-21E0940619CC}"/>
                    </a:ext>
                  </a:extLst>
                </p:cNvPr>
                <p:cNvGrpSpPr/>
                <p:nvPr/>
              </p:nvGrpSpPr>
              <p:grpSpPr>
                <a:xfrm>
                  <a:off x="5217159" y="2156745"/>
                  <a:ext cx="790670" cy="894492"/>
                  <a:chOff x="5217159" y="2156745"/>
                  <a:chExt cx="790670" cy="894492"/>
                </a:xfrm>
              </p:grpSpPr>
              <p:grpSp>
                <p:nvGrpSpPr>
                  <p:cNvPr id="186" name="Grafik 23">
                    <a:extLst>
                      <a:ext uri="{FF2B5EF4-FFF2-40B4-BE49-F238E27FC236}">
                        <a16:creationId xmlns:a16="http://schemas.microsoft.com/office/drawing/2014/main" id="{5625795B-5773-71E4-AE07-BF8529E4CE3E}"/>
                      </a:ext>
                    </a:extLst>
                  </p:cNvPr>
                  <p:cNvGrpSpPr/>
                  <p:nvPr/>
                </p:nvGrpSpPr>
                <p:grpSpPr>
                  <a:xfrm>
                    <a:off x="5247163" y="2156745"/>
                    <a:ext cx="760666" cy="894492"/>
                    <a:chOff x="5247163" y="2156745"/>
                    <a:chExt cx="760666" cy="894492"/>
                  </a:xfrm>
                </p:grpSpPr>
                <p:sp>
                  <p:nvSpPr>
                    <p:cNvPr id="187" name="Freihandform: Form 186">
                      <a:extLst>
                        <a:ext uri="{FF2B5EF4-FFF2-40B4-BE49-F238E27FC236}">
                          <a16:creationId xmlns:a16="http://schemas.microsoft.com/office/drawing/2014/main" id="{C1903A77-BDCC-58AF-AC6A-48B0EF716B42}"/>
                        </a:ext>
                      </a:extLst>
                    </p:cNvPr>
                    <p:cNvSpPr/>
                    <p:nvPr/>
                  </p:nvSpPr>
                  <p:spPr>
                    <a:xfrm rot="-864001">
                      <a:off x="5348448" y="2231745"/>
                      <a:ext cx="558069" cy="743997"/>
                    </a:xfrm>
                    <a:custGeom>
                      <a:avLst/>
                      <a:gdLst>
                        <a:gd name="connsiteX0" fmla="*/ 0 w 558069"/>
                        <a:gd name="connsiteY0" fmla="*/ 0 h 743997"/>
                        <a:gd name="connsiteX1" fmla="*/ 558070 w 558069"/>
                        <a:gd name="connsiteY1" fmla="*/ 0 h 743997"/>
                        <a:gd name="connsiteX2" fmla="*/ 558070 w 558069"/>
                        <a:gd name="connsiteY2" fmla="*/ 743998 h 743997"/>
                        <a:gd name="connsiteX3" fmla="*/ 0 w 558069"/>
                        <a:gd name="connsiteY3" fmla="*/ 743998 h 7439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558069" h="743997">
                          <a:moveTo>
                            <a:pt x="0" y="0"/>
                          </a:moveTo>
                          <a:lnTo>
                            <a:pt x="558070" y="0"/>
                          </a:lnTo>
                          <a:lnTo>
                            <a:pt x="558070" y="743998"/>
                          </a:lnTo>
                          <a:lnTo>
                            <a:pt x="0" y="743998"/>
                          </a:lnTo>
                          <a:close/>
                        </a:path>
                      </a:pathLst>
                    </a:custGeom>
                    <a:solidFill>
                      <a:srgbClr val="EC660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88" name="Freihandform: Form 187">
                      <a:extLst>
                        <a:ext uri="{FF2B5EF4-FFF2-40B4-BE49-F238E27FC236}">
                          <a16:creationId xmlns:a16="http://schemas.microsoft.com/office/drawing/2014/main" id="{6D6CF672-CBF5-E9A5-2A6A-520BF9F4C6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47163" y="2156745"/>
                      <a:ext cx="760666" cy="894492"/>
                    </a:xfrm>
                    <a:custGeom>
                      <a:avLst/>
                      <a:gdLst>
                        <a:gd name="connsiteX0" fmla="*/ 547688 w 760666"/>
                        <a:gd name="connsiteY0" fmla="*/ 35147 h 894492"/>
                        <a:gd name="connsiteX1" fmla="*/ 725519 w 760666"/>
                        <a:gd name="connsiteY1" fmla="*/ 727805 h 894492"/>
                        <a:gd name="connsiteX2" fmla="*/ 212979 w 760666"/>
                        <a:gd name="connsiteY2" fmla="*/ 859346 h 894492"/>
                        <a:gd name="connsiteX3" fmla="*/ 35147 w 760666"/>
                        <a:gd name="connsiteY3" fmla="*/ 166688 h 894492"/>
                        <a:gd name="connsiteX4" fmla="*/ 547688 w 760666"/>
                        <a:gd name="connsiteY4" fmla="*/ 35147 h 894492"/>
                        <a:gd name="connsiteX5" fmla="*/ 568452 w 760666"/>
                        <a:gd name="connsiteY5" fmla="*/ 0 h 894492"/>
                        <a:gd name="connsiteX6" fmla="*/ 0 w 760666"/>
                        <a:gd name="connsiteY6" fmla="*/ 145923 h 894492"/>
                        <a:gd name="connsiteX7" fmla="*/ 192119 w 760666"/>
                        <a:gd name="connsiteY7" fmla="*/ 894493 h 894492"/>
                        <a:gd name="connsiteX8" fmla="*/ 760667 w 760666"/>
                        <a:gd name="connsiteY8" fmla="*/ 748570 h 894492"/>
                        <a:gd name="connsiteX9" fmla="*/ 568547 w 760666"/>
                        <a:gd name="connsiteY9" fmla="*/ 0 h 894492"/>
                        <a:gd name="connsiteX10" fmla="*/ 568547 w 760666"/>
                        <a:gd name="connsiteY10" fmla="*/ 0 h 8944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760666" h="894492">
                          <a:moveTo>
                            <a:pt x="547688" y="35147"/>
                          </a:moveTo>
                          <a:lnTo>
                            <a:pt x="725519" y="727805"/>
                          </a:lnTo>
                          <a:lnTo>
                            <a:pt x="212979" y="859346"/>
                          </a:lnTo>
                          <a:lnTo>
                            <a:pt x="35147" y="166688"/>
                          </a:lnTo>
                          <a:lnTo>
                            <a:pt x="547688" y="35147"/>
                          </a:lnTo>
                          <a:moveTo>
                            <a:pt x="568452" y="0"/>
                          </a:moveTo>
                          <a:lnTo>
                            <a:pt x="0" y="145923"/>
                          </a:lnTo>
                          <a:lnTo>
                            <a:pt x="192119" y="894493"/>
                          </a:lnTo>
                          <a:lnTo>
                            <a:pt x="760667" y="748570"/>
                          </a:lnTo>
                          <a:lnTo>
                            <a:pt x="568547" y="0"/>
                          </a:lnTo>
                          <a:lnTo>
                            <a:pt x="568547" y="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189" name="Freihandform: Form 188">
                    <a:extLst>
                      <a:ext uri="{FF2B5EF4-FFF2-40B4-BE49-F238E27FC236}">
                        <a16:creationId xmlns:a16="http://schemas.microsoft.com/office/drawing/2014/main" id="{6A578915-4D13-B0CF-55EC-2455E3DCCA62}"/>
                      </a:ext>
                    </a:extLst>
                  </p:cNvPr>
                  <p:cNvSpPr/>
                  <p:nvPr/>
                </p:nvSpPr>
                <p:spPr>
                  <a:xfrm>
                    <a:off x="5217159" y="2487929"/>
                    <a:ext cx="280518" cy="319373"/>
                  </a:xfrm>
                  <a:custGeom>
                    <a:avLst/>
                    <a:gdLst>
                      <a:gd name="connsiteX0" fmla="*/ 197168 w 280518"/>
                      <a:gd name="connsiteY0" fmla="*/ 99632 h 319373"/>
                      <a:gd name="connsiteX1" fmla="*/ 103727 w 280518"/>
                      <a:gd name="connsiteY1" fmla="*/ 102108 h 319373"/>
                      <a:gd name="connsiteX2" fmla="*/ 77534 w 280518"/>
                      <a:gd name="connsiteY2" fmla="*/ 0 h 319373"/>
                      <a:gd name="connsiteX3" fmla="*/ 0 w 280518"/>
                      <a:gd name="connsiteY3" fmla="*/ 109728 h 319373"/>
                      <a:gd name="connsiteX4" fmla="*/ 71152 w 280518"/>
                      <a:gd name="connsiteY4" fmla="*/ 315278 h 319373"/>
                      <a:gd name="connsiteX5" fmla="*/ 186785 w 280518"/>
                      <a:gd name="connsiteY5" fmla="*/ 319373 h 319373"/>
                      <a:gd name="connsiteX6" fmla="*/ 280226 w 280518"/>
                      <a:gd name="connsiteY6" fmla="*/ 239649 h 319373"/>
                      <a:gd name="connsiteX7" fmla="*/ 280511 w 280518"/>
                      <a:gd name="connsiteY7" fmla="*/ 130778 h 319373"/>
                      <a:gd name="connsiteX8" fmla="*/ 197263 w 280518"/>
                      <a:gd name="connsiteY8" fmla="*/ 99727 h 319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0518" h="319373">
                        <a:moveTo>
                          <a:pt x="197168" y="99632"/>
                        </a:moveTo>
                        <a:cubicBezTo>
                          <a:pt x="183547" y="102013"/>
                          <a:pt x="103727" y="102108"/>
                          <a:pt x="103727" y="102108"/>
                        </a:cubicBezTo>
                        <a:lnTo>
                          <a:pt x="77534" y="0"/>
                        </a:lnTo>
                        <a:lnTo>
                          <a:pt x="0" y="109728"/>
                        </a:lnTo>
                        <a:lnTo>
                          <a:pt x="71152" y="315278"/>
                        </a:lnTo>
                        <a:lnTo>
                          <a:pt x="186785" y="319373"/>
                        </a:lnTo>
                        <a:lnTo>
                          <a:pt x="280226" y="239649"/>
                        </a:lnTo>
                        <a:lnTo>
                          <a:pt x="280511" y="130778"/>
                        </a:lnTo>
                        <a:cubicBezTo>
                          <a:pt x="280511" y="130778"/>
                          <a:pt x="282988" y="84773"/>
                          <a:pt x="197263" y="99727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0" name="Freihandform: Form 189">
                    <a:extLst>
                      <a:ext uri="{FF2B5EF4-FFF2-40B4-BE49-F238E27FC236}">
                        <a16:creationId xmlns:a16="http://schemas.microsoft.com/office/drawing/2014/main" id="{F368E50A-3348-10D6-C01F-DB7D8A3C9534}"/>
                      </a:ext>
                    </a:extLst>
                  </p:cNvPr>
                  <p:cNvSpPr/>
                  <p:nvPr/>
                </p:nvSpPr>
                <p:spPr>
                  <a:xfrm rot="-326400">
                    <a:off x="5311589" y="2643866"/>
                    <a:ext cx="186594" cy="19240"/>
                  </a:xfrm>
                  <a:custGeom>
                    <a:avLst/>
                    <a:gdLst>
                      <a:gd name="connsiteX0" fmla="*/ 0 w 186594"/>
                      <a:gd name="connsiteY0" fmla="*/ 0 h 19240"/>
                      <a:gd name="connsiteX1" fmla="*/ 186595 w 186594"/>
                      <a:gd name="connsiteY1" fmla="*/ 0 h 19240"/>
                      <a:gd name="connsiteX2" fmla="*/ 186595 w 186594"/>
                      <a:gd name="connsiteY2" fmla="*/ 19241 h 19240"/>
                      <a:gd name="connsiteX3" fmla="*/ 0 w 186594"/>
                      <a:gd name="connsiteY3" fmla="*/ 19241 h 192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86594" h="19240">
                        <a:moveTo>
                          <a:pt x="0" y="0"/>
                        </a:moveTo>
                        <a:lnTo>
                          <a:pt x="186595" y="0"/>
                        </a:lnTo>
                        <a:lnTo>
                          <a:pt x="186595" y="19241"/>
                        </a:lnTo>
                        <a:lnTo>
                          <a:pt x="0" y="19241"/>
                        </a:lnTo>
                        <a:close/>
                      </a:path>
                    </a:pathLst>
                  </a:custGeom>
                  <a:solidFill>
                    <a:srgbClr val="F2BBB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91" name="Grafik 23">
                  <a:extLst>
                    <a:ext uri="{FF2B5EF4-FFF2-40B4-BE49-F238E27FC236}">
                      <a16:creationId xmlns:a16="http://schemas.microsoft.com/office/drawing/2014/main" id="{B7EB8C2F-4C94-CC7C-D993-30BE5B2D3483}"/>
                    </a:ext>
                  </a:extLst>
                </p:cNvPr>
                <p:cNvGrpSpPr/>
                <p:nvPr/>
              </p:nvGrpSpPr>
              <p:grpSpPr>
                <a:xfrm>
                  <a:off x="6113093" y="1063436"/>
                  <a:ext cx="443757" cy="556066"/>
                  <a:chOff x="6113093" y="1063436"/>
                  <a:chExt cx="443757" cy="556066"/>
                </a:xfrm>
              </p:grpSpPr>
              <p:sp>
                <p:nvSpPr>
                  <p:cNvPr id="192" name="Freihandform: Form 191">
                    <a:extLst>
                      <a:ext uri="{FF2B5EF4-FFF2-40B4-BE49-F238E27FC236}">
                        <a16:creationId xmlns:a16="http://schemas.microsoft.com/office/drawing/2014/main" id="{C9E9E3B8-62E6-E6AD-9014-7151807708FE}"/>
                      </a:ext>
                    </a:extLst>
                  </p:cNvPr>
                  <p:cNvSpPr/>
                  <p:nvPr/>
                </p:nvSpPr>
                <p:spPr>
                  <a:xfrm>
                    <a:off x="6113093" y="1063436"/>
                    <a:ext cx="443757" cy="556055"/>
                  </a:xfrm>
                  <a:custGeom>
                    <a:avLst/>
                    <a:gdLst>
                      <a:gd name="connsiteX0" fmla="*/ 443757 w 443757"/>
                      <a:gd name="connsiteY0" fmla="*/ 405604 h 556055"/>
                      <a:gd name="connsiteX1" fmla="*/ 129813 w 443757"/>
                      <a:gd name="connsiteY1" fmla="*/ 526953 h 556055"/>
                      <a:gd name="connsiteX2" fmla="*/ 1321 w 443757"/>
                      <a:gd name="connsiteY2" fmla="*/ 166717 h 556055"/>
                      <a:gd name="connsiteX3" fmla="*/ 315170 w 443757"/>
                      <a:gd name="connsiteY3" fmla="*/ 45369 h 556055"/>
                      <a:gd name="connsiteX4" fmla="*/ 443662 w 443757"/>
                      <a:gd name="connsiteY4" fmla="*/ 405604 h 5560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43757" h="556055">
                        <a:moveTo>
                          <a:pt x="443757" y="405604"/>
                        </a:moveTo>
                        <a:cubicBezTo>
                          <a:pt x="419373" y="524095"/>
                          <a:pt x="234779" y="600962"/>
                          <a:pt x="129813" y="526953"/>
                        </a:cubicBezTo>
                        <a:lnTo>
                          <a:pt x="1321" y="166717"/>
                        </a:lnTo>
                        <a:cubicBezTo>
                          <a:pt x="-21825" y="60323"/>
                          <a:pt x="266211" y="-70741"/>
                          <a:pt x="315170" y="45369"/>
                        </a:cubicBezTo>
                        <a:lnTo>
                          <a:pt x="443662" y="405604"/>
                        </a:ln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3" name="Freihandform: Form 192">
                    <a:extLst>
                      <a:ext uri="{FF2B5EF4-FFF2-40B4-BE49-F238E27FC236}">
                        <a16:creationId xmlns:a16="http://schemas.microsoft.com/office/drawing/2014/main" id="{44C073EF-D704-EC18-F678-2E19402D958B}"/>
                      </a:ext>
                    </a:extLst>
                  </p:cNvPr>
                  <p:cNvSpPr/>
                  <p:nvPr/>
                </p:nvSpPr>
                <p:spPr>
                  <a:xfrm>
                    <a:off x="6228307" y="1200626"/>
                    <a:ext cx="328542" cy="418877"/>
                  </a:xfrm>
                  <a:custGeom>
                    <a:avLst/>
                    <a:gdLst>
                      <a:gd name="connsiteX0" fmla="*/ 232817 w 328542"/>
                      <a:gd name="connsiteY0" fmla="*/ 95 h 418877"/>
                      <a:gd name="connsiteX1" fmla="*/ 328543 w 328542"/>
                      <a:gd name="connsiteY1" fmla="*/ 268415 h 418877"/>
                      <a:gd name="connsiteX2" fmla="*/ 14599 w 328542"/>
                      <a:gd name="connsiteY2" fmla="*/ 389763 h 418877"/>
                      <a:gd name="connsiteX3" fmla="*/ 44222 w 328542"/>
                      <a:gd name="connsiteY3" fmla="*/ 223647 h 418877"/>
                      <a:gd name="connsiteX4" fmla="*/ 232817 w 328542"/>
                      <a:gd name="connsiteY4" fmla="*/ 0 h 4188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8542" h="418877">
                        <a:moveTo>
                          <a:pt x="232817" y="95"/>
                        </a:moveTo>
                        <a:lnTo>
                          <a:pt x="328543" y="268415"/>
                        </a:lnTo>
                        <a:cubicBezTo>
                          <a:pt x="304445" y="389001"/>
                          <a:pt x="117850" y="463010"/>
                          <a:pt x="14599" y="389763"/>
                        </a:cubicBezTo>
                        <a:cubicBezTo>
                          <a:pt x="14599" y="389763"/>
                          <a:pt x="-33216" y="270605"/>
                          <a:pt x="44222" y="223647"/>
                        </a:cubicBezTo>
                        <a:cubicBezTo>
                          <a:pt x="235579" y="107728"/>
                          <a:pt x="232817" y="0"/>
                          <a:pt x="232817" y="0"/>
                        </a:cubicBezTo>
                        <a:close/>
                      </a:path>
                    </a:pathLst>
                  </a:custGeom>
                  <a:solidFill>
                    <a:srgbClr val="F2BBB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94" name="Grafik 23">
                  <a:extLst>
                    <a:ext uri="{FF2B5EF4-FFF2-40B4-BE49-F238E27FC236}">
                      <a16:creationId xmlns:a16="http://schemas.microsoft.com/office/drawing/2014/main" id="{B31EC07A-1292-DC1C-DEEF-A7CD02A91B33}"/>
                    </a:ext>
                  </a:extLst>
                </p:cNvPr>
                <p:cNvGrpSpPr/>
                <p:nvPr/>
              </p:nvGrpSpPr>
              <p:grpSpPr>
                <a:xfrm>
                  <a:off x="5641758" y="1283398"/>
                  <a:ext cx="1290948" cy="4879390"/>
                  <a:chOff x="5641758" y="1283398"/>
                  <a:chExt cx="1290948" cy="4879390"/>
                </a:xfrm>
              </p:grpSpPr>
              <p:grpSp>
                <p:nvGrpSpPr>
                  <p:cNvPr id="195" name="Grafik 23">
                    <a:extLst>
                      <a:ext uri="{FF2B5EF4-FFF2-40B4-BE49-F238E27FC236}">
                        <a16:creationId xmlns:a16="http://schemas.microsoft.com/office/drawing/2014/main" id="{160D356B-FC3E-D4CD-5422-253A1CE03580}"/>
                      </a:ext>
                    </a:extLst>
                  </p:cNvPr>
                  <p:cNvGrpSpPr/>
                  <p:nvPr/>
                </p:nvGrpSpPr>
                <p:grpSpPr>
                  <a:xfrm>
                    <a:off x="5641758" y="5790657"/>
                    <a:ext cx="867562" cy="295550"/>
                    <a:chOff x="5641758" y="5790657"/>
                    <a:chExt cx="867562" cy="295550"/>
                  </a:xfrm>
                </p:grpSpPr>
                <p:sp>
                  <p:nvSpPr>
                    <p:cNvPr id="196" name="Freihandform: Form 195">
                      <a:extLst>
                        <a:ext uri="{FF2B5EF4-FFF2-40B4-BE49-F238E27FC236}">
                          <a16:creationId xmlns:a16="http://schemas.microsoft.com/office/drawing/2014/main" id="{46C23275-8C8F-85BB-7E1A-D5188577DB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643447" y="5790657"/>
                      <a:ext cx="865764" cy="289407"/>
                    </a:xfrm>
                    <a:custGeom>
                      <a:avLst/>
                      <a:gdLst>
                        <a:gd name="connsiteX0" fmla="*/ 804913 w 865764"/>
                        <a:gd name="connsiteY0" fmla="*/ 28546 h 289407"/>
                        <a:gd name="connsiteX1" fmla="*/ 865683 w 865764"/>
                        <a:gd name="connsiteY1" fmla="*/ 170088 h 289407"/>
                        <a:gd name="connsiteX2" fmla="*/ 860063 w 865764"/>
                        <a:gd name="connsiteY2" fmla="*/ 253907 h 289407"/>
                        <a:gd name="connsiteX3" fmla="*/ 835393 w 865764"/>
                        <a:gd name="connsiteY3" fmla="*/ 276863 h 289407"/>
                        <a:gd name="connsiteX4" fmla="*/ 54629 w 865764"/>
                        <a:gd name="connsiteY4" fmla="*/ 249716 h 289407"/>
                        <a:gd name="connsiteX5" fmla="*/ 41865 w 865764"/>
                        <a:gd name="connsiteY5" fmla="*/ 132750 h 289407"/>
                        <a:gd name="connsiteX6" fmla="*/ 331140 w 865764"/>
                        <a:gd name="connsiteY6" fmla="*/ 83696 h 289407"/>
                        <a:gd name="connsiteX7" fmla="*/ 535927 w 865764"/>
                        <a:gd name="connsiteY7" fmla="*/ 829 h 289407"/>
                        <a:gd name="connsiteX8" fmla="*/ 592696 w 865764"/>
                        <a:gd name="connsiteY8" fmla="*/ 56931 h 289407"/>
                        <a:gd name="connsiteX9" fmla="*/ 725570 w 865764"/>
                        <a:gd name="connsiteY9" fmla="*/ 56931 h 289407"/>
                        <a:gd name="connsiteX10" fmla="*/ 805009 w 865764"/>
                        <a:gd name="connsiteY10" fmla="*/ 28546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804913" y="28546"/>
                          </a:moveTo>
                          <a:cubicBezTo>
                            <a:pt x="804913" y="28546"/>
                            <a:pt x="868350" y="92078"/>
                            <a:pt x="865683" y="170088"/>
                          </a:cubicBezTo>
                          <a:cubicBezTo>
                            <a:pt x="864254" y="210474"/>
                            <a:pt x="861968" y="237334"/>
                            <a:pt x="860063" y="253907"/>
                          </a:cubicBezTo>
                          <a:cubicBezTo>
                            <a:pt x="858634" y="266576"/>
                            <a:pt x="848157" y="276292"/>
                            <a:pt x="835393" y="276863"/>
                          </a:cubicBezTo>
                          <a:cubicBezTo>
                            <a:pt x="726808" y="281626"/>
                            <a:pt x="175025" y="314487"/>
                            <a:pt x="54629" y="249716"/>
                          </a:cubicBezTo>
                          <a:cubicBezTo>
                            <a:pt x="-60338" y="187899"/>
                            <a:pt x="41865" y="132750"/>
                            <a:pt x="41865" y="132750"/>
                          </a:cubicBezTo>
                          <a:cubicBezTo>
                            <a:pt x="41865" y="132750"/>
                            <a:pt x="216840" y="152752"/>
                            <a:pt x="331140" y="83696"/>
                          </a:cubicBezTo>
                          <a:cubicBezTo>
                            <a:pt x="432867" y="22260"/>
                            <a:pt x="517735" y="-5267"/>
                            <a:pt x="535927" y="829"/>
                          </a:cubicBezTo>
                          <a:cubicBezTo>
                            <a:pt x="554120" y="6924"/>
                            <a:pt x="560502" y="35499"/>
                            <a:pt x="592696" y="56931"/>
                          </a:cubicBezTo>
                          <a:cubicBezTo>
                            <a:pt x="624986" y="78457"/>
                            <a:pt x="663753" y="78457"/>
                            <a:pt x="725570" y="56931"/>
                          </a:cubicBezTo>
                          <a:cubicBezTo>
                            <a:pt x="787387" y="35404"/>
                            <a:pt x="786149" y="20450"/>
                            <a:pt x="805009" y="28546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97" name="Freihandform: Form 196">
                      <a:extLst>
                        <a:ext uri="{FF2B5EF4-FFF2-40B4-BE49-F238E27FC236}">
                          <a16:creationId xmlns:a16="http://schemas.microsoft.com/office/drawing/2014/main" id="{9608C06F-C79C-E690-F2FE-2CCDFAA32D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641758" y="5933027"/>
                      <a:ext cx="867562" cy="153180"/>
                    </a:xfrm>
                    <a:custGeom>
                      <a:avLst/>
                      <a:gdLst>
                        <a:gd name="connsiteX0" fmla="*/ 837463 w 867562"/>
                        <a:gd name="connsiteY0" fmla="*/ 153162 h 153180"/>
                        <a:gd name="connsiteX1" fmla="*/ 174904 w 867562"/>
                        <a:gd name="connsiteY1" fmla="*/ 152781 h 153180"/>
                        <a:gd name="connsiteX2" fmla="*/ 55746 w 867562"/>
                        <a:gd name="connsiteY2" fmla="*/ 116395 h 153180"/>
                        <a:gd name="connsiteX3" fmla="*/ 28600 w 867562"/>
                        <a:gd name="connsiteY3" fmla="*/ 0 h 153180"/>
                        <a:gd name="connsiteX4" fmla="*/ 68700 w 867562"/>
                        <a:gd name="connsiteY4" fmla="*/ 42291 h 153180"/>
                        <a:gd name="connsiteX5" fmla="*/ 867562 w 867562"/>
                        <a:gd name="connsiteY5" fmla="*/ 51245 h 153180"/>
                        <a:gd name="connsiteX6" fmla="*/ 862324 w 867562"/>
                        <a:gd name="connsiteY6" fmla="*/ 130016 h 153180"/>
                        <a:gd name="connsiteX7" fmla="*/ 837559 w 867562"/>
                        <a:gd name="connsiteY7" fmla="*/ 153162 h 15318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0">
                          <a:moveTo>
                            <a:pt x="837463" y="153162"/>
                          </a:moveTo>
                          <a:cubicBezTo>
                            <a:pt x="834987" y="153257"/>
                            <a:pt x="177000" y="152971"/>
                            <a:pt x="174904" y="152781"/>
                          </a:cubicBezTo>
                          <a:cubicBezTo>
                            <a:pt x="116325" y="147066"/>
                            <a:pt x="79750" y="129349"/>
                            <a:pt x="55746" y="116395"/>
                          </a:cubicBezTo>
                          <a:cubicBezTo>
                            <a:pt x="-30359" y="70104"/>
                            <a:pt x="2311" y="15907"/>
                            <a:pt x="28600" y="0"/>
                          </a:cubicBezTo>
                          <a:cubicBezTo>
                            <a:pt x="37173" y="9430"/>
                            <a:pt x="50032" y="32290"/>
                            <a:pt x="68700" y="42291"/>
                          </a:cubicBezTo>
                          <a:cubicBezTo>
                            <a:pt x="195859" y="110680"/>
                            <a:pt x="799173" y="56483"/>
                            <a:pt x="867562" y="51245"/>
                          </a:cubicBezTo>
                          <a:cubicBezTo>
                            <a:pt x="866134" y="85630"/>
                            <a:pt x="864133" y="114871"/>
                            <a:pt x="862324" y="130016"/>
                          </a:cubicBezTo>
                          <a:cubicBezTo>
                            <a:pt x="860895" y="142780"/>
                            <a:pt x="850417" y="152590"/>
                            <a:pt x="837559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198" name="Freihandform: Form 197">
                    <a:extLst>
                      <a:ext uri="{FF2B5EF4-FFF2-40B4-BE49-F238E27FC236}">
                        <a16:creationId xmlns:a16="http://schemas.microsoft.com/office/drawing/2014/main" id="{6C622877-0F49-7130-8374-D30C45826E32}"/>
                      </a:ext>
                    </a:extLst>
                  </p:cNvPr>
                  <p:cNvSpPr/>
                  <p:nvPr/>
                </p:nvSpPr>
                <p:spPr>
                  <a:xfrm>
                    <a:off x="5928417" y="2855975"/>
                    <a:ext cx="818567" cy="1866913"/>
                  </a:xfrm>
                  <a:custGeom>
                    <a:avLst/>
                    <a:gdLst>
                      <a:gd name="connsiteX0" fmla="*/ 781595 w 818567"/>
                      <a:gd name="connsiteY0" fmla="*/ 78581 h 1866913"/>
                      <a:gd name="connsiteX1" fmla="*/ 114750 w 818567"/>
                      <a:gd name="connsiteY1" fmla="*/ 0 h 1866913"/>
                      <a:gd name="connsiteX2" fmla="*/ 16166 w 818567"/>
                      <a:gd name="connsiteY2" fmla="*/ 936117 h 1866913"/>
                      <a:gd name="connsiteX3" fmla="*/ 9308 w 818567"/>
                      <a:gd name="connsiteY3" fmla="*/ 1796606 h 1866913"/>
                      <a:gd name="connsiteX4" fmla="*/ 521182 w 818567"/>
                      <a:gd name="connsiteY4" fmla="*/ 1815084 h 1866913"/>
                      <a:gd name="connsiteX5" fmla="*/ 781595 w 818567"/>
                      <a:gd name="connsiteY5" fmla="*/ 78486 h 18669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8567" h="1866913">
                        <a:moveTo>
                          <a:pt x="781595" y="78581"/>
                        </a:moveTo>
                        <a:cubicBezTo>
                          <a:pt x="772165" y="79820"/>
                          <a:pt x="114750" y="0"/>
                          <a:pt x="114750" y="0"/>
                        </a:cubicBezTo>
                        <a:cubicBezTo>
                          <a:pt x="114750" y="0"/>
                          <a:pt x="24453" y="770858"/>
                          <a:pt x="16166" y="936117"/>
                        </a:cubicBezTo>
                        <a:cubicBezTo>
                          <a:pt x="-15648" y="1569434"/>
                          <a:pt x="9308" y="1796606"/>
                          <a:pt x="9308" y="1796606"/>
                        </a:cubicBezTo>
                        <a:cubicBezTo>
                          <a:pt x="156184" y="1903952"/>
                          <a:pt x="356018" y="1870234"/>
                          <a:pt x="521182" y="1815084"/>
                        </a:cubicBezTo>
                        <a:cubicBezTo>
                          <a:pt x="633767" y="1093470"/>
                          <a:pt x="919898" y="808196"/>
                          <a:pt x="781595" y="78486"/>
                        </a:cubicBezTo>
                        <a:close/>
                      </a:path>
                    </a:pathLst>
                  </a:custGeom>
                  <a:solidFill>
                    <a:srgbClr val="004F4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9" name="Freihandform: Form 198">
                    <a:extLst>
                      <a:ext uri="{FF2B5EF4-FFF2-40B4-BE49-F238E27FC236}">
                        <a16:creationId xmlns:a16="http://schemas.microsoft.com/office/drawing/2014/main" id="{50F5741B-8D98-FA50-E772-A414D5220B6A}"/>
                      </a:ext>
                    </a:extLst>
                  </p:cNvPr>
                  <p:cNvSpPr/>
                  <p:nvPr/>
                </p:nvSpPr>
                <p:spPr>
                  <a:xfrm>
                    <a:off x="5936678" y="4541924"/>
                    <a:ext cx="619474" cy="1380816"/>
                  </a:xfrm>
                  <a:custGeom>
                    <a:avLst/>
                    <a:gdLst>
                      <a:gd name="connsiteX0" fmla="*/ 517588 w 619474"/>
                      <a:gd name="connsiteY0" fmla="*/ 67509 h 1380816"/>
                      <a:gd name="connsiteX1" fmla="*/ 599980 w 619474"/>
                      <a:gd name="connsiteY1" fmla="*/ 1058014 h 1380816"/>
                      <a:gd name="connsiteX2" fmla="*/ 567309 w 619474"/>
                      <a:gd name="connsiteY2" fmla="*/ 1380435 h 1380816"/>
                      <a:gd name="connsiteX3" fmla="*/ 263462 w 619474"/>
                      <a:gd name="connsiteY3" fmla="*/ 1347288 h 1380816"/>
                      <a:gd name="connsiteX4" fmla="*/ 50292 w 619474"/>
                      <a:gd name="connsiteY4" fmla="*/ 1324809 h 1380816"/>
                      <a:gd name="connsiteX5" fmla="*/ 62008 w 619474"/>
                      <a:gd name="connsiteY5" fmla="*/ 870086 h 1380816"/>
                      <a:gd name="connsiteX6" fmla="*/ 0 w 619474"/>
                      <a:gd name="connsiteY6" fmla="*/ 98275 h 1380816"/>
                      <a:gd name="connsiteX7" fmla="*/ 517588 w 619474"/>
                      <a:gd name="connsiteY7" fmla="*/ 67414 h 13808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19474" h="1380816">
                        <a:moveTo>
                          <a:pt x="517588" y="67509"/>
                        </a:moveTo>
                        <a:cubicBezTo>
                          <a:pt x="608171" y="426887"/>
                          <a:pt x="582644" y="878944"/>
                          <a:pt x="599980" y="1058014"/>
                        </a:cubicBezTo>
                        <a:cubicBezTo>
                          <a:pt x="610553" y="1167361"/>
                          <a:pt x="652081" y="1391293"/>
                          <a:pt x="567309" y="1380435"/>
                        </a:cubicBezTo>
                        <a:cubicBezTo>
                          <a:pt x="503491" y="1366910"/>
                          <a:pt x="391287" y="1357956"/>
                          <a:pt x="263462" y="1347288"/>
                        </a:cubicBezTo>
                        <a:cubicBezTo>
                          <a:pt x="135636" y="1336525"/>
                          <a:pt x="50292" y="1324809"/>
                          <a:pt x="50292" y="1324809"/>
                        </a:cubicBezTo>
                        <a:cubicBezTo>
                          <a:pt x="50292" y="1324809"/>
                          <a:pt x="63722" y="926093"/>
                          <a:pt x="62008" y="870086"/>
                        </a:cubicBezTo>
                        <a:cubicBezTo>
                          <a:pt x="60293" y="814079"/>
                          <a:pt x="0" y="98275"/>
                          <a:pt x="0" y="98275"/>
                        </a:cubicBezTo>
                        <a:cubicBezTo>
                          <a:pt x="154305" y="-12501"/>
                          <a:pt x="355473" y="-38980"/>
                          <a:pt x="517588" y="67414"/>
                        </a:cubicBezTo>
                        <a:close/>
                      </a:path>
                    </a:pathLst>
                  </a:custGeom>
                  <a:solidFill>
                    <a:srgbClr val="004F4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0" name="Freihandform: Form 199">
                    <a:extLst>
                      <a:ext uri="{FF2B5EF4-FFF2-40B4-BE49-F238E27FC236}">
                        <a16:creationId xmlns:a16="http://schemas.microsoft.com/office/drawing/2014/main" id="{A92774FD-46D8-8A77-39B5-FCC51236C74C}"/>
                      </a:ext>
                    </a:extLst>
                  </p:cNvPr>
                  <p:cNvSpPr/>
                  <p:nvPr/>
                </p:nvSpPr>
                <p:spPr>
                  <a:xfrm>
                    <a:off x="5935820" y="4361211"/>
                    <a:ext cx="518731" cy="518731"/>
                  </a:xfrm>
                  <a:custGeom>
                    <a:avLst/>
                    <a:gdLst>
                      <a:gd name="connsiteX0" fmla="*/ 518731 w 518731"/>
                      <a:gd name="connsiteY0" fmla="*/ 259366 h 518731"/>
                      <a:gd name="connsiteX1" fmla="*/ 259366 w 518731"/>
                      <a:gd name="connsiteY1" fmla="*/ 518732 h 518731"/>
                      <a:gd name="connsiteX2" fmla="*/ 0 w 518731"/>
                      <a:gd name="connsiteY2" fmla="*/ 259366 h 518731"/>
                      <a:gd name="connsiteX3" fmla="*/ 259366 w 518731"/>
                      <a:gd name="connsiteY3" fmla="*/ 0 h 518731"/>
                      <a:gd name="connsiteX4" fmla="*/ 518731 w 518731"/>
                      <a:gd name="connsiteY4" fmla="*/ 259366 h 5187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8731" h="518731">
                        <a:moveTo>
                          <a:pt x="518731" y="259366"/>
                        </a:moveTo>
                        <a:cubicBezTo>
                          <a:pt x="518731" y="402610"/>
                          <a:pt x="402610" y="518732"/>
                          <a:pt x="259366" y="518732"/>
                        </a:cubicBezTo>
                        <a:cubicBezTo>
                          <a:pt x="116122" y="518732"/>
                          <a:pt x="0" y="402610"/>
                          <a:pt x="0" y="259366"/>
                        </a:cubicBezTo>
                        <a:cubicBezTo>
                          <a:pt x="0" y="116122"/>
                          <a:pt x="116122" y="0"/>
                          <a:pt x="259366" y="0"/>
                        </a:cubicBezTo>
                        <a:cubicBezTo>
                          <a:pt x="402610" y="0"/>
                          <a:pt x="518731" y="116122"/>
                          <a:pt x="518731" y="259366"/>
                        </a:cubicBezTo>
                        <a:close/>
                      </a:path>
                    </a:pathLst>
                  </a:custGeom>
                  <a:solidFill>
                    <a:srgbClr val="004F4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1" name="Freihandform: Form 200">
                    <a:extLst>
                      <a:ext uri="{FF2B5EF4-FFF2-40B4-BE49-F238E27FC236}">
                        <a16:creationId xmlns:a16="http://schemas.microsoft.com/office/drawing/2014/main" id="{61229A6A-53CE-3946-D210-FFA7C0538B7D}"/>
                      </a:ext>
                    </a:extLst>
                  </p:cNvPr>
                  <p:cNvSpPr/>
                  <p:nvPr/>
                </p:nvSpPr>
                <p:spPr>
                  <a:xfrm>
                    <a:off x="5919437" y="2908934"/>
                    <a:ext cx="808810" cy="1901431"/>
                  </a:xfrm>
                  <a:custGeom>
                    <a:avLst/>
                    <a:gdLst>
                      <a:gd name="connsiteX0" fmla="*/ 669798 w 808810"/>
                      <a:gd name="connsiteY0" fmla="*/ 0 h 1901431"/>
                      <a:gd name="connsiteX1" fmla="*/ 0 w 808810"/>
                      <a:gd name="connsiteY1" fmla="*/ 48197 h 1901431"/>
                      <a:gd name="connsiteX2" fmla="*/ 79248 w 808810"/>
                      <a:gd name="connsiteY2" fmla="*/ 986219 h 1901431"/>
                      <a:gd name="connsiteX3" fmla="*/ 239078 w 808810"/>
                      <a:gd name="connsiteY3" fmla="*/ 1844231 h 1901431"/>
                      <a:gd name="connsiteX4" fmla="*/ 750094 w 808810"/>
                      <a:gd name="connsiteY4" fmla="*/ 1836325 h 1901431"/>
                      <a:gd name="connsiteX5" fmla="*/ 669798 w 808810"/>
                      <a:gd name="connsiteY5" fmla="*/ 0 h 19014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08810" h="1901431">
                        <a:moveTo>
                          <a:pt x="669798" y="0"/>
                        </a:moveTo>
                        <a:cubicBezTo>
                          <a:pt x="660749" y="3048"/>
                          <a:pt x="0" y="48197"/>
                          <a:pt x="0" y="48197"/>
                        </a:cubicBezTo>
                        <a:cubicBezTo>
                          <a:pt x="0" y="48197"/>
                          <a:pt x="56293" y="822293"/>
                          <a:pt x="79248" y="986219"/>
                        </a:cubicBezTo>
                        <a:cubicBezTo>
                          <a:pt x="167069" y="1614202"/>
                          <a:pt x="239078" y="1844231"/>
                          <a:pt x="239078" y="1844231"/>
                        </a:cubicBezTo>
                        <a:cubicBezTo>
                          <a:pt x="403574" y="1921955"/>
                          <a:pt x="598265" y="1921574"/>
                          <a:pt x="750094" y="1836325"/>
                        </a:cubicBezTo>
                        <a:cubicBezTo>
                          <a:pt x="724948" y="1106329"/>
                          <a:pt x="942880" y="690658"/>
                          <a:pt x="669798" y="0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202" name="Grafik 23">
                    <a:extLst>
                      <a:ext uri="{FF2B5EF4-FFF2-40B4-BE49-F238E27FC236}">
                        <a16:creationId xmlns:a16="http://schemas.microsoft.com/office/drawing/2014/main" id="{1AB08662-B0F6-E825-865A-C2D81F0E104F}"/>
                      </a:ext>
                    </a:extLst>
                  </p:cNvPr>
                  <p:cNvGrpSpPr/>
                  <p:nvPr/>
                </p:nvGrpSpPr>
                <p:grpSpPr>
                  <a:xfrm>
                    <a:off x="5802540" y="5867238"/>
                    <a:ext cx="867562" cy="295551"/>
                    <a:chOff x="5802540" y="5867238"/>
                    <a:chExt cx="867562" cy="295551"/>
                  </a:xfrm>
                </p:grpSpPr>
                <p:sp>
                  <p:nvSpPr>
                    <p:cNvPr id="203" name="Freihandform: Form 202">
                      <a:extLst>
                        <a:ext uri="{FF2B5EF4-FFF2-40B4-BE49-F238E27FC236}">
                          <a16:creationId xmlns:a16="http://schemas.microsoft.com/office/drawing/2014/main" id="{8CDBEED8-E9C5-46FC-E3BF-046E0498E1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04134" y="5867238"/>
                      <a:ext cx="865764" cy="289407"/>
                    </a:xfrm>
                    <a:custGeom>
                      <a:avLst/>
                      <a:gdLst>
                        <a:gd name="connsiteX0" fmla="*/ 804913 w 865764"/>
                        <a:gd name="connsiteY0" fmla="*/ 28546 h 289407"/>
                        <a:gd name="connsiteX1" fmla="*/ 865683 w 865764"/>
                        <a:gd name="connsiteY1" fmla="*/ 170088 h 289407"/>
                        <a:gd name="connsiteX2" fmla="*/ 860063 w 865764"/>
                        <a:gd name="connsiteY2" fmla="*/ 253908 h 289407"/>
                        <a:gd name="connsiteX3" fmla="*/ 835393 w 865764"/>
                        <a:gd name="connsiteY3" fmla="*/ 276863 h 289407"/>
                        <a:gd name="connsiteX4" fmla="*/ 54629 w 865764"/>
                        <a:gd name="connsiteY4" fmla="*/ 249717 h 289407"/>
                        <a:gd name="connsiteX5" fmla="*/ 41866 w 865764"/>
                        <a:gd name="connsiteY5" fmla="*/ 132750 h 289407"/>
                        <a:gd name="connsiteX6" fmla="*/ 331140 w 865764"/>
                        <a:gd name="connsiteY6" fmla="*/ 83696 h 289407"/>
                        <a:gd name="connsiteX7" fmla="*/ 535927 w 865764"/>
                        <a:gd name="connsiteY7" fmla="*/ 829 h 289407"/>
                        <a:gd name="connsiteX8" fmla="*/ 592696 w 865764"/>
                        <a:gd name="connsiteY8" fmla="*/ 56931 h 289407"/>
                        <a:gd name="connsiteX9" fmla="*/ 725570 w 865764"/>
                        <a:gd name="connsiteY9" fmla="*/ 56931 h 289407"/>
                        <a:gd name="connsiteX10" fmla="*/ 805009 w 865764"/>
                        <a:gd name="connsiteY10" fmla="*/ 28546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804913" y="28546"/>
                          </a:moveTo>
                          <a:cubicBezTo>
                            <a:pt x="804913" y="28546"/>
                            <a:pt x="868350" y="92078"/>
                            <a:pt x="865683" y="170088"/>
                          </a:cubicBezTo>
                          <a:cubicBezTo>
                            <a:pt x="864254" y="210474"/>
                            <a:pt x="861968" y="237335"/>
                            <a:pt x="860063" y="253908"/>
                          </a:cubicBezTo>
                          <a:cubicBezTo>
                            <a:pt x="858634" y="266576"/>
                            <a:pt x="848157" y="276292"/>
                            <a:pt x="835393" y="276863"/>
                          </a:cubicBezTo>
                          <a:cubicBezTo>
                            <a:pt x="726808" y="281626"/>
                            <a:pt x="175025" y="314487"/>
                            <a:pt x="54629" y="249717"/>
                          </a:cubicBezTo>
                          <a:cubicBezTo>
                            <a:pt x="-60338" y="187900"/>
                            <a:pt x="41866" y="132750"/>
                            <a:pt x="41866" y="132750"/>
                          </a:cubicBezTo>
                          <a:cubicBezTo>
                            <a:pt x="41866" y="132750"/>
                            <a:pt x="216840" y="152753"/>
                            <a:pt x="331140" y="83696"/>
                          </a:cubicBezTo>
                          <a:cubicBezTo>
                            <a:pt x="432867" y="22260"/>
                            <a:pt x="517735" y="-5267"/>
                            <a:pt x="535927" y="829"/>
                          </a:cubicBezTo>
                          <a:cubicBezTo>
                            <a:pt x="554120" y="6925"/>
                            <a:pt x="560502" y="35500"/>
                            <a:pt x="592696" y="56931"/>
                          </a:cubicBezTo>
                          <a:cubicBezTo>
                            <a:pt x="624986" y="78457"/>
                            <a:pt x="663753" y="78457"/>
                            <a:pt x="725570" y="56931"/>
                          </a:cubicBezTo>
                          <a:cubicBezTo>
                            <a:pt x="787387" y="35405"/>
                            <a:pt x="786149" y="20450"/>
                            <a:pt x="805009" y="28546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04" name="Freihandform: Form 203">
                      <a:extLst>
                        <a:ext uri="{FF2B5EF4-FFF2-40B4-BE49-F238E27FC236}">
                          <a16:creationId xmlns:a16="http://schemas.microsoft.com/office/drawing/2014/main" id="{D1D62F69-FE8B-4568-968A-A5E01448371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02540" y="6009608"/>
                      <a:ext cx="867562" cy="153181"/>
                    </a:xfrm>
                    <a:custGeom>
                      <a:avLst/>
                      <a:gdLst>
                        <a:gd name="connsiteX0" fmla="*/ 837463 w 867562"/>
                        <a:gd name="connsiteY0" fmla="*/ 153162 h 153181"/>
                        <a:gd name="connsiteX1" fmla="*/ 174904 w 867562"/>
                        <a:gd name="connsiteY1" fmla="*/ 152781 h 153181"/>
                        <a:gd name="connsiteX2" fmla="*/ 55746 w 867562"/>
                        <a:gd name="connsiteY2" fmla="*/ 116396 h 153181"/>
                        <a:gd name="connsiteX3" fmla="*/ 28600 w 867562"/>
                        <a:gd name="connsiteY3" fmla="*/ 0 h 153181"/>
                        <a:gd name="connsiteX4" fmla="*/ 68701 w 867562"/>
                        <a:gd name="connsiteY4" fmla="*/ 42291 h 153181"/>
                        <a:gd name="connsiteX5" fmla="*/ 867562 w 867562"/>
                        <a:gd name="connsiteY5" fmla="*/ 51245 h 153181"/>
                        <a:gd name="connsiteX6" fmla="*/ 862324 w 867562"/>
                        <a:gd name="connsiteY6" fmla="*/ 130016 h 153181"/>
                        <a:gd name="connsiteX7" fmla="*/ 837559 w 867562"/>
                        <a:gd name="connsiteY7" fmla="*/ 153162 h 1531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1">
                          <a:moveTo>
                            <a:pt x="837463" y="153162"/>
                          </a:moveTo>
                          <a:cubicBezTo>
                            <a:pt x="834987" y="153258"/>
                            <a:pt x="177000" y="152971"/>
                            <a:pt x="174904" y="152781"/>
                          </a:cubicBezTo>
                          <a:cubicBezTo>
                            <a:pt x="116326" y="147066"/>
                            <a:pt x="79750" y="129350"/>
                            <a:pt x="55746" y="116396"/>
                          </a:cubicBezTo>
                          <a:cubicBezTo>
                            <a:pt x="-30359" y="70104"/>
                            <a:pt x="2311" y="15907"/>
                            <a:pt x="28600" y="0"/>
                          </a:cubicBezTo>
                          <a:cubicBezTo>
                            <a:pt x="37173" y="9430"/>
                            <a:pt x="50031" y="32290"/>
                            <a:pt x="68701" y="42291"/>
                          </a:cubicBezTo>
                          <a:cubicBezTo>
                            <a:pt x="195859" y="110680"/>
                            <a:pt x="799173" y="56483"/>
                            <a:pt x="867562" y="51245"/>
                          </a:cubicBezTo>
                          <a:cubicBezTo>
                            <a:pt x="866134" y="85630"/>
                            <a:pt x="864133" y="114871"/>
                            <a:pt x="862324" y="130016"/>
                          </a:cubicBezTo>
                          <a:cubicBezTo>
                            <a:pt x="860895" y="142780"/>
                            <a:pt x="850417" y="152591"/>
                            <a:pt x="837559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205" name="Freihandform: Form 204">
                    <a:extLst>
                      <a:ext uri="{FF2B5EF4-FFF2-40B4-BE49-F238E27FC236}">
                        <a16:creationId xmlns:a16="http://schemas.microsoft.com/office/drawing/2014/main" id="{EEBAF1BA-B831-7F75-6C01-E9642E661F4A}"/>
                      </a:ext>
                    </a:extLst>
                  </p:cNvPr>
                  <p:cNvSpPr/>
                  <p:nvPr/>
                </p:nvSpPr>
                <p:spPr>
                  <a:xfrm>
                    <a:off x="6158610" y="4661673"/>
                    <a:ext cx="568148" cy="1321932"/>
                  </a:xfrm>
                  <a:custGeom>
                    <a:avLst/>
                    <a:gdLst>
                      <a:gd name="connsiteX0" fmla="*/ 503015 w 568148"/>
                      <a:gd name="connsiteY0" fmla="*/ 1321932 h 1321932"/>
                      <a:gd name="connsiteX1" fmla="*/ 12763 w 568148"/>
                      <a:gd name="connsiteY1" fmla="*/ 1268402 h 1321932"/>
                      <a:gd name="connsiteX2" fmla="*/ 0 w 568148"/>
                      <a:gd name="connsiteY2" fmla="*/ 91492 h 1321932"/>
                      <a:gd name="connsiteX3" fmla="*/ 510254 w 568148"/>
                      <a:gd name="connsiteY3" fmla="*/ 73109 h 1321932"/>
                      <a:gd name="connsiteX4" fmla="*/ 566547 w 568148"/>
                      <a:gd name="connsiteY4" fmla="*/ 1067710 h 1321932"/>
                      <a:gd name="connsiteX5" fmla="*/ 503015 w 568148"/>
                      <a:gd name="connsiteY5" fmla="*/ 1321932 h 13219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68148" h="1321932">
                        <a:moveTo>
                          <a:pt x="503015" y="1321932"/>
                        </a:moveTo>
                        <a:lnTo>
                          <a:pt x="12763" y="1268402"/>
                        </a:lnTo>
                        <a:cubicBezTo>
                          <a:pt x="13526" y="1249828"/>
                          <a:pt x="0" y="91492"/>
                          <a:pt x="0" y="91492"/>
                        </a:cubicBezTo>
                        <a:cubicBezTo>
                          <a:pt x="157544" y="-14616"/>
                          <a:pt x="351473" y="-38238"/>
                          <a:pt x="510254" y="73109"/>
                        </a:cubicBezTo>
                        <a:cubicBezTo>
                          <a:pt x="589884" y="435059"/>
                          <a:pt x="554641" y="888164"/>
                          <a:pt x="566547" y="1067710"/>
                        </a:cubicBezTo>
                        <a:cubicBezTo>
                          <a:pt x="573596" y="1174295"/>
                          <a:pt x="558260" y="1277069"/>
                          <a:pt x="503015" y="1321932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6" name="Freihandform: Form 205">
                    <a:extLst>
                      <a:ext uri="{FF2B5EF4-FFF2-40B4-BE49-F238E27FC236}">
                        <a16:creationId xmlns:a16="http://schemas.microsoft.com/office/drawing/2014/main" id="{933FD699-59DA-7A3A-9BFF-214620906185}"/>
                      </a:ext>
                    </a:extLst>
                  </p:cNvPr>
                  <p:cNvSpPr/>
                  <p:nvPr/>
                </p:nvSpPr>
                <p:spPr>
                  <a:xfrm>
                    <a:off x="5826187" y="1414081"/>
                    <a:ext cx="1017222" cy="2754820"/>
                  </a:xfrm>
                  <a:custGeom>
                    <a:avLst/>
                    <a:gdLst>
                      <a:gd name="connsiteX0" fmla="*/ 970979 w 1017222"/>
                      <a:gd name="connsiteY0" fmla="*/ 2051971 h 2754820"/>
                      <a:gd name="connsiteX1" fmla="*/ 920591 w 1017222"/>
                      <a:gd name="connsiteY1" fmla="*/ 1125093 h 2754820"/>
                      <a:gd name="connsiteX2" fmla="*/ 1016603 w 1017222"/>
                      <a:gd name="connsiteY2" fmla="*/ 413575 h 2754820"/>
                      <a:gd name="connsiteX3" fmla="*/ 730663 w 1017222"/>
                      <a:gd name="connsiteY3" fmla="*/ 0 h 2754820"/>
                      <a:gd name="connsiteX4" fmla="*/ 304990 w 1017222"/>
                      <a:gd name="connsiteY4" fmla="*/ 152210 h 2754820"/>
                      <a:gd name="connsiteX5" fmla="*/ 89821 w 1017222"/>
                      <a:gd name="connsiteY5" fmla="*/ 676370 h 2754820"/>
                      <a:gd name="connsiteX6" fmla="*/ 47149 w 1017222"/>
                      <a:gd name="connsiteY6" fmla="*/ 1569911 h 2754820"/>
                      <a:gd name="connsiteX7" fmla="*/ 0 w 1017222"/>
                      <a:gd name="connsiteY7" fmla="*/ 2754821 h 2754820"/>
                      <a:gd name="connsiteX8" fmla="*/ 971931 w 1017222"/>
                      <a:gd name="connsiteY8" fmla="*/ 2754821 h 2754820"/>
                      <a:gd name="connsiteX9" fmla="*/ 971074 w 1017222"/>
                      <a:gd name="connsiteY9" fmla="*/ 2051971 h 27548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17222" h="2754820">
                        <a:moveTo>
                          <a:pt x="970979" y="2051971"/>
                        </a:moveTo>
                        <a:cubicBezTo>
                          <a:pt x="955738" y="1788604"/>
                          <a:pt x="920591" y="1125093"/>
                          <a:pt x="920591" y="1125093"/>
                        </a:cubicBezTo>
                        <a:cubicBezTo>
                          <a:pt x="920591" y="1125093"/>
                          <a:pt x="1026224" y="587693"/>
                          <a:pt x="1016603" y="413575"/>
                        </a:cubicBezTo>
                        <a:cubicBezTo>
                          <a:pt x="1004792" y="198882"/>
                          <a:pt x="730663" y="0"/>
                          <a:pt x="730663" y="0"/>
                        </a:cubicBezTo>
                        <a:lnTo>
                          <a:pt x="304990" y="152210"/>
                        </a:lnTo>
                        <a:cubicBezTo>
                          <a:pt x="304990" y="152210"/>
                          <a:pt x="117920" y="422339"/>
                          <a:pt x="89821" y="676370"/>
                        </a:cubicBezTo>
                        <a:cubicBezTo>
                          <a:pt x="79438" y="770477"/>
                          <a:pt x="47149" y="1569911"/>
                          <a:pt x="47149" y="1569911"/>
                        </a:cubicBezTo>
                        <a:lnTo>
                          <a:pt x="0" y="2754821"/>
                        </a:lnTo>
                        <a:lnTo>
                          <a:pt x="971931" y="2754821"/>
                        </a:lnTo>
                        <a:cubicBezTo>
                          <a:pt x="974979" y="2647188"/>
                          <a:pt x="983933" y="2275332"/>
                          <a:pt x="971074" y="205197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7" name="Freihandform: Form 206">
                    <a:extLst>
                      <a:ext uri="{FF2B5EF4-FFF2-40B4-BE49-F238E27FC236}">
                        <a16:creationId xmlns:a16="http://schemas.microsoft.com/office/drawing/2014/main" id="{9463D9C9-2271-5A44-8CA0-F64EA8A62CE3}"/>
                      </a:ext>
                    </a:extLst>
                  </p:cNvPr>
                  <p:cNvSpPr/>
                  <p:nvPr/>
                </p:nvSpPr>
                <p:spPr>
                  <a:xfrm>
                    <a:off x="6305112" y="1691910"/>
                    <a:ext cx="526126" cy="1486891"/>
                  </a:xfrm>
                  <a:custGeom>
                    <a:avLst/>
                    <a:gdLst>
                      <a:gd name="connsiteX0" fmla="*/ 19614 w 526126"/>
                      <a:gd name="connsiteY0" fmla="*/ 1445148 h 1486891"/>
                      <a:gd name="connsiteX1" fmla="*/ 137248 w 526126"/>
                      <a:gd name="connsiteY1" fmla="*/ 933084 h 1486891"/>
                      <a:gd name="connsiteX2" fmla="*/ 138772 w 526126"/>
                      <a:gd name="connsiteY2" fmla="*/ 280431 h 1486891"/>
                      <a:gd name="connsiteX3" fmla="*/ 303745 w 526126"/>
                      <a:gd name="connsiteY3" fmla="*/ 2301 h 1486891"/>
                      <a:gd name="connsiteX4" fmla="*/ 495483 w 526126"/>
                      <a:gd name="connsiteY4" fmla="*/ 907081 h 1486891"/>
                      <a:gd name="connsiteX5" fmla="*/ 19709 w 526126"/>
                      <a:gd name="connsiteY5" fmla="*/ 1445148 h 14868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26126" h="1486891">
                        <a:moveTo>
                          <a:pt x="19614" y="1445148"/>
                        </a:moveTo>
                        <a:cubicBezTo>
                          <a:pt x="-18676" y="1405715"/>
                          <a:pt x="-11342" y="1230740"/>
                          <a:pt x="137248" y="933084"/>
                        </a:cubicBezTo>
                        <a:cubicBezTo>
                          <a:pt x="221640" y="764015"/>
                          <a:pt x="80479" y="592661"/>
                          <a:pt x="138772" y="280431"/>
                        </a:cubicBezTo>
                        <a:cubicBezTo>
                          <a:pt x="187921" y="17160"/>
                          <a:pt x="303745" y="2301"/>
                          <a:pt x="303745" y="2301"/>
                        </a:cubicBezTo>
                        <a:cubicBezTo>
                          <a:pt x="587971" y="-37609"/>
                          <a:pt x="532726" y="448738"/>
                          <a:pt x="495483" y="907081"/>
                        </a:cubicBezTo>
                        <a:cubicBezTo>
                          <a:pt x="458622" y="1164161"/>
                          <a:pt x="197446" y="1628409"/>
                          <a:pt x="19709" y="1445148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8" name="Freihandform: Form 207">
                    <a:extLst>
                      <a:ext uri="{FF2B5EF4-FFF2-40B4-BE49-F238E27FC236}">
                        <a16:creationId xmlns:a16="http://schemas.microsoft.com/office/drawing/2014/main" id="{26BA31B5-3CD1-FF51-008F-CCFDC7CA5CBE}"/>
                      </a:ext>
                    </a:extLst>
                  </p:cNvPr>
                  <p:cNvSpPr/>
                  <p:nvPr/>
                </p:nvSpPr>
                <p:spPr>
                  <a:xfrm>
                    <a:off x="5978873" y="3209639"/>
                    <a:ext cx="629697" cy="576707"/>
                  </a:xfrm>
                  <a:custGeom>
                    <a:avLst/>
                    <a:gdLst>
                      <a:gd name="connsiteX0" fmla="*/ 95 w 629697"/>
                      <a:gd name="connsiteY0" fmla="*/ 504635 h 576707"/>
                      <a:gd name="connsiteX1" fmla="*/ 629698 w 629697"/>
                      <a:gd name="connsiteY1" fmla="*/ 546068 h 576707"/>
                      <a:gd name="connsiteX2" fmla="*/ 581787 w 629697"/>
                      <a:gd name="connsiteY2" fmla="*/ 0 h 576707"/>
                      <a:gd name="connsiteX3" fmla="*/ 176784 w 629697"/>
                      <a:gd name="connsiteY3" fmla="*/ 3143 h 576707"/>
                      <a:gd name="connsiteX4" fmla="*/ 0 w 629697"/>
                      <a:gd name="connsiteY4" fmla="*/ 504635 h 5767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29697" h="576707">
                        <a:moveTo>
                          <a:pt x="95" y="504635"/>
                        </a:moveTo>
                        <a:cubicBezTo>
                          <a:pt x="33719" y="584645"/>
                          <a:pt x="487013" y="597408"/>
                          <a:pt x="629698" y="546068"/>
                        </a:cubicBezTo>
                        <a:lnTo>
                          <a:pt x="581787" y="0"/>
                        </a:lnTo>
                        <a:lnTo>
                          <a:pt x="176784" y="3143"/>
                        </a:lnTo>
                        <a:lnTo>
                          <a:pt x="0" y="504635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9" name="Freihandform: Form 208">
                    <a:extLst>
                      <a:ext uri="{FF2B5EF4-FFF2-40B4-BE49-F238E27FC236}">
                        <a16:creationId xmlns:a16="http://schemas.microsoft.com/office/drawing/2014/main" id="{94CF47DE-F024-36C1-CEA4-CD18F60B8D11}"/>
                      </a:ext>
                    </a:extLst>
                  </p:cNvPr>
                  <p:cNvSpPr/>
                  <p:nvPr/>
                </p:nvSpPr>
                <p:spPr>
                  <a:xfrm>
                    <a:off x="6099654" y="1283398"/>
                    <a:ext cx="466244" cy="530066"/>
                  </a:xfrm>
                  <a:custGeom>
                    <a:avLst/>
                    <a:gdLst>
                      <a:gd name="connsiteX0" fmla="*/ 466245 w 466244"/>
                      <a:gd name="connsiteY0" fmla="*/ 179546 h 530066"/>
                      <a:gd name="connsiteX1" fmla="*/ 449481 w 466244"/>
                      <a:gd name="connsiteY1" fmla="*/ 0 h 530066"/>
                      <a:gd name="connsiteX2" fmla="*/ 5711 w 466244"/>
                      <a:gd name="connsiteY2" fmla="*/ 288417 h 530066"/>
                      <a:gd name="connsiteX3" fmla="*/ 38096 w 466244"/>
                      <a:gd name="connsiteY3" fmla="*/ 530066 h 530066"/>
                      <a:gd name="connsiteX4" fmla="*/ 466245 w 466244"/>
                      <a:gd name="connsiteY4" fmla="*/ 179546 h 5300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66244" h="530066">
                        <a:moveTo>
                          <a:pt x="466245" y="179546"/>
                        </a:moveTo>
                        <a:lnTo>
                          <a:pt x="449481" y="0"/>
                        </a:lnTo>
                        <a:cubicBezTo>
                          <a:pt x="449481" y="0"/>
                          <a:pt x="94579" y="177165"/>
                          <a:pt x="5711" y="288417"/>
                        </a:cubicBezTo>
                        <a:cubicBezTo>
                          <a:pt x="-17625" y="317659"/>
                          <a:pt x="38096" y="530066"/>
                          <a:pt x="38096" y="530066"/>
                        </a:cubicBezTo>
                        <a:lnTo>
                          <a:pt x="466245" y="17954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0" name="Freihandform: Form 209">
                    <a:extLst>
                      <a:ext uri="{FF2B5EF4-FFF2-40B4-BE49-F238E27FC236}">
                        <a16:creationId xmlns:a16="http://schemas.microsoft.com/office/drawing/2014/main" id="{AD379041-4673-FC87-1112-0220EA49AAD3}"/>
                      </a:ext>
                    </a:extLst>
                  </p:cNvPr>
                  <p:cNvSpPr/>
                  <p:nvPr/>
                </p:nvSpPr>
                <p:spPr>
                  <a:xfrm>
                    <a:off x="6263099" y="2990564"/>
                    <a:ext cx="335184" cy="292893"/>
                  </a:xfrm>
                  <a:custGeom>
                    <a:avLst/>
                    <a:gdLst>
                      <a:gd name="connsiteX0" fmla="*/ 145447 w 335184"/>
                      <a:gd name="connsiteY0" fmla="*/ 0 h 292893"/>
                      <a:gd name="connsiteX1" fmla="*/ 0 w 335184"/>
                      <a:gd name="connsiteY1" fmla="*/ 284131 h 292893"/>
                      <a:gd name="connsiteX2" fmla="*/ 207169 w 335184"/>
                      <a:gd name="connsiteY2" fmla="*/ 292894 h 292893"/>
                      <a:gd name="connsiteX3" fmla="*/ 335185 w 335184"/>
                      <a:gd name="connsiteY3" fmla="*/ 101537 h 292893"/>
                      <a:gd name="connsiteX4" fmla="*/ 145447 w 335184"/>
                      <a:gd name="connsiteY4" fmla="*/ 0 h 2928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35184" h="292893">
                        <a:moveTo>
                          <a:pt x="145447" y="0"/>
                        </a:moveTo>
                        <a:lnTo>
                          <a:pt x="0" y="284131"/>
                        </a:lnTo>
                        <a:lnTo>
                          <a:pt x="207169" y="292894"/>
                        </a:lnTo>
                        <a:lnTo>
                          <a:pt x="335185" y="101537"/>
                        </a:lnTo>
                        <a:lnTo>
                          <a:pt x="145447" y="0"/>
                        </a:ln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211" name="Grafik 23">
                    <a:extLst>
                      <a:ext uri="{FF2B5EF4-FFF2-40B4-BE49-F238E27FC236}">
                        <a16:creationId xmlns:a16="http://schemas.microsoft.com/office/drawing/2014/main" id="{FA8ECCC4-457A-AFAD-9DF0-5904CC1084C4}"/>
                      </a:ext>
                    </a:extLst>
                  </p:cNvPr>
                  <p:cNvGrpSpPr/>
                  <p:nvPr/>
                </p:nvGrpSpPr>
                <p:grpSpPr>
                  <a:xfrm>
                    <a:off x="6324726" y="1764506"/>
                    <a:ext cx="607980" cy="1445133"/>
                    <a:chOff x="6324726" y="1764506"/>
                    <a:chExt cx="607980" cy="1445133"/>
                  </a:xfrm>
                  <a:solidFill>
                    <a:srgbClr val="FFFFFF"/>
                  </a:solidFill>
                </p:grpSpPr>
                <p:sp>
                  <p:nvSpPr>
                    <p:cNvPr id="212" name="Freihandform: Form 211">
                      <a:extLst>
                        <a:ext uri="{FF2B5EF4-FFF2-40B4-BE49-F238E27FC236}">
                          <a16:creationId xmlns:a16="http://schemas.microsoft.com/office/drawing/2014/main" id="{54AFB8F0-BD34-CEEC-922A-1EFD4CFA48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0361" y="1764506"/>
                      <a:ext cx="482346" cy="878681"/>
                    </a:xfrm>
                    <a:custGeom>
                      <a:avLst/>
                      <a:gdLst>
                        <a:gd name="connsiteX0" fmla="*/ 383667 w 482346"/>
                        <a:gd name="connsiteY0" fmla="*/ 0 h 878681"/>
                        <a:gd name="connsiteX1" fmla="*/ 482346 w 482346"/>
                        <a:gd name="connsiteY1" fmla="*/ 839438 h 878681"/>
                        <a:gd name="connsiteX2" fmla="*/ 141256 w 482346"/>
                        <a:gd name="connsiteY2" fmla="*/ 878681 h 878681"/>
                        <a:gd name="connsiteX3" fmla="*/ 0 w 482346"/>
                        <a:gd name="connsiteY3" fmla="*/ 85725 h 878681"/>
                        <a:gd name="connsiteX4" fmla="*/ 383667 w 482346"/>
                        <a:gd name="connsiteY4" fmla="*/ 0 h 8786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82346" h="878681">
                          <a:moveTo>
                            <a:pt x="383667" y="0"/>
                          </a:moveTo>
                          <a:cubicBezTo>
                            <a:pt x="451485" y="213170"/>
                            <a:pt x="482346" y="839438"/>
                            <a:pt x="482346" y="839438"/>
                          </a:cubicBezTo>
                          <a:lnTo>
                            <a:pt x="141256" y="878681"/>
                          </a:lnTo>
                          <a:cubicBezTo>
                            <a:pt x="29909" y="639128"/>
                            <a:pt x="0" y="85725"/>
                            <a:pt x="0" y="85725"/>
                          </a:cubicBezTo>
                          <a:lnTo>
                            <a:pt x="383667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3" name="Freihandform: Form 212">
                      <a:extLst>
                        <a:ext uri="{FF2B5EF4-FFF2-40B4-BE49-F238E27FC236}">
                          <a16:creationId xmlns:a16="http://schemas.microsoft.com/office/drawing/2014/main" id="{D0F4EE2B-31E1-F0CA-B4C3-DD2EEE8031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87140" y="2431161"/>
                      <a:ext cx="345566" cy="345566"/>
                    </a:xfrm>
                    <a:custGeom>
                      <a:avLst/>
                      <a:gdLst>
                        <a:gd name="connsiteX0" fmla="*/ 345567 w 345566"/>
                        <a:gd name="connsiteY0" fmla="*/ 172784 h 345566"/>
                        <a:gd name="connsiteX1" fmla="*/ 172783 w 345566"/>
                        <a:gd name="connsiteY1" fmla="*/ 345567 h 345566"/>
                        <a:gd name="connsiteX2" fmla="*/ 0 w 345566"/>
                        <a:gd name="connsiteY2" fmla="*/ 172784 h 345566"/>
                        <a:gd name="connsiteX3" fmla="*/ 172783 w 345566"/>
                        <a:gd name="connsiteY3" fmla="*/ 0 h 345566"/>
                        <a:gd name="connsiteX4" fmla="*/ 345567 w 345566"/>
                        <a:gd name="connsiteY4" fmla="*/ 172784 h 34556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45566" h="345566">
                          <a:moveTo>
                            <a:pt x="345567" y="172784"/>
                          </a:moveTo>
                          <a:cubicBezTo>
                            <a:pt x="345567" y="268209"/>
                            <a:pt x="268209" y="345567"/>
                            <a:pt x="172783" y="345567"/>
                          </a:cubicBezTo>
                          <a:cubicBezTo>
                            <a:pt x="77358" y="345567"/>
                            <a:pt x="0" y="268209"/>
                            <a:pt x="0" y="172784"/>
                          </a:cubicBezTo>
                          <a:cubicBezTo>
                            <a:pt x="0" y="77358"/>
                            <a:pt x="77358" y="0"/>
                            <a:pt x="172783" y="0"/>
                          </a:cubicBezTo>
                          <a:cubicBezTo>
                            <a:pt x="268209" y="0"/>
                            <a:pt x="345567" y="77358"/>
                            <a:pt x="345567" y="172784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4" name="Freihandform: Form 213">
                      <a:extLst>
                        <a:ext uri="{FF2B5EF4-FFF2-40B4-BE49-F238E27FC236}">
                          <a16:creationId xmlns:a16="http://schemas.microsoft.com/office/drawing/2014/main" id="{46D4C672-B67C-473B-E37B-86A8DFCD6C5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24726" y="2522886"/>
                      <a:ext cx="580739" cy="686752"/>
                    </a:xfrm>
                    <a:custGeom>
                      <a:avLst/>
                      <a:gdLst>
                        <a:gd name="connsiteX0" fmla="*/ 580740 w 580739"/>
                        <a:gd name="connsiteY0" fmla="*/ 174308 h 686752"/>
                        <a:gd name="connsiteX1" fmla="*/ 249269 w 580739"/>
                        <a:gd name="connsiteY1" fmla="*/ 686753 h 686752"/>
                        <a:gd name="connsiteX2" fmla="*/ 0 w 580739"/>
                        <a:gd name="connsiteY2" fmla="*/ 520637 h 686752"/>
                        <a:gd name="connsiteX3" fmla="*/ 282607 w 580739"/>
                        <a:gd name="connsiteY3" fmla="*/ 0 h 686752"/>
                        <a:gd name="connsiteX4" fmla="*/ 580740 w 580739"/>
                        <a:gd name="connsiteY4" fmla="*/ 174308 h 6867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80739" h="686752">
                          <a:moveTo>
                            <a:pt x="580740" y="174308"/>
                          </a:moveTo>
                          <a:lnTo>
                            <a:pt x="249269" y="686753"/>
                          </a:lnTo>
                          <a:lnTo>
                            <a:pt x="0" y="520637"/>
                          </a:lnTo>
                          <a:lnTo>
                            <a:pt x="282607" y="0"/>
                          </a:lnTo>
                          <a:lnTo>
                            <a:pt x="580740" y="174308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215" name="Freihandform: Form 214">
                    <a:extLst>
                      <a:ext uri="{FF2B5EF4-FFF2-40B4-BE49-F238E27FC236}">
                        <a16:creationId xmlns:a16="http://schemas.microsoft.com/office/drawing/2014/main" id="{411312AE-2BF3-7101-350F-61C04EE23C0F}"/>
                      </a:ext>
                    </a:extLst>
                  </p:cNvPr>
                  <p:cNvSpPr/>
                  <p:nvPr/>
                </p:nvSpPr>
                <p:spPr>
                  <a:xfrm>
                    <a:off x="6006686" y="2053970"/>
                    <a:ext cx="262032" cy="259856"/>
                  </a:xfrm>
                  <a:custGeom>
                    <a:avLst/>
                    <a:gdLst>
                      <a:gd name="connsiteX0" fmla="*/ 0 w 262032"/>
                      <a:gd name="connsiteY0" fmla="*/ 225266 h 259856"/>
                      <a:gd name="connsiteX1" fmla="*/ 262033 w 262032"/>
                      <a:gd name="connsiteY1" fmla="*/ 252032 h 259856"/>
                      <a:gd name="connsiteX2" fmla="*/ 236887 w 262032"/>
                      <a:gd name="connsiteY2" fmla="*/ 0 h 259856"/>
                      <a:gd name="connsiteX3" fmla="*/ 56483 w 262032"/>
                      <a:gd name="connsiteY3" fmla="*/ 1429 h 259856"/>
                      <a:gd name="connsiteX4" fmla="*/ 0 w 262032"/>
                      <a:gd name="connsiteY4" fmla="*/ 225266 h 2598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2032" h="259856">
                        <a:moveTo>
                          <a:pt x="0" y="225266"/>
                        </a:moveTo>
                        <a:cubicBezTo>
                          <a:pt x="22574" y="242030"/>
                          <a:pt x="198501" y="274892"/>
                          <a:pt x="262033" y="252032"/>
                        </a:cubicBezTo>
                        <a:lnTo>
                          <a:pt x="236887" y="0"/>
                        </a:lnTo>
                        <a:lnTo>
                          <a:pt x="56483" y="1429"/>
                        </a:lnTo>
                        <a:lnTo>
                          <a:pt x="0" y="225266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6" name="Freihandform: Form 215">
                    <a:extLst>
                      <a:ext uri="{FF2B5EF4-FFF2-40B4-BE49-F238E27FC236}">
                        <a16:creationId xmlns:a16="http://schemas.microsoft.com/office/drawing/2014/main" id="{A46C29BC-CE53-EC7A-B504-E6964E35C6D7}"/>
                      </a:ext>
                    </a:extLst>
                  </p:cNvPr>
                  <p:cNvSpPr/>
                  <p:nvPr/>
                </p:nvSpPr>
                <p:spPr>
                  <a:xfrm>
                    <a:off x="6006686" y="2053970"/>
                    <a:ext cx="230885" cy="229076"/>
                  </a:xfrm>
                  <a:custGeom>
                    <a:avLst/>
                    <a:gdLst>
                      <a:gd name="connsiteX0" fmla="*/ 4096 w 230885"/>
                      <a:gd name="connsiteY0" fmla="*/ 0 h 229076"/>
                      <a:gd name="connsiteX1" fmla="*/ 0 w 230885"/>
                      <a:gd name="connsiteY1" fmla="*/ 225266 h 229076"/>
                      <a:gd name="connsiteX2" fmla="*/ 230886 w 230885"/>
                      <a:gd name="connsiteY2" fmla="*/ 229076 h 229076"/>
                      <a:gd name="connsiteX3" fmla="*/ 230886 w 230885"/>
                      <a:gd name="connsiteY3" fmla="*/ 0 h 229076"/>
                      <a:gd name="connsiteX4" fmla="*/ 4096 w 230885"/>
                      <a:gd name="connsiteY4" fmla="*/ 0 h 2290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0885" h="229076">
                        <a:moveTo>
                          <a:pt x="4096" y="0"/>
                        </a:moveTo>
                        <a:lnTo>
                          <a:pt x="0" y="225266"/>
                        </a:lnTo>
                        <a:lnTo>
                          <a:pt x="230886" y="229076"/>
                        </a:lnTo>
                        <a:lnTo>
                          <a:pt x="230886" y="0"/>
                        </a:lnTo>
                        <a:lnTo>
                          <a:pt x="409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7" name="Freihandform: Form 216">
                    <a:extLst>
                      <a:ext uri="{FF2B5EF4-FFF2-40B4-BE49-F238E27FC236}">
                        <a16:creationId xmlns:a16="http://schemas.microsoft.com/office/drawing/2014/main" id="{2A7011E2-A0EA-0B90-9BD7-02B9FE9BA3D1}"/>
                      </a:ext>
                    </a:extLst>
                  </p:cNvPr>
                  <p:cNvSpPr/>
                  <p:nvPr/>
                </p:nvSpPr>
                <p:spPr>
                  <a:xfrm>
                    <a:off x="5978969" y="3209639"/>
                    <a:ext cx="568261" cy="539262"/>
                  </a:xfrm>
                  <a:custGeom>
                    <a:avLst/>
                    <a:gdLst>
                      <a:gd name="connsiteX0" fmla="*/ 59055 w 568261"/>
                      <a:gd name="connsiteY0" fmla="*/ 0 h 539262"/>
                      <a:gd name="connsiteX1" fmla="*/ 0 w 568261"/>
                      <a:gd name="connsiteY1" fmla="*/ 504635 h 539262"/>
                      <a:gd name="connsiteX2" fmla="*/ 568262 w 568261"/>
                      <a:gd name="connsiteY2" fmla="*/ 514064 h 539262"/>
                      <a:gd name="connsiteX3" fmla="*/ 568262 w 568261"/>
                      <a:gd name="connsiteY3" fmla="*/ 0 h 539262"/>
                      <a:gd name="connsiteX4" fmla="*/ 59150 w 568261"/>
                      <a:gd name="connsiteY4" fmla="*/ 0 h 5392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68261" h="539262">
                        <a:moveTo>
                          <a:pt x="59055" y="0"/>
                        </a:moveTo>
                        <a:cubicBezTo>
                          <a:pt x="59055" y="37624"/>
                          <a:pt x="0" y="504635"/>
                          <a:pt x="0" y="504635"/>
                        </a:cubicBezTo>
                        <a:cubicBezTo>
                          <a:pt x="174403" y="550545"/>
                          <a:pt x="365855" y="547783"/>
                          <a:pt x="568262" y="514064"/>
                        </a:cubicBezTo>
                        <a:lnTo>
                          <a:pt x="568262" y="0"/>
                        </a:lnTo>
                        <a:cubicBezTo>
                          <a:pt x="568262" y="0"/>
                          <a:pt x="59150" y="0"/>
                          <a:pt x="59150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8" name="Freihandform: Form 217">
                    <a:extLst>
                      <a:ext uri="{FF2B5EF4-FFF2-40B4-BE49-F238E27FC236}">
                        <a16:creationId xmlns:a16="http://schemas.microsoft.com/office/drawing/2014/main" id="{FDDB8D5A-7127-ECC6-87D7-774C766B7759}"/>
                      </a:ext>
                    </a:extLst>
                  </p:cNvPr>
                  <p:cNvSpPr/>
                  <p:nvPr/>
                </p:nvSpPr>
                <p:spPr>
                  <a:xfrm>
                    <a:off x="6158610" y="4503134"/>
                    <a:ext cx="511301" cy="511301"/>
                  </a:xfrm>
                  <a:custGeom>
                    <a:avLst/>
                    <a:gdLst>
                      <a:gd name="connsiteX0" fmla="*/ 511302 w 511301"/>
                      <a:gd name="connsiteY0" fmla="*/ 255651 h 511301"/>
                      <a:gd name="connsiteX1" fmla="*/ 255651 w 511301"/>
                      <a:gd name="connsiteY1" fmla="*/ 511302 h 511301"/>
                      <a:gd name="connsiteX2" fmla="*/ 0 w 511301"/>
                      <a:gd name="connsiteY2" fmla="*/ 255651 h 511301"/>
                      <a:gd name="connsiteX3" fmla="*/ 255651 w 511301"/>
                      <a:gd name="connsiteY3" fmla="*/ 0 h 511301"/>
                      <a:gd name="connsiteX4" fmla="*/ 511302 w 511301"/>
                      <a:gd name="connsiteY4" fmla="*/ 255651 h 5113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1301" h="511301">
                        <a:moveTo>
                          <a:pt x="511302" y="255651"/>
                        </a:moveTo>
                        <a:cubicBezTo>
                          <a:pt x="511302" y="396843"/>
                          <a:pt x="396843" y="511302"/>
                          <a:pt x="255651" y="511302"/>
                        </a:cubicBezTo>
                        <a:cubicBezTo>
                          <a:pt x="114459" y="511302"/>
                          <a:pt x="0" y="396843"/>
                          <a:pt x="0" y="255651"/>
                        </a:cubicBezTo>
                        <a:cubicBezTo>
                          <a:pt x="0" y="114459"/>
                          <a:pt x="114459" y="0"/>
                          <a:pt x="255651" y="0"/>
                        </a:cubicBezTo>
                        <a:cubicBezTo>
                          <a:pt x="396843" y="0"/>
                          <a:pt x="511302" y="114459"/>
                          <a:pt x="511302" y="255651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9" name="Freihandform: Form 218">
                    <a:extLst>
                      <a:ext uri="{FF2B5EF4-FFF2-40B4-BE49-F238E27FC236}">
                        <a16:creationId xmlns:a16="http://schemas.microsoft.com/office/drawing/2014/main" id="{87D73E35-8DEE-FF5D-247F-A529E777AF5D}"/>
                      </a:ext>
                    </a:extLst>
                  </p:cNvPr>
                  <p:cNvSpPr/>
                  <p:nvPr/>
                </p:nvSpPr>
                <p:spPr>
                  <a:xfrm>
                    <a:off x="6449504" y="1634490"/>
                    <a:ext cx="396621" cy="396621"/>
                  </a:xfrm>
                  <a:custGeom>
                    <a:avLst/>
                    <a:gdLst>
                      <a:gd name="connsiteX0" fmla="*/ 396621 w 396621"/>
                      <a:gd name="connsiteY0" fmla="*/ 198310 h 396621"/>
                      <a:gd name="connsiteX1" fmla="*/ 198310 w 396621"/>
                      <a:gd name="connsiteY1" fmla="*/ 396621 h 396621"/>
                      <a:gd name="connsiteX2" fmla="*/ 0 w 396621"/>
                      <a:gd name="connsiteY2" fmla="*/ 198311 h 396621"/>
                      <a:gd name="connsiteX3" fmla="*/ 198310 w 396621"/>
                      <a:gd name="connsiteY3" fmla="*/ 0 h 396621"/>
                      <a:gd name="connsiteX4" fmla="*/ 396621 w 396621"/>
                      <a:gd name="connsiteY4" fmla="*/ 198310 h 3966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6621" h="396621">
                        <a:moveTo>
                          <a:pt x="396621" y="198310"/>
                        </a:moveTo>
                        <a:cubicBezTo>
                          <a:pt x="396621" y="307834"/>
                          <a:pt x="307834" y="396621"/>
                          <a:pt x="198310" y="396621"/>
                        </a:cubicBezTo>
                        <a:cubicBezTo>
                          <a:pt x="88786" y="396621"/>
                          <a:pt x="0" y="307834"/>
                          <a:pt x="0" y="198311"/>
                        </a:cubicBezTo>
                        <a:cubicBezTo>
                          <a:pt x="0" y="88787"/>
                          <a:pt x="88786" y="0"/>
                          <a:pt x="198310" y="0"/>
                        </a:cubicBezTo>
                        <a:cubicBezTo>
                          <a:pt x="307834" y="0"/>
                          <a:pt x="396621" y="88787"/>
                          <a:pt x="396621" y="19831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20" name="Grafik 23">
                  <a:extLst>
                    <a:ext uri="{FF2B5EF4-FFF2-40B4-BE49-F238E27FC236}">
                      <a16:creationId xmlns:a16="http://schemas.microsoft.com/office/drawing/2014/main" id="{497B2EA9-1B02-D5BF-0402-5DC163C6DF5F}"/>
                    </a:ext>
                  </a:extLst>
                </p:cNvPr>
                <p:cNvGrpSpPr/>
                <p:nvPr/>
              </p:nvGrpSpPr>
              <p:grpSpPr>
                <a:xfrm>
                  <a:off x="5884415" y="666564"/>
                  <a:ext cx="678757" cy="747232"/>
                  <a:chOff x="5884415" y="666564"/>
                  <a:chExt cx="678757" cy="747232"/>
                </a:xfrm>
              </p:grpSpPr>
              <p:grpSp>
                <p:nvGrpSpPr>
                  <p:cNvPr id="221" name="Grafik 23">
                    <a:extLst>
                      <a:ext uri="{FF2B5EF4-FFF2-40B4-BE49-F238E27FC236}">
                        <a16:creationId xmlns:a16="http://schemas.microsoft.com/office/drawing/2014/main" id="{149305F3-1D13-37DC-9CC9-F80D34FABCD7}"/>
                      </a:ext>
                    </a:extLst>
                  </p:cNvPr>
                  <p:cNvGrpSpPr/>
                  <p:nvPr/>
                </p:nvGrpSpPr>
                <p:grpSpPr>
                  <a:xfrm>
                    <a:off x="5890916" y="666564"/>
                    <a:ext cx="672255" cy="747232"/>
                    <a:chOff x="5890916" y="666564"/>
                    <a:chExt cx="672255" cy="747232"/>
                  </a:xfrm>
                </p:grpSpPr>
                <p:sp>
                  <p:nvSpPr>
                    <p:cNvPr id="222" name="Freihandform: Form 221">
                      <a:extLst>
                        <a:ext uri="{FF2B5EF4-FFF2-40B4-BE49-F238E27FC236}">
                          <a16:creationId xmlns:a16="http://schemas.microsoft.com/office/drawing/2014/main" id="{01E3BC18-D797-DF12-2B62-A3D34741675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90916" y="928649"/>
                      <a:ext cx="397931" cy="485147"/>
                    </a:xfrm>
                    <a:custGeom>
                      <a:avLst/>
                      <a:gdLst>
                        <a:gd name="connsiteX0" fmla="*/ 391233 w 397931"/>
                        <a:gd name="connsiteY0" fmla="*/ 125006 h 485147"/>
                        <a:gd name="connsiteX1" fmla="*/ 110722 w 397931"/>
                        <a:gd name="connsiteY1" fmla="*/ 26041 h 485147"/>
                        <a:gd name="connsiteX2" fmla="*/ 63001 w 397931"/>
                        <a:gd name="connsiteY2" fmla="*/ 126339 h 485147"/>
                        <a:gd name="connsiteX3" fmla="*/ 2803 w 397931"/>
                        <a:gd name="connsiteY3" fmla="*/ 242639 h 485147"/>
                        <a:gd name="connsiteX4" fmla="*/ 53000 w 397931"/>
                        <a:gd name="connsiteY4" fmla="*/ 284359 h 485147"/>
                        <a:gd name="connsiteX5" fmla="*/ 63954 w 397931"/>
                        <a:gd name="connsiteY5" fmla="*/ 327888 h 485147"/>
                        <a:gd name="connsiteX6" fmla="*/ 84147 w 397931"/>
                        <a:gd name="connsiteY6" fmla="*/ 342557 h 485147"/>
                        <a:gd name="connsiteX7" fmla="*/ 84623 w 397931"/>
                        <a:gd name="connsiteY7" fmla="*/ 351986 h 485147"/>
                        <a:gd name="connsiteX8" fmla="*/ 81194 w 397931"/>
                        <a:gd name="connsiteY8" fmla="*/ 381323 h 485147"/>
                        <a:gd name="connsiteX9" fmla="*/ 93672 w 397931"/>
                        <a:gd name="connsiteY9" fmla="*/ 398564 h 485147"/>
                        <a:gd name="connsiteX10" fmla="*/ 100435 w 397931"/>
                        <a:gd name="connsiteY10" fmla="*/ 433235 h 485147"/>
                        <a:gd name="connsiteX11" fmla="*/ 150917 w 397931"/>
                        <a:gd name="connsiteY11" fmla="*/ 484955 h 485147"/>
                        <a:gd name="connsiteX12" fmla="*/ 297983 w 397931"/>
                        <a:gd name="connsiteY12" fmla="*/ 460571 h 485147"/>
                        <a:gd name="connsiteX13" fmla="*/ 395805 w 397931"/>
                        <a:gd name="connsiteY13" fmla="*/ 321602 h 485147"/>
                        <a:gd name="connsiteX14" fmla="*/ 391328 w 397931"/>
                        <a:gd name="connsiteY14" fmla="*/ 124815 h 48514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</a:cxnLst>
                      <a:rect l="l" t="t" r="r" b="b"/>
                      <a:pathLst>
                        <a:path w="397931" h="485147">
                          <a:moveTo>
                            <a:pt x="391233" y="125006"/>
                          </a:moveTo>
                          <a:cubicBezTo>
                            <a:pt x="328844" y="-46349"/>
                            <a:pt x="152251" y="-248"/>
                            <a:pt x="110722" y="26041"/>
                          </a:cubicBezTo>
                          <a:cubicBezTo>
                            <a:pt x="69193" y="52330"/>
                            <a:pt x="58143" y="85191"/>
                            <a:pt x="63001" y="126339"/>
                          </a:cubicBezTo>
                          <a:cubicBezTo>
                            <a:pt x="52333" y="145961"/>
                            <a:pt x="21853" y="195300"/>
                            <a:pt x="2803" y="242639"/>
                          </a:cubicBezTo>
                          <a:cubicBezTo>
                            <a:pt x="-10913" y="276644"/>
                            <a:pt x="28902" y="281406"/>
                            <a:pt x="53000" y="284359"/>
                          </a:cubicBezTo>
                          <a:cubicBezTo>
                            <a:pt x="74336" y="287026"/>
                            <a:pt x="58429" y="316268"/>
                            <a:pt x="63954" y="327888"/>
                          </a:cubicBezTo>
                          <a:cubicBezTo>
                            <a:pt x="68145" y="336556"/>
                            <a:pt x="75955" y="338842"/>
                            <a:pt x="84147" y="342557"/>
                          </a:cubicBezTo>
                          <a:cubicBezTo>
                            <a:pt x="84814" y="342842"/>
                            <a:pt x="85290" y="351701"/>
                            <a:pt x="84623" y="351986"/>
                          </a:cubicBezTo>
                          <a:cubicBezTo>
                            <a:pt x="67383" y="359892"/>
                            <a:pt x="68050" y="376751"/>
                            <a:pt x="81194" y="381323"/>
                          </a:cubicBezTo>
                          <a:cubicBezTo>
                            <a:pt x="91957" y="385133"/>
                            <a:pt x="93672" y="398564"/>
                            <a:pt x="93672" y="398564"/>
                          </a:cubicBezTo>
                          <a:cubicBezTo>
                            <a:pt x="93672" y="398564"/>
                            <a:pt x="98720" y="423900"/>
                            <a:pt x="100435" y="433235"/>
                          </a:cubicBezTo>
                          <a:cubicBezTo>
                            <a:pt x="110817" y="491147"/>
                            <a:pt x="150917" y="484955"/>
                            <a:pt x="150917" y="484955"/>
                          </a:cubicBezTo>
                          <a:cubicBezTo>
                            <a:pt x="150917" y="484955"/>
                            <a:pt x="245786" y="473240"/>
                            <a:pt x="297983" y="460571"/>
                          </a:cubicBezTo>
                          <a:cubicBezTo>
                            <a:pt x="358943" y="445617"/>
                            <a:pt x="392757" y="345986"/>
                            <a:pt x="395805" y="321602"/>
                          </a:cubicBezTo>
                          <a:cubicBezTo>
                            <a:pt x="402472" y="267785"/>
                            <a:pt x="391328" y="124815"/>
                            <a:pt x="391328" y="124815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23" name="Freihandform: Form 222">
                      <a:extLst>
                        <a:ext uri="{FF2B5EF4-FFF2-40B4-BE49-F238E27FC236}">
                          <a16:creationId xmlns:a16="http://schemas.microsoft.com/office/drawing/2014/main" id="{E3B81416-C2D8-AF37-AE27-7CCF93CD0F50}"/>
                        </a:ext>
                      </a:extLst>
                    </p:cNvPr>
                    <p:cNvSpPr/>
                    <p:nvPr/>
                  </p:nvSpPr>
                  <p:spPr>
                    <a:xfrm rot="-445201">
                      <a:off x="5939430" y="702581"/>
                      <a:ext cx="592073" cy="528827"/>
                    </a:xfrm>
                    <a:custGeom>
                      <a:avLst/>
                      <a:gdLst>
                        <a:gd name="connsiteX0" fmla="*/ 592074 w 592073"/>
                        <a:gd name="connsiteY0" fmla="*/ 264414 h 528827"/>
                        <a:gd name="connsiteX1" fmla="*/ 296037 w 592073"/>
                        <a:gd name="connsiteY1" fmla="*/ 528828 h 528827"/>
                        <a:gd name="connsiteX2" fmla="*/ 0 w 592073"/>
                        <a:gd name="connsiteY2" fmla="*/ 264414 h 528827"/>
                        <a:gd name="connsiteX3" fmla="*/ 296037 w 592073"/>
                        <a:gd name="connsiteY3" fmla="*/ 0 h 528827"/>
                        <a:gd name="connsiteX4" fmla="*/ 592074 w 592073"/>
                        <a:gd name="connsiteY4" fmla="*/ 264414 h 5288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92073" h="528827">
                          <a:moveTo>
                            <a:pt x="592074" y="264414"/>
                          </a:moveTo>
                          <a:cubicBezTo>
                            <a:pt x="592074" y="410446"/>
                            <a:pt x="459534" y="528828"/>
                            <a:pt x="296037" y="528828"/>
                          </a:cubicBezTo>
                          <a:cubicBezTo>
                            <a:pt x="132541" y="528828"/>
                            <a:pt x="0" y="410446"/>
                            <a:pt x="0" y="264414"/>
                          </a:cubicBezTo>
                          <a:cubicBezTo>
                            <a:pt x="0" y="118382"/>
                            <a:pt x="132541" y="0"/>
                            <a:pt x="296037" y="0"/>
                          </a:cubicBezTo>
                          <a:cubicBezTo>
                            <a:pt x="459534" y="0"/>
                            <a:pt x="592074" y="118382"/>
                            <a:pt x="592074" y="264414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24" name="Freihandform: Form 223">
                      <a:extLst>
                        <a:ext uri="{FF2B5EF4-FFF2-40B4-BE49-F238E27FC236}">
                          <a16:creationId xmlns:a16="http://schemas.microsoft.com/office/drawing/2014/main" id="{8EE51AEF-5B10-D563-2A6E-0167525233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75063" y="1260919"/>
                      <a:ext cx="37147" cy="19811"/>
                    </a:xfrm>
                    <a:custGeom>
                      <a:avLst/>
                      <a:gdLst>
                        <a:gd name="connsiteX0" fmla="*/ 476 w 37147"/>
                        <a:gd name="connsiteY0" fmla="*/ 19812 h 19811"/>
                        <a:gd name="connsiteX1" fmla="*/ 0 w 37147"/>
                        <a:gd name="connsiteY1" fmla="*/ 10382 h 19811"/>
                        <a:gd name="connsiteX2" fmla="*/ 32385 w 37147"/>
                        <a:gd name="connsiteY2" fmla="*/ 0 h 19811"/>
                        <a:gd name="connsiteX3" fmla="*/ 37147 w 37147"/>
                        <a:gd name="connsiteY3" fmla="*/ 8192 h 19811"/>
                        <a:gd name="connsiteX4" fmla="*/ 571 w 37147"/>
                        <a:gd name="connsiteY4" fmla="*/ 19812 h 1981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7147" h="19811">
                          <a:moveTo>
                            <a:pt x="476" y="19812"/>
                          </a:moveTo>
                          <a:lnTo>
                            <a:pt x="0" y="10382"/>
                          </a:lnTo>
                          <a:cubicBezTo>
                            <a:pt x="0" y="10382"/>
                            <a:pt x="16002" y="9430"/>
                            <a:pt x="32385" y="0"/>
                          </a:cubicBezTo>
                          <a:lnTo>
                            <a:pt x="37147" y="8192"/>
                          </a:lnTo>
                          <a:cubicBezTo>
                            <a:pt x="18764" y="18764"/>
                            <a:pt x="1238" y="19812"/>
                            <a:pt x="571" y="19812"/>
                          </a:cubicBezTo>
                          <a:close/>
                        </a:path>
                      </a:pathLst>
                    </a:custGeom>
                    <a:solidFill>
                      <a:srgbClr val="F2BBB3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25" name="Freihandform: Form 224">
                      <a:extLst>
                        <a:ext uri="{FF2B5EF4-FFF2-40B4-BE49-F238E27FC236}">
                          <a16:creationId xmlns:a16="http://schemas.microsoft.com/office/drawing/2014/main" id="{D7220E43-0923-C955-B9D5-BB8C0EC714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60067" y="1011264"/>
                      <a:ext cx="129553" cy="32025"/>
                    </a:xfrm>
                    <a:custGeom>
                      <a:avLst/>
                      <a:gdLst>
                        <a:gd name="connsiteX0" fmla="*/ 98911 w 129553"/>
                        <a:gd name="connsiteY0" fmla="*/ 2672 h 32025"/>
                        <a:gd name="connsiteX1" fmla="*/ 5947 w 129553"/>
                        <a:gd name="connsiteY1" fmla="*/ 10292 h 32025"/>
                        <a:gd name="connsiteX2" fmla="*/ 3090 w 129553"/>
                        <a:gd name="connsiteY2" fmla="*/ 12768 h 32025"/>
                        <a:gd name="connsiteX3" fmla="*/ 13853 w 129553"/>
                        <a:gd name="connsiteY3" fmla="*/ 31913 h 32025"/>
                        <a:gd name="connsiteX4" fmla="*/ 38332 w 129553"/>
                        <a:gd name="connsiteY4" fmla="*/ 27341 h 32025"/>
                        <a:gd name="connsiteX5" fmla="*/ 96720 w 129553"/>
                        <a:gd name="connsiteY5" fmla="*/ 24389 h 32025"/>
                        <a:gd name="connsiteX6" fmla="*/ 129106 w 129553"/>
                        <a:gd name="connsiteY6" fmla="*/ 31532 h 32025"/>
                        <a:gd name="connsiteX7" fmla="*/ 98816 w 129553"/>
                        <a:gd name="connsiteY7" fmla="*/ 2767 h 320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29553" h="32025">
                          <a:moveTo>
                            <a:pt x="98911" y="2672"/>
                          </a:moveTo>
                          <a:cubicBezTo>
                            <a:pt x="81099" y="-5329"/>
                            <a:pt x="10615" y="6863"/>
                            <a:pt x="5947" y="10292"/>
                          </a:cubicBezTo>
                          <a:cubicBezTo>
                            <a:pt x="4804" y="11149"/>
                            <a:pt x="3852" y="11911"/>
                            <a:pt x="3090" y="12768"/>
                          </a:cubicBezTo>
                          <a:cubicBezTo>
                            <a:pt x="-4435" y="20769"/>
                            <a:pt x="2804" y="33342"/>
                            <a:pt x="13853" y="31913"/>
                          </a:cubicBezTo>
                          <a:cubicBezTo>
                            <a:pt x="18901" y="31247"/>
                            <a:pt x="31284" y="28675"/>
                            <a:pt x="38332" y="27341"/>
                          </a:cubicBezTo>
                          <a:cubicBezTo>
                            <a:pt x="50715" y="24865"/>
                            <a:pt x="86338" y="22865"/>
                            <a:pt x="96720" y="24389"/>
                          </a:cubicBezTo>
                          <a:cubicBezTo>
                            <a:pt x="117104" y="27246"/>
                            <a:pt x="126439" y="33628"/>
                            <a:pt x="129106" y="31532"/>
                          </a:cubicBezTo>
                          <a:cubicBezTo>
                            <a:pt x="131773" y="29437"/>
                            <a:pt x="122628" y="13435"/>
                            <a:pt x="98816" y="2767"/>
                          </a:cubicBezTo>
                          <a:close/>
                        </a:path>
                      </a:pathLst>
                    </a:custGeom>
                    <a:solidFill>
                      <a:srgbClr val="4B2E1A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26" name="Freihandform: Form 225">
                      <a:extLst>
                        <a:ext uri="{FF2B5EF4-FFF2-40B4-BE49-F238E27FC236}">
                          <a16:creationId xmlns:a16="http://schemas.microsoft.com/office/drawing/2014/main" id="{166A2BE9-5CCB-9DDC-513C-6A4DED4F50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01638" y="1062418"/>
                      <a:ext cx="25336" cy="32003"/>
                    </a:xfrm>
                    <a:custGeom>
                      <a:avLst/>
                      <a:gdLst>
                        <a:gd name="connsiteX0" fmla="*/ 25337 w 25336"/>
                        <a:gd name="connsiteY0" fmla="*/ 16002 h 32003"/>
                        <a:gd name="connsiteX1" fmla="*/ 12669 w 25336"/>
                        <a:gd name="connsiteY1" fmla="*/ 32004 h 32003"/>
                        <a:gd name="connsiteX2" fmla="*/ 0 w 25336"/>
                        <a:gd name="connsiteY2" fmla="*/ 16002 h 32003"/>
                        <a:gd name="connsiteX3" fmla="*/ 12669 w 25336"/>
                        <a:gd name="connsiteY3" fmla="*/ 0 h 32003"/>
                        <a:gd name="connsiteX4" fmla="*/ 25337 w 25336"/>
                        <a:gd name="connsiteY4" fmla="*/ 16002 h 320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5336" h="32003">
                          <a:moveTo>
                            <a:pt x="25337" y="16002"/>
                          </a:moveTo>
                          <a:cubicBezTo>
                            <a:pt x="25337" y="24840"/>
                            <a:pt x="19665" y="32004"/>
                            <a:pt x="12669" y="32004"/>
                          </a:cubicBezTo>
                          <a:cubicBezTo>
                            <a:pt x="5672" y="32004"/>
                            <a:pt x="0" y="24840"/>
                            <a:pt x="0" y="16002"/>
                          </a:cubicBezTo>
                          <a:cubicBezTo>
                            <a:pt x="0" y="7164"/>
                            <a:pt x="5672" y="0"/>
                            <a:pt x="12669" y="0"/>
                          </a:cubicBezTo>
                          <a:cubicBezTo>
                            <a:pt x="19665" y="0"/>
                            <a:pt x="25337" y="7164"/>
                            <a:pt x="25337" y="16002"/>
                          </a:cubicBezTo>
                          <a:close/>
                        </a:path>
                      </a:pathLst>
                    </a:custGeom>
                    <a:solidFill>
                      <a:srgbClr val="4B2E1A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27" name="Freihandform: Form 226">
                      <a:extLst>
                        <a:ext uri="{FF2B5EF4-FFF2-40B4-BE49-F238E27FC236}">
                          <a16:creationId xmlns:a16="http://schemas.microsoft.com/office/drawing/2014/main" id="{7F13446F-DC7A-6C93-DCE9-8ABF7C4A07E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93256" y="1058562"/>
                      <a:ext cx="66606" cy="16779"/>
                    </a:xfrm>
                    <a:custGeom>
                      <a:avLst/>
                      <a:gdLst>
                        <a:gd name="connsiteX0" fmla="*/ 66104 w 66606"/>
                        <a:gd name="connsiteY0" fmla="*/ 12048 h 16779"/>
                        <a:gd name="connsiteX1" fmla="*/ 15336 w 66606"/>
                        <a:gd name="connsiteY1" fmla="*/ 427 h 16779"/>
                        <a:gd name="connsiteX2" fmla="*/ 4668 w 66606"/>
                        <a:gd name="connsiteY2" fmla="*/ 11857 h 16779"/>
                        <a:gd name="connsiteX3" fmla="*/ 54769 w 66606"/>
                        <a:gd name="connsiteY3" fmla="*/ 16048 h 16779"/>
                        <a:gd name="connsiteX4" fmla="*/ 66199 w 66606"/>
                        <a:gd name="connsiteY4" fmla="*/ 12048 h 167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66606" h="16779">
                          <a:moveTo>
                            <a:pt x="66104" y="12048"/>
                          </a:moveTo>
                          <a:cubicBezTo>
                            <a:pt x="64103" y="9095"/>
                            <a:pt x="36195" y="-2335"/>
                            <a:pt x="15336" y="427"/>
                          </a:cubicBezTo>
                          <a:cubicBezTo>
                            <a:pt x="1905" y="2142"/>
                            <a:pt x="-5334" y="14048"/>
                            <a:pt x="4668" y="11857"/>
                          </a:cubicBezTo>
                          <a:cubicBezTo>
                            <a:pt x="23051" y="7952"/>
                            <a:pt x="46959" y="13762"/>
                            <a:pt x="54769" y="16048"/>
                          </a:cubicBezTo>
                          <a:cubicBezTo>
                            <a:pt x="62580" y="18239"/>
                            <a:pt x="68199" y="15096"/>
                            <a:pt x="66199" y="12048"/>
                          </a:cubicBezTo>
                          <a:close/>
                        </a:path>
                      </a:pathLst>
                    </a:custGeom>
                    <a:solidFill>
                      <a:srgbClr val="4B2E1A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228" name="Freihandform: Form 227">
                    <a:extLst>
                      <a:ext uri="{FF2B5EF4-FFF2-40B4-BE49-F238E27FC236}">
                        <a16:creationId xmlns:a16="http://schemas.microsoft.com/office/drawing/2014/main" id="{DDDC1D7D-A186-BFB8-F15A-567FD3B93E86}"/>
                      </a:ext>
                    </a:extLst>
                  </p:cNvPr>
                  <p:cNvSpPr/>
                  <p:nvPr/>
                </p:nvSpPr>
                <p:spPr>
                  <a:xfrm>
                    <a:off x="5884415" y="693547"/>
                    <a:ext cx="678407" cy="560989"/>
                  </a:xfrm>
                  <a:custGeom>
                    <a:avLst/>
                    <a:gdLst>
                      <a:gd name="connsiteX0" fmla="*/ 92744 w 678407"/>
                      <a:gd name="connsiteY0" fmla="*/ 45116 h 560989"/>
                      <a:gd name="connsiteX1" fmla="*/ 370588 w 678407"/>
                      <a:gd name="connsiteY1" fmla="*/ 1301 h 560989"/>
                      <a:gd name="connsiteX2" fmla="*/ 671387 w 678407"/>
                      <a:gd name="connsiteY2" fmla="*/ 177894 h 560989"/>
                      <a:gd name="connsiteX3" fmla="*/ 605379 w 678407"/>
                      <a:gd name="connsiteY3" fmla="*/ 492315 h 560989"/>
                      <a:gd name="connsiteX4" fmla="*/ 595854 w 678407"/>
                      <a:gd name="connsiteY4" fmla="*/ 560990 h 560989"/>
                      <a:gd name="connsiteX5" fmla="*/ 534704 w 678407"/>
                      <a:gd name="connsiteY5" fmla="*/ 541083 h 560989"/>
                      <a:gd name="connsiteX6" fmla="*/ 471553 w 678407"/>
                      <a:gd name="connsiteY6" fmla="*/ 434688 h 560989"/>
                      <a:gd name="connsiteX7" fmla="*/ 359253 w 678407"/>
                      <a:gd name="connsiteY7" fmla="*/ 466692 h 560989"/>
                      <a:gd name="connsiteX8" fmla="*/ 324963 w 678407"/>
                      <a:gd name="connsiteY8" fmla="*/ 344106 h 560989"/>
                      <a:gd name="connsiteX9" fmla="*/ 229904 w 678407"/>
                      <a:gd name="connsiteY9" fmla="*/ 185229 h 560989"/>
                      <a:gd name="connsiteX10" fmla="*/ 53310 w 678407"/>
                      <a:gd name="connsiteY10" fmla="*/ 212375 h 560989"/>
                      <a:gd name="connsiteX11" fmla="*/ 92553 w 678407"/>
                      <a:gd name="connsiteY11" fmla="*/ 45306 h 5609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678407" h="560989">
                        <a:moveTo>
                          <a:pt x="92744" y="45116"/>
                        </a:moveTo>
                        <a:cubicBezTo>
                          <a:pt x="92744" y="45116"/>
                          <a:pt x="183993" y="-8986"/>
                          <a:pt x="370588" y="1301"/>
                        </a:cubicBezTo>
                        <a:cubicBezTo>
                          <a:pt x="461647" y="6349"/>
                          <a:pt x="643860" y="48450"/>
                          <a:pt x="671387" y="177894"/>
                        </a:cubicBezTo>
                        <a:cubicBezTo>
                          <a:pt x="705773" y="339915"/>
                          <a:pt x="602522" y="437832"/>
                          <a:pt x="605379" y="492315"/>
                        </a:cubicBezTo>
                        <a:cubicBezTo>
                          <a:pt x="608141" y="546798"/>
                          <a:pt x="595854" y="560990"/>
                          <a:pt x="595854" y="560990"/>
                        </a:cubicBezTo>
                        <a:cubicBezTo>
                          <a:pt x="595854" y="560990"/>
                          <a:pt x="556325" y="553275"/>
                          <a:pt x="534704" y="541083"/>
                        </a:cubicBezTo>
                        <a:cubicBezTo>
                          <a:pt x="506319" y="525081"/>
                          <a:pt x="470315" y="485361"/>
                          <a:pt x="471553" y="434688"/>
                        </a:cubicBezTo>
                        <a:cubicBezTo>
                          <a:pt x="472887" y="384015"/>
                          <a:pt x="359253" y="466692"/>
                          <a:pt x="359253" y="466692"/>
                        </a:cubicBezTo>
                        <a:cubicBezTo>
                          <a:pt x="359253" y="466692"/>
                          <a:pt x="274481" y="456405"/>
                          <a:pt x="324963" y="344106"/>
                        </a:cubicBezTo>
                        <a:cubicBezTo>
                          <a:pt x="353348" y="281050"/>
                          <a:pt x="356110" y="128555"/>
                          <a:pt x="229904" y="185229"/>
                        </a:cubicBezTo>
                        <a:cubicBezTo>
                          <a:pt x="132844" y="228758"/>
                          <a:pt x="86838" y="240950"/>
                          <a:pt x="53310" y="212375"/>
                        </a:cubicBezTo>
                        <a:cubicBezTo>
                          <a:pt x="-33177" y="107219"/>
                          <a:pt x="-10412" y="47021"/>
                          <a:pt x="92553" y="45306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9" name="Freihandform: Form 228">
                    <a:extLst>
                      <a:ext uri="{FF2B5EF4-FFF2-40B4-BE49-F238E27FC236}">
                        <a16:creationId xmlns:a16="http://schemas.microsoft.com/office/drawing/2014/main" id="{A34C1CAA-AE87-9F3B-3AEA-55D337694FDD}"/>
                      </a:ext>
                    </a:extLst>
                  </p:cNvPr>
                  <p:cNvSpPr/>
                  <p:nvPr/>
                </p:nvSpPr>
                <p:spPr>
                  <a:xfrm rot="-4891201">
                    <a:off x="6209424" y="1060687"/>
                    <a:ext cx="197357" cy="131254"/>
                  </a:xfrm>
                  <a:custGeom>
                    <a:avLst/>
                    <a:gdLst>
                      <a:gd name="connsiteX0" fmla="*/ 197358 w 197357"/>
                      <a:gd name="connsiteY0" fmla="*/ 65627 h 131254"/>
                      <a:gd name="connsiteX1" fmla="*/ 98679 w 197357"/>
                      <a:gd name="connsiteY1" fmla="*/ 131254 h 131254"/>
                      <a:gd name="connsiteX2" fmla="*/ 0 w 197357"/>
                      <a:gd name="connsiteY2" fmla="*/ 65627 h 131254"/>
                      <a:gd name="connsiteX3" fmla="*/ 98679 w 197357"/>
                      <a:gd name="connsiteY3" fmla="*/ 0 h 131254"/>
                      <a:gd name="connsiteX4" fmla="*/ 197358 w 197357"/>
                      <a:gd name="connsiteY4" fmla="*/ 65627 h 1312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7357" h="131254">
                        <a:moveTo>
                          <a:pt x="197358" y="65627"/>
                        </a:moveTo>
                        <a:cubicBezTo>
                          <a:pt x="197358" y="101872"/>
                          <a:pt x="153178" y="131254"/>
                          <a:pt x="98679" y="131254"/>
                        </a:cubicBezTo>
                        <a:cubicBezTo>
                          <a:pt x="44180" y="131254"/>
                          <a:pt x="0" y="101872"/>
                          <a:pt x="0" y="65627"/>
                        </a:cubicBezTo>
                        <a:cubicBezTo>
                          <a:pt x="0" y="29382"/>
                          <a:pt x="44180" y="0"/>
                          <a:pt x="98679" y="0"/>
                        </a:cubicBezTo>
                        <a:cubicBezTo>
                          <a:pt x="153178" y="0"/>
                          <a:pt x="197358" y="29382"/>
                          <a:pt x="197358" y="65627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230" name="Grafik 23">
                <a:extLst>
                  <a:ext uri="{FF2B5EF4-FFF2-40B4-BE49-F238E27FC236}">
                    <a16:creationId xmlns:a16="http://schemas.microsoft.com/office/drawing/2014/main" id="{39181F7A-9899-47D3-ECE5-CC45A2A5FA2F}"/>
                  </a:ext>
                </a:extLst>
              </p:cNvPr>
              <p:cNvGrpSpPr/>
              <p:nvPr/>
            </p:nvGrpSpPr>
            <p:grpSpPr>
              <a:xfrm>
                <a:off x="9291637" y="1854304"/>
                <a:ext cx="351095" cy="833562"/>
                <a:chOff x="1874837" y="609818"/>
                <a:chExt cx="2341791" cy="5559828"/>
              </a:xfrm>
            </p:grpSpPr>
            <p:grpSp>
              <p:nvGrpSpPr>
                <p:cNvPr id="231" name="Grafik 23">
                  <a:extLst>
                    <a:ext uri="{FF2B5EF4-FFF2-40B4-BE49-F238E27FC236}">
                      <a16:creationId xmlns:a16="http://schemas.microsoft.com/office/drawing/2014/main" id="{A4C4C557-F9AC-AE78-A0B0-8E297D8FCB8D}"/>
                    </a:ext>
                  </a:extLst>
                </p:cNvPr>
                <p:cNvGrpSpPr/>
                <p:nvPr/>
              </p:nvGrpSpPr>
              <p:grpSpPr>
                <a:xfrm>
                  <a:off x="3461130" y="1931860"/>
                  <a:ext cx="755497" cy="464438"/>
                  <a:chOff x="3461130" y="1931860"/>
                  <a:chExt cx="755497" cy="464438"/>
                </a:xfrm>
              </p:grpSpPr>
              <p:grpSp>
                <p:nvGrpSpPr>
                  <p:cNvPr id="232" name="Grafik 23">
                    <a:extLst>
                      <a:ext uri="{FF2B5EF4-FFF2-40B4-BE49-F238E27FC236}">
                        <a16:creationId xmlns:a16="http://schemas.microsoft.com/office/drawing/2014/main" id="{079BF024-3D9F-C663-2040-0055B72A0406}"/>
                      </a:ext>
                    </a:extLst>
                  </p:cNvPr>
                  <p:cNvGrpSpPr/>
                  <p:nvPr/>
                </p:nvGrpSpPr>
                <p:grpSpPr>
                  <a:xfrm>
                    <a:off x="3600659" y="1931860"/>
                    <a:ext cx="615968" cy="410541"/>
                    <a:chOff x="3600659" y="1931860"/>
                    <a:chExt cx="615968" cy="410541"/>
                  </a:xfrm>
                </p:grpSpPr>
                <p:sp>
                  <p:nvSpPr>
                    <p:cNvPr id="233" name="Freihandform: Form 232">
                      <a:extLst>
                        <a:ext uri="{FF2B5EF4-FFF2-40B4-BE49-F238E27FC236}">
                          <a16:creationId xmlns:a16="http://schemas.microsoft.com/office/drawing/2014/main" id="{10B3F673-A9EE-C754-A9C1-02C7ADF4377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600659" y="1931860"/>
                      <a:ext cx="613044" cy="410541"/>
                    </a:xfrm>
                    <a:custGeom>
                      <a:avLst/>
                      <a:gdLst>
                        <a:gd name="connsiteX0" fmla="*/ 1060 w 613044"/>
                        <a:gd name="connsiteY0" fmla="*/ 243173 h 410541"/>
                        <a:gd name="connsiteX1" fmla="*/ 99453 w 613044"/>
                        <a:gd name="connsiteY1" fmla="*/ 135445 h 410541"/>
                        <a:gd name="connsiteX2" fmla="*/ 267474 w 613044"/>
                        <a:gd name="connsiteY2" fmla="*/ 0 h 410541"/>
                        <a:gd name="connsiteX3" fmla="*/ 284143 w 613044"/>
                        <a:gd name="connsiteY3" fmla="*/ 69342 h 410541"/>
                        <a:gd name="connsiteX4" fmla="*/ 220516 w 613044"/>
                        <a:gd name="connsiteY4" fmla="*/ 151543 h 410541"/>
                        <a:gd name="connsiteX5" fmla="*/ 334244 w 613044"/>
                        <a:gd name="connsiteY5" fmla="*/ 194977 h 410541"/>
                        <a:gd name="connsiteX6" fmla="*/ 585133 w 613044"/>
                        <a:gd name="connsiteY6" fmla="*/ 201454 h 410541"/>
                        <a:gd name="connsiteX7" fmla="*/ 612470 w 613044"/>
                        <a:gd name="connsiteY7" fmla="*/ 240601 h 410541"/>
                        <a:gd name="connsiteX8" fmla="*/ 441877 w 613044"/>
                        <a:gd name="connsiteY8" fmla="*/ 266509 h 410541"/>
                        <a:gd name="connsiteX9" fmla="*/ 220421 w 613044"/>
                        <a:gd name="connsiteY9" fmla="*/ 407289 h 410541"/>
                        <a:gd name="connsiteX10" fmla="*/ 63353 w 613044"/>
                        <a:gd name="connsiteY10" fmla="*/ 406908 h 410541"/>
                        <a:gd name="connsiteX11" fmla="*/ 965 w 613044"/>
                        <a:gd name="connsiteY11" fmla="*/ 243173 h 41054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</a:cxnLst>
                      <a:rect l="l" t="t" r="r" b="b"/>
                      <a:pathLst>
                        <a:path w="613044" h="410541">
                          <a:moveTo>
                            <a:pt x="1060" y="243173"/>
                          </a:moveTo>
                          <a:cubicBezTo>
                            <a:pt x="1060" y="243173"/>
                            <a:pt x="28778" y="169259"/>
                            <a:pt x="99453" y="135445"/>
                          </a:cubicBezTo>
                          <a:cubicBezTo>
                            <a:pt x="138506" y="116776"/>
                            <a:pt x="236613" y="43720"/>
                            <a:pt x="267474" y="0"/>
                          </a:cubicBezTo>
                          <a:cubicBezTo>
                            <a:pt x="267474" y="0"/>
                            <a:pt x="310146" y="30861"/>
                            <a:pt x="284143" y="69342"/>
                          </a:cubicBezTo>
                          <a:cubicBezTo>
                            <a:pt x="256235" y="110490"/>
                            <a:pt x="220897" y="137446"/>
                            <a:pt x="220516" y="151543"/>
                          </a:cubicBezTo>
                          <a:cubicBezTo>
                            <a:pt x="220135" y="165640"/>
                            <a:pt x="261093" y="184309"/>
                            <a:pt x="334244" y="194977"/>
                          </a:cubicBezTo>
                          <a:cubicBezTo>
                            <a:pt x="407397" y="205645"/>
                            <a:pt x="568845" y="201073"/>
                            <a:pt x="585133" y="201454"/>
                          </a:cubicBezTo>
                          <a:cubicBezTo>
                            <a:pt x="611612" y="205168"/>
                            <a:pt x="614661" y="222599"/>
                            <a:pt x="612470" y="240601"/>
                          </a:cubicBezTo>
                          <a:cubicBezTo>
                            <a:pt x="605040" y="242792"/>
                            <a:pt x="500551" y="256032"/>
                            <a:pt x="441877" y="266509"/>
                          </a:cubicBezTo>
                          <a:cubicBezTo>
                            <a:pt x="441877" y="266509"/>
                            <a:pt x="247567" y="407956"/>
                            <a:pt x="220421" y="407289"/>
                          </a:cubicBezTo>
                          <a:cubicBezTo>
                            <a:pt x="193274" y="406622"/>
                            <a:pt x="98501" y="415195"/>
                            <a:pt x="63353" y="406908"/>
                          </a:cubicBezTo>
                          <a:cubicBezTo>
                            <a:pt x="63353" y="406908"/>
                            <a:pt x="-9132" y="354711"/>
                            <a:pt x="965" y="243173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34" name="Freihandform: Form 233">
                      <a:extLst>
                        <a:ext uri="{FF2B5EF4-FFF2-40B4-BE49-F238E27FC236}">
                          <a16:creationId xmlns:a16="http://schemas.microsoft.com/office/drawing/2014/main" id="{722B0245-49BA-C2B5-189B-9E018A58878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46131" y="2104548"/>
                      <a:ext cx="370497" cy="93725"/>
                    </a:xfrm>
                    <a:custGeom>
                      <a:avLst/>
                      <a:gdLst>
                        <a:gd name="connsiteX0" fmla="*/ 0 w 370497"/>
                        <a:gd name="connsiteY0" fmla="*/ 0 h 93725"/>
                        <a:gd name="connsiteX1" fmla="*/ 331946 w 370497"/>
                        <a:gd name="connsiteY1" fmla="*/ 28766 h 93725"/>
                        <a:gd name="connsiteX2" fmla="*/ 369665 w 370497"/>
                        <a:gd name="connsiteY2" fmla="*/ 67246 h 93725"/>
                        <a:gd name="connsiteX3" fmla="*/ 196405 w 370497"/>
                        <a:gd name="connsiteY3" fmla="*/ 93726 h 93725"/>
                        <a:gd name="connsiteX4" fmla="*/ 0 w 370497"/>
                        <a:gd name="connsiteY4" fmla="*/ 0 h 937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70497" h="93725">
                          <a:moveTo>
                            <a:pt x="0" y="0"/>
                          </a:moveTo>
                          <a:cubicBezTo>
                            <a:pt x="99631" y="41815"/>
                            <a:pt x="292798" y="27146"/>
                            <a:pt x="331946" y="28766"/>
                          </a:cubicBezTo>
                          <a:cubicBezTo>
                            <a:pt x="367951" y="27051"/>
                            <a:pt x="372904" y="52102"/>
                            <a:pt x="369665" y="67246"/>
                          </a:cubicBezTo>
                          <a:cubicBezTo>
                            <a:pt x="362236" y="69437"/>
                            <a:pt x="255079" y="83249"/>
                            <a:pt x="196405" y="93726"/>
                          </a:cubicBezTo>
                          <a:cubicBezTo>
                            <a:pt x="113538" y="82677"/>
                            <a:pt x="22669" y="33528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35" name="Freihandform: Form 234">
                      <a:extLst>
                        <a:ext uri="{FF2B5EF4-FFF2-40B4-BE49-F238E27FC236}">
                          <a16:creationId xmlns:a16="http://schemas.microsoft.com/office/drawing/2014/main" id="{FC747B1C-40CA-37A7-359F-333D02CC766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38012" y="2099981"/>
                      <a:ext cx="336064" cy="133901"/>
                    </a:xfrm>
                    <a:custGeom>
                      <a:avLst/>
                      <a:gdLst>
                        <a:gd name="connsiteX0" fmla="*/ 38503 w 336064"/>
                        <a:gd name="connsiteY0" fmla="*/ 53621 h 133901"/>
                        <a:gd name="connsiteX1" fmla="*/ 204143 w 336064"/>
                        <a:gd name="connsiteY1" fmla="*/ 33428 h 133901"/>
                        <a:gd name="connsiteX2" fmla="*/ 266151 w 336064"/>
                        <a:gd name="connsiteY2" fmla="*/ 8663 h 133901"/>
                        <a:gd name="connsiteX3" fmla="*/ 336064 w 336064"/>
                        <a:gd name="connsiteY3" fmla="*/ 25236 h 133901"/>
                        <a:gd name="connsiteX4" fmla="*/ 169186 w 336064"/>
                        <a:gd name="connsiteY4" fmla="*/ 118677 h 133901"/>
                        <a:gd name="connsiteX5" fmla="*/ 38503 w 336064"/>
                        <a:gd name="connsiteY5" fmla="*/ 53621 h 1339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336064" h="133901">
                          <a:moveTo>
                            <a:pt x="38503" y="53621"/>
                          </a:moveTo>
                          <a:cubicBezTo>
                            <a:pt x="130610" y="74195"/>
                            <a:pt x="204143" y="33428"/>
                            <a:pt x="204143" y="33428"/>
                          </a:cubicBezTo>
                          <a:cubicBezTo>
                            <a:pt x="204143" y="33428"/>
                            <a:pt x="251959" y="13140"/>
                            <a:pt x="266151" y="8663"/>
                          </a:cubicBezTo>
                          <a:cubicBezTo>
                            <a:pt x="280343" y="4186"/>
                            <a:pt x="318443" y="-15435"/>
                            <a:pt x="336064" y="25236"/>
                          </a:cubicBezTo>
                          <a:cubicBezTo>
                            <a:pt x="320539" y="35523"/>
                            <a:pt x="169186" y="118677"/>
                            <a:pt x="169186" y="118677"/>
                          </a:cubicBezTo>
                          <a:cubicBezTo>
                            <a:pt x="44790" y="180303"/>
                            <a:pt x="-58937" y="33618"/>
                            <a:pt x="38503" y="53621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236" name="Freihandform: Form 235">
                    <a:extLst>
                      <a:ext uri="{FF2B5EF4-FFF2-40B4-BE49-F238E27FC236}">
                        <a16:creationId xmlns:a16="http://schemas.microsoft.com/office/drawing/2014/main" id="{53204479-6EB8-56C5-CA8C-5BD38B49612D}"/>
                      </a:ext>
                    </a:extLst>
                  </p:cNvPr>
                  <p:cNvSpPr/>
                  <p:nvPr/>
                </p:nvSpPr>
                <p:spPr>
                  <a:xfrm rot="-4549200">
                    <a:off x="3542217" y="2170610"/>
                    <a:ext cx="175069" cy="175069"/>
                  </a:xfrm>
                  <a:custGeom>
                    <a:avLst/>
                    <a:gdLst>
                      <a:gd name="connsiteX0" fmla="*/ 175069 w 175069"/>
                      <a:gd name="connsiteY0" fmla="*/ 87535 h 175069"/>
                      <a:gd name="connsiteX1" fmla="*/ 87535 w 175069"/>
                      <a:gd name="connsiteY1" fmla="*/ 175070 h 175069"/>
                      <a:gd name="connsiteX2" fmla="*/ 0 w 175069"/>
                      <a:gd name="connsiteY2" fmla="*/ 87535 h 175069"/>
                      <a:gd name="connsiteX3" fmla="*/ 87535 w 175069"/>
                      <a:gd name="connsiteY3" fmla="*/ 0 h 175069"/>
                      <a:gd name="connsiteX4" fmla="*/ 175069 w 175069"/>
                      <a:gd name="connsiteY4" fmla="*/ 87535 h 1750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75069" h="175069">
                        <a:moveTo>
                          <a:pt x="175069" y="87535"/>
                        </a:moveTo>
                        <a:cubicBezTo>
                          <a:pt x="175069" y="135879"/>
                          <a:pt x="135879" y="175070"/>
                          <a:pt x="87535" y="175070"/>
                        </a:cubicBezTo>
                        <a:cubicBezTo>
                          <a:pt x="39191" y="175070"/>
                          <a:pt x="0" y="135879"/>
                          <a:pt x="0" y="87535"/>
                        </a:cubicBezTo>
                        <a:cubicBezTo>
                          <a:pt x="0" y="39191"/>
                          <a:pt x="39191" y="0"/>
                          <a:pt x="87535" y="0"/>
                        </a:cubicBezTo>
                        <a:cubicBezTo>
                          <a:pt x="135879" y="0"/>
                          <a:pt x="175069" y="39191"/>
                          <a:pt x="175069" y="87535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7" name="Freihandform: Form 236">
                    <a:extLst>
                      <a:ext uri="{FF2B5EF4-FFF2-40B4-BE49-F238E27FC236}">
                        <a16:creationId xmlns:a16="http://schemas.microsoft.com/office/drawing/2014/main" id="{14CB6F4B-EF55-2BF6-0D2F-DB246712A8B9}"/>
                      </a:ext>
                    </a:extLst>
                  </p:cNvPr>
                  <p:cNvSpPr/>
                  <p:nvPr/>
                </p:nvSpPr>
                <p:spPr>
                  <a:xfrm>
                    <a:off x="3461130" y="2175033"/>
                    <a:ext cx="202977" cy="221265"/>
                  </a:xfrm>
                  <a:custGeom>
                    <a:avLst/>
                    <a:gdLst>
                      <a:gd name="connsiteX0" fmla="*/ 202978 w 202977"/>
                      <a:gd name="connsiteY0" fmla="*/ 163735 h 221265"/>
                      <a:gd name="connsiteX1" fmla="*/ 140589 w 202977"/>
                      <a:gd name="connsiteY1" fmla="*/ 0 h 221265"/>
                      <a:gd name="connsiteX2" fmla="*/ 0 w 202977"/>
                      <a:gd name="connsiteY2" fmla="*/ 51435 h 221265"/>
                      <a:gd name="connsiteX3" fmla="*/ 60770 w 202977"/>
                      <a:gd name="connsiteY3" fmla="*/ 221266 h 221265"/>
                      <a:gd name="connsiteX4" fmla="*/ 202978 w 202977"/>
                      <a:gd name="connsiteY4" fmla="*/ 163735 h 2212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02977" h="221265">
                        <a:moveTo>
                          <a:pt x="202978" y="163735"/>
                        </a:moveTo>
                        <a:lnTo>
                          <a:pt x="140589" y="0"/>
                        </a:lnTo>
                        <a:lnTo>
                          <a:pt x="0" y="51435"/>
                        </a:lnTo>
                        <a:lnTo>
                          <a:pt x="60770" y="221266"/>
                        </a:lnTo>
                        <a:lnTo>
                          <a:pt x="202978" y="163735"/>
                        </a:ln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38" name="Grafik 23">
                  <a:extLst>
                    <a:ext uri="{FF2B5EF4-FFF2-40B4-BE49-F238E27FC236}">
                      <a16:creationId xmlns:a16="http://schemas.microsoft.com/office/drawing/2014/main" id="{A46D5C13-9B81-72B8-57F4-9CFBDA131D4E}"/>
                    </a:ext>
                  </a:extLst>
                </p:cNvPr>
                <p:cNvGrpSpPr/>
                <p:nvPr/>
              </p:nvGrpSpPr>
              <p:grpSpPr>
                <a:xfrm>
                  <a:off x="2901155" y="2174271"/>
                  <a:ext cx="790003" cy="520064"/>
                  <a:chOff x="2901155" y="2174271"/>
                  <a:chExt cx="790003" cy="520064"/>
                </a:xfrm>
                <a:solidFill>
                  <a:srgbClr val="FFFFFF"/>
                </a:solidFill>
              </p:grpSpPr>
              <p:sp>
                <p:nvSpPr>
                  <p:cNvPr id="239" name="Freihandform: Form 238">
                    <a:extLst>
                      <a:ext uri="{FF2B5EF4-FFF2-40B4-BE49-F238E27FC236}">
                        <a16:creationId xmlns:a16="http://schemas.microsoft.com/office/drawing/2014/main" id="{DFE1D280-C0F4-5030-B63F-067B3808495D}"/>
                      </a:ext>
                    </a:extLst>
                  </p:cNvPr>
                  <p:cNvSpPr/>
                  <p:nvPr/>
                </p:nvSpPr>
                <p:spPr>
                  <a:xfrm>
                    <a:off x="3013169" y="2174271"/>
                    <a:ext cx="677989" cy="511587"/>
                  </a:xfrm>
                  <a:custGeom>
                    <a:avLst/>
                    <a:gdLst>
                      <a:gd name="connsiteX0" fmla="*/ 677990 w 677989"/>
                      <a:gd name="connsiteY0" fmla="*/ 313277 h 511587"/>
                      <a:gd name="connsiteX1" fmla="*/ 561975 w 677989"/>
                      <a:gd name="connsiteY1" fmla="*/ 0 h 511587"/>
                      <a:gd name="connsiteX2" fmla="*/ 0 w 677989"/>
                      <a:gd name="connsiteY2" fmla="*/ 185547 h 511587"/>
                      <a:gd name="connsiteX3" fmla="*/ 114490 w 677989"/>
                      <a:gd name="connsiteY3" fmla="*/ 511588 h 511587"/>
                      <a:gd name="connsiteX4" fmla="*/ 677990 w 677989"/>
                      <a:gd name="connsiteY4" fmla="*/ 313277 h 5115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77989" h="511587">
                        <a:moveTo>
                          <a:pt x="677990" y="313277"/>
                        </a:moveTo>
                        <a:lnTo>
                          <a:pt x="561975" y="0"/>
                        </a:lnTo>
                        <a:lnTo>
                          <a:pt x="0" y="185547"/>
                        </a:lnTo>
                        <a:lnTo>
                          <a:pt x="114490" y="511588"/>
                        </a:lnTo>
                        <a:lnTo>
                          <a:pt x="677990" y="31327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0" name="Freihandform: Form 239">
                    <a:extLst>
                      <a:ext uri="{FF2B5EF4-FFF2-40B4-BE49-F238E27FC236}">
                        <a16:creationId xmlns:a16="http://schemas.microsoft.com/office/drawing/2014/main" id="{68C44A23-5165-881F-2192-6B3EB5EA1F0E}"/>
                      </a:ext>
                    </a:extLst>
                  </p:cNvPr>
                  <p:cNvSpPr/>
                  <p:nvPr/>
                </p:nvSpPr>
                <p:spPr>
                  <a:xfrm>
                    <a:off x="2901155" y="2348769"/>
                    <a:ext cx="345567" cy="345567"/>
                  </a:xfrm>
                  <a:custGeom>
                    <a:avLst/>
                    <a:gdLst>
                      <a:gd name="connsiteX0" fmla="*/ 345567 w 345567"/>
                      <a:gd name="connsiteY0" fmla="*/ 172783 h 345567"/>
                      <a:gd name="connsiteX1" fmla="*/ 172784 w 345567"/>
                      <a:gd name="connsiteY1" fmla="*/ 345567 h 345567"/>
                      <a:gd name="connsiteX2" fmla="*/ 0 w 345567"/>
                      <a:gd name="connsiteY2" fmla="*/ 172783 h 345567"/>
                      <a:gd name="connsiteX3" fmla="*/ 172784 w 345567"/>
                      <a:gd name="connsiteY3" fmla="*/ 0 h 345567"/>
                      <a:gd name="connsiteX4" fmla="*/ 345567 w 345567"/>
                      <a:gd name="connsiteY4" fmla="*/ 172783 h 3455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45567" h="345567">
                        <a:moveTo>
                          <a:pt x="345567" y="172783"/>
                        </a:moveTo>
                        <a:cubicBezTo>
                          <a:pt x="345567" y="268209"/>
                          <a:pt x="268209" y="345567"/>
                          <a:pt x="172784" y="345567"/>
                        </a:cubicBezTo>
                        <a:cubicBezTo>
                          <a:pt x="77358" y="345567"/>
                          <a:pt x="0" y="268209"/>
                          <a:pt x="0" y="172783"/>
                        </a:cubicBezTo>
                        <a:cubicBezTo>
                          <a:pt x="0" y="77358"/>
                          <a:pt x="77358" y="0"/>
                          <a:pt x="172784" y="0"/>
                        </a:cubicBezTo>
                        <a:cubicBezTo>
                          <a:pt x="268209" y="0"/>
                          <a:pt x="345567" y="77358"/>
                          <a:pt x="345567" y="17278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41" name="Grafik 23">
                  <a:extLst>
                    <a:ext uri="{FF2B5EF4-FFF2-40B4-BE49-F238E27FC236}">
                      <a16:creationId xmlns:a16="http://schemas.microsoft.com/office/drawing/2014/main" id="{B0747197-364A-2118-3A16-3E0DD8A8471B}"/>
                    </a:ext>
                  </a:extLst>
                </p:cNvPr>
                <p:cNvGrpSpPr/>
                <p:nvPr/>
              </p:nvGrpSpPr>
              <p:grpSpPr>
                <a:xfrm>
                  <a:off x="2358897" y="1530286"/>
                  <a:ext cx="861536" cy="1080516"/>
                  <a:chOff x="2358897" y="1530286"/>
                  <a:chExt cx="861536" cy="1080516"/>
                </a:xfrm>
                <a:solidFill>
                  <a:srgbClr val="FFFFFF"/>
                </a:solidFill>
              </p:grpSpPr>
              <p:sp>
                <p:nvSpPr>
                  <p:cNvPr id="242" name="Freihandform: Form 241">
                    <a:extLst>
                      <a:ext uri="{FF2B5EF4-FFF2-40B4-BE49-F238E27FC236}">
                        <a16:creationId xmlns:a16="http://schemas.microsoft.com/office/drawing/2014/main" id="{B6C3A6DC-A001-61CC-03BB-62B9141B3FC0}"/>
                      </a:ext>
                    </a:extLst>
                  </p:cNvPr>
                  <p:cNvSpPr/>
                  <p:nvPr/>
                </p:nvSpPr>
                <p:spPr>
                  <a:xfrm>
                    <a:off x="2358897" y="1530286"/>
                    <a:ext cx="396621" cy="396621"/>
                  </a:xfrm>
                  <a:custGeom>
                    <a:avLst/>
                    <a:gdLst>
                      <a:gd name="connsiteX0" fmla="*/ 396621 w 396621"/>
                      <a:gd name="connsiteY0" fmla="*/ 198311 h 396621"/>
                      <a:gd name="connsiteX1" fmla="*/ 198311 w 396621"/>
                      <a:gd name="connsiteY1" fmla="*/ 396621 h 396621"/>
                      <a:gd name="connsiteX2" fmla="*/ 0 w 396621"/>
                      <a:gd name="connsiteY2" fmla="*/ 198311 h 396621"/>
                      <a:gd name="connsiteX3" fmla="*/ 198311 w 396621"/>
                      <a:gd name="connsiteY3" fmla="*/ 0 h 396621"/>
                      <a:gd name="connsiteX4" fmla="*/ 396621 w 396621"/>
                      <a:gd name="connsiteY4" fmla="*/ 198311 h 3966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6621" h="396621">
                        <a:moveTo>
                          <a:pt x="396621" y="198311"/>
                        </a:moveTo>
                        <a:cubicBezTo>
                          <a:pt x="396621" y="307834"/>
                          <a:pt x="307834" y="396621"/>
                          <a:pt x="198311" y="396621"/>
                        </a:cubicBezTo>
                        <a:cubicBezTo>
                          <a:pt x="88787" y="396621"/>
                          <a:pt x="0" y="307834"/>
                          <a:pt x="0" y="198311"/>
                        </a:cubicBezTo>
                        <a:cubicBezTo>
                          <a:pt x="0" y="88787"/>
                          <a:pt x="88787" y="0"/>
                          <a:pt x="198311" y="0"/>
                        </a:cubicBezTo>
                        <a:cubicBezTo>
                          <a:pt x="307834" y="0"/>
                          <a:pt x="396621" y="88787"/>
                          <a:pt x="396621" y="19831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3" name="Freihandform: Form 242">
                    <a:extLst>
                      <a:ext uri="{FF2B5EF4-FFF2-40B4-BE49-F238E27FC236}">
                        <a16:creationId xmlns:a16="http://schemas.microsoft.com/office/drawing/2014/main" id="{AF79A5D9-1ED5-7465-86BF-B3C64C549031}"/>
                      </a:ext>
                    </a:extLst>
                  </p:cNvPr>
                  <p:cNvSpPr/>
                  <p:nvPr/>
                </p:nvSpPr>
                <p:spPr>
                  <a:xfrm>
                    <a:off x="2388139" y="1624869"/>
                    <a:ext cx="832294" cy="985932"/>
                  </a:xfrm>
                  <a:custGeom>
                    <a:avLst/>
                    <a:gdLst>
                      <a:gd name="connsiteX0" fmla="*/ 537591 w 832294"/>
                      <a:gd name="connsiteY0" fmla="*/ 985933 h 985932"/>
                      <a:gd name="connsiteX1" fmla="*/ 832295 w 832294"/>
                      <a:gd name="connsiteY1" fmla="*/ 805053 h 985932"/>
                      <a:gd name="connsiteX2" fmla="*/ 512064 w 832294"/>
                      <a:gd name="connsiteY2" fmla="*/ 283464 h 985932"/>
                      <a:gd name="connsiteX3" fmla="*/ 338042 w 832294"/>
                      <a:gd name="connsiteY3" fmla="*/ 0 h 985932"/>
                      <a:gd name="connsiteX4" fmla="*/ 0 w 832294"/>
                      <a:gd name="connsiteY4" fmla="*/ 207455 h 985932"/>
                      <a:gd name="connsiteX5" fmla="*/ 199835 w 832294"/>
                      <a:gd name="connsiteY5" fmla="*/ 496824 h 985932"/>
                      <a:gd name="connsiteX6" fmla="*/ 537591 w 832294"/>
                      <a:gd name="connsiteY6" fmla="*/ 985933 h 9859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32294" h="985932">
                        <a:moveTo>
                          <a:pt x="537591" y="985933"/>
                        </a:moveTo>
                        <a:lnTo>
                          <a:pt x="832295" y="805053"/>
                        </a:lnTo>
                        <a:lnTo>
                          <a:pt x="512064" y="283464"/>
                        </a:lnTo>
                        <a:lnTo>
                          <a:pt x="338042" y="0"/>
                        </a:lnTo>
                        <a:lnTo>
                          <a:pt x="0" y="207455"/>
                        </a:lnTo>
                        <a:lnTo>
                          <a:pt x="199835" y="496824"/>
                        </a:lnTo>
                        <a:lnTo>
                          <a:pt x="537591" y="98593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44" name="Grafik 23">
                  <a:extLst>
                    <a:ext uri="{FF2B5EF4-FFF2-40B4-BE49-F238E27FC236}">
                      <a16:creationId xmlns:a16="http://schemas.microsoft.com/office/drawing/2014/main" id="{94B37510-EED9-D111-9641-A71DBF118FB1}"/>
                    </a:ext>
                  </a:extLst>
                </p:cNvPr>
                <p:cNvGrpSpPr/>
                <p:nvPr/>
              </p:nvGrpSpPr>
              <p:grpSpPr>
                <a:xfrm>
                  <a:off x="2248407" y="995518"/>
                  <a:ext cx="483174" cy="622983"/>
                  <a:chOff x="2248407" y="995518"/>
                  <a:chExt cx="483174" cy="622983"/>
                </a:xfrm>
              </p:grpSpPr>
              <p:sp>
                <p:nvSpPr>
                  <p:cNvPr id="245" name="Freihandform: Form 244">
                    <a:extLst>
                      <a:ext uri="{FF2B5EF4-FFF2-40B4-BE49-F238E27FC236}">
                        <a16:creationId xmlns:a16="http://schemas.microsoft.com/office/drawing/2014/main" id="{72BD1A5C-082B-9034-16F4-9DB16CD2CCC3}"/>
                      </a:ext>
                    </a:extLst>
                  </p:cNvPr>
                  <p:cNvSpPr/>
                  <p:nvPr/>
                </p:nvSpPr>
                <p:spPr>
                  <a:xfrm>
                    <a:off x="2248407" y="995518"/>
                    <a:ext cx="483174" cy="622432"/>
                  </a:xfrm>
                  <a:custGeom>
                    <a:avLst/>
                    <a:gdLst>
                      <a:gd name="connsiteX0" fmla="*/ 0 w 483174"/>
                      <a:gd name="connsiteY0" fmla="*/ 470760 h 622432"/>
                      <a:gd name="connsiteX1" fmla="*/ 342995 w 483174"/>
                      <a:gd name="connsiteY1" fmla="*/ 593061 h 622432"/>
                      <a:gd name="connsiteX2" fmla="*/ 472535 w 483174"/>
                      <a:gd name="connsiteY2" fmla="*/ 229873 h 622432"/>
                      <a:gd name="connsiteX3" fmla="*/ 129540 w 483174"/>
                      <a:gd name="connsiteY3" fmla="*/ 107572 h 622432"/>
                      <a:gd name="connsiteX4" fmla="*/ 0 w 483174"/>
                      <a:gd name="connsiteY4" fmla="*/ 470760 h 6224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83174" h="622432">
                        <a:moveTo>
                          <a:pt x="0" y="470760"/>
                        </a:moveTo>
                        <a:cubicBezTo>
                          <a:pt x="24574" y="590203"/>
                          <a:pt x="237268" y="667737"/>
                          <a:pt x="342995" y="593061"/>
                        </a:cubicBezTo>
                        <a:lnTo>
                          <a:pt x="472535" y="229873"/>
                        </a:lnTo>
                        <a:cubicBezTo>
                          <a:pt x="547021" y="7083"/>
                          <a:pt x="208788" y="-91596"/>
                          <a:pt x="129540" y="107572"/>
                        </a:cubicBezTo>
                        <a:lnTo>
                          <a:pt x="0" y="470760"/>
                        </a:ln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6" name="Freihandform: Form 245">
                    <a:extLst>
                      <a:ext uri="{FF2B5EF4-FFF2-40B4-BE49-F238E27FC236}">
                        <a16:creationId xmlns:a16="http://schemas.microsoft.com/office/drawing/2014/main" id="{81C7F2C6-AC76-4F9E-B40C-6C45D7A352F2}"/>
                      </a:ext>
                    </a:extLst>
                  </p:cNvPr>
                  <p:cNvSpPr/>
                  <p:nvPr/>
                </p:nvSpPr>
                <p:spPr>
                  <a:xfrm>
                    <a:off x="2248407" y="1181100"/>
                    <a:ext cx="351219" cy="437402"/>
                  </a:xfrm>
                  <a:custGeom>
                    <a:avLst/>
                    <a:gdLst>
                      <a:gd name="connsiteX0" fmla="*/ 101727 w 351219"/>
                      <a:gd name="connsiteY0" fmla="*/ 0 h 437402"/>
                      <a:gd name="connsiteX1" fmla="*/ 0 w 351219"/>
                      <a:gd name="connsiteY1" fmla="*/ 285274 h 437402"/>
                      <a:gd name="connsiteX2" fmla="*/ 342995 w 351219"/>
                      <a:gd name="connsiteY2" fmla="*/ 407575 h 437402"/>
                      <a:gd name="connsiteX3" fmla="*/ 293942 w 351219"/>
                      <a:gd name="connsiteY3" fmla="*/ 224409 h 437402"/>
                      <a:gd name="connsiteX4" fmla="*/ 101822 w 351219"/>
                      <a:gd name="connsiteY4" fmla="*/ 95 h 4374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1219" h="437402">
                        <a:moveTo>
                          <a:pt x="101727" y="0"/>
                        </a:moveTo>
                        <a:lnTo>
                          <a:pt x="0" y="285274"/>
                        </a:lnTo>
                        <a:cubicBezTo>
                          <a:pt x="27432" y="400621"/>
                          <a:pt x="236220" y="484823"/>
                          <a:pt x="342995" y="407575"/>
                        </a:cubicBezTo>
                        <a:cubicBezTo>
                          <a:pt x="342995" y="407575"/>
                          <a:pt x="380905" y="277368"/>
                          <a:pt x="293942" y="224409"/>
                        </a:cubicBezTo>
                        <a:cubicBezTo>
                          <a:pt x="101346" y="107156"/>
                          <a:pt x="101822" y="95"/>
                          <a:pt x="101822" y="95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47" name="Grafik 23">
                  <a:extLst>
                    <a:ext uri="{FF2B5EF4-FFF2-40B4-BE49-F238E27FC236}">
                      <a16:creationId xmlns:a16="http://schemas.microsoft.com/office/drawing/2014/main" id="{3969AFC6-BE9A-C05A-B0A6-87AD09491FDC}"/>
                    </a:ext>
                  </a:extLst>
                </p:cNvPr>
                <p:cNvGrpSpPr/>
                <p:nvPr/>
              </p:nvGrpSpPr>
              <p:grpSpPr>
                <a:xfrm>
                  <a:off x="2228899" y="609818"/>
                  <a:ext cx="706899" cy="824398"/>
                  <a:chOff x="2228899" y="609818"/>
                  <a:chExt cx="706899" cy="824398"/>
                </a:xfrm>
              </p:grpSpPr>
              <p:sp>
                <p:nvSpPr>
                  <p:cNvPr id="248" name="Freihandform: Form 247">
                    <a:extLst>
                      <a:ext uri="{FF2B5EF4-FFF2-40B4-BE49-F238E27FC236}">
                        <a16:creationId xmlns:a16="http://schemas.microsoft.com/office/drawing/2014/main" id="{8C9B17FD-E1D9-901D-2CE7-462218C7D69F}"/>
                      </a:ext>
                    </a:extLst>
                  </p:cNvPr>
                  <p:cNvSpPr/>
                  <p:nvPr/>
                </p:nvSpPr>
                <p:spPr>
                  <a:xfrm rot="-4474199">
                    <a:off x="2319554" y="647266"/>
                    <a:ext cx="525589" cy="588263"/>
                  </a:xfrm>
                  <a:custGeom>
                    <a:avLst/>
                    <a:gdLst>
                      <a:gd name="connsiteX0" fmla="*/ 525589 w 525589"/>
                      <a:gd name="connsiteY0" fmla="*/ 294132 h 588263"/>
                      <a:gd name="connsiteX1" fmla="*/ 262795 w 525589"/>
                      <a:gd name="connsiteY1" fmla="*/ 588264 h 588263"/>
                      <a:gd name="connsiteX2" fmla="*/ 0 w 525589"/>
                      <a:gd name="connsiteY2" fmla="*/ 294132 h 588263"/>
                      <a:gd name="connsiteX3" fmla="*/ 262795 w 525589"/>
                      <a:gd name="connsiteY3" fmla="*/ 0 h 588263"/>
                      <a:gd name="connsiteX4" fmla="*/ 525589 w 525589"/>
                      <a:gd name="connsiteY4" fmla="*/ 294132 h 5882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25589" h="588263">
                        <a:moveTo>
                          <a:pt x="525589" y="294132"/>
                        </a:moveTo>
                        <a:cubicBezTo>
                          <a:pt x="525589" y="456577"/>
                          <a:pt x="407932" y="588264"/>
                          <a:pt x="262795" y="588264"/>
                        </a:cubicBezTo>
                        <a:cubicBezTo>
                          <a:pt x="117657" y="588264"/>
                          <a:pt x="0" y="456577"/>
                          <a:pt x="0" y="294132"/>
                        </a:cubicBezTo>
                        <a:cubicBezTo>
                          <a:pt x="0" y="131687"/>
                          <a:pt x="117657" y="0"/>
                          <a:pt x="262795" y="0"/>
                        </a:cubicBezTo>
                        <a:cubicBezTo>
                          <a:pt x="407932" y="0"/>
                          <a:pt x="525589" y="131687"/>
                          <a:pt x="525589" y="294132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9" name="Freihandform: Form 248">
                    <a:extLst>
                      <a:ext uri="{FF2B5EF4-FFF2-40B4-BE49-F238E27FC236}">
                        <a16:creationId xmlns:a16="http://schemas.microsoft.com/office/drawing/2014/main" id="{F45F46B3-9C1D-66EC-3480-E98E3ED6B93E}"/>
                      </a:ext>
                    </a:extLst>
                  </p:cNvPr>
                  <p:cNvSpPr/>
                  <p:nvPr/>
                </p:nvSpPr>
                <p:spPr>
                  <a:xfrm>
                    <a:off x="2498816" y="902159"/>
                    <a:ext cx="410138" cy="507459"/>
                  </a:xfrm>
                  <a:custGeom>
                    <a:avLst/>
                    <a:gdLst>
                      <a:gd name="connsiteX0" fmla="*/ 393672 w 410138"/>
                      <a:gd name="connsiteY0" fmla="*/ 224553 h 507459"/>
                      <a:gd name="connsiteX1" fmla="*/ 365573 w 410138"/>
                      <a:gd name="connsiteY1" fmla="*/ 125684 h 507459"/>
                      <a:gd name="connsiteX2" fmla="*/ 31722 w 410138"/>
                      <a:gd name="connsiteY2" fmla="*/ 119778 h 507459"/>
                      <a:gd name="connsiteX3" fmla="*/ 4 w 410138"/>
                      <a:gd name="connsiteY3" fmla="*/ 312755 h 507459"/>
                      <a:gd name="connsiteX4" fmla="*/ 87538 w 410138"/>
                      <a:gd name="connsiteY4" fmla="*/ 470489 h 507459"/>
                      <a:gd name="connsiteX5" fmla="*/ 218317 w 410138"/>
                      <a:gd name="connsiteY5" fmla="*/ 507350 h 507459"/>
                      <a:gd name="connsiteX6" fmla="*/ 280039 w 410138"/>
                      <a:gd name="connsiteY6" fmla="*/ 460297 h 507459"/>
                      <a:gd name="connsiteX7" fmla="*/ 288516 w 410138"/>
                      <a:gd name="connsiteY7" fmla="*/ 430579 h 507459"/>
                      <a:gd name="connsiteX8" fmla="*/ 288516 w 410138"/>
                      <a:gd name="connsiteY8" fmla="*/ 430865 h 507459"/>
                      <a:gd name="connsiteX9" fmla="*/ 300994 w 410138"/>
                      <a:gd name="connsiteY9" fmla="*/ 411243 h 507459"/>
                      <a:gd name="connsiteX10" fmla="*/ 302041 w 410138"/>
                      <a:gd name="connsiteY10" fmla="*/ 378953 h 507459"/>
                      <a:gd name="connsiteX11" fmla="*/ 302041 w 410138"/>
                      <a:gd name="connsiteY11" fmla="*/ 378953 h 507459"/>
                      <a:gd name="connsiteX12" fmla="*/ 321091 w 410138"/>
                      <a:gd name="connsiteY12" fmla="*/ 359427 h 507459"/>
                      <a:gd name="connsiteX13" fmla="*/ 332807 w 410138"/>
                      <a:gd name="connsiteY13" fmla="*/ 315326 h 507459"/>
                      <a:gd name="connsiteX14" fmla="*/ 409579 w 410138"/>
                      <a:gd name="connsiteY14" fmla="*/ 285894 h 507459"/>
                      <a:gd name="connsiteX15" fmla="*/ 393672 w 410138"/>
                      <a:gd name="connsiteY15" fmla="*/ 224648 h 5074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410138" h="507459">
                        <a:moveTo>
                          <a:pt x="393672" y="224553"/>
                        </a:moveTo>
                        <a:cubicBezTo>
                          <a:pt x="383956" y="191787"/>
                          <a:pt x="364144" y="163593"/>
                          <a:pt x="365573" y="125684"/>
                        </a:cubicBezTo>
                        <a:cubicBezTo>
                          <a:pt x="390624" y="-427"/>
                          <a:pt x="83538" y="-76342"/>
                          <a:pt x="31722" y="119778"/>
                        </a:cubicBezTo>
                        <a:cubicBezTo>
                          <a:pt x="31722" y="119778"/>
                          <a:pt x="861" y="258843"/>
                          <a:pt x="4" y="312755"/>
                        </a:cubicBezTo>
                        <a:cubicBezTo>
                          <a:pt x="-377" y="337139"/>
                          <a:pt x="29531" y="447343"/>
                          <a:pt x="87538" y="470489"/>
                        </a:cubicBezTo>
                        <a:cubicBezTo>
                          <a:pt x="137068" y="490205"/>
                          <a:pt x="218317" y="507350"/>
                          <a:pt x="218317" y="507350"/>
                        </a:cubicBezTo>
                        <a:cubicBezTo>
                          <a:pt x="218317" y="507350"/>
                          <a:pt x="261560" y="512018"/>
                          <a:pt x="280039" y="460297"/>
                        </a:cubicBezTo>
                        <a:cubicBezTo>
                          <a:pt x="281467" y="456296"/>
                          <a:pt x="284515" y="445628"/>
                          <a:pt x="288516" y="430579"/>
                        </a:cubicBezTo>
                        <a:lnTo>
                          <a:pt x="288516" y="430865"/>
                        </a:lnTo>
                        <a:cubicBezTo>
                          <a:pt x="288516" y="430865"/>
                          <a:pt x="291469" y="422292"/>
                          <a:pt x="300994" y="411243"/>
                        </a:cubicBezTo>
                        <a:cubicBezTo>
                          <a:pt x="312519" y="397718"/>
                          <a:pt x="318901" y="384287"/>
                          <a:pt x="302041" y="378953"/>
                        </a:cubicBezTo>
                        <a:lnTo>
                          <a:pt x="302041" y="378953"/>
                        </a:lnTo>
                        <a:cubicBezTo>
                          <a:pt x="314805" y="378287"/>
                          <a:pt x="321663" y="365523"/>
                          <a:pt x="321091" y="359427"/>
                        </a:cubicBezTo>
                        <a:cubicBezTo>
                          <a:pt x="319663" y="341806"/>
                          <a:pt x="327949" y="315041"/>
                          <a:pt x="332807" y="315326"/>
                        </a:cubicBezTo>
                        <a:cubicBezTo>
                          <a:pt x="351762" y="316565"/>
                          <a:pt x="416818" y="324185"/>
                          <a:pt x="409579" y="285894"/>
                        </a:cubicBezTo>
                        <a:cubicBezTo>
                          <a:pt x="403864" y="255224"/>
                          <a:pt x="402244" y="253509"/>
                          <a:pt x="393672" y="224648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0" name="Freihandform: Form 249">
                    <a:extLst>
                      <a:ext uri="{FF2B5EF4-FFF2-40B4-BE49-F238E27FC236}">
                        <a16:creationId xmlns:a16="http://schemas.microsoft.com/office/drawing/2014/main" id="{D43B8204-91BE-A0A2-E8B8-1F56D9100B24}"/>
                      </a:ext>
                    </a:extLst>
                  </p:cNvPr>
                  <p:cNvSpPr/>
                  <p:nvPr/>
                </p:nvSpPr>
                <p:spPr>
                  <a:xfrm>
                    <a:off x="2692166" y="978624"/>
                    <a:ext cx="158167" cy="48133"/>
                  </a:xfrm>
                  <a:custGeom>
                    <a:avLst/>
                    <a:gdLst>
                      <a:gd name="connsiteX0" fmla="*/ 140218 w 158167"/>
                      <a:gd name="connsiteY0" fmla="*/ 48075 h 48133"/>
                      <a:gd name="connsiteX1" fmla="*/ 79639 w 158167"/>
                      <a:gd name="connsiteY1" fmla="*/ 28549 h 48133"/>
                      <a:gd name="connsiteX2" fmla="*/ 4963 w 158167"/>
                      <a:gd name="connsiteY2" fmla="*/ 25501 h 48133"/>
                      <a:gd name="connsiteX3" fmla="*/ 1439 w 158167"/>
                      <a:gd name="connsiteY3" fmla="*/ 17405 h 48133"/>
                      <a:gd name="connsiteX4" fmla="*/ 71353 w 158167"/>
                      <a:gd name="connsiteY4" fmla="*/ 260 h 48133"/>
                      <a:gd name="connsiteX5" fmla="*/ 154792 w 158167"/>
                      <a:gd name="connsiteY5" fmla="*/ 19691 h 48133"/>
                      <a:gd name="connsiteX6" fmla="*/ 140218 w 158167"/>
                      <a:gd name="connsiteY6" fmla="*/ 48075 h 481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58167" h="48133">
                        <a:moveTo>
                          <a:pt x="140218" y="48075"/>
                        </a:moveTo>
                        <a:cubicBezTo>
                          <a:pt x="130693" y="46647"/>
                          <a:pt x="91831" y="30359"/>
                          <a:pt x="79639" y="28549"/>
                        </a:cubicBezTo>
                        <a:cubicBezTo>
                          <a:pt x="48207" y="23882"/>
                          <a:pt x="20013" y="25215"/>
                          <a:pt x="4963" y="25501"/>
                        </a:cubicBezTo>
                        <a:cubicBezTo>
                          <a:pt x="677" y="25501"/>
                          <a:pt x="-1704" y="20262"/>
                          <a:pt x="1439" y="17405"/>
                        </a:cubicBezTo>
                        <a:cubicBezTo>
                          <a:pt x="19251" y="1212"/>
                          <a:pt x="50398" y="-883"/>
                          <a:pt x="71353" y="260"/>
                        </a:cubicBezTo>
                        <a:cubicBezTo>
                          <a:pt x="104023" y="2070"/>
                          <a:pt x="144600" y="15309"/>
                          <a:pt x="154792" y="19691"/>
                        </a:cubicBezTo>
                        <a:cubicBezTo>
                          <a:pt x="164983" y="24072"/>
                          <a:pt x="149743" y="49504"/>
                          <a:pt x="140218" y="48075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1" name="Freihandform: Form 250">
                    <a:extLst>
                      <a:ext uri="{FF2B5EF4-FFF2-40B4-BE49-F238E27FC236}">
                        <a16:creationId xmlns:a16="http://schemas.microsoft.com/office/drawing/2014/main" id="{11D061AD-AB2B-BDE0-BE9C-2FD3C6694251}"/>
                      </a:ext>
                    </a:extLst>
                  </p:cNvPr>
                  <p:cNvSpPr/>
                  <p:nvPr/>
                </p:nvSpPr>
                <p:spPr>
                  <a:xfrm rot="-4837802">
                    <a:off x="2748201" y="1039521"/>
                    <a:ext cx="50673" cy="26860"/>
                  </a:xfrm>
                  <a:custGeom>
                    <a:avLst/>
                    <a:gdLst>
                      <a:gd name="connsiteX0" fmla="*/ 50673 w 50673"/>
                      <a:gd name="connsiteY0" fmla="*/ 13430 h 26860"/>
                      <a:gd name="connsiteX1" fmla="*/ 25336 w 50673"/>
                      <a:gd name="connsiteY1" fmla="*/ 26861 h 26860"/>
                      <a:gd name="connsiteX2" fmla="*/ 0 w 50673"/>
                      <a:gd name="connsiteY2" fmla="*/ 13430 h 26860"/>
                      <a:gd name="connsiteX3" fmla="*/ 25336 w 50673"/>
                      <a:gd name="connsiteY3" fmla="*/ 0 h 26860"/>
                      <a:gd name="connsiteX4" fmla="*/ 50673 w 50673"/>
                      <a:gd name="connsiteY4" fmla="*/ 13430 h 268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673" h="26860">
                        <a:moveTo>
                          <a:pt x="50673" y="13430"/>
                        </a:moveTo>
                        <a:cubicBezTo>
                          <a:pt x="50673" y="20848"/>
                          <a:pt x="39329" y="26861"/>
                          <a:pt x="25336" y="26861"/>
                        </a:cubicBezTo>
                        <a:cubicBezTo>
                          <a:pt x="11344" y="26861"/>
                          <a:pt x="0" y="20848"/>
                          <a:pt x="0" y="13430"/>
                        </a:cubicBezTo>
                        <a:cubicBezTo>
                          <a:pt x="0" y="6013"/>
                          <a:pt x="11344" y="0"/>
                          <a:pt x="25336" y="0"/>
                        </a:cubicBezTo>
                        <a:cubicBezTo>
                          <a:pt x="39329" y="0"/>
                          <a:pt x="50673" y="6013"/>
                          <a:pt x="50673" y="1343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2" name="Freihandform: Form 251">
                    <a:extLst>
                      <a:ext uri="{FF2B5EF4-FFF2-40B4-BE49-F238E27FC236}">
                        <a16:creationId xmlns:a16="http://schemas.microsoft.com/office/drawing/2014/main" id="{2516B40A-1AE5-CC94-2462-EA200534054E}"/>
                      </a:ext>
                    </a:extLst>
                  </p:cNvPr>
                  <p:cNvSpPr/>
                  <p:nvPr/>
                </p:nvSpPr>
                <p:spPr>
                  <a:xfrm>
                    <a:off x="2715592" y="1019859"/>
                    <a:ext cx="94079" cy="27890"/>
                  </a:xfrm>
                  <a:custGeom>
                    <a:avLst/>
                    <a:gdLst>
                      <a:gd name="connsiteX0" fmla="*/ 93552 w 94079"/>
                      <a:gd name="connsiteY0" fmla="*/ 27890 h 27890"/>
                      <a:gd name="connsiteX1" fmla="*/ 44022 w 94079"/>
                      <a:gd name="connsiteY1" fmla="*/ 14555 h 27890"/>
                      <a:gd name="connsiteX2" fmla="*/ 1636 w 94079"/>
                      <a:gd name="connsiteY2" fmla="*/ 13984 h 27890"/>
                      <a:gd name="connsiteX3" fmla="*/ 63072 w 94079"/>
                      <a:gd name="connsiteY3" fmla="*/ 1316 h 27890"/>
                      <a:gd name="connsiteX4" fmla="*/ 93552 w 94079"/>
                      <a:gd name="connsiteY4" fmla="*/ 27890 h 278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4079" h="27890">
                        <a:moveTo>
                          <a:pt x="93552" y="27890"/>
                        </a:moveTo>
                        <a:cubicBezTo>
                          <a:pt x="93552" y="27890"/>
                          <a:pt x="73550" y="11222"/>
                          <a:pt x="44022" y="14555"/>
                        </a:cubicBezTo>
                        <a:cubicBezTo>
                          <a:pt x="14399" y="17889"/>
                          <a:pt x="-6079" y="20651"/>
                          <a:pt x="1636" y="13984"/>
                        </a:cubicBezTo>
                        <a:cubicBezTo>
                          <a:pt x="9351" y="7316"/>
                          <a:pt x="31735" y="-3828"/>
                          <a:pt x="63072" y="1316"/>
                        </a:cubicBezTo>
                        <a:cubicBezTo>
                          <a:pt x="72788" y="2935"/>
                          <a:pt x="98029" y="9698"/>
                          <a:pt x="93552" y="2789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3" name="Freihandform: Form 252">
                    <a:extLst>
                      <a:ext uri="{FF2B5EF4-FFF2-40B4-BE49-F238E27FC236}">
                        <a16:creationId xmlns:a16="http://schemas.microsoft.com/office/drawing/2014/main" id="{26CCC20C-EBD4-6530-C86F-B4EB502DF340}"/>
                      </a:ext>
                    </a:extLst>
                  </p:cNvPr>
                  <p:cNvSpPr/>
                  <p:nvPr/>
                </p:nvSpPr>
                <p:spPr>
                  <a:xfrm>
                    <a:off x="2260681" y="819150"/>
                    <a:ext cx="573773" cy="615066"/>
                  </a:xfrm>
                  <a:custGeom>
                    <a:avLst/>
                    <a:gdLst>
                      <a:gd name="connsiteX0" fmla="*/ 571037 w 573773"/>
                      <a:gd name="connsiteY0" fmla="*/ 411480 h 615066"/>
                      <a:gd name="connsiteX1" fmla="*/ 488931 w 573773"/>
                      <a:gd name="connsiteY1" fmla="*/ 422814 h 615066"/>
                      <a:gd name="connsiteX2" fmla="*/ 407302 w 573773"/>
                      <a:gd name="connsiteY2" fmla="*/ 347853 h 615066"/>
                      <a:gd name="connsiteX3" fmla="*/ 286811 w 573773"/>
                      <a:gd name="connsiteY3" fmla="*/ 136398 h 615066"/>
                      <a:gd name="connsiteX4" fmla="*/ 54306 w 573773"/>
                      <a:gd name="connsiteY4" fmla="*/ 1809 h 615066"/>
                      <a:gd name="connsiteX5" fmla="*/ 10586 w 573773"/>
                      <a:gd name="connsiteY5" fmla="*/ 164687 h 615066"/>
                      <a:gd name="connsiteX6" fmla="*/ 89548 w 573773"/>
                      <a:gd name="connsiteY6" fmla="*/ 361950 h 615066"/>
                      <a:gd name="connsiteX7" fmla="*/ 172987 w 573773"/>
                      <a:gd name="connsiteY7" fmla="*/ 246888 h 615066"/>
                      <a:gd name="connsiteX8" fmla="*/ 287001 w 573773"/>
                      <a:gd name="connsiteY8" fmla="*/ 294417 h 615066"/>
                      <a:gd name="connsiteX9" fmla="*/ 325768 w 573773"/>
                      <a:gd name="connsiteY9" fmla="*/ 553402 h 615066"/>
                      <a:gd name="connsiteX10" fmla="*/ 417399 w 573773"/>
                      <a:gd name="connsiteY10" fmla="*/ 602075 h 615066"/>
                      <a:gd name="connsiteX11" fmla="*/ 524460 w 573773"/>
                      <a:gd name="connsiteY11" fmla="*/ 577119 h 615066"/>
                      <a:gd name="connsiteX12" fmla="*/ 526650 w 573773"/>
                      <a:gd name="connsiteY12" fmla="*/ 513588 h 615066"/>
                      <a:gd name="connsiteX13" fmla="*/ 526650 w 573773"/>
                      <a:gd name="connsiteY13" fmla="*/ 513873 h 615066"/>
                      <a:gd name="connsiteX14" fmla="*/ 539128 w 573773"/>
                      <a:gd name="connsiteY14" fmla="*/ 494252 h 615066"/>
                      <a:gd name="connsiteX15" fmla="*/ 540176 w 573773"/>
                      <a:gd name="connsiteY15" fmla="*/ 461962 h 615066"/>
                      <a:gd name="connsiteX16" fmla="*/ 571132 w 573773"/>
                      <a:gd name="connsiteY16" fmla="*/ 411480 h 6150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573773" h="615066">
                        <a:moveTo>
                          <a:pt x="571037" y="411480"/>
                        </a:moveTo>
                        <a:cubicBezTo>
                          <a:pt x="570275" y="402717"/>
                          <a:pt x="553130" y="387000"/>
                          <a:pt x="488931" y="422814"/>
                        </a:cubicBezTo>
                        <a:cubicBezTo>
                          <a:pt x="471120" y="432720"/>
                          <a:pt x="451593" y="369951"/>
                          <a:pt x="407302" y="347853"/>
                        </a:cubicBezTo>
                        <a:cubicBezTo>
                          <a:pt x="286620" y="287750"/>
                          <a:pt x="395205" y="216979"/>
                          <a:pt x="286811" y="136398"/>
                        </a:cubicBezTo>
                        <a:cubicBezTo>
                          <a:pt x="218040" y="85344"/>
                          <a:pt x="135078" y="110109"/>
                          <a:pt x="54306" y="1809"/>
                        </a:cubicBezTo>
                        <a:cubicBezTo>
                          <a:pt x="40875" y="-16098"/>
                          <a:pt x="-25419" y="103346"/>
                          <a:pt x="10586" y="164687"/>
                        </a:cubicBezTo>
                        <a:cubicBezTo>
                          <a:pt x="96501" y="311086"/>
                          <a:pt x="89548" y="361950"/>
                          <a:pt x="89548" y="361950"/>
                        </a:cubicBezTo>
                        <a:cubicBezTo>
                          <a:pt x="89548" y="361950"/>
                          <a:pt x="190608" y="336899"/>
                          <a:pt x="172987" y="246888"/>
                        </a:cubicBezTo>
                        <a:cubicBezTo>
                          <a:pt x="170987" y="170592"/>
                          <a:pt x="296622" y="190023"/>
                          <a:pt x="287001" y="294417"/>
                        </a:cubicBezTo>
                        <a:cubicBezTo>
                          <a:pt x="287001" y="318801"/>
                          <a:pt x="174702" y="503967"/>
                          <a:pt x="325768" y="553402"/>
                        </a:cubicBezTo>
                        <a:cubicBezTo>
                          <a:pt x="349485" y="561117"/>
                          <a:pt x="385585" y="581977"/>
                          <a:pt x="417399" y="602075"/>
                        </a:cubicBezTo>
                        <a:cubicBezTo>
                          <a:pt x="456832" y="626840"/>
                          <a:pt x="511220" y="614934"/>
                          <a:pt x="524460" y="577119"/>
                        </a:cubicBezTo>
                        <a:cubicBezTo>
                          <a:pt x="537699" y="539305"/>
                          <a:pt x="522650" y="528637"/>
                          <a:pt x="526650" y="513588"/>
                        </a:cubicBezTo>
                        <a:lnTo>
                          <a:pt x="526650" y="513873"/>
                        </a:lnTo>
                        <a:cubicBezTo>
                          <a:pt x="526650" y="513873"/>
                          <a:pt x="529603" y="505301"/>
                          <a:pt x="539128" y="494252"/>
                        </a:cubicBezTo>
                        <a:cubicBezTo>
                          <a:pt x="550653" y="480726"/>
                          <a:pt x="557035" y="467296"/>
                          <a:pt x="540176" y="461962"/>
                        </a:cubicBezTo>
                        <a:cubicBezTo>
                          <a:pt x="586467" y="461962"/>
                          <a:pt x="571608" y="417671"/>
                          <a:pt x="571132" y="41148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4" name="Freihandform: Form 253">
                    <a:extLst>
                      <a:ext uri="{FF2B5EF4-FFF2-40B4-BE49-F238E27FC236}">
                        <a16:creationId xmlns:a16="http://schemas.microsoft.com/office/drawing/2014/main" id="{F1A27229-4673-2357-12FB-11C9BBF622D6}"/>
                      </a:ext>
                    </a:extLst>
                  </p:cNvPr>
                  <p:cNvSpPr/>
                  <p:nvPr/>
                </p:nvSpPr>
                <p:spPr>
                  <a:xfrm rot="-571800">
                    <a:off x="2433554" y="969703"/>
                    <a:ext cx="118871" cy="184403"/>
                  </a:xfrm>
                  <a:custGeom>
                    <a:avLst/>
                    <a:gdLst>
                      <a:gd name="connsiteX0" fmla="*/ 118872 w 118871"/>
                      <a:gd name="connsiteY0" fmla="*/ 92202 h 184403"/>
                      <a:gd name="connsiteX1" fmla="*/ 59436 w 118871"/>
                      <a:gd name="connsiteY1" fmla="*/ 184404 h 184403"/>
                      <a:gd name="connsiteX2" fmla="*/ 0 w 118871"/>
                      <a:gd name="connsiteY2" fmla="*/ 92202 h 184403"/>
                      <a:gd name="connsiteX3" fmla="*/ 59436 w 118871"/>
                      <a:gd name="connsiteY3" fmla="*/ 0 h 184403"/>
                      <a:gd name="connsiteX4" fmla="*/ 118872 w 118871"/>
                      <a:gd name="connsiteY4" fmla="*/ 92202 h 1844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8871" h="184403">
                        <a:moveTo>
                          <a:pt x="118872" y="92202"/>
                        </a:moveTo>
                        <a:cubicBezTo>
                          <a:pt x="118872" y="143124"/>
                          <a:pt x="92262" y="184404"/>
                          <a:pt x="59436" y="184404"/>
                        </a:cubicBezTo>
                        <a:cubicBezTo>
                          <a:pt x="26610" y="184404"/>
                          <a:pt x="0" y="143124"/>
                          <a:pt x="0" y="92202"/>
                        </a:cubicBezTo>
                        <a:cubicBezTo>
                          <a:pt x="0" y="41280"/>
                          <a:pt x="26610" y="0"/>
                          <a:pt x="59436" y="0"/>
                        </a:cubicBezTo>
                        <a:cubicBezTo>
                          <a:pt x="92262" y="0"/>
                          <a:pt x="118872" y="41280"/>
                          <a:pt x="118872" y="92202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55" name="Grafik 23">
                  <a:extLst>
                    <a:ext uri="{FF2B5EF4-FFF2-40B4-BE49-F238E27FC236}">
                      <a16:creationId xmlns:a16="http://schemas.microsoft.com/office/drawing/2014/main" id="{F7FE7705-1064-EA28-F7F1-66782B31F3AF}"/>
                    </a:ext>
                  </a:extLst>
                </p:cNvPr>
                <p:cNvGrpSpPr/>
                <p:nvPr/>
              </p:nvGrpSpPr>
              <p:grpSpPr>
                <a:xfrm>
                  <a:off x="1967227" y="1280636"/>
                  <a:ext cx="1281425" cy="4889010"/>
                  <a:chOff x="1967227" y="1280636"/>
                  <a:chExt cx="1281425" cy="4889010"/>
                </a:xfrm>
              </p:grpSpPr>
              <p:grpSp>
                <p:nvGrpSpPr>
                  <p:cNvPr id="256" name="Grafik 23">
                    <a:extLst>
                      <a:ext uri="{FF2B5EF4-FFF2-40B4-BE49-F238E27FC236}">
                        <a16:creationId xmlns:a16="http://schemas.microsoft.com/office/drawing/2014/main" id="{6C63F765-CF1A-1318-1F3F-35056B27A344}"/>
                      </a:ext>
                    </a:extLst>
                  </p:cNvPr>
                  <p:cNvGrpSpPr/>
                  <p:nvPr/>
                </p:nvGrpSpPr>
                <p:grpSpPr>
                  <a:xfrm>
                    <a:off x="2381090" y="5797515"/>
                    <a:ext cx="867562" cy="295551"/>
                    <a:chOff x="2381090" y="5797515"/>
                    <a:chExt cx="867562" cy="295551"/>
                  </a:xfrm>
                </p:grpSpPr>
                <p:sp>
                  <p:nvSpPr>
                    <p:cNvPr id="257" name="Freihandform: Form 256">
                      <a:extLst>
                        <a:ext uri="{FF2B5EF4-FFF2-40B4-BE49-F238E27FC236}">
                          <a16:creationId xmlns:a16="http://schemas.microsoft.com/office/drawing/2014/main" id="{27A1098B-A7B3-FFE8-9E4B-274EE3DD1C5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81199" y="5797515"/>
                      <a:ext cx="865764" cy="289407"/>
                    </a:xfrm>
                    <a:custGeom>
                      <a:avLst/>
                      <a:gdLst>
                        <a:gd name="connsiteX0" fmla="*/ 60851 w 865764"/>
                        <a:gd name="connsiteY0" fmla="*/ 28546 h 289407"/>
                        <a:gd name="connsiteX1" fmla="*/ 82 w 865764"/>
                        <a:gd name="connsiteY1" fmla="*/ 170088 h 289407"/>
                        <a:gd name="connsiteX2" fmla="*/ 5702 w 865764"/>
                        <a:gd name="connsiteY2" fmla="*/ 253908 h 289407"/>
                        <a:gd name="connsiteX3" fmla="*/ 30371 w 865764"/>
                        <a:gd name="connsiteY3" fmla="*/ 276863 h 289407"/>
                        <a:gd name="connsiteX4" fmla="*/ 811136 w 865764"/>
                        <a:gd name="connsiteY4" fmla="*/ 249717 h 289407"/>
                        <a:gd name="connsiteX5" fmla="*/ 823899 w 865764"/>
                        <a:gd name="connsiteY5" fmla="*/ 132750 h 289407"/>
                        <a:gd name="connsiteX6" fmla="*/ 534625 w 865764"/>
                        <a:gd name="connsiteY6" fmla="*/ 83696 h 289407"/>
                        <a:gd name="connsiteX7" fmla="*/ 329837 w 865764"/>
                        <a:gd name="connsiteY7" fmla="*/ 829 h 289407"/>
                        <a:gd name="connsiteX8" fmla="*/ 273068 w 865764"/>
                        <a:gd name="connsiteY8" fmla="*/ 56931 h 289407"/>
                        <a:gd name="connsiteX9" fmla="*/ 140195 w 865764"/>
                        <a:gd name="connsiteY9" fmla="*/ 56931 h 289407"/>
                        <a:gd name="connsiteX10" fmla="*/ 60756 w 865764"/>
                        <a:gd name="connsiteY10" fmla="*/ 28546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60851" y="28546"/>
                          </a:moveTo>
                          <a:cubicBezTo>
                            <a:pt x="60851" y="28546"/>
                            <a:pt x="-2585" y="92078"/>
                            <a:pt x="82" y="170088"/>
                          </a:cubicBezTo>
                          <a:cubicBezTo>
                            <a:pt x="1511" y="210474"/>
                            <a:pt x="3797" y="237335"/>
                            <a:pt x="5702" y="253908"/>
                          </a:cubicBezTo>
                          <a:cubicBezTo>
                            <a:pt x="7130" y="266576"/>
                            <a:pt x="17608" y="276292"/>
                            <a:pt x="30371" y="276863"/>
                          </a:cubicBezTo>
                          <a:cubicBezTo>
                            <a:pt x="138956" y="281626"/>
                            <a:pt x="690740" y="314487"/>
                            <a:pt x="811136" y="249717"/>
                          </a:cubicBezTo>
                          <a:cubicBezTo>
                            <a:pt x="926102" y="187900"/>
                            <a:pt x="823899" y="132750"/>
                            <a:pt x="823899" y="132750"/>
                          </a:cubicBezTo>
                          <a:cubicBezTo>
                            <a:pt x="823899" y="132750"/>
                            <a:pt x="648925" y="152753"/>
                            <a:pt x="534625" y="83696"/>
                          </a:cubicBezTo>
                          <a:cubicBezTo>
                            <a:pt x="432898" y="22260"/>
                            <a:pt x="348030" y="-5267"/>
                            <a:pt x="329837" y="829"/>
                          </a:cubicBezTo>
                          <a:cubicBezTo>
                            <a:pt x="311645" y="6925"/>
                            <a:pt x="305263" y="35500"/>
                            <a:pt x="273068" y="56931"/>
                          </a:cubicBezTo>
                          <a:cubicBezTo>
                            <a:pt x="240779" y="78458"/>
                            <a:pt x="202012" y="78458"/>
                            <a:pt x="140195" y="56931"/>
                          </a:cubicBezTo>
                          <a:cubicBezTo>
                            <a:pt x="78377" y="35405"/>
                            <a:pt x="79616" y="20450"/>
                            <a:pt x="60756" y="28546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58" name="Freihandform: Form 257">
                      <a:extLst>
                        <a:ext uri="{FF2B5EF4-FFF2-40B4-BE49-F238E27FC236}">
                          <a16:creationId xmlns:a16="http://schemas.microsoft.com/office/drawing/2014/main" id="{F4E565F6-3A99-1D3C-3825-74D8658060E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81090" y="5939885"/>
                      <a:ext cx="867562" cy="153181"/>
                    </a:xfrm>
                    <a:custGeom>
                      <a:avLst/>
                      <a:gdLst>
                        <a:gd name="connsiteX0" fmla="*/ 30099 w 867562"/>
                        <a:gd name="connsiteY0" fmla="*/ 153162 h 153181"/>
                        <a:gd name="connsiteX1" fmla="*/ 692658 w 867562"/>
                        <a:gd name="connsiteY1" fmla="*/ 152781 h 153181"/>
                        <a:gd name="connsiteX2" fmla="*/ 811816 w 867562"/>
                        <a:gd name="connsiteY2" fmla="*/ 116396 h 153181"/>
                        <a:gd name="connsiteX3" fmla="*/ 838962 w 867562"/>
                        <a:gd name="connsiteY3" fmla="*/ 0 h 153181"/>
                        <a:gd name="connsiteX4" fmla="*/ 798862 w 867562"/>
                        <a:gd name="connsiteY4" fmla="*/ 42291 h 153181"/>
                        <a:gd name="connsiteX5" fmla="*/ 0 w 867562"/>
                        <a:gd name="connsiteY5" fmla="*/ 51245 h 153181"/>
                        <a:gd name="connsiteX6" fmla="*/ 5239 w 867562"/>
                        <a:gd name="connsiteY6" fmla="*/ 130016 h 153181"/>
                        <a:gd name="connsiteX7" fmla="*/ 30004 w 867562"/>
                        <a:gd name="connsiteY7" fmla="*/ 153162 h 1531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1">
                          <a:moveTo>
                            <a:pt x="30099" y="153162"/>
                          </a:moveTo>
                          <a:cubicBezTo>
                            <a:pt x="32575" y="153258"/>
                            <a:pt x="690563" y="152971"/>
                            <a:pt x="692658" y="152781"/>
                          </a:cubicBezTo>
                          <a:cubicBezTo>
                            <a:pt x="751237" y="147066"/>
                            <a:pt x="787813" y="129350"/>
                            <a:pt x="811816" y="116396"/>
                          </a:cubicBezTo>
                          <a:cubicBezTo>
                            <a:pt x="897922" y="70104"/>
                            <a:pt x="865251" y="15907"/>
                            <a:pt x="838962" y="0"/>
                          </a:cubicBezTo>
                          <a:cubicBezTo>
                            <a:pt x="830390" y="9430"/>
                            <a:pt x="817531" y="32290"/>
                            <a:pt x="798862" y="42291"/>
                          </a:cubicBezTo>
                          <a:cubicBezTo>
                            <a:pt x="671703" y="110680"/>
                            <a:pt x="68390" y="56483"/>
                            <a:pt x="0" y="51245"/>
                          </a:cubicBezTo>
                          <a:cubicBezTo>
                            <a:pt x="1429" y="85630"/>
                            <a:pt x="3429" y="114871"/>
                            <a:pt x="5239" y="130016"/>
                          </a:cubicBezTo>
                          <a:cubicBezTo>
                            <a:pt x="6667" y="142780"/>
                            <a:pt x="17145" y="152591"/>
                            <a:pt x="30004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259" name="Grafik 23">
                    <a:extLst>
                      <a:ext uri="{FF2B5EF4-FFF2-40B4-BE49-F238E27FC236}">
                        <a16:creationId xmlns:a16="http://schemas.microsoft.com/office/drawing/2014/main" id="{482C39C2-0757-555B-65E6-2D198C43F9CA}"/>
                      </a:ext>
                    </a:extLst>
                  </p:cNvPr>
                  <p:cNvGrpSpPr/>
                  <p:nvPr/>
                </p:nvGrpSpPr>
                <p:grpSpPr>
                  <a:xfrm>
                    <a:off x="2220308" y="5874095"/>
                    <a:ext cx="867562" cy="295551"/>
                    <a:chOff x="2220308" y="5874095"/>
                    <a:chExt cx="867562" cy="295551"/>
                  </a:xfrm>
                </p:grpSpPr>
                <p:sp>
                  <p:nvSpPr>
                    <p:cNvPr id="260" name="Freihandform: Form 259">
                      <a:extLst>
                        <a:ext uri="{FF2B5EF4-FFF2-40B4-BE49-F238E27FC236}">
                          <a16:creationId xmlns:a16="http://schemas.microsoft.com/office/drawing/2014/main" id="{92719891-5E70-F219-9BD4-0C93A783FB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20512" y="5874095"/>
                      <a:ext cx="865764" cy="289407"/>
                    </a:xfrm>
                    <a:custGeom>
                      <a:avLst/>
                      <a:gdLst>
                        <a:gd name="connsiteX0" fmla="*/ 60851 w 865764"/>
                        <a:gd name="connsiteY0" fmla="*/ 28547 h 289407"/>
                        <a:gd name="connsiteX1" fmla="*/ 82 w 865764"/>
                        <a:gd name="connsiteY1" fmla="*/ 170088 h 289407"/>
                        <a:gd name="connsiteX2" fmla="*/ 5702 w 865764"/>
                        <a:gd name="connsiteY2" fmla="*/ 253908 h 289407"/>
                        <a:gd name="connsiteX3" fmla="*/ 30371 w 865764"/>
                        <a:gd name="connsiteY3" fmla="*/ 276864 h 289407"/>
                        <a:gd name="connsiteX4" fmla="*/ 811136 w 865764"/>
                        <a:gd name="connsiteY4" fmla="*/ 249717 h 289407"/>
                        <a:gd name="connsiteX5" fmla="*/ 823899 w 865764"/>
                        <a:gd name="connsiteY5" fmla="*/ 132750 h 289407"/>
                        <a:gd name="connsiteX6" fmla="*/ 534625 w 865764"/>
                        <a:gd name="connsiteY6" fmla="*/ 83696 h 289407"/>
                        <a:gd name="connsiteX7" fmla="*/ 329837 w 865764"/>
                        <a:gd name="connsiteY7" fmla="*/ 829 h 289407"/>
                        <a:gd name="connsiteX8" fmla="*/ 273068 w 865764"/>
                        <a:gd name="connsiteY8" fmla="*/ 56931 h 289407"/>
                        <a:gd name="connsiteX9" fmla="*/ 140195 w 865764"/>
                        <a:gd name="connsiteY9" fmla="*/ 56931 h 289407"/>
                        <a:gd name="connsiteX10" fmla="*/ 60756 w 865764"/>
                        <a:gd name="connsiteY10" fmla="*/ 28547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60851" y="28547"/>
                          </a:moveTo>
                          <a:cubicBezTo>
                            <a:pt x="60851" y="28547"/>
                            <a:pt x="-2585" y="92078"/>
                            <a:pt x="82" y="170088"/>
                          </a:cubicBezTo>
                          <a:cubicBezTo>
                            <a:pt x="1511" y="210474"/>
                            <a:pt x="3797" y="237335"/>
                            <a:pt x="5702" y="253908"/>
                          </a:cubicBezTo>
                          <a:cubicBezTo>
                            <a:pt x="7130" y="266576"/>
                            <a:pt x="17608" y="276292"/>
                            <a:pt x="30371" y="276864"/>
                          </a:cubicBezTo>
                          <a:cubicBezTo>
                            <a:pt x="138956" y="281626"/>
                            <a:pt x="690740" y="314487"/>
                            <a:pt x="811136" y="249717"/>
                          </a:cubicBezTo>
                          <a:cubicBezTo>
                            <a:pt x="926102" y="187900"/>
                            <a:pt x="823899" y="132750"/>
                            <a:pt x="823899" y="132750"/>
                          </a:cubicBezTo>
                          <a:cubicBezTo>
                            <a:pt x="823899" y="132750"/>
                            <a:pt x="648925" y="152752"/>
                            <a:pt x="534625" y="83696"/>
                          </a:cubicBezTo>
                          <a:cubicBezTo>
                            <a:pt x="432898" y="22260"/>
                            <a:pt x="348030" y="-5267"/>
                            <a:pt x="329837" y="829"/>
                          </a:cubicBezTo>
                          <a:cubicBezTo>
                            <a:pt x="311645" y="6925"/>
                            <a:pt x="305263" y="35500"/>
                            <a:pt x="273068" y="56931"/>
                          </a:cubicBezTo>
                          <a:cubicBezTo>
                            <a:pt x="240779" y="78458"/>
                            <a:pt x="202012" y="78458"/>
                            <a:pt x="140195" y="56931"/>
                          </a:cubicBezTo>
                          <a:cubicBezTo>
                            <a:pt x="78377" y="35404"/>
                            <a:pt x="79616" y="20450"/>
                            <a:pt x="60756" y="28547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61" name="Freihandform: Form 260">
                      <a:extLst>
                        <a:ext uri="{FF2B5EF4-FFF2-40B4-BE49-F238E27FC236}">
                          <a16:creationId xmlns:a16="http://schemas.microsoft.com/office/drawing/2014/main" id="{93D2A8AB-0D21-E446-2E02-EE7201B84B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20308" y="6016466"/>
                      <a:ext cx="867562" cy="153180"/>
                    </a:xfrm>
                    <a:custGeom>
                      <a:avLst/>
                      <a:gdLst>
                        <a:gd name="connsiteX0" fmla="*/ 30099 w 867562"/>
                        <a:gd name="connsiteY0" fmla="*/ 153162 h 153180"/>
                        <a:gd name="connsiteX1" fmla="*/ 692658 w 867562"/>
                        <a:gd name="connsiteY1" fmla="*/ 152781 h 153180"/>
                        <a:gd name="connsiteX2" fmla="*/ 811816 w 867562"/>
                        <a:gd name="connsiteY2" fmla="*/ 116395 h 153180"/>
                        <a:gd name="connsiteX3" fmla="*/ 838962 w 867562"/>
                        <a:gd name="connsiteY3" fmla="*/ 0 h 153180"/>
                        <a:gd name="connsiteX4" fmla="*/ 798862 w 867562"/>
                        <a:gd name="connsiteY4" fmla="*/ 42291 h 153180"/>
                        <a:gd name="connsiteX5" fmla="*/ 0 w 867562"/>
                        <a:gd name="connsiteY5" fmla="*/ 51245 h 153180"/>
                        <a:gd name="connsiteX6" fmla="*/ 5239 w 867562"/>
                        <a:gd name="connsiteY6" fmla="*/ 130016 h 153180"/>
                        <a:gd name="connsiteX7" fmla="*/ 30004 w 867562"/>
                        <a:gd name="connsiteY7" fmla="*/ 153162 h 15318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0">
                          <a:moveTo>
                            <a:pt x="30099" y="153162"/>
                          </a:moveTo>
                          <a:cubicBezTo>
                            <a:pt x="32575" y="153257"/>
                            <a:pt x="690562" y="152971"/>
                            <a:pt x="692658" y="152781"/>
                          </a:cubicBezTo>
                          <a:cubicBezTo>
                            <a:pt x="751237" y="147066"/>
                            <a:pt x="787813" y="129349"/>
                            <a:pt x="811816" y="116395"/>
                          </a:cubicBezTo>
                          <a:cubicBezTo>
                            <a:pt x="897922" y="70104"/>
                            <a:pt x="865251" y="15907"/>
                            <a:pt x="838962" y="0"/>
                          </a:cubicBezTo>
                          <a:cubicBezTo>
                            <a:pt x="830389" y="9430"/>
                            <a:pt x="817531" y="32289"/>
                            <a:pt x="798862" y="42291"/>
                          </a:cubicBezTo>
                          <a:cubicBezTo>
                            <a:pt x="671703" y="110680"/>
                            <a:pt x="68390" y="56483"/>
                            <a:pt x="0" y="51245"/>
                          </a:cubicBezTo>
                          <a:cubicBezTo>
                            <a:pt x="1429" y="85630"/>
                            <a:pt x="3429" y="114871"/>
                            <a:pt x="5239" y="130016"/>
                          </a:cubicBezTo>
                          <a:cubicBezTo>
                            <a:pt x="6668" y="142780"/>
                            <a:pt x="17145" y="152590"/>
                            <a:pt x="30004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262" name="Freihandform: Form 261">
                    <a:extLst>
                      <a:ext uri="{FF2B5EF4-FFF2-40B4-BE49-F238E27FC236}">
                        <a16:creationId xmlns:a16="http://schemas.microsoft.com/office/drawing/2014/main" id="{04E6D737-F755-ADED-F060-4DE62DE3917B}"/>
                      </a:ext>
                    </a:extLst>
                  </p:cNvPr>
                  <p:cNvSpPr/>
                  <p:nvPr/>
                </p:nvSpPr>
                <p:spPr>
                  <a:xfrm>
                    <a:off x="2143233" y="2862833"/>
                    <a:ext cx="819357" cy="1885252"/>
                  </a:xfrm>
                  <a:custGeom>
                    <a:avLst/>
                    <a:gdLst>
                      <a:gd name="connsiteX0" fmla="*/ 37165 w 819357"/>
                      <a:gd name="connsiteY0" fmla="*/ 78581 h 1885252"/>
                      <a:gd name="connsiteX1" fmla="*/ 704010 w 819357"/>
                      <a:gd name="connsiteY1" fmla="*/ 0 h 1885252"/>
                      <a:gd name="connsiteX2" fmla="*/ 802594 w 819357"/>
                      <a:gd name="connsiteY2" fmla="*/ 936117 h 1885252"/>
                      <a:gd name="connsiteX3" fmla="*/ 811167 w 819357"/>
                      <a:gd name="connsiteY3" fmla="*/ 1804130 h 1885252"/>
                      <a:gd name="connsiteX4" fmla="*/ 296436 w 819357"/>
                      <a:gd name="connsiteY4" fmla="*/ 1843659 h 1885252"/>
                      <a:gd name="connsiteX5" fmla="*/ 37070 w 819357"/>
                      <a:gd name="connsiteY5" fmla="*/ 78677 h 1885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9357" h="1885252">
                        <a:moveTo>
                          <a:pt x="37165" y="78581"/>
                        </a:moveTo>
                        <a:cubicBezTo>
                          <a:pt x="46595" y="79820"/>
                          <a:pt x="704010" y="0"/>
                          <a:pt x="704010" y="0"/>
                        </a:cubicBezTo>
                        <a:cubicBezTo>
                          <a:pt x="704010" y="0"/>
                          <a:pt x="794307" y="770858"/>
                          <a:pt x="802594" y="936117"/>
                        </a:cubicBezTo>
                        <a:cubicBezTo>
                          <a:pt x="834408" y="1569434"/>
                          <a:pt x="811167" y="1804130"/>
                          <a:pt x="811167" y="1804130"/>
                        </a:cubicBezTo>
                        <a:cubicBezTo>
                          <a:pt x="664291" y="1911477"/>
                          <a:pt x="461599" y="1898809"/>
                          <a:pt x="296436" y="1843659"/>
                        </a:cubicBezTo>
                        <a:cubicBezTo>
                          <a:pt x="183850" y="1122045"/>
                          <a:pt x="-101233" y="808292"/>
                          <a:pt x="37070" y="78677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3" name="Freihandform: Form 262">
                    <a:extLst>
                      <a:ext uri="{FF2B5EF4-FFF2-40B4-BE49-F238E27FC236}">
                        <a16:creationId xmlns:a16="http://schemas.microsoft.com/office/drawing/2014/main" id="{782DA1B6-7ED7-3909-0ACF-1771ED776950}"/>
                      </a:ext>
                    </a:extLst>
                  </p:cNvPr>
                  <p:cNvSpPr/>
                  <p:nvPr/>
                </p:nvSpPr>
                <p:spPr>
                  <a:xfrm>
                    <a:off x="2334164" y="4557019"/>
                    <a:ext cx="619855" cy="1372578"/>
                  </a:xfrm>
                  <a:custGeom>
                    <a:avLst/>
                    <a:gdLst>
                      <a:gd name="connsiteX0" fmla="*/ 104648 w 619855"/>
                      <a:gd name="connsiteY0" fmla="*/ 57557 h 1372578"/>
                      <a:gd name="connsiteX1" fmla="*/ 19494 w 619855"/>
                      <a:gd name="connsiteY1" fmla="*/ 1049776 h 1372578"/>
                      <a:gd name="connsiteX2" fmla="*/ 52165 w 619855"/>
                      <a:gd name="connsiteY2" fmla="*/ 1372197 h 1372578"/>
                      <a:gd name="connsiteX3" fmla="*/ 356013 w 619855"/>
                      <a:gd name="connsiteY3" fmla="*/ 1339050 h 1372578"/>
                      <a:gd name="connsiteX4" fmla="*/ 569182 w 619855"/>
                      <a:gd name="connsiteY4" fmla="*/ 1316572 h 1372578"/>
                      <a:gd name="connsiteX5" fmla="*/ 557466 w 619855"/>
                      <a:gd name="connsiteY5" fmla="*/ 861848 h 1372578"/>
                      <a:gd name="connsiteX6" fmla="*/ 619855 w 619855"/>
                      <a:gd name="connsiteY6" fmla="*/ 115945 h 1372578"/>
                      <a:gd name="connsiteX7" fmla="*/ 104553 w 619855"/>
                      <a:gd name="connsiteY7" fmla="*/ 57461 h 13725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19855" h="1372578">
                        <a:moveTo>
                          <a:pt x="104648" y="57557"/>
                        </a:moveTo>
                        <a:cubicBezTo>
                          <a:pt x="14065" y="416935"/>
                          <a:pt x="36830" y="870706"/>
                          <a:pt x="19494" y="1049776"/>
                        </a:cubicBezTo>
                        <a:cubicBezTo>
                          <a:pt x="8922" y="1159123"/>
                          <a:pt x="-32607" y="1383056"/>
                          <a:pt x="52165" y="1372197"/>
                        </a:cubicBezTo>
                        <a:cubicBezTo>
                          <a:pt x="115983" y="1358672"/>
                          <a:pt x="228187" y="1349718"/>
                          <a:pt x="356013" y="1339050"/>
                        </a:cubicBezTo>
                        <a:cubicBezTo>
                          <a:pt x="483838" y="1328287"/>
                          <a:pt x="569182" y="1316572"/>
                          <a:pt x="569182" y="1316572"/>
                        </a:cubicBezTo>
                        <a:cubicBezTo>
                          <a:pt x="569182" y="1316572"/>
                          <a:pt x="555752" y="917855"/>
                          <a:pt x="557466" y="861848"/>
                        </a:cubicBezTo>
                        <a:cubicBezTo>
                          <a:pt x="559181" y="805841"/>
                          <a:pt x="619855" y="115945"/>
                          <a:pt x="619855" y="115945"/>
                        </a:cubicBezTo>
                        <a:cubicBezTo>
                          <a:pt x="465550" y="5169"/>
                          <a:pt x="266668" y="-48933"/>
                          <a:pt x="104553" y="57461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4" name="Freihandform: Form 263">
                    <a:extLst>
                      <a:ext uri="{FF2B5EF4-FFF2-40B4-BE49-F238E27FC236}">
                        <a16:creationId xmlns:a16="http://schemas.microsoft.com/office/drawing/2014/main" id="{C0548BFA-03A8-616F-D0E9-436261FB0DB1}"/>
                      </a:ext>
                    </a:extLst>
                  </p:cNvPr>
                  <p:cNvSpPr/>
                  <p:nvPr/>
                </p:nvSpPr>
                <p:spPr>
                  <a:xfrm>
                    <a:off x="2435192" y="4398359"/>
                    <a:ext cx="519303" cy="519302"/>
                  </a:xfrm>
                  <a:custGeom>
                    <a:avLst/>
                    <a:gdLst>
                      <a:gd name="connsiteX0" fmla="*/ 519303 w 519303"/>
                      <a:gd name="connsiteY0" fmla="*/ 259651 h 519302"/>
                      <a:gd name="connsiteX1" fmla="*/ 259651 w 519303"/>
                      <a:gd name="connsiteY1" fmla="*/ 519303 h 519302"/>
                      <a:gd name="connsiteX2" fmla="*/ 0 w 519303"/>
                      <a:gd name="connsiteY2" fmla="*/ 259651 h 519302"/>
                      <a:gd name="connsiteX3" fmla="*/ 259651 w 519303"/>
                      <a:gd name="connsiteY3" fmla="*/ 0 h 519302"/>
                      <a:gd name="connsiteX4" fmla="*/ 519303 w 519303"/>
                      <a:gd name="connsiteY4" fmla="*/ 259651 h 519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9303" h="519302">
                        <a:moveTo>
                          <a:pt x="519303" y="259651"/>
                        </a:moveTo>
                        <a:cubicBezTo>
                          <a:pt x="519303" y="403053"/>
                          <a:pt x="403053" y="519303"/>
                          <a:pt x="259651" y="519303"/>
                        </a:cubicBezTo>
                        <a:cubicBezTo>
                          <a:pt x="116250" y="519303"/>
                          <a:pt x="0" y="403053"/>
                          <a:pt x="0" y="259651"/>
                        </a:cubicBezTo>
                        <a:cubicBezTo>
                          <a:pt x="0" y="116250"/>
                          <a:pt x="116250" y="0"/>
                          <a:pt x="259651" y="0"/>
                        </a:cubicBezTo>
                        <a:cubicBezTo>
                          <a:pt x="403053" y="0"/>
                          <a:pt x="519303" y="116250"/>
                          <a:pt x="519303" y="259651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5" name="Freihandform: Form 264">
                    <a:extLst>
                      <a:ext uri="{FF2B5EF4-FFF2-40B4-BE49-F238E27FC236}">
                        <a16:creationId xmlns:a16="http://schemas.microsoft.com/office/drawing/2014/main" id="{18AAA699-06B5-66F8-B231-A687872C2DDB}"/>
                      </a:ext>
                    </a:extLst>
                  </p:cNvPr>
                  <p:cNvSpPr/>
                  <p:nvPr/>
                </p:nvSpPr>
                <p:spPr>
                  <a:xfrm>
                    <a:off x="2162261" y="2915792"/>
                    <a:ext cx="808712" cy="1916312"/>
                  </a:xfrm>
                  <a:custGeom>
                    <a:avLst/>
                    <a:gdLst>
                      <a:gd name="connsiteX0" fmla="*/ 138915 w 808712"/>
                      <a:gd name="connsiteY0" fmla="*/ 0 h 1916312"/>
                      <a:gd name="connsiteX1" fmla="*/ 808713 w 808712"/>
                      <a:gd name="connsiteY1" fmla="*/ 48196 h 1916312"/>
                      <a:gd name="connsiteX2" fmla="*/ 729465 w 808712"/>
                      <a:gd name="connsiteY2" fmla="*/ 986219 h 1916312"/>
                      <a:gd name="connsiteX3" fmla="*/ 567635 w 808712"/>
                      <a:gd name="connsiteY3" fmla="*/ 1871186 h 1916312"/>
                      <a:gd name="connsiteX4" fmla="*/ 58905 w 808712"/>
                      <a:gd name="connsiteY4" fmla="*/ 1834325 h 1916312"/>
                      <a:gd name="connsiteX5" fmla="*/ 138915 w 808712"/>
                      <a:gd name="connsiteY5" fmla="*/ 0 h 19163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08712" h="1916312">
                        <a:moveTo>
                          <a:pt x="138915" y="0"/>
                        </a:moveTo>
                        <a:cubicBezTo>
                          <a:pt x="147963" y="3048"/>
                          <a:pt x="808713" y="48196"/>
                          <a:pt x="808713" y="48196"/>
                        </a:cubicBezTo>
                        <a:cubicBezTo>
                          <a:pt x="808713" y="48196"/>
                          <a:pt x="752420" y="822293"/>
                          <a:pt x="729465" y="986219"/>
                        </a:cubicBezTo>
                        <a:cubicBezTo>
                          <a:pt x="641644" y="1614202"/>
                          <a:pt x="567635" y="1871186"/>
                          <a:pt x="567635" y="1871186"/>
                        </a:cubicBezTo>
                        <a:cubicBezTo>
                          <a:pt x="403138" y="1948910"/>
                          <a:pt x="210733" y="1919478"/>
                          <a:pt x="58905" y="1834325"/>
                        </a:cubicBezTo>
                        <a:cubicBezTo>
                          <a:pt x="84051" y="1104329"/>
                          <a:pt x="-134167" y="690658"/>
                          <a:pt x="138915" y="0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6" name="Freihandform: Form 265">
                    <a:extLst>
                      <a:ext uri="{FF2B5EF4-FFF2-40B4-BE49-F238E27FC236}">
                        <a16:creationId xmlns:a16="http://schemas.microsoft.com/office/drawing/2014/main" id="{E0C4D85F-380A-460E-2800-1BBD1AFDCA19}"/>
                      </a:ext>
                    </a:extLst>
                  </p:cNvPr>
                  <p:cNvSpPr/>
                  <p:nvPr/>
                </p:nvSpPr>
                <p:spPr>
                  <a:xfrm>
                    <a:off x="2163652" y="4675131"/>
                    <a:ext cx="566148" cy="1315331"/>
                  </a:xfrm>
                  <a:custGeom>
                    <a:avLst/>
                    <a:gdLst>
                      <a:gd name="connsiteX0" fmla="*/ 65134 w 566148"/>
                      <a:gd name="connsiteY0" fmla="*/ 1315332 h 1315331"/>
                      <a:gd name="connsiteX1" fmla="*/ 555385 w 566148"/>
                      <a:gd name="connsiteY1" fmla="*/ 1261801 h 1315331"/>
                      <a:gd name="connsiteX2" fmla="*/ 566149 w 566148"/>
                      <a:gd name="connsiteY2" fmla="*/ 104800 h 1315331"/>
                      <a:gd name="connsiteX3" fmla="*/ 59133 w 566148"/>
                      <a:gd name="connsiteY3" fmla="*/ 64414 h 1315331"/>
                      <a:gd name="connsiteX4" fmla="*/ 1602 w 566148"/>
                      <a:gd name="connsiteY4" fmla="*/ 1061014 h 1315331"/>
                      <a:gd name="connsiteX5" fmla="*/ 65134 w 566148"/>
                      <a:gd name="connsiteY5" fmla="*/ 1315236 h 13153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66148" h="1315331">
                        <a:moveTo>
                          <a:pt x="65134" y="1315332"/>
                        </a:moveTo>
                        <a:lnTo>
                          <a:pt x="555385" y="1261801"/>
                        </a:lnTo>
                        <a:cubicBezTo>
                          <a:pt x="554623" y="1243228"/>
                          <a:pt x="566149" y="104800"/>
                          <a:pt x="566149" y="104800"/>
                        </a:cubicBezTo>
                        <a:cubicBezTo>
                          <a:pt x="408605" y="-1309"/>
                          <a:pt x="217915" y="-46838"/>
                          <a:pt x="59133" y="64414"/>
                        </a:cubicBezTo>
                        <a:cubicBezTo>
                          <a:pt x="-20496" y="426364"/>
                          <a:pt x="13603" y="881468"/>
                          <a:pt x="1602" y="1061014"/>
                        </a:cubicBezTo>
                        <a:cubicBezTo>
                          <a:pt x="-5447" y="1167599"/>
                          <a:pt x="9889" y="1270374"/>
                          <a:pt x="65134" y="131523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7" name="Freihandform: Form 266">
                    <a:extLst>
                      <a:ext uri="{FF2B5EF4-FFF2-40B4-BE49-F238E27FC236}">
                        <a16:creationId xmlns:a16="http://schemas.microsoft.com/office/drawing/2014/main" id="{408F8DAD-9560-3A1F-6596-0AFAE6A24781}"/>
                      </a:ext>
                    </a:extLst>
                  </p:cNvPr>
                  <p:cNvSpPr/>
                  <p:nvPr/>
                </p:nvSpPr>
                <p:spPr>
                  <a:xfrm>
                    <a:off x="1967227" y="1412557"/>
                    <a:ext cx="1160432" cy="2831687"/>
                  </a:xfrm>
                  <a:custGeom>
                    <a:avLst/>
                    <a:gdLst>
                      <a:gd name="connsiteX0" fmla="*/ 66391 w 1160432"/>
                      <a:gd name="connsiteY0" fmla="*/ 2215706 h 2831687"/>
                      <a:gd name="connsiteX1" fmla="*/ 44102 w 1160432"/>
                      <a:gd name="connsiteY1" fmla="*/ 2831687 h 2831687"/>
                      <a:gd name="connsiteX2" fmla="*/ 1160432 w 1160432"/>
                      <a:gd name="connsiteY2" fmla="*/ 2831687 h 2831687"/>
                      <a:gd name="connsiteX3" fmla="*/ 1117189 w 1160432"/>
                      <a:gd name="connsiteY3" fmla="*/ 1805940 h 2831687"/>
                      <a:gd name="connsiteX4" fmla="*/ 988316 w 1160432"/>
                      <a:gd name="connsiteY4" fmla="*/ 539782 h 2831687"/>
                      <a:gd name="connsiteX5" fmla="*/ 717520 w 1160432"/>
                      <a:gd name="connsiteY5" fmla="*/ 135826 h 2831687"/>
                      <a:gd name="connsiteX6" fmla="*/ 256700 w 1160432"/>
                      <a:gd name="connsiteY6" fmla="*/ 0 h 2831687"/>
                      <a:gd name="connsiteX7" fmla="*/ 2 w 1160432"/>
                      <a:gd name="connsiteY7" fmla="*/ 399288 h 2831687"/>
                      <a:gd name="connsiteX8" fmla="*/ 99062 w 1160432"/>
                      <a:gd name="connsiteY8" fmla="*/ 1187863 h 2831687"/>
                      <a:gd name="connsiteX9" fmla="*/ 66296 w 1160432"/>
                      <a:gd name="connsiteY9" fmla="*/ 2215706 h 28316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160432" h="2831687">
                        <a:moveTo>
                          <a:pt x="66391" y="2215706"/>
                        </a:moveTo>
                        <a:cubicBezTo>
                          <a:pt x="54675" y="2418779"/>
                          <a:pt x="47055" y="2707386"/>
                          <a:pt x="44102" y="2831687"/>
                        </a:cubicBezTo>
                        <a:lnTo>
                          <a:pt x="1160432" y="2831687"/>
                        </a:lnTo>
                        <a:cubicBezTo>
                          <a:pt x="1152908" y="2688717"/>
                          <a:pt x="1132810" y="2286953"/>
                          <a:pt x="1117189" y="1805940"/>
                        </a:cubicBezTo>
                        <a:cubicBezTo>
                          <a:pt x="1097663" y="1202817"/>
                          <a:pt x="1001174" y="634460"/>
                          <a:pt x="988316" y="539782"/>
                        </a:cubicBezTo>
                        <a:cubicBezTo>
                          <a:pt x="970218" y="405860"/>
                          <a:pt x="717520" y="135826"/>
                          <a:pt x="717520" y="135826"/>
                        </a:cubicBezTo>
                        <a:lnTo>
                          <a:pt x="256700" y="0"/>
                        </a:lnTo>
                        <a:cubicBezTo>
                          <a:pt x="256700" y="0"/>
                          <a:pt x="-760" y="184499"/>
                          <a:pt x="2" y="399288"/>
                        </a:cubicBezTo>
                        <a:cubicBezTo>
                          <a:pt x="668" y="575119"/>
                          <a:pt x="99062" y="1187863"/>
                          <a:pt x="99062" y="1187863"/>
                        </a:cubicBezTo>
                        <a:cubicBezTo>
                          <a:pt x="99062" y="1187863"/>
                          <a:pt x="81631" y="1950244"/>
                          <a:pt x="66296" y="221570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8" name="Freihandform: Form 267">
                    <a:extLst>
                      <a:ext uri="{FF2B5EF4-FFF2-40B4-BE49-F238E27FC236}">
                        <a16:creationId xmlns:a16="http://schemas.microsoft.com/office/drawing/2014/main" id="{E3E2201C-3B47-4BC6-7553-2D806EE9F9D3}"/>
                      </a:ext>
                    </a:extLst>
                  </p:cNvPr>
                  <p:cNvSpPr/>
                  <p:nvPr/>
                </p:nvSpPr>
                <p:spPr>
                  <a:xfrm>
                    <a:off x="2203544" y="3205162"/>
                    <a:ext cx="634746" cy="581406"/>
                  </a:xfrm>
                  <a:custGeom>
                    <a:avLst/>
                    <a:gdLst>
                      <a:gd name="connsiteX0" fmla="*/ 634651 w 634746"/>
                      <a:gd name="connsiteY0" fmla="*/ 508730 h 581406"/>
                      <a:gd name="connsiteX1" fmla="*/ 0 w 634746"/>
                      <a:gd name="connsiteY1" fmla="*/ 550545 h 581406"/>
                      <a:gd name="connsiteX2" fmla="*/ 48292 w 634746"/>
                      <a:gd name="connsiteY2" fmla="*/ 0 h 581406"/>
                      <a:gd name="connsiteX3" fmla="*/ 456533 w 634746"/>
                      <a:gd name="connsiteY3" fmla="*/ 3143 h 581406"/>
                      <a:gd name="connsiteX4" fmla="*/ 634746 w 634746"/>
                      <a:gd name="connsiteY4" fmla="*/ 508730 h 5814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34746" h="581406">
                        <a:moveTo>
                          <a:pt x="634651" y="508730"/>
                        </a:moveTo>
                        <a:cubicBezTo>
                          <a:pt x="600742" y="589407"/>
                          <a:pt x="143828" y="602266"/>
                          <a:pt x="0" y="550545"/>
                        </a:cubicBezTo>
                        <a:lnTo>
                          <a:pt x="48292" y="0"/>
                        </a:lnTo>
                        <a:lnTo>
                          <a:pt x="456533" y="3143"/>
                        </a:lnTo>
                        <a:lnTo>
                          <a:pt x="634746" y="50873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9" name="Freihandform: Form 268">
                    <a:extLst>
                      <a:ext uri="{FF2B5EF4-FFF2-40B4-BE49-F238E27FC236}">
                        <a16:creationId xmlns:a16="http://schemas.microsoft.com/office/drawing/2014/main" id="{A3241696-2E1A-1194-F391-CF2118EE5430}"/>
                      </a:ext>
                    </a:extLst>
                  </p:cNvPr>
                  <p:cNvSpPr/>
                  <p:nvPr/>
                </p:nvSpPr>
                <p:spPr>
                  <a:xfrm>
                    <a:off x="2265362" y="3205162"/>
                    <a:ext cx="572833" cy="543657"/>
                  </a:xfrm>
                  <a:custGeom>
                    <a:avLst/>
                    <a:gdLst>
                      <a:gd name="connsiteX0" fmla="*/ 513302 w 572833"/>
                      <a:gd name="connsiteY0" fmla="*/ 0 h 543657"/>
                      <a:gd name="connsiteX1" fmla="*/ 572834 w 572833"/>
                      <a:gd name="connsiteY1" fmla="*/ 508730 h 543657"/>
                      <a:gd name="connsiteX2" fmla="*/ 0 w 572833"/>
                      <a:gd name="connsiteY2" fmla="*/ 518255 h 543657"/>
                      <a:gd name="connsiteX3" fmla="*/ 0 w 572833"/>
                      <a:gd name="connsiteY3" fmla="*/ 0 h 543657"/>
                      <a:gd name="connsiteX4" fmla="*/ 513302 w 572833"/>
                      <a:gd name="connsiteY4" fmla="*/ 0 h 5436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72833" h="543657">
                        <a:moveTo>
                          <a:pt x="513302" y="0"/>
                        </a:moveTo>
                        <a:cubicBezTo>
                          <a:pt x="513302" y="38005"/>
                          <a:pt x="572834" y="508730"/>
                          <a:pt x="572834" y="508730"/>
                        </a:cubicBezTo>
                        <a:cubicBezTo>
                          <a:pt x="397097" y="555022"/>
                          <a:pt x="204025" y="552260"/>
                          <a:pt x="0" y="518255"/>
                        </a:cubicBezTo>
                        <a:lnTo>
                          <a:pt x="0" y="0"/>
                        </a:lnTo>
                        <a:cubicBezTo>
                          <a:pt x="0" y="0"/>
                          <a:pt x="513302" y="0"/>
                          <a:pt x="513302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0" name="Freihandform: Form 269">
                    <a:extLst>
                      <a:ext uri="{FF2B5EF4-FFF2-40B4-BE49-F238E27FC236}">
                        <a16:creationId xmlns:a16="http://schemas.microsoft.com/office/drawing/2014/main" id="{C1624107-5BB4-1C8E-B299-E68F4B804CED}"/>
                      </a:ext>
                    </a:extLst>
                  </p:cNvPr>
                  <p:cNvSpPr/>
                  <p:nvPr/>
                </p:nvSpPr>
                <p:spPr>
                  <a:xfrm>
                    <a:off x="2049737" y="1674208"/>
                    <a:ext cx="709549" cy="1346632"/>
                  </a:xfrm>
                  <a:custGeom>
                    <a:avLst/>
                    <a:gdLst>
                      <a:gd name="connsiteX0" fmla="*/ 110944 w 709549"/>
                      <a:gd name="connsiteY0" fmla="*/ 1154241 h 1346632"/>
                      <a:gd name="connsiteX1" fmla="*/ 556048 w 709549"/>
                      <a:gd name="connsiteY1" fmla="*/ 1339883 h 1346632"/>
                      <a:gd name="connsiteX2" fmla="*/ 707686 w 709549"/>
                      <a:gd name="connsiteY2" fmla="*/ 1232727 h 1346632"/>
                      <a:gd name="connsiteX3" fmla="*/ 430413 w 709549"/>
                      <a:gd name="connsiteY3" fmla="*/ 837249 h 1346632"/>
                      <a:gd name="connsiteX4" fmla="*/ 319732 w 709549"/>
                      <a:gd name="connsiteY4" fmla="*/ 283560 h 1346632"/>
                      <a:gd name="connsiteX5" fmla="*/ 153426 w 709549"/>
                      <a:gd name="connsiteY5" fmla="*/ 3144 h 1346632"/>
                      <a:gd name="connsiteX6" fmla="*/ 110944 w 709549"/>
                      <a:gd name="connsiteY6" fmla="*/ 1154241 h 13466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09549" h="1346632">
                        <a:moveTo>
                          <a:pt x="110944" y="1154241"/>
                        </a:moveTo>
                        <a:cubicBezTo>
                          <a:pt x="110944" y="1154241"/>
                          <a:pt x="179143" y="1226154"/>
                          <a:pt x="556048" y="1339883"/>
                        </a:cubicBezTo>
                        <a:cubicBezTo>
                          <a:pt x="668633" y="1373887"/>
                          <a:pt x="702447" y="1270255"/>
                          <a:pt x="707686" y="1232727"/>
                        </a:cubicBezTo>
                        <a:cubicBezTo>
                          <a:pt x="724831" y="1108521"/>
                          <a:pt x="623008" y="983934"/>
                          <a:pt x="430413" y="837249"/>
                        </a:cubicBezTo>
                        <a:cubicBezTo>
                          <a:pt x="278870" y="721806"/>
                          <a:pt x="311541" y="523781"/>
                          <a:pt x="319732" y="283560"/>
                        </a:cubicBezTo>
                        <a:cubicBezTo>
                          <a:pt x="327924" y="43340"/>
                          <a:pt x="153426" y="3144"/>
                          <a:pt x="153426" y="3144"/>
                        </a:cubicBezTo>
                        <a:cubicBezTo>
                          <a:pt x="-28025" y="-65531"/>
                          <a:pt x="-56505" y="1012032"/>
                          <a:pt x="110944" y="1154241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1" name="Freihandform: Form 270">
                    <a:extLst>
                      <a:ext uri="{FF2B5EF4-FFF2-40B4-BE49-F238E27FC236}">
                        <a16:creationId xmlns:a16="http://schemas.microsoft.com/office/drawing/2014/main" id="{87AE6449-0601-791A-A571-B10FA4B12EFA}"/>
                      </a:ext>
                    </a:extLst>
                  </p:cNvPr>
                  <p:cNvSpPr/>
                  <p:nvPr/>
                </p:nvSpPr>
                <p:spPr>
                  <a:xfrm>
                    <a:off x="2542063" y="2036635"/>
                    <a:ext cx="268223" cy="262472"/>
                  </a:xfrm>
                  <a:custGeom>
                    <a:avLst/>
                    <a:gdLst>
                      <a:gd name="connsiteX0" fmla="*/ 268224 w 268223"/>
                      <a:gd name="connsiteY0" fmla="*/ 230600 h 262472"/>
                      <a:gd name="connsiteX1" fmla="*/ 0 w 268223"/>
                      <a:gd name="connsiteY1" fmla="*/ 253079 h 262472"/>
                      <a:gd name="connsiteX2" fmla="*/ 33909 w 268223"/>
                      <a:gd name="connsiteY2" fmla="*/ 0 h 262472"/>
                      <a:gd name="connsiteX3" fmla="*/ 215646 w 268223"/>
                      <a:gd name="connsiteY3" fmla="*/ 7525 h 262472"/>
                      <a:gd name="connsiteX4" fmla="*/ 268224 w 268223"/>
                      <a:gd name="connsiteY4" fmla="*/ 230600 h 2624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8223" h="262472">
                        <a:moveTo>
                          <a:pt x="268224" y="230600"/>
                        </a:moveTo>
                        <a:cubicBezTo>
                          <a:pt x="244888" y="246697"/>
                          <a:pt x="63246" y="278225"/>
                          <a:pt x="0" y="253079"/>
                        </a:cubicBezTo>
                        <a:lnTo>
                          <a:pt x="33909" y="0"/>
                        </a:lnTo>
                        <a:lnTo>
                          <a:pt x="215646" y="7525"/>
                        </a:lnTo>
                        <a:lnTo>
                          <a:pt x="268224" y="23060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2" name="Freihandform: Form 271">
                    <a:extLst>
                      <a:ext uri="{FF2B5EF4-FFF2-40B4-BE49-F238E27FC236}">
                        <a16:creationId xmlns:a16="http://schemas.microsoft.com/office/drawing/2014/main" id="{8DD76C84-BA69-842F-69DC-00470CC130B4}"/>
                      </a:ext>
                    </a:extLst>
                  </p:cNvPr>
                  <p:cNvSpPr/>
                  <p:nvPr/>
                </p:nvSpPr>
                <p:spPr>
                  <a:xfrm>
                    <a:off x="2577496" y="2040159"/>
                    <a:ext cx="232791" cy="230885"/>
                  </a:xfrm>
                  <a:custGeom>
                    <a:avLst/>
                    <a:gdLst>
                      <a:gd name="connsiteX0" fmla="*/ 228695 w 232791"/>
                      <a:gd name="connsiteY0" fmla="*/ 0 h 230885"/>
                      <a:gd name="connsiteX1" fmla="*/ 232791 w 232791"/>
                      <a:gd name="connsiteY1" fmla="*/ 227076 h 230885"/>
                      <a:gd name="connsiteX2" fmla="*/ 0 w 232791"/>
                      <a:gd name="connsiteY2" fmla="*/ 230886 h 230885"/>
                      <a:gd name="connsiteX3" fmla="*/ 0 w 232791"/>
                      <a:gd name="connsiteY3" fmla="*/ 0 h 230885"/>
                      <a:gd name="connsiteX4" fmla="*/ 228695 w 232791"/>
                      <a:gd name="connsiteY4" fmla="*/ 0 h 2308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2791" h="230885">
                        <a:moveTo>
                          <a:pt x="228695" y="0"/>
                        </a:moveTo>
                        <a:lnTo>
                          <a:pt x="232791" y="227076"/>
                        </a:lnTo>
                        <a:lnTo>
                          <a:pt x="0" y="230886"/>
                        </a:lnTo>
                        <a:lnTo>
                          <a:pt x="0" y="0"/>
                        </a:lnTo>
                        <a:lnTo>
                          <a:pt x="228695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3" name="Freihandform: Form 272">
                    <a:extLst>
                      <a:ext uri="{FF2B5EF4-FFF2-40B4-BE49-F238E27FC236}">
                        <a16:creationId xmlns:a16="http://schemas.microsoft.com/office/drawing/2014/main" id="{6A655F8E-669E-E2A8-8C2E-476B779A5A66}"/>
                      </a:ext>
                    </a:extLst>
                  </p:cNvPr>
                  <p:cNvSpPr/>
                  <p:nvPr/>
                </p:nvSpPr>
                <p:spPr>
                  <a:xfrm>
                    <a:off x="2207830" y="1280636"/>
                    <a:ext cx="532914" cy="439864"/>
                  </a:xfrm>
                  <a:custGeom>
                    <a:avLst/>
                    <a:gdLst>
                      <a:gd name="connsiteX0" fmla="*/ 0 w 532914"/>
                      <a:gd name="connsiteY0" fmla="*/ 164973 h 439864"/>
                      <a:gd name="connsiteX1" fmla="*/ 40481 w 532914"/>
                      <a:gd name="connsiteY1" fmla="*/ 0 h 439864"/>
                      <a:gd name="connsiteX2" fmla="*/ 528733 w 532914"/>
                      <a:gd name="connsiteY2" fmla="*/ 274415 h 439864"/>
                      <a:gd name="connsiteX3" fmla="*/ 513017 w 532914"/>
                      <a:gd name="connsiteY3" fmla="*/ 439864 h 439864"/>
                      <a:gd name="connsiteX4" fmla="*/ 0 w 532914"/>
                      <a:gd name="connsiteY4" fmla="*/ 165068 h 4398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32914" h="439864">
                        <a:moveTo>
                          <a:pt x="0" y="164973"/>
                        </a:moveTo>
                        <a:lnTo>
                          <a:pt x="40481" y="0"/>
                        </a:lnTo>
                        <a:cubicBezTo>
                          <a:pt x="40481" y="0"/>
                          <a:pt x="461772" y="175260"/>
                          <a:pt x="528733" y="274415"/>
                        </a:cubicBezTo>
                        <a:cubicBezTo>
                          <a:pt x="543878" y="296799"/>
                          <a:pt x="513017" y="439864"/>
                          <a:pt x="513017" y="439864"/>
                        </a:cubicBezTo>
                        <a:lnTo>
                          <a:pt x="0" y="16506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4" name="Freihandform: Form 273">
                    <a:extLst>
                      <a:ext uri="{FF2B5EF4-FFF2-40B4-BE49-F238E27FC236}">
                        <a16:creationId xmlns:a16="http://schemas.microsoft.com/office/drawing/2014/main" id="{29716C2D-77CD-CAD2-6F0C-BD60953776E9}"/>
                      </a:ext>
                    </a:extLst>
                  </p:cNvPr>
                  <p:cNvSpPr/>
                  <p:nvPr/>
                </p:nvSpPr>
                <p:spPr>
                  <a:xfrm>
                    <a:off x="2218784" y="4529518"/>
                    <a:ext cx="511111" cy="511111"/>
                  </a:xfrm>
                  <a:custGeom>
                    <a:avLst/>
                    <a:gdLst>
                      <a:gd name="connsiteX0" fmla="*/ 511111 w 511111"/>
                      <a:gd name="connsiteY0" fmla="*/ 255556 h 511111"/>
                      <a:gd name="connsiteX1" fmla="*/ 255556 w 511111"/>
                      <a:gd name="connsiteY1" fmla="*/ 511111 h 511111"/>
                      <a:gd name="connsiteX2" fmla="*/ 0 w 511111"/>
                      <a:gd name="connsiteY2" fmla="*/ 255556 h 511111"/>
                      <a:gd name="connsiteX3" fmla="*/ 255556 w 511111"/>
                      <a:gd name="connsiteY3" fmla="*/ 0 h 511111"/>
                      <a:gd name="connsiteX4" fmla="*/ 511111 w 511111"/>
                      <a:gd name="connsiteY4" fmla="*/ 255556 h 5111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1111" h="511111">
                        <a:moveTo>
                          <a:pt x="511111" y="255556"/>
                        </a:moveTo>
                        <a:cubicBezTo>
                          <a:pt x="511111" y="396695"/>
                          <a:pt x="396695" y="511111"/>
                          <a:pt x="255556" y="511111"/>
                        </a:cubicBezTo>
                        <a:cubicBezTo>
                          <a:pt x="114416" y="511111"/>
                          <a:pt x="0" y="396695"/>
                          <a:pt x="0" y="255556"/>
                        </a:cubicBezTo>
                        <a:cubicBezTo>
                          <a:pt x="0" y="114416"/>
                          <a:pt x="114416" y="0"/>
                          <a:pt x="255556" y="0"/>
                        </a:cubicBezTo>
                        <a:cubicBezTo>
                          <a:pt x="396695" y="0"/>
                          <a:pt x="511111" y="114416"/>
                          <a:pt x="511111" y="25555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75" name="Grafik 23">
                  <a:extLst>
                    <a:ext uri="{FF2B5EF4-FFF2-40B4-BE49-F238E27FC236}">
                      <a16:creationId xmlns:a16="http://schemas.microsoft.com/office/drawing/2014/main" id="{9EAD3F0E-A6BF-2EE3-5490-83607AB77C64}"/>
                    </a:ext>
                  </a:extLst>
                </p:cNvPr>
                <p:cNvGrpSpPr/>
                <p:nvPr/>
              </p:nvGrpSpPr>
              <p:grpSpPr>
                <a:xfrm>
                  <a:off x="2645951" y="2614089"/>
                  <a:ext cx="835086" cy="566403"/>
                  <a:chOff x="2645951" y="2614089"/>
                  <a:chExt cx="835086" cy="566403"/>
                </a:xfrm>
              </p:grpSpPr>
              <p:grpSp>
                <p:nvGrpSpPr>
                  <p:cNvPr id="276" name="Grafik 23">
                    <a:extLst>
                      <a:ext uri="{FF2B5EF4-FFF2-40B4-BE49-F238E27FC236}">
                        <a16:creationId xmlns:a16="http://schemas.microsoft.com/office/drawing/2014/main" id="{040EF8D3-7DA9-FF26-A05C-AF3D368B5385}"/>
                      </a:ext>
                    </a:extLst>
                  </p:cNvPr>
                  <p:cNvGrpSpPr/>
                  <p:nvPr/>
                </p:nvGrpSpPr>
                <p:grpSpPr>
                  <a:xfrm>
                    <a:off x="2748660" y="2614089"/>
                    <a:ext cx="732377" cy="566403"/>
                    <a:chOff x="2748660" y="2614089"/>
                    <a:chExt cx="732377" cy="566403"/>
                  </a:xfrm>
                </p:grpSpPr>
                <p:sp>
                  <p:nvSpPr>
                    <p:cNvPr id="277" name="Freihandform: Form 276">
                      <a:extLst>
                        <a:ext uri="{FF2B5EF4-FFF2-40B4-BE49-F238E27FC236}">
                          <a16:creationId xmlns:a16="http://schemas.microsoft.com/office/drawing/2014/main" id="{A4C60239-D0C9-BF03-B2A3-7BB6C21AF1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22288" y="2658189"/>
                      <a:ext cx="411099" cy="129236"/>
                    </a:xfrm>
                    <a:custGeom>
                      <a:avLst/>
                      <a:gdLst>
                        <a:gd name="connsiteX0" fmla="*/ 95 w 411099"/>
                        <a:gd name="connsiteY0" fmla="*/ 59483 h 129236"/>
                        <a:gd name="connsiteX1" fmla="*/ 130111 w 411099"/>
                        <a:gd name="connsiteY1" fmla="*/ 714 h 129236"/>
                        <a:gd name="connsiteX2" fmla="*/ 235172 w 411099"/>
                        <a:gd name="connsiteY2" fmla="*/ 7858 h 129236"/>
                        <a:gd name="connsiteX3" fmla="*/ 411099 w 411099"/>
                        <a:gd name="connsiteY3" fmla="*/ 41481 h 129236"/>
                        <a:gd name="connsiteX4" fmla="*/ 393668 w 411099"/>
                        <a:gd name="connsiteY4" fmla="*/ 70723 h 129236"/>
                        <a:gd name="connsiteX5" fmla="*/ 184023 w 411099"/>
                        <a:gd name="connsiteY5" fmla="*/ 83010 h 129236"/>
                        <a:gd name="connsiteX6" fmla="*/ 92678 w 411099"/>
                        <a:gd name="connsiteY6" fmla="*/ 128921 h 129236"/>
                        <a:gd name="connsiteX7" fmla="*/ 0 w 411099"/>
                        <a:gd name="connsiteY7" fmla="*/ 59483 h 12923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11099" h="129236">
                          <a:moveTo>
                            <a:pt x="95" y="59483"/>
                          </a:moveTo>
                          <a:cubicBezTo>
                            <a:pt x="5429" y="57674"/>
                            <a:pt x="90964" y="4238"/>
                            <a:pt x="130111" y="714"/>
                          </a:cubicBezTo>
                          <a:cubicBezTo>
                            <a:pt x="169259" y="-2810"/>
                            <a:pt x="235172" y="7858"/>
                            <a:pt x="235172" y="7858"/>
                          </a:cubicBezTo>
                          <a:lnTo>
                            <a:pt x="411099" y="41481"/>
                          </a:lnTo>
                          <a:cubicBezTo>
                            <a:pt x="411099" y="41481"/>
                            <a:pt x="406717" y="58817"/>
                            <a:pt x="393668" y="70723"/>
                          </a:cubicBezTo>
                          <a:cubicBezTo>
                            <a:pt x="361759" y="99869"/>
                            <a:pt x="194691" y="68818"/>
                            <a:pt x="184023" y="83010"/>
                          </a:cubicBezTo>
                          <a:cubicBezTo>
                            <a:pt x="168021" y="104346"/>
                            <a:pt x="146113" y="132540"/>
                            <a:pt x="92678" y="128921"/>
                          </a:cubicBezTo>
                          <a:cubicBezTo>
                            <a:pt x="39243" y="125396"/>
                            <a:pt x="0" y="59483"/>
                            <a:pt x="0" y="59483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78" name="Freihandform: Form 277">
                      <a:extLst>
                        <a:ext uri="{FF2B5EF4-FFF2-40B4-BE49-F238E27FC236}">
                          <a16:creationId xmlns:a16="http://schemas.microsoft.com/office/drawing/2014/main" id="{8C755A21-0D28-B556-B191-C96A575F51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91726" y="2614089"/>
                      <a:ext cx="589311" cy="566403"/>
                    </a:xfrm>
                    <a:custGeom>
                      <a:avLst/>
                      <a:gdLst>
                        <a:gd name="connsiteX0" fmla="*/ 162687 w 589311"/>
                        <a:gd name="connsiteY0" fmla="*/ 25193 h 566403"/>
                        <a:gd name="connsiteX1" fmla="*/ 155924 w 589311"/>
                        <a:gd name="connsiteY1" fmla="*/ 115775 h 566403"/>
                        <a:gd name="connsiteX2" fmla="*/ 952 w 589311"/>
                        <a:gd name="connsiteY2" fmla="*/ 472677 h 566403"/>
                        <a:gd name="connsiteX3" fmla="*/ 0 w 589311"/>
                        <a:gd name="connsiteY3" fmla="*/ 475630 h 566403"/>
                        <a:gd name="connsiteX4" fmla="*/ 232505 w 589311"/>
                        <a:gd name="connsiteY4" fmla="*/ 566403 h 566403"/>
                        <a:gd name="connsiteX5" fmla="*/ 185452 w 589311"/>
                        <a:gd name="connsiteY5" fmla="*/ 423623 h 566403"/>
                        <a:gd name="connsiteX6" fmla="*/ 258223 w 589311"/>
                        <a:gd name="connsiteY6" fmla="*/ 198548 h 566403"/>
                        <a:gd name="connsiteX7" fmla="*/ 555117 w 589311"/>
                        <a:gd name="connsiteY7" fmla="*/ 206453 h 566403"/>
                        <a:gd name="connsiteX8" fmla="*/ 589312 w 589311"/>
                        <a:gd name="connsiteY8" fmla="*/ 35765 h 566403"/>
                        <a:gd name="connsiteX9" fmla="*/ 162687 w 589311"/>
                        <a:gd name="connsiteY9" fmla="*/ 25193 h 5664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589311" h="566403">
                          <a:moveTo>
                            <a:pt x="162687" y="25193"/>
                          </a:moveTo>
                          <a:cubicBezTo>
                            <a:pt x="119063" y="80247"/>
                            <a:pt x="155924" y="115775"/>
                            <a:pt x="155924" y="115775"/>
                          </a:cubicBezTo>
                          <a:lnTo>
                            <a:pt x="952" y="472677"/>
                          </a:lnTo>
                          <a:cubicBezTo>
                            <a:pt x="571" y="473630"/>
                            <a:pt x="286" y="474677"/>
                            <a:pt x="0" y="475630"/>
                          </a:cubicBezTo>
                          <a:lnTo>
                            <a:pt x="232505" y="566403"/>
                          </a:lnTo>
                          <a:cubicBezTo>
                            <a:pt x="252603" y="528779"/>
                            <a:pt x="196405" y="487631"/>
                            <a:pt x="185452" y="423623"/>
                          </a:cubicBezTo>
                          <a:cubicBezTo>
                            <a:pt x="172879" y="350281"/>
                            <a:pt x="258223" y="198548"/>
                            <a:pt x="258223" y="198548"/>
                          </a:cubicBezTo>
                          <a:cubicBezTo>
                            <a:pt x="258223" y="198548"/>
                            <a:pt x="484632" y="210740"/>
                            <a:pt x="555117" y="206453"/>
                          </a:cubicBezTo>
                          <a:lnTo>
                            <a:pt x="589312" y="35765"/>
                          </a:lnTo>
                          <a:cubicBezTo>
                            <a:pt x="532352" y="10905"/>
                            <a:pt x="202406" y="-24814"/>
                            <a:pt x="162687" y="25193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79" name="Freihandform: Form 278">
                      <a:extLst>
                        <a:ext uri="{FF2B5EF4-FFF2-40B4-BE49-F238E27FC236}">
                          <a16:creationId xmlns:a16="http://schemas.microsoft.com/office/drawing/2014/main" id="{3F856690-FED4-BE83-7DD9-8E3FAC97A1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748660" y="2687954"/>
                      <a:ext cx="626027" cy="304133"/>
                    </a:xfrm>
                    <a:custGeom>
                      <a:avLst/>
                      <a:gdLst>
                        <a:gd name="connsiteX0" fmla="*/ 47244 w 626027"/>
                        <a:gd name="connsiteY0" fmla="*/ 0 h 304133"/>
                        <a:gd name="connsiteX1" fmla="*/ 244126 w 626027"/>
                        <a:gd name="connsiteY1" fmla="*/ 30956 h 304133"/>
                        <a:gd name="connsiteX2" fmla="*/ 438626 w 626027"/>
                        <a:gd name="connsiteY2" fmla="*/ 82106 h 304133"/>
                        <a:gd name="connsiteX3" fmla="*/ 527971 w 626027"/>
                        <a:gd name="connsiteY3" fmla="*/ 90202 h 304133"/>
                        <a:gd name="connsiteX4" fmla="*/ 624935 w 626027"/>
                        <a:gd name="connsiteY4" fmla="*/ 132874 h 304133"/>
                        <a:gd name="connsiteX5" fmla="*/ 542449 w 626027"/>
                        <a:gd name="connsiteY5" fmla="*/ 143542 h 304133"/>
                        <a:gd name="connsiteX6" fmla="*/ 490442 w 626027"/>
                        <a:gd name="connsiteY6" fmla="*/ 146399 h 304133"/>
                        <a:gd name="connsiteX7" fmla="*/ 488918 w 626027"/>
                        <a:gd name="connsiteY7" fmla="*/ 166021 h 304133"/>
                        <a:gd name="connsiteX8" fmla="*/ 467106 w 626027"/>
                        <a:gd name="connsiteY8" fmla="*/ 198120 h 304133"/>
                        <a:gd name="connsiteX9" fmla="*/ 417386 w 626027"/>
                        <a:gd name="connsiteY9" fmla="*/ 244221 h 304133"/>
                        <a:gd name="connsiteX10" fmla="*/ 366427 w 626027"/>
                        <a:gd name="connsiteY10" fmla="*/ 304133 h 304133"/>
                        <a:gd name="connsiteX11" fmla="*/ 231553 w 626027"/>
                        <a:gd name="connsiteY11" fmla="*/ 293370 h 304133"/>
                        <a:gd name="connsiteX12" fmla="*/ 0 w 626027"/>
                        <a:gd name="connsiteY12" fmla="*/ 168212 h 304133"/>
                        <a:gd name="connsiteX13" fmla="*/ 47339 w 626027"/>
                        <a:gd name="connsiteY13" fmla="*/ 0 h 3041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</a:cxnLst>
                      <a:rect l="l" t="t" r="r" b="b"/>
                      <a:pathLst>
                        <a:path w="626027" h="304133">
                          <a:moveTo>
                            <a:pt x="47244" y="0"/>
                          </a:moveTo>
                          <a:lnTo>
                            <a:pt x="244126" y="30956"/>
                          </a:lnTo>
                          <a:cubicBezTo>
                            <a:pt x="244126" y="30956"/>
                            <a:pt x="388430" y="66580"/>
                            <a:pt x="438626" y="82106"/>
                          </a:cubicBezTo>
                          <a:cubicBezTo>
                            <a:pt x="484823" y="86678"/>
                            <a:pt x="527971" y="90202"/>
                            <a:pt x="527971" y="90202"/>
                          </a:cubicBezTo>
                          <a:cubicBezTo>
                            <a:pt x="574167" y="84392"/>
                            <a:pt x="634936" y="97346"/>
                            <a:pt x="624935" y="132874"/>
                          </a:cubicBezTo>
                          <a:cubicBezTo>
                            <a:pt x="613315" y="135255"/>
                            <a:pt x="552736" y="142304"/>
                            <a:pt x="542449" y="143542"/>
                          </a:cubicBezTo>
                          <a:cubicBezTo>
                            <a:pt x="523685" y="145733"/>
                            <a:pt x="490442" y="146399"/>
                            <a:pt x="490442" y="146399"/>
                          </a:cubicBezTo>
                          <a:lnTo>
                            <a:pt x="488918" y="166021"/>
                          </a:lnTo>
                          <a:lnTo>
                            <a:pt x="467106" y="198120"/>
                          </a:lnTo>
                          <a:lnTo>
                            <a:pt x="417386" y="244221"/>
                          </a:lnTo>
                          <a:lnTo>
                            <a:pt x="366427" y="304133"/>
                          </a:lnTo>
                          <a:cubicBezTo>
                            <a:pt x="366427" y="304133"/>
                            <a:pt x="244697" y="292703"/>
                            <a:pt x="231553" y="293370"/>
                          </a:cubicBezTo>
                          <a:cubicBezTo>
                            <a:pt x="200787" y="294894"/>
                            <a:pt x="34100" y="193358"/>
                            <a:pt x="0" y="168212"/>
                          </a:cubicBezTo>
                          <a:cubicBezTo>
                            <a:pt x="6668" y="73533"/>
                            <a:pt x="47339" y="0"/>
                            <a:pt x="47339" y="0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80" name="Freihandform: Form 279">
                      <a:extLst>
                        <a:ext uri="{FF2B5EF4-FFF2-40B4-BE49-F238E27FC236}">
                          <a16:creationId xmlns:a16="http://schemas.microsoft.com/office/drawing/2014/main" id="{18504E2E-4F7E-2244-5A93-7F5B07DD0BC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78987" y="2815780"/>
                      <a:ext cx="160115" cy="36816"/>
                    </a:xfrm>
                    <a:custGeom>
                      <a:avLst/>
                      <a:gdLst>
                        <a:gd name="connsiteX0" fmla="*/ 160115 w 160115"/>
                        <a:gd name="connsiteY0" fmla="*/ 18669 h 36816"/>
                        <a:gd name="connsiteX1" fmla="*/ 55912 w 160115"/>
                        <a:gd name="connsiteY1" fmla="*/ 13335 h 36816"/>
                        <a:gd name="connsiteX2" fmla="*/ 0 w 160115"/>
                        <a:gd name="connsiteY2" fmla="*/ 0 h 36816"/>
                        <a:gd name="connsiteX3" fmla="*/ 79629 w 160115"/>
                        <a:gd name="connsiteY3" fmla="*/ 34671 h 36816"/>
                        <a:gd name="connsiteX4" fmla="*/ 158687 w 160115"/>
                        <a:gd name="connsiteY4" fmla="*/ 36576 h 36816"/>
                        <a:gd name="connsiteX5" fmla="*/ 160115 w 160115"/>
                        <a:gd name="connsiteY5" fmla="*/ 18669 h 3681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60115" h="36816">
                          <a:moveTo>
                            <a:pt x="160115" y="18669"/>
                          </a:moveTo>
                          <a:lnTo>
                            <a:pt x="55912" y="13335"/>
                          </a:lnTo>
                          <a:lnTo>
                            <a:pt x="0" y="0"/>
                          </a:lnTo>
                          <a:cubicBezTo>
                            <a:pt x="0" y="0"/>
                            <a:pt x="46958" y="31528"/>
                            <a:pt x="79629" y="34671"/>
                          </a:cubicBezTo>
                          <a:cubicBezTo>
                            <a:pt x="112300" y="37814"/>
                            <a:pt x="158687" y="36576"/>
                            <a:pt x="158687" y="36576"/>
                          </a:cubicBezTo>
                          <a:lnTo>
                            <a:pt x="160115" y="18669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281" name="Freihandform: Form 280">
                    <a:extLst>
                      <a:ext uri="{FF2B5EF4-FFF2-40B4-BE49-F238E27FC236}">
                        <a16:creationId xmlns:a16="http://schemas.microsoft.com/office/drawing/2014/main" id="{73C7FE32-657E-2484-A529-0FC327E30E10}"/>
                      </a:ext>
                    </a:extLst>
                  </p:cNvPr>
                  <p:cNvSpPr/>
                  <p:nvPr/>
                </p:nvSpPr>
                <p:spPr>
                  <a:xfrm rot="-2247599">
                    <a:off x="2681100" y="2683664"/>
                    <a:ext cx="174878" cy="174878"/>
                  </a:xfrm>
                  <a:custGeom>
                    <a:avLst/>
                    <a:gdLst>
                      <a:gd name="connsiteX0" fmla="*/ 174879 w 174878"/>
                      <a:gd name="connsiteY0" fmla="*/ 87439 h 174878"/>
                      <a:gd name="connsiteX1" fmla="*/ 87439 w 174878"/>
                      <a:gd name="connsiteY1" fmla="*/ 174879 h 174878"/>
                      <a:gd name="connsiteX2" fmla="*/ 0 w 174878"/>
                      <a:gd name="connsiteY2" fmla="*/ 87439 h 174878"/>
                      <a:gd name="connsiteX3" fmla="*/ 87439 w 174878"/>
                      <a:gd name="connsiteY3" fmla="*/ 0 h 174878"/>
                      <a:gd name="connsiteX4" fmla="*/ 174879 w 174878"/>
                      <a:gd name="connsiteY4" fmla="*/ 87439 h 174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74878" h="174878">
                        <a:moveTo>
                          <a:pt x="174879" y="87439"/>
                        </a:moveTo>
                        <a:cubicBezTo>
                          <a:pt x="174879" y="135731"/>
                          <a:pt x="135731" y="174879"/>
                          <a:pt x="87439" y="174879"/>
                        </a:cubicBezTo>
                        <a:cubicBezTo>
                          <a:pt x="39148" y="174879"/>
                          <a:pt x="0" y="135731"/>
                          <a:pt x="0" y="87439"/>
                        </a:cubicBezTo>
                        <a:cubicBezTo>
                          <a:pt x="0" y="39148"/>
                          <a:pt x="39148" y="0"/>
                          <a:pt x="87439" y="0"/>
                        </a:cubicBezTo>
                        <a:cubicBezTo>
                          <a:pt x="135731" y="0"/>
                          <a:pt x="174879" y="39148"/>
                          <a:pt x="174879" y="87439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82" name="Grafik 23">
                  <a:extLst>
                    <a:ext uri="{FF2B5EF4-FFF2-40B4-BE49-F238E27FC236}">
                      <a16:creationId xmlns:a16="http://schemas.microsoft.com/office/drawing/2014/main" id="{7734A28E-F96F-73DD-F935-5A41041B1F68}"/>
                    </a:ext>
                  </a:extLst>
                </p:cNvPr>
                <p:cNvGrpSpPr/>
                <p:nvPr/>
              </p:nvGrpSpPr>
              <p:grpSpPr>
                <a:xfrm>
                  <a:off x="1874837" y="2455926"/>
                  <a:ext cx="921353" cy="469868"/>
                  <a:chOff x="1874837" y="2455926"/>
                  <a:chExt cx="921353" cy="469868"/>
                </a:xfrm>
              </p:grpSpPr>
              <p:sp>
                <p:nvSpPr>
                  <p:cNvPr id="283" name="Freihandform: Form 282">
                    <a:extLst>
                      <a:ext uri="{FF2B5EF4-FFF2-40B4-BE49-F238E27FC236}">
                        <a16:creationId xmlns:a16="http://schemas.microsoft.com/office/drawing/2014/main" id="{165A9000-107B-243D-339A-2ADA8272A35F}"/>
                      </a:ext>
                    </a:extLst>
                  </p:cNvPr>
                  <p:cNvSpPr/>
                  <p:nvPr/>
                </p:nvSpPr>
                <p:spPr>
                  <a:xfrm>
                    <a:off x="2638551" y="2652045"/>
                    <a:ext cx="157352" cy="204120"/>
                  </a:xfrm>
                  <a:custGeom>
                    <a:avLst/>
                    <a:gdLst>
                      <a:gd name="connsiteX0" fmla="*/ 110014 w 157352"/>
                      <a:gd name="connsiteY0" fmla="*/ 204121 h 204120"/>
                      <a:gd name="connsiteX1" fmla="*/ 157353 w 157352"/>
                      <a:gd name="connsiteY1" fmla="*/ 35909 h 204120"/>
                      <a:gd name="connsiteX2" fmla="*/ 46387 w 157352"/>
                      <a:gd name="connsiteY2" fmla="*/ 0 h 204120"/>
                      <a:gd name="connsiteX3" fmla="*/ 0 w 157352"/>
                      <a:gd name="connsiteY3" fmla="*/ 187928 h 204120"/>
                      <a:gd name="connsiteX4" fmla="*/ 110014 w 157352"/>
                      <a:gd name="connsiteY4" fmla="*/ 204121 h 2041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7352" h="204120">
                        <a:moveTo>
                          <a:pt x="110014" y="204121"/>
                        </a:moveTo>
                        <a:lnTo>
                          <a:pt x="157353" y="35909"/>
                        </a:lnTo>
                        <a:lnTo>
                          <a:pt x="46387" y="0"/>
                        </a:lnTo>
                        <a:lnTo>
                          <a:pt x="0" y="187928"/>
                        </a:lnTo>
                        <a:lnTo>
                          <a:pt x="110014" y="204121"/>
                        </a:ln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4" name="Freihandform: Form 283">
                    <a:extLst>
                      <a:ext uri="{FF2B5EF4-FFF2-40B4-BE49-F238E27FC236}">
                        <a16:creationId xmlns:a16="http://schemas.microsoft.com/office/drawing/2014/main" id="{04B9EE4C-F2D8-73BC-8A49-BBEA9D400BC3}"/>
                      </a:ext>
                    </a:extLst>
                  </p:cNvPr>
                  <p:cNvSpPr/>
                  <p:nvPr/>
                </p:nvSpPr>
                <p:spPr>
                  <a:xfrm>
                    <a:off x="2012663" y="2463641"/>
                    <a:ext cx="783526" cy="462153"/>
                  </a:xfrm>
                  <a:custGeom>
                    <a:avLst/>
                    <a:gdLst>
                      <a:gd name="connsiteX0" fmla="*/ 0 w 783526"/>
                      <a:gd name="connsiteY0" fmla="*/ 334423 h 462153"/>
                      <a:gd name="connsiteX1" fmla="*/ 742188 w 783526"/>
                      <a:gd name="connsiteY1" fmla="*/ 462153 h 462153"/>
                      <a:gd name="connsiteX2" fmla="*/ 783527 w 783526"/>
                      <a:gd name="connsiteY2" fmla="*/ 163259 h 462153"/>
                      <a:gd name="connsiteX3" fmla="*/ 86201 w 783526"/>
                      <a:gd name="connsiteY3" fmla="*/ 0 h 462153"/>
                      <a:gd name="connsiteX4" fmla="*/ 0 w 783526"/>
                      <a:gd name="connsiteY4" fmla="*/ 334423 h 4621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83526" h="462153">
                        <a:moveTo>
                          <a:pt x="0" y="334423"/>
                        </a:moveTo>
                        <a:lnTo>
                          <a:pt x="742188" y="462153"/>
                        </a:lnTo>
                        <a:lnTo>
                          <a:pt x="783527" y="163259"/>
                        </a:lnTo>
                        <a:lnTo>
                          <a:pt x="86201" y="0"/>
                        </a:lnTo>
                        <a:lnTo>
                          <a:pt x="0" y="33442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5" name="Freihandform: Form 284">
                    <a:extLst>
                      <a:ext uri="{FF2B5EF4-FFF2-40B4-BE49-F238E27FC236}">
                        <a16:creationId xmlns:a16="http://schemas.microsoft.com/office/drawing/2014/main" id="{36B3AEFF-26BD-470B-42F7-3FF8E429964D}"/>
                      </a:ext>
                    </a:extLst>
                  </p:cNvPr>
                  <p:cNvSpPr/>
                  <p:nvPr/>
                </p:nvSpPr>
                <p:spPr>
                  <a:xfrm>
                    <a:off x="1874837" y="2455926"/>
                    <a:ext cx="345567" cy="345567"/>
                  </a:xfrm>
                  <a:custGeom>
                    <a:avLst/>
                    <a:gdLst>
                      <a:gd name="connsiteX0" fmla="*/ 345567 w 345567"/>
                      <a:gd name="connsiteY0" fmla="*/ 172783 h 345567"/>
                      <a:gd name="connsiteX1" fmla="*/ 172784 w 345567"/>
                      <a:gd name="connsiteY1" fmla="*/ 345567 h 345567"/>
                      <a:gd name="connsiteX2" fmla="*/ 0 w 345567"/>
                      <a:gd name="connsiteY2" fmla="*/ 172783 h 345567"/>
                      <a:gd name="connsiteX3" fmla="*/ 172784 w 345567"/>
                      <a:gd name="connsiteY3" fmla="*/ 0 h 345567"/>
                      <a:gd name="connsiteX4" fmla="*/ 345567 w 345567"/>
                      <a:gd name="connsiteY4" fmla="*/ 172783 h 3455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45567" h="345567">
                        <a:moveTo>
                          <a:pt x="345567" y="172783"/>
                        </a:moveTo>
                        <a:cubicBezTo>
                          <a:pt x="345567" y="268209"/>
                          <a:pt x="268209" y="345567"/>
                          <a:pt x="172784" y="345567"/>
                        </a:cubicBezTo>
                        <a:cubicBezTo>
                          <a:pt x="77358" y="345567"/>
                          <a:pt x="0" y="268209"/>
                          <a:pt x="0" y="172783"/>
                        </a:cubicBezTo>
                        <a:cubicBezTo>
                          <a:pt x="0" y="77358"/>
                          <a:pt x="77358" y="0"/>
                          <a:pt x="172784" y="0"/>
                        </a:cubicBezTo>
                        <a:cubicBezTo>
                          <a:pt x="268209" y="0"/>
                          <a:pt x="345567" y="77358"/>
                          <a:pt x="345567" y="17278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86" name="Grafik 23">
                  <a:extLst>
                    <a:ext uri="{FF2B5EF4-FFF2-40B4-BE49-F238E27FC236}">
                      <a16:creationId xmlns:a16="http://schemas.microsoft.com/office/drawing/2014/main" id="{6EC3C075-169A-CDAC-969E-9CE4C45B167A}"/>
                    </a:ext>
                  </a:extLst>
                </p:cNvPr>
                <p:cNvGrpSpPr/>
                <p:nvPr/>
              </p:nvGrpSpPr>
              <p:grpSpPr>
                <a:xfrm>
                  <a:off x="1875789" y="1478509"/>
                  <a:ext cx="599222" cy="1188109"/>
                  <a:chOff x="1875789" y="1478509"/>
                  <a:chExt cx="599222" cy="1188109"/>
                </a:xfrm>
                <a:solidFill>
                  <a:srgbClr val="FFFFFF"/>
                </a:solidFill>
              </p:grpSpPr>
              <p:sp>
                <p:nvSpPr>
                  <p:cNvPr id="287" name="Freihandform: Form 286">
                    <a:extLst>
                      <a:ext uri="{FF2B5EF4-FFF2-40B4-BE49-F238E27FC236}">
                        <a16:creationId xmlns:a16="http://schemas.microsoft.com/office/drawing/2014/main" id="{1912B5F1-7E86-36B7-2430-768DF05FDAA6}"/>
                      </a:ext>
                    </a:extLst>
                  </p:cNvPr>
                  <p:cNvSpPr/>
                  <p:nvPr/>
                </p:nvSpPr>
                <p:spPr>
                  <a:xfrm>
                    <a:off x="1875789" y="1699831"/>
                    <a:ext cx="512349" cy="966787"/>
                  </a:xfrm>
                  <a:custGeom>
                    <a:avLst/>
                    <a:gdLst>
                      <a:gd name="connsiteX0" fmla="*/ 115062 w 512349"/>
                      <a:gd name="connsiteY0" fmla="*/ 0 h 966787"/>
                      <a:gd name="connsiteX1" fmla="*/ 0 w 512349"/>
                      <a:gd name="connsiteY1" fmla="*/ 910971 h 966787"/>
                      <a:gd name="connsiteX2" fmla="*/ 340424 w 512349"/>
                      <a:gd name="connsiteY2" fmla="*/ 966788 h 966787"/>
                      <a:gd name="connsiteX3" fmla="*/ 512350 w 512349"/>
                      <a:gd name="connsiteY3" fmla="*/ 108204 h 966787"/>
                      <a:gd name="connsiteX4" fmla="*/ 115062 w 512349"/>
                      <a:gd name="connsiteY4" fmla="*/ 0 h 9667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2349" h="966787">
                        <a:moveTo>
                          <a:pt x="115062" y="0"/>
                        </a:moveTo>
                        <a:cubicBezTo>
                          <a:pt x="46673" y="214884"/>
                          <a:pt x="0" y="910971"/>
                          <a:pt x="0" y="910971"/>
                        </a:cubicBezTo>
                        <a:cubicBezTo>
                          <a:pt x="148495" y="945070"/>
                          <a:pt x="190024" y="966788"/>
                          <a:pt x="340424" y="966788"/>
                        </a:cubicBezTo>
                        <a:cubicBezTo>
                          <a:pt x="447485" y="721614"/>
                          <a:pt x="512350" y="108204"/>
                          <a:pt x="512350" y="108204"/>
                        </a:cubicBezTo>
                        <a:cubicBezTo>
                          <a:pt x="364046" y="68008"/>
                          <a:pt x="315373" y="50768"/>
                          <a:pt x="115062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8" name="Freihandform: Form 287">
                    <a:extLst>
                      <a:ext uri="{FF2B5EF4-FFF2-40B4-BE49-F238E27FC236}">
                        <a16:creationId xmlns:a16="http://schemas.microsoft.com/office/drawing/2014/main" id="{FA023EFF-A332-CA6A-E594-F53F2C85B2EE}"/>
                      </a:ext>
                    </a:extLst>
                  </p:cNvPr>
                  <p:cNvSpPr/>
                  <p:nvPr/>
                </p:nvSpPr>
                <p:spPr>
                  <a:xfrm rot="-2247599">
                    <a:off x="1979225" y="1561481"/>
                    <a:ext cx="412813" cy="412813"/>
                  </a:xfrm>
                  <a:custGeom>
                    <a:avLst/>
                    <a:gdLst>
                      <a:gd name="connsiteX0" fmla="*/ 412813 w 412813"/>
                      <a:gd name="connsiteY0" fmla="*/ 206407 h 412813"/>
                      <a:gd name="connsiteX1" fmla="*/ 206407 w 412813"/>
                      <a:gd name="connsiteY1" fmla="*/ 412813 h 412813"/>
                      <a:gd name="connsiteX2" fmla="*/ 0 w 412813"/>
                      <a:gd name="connsiteY2" fmla="*/ 206407 h 412813"/>
                      <a:gd name="connsiteX3" fmla="*/ 206407 w 412813"/>
                      <a:gd name="connsiteY3" fmla="*/ 0 h 412813"/>
                      <a:gd name="connsiteX4" fmla="*/ 412813 w 412813"/>
                      <a:gd name="connsiteY4" fmla="*/ 206407 h 4128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2813" h="412813">
                        <a:moveTo>
                          <a:pt x="412813" y="206407"/>
                        </a:moveTo>
                        <a:cubicBezTo>
                          <a:pt x="412813" y="320402"/>
                          <a:pt x="320402" y="412813"/>
                          <a:pt x="206407" y="412813"/>
                        </a:cubicBezTo>
                        <a:cubicBezTo>
                          <a:pt x="92411" y="412813"/>
                          <a:pt x="0" y="320402"/>
                          <a:pt x="0" y="206407"/>
                        </a:cubicBezTo>
                        <a:cubicBezTo>
                          <a:pt x="0" y="92411"/>
                          <a:pt x="92411" y="0"/>
                          <a:pt x="206407" y="0"/>
                        </a:cubicBezTo>
                        <a:cubicBezTo>
                          <a:pt x="320402" y="0"/>
                          <a:pt x="412813" y="92411"/>
                          <a:pt x="412813" y="20640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</p:grpSp>
        <p:sp>
          <p:nvSpPr>
            <p:cNvPr id="514" name="Rechteck 513">
              <a:extLst>
                <a:ext uri="{FF2B5EF4-FFF2-40B4-BE49-F238E27FC236}">
                  <a16:creationId xmlns:a16="http://schemas.microsoft.com/office/drawing/2014/main" id="{6D850EFC-F546-0601-E184-5F30A6BDA963}"/>
                </a:ext>
              </a:extLst>
            </p:cNvPr>
            <p:cNvSpPr>
              <a:spLocks/>
            </p:cNvSpPr>
            <p:nvPr/>
          </p:nvSpPr>
          <p:spPr>
            <a:xfrm>
              <a:off x="9210675" y="1826246"/>
              <a:ext cx="53975" cy="906229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l"/>
              <a:endParaRPr lang="en-US" sz="1000" b="1">
                <a:solidFill>
                  <a:schemeClr val="tx1"/>
                </a:solidFill>
              </a:endParaRPr>
            </a:p>
          </p:txBody>
        </p:sp>
      </p:grpSp>
      <p:grpSp>
        <p:nvGrpSpPr>
          <p:cNvPr id="560" name="Gruppieren 559">
            <a:extLst>
              <a:ext uri="{FF2B5EF4-FFF2-40B4-BE49-F238E27FC236}">
                <a16:creationId xmlns:a16="http://schemas.microsoft.com/office/drawing/2014/main" id="{C04F1BB9-662C-6891-6566-8A35C36CB13D}"/>
              </a:ext>
            </a:extLst>
          </p:cNvPr>
          <p:cNvGrpSpPr>
            <a:grpSpLocks/>
          </p:cNvGrpSpPr>
          <p:nvPr/>
        </p:nvGrpSpPr>
        <p:grpSpPr>
          <a:xfrm>
            <a:off x="9210675" y="2912475"/>
            <a:ext cx="2201842" cy="906229"/>
            <a:chOff x="9210675" y="2912475"/>
            <a:chExt cx="2201842" cy="906229"/>
          </a:xfrm>
        </p:grpSpPr>
        <p:sp>
          <p:nvSpPr>
            <p:cNvPr id="513" name="Rechteck 512">
              <a:extLst>
                <a:ext uri="{FF2B5EF4-FFF2-40B4-BE49-F238E27FC236}">
                  <a16:creationId xmlns:a16="http://schemas.microsoft.com/office/drawing/2014/main" id="{1243F522-6128-5650-BC63-577EE5FCBFCB}"/>
                </a:ext>
              </a:extLst>
            </p:cNvPr>
            <p:cNvSpPr>
              <a:spLocks/>
            </p:cNvSpPr>
            <p:nvPr/>
          </p:nvSpPr>
          <p:spPr>
            <a:xfrm>
              <a:off x="9210675" y="2912475"/>
              <a:ext cx="2201842" cy="90622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tlCol="0" anchor="t"/>
            <a:lstStyle/>
            <a:p>
              <a:pPr algn="l"/>
              <a:r>
                <a:rPr lang="en-US" sz="1200" b="1" err="1">
                  <a:solidFill>
                    <a:schemeClr val="tx1"/>
                  </a:solidFill>
                </a:rPr>
                <a:t>Anwender</a:t>
              </a:r>
              <a:r>
                <a:rPr lang="en-US" sz="1200" b="1">
                  <a:solidFill>
                    <a:schemeClr val="tx1"/>
                  </a:solidFill>
                </a:rPr>
                <a:t>*</a:t>
              </a:r>
              <a:r>
                <a:rPr lang="en-US" sz="1200" b="1" err="1">
                  <a:solidFill>
                    <a:schemeClr val="tx1"/>
                  </a:solidFill>
                </a:rPr>
                <a:t>innen</a:t>
              </a:r>
              <a:endParaRPr lang="en-US" sz="1200" b="1">
                <a:solidFill>
                  <a:schemeClr val="tx1"/>
                </a:solidFill>
              </a:endParaRPr>
            </a:p>
          </p:txBody>
        </p:sp>
        <p:grpSp>
          <p:nvGrpSpPr>
            <p:cNvPr id="504" name="Gruppieren 503">
              <a:extLst>
                <a:ext uri="{FF2B5EF4-FFF2-40B4-BE49-F238E27FC236}">
                  <a16:creationId xmlns:a16="http://schemas.microsoft.com/office/drawing/2014/main" id="{FA1D84E1-ABCD-7B8E-9F51-F516C4766F97}"/>
                </a:ext>
              </a:extLst>
            </p:cNvPr>
            <p:cNvGrpSpPr>
              <a:grpSpLocks/>
            </p:cNvGrpSpPr>
            <p:nvPr/>
          </p:nvGrpSpPr>
          <p:grpSpPr>
            <a:xfrm flipH="1">
              <a:off x="10699750" y="3003018"/>
              <a:ext cx="516340" cy="708249"/>
              <a:chOff x="9590362" y="1659724"/>
              <a:chExt cx="2578928" cy="3537443"/>
            </a:xfrm>
          </p:grpSpPr>
          <p:grpSp>
            <p:nvGrpSpPr>
              <p:cNvPr id="300" name="Grafik 297">
                <a:extLst>
                  <a:ext uri="{FF2B5EF4-FFF2-40B4-BE49-F238E27FC236}">
                    <a16:creationId xmlns:a16="http://schemas.microsoft.com/office/drawing/2014/main" id="{3B76EAE2-ED55-B521-2209-420484A1C451}"/>
                  </a:ext>
                </a:extLst>
              </p:cNvPr>
              <p:cNvGrpSpPr/>
              <p:nvPr/>
            </p:nvGrpSpPr>
            <p:grpSpPr>
              <a:xfrm>
                <a:off x="11138852" y="1928127"/>
                <a:ext cx="1030438" cy="3268937"/>
                <a:chOff x="11138852" y="1928127"/>
                <a:chExt cx="1030438" cy="3268937"/>
              </a:xfrm>
            </p:grpSpPr>
            <p:grpSp>
              <p:nvGrpSpPr>
                <p:cNvPr id="301" name="Grafik 297">
                  <a:extLst>
                    <a:ext uri="{FF2B5EF4-FFF2-40B4-BE49-F238E27FC236}">
                      <a16:creationId xmlns:a16="http://schemas.microsoft.com/office/drawing/2014/main" id="{E97B5F6D-3CF1-FCAB-C1E8-D13FC3CEC591}"/>
                    </a:ext>
                  </a:extLst>
                </p:cNvPr>
                <p:cNvGrpSpPr/>
                <p:nvPr/>
              </p:nvGrpSpPr>
              <p:grpSpPr>
                <a:xfrm>
                  <a:off x="11876781" y="2514754"/>
                  <a:ext cx="292510" cy="1386761"/>
                  <a:chOff x="11876781" y="2514754"/>
                  <a:chExt cx="292510" cy="1386761"/>
                </a:xfrm>
              </p:grpSpPr>
              <p:grpSp>
                <p:nvGrpSpPr>
                  <p:cNvPr id="302" name="Grafik 297">
                    <a:extLst>
                      <a:ext uri="{FF2B5EF4-FFF2-40B4-BE49-F238E27FC236}">
                        <a16:creationId xmlns:a16="http://schemas.microsoft.com/office/drawing/2014/main" id="{03E2DCC8-309D-4243-10BD-3323E7D7FDC7}"/>
                      </a:ext>
                    </a:extLst>
                  </p:cNvPr>
                  <p:cNvGrpSpPr/>
                  <p:nvPr/>
                </p:nvGrpSpPr>
                <p:grpSpPr>
                  <a:xfrm>
                    <a:off x="11972799" y="3056405"/>
                    <a:ext cx="164676" cy="555321"/>
                    <a:chOff x="11972799" y="3056405"/>
                    <a:chExt cx="164676" cy="555321"/>
                  </a:xfrm>
                </p:grpSpPr>
                <p:sp>
                  <p:nvSpPr>
                    <p:cNvPr id="303" name="Freihandform: Form 302">
                      <a:extLst>
                        <a:ext uri="{FF2B5EF4-FFF2-40B4-BE49-F238E27FC236}">
                          <a16:creationId xmlns:a16="http://schemas.microsoft.com/office/drawing/2014/main" id="{43674BC9-E866-8D28-A254-4A73E1311BD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72799" y="3137396"/>
                      <a:ext cx="164494" cy="474330"/>
                    </a:xfrm>
                    <a:custGeom>
                      <a:avLst/>
                      <a:gdLst>
                        <a:gd name="connsiteX0" fmla="*/ 108364 w 164494"/>
                        <a:gd name="connsiteY0" fmla="*/ 474331 h 474330"/>
                        <a:gd name="connsiteX1" fmla="*/ 24047 w 164494"/>
                        <a:gd name="connsiteY1" fmla="*/ 463686 h 474330"/>
                        <a:gd name="connsiteX2" fmla="*/ 1001 w 164494"/>
                        <a:gd name="connsiteY2" fmla="*/ 0 h 474330"/>
                        <a:gd name="connsiteX3" fmla="*/ 164495 w 164494"/>
                        <a:gd name="connsiteY3" fmla="*/ 9012 h 474330"/>
                        <a:gd name="connsiteX4" fmla="*/ 108364 w 164494"/>
                        <a:gd name="connsiteY4" fmla="*/ 474331 h 4743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64494" h="474330">
                          <a:moveTo>
                            <a:pt x="108364" y="474331"/>
                          </a:moveTo>
                          <a:lnTo>
                            <a:pt x="24047" y="463686"/>
                          </a:lnTo>
                          <a:cubicBezTo>
                            <a:pt x="24047" y="463686"/>
                            <a:pt x="-5773" y="46574"/>
                            <a:pt x="1001" y="0"/>
                          </a:cubicBezTo>
                          <a:lnTo>
                            <a:pt x="164495" y="9012"/>
                          </a:lnTo>
                          <a:cubicBezTo>
                            <a:pt x="144353" y="220350"/>
                            <a:pt x="121792" y="349911"/>
                            <a:pt x="108364" y="474331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04" name="Freihandform: Form 303">
                      <a:extLst>
                        <a:ext uri="{FF2B5EF4-FFF2-40B4-BE49-F238E27FC236}">
                          <a16:creationId xmlns:a16="http://schemas.microsoft.com/office/drawing/2014/main" id="{1CCB67D5-CAF0-4FB2-0F7D-E6F3F0C6693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74042" y="3056405"/>
                      <a:ext cx="163433" cy="163433"/>
                    </a:xfrm>
                    <a:custGeom>
                      <a:avLst/>
                      <a:gdLst>
                        <a:gd name="connsiteX0" fmla="*/ 163433 w 163433"/>
                        <a:gd name="connsiteY0" fmla="*/ 81717 h 163433"/>
                        <a:gd name="connsiteX1" fmla="*/ 81717 w 163433"/>
                        <a:gd name="connsiteY1" fmla="*/ 163433 h 163433"/>
                        <a:gd name="connsiteX2" fmla="*/ 0 w 163433"/>
                        <a:gd name="connsiteY2" fmla="*/ 81717 h 163433"/>
                        <a:gd name="connsiteX3" fmla="*/ 81717 w 163433"/>
                        <a:gd name="connsiteY3" fmla="*/ 0 h 163433"/>
                        <a:gd name="connsiteX4" fmla="*/ 163433 w 163433"/>
                        <a:gd name="connsiteY4" fmla="*/ 81717 h 1634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63433" h="163433">
                          <a:moveTo>
                            <a:pt x="163433" y="81717"/>
                          </a:moveTo>
                          <a:cubicBezTo>
                            <a:pt x="163433" y="126847"/>
                            <a:pt x="126848" y="163433"/>
                            <a:pt x="81717" y="163433"/>
                          </a:cubicBezTo>
                          <a:cubicBezTo>
                            <a:pt x="36586" y="163433"/>
                            <a:pt x="0" y="126847"/>
                            <a:pt x="0" y="81717"/>
                          </a:cubicBezTo>
                          <a:cubicBezTo>
                            <a:pt x="0" y="36586"/>
                            <a:pt x="36586" y="0"/>
                            <a:pt x="81717" y="0"/>
                          </a:cubicBezTo>
                          <a:cubicBezTo>
                            <a:pt x="126848" y="0"/>
                            <a:pt x="163433" y="36586"/>
                            <a:pt x="163433" y="81717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05" name="Freihandform: Form 304">
                      <a:extLst>
                        <a:ext uri="{FF2B5EF4-FFF2-40B4-BE49-F238E27FC236}">
                          <a16:creationId xmlns:a16="http://schemas.microsoft.com/office/drawing/2014/main" id="{18ABD3BD-9389-D813-05F9-69AEC7F8718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92974" y="3544769"/>
                      <a:ext cx="94962" cy="66957"/>
                    </a:xfrm>
                    <a:custGeom>
                      <a:avLst/>
                      <a:gdLst>
                        <a:gd name="connsiteX0" fmla="*/ 0 w 94962"/>
                        <a:gd name="connsiteY0" fmla="*/ 0 h 66957"/>
                        <a:gd name="connsiteX1" fmla="*/ 3932 w 94962"/>
                        <a:gd name="connsiteY1" fmla="*/ 56312 h 66957"/>
                        <a:gd name="connsiteX2" fmla="*/ 88249 w 94962"/>
                        <a:gd name="connsiteY2" fmla="*/ 66958 h 66957"/>
                        <a:gd name="connsiteX3" fmla="*/ 94963 w 94962"/>
                        <a:gd name="connsiteY3" fmla="*/ 9617 h 66957"/>
                        <a:gd name="connsiteX4" fmla="*/ 0 w 94962"/>
                        <a:gd name="connsiteY4" fmla="*/ 0 h 66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94962" h="66957">
                          <a:moveTo>
                            <a:pt x="0" y="0"/>
                          </a:moveTo>
                          <a:cubicBezTo>
                            <a:pt x="2359" y="34356"/>
                            <a:pt x="3932" y="56312"/>
                            <a:pt x="3932" y="56312"/>
                          </a:cubicBezTo>
                          <a:lnTo>
                            <a:pt x="88249" y="66958"/>
                          </a:lnTo>
                          <a:cubicBezTo>
                            <a:pt x="90305" y="48026"/>
                            <a:pt x="92543" y="29033"/>
                            <a:pt x="94963" y="9617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306" name="Freihandform: Form 305">
                    <a:extLst>
                      <a:ext uri="{FF2B5EF4-FFF2-40B4-BE49-F238E27FC236}">
                        <a16:creationId xmlns:a16="http://schemas.microsoft.com/office/drawing/2014/main" id="{14EC80C2-DB2B-CBA8-8973-6E23BDDF8B7A}"/>
                      </a:ext>
                    </a:extLst>
                  </p:cNvPr>
                  <p:cNvSpPr/>
                  <p:nvPr/>
                </p:nvSpPr>
                <p:spPr>
                  <a:xfrm>
                    <a:off x="11916157" y="2526609"/>
                    <a:ext cx="253134" cy="668188"/>
                  </a:xfrm>
                  <a:custGeom>
                    <a:avLst/>
                    <a:gdLst>
                      <a:gd name="connsiteX0" fmla="*/ 114258 w 253134"/>
                      <a:gd name="connsiteY0" fmla="*/ 0 h 668188"/>
                      <a:gd name="connsiteX1" fmla="*/ 194644 w 253134"/>
                      <a:gd name="connsiteY1" fmla="*/ 160409 h 668188"/>
                      <a:gd name="connsiteX2" fmla="*/ 253134 w 253134"/>
                      <a:gd name="connsiteY2" fmla="*/ 666434 h 668188"/>
                      <a:gd name="connsiteX3" fmla="*/ 41312 w 253134"/>
                      <a:gd name="connsiteY3" fmla="*/ 668189 h 668188"/>
                      <a:gd name="connsiteX4" fmla="*/ 0 w 253134"/>
                      <a:gd name="connsiteY4" fmla="*/ 175167 h 668188"/>
                      <a:gd name="connsiteX5" fmla="*/ 114198 w 253134"/>
                      <a:gd name="connsiteY5" fmla="*/ 0 h 6681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53134" h="668188">
                        <a:moveTo>
                          <a:pt x="114258" y="0"/>
                        </a:moveTo>
                        <a:cubicBezTo>
                          <a:pt x="114258" y="0"/>
                          <a:pt x="178192" y="18993"/>
                          <a:pt x="194644" y="160409"/>
                        </a:cubicBezTo>
                        <a:cubicBezTo>
                          <a:pt x="211096" y="301825"/>
                          <a:pt x="253134" y="666434"/>
                          <a:pt x="253134" y="666434"/>
                        </a:cubicBezTo>
                        <a:lnTo>
                          <a:pt x="41312" y="668189"/>
                        </a:lnTo>
                        <a:lnTo>
                          <a:pt x="0" y="175167"/>
                        </a:lnTo>
                        <a:lnTo>
                          <a:pt x="114198" y="0"/>
                        </a:ln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07" name="Freihandform: Form 306">
                    <a:extLst>
                      <a:ext uri="{FF2B5EF4-FFF2-40B4-BE49-F238E27FC236}">
                        <a16:creationId xmlns:a16="http://schemas.microsoft.com/office/drawing/2014/main" id="{5CDEBDE1-690D-EE27-10B8-922B2A961742}"/>
                      </a:ext>
                    </a:extLst>
                  </p:cNvPr>
                  <p:cNvSpPr/>
                  <p:nvPr/>
                </p:nvSpPr>
                <p:spPr>
                  <a:xfrm>
                    <a:off x="11876781" y="2514754"/>
                    <a:ext cx="210128" cy="210128"/>
                  </a:xfrm>
                  <a:custGeom>
                    <a:avLst/>
                    <a:gdLst>
                      <a:gd name="connsiteX0" fmla="*/ 210129 w 210128"/>
                      <a:gd name="connsiteY0" fmla="*/ 105064 h 210128"/>
                      <a:gd name="connsiteX1" fmla="*/ 105064 w 210128"/>
                      <a:gd name="connsiteY1" fmla="*/ 210128 h 210128"/>
                      <a:gd name="connsiteX2" fmla="*/ 0 w 210128"/>
                      <a:gd name="connsiteY2" fmla="*/ 105064 h 210128"/>
                      <a:gd name="connsiteX3" fmla="*/ 105064 w 210128"/>
                      <a:gd name="connsiteY3" fmla="*/ 0 h 210128"/>
                      <a:gd name="connsiteX4" fmla="*/ 210129 w 210128"/>
                      <a:gd name="connsiteY4" fmla="*/ 105064 h 2101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0128" h="210128">
                        <a:moveTo>
                          <a:pt x="210129" y="105064"/>
                        </a:moveTo>
                        <a:cubicBezTo>
                          <a:pt x="210129" y="163089"/>
                          <a:pt x="163089" y="210128"/>
                          <a:pt x="105064" y="210128"/>
                        </a:cubicBezTo>
                        <a:cubicBezTo>
                          <a:pt x="47039" y="210128"/>
                          <a:pt x="0" y="163089"/>
                          <a:pt x="0" y="105064"/>
                        </a:cubicBezTo>
                        <a:cubicBezTo>
                          <a:pt x="0" y="47039"/>
                          <a:pt x="47039" y="0"/>
                          <a:pt x="105064" y="0"/>
                        </a:cubicBezTo>
                        <a:cubicBezTo>
                          <a:pt x="163089" y="0"/>
                          <a:pt x="210129" y="47039"/>
                          <a:pt x="210129" y="105064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308" name="Grafik 297">
                    <a:extLst>
                      <a:ext uri="{FF2B5EF4-FFF2-40B4-BE49-F238E27FC236}">
                        <a16:creationId xmlns:a16="http://schemas.microsoft.com/office/drawing/2014/main" id="{4F86260C-4504-EB81-6616-835DCB9F06FC}"/>
                      </a:ext>
                    </a:extLst>
                  </p:cNvPr>
                  <p:cNvGrpSpPr/>
                  <p:nvPr/>
                </p:nvGrpSpPr>
                <p:grpSpPr>
                  <a:xfrm>
                    <a:off x="11946098" y="3566242"/>
                    <a:ext cx="143230" cy="335273"/>
                    <a:chOff x="11946098" y="3566242"/>
                    <a:chExt cx="143230" cy="335273"/>
                  </a:xfrm>
                  <a:solidFill>
                    <a:srgbClr val="02787D"/>
                  </a:solidFill>
                </p:grpSpPr>
                <p:grpSp>
                  <p:nvGrpSpPr>
                    <p:cNvPr id="309" name="Grafik 297">
                      <a:extLst>
                        <a:ext uri="{FF2B5EF4-FFF2-40B4-BE49-F238E27FC236}">
                          <a16:creationId xmlns:a16="http://schemas.microsoft.com/office/drawing/2014/main" id="{ED436F3D-517A-36B9-5267-57D320273D8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91897" y="3779147"/>
                      <a:ext cx="71060" cy="63636"/>
                      <a:chOff x="11991897" y="3779147"/>
                      <a:chExt cx="71060" cy="63636"/>
                    </a:xfrm>
                    <a:solidFill>
                      <a:srgbClr val="02787D"/>
                    </a:solidFill>
                  </p:grpSpPr>
                  <p:sp>
                    <p:nvSpPr>
                      <p:cNvPr id="310" name="Freihandform: Form 309">
                        <a:extLst>
                          <a:ext uri="{FF2B5EF4-FFF2-40B4-BE49-F238E27FC236}">
                            <a16:creationId xmlns:a16="http://schemas.microsoft.com/office/drawing/2014/main" id="{D1E10D74-FFAD-0C29-2D28-92138CAB591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91897" y="3797206"/>
                        <a:ext cx="39028" cy="45577"/>
                      </a:xfrm>
                      <a:custGeom>
                        <a:avLst/>
                        <a:gdLst>
                          <a:gd name="connsiteX0" fmla="*/ 1924 w 39028"/>
                          <a:gd name="connsiteY0" fmla="*/ 45577 h 45577"/>
                          <a:gd name="connsiteX1" fmla="*/ 26179 w 39028"/>
                          <a:gd name="connsiteY1" fmla="*/ 33298 h 45577"/>
                          <a:gd name="connsiteX2" fmla="*/ 38759 w 39028"/>
                          <a:gd name="connsiteY2" fmla="*/ 6443 h 45577"/>
                          <a:gd name="connsiteX3" fmla="*/ 37005 w 39028"/>
                          <a:gd name="connsiteY3" fmla="*/ 31 h 45577"/>
                          <a:gd name="connsiteX4" fmla="*/ 9968 w 39028"/>
                          <a:gd name="connsiteY4" fmla="*/ 19568 h 45577"/>
                          <a:gd name="connsiteX5" fmla="*/ 1984 w 39028"/>
                          <a:gd name="connsiteY5" fmla="*/ 45577 h 45577"/>
                          <a:gd name="connsiteX6" fmla="*/ 1984 w 39028"/>
                          <a:gd name="connsiteY6" fmla="*/ 45577 h 455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9028" h="45577">
                            <a:moveTo>
                              <a:pt x="1924" y="45577"/>
                            </a:moveTo>
                            <a:lnTo>
                              <a:pt x="26179" y="33298"/>
                            </a:lnTo>
                            <a:cubicBezTo>
                              <a:pt x="35312" y="28460"/>
                              <a:pt x="40272" y="18721"/>
                              <a:pt x="38759" y="6443"/>
                            </a:cubicBezTo>
                            <a:cubicBezTo>
                              <a:pt x="38276" y="2511"/>
                              <a:pt x="37670" y="-332"/>
                              <a:pt x="37005" y="31"/>
                            </a:cubicBezTo>
                            <a:cubicBezTo>
                              <a:pt x="35614" y="636"/>
                              <a:pt x="24061" y="8923"/>
                              <a:pt x="9968" y="19568"/>
                            </a:cubicBezTo>
                            <a:cubicBezTo>
                              <a:pt x="1077" y="26343"/>
                              <a:pt x="-2613" y="32875"/>
                              <a:pt x="1984" y="45577"/>
                            </a:cubicBezTo>
                            <a:lnTo>
                              <a:pt x="1984" y="4557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11" name="Freihandform: Form 310">
                        <a:extLst>
                          <a:ext uri="{FF2B5EF4-FFF2-40B4-BE49-F238E27FC236}">
                            <a16:creationId xmlns:a16="http://schemas.microsoft.com/office/drawing/2014/main" id="{FE294465-0C94-2496-FBBC-2CA084C3F4B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13756" y="3779147"/>
                        <a:ext cx="49201" cy="51418"/>
                      </a:xfrm>
                      <a:custGeom>
                        <a:avLst/>
                        <a:gdLst>
                          <a:gd name="connsiteX0" fmla="*/ 4320 w 49201"/>
                          <a:gd name="connsiteY0" fmla="*/ 51358 h 51418"/>
                          <a:gd name="connsiteX1" fmla="*/ 41518 w 49201"/>
                          <a:gd name="connsiteY1" fmla="*/ 30793 h 51418"/>
                          <a:gd name="connsiteX2" fmla="*/ 49019 w 49201"/>
                          <a:gd name="connsiteY2" fmla="*/ 24139 h 51418"/>
                          <a:gd name="connsiteX3" fmla="*/ 28454 w 49201"/>
                          <a:gd name="connsiteY3" fmla="*/ 5 h 51418"/>
                          <a:gd name="connsiteX4" fmla="*/ 6558 w 49201"/>
                          <a:gd name="connsiteY4" fmla="*/ 23655 h 51418"/>
                          <a:gd name="connsiteX5" fmla="*/ 4320 w 49201"/>
                          <a:gd name="connsiteY5" fmla="*/ 51418 h 51418"/>
                          <a:gd name="connsiteX6" fmla="*/ 4320 w 49201"/>
                          <a:gd name="connsiteY6" fmla="*/ 51418 h 514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9201" h="51418">
                            <a:moveTo>
                              <a:pt x="4320" y="51358"/>
                            </a:moveTo>
                            <a:lnTo>
                              <a:pt x="41518" y="30793"/>
                            </a:lnTo>
                            <a:cubicBezTo>
                              <a:pt x="46055" y="28071"/>
                              <a:pt x="47748" y="25712"/>
                              <a:pt x="49019" y="24139"/>
                            </a:cubicBezTo>
                            <a:cubicBezTo>
                              <a:pt x="50894" y="12163"/>
                              <a:pt x="37950" y="-297"/>
                              <a:pt x="28454" y="5"/>
                            </a:cubicBezTo>
                            <a:lnTo>
                              <a:pt x="6558" y="23655"/>
                            </a:lnTo>
                            <a:cubicBezTo>
                              <a:pt x="-2092" y="29825"/>
                              <a:pt x="-1487" y="39442"/>
                              <a:pt x="4320" y="51418"/>
                            </a:cubicBezTo>
                            <a:lnTo>
                              <a:pt x="4320" y="51418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312" name="Grafik 297">
                      <a:extLst>
                        <a:ext uri="{FF2B5EF4-FFF2-40B4-BE49-F238E27FC236}">
                          <a16:creationId xmlns:a16="http://schemas.microsoft.com/office/drawing/2014/main" id="{ED34ECF0-54F8-2E4E-3EE1-62F6E586BA0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85158" y="3753599"/>
                      <a:ext cx="101447" cy="124931"/>
                      <a:chOff x="11985158" y="3753599"/>
                      <a:chExt cx="101447" cy="124931"/>
                    </a:xfrm>
                    <a:solidFill>
                      <a:srgbClr val="02787D"/>
                    </a:solidFill>
                  </p:grpSpPr>
                  <p:sp>
                    <p:nvSpPr>
                      <p:cNvPr id="313" name="Freihandform: Form 312">
                        <a:extLst>
                          <a:ext uri="{FF2B5EF4-FFF2-40B4-BE49-F238E27FC236}">
                            <a16:creationId xmlns:a16="http://schemas.microsoft.com/office/drawing/2014/main" id="{2B690837-479E-7652-0CD1-2E24327308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85158" y="3820113"/>
                        <a:ext cx="47131" cy="58418"/>
                      </a:xfrm>
                      <a:custGeom>
                        <a:avLst/>
                        <a:gdLst>
                          <a:gd name="connsiteX0" fmla="*/ 2493 w 47131"/>
                          <a:gd name="connsiteY0" fmla="*/ 58418 h 58418"/>
                          <a:gd name="connsiteX1" fmla="*/ 31768 w 47131"/>
                          <a:gd name="connsiteY1" fmla="*/ 40091 h 58418"/>
                          <a:gd name="connsiteX2" fmla="*/ 46768 w 47131"/>
                          <a:gd name="connsiteY2" fmla="*/ 7126 h 58418"/>
                          <a:gd name="connsiteX3" fmla="*/ 44530 w 47131"/>
                          <a:gd name="connsiteY3" fmla="*/ 49 h 58418"/>
                          <a:gd name="connsiteX4" fmla="*/ 11928 w 47131"/>
                          <a:gd name="connsiteY4" fmla="*/ 27207 h 58418"/>
                          <a:gd name="connsiteX5" fmla="*/ 2493 w 47131"/>
                          <a:gd name="connsiteY5" fmla="*/ 58418 h 58418"/>
                          <a:gd name="connsiteX6" fmla="*/ 2493 w 47131"/>
                          <a:gd name="connsiteY6" fmla="*/ 58418 h 584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7131" h="58418">
                            <a:moveTo>
                              <a:pt x="2493" y="58418"/>
                            </a:moveTo>
                            <a:lnTo>
                              <a:pt x="31768" y="40091"/>
                            </a:lnTo>
                            <a:cubicBezTo>
                              <a:pt x="42777" y="32953"/>
                              <a:pt x="48704" y="20917"/>
                              <a:pt x="46768" y="7126"/>
                            </a:cubicBezTo>
                            <a:cubicBezTo>
                              <a:pt x="46164" y="2710"/>
                              <a:pt x="45377" y="-435"/>
                              <a:pt x="44530" y="49"/>
                            </a:cubicBezTo>
                            <a:cubicBezTo>
                              <a:pt x="42897" y="1017"/>
                              <a:pt x="28925" y="12509"/>
                              <a:pt x="11928" y="27207"/>
                            </a:cubicBezTo>
                            <a:cubicBezTo>
                              <a:pt x="1223" y="36522"/>
                              <a:pt x="-3193" y="44627"/>
                              <a:pt x="2493" y="58418"/>
                            </a:cubicBezTo>
                            <a:lnTo>
                              <a:pt x="2493" y="58418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14" name="Freihandform: Form 313">
                        <a:extLst>
                          <a:ext uri="{FF2B5EF4-FFF2-40B4-BE49-F238E27FC236}">
                            <a16:creationId xmlns:a16="http://schemas.microsoft.com/office/drawing/2014/main" id="{D5C1333C-E6E2-AE62-B5CE-9EE721DA3C6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10819" y="3786350"/>
                        <a:ext cx="62106" cy="74155"/>
                      </a:xfrm>
                      <a:custGeom>
                        <a:avLst/>
                        <a:gdLst>
                          <a:gd name="connsiteX0" fmla="*/ 5381 w 62106"/>
                          <a:gd name="connsiteY0" fmla="*/ 74156 h 74155"/>
                          <a:gd name="connsiteX1" fmla="*/ 50080 w 62106"/>
                          <a:gd name="connsiteY1" fmla="*/ 45546 h 74155"/>
                          <a:gd name="connsiteX2" fmla="*/ 55766 w 62106"/>
                          <a:gd name="connsiteY2" fmla="*/ 3569 h 74155"/>
                          <a:gd name="connsiteX3" fmla="*/ 50927 w 62106"/>
                          <a:gd name="connsiteY3" fmla="*/ 0 h 74155"/>
                          <a:gd name="connsiteX4" fmla="*/ 7801 w 62106"/>
                          <a:gd name="connsiteY4" fmla="*/ 41917 h 74155"/>
                          <a:gd name="connsiteX5" fmla="*/ 5381 w 62106"/>
                          <a:gd name="connsiteY5" fmla="*/ 74095 h 74155"/>
                          <a:gd name="connsiteX6" fmla="*/ 5381 w 62106"/>
                          <a:gd name="connsiteY6" fmla="*/ 74095 h 7415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2106" h="74155">
                            <a:moveTo>
                              <a:pt x="5381" y="74156"/>
                            </a:moveTo>
                            <a:lnTo>
                              <a:pt x="50080" y="45546"/>
                            </a:lnTo>
                            <a:cubicBezTo>
                              <a:pt x="63508" y="36776"/>
                              <a:pt x="66109" y="17601"/>
                              <a:pt x="55766" y="3569"/>
                            </a:cubicBezTo>
                            <a:lnTo>
                              <a:pt x="50927" y="0"/>
                            </a:lnTo>
                            <a:lnTo>
                              <a:pt x="7801" y="41917"/>
                            </a:lnTo>
                            <a:cubicBezTo>
                              <a:pt x="-2603" y="50506"/>
                              <a:pt x="-1756" y="61393"/>
                              <a:pt x="5381" y="74095"/>
                            </a:cubicBezTo>
                            <a:lnTo>
                              <a:pt x="5381" y="7409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15" name="Freihandform: Form 314">
                        <a:extLst>
                          <a:ext uri="{FF2B5EF4-FFF2-40B4-BE49-F238E27FC236}">
                            <a16:creationId xmlns:a16="http://schemas.microsoft.com/office/drawing/2014/main" id="{4B273918-4317-2EE6-43B5-43F7E8152A7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44011" y="3753599"/>
                        <a:ext cx="42594" cy="70796"/>
                      </a:xfrm>
                      <a:custGeom>
                        <a:avLst/>
                        <a:gdLst>
                          <a:gd name="connsiteX0" fmla="*/ 42595 w 42594"/>
                          <a:gd name="connsiteY0" fmla="*/ 9343 h 70796"/>
                          <a:gd name="connsiteX1" fmla="*/ 28139 w 42594"/>
                          <a:gd name="connsiteY1" fmla="*/ 64506 h 70796"/>
                          <a:gd name="connsiteX2" fmla="*/ 24207 w 42594"/>
                          <a:gd name="connsiteY2" fmla="*/ 70797 h 70796"/>
                          <a:gd name="connsiteX3" fmla="*/ 194 w 42594"/>
                          <a:gd name="connsiteY3" fmla="*/ 37167 h 70796"/>
                          <a:gd name="connsiteX4" fmla="*/ 2976 w 42594"/>
                          <a:gd name="connsiteY4" fmla="*/ 6561 h 70796"/>
                          <a:gd name="connsiteX5" fmla="*/ 42595 w 42594"/>
                          <a:gd name="connsiteY5" fmla="*/ 9343 h 7079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42594" h="70796">
                            <a:moveTo>
                              <a:pt x="42595" y="9343"/>
                            </a:moveTo>
                            <a:cubicBezTo>
                              <a:pt x="39813" y="20775"/>
                              <a:pt x="28139" y="64506"/>
                              <a:pt x="28139" y="64506"/>
                            </a:cubicBezTo>
                            <a:lnTo>
                              <a:pt x="24207" y="70797"/>
                            </a:lnTo>
                            <a:cubicBezTo>
                              <a:pt x="7997" y="67047"/>
                              <a:pt x="-1500" y="52409"/>
                              <a:pt x="194" y="37167"/>
                            </a:cubicBezTo>
                            <a:lnTo>
                              <a:pt x="2976" y="6561"/>
                            </a:lnTo>
                            <a:cubicBezTo>
                              <a:pt x="9751" y="-2633"/>
                              <a:pt x="39873" y="-2573"/>
                              <a:pt x="42595" y="9343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316" name="Grafik 297">
                      <a:extLst>
                        <a:ext uri="{FF2B5EF4-FFF2-40B4-BE49-F238E27FC236}">
                          <a16:creationId xmlns:a16="http://schemas.microsoft.com/office/drawing/2014/main" id="{5AD94133-9E06-DF49-EA1D-D96DA22169F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90326" y="3742989"/>
                      <a:ext cx="85513" cy="158526"/>
                      <a:chOff x="11990326" y="3742989"/>
                      <a:chExt cx="85513" cy="158526"/>
                    </a:xfrm>
                    <a:solidFill>
                      <a:srgbClr val="02787D"/>
                    </a:solidFill>
                  </p:grpSpPr>
                  <p:sp>
                    <p:nvSpPr>
                      <p:cNvPr id="317" name="Freihandform: Form 316">
                        <a:extLst>
                          <a:ext uri="{FF2B5EF4-FFF2-40B4-BE49-F238E27FC236}">
                            <a16:creationId xmlns:a16="http://schemas.microsoft.com/office/drawing/2014/main" id="{32B3E9C1-4530-E7DC-8D1B-1ED852E5EE7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90326" y="3824551"/>
                        <a:ext cx="38110" cy="76964"/>
                      </a:xfrm>
                      <a:custGeom>
                        <a:avLst/>
                        <a:gdLst>
                          <a:gd name="connsiteX0" fmla="*/ 8575 w 38110"/>
                          <a:gd name="connsiteY0" fmla="*/ 76904 h 76964"/>
                          <a:gd name="connsiteX1" fmla="*/ 31076 w 38110"/>
                          <a:gd name="connsiteY1" fmla="*/ 46298 h 76964"/>
                          <a:gd name="connsiteX2" fmla="*/ 33012 w 38110"/>
                          <a:gd name="connsiteY2" fmla="*/ 6498 h 76964"/>
                          <a:gd name="connsiteX3" fmla="*/ 27870 w 38110"/>
                          <a:gd name="connsiteY3" fmla="*/ 147 h 76964"/>
                          <a:gd name="connsiteX4" fmla="*/ 5491 w 38110"/>
                          <a:gd name="connsiteY4" fmla="*/ 41157 h 76964"/>
                          <a:gd name="connsiteX5" fmla="*/ 8515 w 38110"/>
                          <a:gd name="connsiteY5" fmla="*/ 76964 h 76964"/>
                          <a:gd name="connsiteX6" fmla="*/ 8515 w 38110"/>
                          <a:gd name="connsiteY6" fmla="*/ 76964 h 769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8110" h="76964">
                            <a:moveTo>
                              <a:pt x="8575" y="76904"/>
                            </a:moveTo>
                            <a:lnTo>
                              <a:pt x="31076" y="46298"/>
                            </a:lnTo>
                            <a:cubicBezTo>
                              <a:pt x="39484" y="34563"/>
                              <a:pt x="40633" y="19805"/>
                              <a:pt x="33012" y="6498"/>
                            </a:cubicBezTo>
                            <a:cubicBezTo>
                              <a:pt x="30592" y="2204"/>
                              <a:pt x="28536" y="-700"/>
                              <a:pt x="27870" y="147"/>
                            </a:cubicBezTo>
                            <a:cubicBezTo>
                              <a:pt x="26540" y="1780"/>
                              <a:pt x="16922" y="19200"/>
                              <a:pt x="5491" y="41157"/>
                            </a:cubicBezTo>
                            <a:cubicBezTo>
                              <a:pt x="-1707" y="55008"/>
                              <a:pt x="-2917" y="65109"/>
                              <a:pt x="8515" y="76964"/>
                            </a:cubicBezTo>
                            <a:lnTo>
                              <a:pt x="8515" y="76964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18" name="Freihandform: Form 317">
                        <a:extLst>
                          <a:ext uri="{FF2B5EF4-FFF2-40B4-BE49-F238E27FC236}">
                            <a16:creationId xmlns:a16="http://schemas.microsoft.com/office/drawing/2014/main" id="{4D530E5C-51AC-8157-7103-93A1F8DD211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05558" y="3796330"/>
                        <a:ext cx="52356" cy="76575"/>
                      </a:xfrm>
                      <a:custGeom>
                        <a:avLst/>
                        <a:gdLst>
                          <a:gd name="connsiteX0" fmla="*/ 14271 w 52356"/>
                          <a:gd name="connsiteY0" fmla="*/ 76575 h 76575"/>
                          <a:gd name="connsiteX1" fmla="*/ 48144 w 52356"/>
                          <a:gd name="connsiteY1" fmla="*/ 28852 h 76575"/>
                          <a:gd name="connsiteX2" fmla="*/ 29817 w 52356"/>
                          <a:gd name="connsiteY2" fmla="*/ 1815 h 76575"/>
                          <a:gd name="connsiteX3" fmla="*/ 27518 w 52356"/>
                          <a:gd name="connsiteY3" fmla="*/ 0 h 76575"/>
                          <a:gd name="connsiteX4" fmla="*/ 3384 w 52356"/>
                          <a:gd name="connsiteY4" fmla="*/ 42280 h 76575"/>
                          <a:gd name="connsiteX5" fmla="*/ 13425 w 52356"/>
                          <a:gd name="connsiteY5" fmla="*/ 75910 h 76575"/>
                          <a:gd name="connsiteX6" fmla="*/ 14271 w 52356"/>
                          <a:gd name="connsiteY6" fmla="*/ 76575 h 7657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2356" h="76575">
                            <a:moveTo>
                              <a:pt x="14271" y="76575"/>
                            </a:moveTo>
                            <a:lnTo>
                              <a:pt x="48144" y="28852"/>
                            </a:lnTo>
                            <a:cubicBezTo>
                              <a:pt x="58366" y="14396"/>
                              <a:pt x="49111" y="6714"/>
                              <a:pt x="29817" y="1815"/>
                            </a:cubicBezTo>
                            <a:lnTo>
                              <a:pt x="27518" y="0"/>
                            </a:lnTo>
                            <a:lnTo>
                              <a:pt x="3384" y="42280"/>
                            </a:lnTo>
                            <a:cubicBezTo>
                              <a:pt x="-3814" y="55284"/>
                              <a:pt x="904" y="65809"/>
                              <a:pt x="13425" y="75910"/>
                            </a:cubicBezTo>
                            <a:lnTo>
                              <a:pt x="14271" y="7657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19" name="Freihandform: Form 318">
                        <a:extLst>
                          <a:ext uri="{FF2B5EF4-FFF2-40B4-BE49-F238E27FC236}">
                            <a16:creationId xmlns:a16="http://schemas.microsoft.com/office/drawing/2014/main" id="{ED7820B9-B354-240C-B995-54889BD0912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31820" y="3742989"/>
                        <a:ext cx="44019" cy="76991"/>
                      </a:xfrm>
                      <a:custGeom>
                        <a:avLst/>
                        <a:gdLst>
                          <a:gd name="connsiteX0" fmla="*/ 43959 w 44019"/>
                          <a:gd name="connsiteY0" fmla="*/ 12090 h 76991"/>
                          <a:gd name="connsiteX1" fmla="*/ 24725 w 44019"/>
                          <a:gd name="connsiteY1" fmla="*/ 76991 h 76991"/>
                          <a:gd name="connsiteX2" fmla="*/ 228 w 44019"/>
                          <a:gd name="connsiteY2" fmla="*/ 53886 h 76991"/>
                          <a:gd name="connsiteX3" fmla="*/ 4764 w 44019"/>
                          <a:gd name="connsiteY3" fmla="*/ 5981 h 76991"/>
                          <a:gd name="connsiteX4" fmla="*/ 44019 w 44019"/>
                          <a:gd name="connsiteY4" fmla="*/ 12150 h 7699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44019" h="76991">
                            <a:moveTo>
                              <a:pt x="43959" y="12090"/>
                            </a:moveTo>
                            <a:cubicBezTo>
                              <a:pt x="43778" y="13300"/>
                              <a:pt x="24725" y="76991"/>
                              <a:pt x="24725" y="76991"/>
                            </a:cubicBezTo>
                            <a:cubicBezTo>
                              <a:pt x="6881" y="72939"/>
                              <a:pt x="-1527" y="70640"/>
                              <a:pt x="228" y="53886"/>
                            </a:cubicBezTo>
                            <a:lnTo>
                              <a:pt x="4764" y="5981"/>
                            </a:lnTo>
                            <a:cubicBezTo>
                              <a:pt x="12143" y="-4181"/>
                              <a:pt x="40935" y="-915"/>
                              <a:pt x="44019" y="12150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320" name="Grafik 297">
                      <a:extLst>
                        <a:ext uri="{FF2B5EF4-FFF2-40B4-BE49-F238E27FC236}">
                          <a16:creationId xmlns:a16="http://schemas.microsoft.com/office/drawing/2014/main" id="{4AAE05CD-0CB7-E1C3-3476-4128428E962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87985" y="3749196"/>
                      <a:ext cx="74487" cy="151835"/>
                      <a:chOff x="11987985" y="3749196"/>
                      <a:chExt cx="74487" cy="151835"/>
                    </a:xfrm>
                    <a:solidFill>
                      <a:srgbClr val="02787D"/>
                    </a:solidFill>
                  </p:grpSpPr>
                  <p:sp>
                    <p:nvSpPr>
                      <p:cNvPr id="321" name="Freihandform: Form 320">
                        <a:extLst>
                          <a:ext uri="{FF2B5EF4-FFF2-40B4-BE49-F238E27FC236}">
                            <a16:creationId xmlns:a16="http://schemas.microsoft.com/office/drawing/2014/main" id="{209EF6B3-A9D8-93E3-9EDB-B735EB274F6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87985" y="3830759"/>
                        <a:ext cx="34589" cy="70272"/>
                      </a:xfrm>
                      <a:custGeom>
                        <a:avLst/>
                        <a:gdLst>
                          <a:gd name="connsiteX0" fmla="*/ 10917 w 34589"/>
                          <a:gd name="connsiteY0" fmla="*/ 70273 h 70272"/>
                          <a:gd name="connsiteX1" fmla="*/ 29426 w 34589"/>
                          <a:gd name="connsiteY1" fmla="*/ 40393 h 70272"/>
                          <a:gd name="connsiteX2" fmla="*/ 27672 w 34589"/>
                          <a:gd name="connsiteY2" fmla="*/ 5371 h 70272"/>
                          <a:gd name="connsiteX3" fmla="*/ 21744 w 34589"/>
                          <a:gd name="connsiteY3" fmla="*/ 169 h 70272"/>
                          <a:gd name="connsiteX4" fmla="*/ 3356 w 34589"/>
                          <a:gd name="connsiteY4" fmla="*/ 38215 h 70272"/>
                          <a:gd name="connsiteX5" fmla="*/ 10978 w 34589"/>
                          <a:gd name="connsiteY5" fmla="*/ 70273 h 70272"/>
                          <a:gd name="connsiteX6" fmla="*/ 10978 w 34589"/>
                          <a:gd name="connsiteY6" fmla="*/ 70273 h 7027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4589" h="70272">
                            <a:moveTo>
                              <a:pt x="10917" y="70273"/>
                            </a:moveTo>
                            <a:lnTo>
                              <a:pt x="29426" y="40393"/>
                            </a:lnTo>
                            <a:cubicBezTo>
                              <a:pt x="36260" y="28961"/>
                              <a:pt x="36926" y="16743"/>
                              <a:pt x="27672" y="5371"/>
                            </a:cubicBezTo>
                            <a:cubicBezTo>
                              <a:pt x="24708" y="1742"/>
                              <a:pt x="22288" y="-677"/>
                              <a:pt x="21744" y="169"/>
                            </a:cubicBezTo>
                            <a:cubicBezTo>
                              <a:pt x="20655" y="1803"/>
                              <a:pt x="11885" y="17287"/>
                              <a:pt x="3356" y="38215"/>
                            </a:cubicBezTo>
                            <a:cubicBezTo>
                              <a:pt x="-2027" y="51461"/>
                              <a:pt x="-1906" y="60716"/>
                              <a:pt x="10978" y="70273"/>
                            </a:cubicBezTo>
                            <a:lnTo>
                              <a:pt x="10978" y="70273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22" name="Freihandform: Form 321">
                        <a:extLst>
                          <a:ext uri="{FF2B5EF4-FFF2-40B4-BE49-F238E27FC236}">
                            <a16:creationId xmlns:a16="http://schemas.microsoft.com/office/drawing/2014/main" id="{D727BE33-3200-DB74-C4A5-7C53FC98CE1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01678" y="3796330"/>
                        <a:ext cx="46919" cy="74881"/>
                      </a:xfrm>
                      <a:custGeom>
                        <a:avLst/>
                        <a:gdLst>
                          <a:gd name="connsiteX0" fmla="*/ 15672 w 46919"/>
                          <a:gd name="connsiteY0" fmla="*/ 74821 h 74881"/>
                          <a:gd name="connsiteX1" fmla="*/ 43556 w 46919"/>
                          <a:gd name="connsiteY1" fmla="*/ 28670 h 74881"/>
                          <a:gd name="connsiteX2" fmla="*/ 26741 w 46919"/>
                          <a:gd name="connsiteY2" fmla="*/ 0 h 74881"/>
                          <a:gd name="connsiteX3" fmla="*/ 22084 w 46919"/>
                          <a:gd name="connsiteY3" fmla="*/ 4960 h 74881"/>
                          <a:gd name="connsiteX4" fmla="*/ 2124 w 46919"/>
                          <a:gd name="connsiteY4" fmla="*/ 46393 h 74881"/>
                          <a:gd name="connsiteX5" fmla="*/ 15672 w 46919"/>
                          <a:gd name="connsiteY5" fmla="*/ 74881 h 74881"/>
                          <a:gd name="connsiteX6" fmla="*/ 15672 w 46919"/>
                          <a:gd name="connsiteY6" fmla="*/ 74881 h 74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6919" h="74881">
                            <a:moveTo>
                              <a:pt x="15672" y="74821"/>
                            </a:moveTo>
                            <a:lnTo>
                              <a:pt x="43556" y="28670"/>
                            </a:lnTo>
                            <a:cubicBezTo>
                              <a:pt x="51843" y="14577"/>
                              <a:pt x="44282" y="7561"/>
                              <a:pt x="26741" y="0"/>
                            </a:cubicBezTo>
                            <a:lnTo>
                              <a:pt x="22084" y="4960"/>
                            </a:lnTo>
                            <a:lnTo>
                              <a:pt x="2124" y="46393"/>
                            </a:lnTo>
                            <a:cubicBezTo>
                              <a:pt x="-3320" y="58853"/>
                              <a:pt x="1881" y="66958"/>
                              <a:pt x="15672" y="74881"/>
                            </a:cubicBezTo>
                            <a:lnTo>
                              <a:pt x="15672" y="74881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23" name="Freihandform: Form 322">
                        <a:extLst>
                          <a:ext uri="{FF2B5EF4-FFF2-40B4-BE49-F238E27FC236}">
                            <a16:creationId xmlns:a16="http://schemas.microsoft.com/office/drawing/2014/main" id="{A1F7D5EB-2D29-1462-BE0F-2991CE819C5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23561" y="3749196"/>
                        <a:ext cx="38911" cy="69332"/>
                      </a:xfrm>
                      <a:custGeom>
                        <a:avLst/>
                        <a:gdLst>
                          <a:gd name="connsiteX0" fmla="*/ 38851 w 38911"/>
                          <a:gd name="connsiteY0" fmla="*/ 6729 h 69332"/>
                          <a:gd name="connsiteX1" fmla="*/ 24576 w 38911"/>
                          <a:gd name="connsiteY1" fmla="*/ 69332 h 69332"/>
                          <a:gd name="connsiteX2" fmla="*/ 19 w 38911"/>
                          <a:gd name="connsiteY2" fmla="*/ 54392 h 69332"/>
                          <a:gd name="connsiteX3" fmla="*/ 3950 w 38911"/>
                          <a:gd name="connsiteY3" fmla="*/ 9814 h 69332"/>
                          <a:gd name="connsiteX4" fmla="*/ 38911 w 38911"/>
                          <a:gd name="connsiteY4" fmla="*/ 6729 h 6933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38911" h="69332">
                            <a:moveTo>
                              <a:pt x="38851" y="6729"/>
                            </a:moveTo>
                            <a:cubicBezTo>
                              <a:pt x="38790" y="7818"/>
                              <a:pt x="24576" y="69332"/>
                              <a:pt x="24576" y="69332"/>
                            </a:cubicBezTo>
                            <a:cubicBezTo>
                              <a:pt x="6370" y="66611"/>
                              <a:pt x="-405" y="69756"/>
                              <a:pt x="19" y="54392"/>
                            </a:cubicBezTo>
                            <a:lnTo>
                              <a:pt x="3950" y="9814"/>
                            </a:lnTo>
                            <a:cubicBezTo>
                              <a:pt x="10543" y="197"/>
                              <a:pt x="34798" y="-4944"/>
                              <a:pt x="38911" y="6729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324" name="Grafik 297">
                      <a:extLst>
                        <a:ext uri="{FF2B5EF4-FFF2-40B4-BE49-F238E27FC236}">
                          <a16:creationId xmlns:a16="http://schemas.microsoft.com/office/drawing/2014/main" id="{EA59B917-8F56-3759-2E95-638010CF2FA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46098" y="3618585"/>
                      <a:ext cx="105739" cy="213190"/>
                      <a:chOff x="11946098" y="3618585"/>
                      <a:chExt cx="105739" cy="213190"/>
                    </a:xfrm>
                    <a:solidFill>
                      <a:srgbClr val="02787D"/>
                    </a:solidFill>
                  </p:grpSpPr>
                  <p:sp>
                    <p:nvSpPr>
                      <p:cNvPr id="325" name="Freihandform: Form 324">
                        <a:extLst>
                          <a:ext uri="{FF2B5EF4-FFF2-40B4-BE49-F238E27FC236}">
                            <a16:creationId xmlns:a16="http://schemas.microsoft.com/office/drawing/2014/main" id="{F825FD72-9942-FE15-57E3-09E481B40BD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58921" y="3744917"/>
                        <a:ext cx="32671" cy="86858"/>
                      </a:xfrm>
                      <a:custGeom>
                        <a:avLst/>
                        <a:gdLst>
                          <a:gd name="connsiteX0" fmla="*/ 12339 w 32671"/>
                          <a:gd name="connsiteY0" fmla="*/ 86858 h 86858"/>
                          <a:gd name="connsiteX1" fmla="*/ 0 w 32671"/>
                          <a:gd name="connsiteY1" fmla="*/ 44216 h 86858"/>
                          <a:gd name="connsiteX2" fmla="*/ 11673 w 32671"/>
                          <a:gd name="connsiteY2" fmla="*/ 2359 h 86858"/>
                          <a:gd name="connsiteX3" fmla="*/ 20202 w 32671"/>
                          <a:gd name="connsiteY3" fmla="*/ 1089 h 86858"/>
                          <a:gd name="connsiteX4" fmla="*/ 31997 w 32671"/>
                          <a:gd name="connsiteY4" fmla="*/ 52684 h 86858"/>
                          <a:gd name="connsiteX5" fmla="*/ 12399 w 32671"/>
                          <a:gd name="connsiteY5" fmla="*/ 86858 h 86858"/>
                          <a:gd name="connsiteX6" fmla="*/ 12399 w 32671"/>
                          <a:gd name="connsiteY6" fmla="*/ 86858 h 868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2671" h="86858">
                            <a:moveTo>
                              <a:pt x="12339" y="86858"/>
                            </a:moveTo>
                            <a:lnTo>
                              <a:pt x="0" y="44216"/>
                            </a:lnTo>
                            <a:cubicBezTo>
                              <a:pt x="1573" y="30304"/>
                              <a:pt x="3206" y="8771"/>
                              <a:pt x="11673" y="2359"/>
                            </a:cubicBezTo>
                            <a:cubicBezTo>
                              <a:pt x="16452" y="-1270"/>
                              <a:pt x="19779" y="121"/>
                              <a:pt x="20202" y="1089"/>
                            </a:cubicBezTo>
                            <a:cubicBezTo>
                              <a:pt x="23347" y="8226"/>
                              <a:pt x="28610" y="30909"/>
                              <a:pt x="31997" y="52684"/>
                            </a:cubicBezTo>
                            <a:cubicBezTo>
                              <a:pt x="34356" y="67805"/>
                              <a:pt x="31150" y="77906"/>
                              <a:pt x="12399" y="86858"/>
                            </a:cubicBezTo>
                            <a:lnTo>
                              <a:pt x="12399" y="86858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26" name="Freihandform: Form 325">
                        <a:extLst>
                          <a:ext uri="{FF2B5EF4-FFF2-40B4-BE49-F238E27FC236}">
                            <a16:creationId xmlns:a16="http://schemas.microsoft.com/office/drawing/2014/main" id="{22D0EA89-1B05-4DB2-ADBB-27EEDDFFB5E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46098" y="3716544"/>
                        <a:ext cx="49961" cy="74915"/>
                      </a:xfrm>
                      <a:custGeom>
                        <a:avLst/>
                        <a:gdLst>
                          <a:gd name="connsiteX0" fmla="*/ 0 w 49961"/>
                          <a:gd name="connsiteY0" fmla="*/ 6901 h 74915"/>
                          <a:gd name="connsiteX1" fmla="*/ 49961 w 49961"/>
                          <a:gd name="connsiteY1" fmla="*/ 13554 h 74915"/>
                          <a:gd name="connsiteX2" fmla="*/ 38651 w 49961"/>
                          <a:gd name="connsiteY2" fmla="*/ 49180 h 74915"/>
                          <a:gd name="connsiteX3" fmla="*/ 12823 w 49961"/>
                          <a:gd name="connsiteY3" fmla="*/ 72588 h 74915"/>
                          <a:gd name="connsiteX4" fmla="*/ 0 w 49961"/>
                          <a:gd name="connsiteY4" fmla="*/ 6901 h 7491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49961" h="74915">
                            <a:moveTo>
                              <a:pt x="0" y="6901"/>
                            </a:moveTo>
                            <a:cubicBezTo>
                              <a:pt x="16029" y="-11850"/>
                              <a:pt x="49961" y="13554"/>
                              <a:pt x="49961" y="13554"/>
                            </a:cubicBezTo>
                            <a:lnTo>
                              <a:pt x="38651" y="49180"/>
                            </a:lnTo>
                            <a:cubicBezTo>
                              <a:pt x="36836" y="64846"/>
                              <a:pt x="25404" y="81056"/>
                              <a:pt x="12823" y="72588"/>
                            </a:cubicBezTo>
                            <a:cubicBezTo>
                              <a:pt x="12823" y="72588"/>
                              <a:pt x="61" y="6175"/>
                              <a:pt x="0" y="6901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27" name="Freihandform: Form 326">
                        <a:extLst>
                          <a:ext uri="{FF2B5EF4-FFF2-40B4-BE49-F238E27FC236}">
                            <a16:creationId xmlns:a16="http://schemas.microsoft.com/office/drawing/2014/main" id="{7423FC1F-B614-D738-43D9-567CF21A8A0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46098" y="3618585"/>
                        <a:ext cx="105739" cy="122980"/>
                      </a:xfrm>
                      <a:custGeom>
                        <a:avLst/>
                        <a:gdLst>
                          <a:gd name="connsiteX0" fmla="*/ 13005 w 105739"/>
                          <a:gd name="connsiteY0" fmla="*/ 52237 h 122980"/>
                          <a:gd name="connsiteX1" fmla="*/ 0 w 105739"/>
                          <a:gd name="connsiteY1" fmla="*/ 104860 h 122980"/>
                          <a:gd name="connsiteX2" fmla="*/ 0 w 105739"/>
                          <a:gd name="connsiteY2" fmla="*/ 104860 h 122980"/>
                          <a:gd name="connsiteX3" fmla="*/ 49598 w 105739"/>
                          <a:gd name="connsiteY3" fmla="*/ 112360 h 122980"/>
                          <a:gd name="connsiteX4" fmla="*/ 96475 w 105739"/>
                          <a:gd name="connsiteY4" fmla="*/ 56532 h 122980"/>
                          <a:gd name="connsiteX5" fmla="*/ 47300 w 105739"/>
                          <a:gd name="connsiteY5" fmla="*/ 3244 h 122980"/>
                          <a:gd name="connsiteX6" fmla="*/ 12944 w 105739"/>
                          <a:gd name="connsiteY6" fmla="*/ 52237 h 12298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105739" h="122980">
                            <a:moveTo>
                              <a:pt x="13005" y="52237"/>
                            </a:moveTo>
                            <a:cubicBezTo>
                              <a:pt x="7561" y="66875"/>
                              <a:pt x="0" y="104860"/>
                              <a:pt x="0" y="104860"/>
                            </a:cubicBezTo>
                            <a:lnTo>
                              <a:pt x="0" y="104860"/>
                            </a:lnTo>
                            <a:cubicBezTo>
                              <a:pt x="5685" y="123853"/>
                              <a:pt x="34114" y="130385"/>
                              <a:pt x="49598" y="112360"/>
                            </a:cubicBezTo>
                            <a:cubicBezTo>
                              <a:pt x="49598" y="112360"/>
                              <a:pt x="65083" y="73286"/>
                              <a:pt x="96475" y="56532"/>
                            </a:cubicBezTo>
                            <a:cubicBezTo>
                              <a:pt x="123633" y="42015"/>
                              <a:pt x="86192" y="-13934"/>
                              <a:pt x="47300" y="3244"/>
                            </a:cubicBezTo>
                            <a:cubicBezTo>
                              <a:pt x="27642" y="23204"/>
                              <a:pt x="12944" y="52237"/>
                              <a:pt x="12944" y="52237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328" name="Freihandform: Form 327">
                      <a:extLst>
                        <a:ext uri="{FF2B5EF4-FFF2-40B4-BE49-F238E27FC236}">
                          <a16:creationId xmlns:a16="http://schemas.microsoft.com/office/drawing/2014/main" id="{B76100AE-BE60-0D2B-F8FF-C78749A06E7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52267" y="3601082"/>
                      <a:ext cx="137060" cy="179703"/>
                    </a:xfrm>
                    <a:custGeom>
                      <a:avLst/>
                      <a:gdLst>
                        <a:gd name="connsiteX0" fmla="*/ 137061 w 137060"/>
                        <a:gd name="connsiteY0" fmla="*/ 137243 h 179703"/>
                        <a:gd name="connsiteX1" fmla="*/ 128895 w 137060"/>
                        <a:gd name="connsiteY1" fmla="*/ 10645 h 179703"/>
                        <a:gd name="connsiteX2" fmla="*/ 44578 w 137060"/>
                        <a:gd name="connsiteY2" fmla="*/ 0 h 179703"/>
                        <a:gd name="connsiteX3" fmla="*/ 36352 w 137060"/>
                        <a:gd name="connsiteY3" fmla="*/ 21352 h 179703"/>
                        <a:gd name="connsiteX4" fmla="*/ 0 w 137060"/>
                        <a:gd name="connsiteY4" fmla="*/ 96778 h 179703"/>
                        <a:gd name="connsiteX5" fmla="*/ 45183 w 137060"/>
                        <a:gd name="connsiteY5" fmla="*/ 123633 h 179703"/>
                        <a:gd name="connsiteX6" fmla="*/ 74216 w 137060"/>
                        <a:gd name="connsiteY6" fmla="*/ 179704 h 179703"/>
                        <a:gd name="connsiteX7" fmla="*/ 134339 w 137060"/>
                        <a:gd name="connsiteY7" fmla="*/ 161921 h 179703"/>
                        <a:gd name="connsiteX8" fmla="*/ 137061 w 137060"/>
                        <a:gd name="connsiteY8" fmla="*/ 137303 h 1797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37060" h="179703">
                          <a:moveTo>
                            <a:pt x="137061" y="137243"/>
                          </a:moveTo>
                          <a:cubicBezTo>
                            <a:pt x="133130" y="104580"/>
                            <a:pt x="128774" y="66232"/>
                            <a:pt x="128895" y="10645"/>
                          </a:cubicBezTo>
                          <a:lnTo>
                            <a:pt x="44578" y="0"/>
                          </a:lnTo>
                          <a:cubicBezTo>
                            <a:pt x="42219" y="13972"/>
                            <a:pt x="38651" y="19537"/>
                            <a:pt x="36352" y="21352"/>
                          </a:cubicBezTo>
                          <a:cubicBezTo>
                            <a:pt x="1693" y="48510"/>
                            <a:pt x="0" y="96778"/>
                            <a:pt x="0" y="96778"/>
                          </a:cubicBezTo>
                          <a:cubicBezTo>
                            <a:pt x="61" y="101374"/>
                            <a:pt x="31331" y="97624"/>
                            <a:pt x="45183" y="123633"/>
                          </a:cubicBezTo>
                          <a:cubicBezTo>
                            <a:pt x="49115" y="131012"/>
                            <a:pt x="73671" y="141174"/>
                            <a:pt x="74216" y="179704"/>
                          </a:cubicBezTo>
                          <a:cubicBezTo>
                            <a:pt x="116435" y="145832"/>
                            <a:pt x="132585" y="160953"/>
                            <a:pt x="134339" y="161921"/>
                          </a:cubicBezTo>
                          <a:cubicBezTo>
                            <a:pt x="134823" y="152183"/>
                            <a:pt x="136759" y="143957"/>
                            <a:pt x="137061" y="137303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29" name="Freihandform: Form 328">
                      <a:extLst>
                        <a:ext uri="{FF2B5EF4-FFF2-40B4-BE49-F238E27FC236}">
                          <a16:creationId xmlns:a16="http://schemas.microsoft.com/office/drawing/2014/main" id="{E5032B0E-6D7E-9028-5C46-11A01DA64D6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96180" y="3566242"/>
                      <a:ext cx="85164" cy="85164"/>
                    </a:xfrm>
                    <a:custGeom>
                      <a:avLst/>
                      <a:gdLst>
                        <a:gd name="connsiteX0" fmla="*/ 85164 w 85164"/>
                        <a:gd name="connsiteY0" fmla="*/ 42582 h 85164"/>
                        <a:gd name="connsiteX1" fmla="*/ 42582 w 85164"/>
                        <a:gd name="connsiteY1" fmla="*/ 85164 h 85164"/>
                        <a:gd name="connsiteX2" fmla="*/ 0 w 85164"/>
                        <a:gd name="connsiteY2" fmla="*/ 42582 h 85164"/>
                        <a:gd name="connsiteX3" fmla="*/ 42582 w 85164"/>
                        <a:gd name="connsiteY3" fmla="*/ 0 h 85164"/>
                        <a:gd name="connsiteX4" fmla="*/ 85164 w 85164"/>
                        <a:gd name="connsiteY4" fmla="*/ 42582 h 851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5164" h="85164">
                          <a:moveTo>
                            <a:pt x="85164" y="42582"/>
                          </a:moveTo>
                          <a:cubicBezTo>
                            <a:pt x="85164" y="66100"/>
                            <a:pt x="66100" y="85164"/>
                            <a:pt x="42582" y="85164"/>
                          </a:cubicBezTo>
                          <a:cubicBezTo>
                            <a:pt x="19065" y="85164"/>
                            <a:pt x="0" y="66100"/>
                            <a:pt x="0" y="42582"/>
                          </a:cubicBezTo>
                          <a:cubicBezTo>
                            <a:pt x="0" y="19065"/>
                            <a:pt x="19064" y="0"/>
                            <a:pt x="42582" y="0"/>
                          </a:cubicBezTo>
                          <a:cubicBezTo>
                            <a:pt x="66099" y="0"/>
                            <a:pt x="85164" y="19065"/>
                            <a:pt x="85164" y="42582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sp>
              <p:nvSpPr>
                <p:cNvPr id="330" name="Freihandform: Form 329">
                  <a:extLst>
                    <a:ext uri="{FF2B5EF4-FFF2-40B4-BE49-F238E27FC236}">
                      <a16:creationId xmlns:a16="http://schemas.microsoft.com/office/drawing/2014/main" id="{D80F530E-9F07-EBD1-2532-B0B8BB5E27FD}"/>
                    </a:ext>
                  </a:extLst>
                </p:cNvPr>
                <p:cNvSpPr/>
                <p:nvPr/>
              </p:nvSpPr>
              <p:spPr>
                <a:xfrm>
                  <a:off x="11321277" y="3386780"/>
                  <a:ext cx="363036" cy="363036"/>
                </a:xfrm>
                <a:custGeom>
                  <a:avLst/>
                  <a:gdLst>
                    <a:gd name="connsiteX0" fmla="*/ 363037 w 363036"/>
                    <a:gd name="connsiteY0" fmla="*/ 181518 h 363036"/>
                    <a:gd name="connsiteX1" fmla="*/ 181518 w 363036"/>
                    <a:gd name="connsiteY1" fmla="*/ 363037 h 363036"/>
                    <a:gd name="connsiteX2" fmla="*/ 0 w 363036"/>
                    <a:gd name="connsiteY2" fmla="*/ 181518 h 363036"/>
                    <a:gd name="connsiteX3" fmla="*/ 181518 w 363036"/>
                    <a:gd name="connsiteY3" fmla="*/ 0 h 363036"/>
                    <a:gd name="connsiteX4" fmla="*/ 363037 w 363036"/>
                    <a:gd name="connsiteY4" fmla="*/ 181518 h 3630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3036" h="363036">
                      <a:moveTo>
                        <a:pt x="363037" y="181518"/>
                      </a:moveTo>
                      <a:cubicBezTo>
                        <a:pt x="363037" y="281768"/>
                        <a:pt x="281768" y="363037"/>
                        <a:pt x="181518" y="363037"/>
                      </a:cubicBezTo>
                      <a:cubicBezTo>
                        <a:pt x="81268" y="363037"/>
                        <a:pt x="0" y="281768"/>
                        <a:pt x="0" y="181518"/>
                      </a:cubicBezTo>
                      <a:cubicBezTo>
                        <a:pt x="0" y="81269"/>
                        <a:pt x="81268" y="0"/>
                        <a:pt x="181518" y="0"/>
                      </a:cubicBezTo>
                      <a:cubicBezTo>
                        <a:pt x="281768" y="0"/>
                        <a:pt x="363037" y="81269"/>
                        <a:pt x="363037" y="181518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1" name="Freihandform: Form 330">
                  <a:extLst>
                    <a:ext uri="{FF2B5EF4-FFF2-40B4-BE49-F238E27FC236}">
                      <a16:creationId xmlns:a16="http://schemas.microsoft.com/office/drawing/2014/main" id="{88BD23F6-2969-2DA8-BE3B-E8481DF27AB8}"/>
                    </a:ext>
                  </a:extLst>
                </p:cNvPr>
                <p:cNvSpPr/>
                <p:nvPr/>
              </p:nvSpPr>
              <p:spPr>
                <a:xfrm>
                  <a:off x="11686068" y="3386780"/>
                  <a:ext cx="366302" cy="366303"/>
                </a:xfrm>
                <a:custGeom>
                  <a:avLst/>
                  <a:gdLst>
                    <a:gd name="connsiteX0" fmla="*/ 366303 w 366302"/>
                    <a:gd name="connsiteY0" fmla="*/ 183151 h 366303"/>
                    <a:gd name="connsiteX1" fmla="*/ 183151 w 366302"/>
                    <a:gd name="connsiteY1" fmla="*/ 366303 h 366303"/>
                    <a:gd name="connsiteX2" fmla="*/ -1 w 366302"/>
                    <a:gd name="connsiteY2" fmla="*/ 183151 h 366303"/>
                    <a:gd name="connsiteX3" fmla="*/ 183151 w 366302"/>
                    <a:gd name="connsiteY3" fmla="*/ 0 h 366303"/>
                    <a:gd name="connsiteX4" fmla="*/ 366303 w 366302"/>
                    <a:gd name="connsiteY4" fmla="*/ 183151 h 3663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6302" h="366303">
                      <a:moveTo>
                        <a:pt x="366303" y="183151"/>
                      </a:moveTo>
                      <a:cubicBezTo>
                        <a:pt x="366303" y="284303"/>
                        <a:pt x="284303" y="366303"/>
                        <a:pt x="183151" y="366303"/>
                      </a:cubicBezTo>
                      <a:cubicBezTo>
                        <a:pt x="82000" y="366303"/>
                        <a:pt x="-1" y="284303"/>
                        <a:pt x="-1" y="183151"/>
                      </a:cubicBezTo>
                      <a:cubicBezTo>
                        <a:pt x="-1" y="82000"/>
                        <a:pt x="81999" y="0"/>
                        <a:pt x="183151" y="0"/>
                      </a:cubicBezTo>
                      <a:cubicBezTo>
                        <a:pt x="284303" y="0"/>
                        <a:pt x="366303" y="82000"/>
                        <a:pt x="366303" y="183151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2" name="Freihandform: Form 331">
                  <a:extLst>
                    <a:ext uri="{FF2B5EF4-FFF2-40B4-BE49-F238E27FC236}">
                      <a16:creationId xmlns:a16="http://schemas.microsoft.com/office/drawing/2014/main" id="{46631212-16CE-DC13-E1C0-948CF7BEA391}"/>
                    </a:ext>
                  </a:extLst>
                </p:cNvPr>
                <p:cNvSpPr/>
                <p:nvPr/>
              </p:nvSpPr>
              <p:spPr>
                <a:xfrm>
                  <a:off x="11431967" y="2413137"/>
                  <a:ext cx="543949" cy="331530"/>
                </a:xfrm>
                <a:custGeom>
                  <a:avLst/>
                  <a:gdLst>
                    <a:gd name="connsiteX0" fmla="*/ 255129 w 543949"/>
                    <a:gd name="connsiteY0" fmla="*/ 331524 h 331530"/>
                    <a:gd name="connsiteX1" fmla="*/ 543950 w 543949"/>
                    <a:gd name="connsiteY1" fmla="*/ 92544 h 331530"/>
                    <a:gd name="connsiteX2" fmla="*/ 374045 w 543949"/>
                    <a:gd name="connsiteY2" fmla="*/ 35929 h 331530"/>
                    <a:gd name="connsiteX3" fmla="*/ 254706 w 543949"/>
                    <a:gd name="connsiteY3" fmla="*/ 0 h 331530"/>
                    <a:gd name="connsiteX4" fmla="*/ 126960 w 543949"/>
                    <a:gd name="connsiteY4" fmla="*/ 37743 h 331530"/>
                    <a:gd name="connsiteX5" fmla="*/ 0 w 543949"/>
                    <a:gd name="connsiteY5" fmla="*/ 79720 h 331530"/>
                    <a:gd name="connsiteX6" fmla="*/ 255129 w 543949"/>
                    <a:gd name="connsiteY6" fmla="*/ 331524 h 331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43949" h="331530">
                      <a:moveTo>
                        <a:pt x="255129" y="331524"/>
                      </a:moveTo>
                      <a:cubicBezTo>
                        <a:pt x="466710" y="332975"/>
                        <a:pt x="543950" y="92544"/>
                        <a:pt x="543950" y="92544"/>
                      </a:cubicBezTo>
                      <a:lnTo>
                        <a:pt x="374045" y="35929"/>
                      </a:lnTo>
                      <a:lnTo>
                        <a:pt x="254706" y="0"/>
                      </a:lnTo>
                      <a:lnTo>
                        <a:pt x="126960" y="37743"/>
                      </a:lnTo>
                      <a:lnTo>
                        <a:pt x="0" y="79720"/>
                      </a:lnTo>
                      <a:cubicBezTo>
                        <a:pt x="0" y="79720"/>
                        <a:pt x="43610" y="330072"/>
                        <a:pt x="255129" y="331524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3" name="Freihandform: Form 332">
                  <a:extLst>
                    <a:ext uri="{FF2B5EF4-FFF2-40B4-BE49-F238E27FC236}">
                      <a16:creationId xmlns:a16="http://schemas.microsoft.com/office/drawing/2014/main" id="{5B668DBE-4B03-7C3D-FBC7-F4DE748B1E4C}"/>
                    </a:ext>
                  </a:extLst>
                </p:cNvPr>
                <p:cNvSpPr/>
                <p:nvPr/>
              </p:nvSpPr>
              <p:spPr>
                <a:xfrm>
                  <a:off x="11358295" y="2428077"/>
                  <a:ext cx="321746" cy="175911"/>
                </a:xfrm>
                <a:custGeom>
                  <a:avLst/>
                  <a:gdLst>
                    <a:gd name="connsiteX0" fmla="*/ 317370 w 321746"/>
                    <a:gd name="connsiteY0" fmla="*/ 148554 h 175911"/>
                    <a:gd name="connsiteX1" fmla="*/ 275514 w 321746"/>
                    <a:gd name="connsiteY1" fmla="*/ 15122 h 175911"/>
                    <a:gd name="connsiteX2" fmla="*/ 277752 w 321746"/>
                    <a:gd name="connsiteY2" fmla="*/ 0 h 175911"/>
                    <a:gd name="connsiteX3" fmla="*/ 200572 w 321746"/>
                    <a:gd name="connsiteY3" fmla="*/ 22803 h 175911"/>
                    <a:gd name="connsiteX4" fmla="*/ 0 w 321746"/>
                    <a:gd name="connsiteY4" fmla="*/ 89156 h 175911"/>
                    <a:gd name="connsiteX5" fmla="*/ 317310 w 321746"/>
                    <a:gd name="connsiteY5" fmla="*/ 148554 h 1759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1746" h="175911">
                      <a:moveTo>
                        <a:pt x="317370" y="148554"/>
                      </a:moveTo>
                      <a:cubicBezTo>
                        <a:pt x="338721" y="126113"/>
                        <a:pt x="274970" y="91757"/>
                        <a:pt x="275514" y="15122"/>
                      </a:cubicBezTo>
                      <a:cubicBezTo>
                        <a:pt x="275514" y="9496"/>
                        <a:pt x="276482" y="4597"/>
                        <a:pt x="277752" y="0"/>
                      </a:cubicBezTo>
                      <a:lnTo>
                        <a:pt x="200572" y="22803"/>
                      </a:lnTo>
                      <a:lnTo>
                        <a:pt x="0" y="89156"/>
                      </a:lnTo>
                      <a:cubicBezTo>
                        <a:pt x="21110" y="129682"/>
                        <a:pt x="138574" y="221621"/>
                        <a:pt x="317310" y="148554"/>
                      </a:cubicBez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4" name="Freihandform: Form 333">
                  <a:extLst>
                    <a:ext uri="{FF2B5EF4-FFF2-40B4-BE49-F238E27FC236}">
                      <a16:creationId xmlns:a16="http://schemas.microsoft.com/office/drawing/2014/main" id="{F1C0D228-50EC-6FFA-28E6-E9D9B28DE9C0}"/>
                    </a:ext>
                  </a:extLst>
                </p:cNvPr>
                <p:cNvSpPr/>
                <p:nvPr/>
              </p:nvSpPr>
              <p:spPr>
                <a:xfrm>
                  <a:off x="11594311" y="4818059"/>
                  <a:ext cx="146013" cy="183695"/>
                </a:xfrm>
                <a:custGeom>
                  <a:avLst/>
                  <a:gdLst>
                    <a:gd name="connsiteX0" fmla="*/ 0 w 146013"/>
                    <a:gd name="connsiteY0" fmla="*/ 18146 h 183695"/>
                    <a:gd name="connsiteX1" fmla="*/ 54558 w 146013"/>
                    <a:gd name="connsiteY1" fmla="*/ 183696 h 183695"/>
                    <a:gd name="connsiteX2" fmla="*/ 146013 w 146013"/>
                    <a:gd name="connsiteY2" fmla="*/ 170691 h 183695"/>
                    <a:gd name="connsiteX3" fmla="*/ 127807 w 146013"/>
                    <a:gd name="connsiteY3" fmla="*/ 0 h 183695"/>
                    <a:gd name="connsiteX4" fmla="*/ 0 w 146013"/>
                    <a:gd name="connsiteY4" fmla="*/ 18206 h 183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013" h="183695">
                      <a:moveTo>
                        <a:pt x="0" y="18146"/>
                      </a:moveTo>
                      <a:cubicBezTo>
                        <a:pt x="22501" y="79176"/>
                        <a:pt x="43308" y="138876"/>
                        <a:pt x="54558" y="183696"/>
                      </a:cubicBezTo>
                      <a:lnTo>
                        <a:pt x="146013" y="170691"/>
                      </a:lnTo>
                      <a:cubicBezTo>
                        <a:pt x="146013" y="170691"/>
                        <a:pt x="137484" y="91999"/>
                        <a:pt x="127807" y="0"/>
                      </a:cubicBezTo>
                      <a:lnTo>
                        <a:pt x="0" y="18206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5" name="Freihandform: Form 334">
                  <a:extLst>
                    <a:ext uri="{FF2B5EF4-FFF2-40B4-BE49-F238E27FC236}">
                      <a16:creationId xmlns:a16="http://schemas.microsoft.com/office/drawing/2014/main" id="{4B5B6BBC-346C-1027-3210-F2F3DC5BB00C}"/>
                    </a:ext>
                  </a:extLst>
                </p:cNvPr>
                <p:cNvSpPr/>
                <p:nvPr/>
              </p:nvSpPr>
              <p:spPr>
                <a:xfrm>
                  <a:off x="11581075" y="4991110"/>
                  <a:ext cx="189371" cy="147888"/>
                </a:xfrm>
                <a:custGeom>
                  <a:avLst/>
                  <a:gdLst>
                    <a:gd name="connsiteX0" fmla="*/ 67492 w 189371"/>
                    <a:gd name="connsiteY0" fmla="*/ 8287 h 147888"/>
                    <a:gd name="connsiteX1" fmla="*/ 51 w 189371"/>
                    <a:gd name="connsiteY1" fmla="*/ 147888 h 147888"/>
                    <a:gd name="connsiteX2" fmla="*/ 189371 w 189371"/>
                    <a:gd name="connsiteY2" fmla="*/ 130892 h 147888"/>
                    <a:gd name="connsiteX3" fmla="*/ 159492 w 189371"/>
                    <a:gd name="connsiteY3" fmla="*/ 0 h 147888"/>
                    <a:gd name="connsiteX4" fmla="*/ 67492 w 189371"/>
                    <a:gd name="connsiteY4" fmla="*/ 8287 h 147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9371" h="147888">
                      <a:moveTo>
                        <a:pt x="67492" y="8287"/>
                      </a:moveTo>
                      <a:cubicBezTo>
                        <a:pt x="62775" y="101072"/>
                        <a:pt x="-2067" y="123815"/>
                        <a:pt x="51" y="147888"/>
                      </a:cubicBezTo>
                      <a:lnTo>
                        <a:pt x="189371" y="130892"/>
                      </a:lnTo>
                      <a:cubicBezTo>
                        <a:pt x="173766" y="80023"/>
                        <a:pt x="167899" y="41675"/>
                        <a:pt x="159492" y="0"/>
                      </a:cubicBezTo>
                      <a:lnTo>
                        <a:pt x="67492" y="8287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6" name="Freihandform: Form 335">
                  <a:extLst>
                    <a:ext uri="{FF2B5EF4-FFF2-40B4-BE49-F238E27FC236}">
                      <a16:creationId xmlns:a16="http://schemas.microsoft.com/office/drawing/2014/main" id="{46E1A059-08C2-6BB4-A7CC-ABBB5EAD30BE}"/>
                    </a:ext>
                  </a:extLst>
                </p:cNvPr>
                <p:cNvSpPr/>
                <p:nvPr/>
              </p:nvSpPr>
              <p:spPr>
                <a:xfrm>
                  <a:off x="11320709" y="3561947"/>
                  <a:ext cx="366367" cy="731577"/>
                </a:xfrm>
                <a:custGeom>
                  <a:avLst/>
                  <a:gdLst>
                    <a:gd name="connsiteX0" fmla="*/ 342557 w 366367"/>
                    <a:gd name="connsiteY0" fmla="*/ 731517 h 731577"/>
                    <a:gd name="connsiteX1" fmla="*/ 128799 w 366367"/>
                    <a:gd name="connsiteY1" fmla="*/ 731517 h 731577"/>
                    <a:gd name="connsiteX2" fmla="*/ 72124 w 366367"/>
                    <a:gd name="connsiteY2" fmla="*/ 522659 h 731577"/>
                    <a:gd name="connsiteX3" fmla="*/ 14481 w 366367"/>
                    <a:gd name="connsiteY3" fmla="*/ 210612 h 731577"/>
                    <a:gd name="connsiteX4" fmla="*/ 387 w 366367"/>
                    <a:gd name="connsiteY4" fmla="*/ 8589 h 731577"/>
                    <a:gd name="connsiteX5" fmla="*/ 363484 w 366367"/>
                    <a:gd name="connsiteY5" fmla="*/ 0 h 731577"/>
                    <a:gd name="connsiteX6" fmla="*/ 342557 w 366367"/>
                    <a:gd name="connsiteY6" fmla="*/ 731578 h 7315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66367" h="731577">
                      <a:moveTo>
                        <a:pt x="342557" y="731517"/>
                      </a:moveTo>
                      <a:lnTo>
                        <a:pt x="128799" y="731517"/>
                      </a:lnTo>
                      <a:cubicBezTo>
                        <a:pt x="128799" y="731517"/>
                        <a:pt x="93778" y="595303"/>
                        <a:pt x="72124" y="522659"/>
                      </a:cubicBezTo>
                      <a:cubicBezTo>
                        <a:pt x="50470" y="450016"/>
                        <a:pt x="25489" y="306361"/>
                        <a:pt x="14481" y="210612"/>
                      </a:cubicBezTo>
                      <a:cubicBezTo>
                        <a:pt x="6436" y="140932"/>
                        <a:pt x="-1911" y="69377"/>
                        <a:pt x="387" y="8589"/>
                      </a:cubicBezTo>
                      <a:cubicBezTo>
                        <a:pt x="68011" y="8589"/>
                        <a:pt x="363484" y="0"/>
                        <a:pt x="363484" y="0"/>
                      </a:cubicBezTo>
                      <a:cubicBezTo>
                        <a:pt x="372981" y="258215"/>
                        <a:pt x="357194" y="476327"/>
                        <a:pt x="342557" y="731578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7" name="Freihandform: Form 336">
                  <a:extLst>
                    <a:ext uri="{FF2B5EF4-FFF2-40B4-BE49-F238E27FC236}">
                      <a16:creationId xmlns:a16="http://schemas.microsoft.com/office/drawing/2014/main" id="{6F9B5FE6-A8E1-CD14-59C9-C8F2818F16B9}"/>
                    </a:ext>
                  </a:extLst>
                </p:cNvPr>
                <p:cNvSpPr/>
                <p:nvPr/>
              </p:nvSpPr>
              <p:spPr>
                <a:xfrm>
                  <a:off x="11450391" y="4277496"/>
                  <a:ext cx="296163" cy="619860"/>
                </a:xfrm>
                <a:custGeom>
                  <a:avLst/>
                  <a:gdLst>
                    <a:gd name="connsiteX0" fmla="*/ 296103 w 296163"/>
                    <a:gd name="connsiteY0" fmla="*/ 592399 h 619860"/>
                    <a:gd name="connsiteX1" fmla="*/ 103152 w 296163"/>
                    <a:gd name="connsiteY1" fmla="*/ 619860 h 619860"/>
                    <a:gd name="connsiteX2" fmla="*/ 265 w 296163"/>
                    <a:gd name="connsiteY2" fmla="*/ 30122 h 619860"/>
                    <a:gd name="connsiteX3" fmla="*/ 211906 w 296163"/>
                    <a:gd name="connsiteY3" fmla="*/ 0 h 619860"/>
                    <a:gd name="connsiteX4" fmla="*/ 263017 w 296163"/>
                    <a:gd name="connsiteY4" fmla="*/ 265594 h 619860"/>
                    <a:gd name="connsiteX5" fmla="*/ 296163 w 296163"/>
                    <a:gd name="connsiteY5" fmla="*/ 592399 h 6198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96163" h="619860">
                      <a:moveTo>
                        <a:pt x="296103" y="592399"/>
                      </a:moveTo>
                      <a:lnTo>
                        <a:pt x="103152" y="619860"/>
                      </a:lnTo>
                      <a:cubicBezTo>
                        <a:pt x="-10380" y="409853"/>
                        <a:pt x="265" y="30122"/>
                        <a:pt x="265" y="30122"/>
                      </a:cubicBezTo>
                      <a:lnTo>
                        <a:pt x="211906" y="0"/>
                      </a:lnTo>
                      <a:cubicBezTo>
                        <a:pt x="211906" y="0"/>
                        <a:pt x="257452" y="182547"/>
                        <a:pt x="263017" y="265594"/>
                      </a:cubicBezTo>
                      <a:cubicBezTo>
                        <a:pt x="268521" y="348641"/>
                        <a:pt x="296163" y="592399"/>
                        <a:pt x="296163" y="592399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8" name="Freihandform: Form 337">
                  <a:extLst>
                    <a:ext uri="{FF2B5EF4-FFF2-40B4-BE49-F238E27FC236}">
                      <a16:creationId xmlns:a16="http://schemas.microsoft.com/office/drawing/2014/main" id="{72FE9A34-A333-6248-8E26-CCF875D77BA9}"/>
                    </a:ext>
                  </a:extLst>
                </p:cNvPr>
                <p:cNvSpPr/>
                <p:nvPr/>
              </p:nvSpPr>
              <p:spPr>
                <a:xfrm>
                  <a:off x="11449508" y="4184348"/>
                  <a:ext cx="213757" cy="213757"/>
                </a:xfrm>
                <a:custGeom>
                  <a:avLst/>
                  <a:gdLst>
                    <a:gd name="connsiteX0" fmla="*/ 213757 w 213757"/>
                    <a:gd name="connsiteY0" fmla="*/ 106879 h 213757"/>
                    <a:gd name="connsiteX1" fmla="*/ 106878 w 213757"/>
                    <a:gd name="connsiteY1" fmla="*/ 213757 h 213757"/>
                    <a:gd name="connsiteX2" fmla="*/ 0 w 213757"/>
                    <a:gd name="connsiteY2" fmla="*/ 106879 h 213757"/>
                    <a:gd name="connsiteX3" fmla="*/ 106878 w 213757"/>
                    <a:gd name="connsiteY3" fmla="*/ 0 h 213757"/>
                    <a:gd name="connsiteX4" fmla="*/ 213757 w 213757"/>
                    <a:gd name="connsiteY4" fmla="*/ 106879 h 2137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3757" h="213757">
                      <a:moveTo>
                        <a:pt x="213757" y="106879"/>
                      </a:moveTo>
                      <a:cubicBezTo>
                        <a:pt x="213757" y="165906"/>
                        <a:pt x="165906" y="213757"/>
                        <a:pt x="106878" y="213757"/>
                      </a:cubicBezTo>
                      <a:cubicBezTo>
                        <a:pt x="47851" y="213757"/>
                        <a:pt x="0" y="165906"/>
                        <a:pt x="0" y="106879"/>
                      </a:cubicBezTo>
                      <a:cubicBezTo>
                        <a:pt x="0" y="47851"/>
                        <a:pt x="47851" y="0"/>
                        <a:pt x="106878" y="0"/>
                      </a:cubicBezTo>
                      <a:cubicBezTo>
                        <a:pt x="165906" y="0"/>
                        <a:pt x="213757" y="47851"/>
                        <a:pt x="213757" y="106879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9" name="Freihandform: Form 338">
                  <a:extLst>
                    <a:ext uri="{FF2B5EF4-FFF2-40B4-BE49-F238E27FC236}">
                      <a16:creationId xmlns:a16="http://schemas.microsoft.com/office/drawing/2014/main" id="{8DCA6FF5-365B-B45B-949C-4F19E9F58E07}"/>
                    </a:ext>
                  </a:extLst>
                </p:cNvPr>
                <p:cNvSpPr/>
                <p:nvPr/>
              </p:nvSpPr>
              <p:spPr>
                <a:xfrm>
                  <a:off x="11648386" y="4949556"/>
                  <a:ext cx="91454" cy="91454"/>
                </a:xfrm>
                <a:custGeom>
                  <a:avLst/>
                  <a:gdLst>
                    <a:gd name="connsiteX0" fmla="*/ 91455 w 91454"/>
                    <a:gd name="connsiteY0" fmla="*/ 45727 h 91454"/>
                    <a:gd name="connsiteX1" fmla="*/ 45727 w 91454"/>
                    <a:gd name="connsiteY1" fmla="*/ 91455 h 91454"/>
                    <a:gd name="connsiteX2" fmla="*/ 0 w 91454"/>
                    <a:gd name="connsiteY2" fmla="*/ 45727 h 91454"/>
                    <a:gd name="connsiteX3" fmla="*/ 45727 w 91454"/>
                    <a:gd name="connsiteY3" fmla="*/ 0 h 91454"/>
                    <a:gd name="connsiteX4" fmla="*/ 91455 w 91454"/>
                    <a:gd name="connsiteY4" fmla="*/ 45727 h 91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1454" h="91454">
                      <a:moveTo>
                        <a:pt x="91455" y="45727"/>
                      </a:moveTo>
                      <a:cubicBezTo>
                        <a:pt x="91455" y="70982"/>
                        <a:pt x="70982" y="91455"/>
                        <a:pt x="45727" y="91455"/>
                      </a:cubicBezTo>
                      <a:cubicBezTo>
                        <a:pt x="20473" y="91455"/>
                        <a:pt x="0" y="70982"/>
                        <a:pt x="0" y="45727"/>
                      </a:cubicBezTo>
                      <a:cubicBezTo>
                        <a:pt x="0" y="20473"/>
                        <a:pt x="20473" y="0"/>
                        <a:pt x="45727" y="0"/>
                      </a:cubicBezTo>
                      <a:cubicBezTo>
                        <a:pt x="70982" y="0"/>
                        <a:pt x="91455" y="20473"/>
                        <a:pt x="91455" y="45727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0" name="Freihandform: Form 339">
                  <a:extLst>
                    <a:ext uri="{FF2B5EF4-FFF2-40B4-BE49-F238E27FC236}">
                      <a16:creationId xmlns:a16="http://schemas.microsoft.com/office/drawing/2014/main" id="{E1026ADE-FFA7-D3D8-4C16-77AFA14C3351}"/>
                    </a:ext>
                  </a:extLst>
                </p:cNvPr>
                <p:cNvSpPr/>
                <p:nvPr/>
              </p:nvSpPr>
              <p:spPr>
                <a:xfrm>
                  <a:off x="11556024" y="5109420"/>
                  <a:ext cx="230361" cy="86010"/>
                </a:xfrm>
                <a:custGeom>
                  <a:avLst/>
                  <a:gdLst>
                    <a:gd name="connsiteX0" fmla="*/ 0 w 230361"/>
                    <a:gd name="connsiteY0" fmla="*/ 20323 h 86010"/>
                    <a:gd name="connsiteX1" fmla="*/ 4476 w 230361"/>
                    <a:gd name="connsiteY1" fmla="*/ 69922 h 86010"/>
                    <a:gd name="connsiteX2" fmla="*/ 16573 w 230361"/>
                    <a:gd name="connsiteY2" fmla="*/ 86011 h 86010"/>
                    <a:gd name="connsiteX3" fmla="*/ 221621 w 230361"/>
                    <a:gd name="connsiteY3" fmla="*/ 67563 h 86010"/>
                    <a:gd name="connsiteX4" fmla="*/ 230270 w 230361"/>
                    <a:gd name="connsiteY4" fmla="*/ 49719 h 86010"/>
                    <a:gd name="connsiteX5" fmla="*/ 225794 w 230361"/>
                    <a:gd name="connsiteY5" fmla="*/ 0 h 86010"/>
                    <a:gd name="connsiteX6" fmla="*/ 0 w 230361"/>
                    <a:gd name="connsiteY6" fmla="*/ 20323 h 860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0361" h="86010">
                      <a:moveTo>
                        <a:pt x="0" y="20323"/>
                      </a:moveTo>
                      <a:lnTo>
                        <a:pt x="4476" y="69922"/>
                      </a:lnTo>
                      <a:cubicBezTo>
                        <a:pt x="5202" y="77906"/>
                        <a:pt x="10222" y="84378"/>
                        <a:pt x="16573" y="86011"/>
                      </a:cubicBezTo>
                      <a:lnTo>
                        <a:pt x="221621" y="67563"/>
                      </a:lnTo>
                      <a:cubicBezTo>
                        <a:pt x="227367" y="64660"/>
                        <a:pt x="230996" y="57522"/>
                        <a:pt x="230270" y="49719"/>
                      </a:cubicBezTo>
                      <a:lnTo>
                        <a:pt x="225794" y="0"/>
                      </a:lnTo>
                      <a:lnTo>
                        <a:pt x="0" y="20323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1" name="Freihandform: Form 340">
                  <a:extLst>
                    <a:ext uri="{FF2B5EF4-FFF2-40B4-BE49-F238E27FC236}">
                      <a16:creationId xmlns:a16="http://schemas.microsoft.com/office/drawing/2014/main" id="{E159B55B-15A9-5985-8F7C-779C41A0DE6C}"/>
                    </a:ext>
                  </a:extLst>
                </p:cNvPr>
                <p:cNvSpPr/>
                <p:nvPr/>
              </p:nvSpPr>
              <p:spPr>
                <a:xfrm>
                  <a:off x="11556024" y="5028991"/>
                  <a:ext cx="225793" cy="104076"/>
                </a:xfrm>
                <a:custGeom>
                  <a:avLst/>
                  <a:gdLst>
                    <a:gd name="connsiteX0" fmla="*/ 225794 w 225793"/>
                    <a:gd name="connsiteY0" fmla="*/ 80429 h 104076"/>
                    <a:gd name="connsiteX1" fmla="*/ 192527 w 225793"/>
                    <a:gd name="connsiteY1" fmla="*/ 3068 h 104076"/>
                    <a:gd name="connsiteX2" fmla="*/ 181397 w 225793"/>
                    <a:gd name="connsiteY2" fmla="*/ 29197 h 104076"/>
                    <a:gd name="connsiteX3" fmla="*/ 61151 w 225793"/>
                    <a:gd name="connsiteY3" fmla="*/ 26959 h 104076"/>
                    <a:gd name="connsiteX4" fmla="*/ 0 w 225793"/>
                    <a:gd name="connsiteY4" fmla="*/ 100752 h 104076"/>
                    <a:gd name="connsiteX5" fmla="*/ 225794 w 225793"/>
                    <a:gd name="connsiteY5" fmla="*/ 80429 h 1040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25793" h="104076">
                      <a:moveTo>
                        <a:pt x="225794" y="80429"/>
                      </a:moveTo>
                      <a:cubicBezTo>
                        <a:pt x="223193" y="41537"/>
                        <a:pt x="217386" y="12382"/>
                        <a:pt x="192527" y="3068"/>
                      </a:cubicBezTo>
                      <a:lnTo>
                        <a:pt x="181397" y="29197"/>
                      </a:lnTo>
                      <a:cubicBezTo>
                        <a:pt x="181397" y="29197"/>
                        <a:pt x="88370" y="-34978"/>
                        <a:pt x="61151" y="26959"/>
                      </a:cubicBezTo>
                      <a:cubicBezTo>
                        <a:pt x="38045" y="79522"/>
                        <a:pt x="6956" y="63130"/>
                        <a:pt x="0" y="100752"/>
                      </a:cubicBezTo>
                      <a:cubicBezTo>
                        <a:pt x="25102" y="110067"/>
                        <a:pt x="198454" y="98696"/>
                        <a:pt x="225794" y="80429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2" name="Freihandform: Form 341">
                  <a:extLst>
                    <a:ext uri="{FF2B5EF4-FFF2-40B4-BE49-F238E27FC236}">
                      <a16:creationId xmlns:a16="http://schemas.microsoft.com/office/drawing/2014/main" id="{624F2709-EA44-03A4-CC4D-1D3679BF17EB}"/>
                    </a:ext>
                  </a:extLst>
                </p:cNvPr>
                <p:cNvSpPr/>
                <p:nvPr/>
              </p:nvSpPr>
              <p:spPr>
                <a:xfrm>
                  <a:off x="11727198" y="4837112"/>
                  <a:ext cx="129077" cy="171538"/>
                </a:xfrm>
                <a:custGeom>
                  <a:avLst/>
                  <a:gdLst>
                    <a:gd name="connsiteX0" fmla="*/ 0 w 129077"/>
                    <a:gd name="connsiteY0" fmla="*/ 0 h 171538"/>
                    <a:gd name="connsiteX1" fmla="*/ 6049 w 129077"/>
                    <a:gd name="connsiteY1" fmla="*/ 171538 h 171538"/>
                    <a:gd name="connsiteX2" fmla="*/ 98411 w 129077"/>
                    <a:gd name="connsiteY2" fmla="*/ 171538 h 171538"/>
                    <a:gd name="connsiteX3" fmla="*/ 129078 w 129077"/>
                    <a:gd name="connsiteY3" fmla="*/ 0 h 171538"/>
                    <a:gd name="connsiteX4" fmla="*/ 0 w 129077"/>
                    <a:gd name="connsiteY4" fmla="*/ 0 h 171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9077" h="171538">
                      <a:moveTo>
                        <a:pt x="0" y="0"/>
                      </a:moveTo>
                      <a:cubicBezTo>
                        <a:pt x="3448" y="92423"/>
                        <a:pt x="6049" y="171538"/>
                        <a:pt x="6049" y="171538"/>
                      </a:cubicBezTo>
                      <a:lnTo>
                        <a:pt x="98411" y="171538"/>
                      </a:lnTo>
                      <a:cubicBezTo>
                        <a:pt x="103250" y="125629"/>
                        <a:pt x="115408" y="63571"/>
                        <a:pt x="1290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3" name="Freihandform: Form 342">
                  <a:extLst>
                    <a:ext uri="{FF2B5EF4-FFF2-40B4-BE49-F238E27FC236}">
                      <a16:creationId xmlns:a16="http://schemas.microsoft.com/office/drawing/2014/main" id="{7538EA21-3680-1D55-46A0-20325CE268E7}"/>
                    </a:ext>
                  </a:extLst>
                </p:cNvPr>
                <p:cNvSpPr/>
                <p:nvPr/>
              </p:nvSpPr>
              <p:spPr>
                <a:xfrm>
                  <a:off x="11715162" y="5008650"/>
                  <a:ext cx="190107" cy="133008"/>
                </a:xfrm>
                <a:custGeom>
                  <a:avLst/>
                  <a:gdLst>
                    <a:gd name="connsiteX0" fmla="*/ 110447 w 190107"/>
                    <a:gd name="connsiteY0" fmla="*/ 0 h 133008"/>
                    <a:gd name="connsiteX1" fmla="*/ 190108 w 190107"/>
                    <a:gd name="connsiteY1" fmla="*/ 133009 h 133008"/>
                    <a:gd name="connsiteX2" fmla="*/ 0 w 190107"/>
                    <a:gd name="connsiteY2" fmla="*/ 133009 h 133008"/>
                    <a:gd name="connsiteX3" fmla="*/ 18085 w 190107"/>
                    <a:gd name="connsiteY3" fmla="*/ 0 h 133008"/>
                    <a:gd name="connsiteX4" fmla="*/ 110447 w 190107"/>
                    <a:gd name="connsiteY4" fmla="*/ 0 h 133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0107" h="133008">
                      <a:moveTo>
                        <a:pt x="110447" y="0"/>
                      </a:moveTo>
                      <a:cubicBezTo>
                        <a:pt x="123452" y="91999"/>
                        <a:pt x="190108" y="108875"/>
                        <a:pt x="190108" y="133009"/>
                      </a:cubicBezTo>
                      <a:lnTo>
                        <a:pt x="0" y="133009"/>
                      </a:lnTo>
                      <a:cubicBezTo>
                        <a:pt x="11009" y="80930"/>
                        <a:pt x="13428" y="42219"/>
                        <a:pt x="18085" y="0"/>
                      </a:cubicBezTo>
                      <a:lnTo>
                        <a:pt x="110447" y="0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4" name="Freihandform: Form 343">
                  <a:extLst>
                    <a:ext uri="{FF2B5EF4-FFF2-40B4-BE49-F238E27FC236}">
                      <a16:creationId xmlns:a16="http://schemas.microsoft.com/office/drawing/2014/main" id="{EE6CDDDF-29BA-5AA7-261F-794152411745}"/>
                    </a:ext>
                  </a:extLst>
                </p:cNvPr>
                <p:cNvSpPr/>
                <p:nvPr/>
              </p:nvSpPr>
              <p:spPr>
                <a:xfrm>
                  <a:off x="11683757" y="3561887"/>
                  <a:ext cx="368614" cy="731577"/>
                </a:xfrm>
                <a:custGeom>
                  <a:avLst/>
                  <a:gdLst>
                    <a:gd name="connsiteX0" fmla="*/ 26627 w 368614"/>
                    <a:gd name="connsiteY0" fmla="*/ 731578 h 731577"/>
                    <a:gd name="connsiteX1" fmla="*/ 240385 w 368614"/>
                    <a:gd name="connsiteY1" fmla="*/ 731578 h 731577"/>
                    <a:gd name="connsiteX2" fmla="*/ 297060 w 368614"/>
                    <a:gd name="connsiteY2" fmla="*/ 522720 h 731577"/>
                    <a:gd name="connsiteX3" fmla="*/ 354703 w 368614"/>
                    <a:gd name="connsiteY3" fmla="*/ 210673 h 731577"/>
                    <a:gd name="connsiteX4" fmla="*/ 368615 w 368614"/>
                    <a:gd name="connsiteY4" fmla="*/ 12279 h 731577"/>
                    <a:gd name="connsiteX5" fmla="*/ 2553 w 368614"/>
                    <a:gd name="connsiteY5" fmla="*/ 0 h 731577"/>
                    <a:gd name="connsiteX6" fmla="*/ 26688 w 368614"/>
                    <a:gd name="connsiteY6" fmla="*/ 731578 h 7315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68614" h="731577">
                      <a:moveTo>
                        <a:pt x="26627" y="731578"/>
                      </a:moveTo>
                      <a:lnTo>
                        <a:pt x="240385" y="731578"/>
                      </a:lnTo>
                      <a:cubicBezTo>
                        <a:pt x="240385" y="731578"/>
                        <a:pt x="275406" y="595363"/>
                        <a:pt x="297060" y="522720"/>
                      </a:cubicBezTo>
                      <a:cubicBezTo>
                        <a:pt x="318714" y="450076"/>
                        <a:pt x="343694" y="306422"/>
                        <a:pt x="354703" y="210673"/>
                      </a:cubicBezTo>
                      <a:cubicBezTo>
                        <a:pt x="361175" y="154723"/>
                        <a:pt x="366377" y="69861"/>
                        <a:pt x="368615" y="12279"/>
                      </a:cubicBezTo>
                      <a:cubicBezTo>
                        <a:pt x="233126" y="9254"/>
                        <a:pt x="2553" y="0"/>
                        <a:pt x="2553" y="0"/>
                      </a:cubicBezTo>
                      <a:cubicBezTo>
                        <a:pt x="-6943" y="258215"/>
                        <a:pt x="12050" y="476327"/>
                        <a:pt x="26688" y="731578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5" name="Freihandform: Form 344">
                  <a:extLst>
                    <a:ext uri="{FF2B5EF4-FFF2-40B4-BE49-F238E27FC236}">
                      <a16:creationId xmlns:a16="http://schemas.microsoft.com/office/drawing/2014/main" id="{772DA2D6-0AA6-81D0-2F96-484A855C6FC9}"/>
                    </a:ext>
                  </a:extLst>
                </p:cNvPr>
                <p:cNvSpPr/>
                <p:nvPr/>
              </p:nvSpPr>
              <p:spPr>
                <a:xfrm>
                  <a:off x="11695905" y="4293465"/>
                  <a:ext cx="251767" cy="598387"/>
                </a:xfrm>
                <a:custGeom>
                  <a:avLst/>
                  <a:gdLst>
                    <a:gd name="connsiteX0" fmla="*/ 14479 w 251767"/>
                    <a:gd name="connsiteY0" fmla="*/ 598387 h 598387"/>
                    <a:gd name="connsiteX1" fmla="*/ 209365 w 251767"/>
                    <a:gd name="connsiteY1" fmla="*/ 598387 h 598387"/>
                    <a:gd name="connsiteX2" fmla="*/ 228176 w 251767"/>
                    <a:gd name="connsiteY2" fmla="*/ 0 h 598387"/>
                    <a:gd name="connsiteX3" fmla="*/ 14419 w 251767"/>
                    <a:gd name="connsiteY3" fmla="*/ 0 h 598387"/>
                    <a:gd name="connsiteX4" fmla="*/ 1233 w 251767"/>
                    <a:gd name="connsiteY4" fmla="*/ 270130 h 598387"/>
                    <a:gd name="connsiteX5" fmla="*/ 14419 w 251767"/>
                    <a:gd name="connsiteY5" fmla="*/ 598387 h 598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51767" h="598387">
                      <a:moveTo>
                        <a:pt x="14479" y="598387"/>
                      </a:moveTo>
                      <a:lnTo>
                        <a:pt x="209365" y="598387"/>
                      </a:lnTo>
                      <a:cubicBezTo>
                        <a:pt x="292170" y="374529"/>
                        <a:pt x="228176" y="0"/>
                        <a:pt x="228176" y="0"/>
                      </a:cubicBezTo>
                      <a:lnTo>
                        <a:pt x="14419" y="0"/>
                      </a:lnTo>
                      <a:cubicBezTo>
                        <a:pt x="14419" y="0"/>
                        <a:pt x="-4998" y="187143"/>
                        <a:pt x="1233" y="270130"/>
                      </a:cubicBezTo>
                      <a:cubicBezTo>
                        <a:pt x="7463" y="353177"/>
                        <a:pt x="14419" y="598387"/>
                        <a:pt x="14419" y="598387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6" name="Freihandform: Form 345">
                  <a:extLst>
                    <a:ext uri="{FF2B5EF4-FFF2-40B4-BE49-F238E27FC236}">
                      <a16:creationId xmlns:a16="http://schemas.microsoft.com/office/drawing/2014/main" id="{1DD980DD-CE3E-9082-6B5C-515E68E30E29}"/>
                    </a:ext>
                  </a:extLst>
                </p:cNvPr>
                <p:cNvSpPr/>
                <p:nvPr/>
              </p:nvSpPr>
              <p:spPr>
                <a:xfrm>
                  <a:off x="11734215" y="4962923"/>
                  <a:ext cx="91454" cy="91454"/>
                </a:xfrm>
                <a:custGeom>
                  <a:avLst/>
                  <a:gdLst>
                    <a:gd name="connsiteX0" fmla="*/ 91455 w 91454"/>
                    <a:gd name="connsiteY0" fmla="*/ 45727 h 91454"/>
                    <a:gd name="connsiteX1" fmla="*/ 45727 w 91454"/>
                    <a:gd name="connsiteY1" fmla="*/ 91455 h 91454"/>
                    <a:gd name="connsiteX2" fmla="*/ -1 w 91454"/>
                    <a:gd name="connsiteY2" fmla="*/ 45727 h 91454"/>
                    <a:gd name="connsiteX3" fmla="*/ 45727 w 91454"/>
                    <a:gd name="connsiteY3" fmla="*/ 0 h 91454"/>
                    <a:gd name="connsiteX4" fmla="*/ 91455 w 91454"/>
                    <a:gd name="connsiteY4" fmla="*/ 45727 h 91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1454" h="91454">
                      <a:moveTo>
                        <a:pt x="91455" y="45727"/>
                      </a:moveTo>
                      <a:cubicBezTo>
                        <a:pt x="91455" y="70982"/>
                        <a:pt x="70982" y="91455"/>
                        <a:pt x="45727" y="91455"/>
                      </a:cubicBezTo>
                      <a:cubicBezTo>
                        <a:pt x="20472" y="91455"/>
                        <a:pt x="-1" y="70982"/>
                        <a:pt x="-1" y="45727"/>
                      </a:cubicBezTo>
                      <a:cubicBezTo>
                        <a:pt x="-1" y="20473"/>
                        <a:pt x="20472" y="0"/>
                        <a:pt x="45727" y="0"/>
                      </a:cubicBezTo>
                      <a:cubicBezTo>
                        <a:pt x="70982" y="0"/>
                        <a:pt x="91455" y="20473"/>
                        <a:pt x="91455" y="45727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7" name="Freihandform: Form 346">
                  <a:extLst>
                    <a:ext uri="{FF2B5EF4-FFF2-40B4-BE49-F238E27FC236}">
                      <a16:creationId xmlns:a16="http://schemas.microsoft.com/office/drawing/2014/main" id="{9DAEA7AD-64F6-415C-92F9-15537ED3D2C8}"/>
                    </a:ext>
                  </a:extLst>
                </p:cNvPr>
                <p:cNvSpPr/>
                <p:nvPr/>
              </p:nvSpPr>
              <p:spPr>
                <a:xfrm>
                  <a:off x="11702823" y="5130167"/>
                  <a:ext cx="226701" cy="66897"/>
                </a:xfrm>
                <a:custGeom>
                  <a:avLst/>
                  <a:gdLst>
                    <a:gd name="connsiteX0" fmla="*/ 226641 w 226701"/>
                    <a:gd name="connsiteY0" fmla="*/ 0 h 66897"/>
                    <a:gd name="connsiteX1" fmla="*/ 226641 w 226701"/>
                    <a:gd name="connsiteY1" fmla="*/ 49780 h 66897"/>
                    <a:gd name="connsiteX2" fmla="*/ 216056 w 226701"/>
                    <a:gd name="connsiteY2" fmla="*/ 66897 h 66897"/>
                    <a:gd name="connsiteX3" fmla="*/ 10222 w 226701"/>
                    <a:gd name="connsiteY3" fmla="*/ 66897 h 66897"/>
                    <a:gd name="connsiteX4" fmla="*/ 0 w 226701"/>
                    <a:gd name="connsiteY4" fmla="*/ 49901 h 66897"/>
                    <a:gd name="connsiteX5" fmla="*/ 0 w 226701"/>
                    <a:gd name="connsiteY5" fmla="*/ 0 h 66897"/>
                    <a:gd name="connsiteX6" fmla="*/ 226701 w 226701"/>
                    <a:gd name="connsiteY6" fmla="*/ 0 h 668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26701" h="66897">
                      <a:moveTo>
                        <a:pt x="226641" y="0"/>
                      </a:moveTo>
                      <a:lnTo>
                        <a:pt x="226641" y="49780"/>
                      </a:lnTo>
                      <a:cubicBezTo>
                        <a:pt x="226641" y="57764"/>
                        <a:pt x="222225" y="64660"/>
                        <a:pt x="216056" y="66897"/>
                      </a:cubicBezTo>
                      <a:lnTo>
                        <a:pt x="10222" y="66897"/>
                      </a:lnTo>
                      <a:cubicBezTo>
                        <a:pt x="4234" y="64538"/>
                        <a:pt x="0" y="57703"/>
                        <a:pt x="0" y="49901"/>
                      </a:cubicBezTo>
                      <a:lnTo>
                        <a:pt x="0" y="0"/>
                      </a:lnTo>
                      <a:lnTo>
                        <a:pt x="226701" y="0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8" name="Freihandform: Form 347">
                  <a:extLst>
                    <a:ext uri="{FF2B5EF4-FFF2-40B4-BE49-F238E27FC236}">
                      <a16:creationId xmlns:a16="http://schemas.microsoft.com/office/drawing/2014/main" id="{7DBC1B30-050C-BF4E-AA5A-94B9E40F4F2D}"/>
                    </a:ext>
                  </a:extLst>
                </p:cNvPr>
                <p:cNvSpPr/>
                <p:nvPr/>
              </p:nvSpPr>
              <p:spPr>
                <a:xfrm>
                  <a:off x="11702690" y="5038831"/>
                  <a:ext cx="226834" cy="101604"/>
                </a:xfrm>
                <a:custGeom>
                  <a:avLst/>
                  <a:gdLst>
                    <a:gd name="connsiteX0" fmla="*/ 133 w 226834"/>
                    <a:gd name="connsiteY0" fmla="*/ 91336 h 101604"/>
                    <a:gd name="connsiteX1" fmla="*/ 26323 w 226834"/>
                    <a:gd name="connsiteY1" fmla="*/ 11313 h 101604"/>
                    <a:gd name="connsiteX2" fmla="*/ 39751 w 226834"/>
                    <a:gd name="connsiteY2" fmla="*/ 36354 h 101604"/>
                    <a:gd name="connsiteX3" fmla="*/ 159332 w 226834"/>
                    <a:gd name="connsiteY3" fmla="*/ 23350 h 101604"/>
                    <a:gd name="connsiteX4" fmla="*/ 226834 w 226834"/>
                    <a:gd name="connsiteY4" fmla="*/ 91336 h 101604"/>
                    <a:gd name="connsiteX5" fmla="*/ 133 w 226834"/>
                    <a:gd name="connsiteY5" fmla="*/ 91336 h 1016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26834" h="101604">
                      <a:moveTo>
                        <a:pt x="133" y="91336"/>
                      </a:moveTo>
                      <a:cubicBezTo>
                        <a:pt x="-774" y="52383"/>
                        <a:pt x="2432" y="22806"/>
                        <a:pt x="26323" y="11313"/>
                      </a:cubicBezTo>
                      <a:lnTo>
                        <a:pt x="39751" y="36354"/>
                      </a:lnTo>
                      <a:cubicBezTo>
                        <a:pt x="39751" y="36354"/>
                        <a:pt x="126669" y="-35926"/>
                        <a:pt x="159332" y="23350"/>
                      </a:cubicBezTo>
                      <a:cubicBezTo>
                        <a:pt x="187034" y="73614"/>
                        <a:pt x="216551" y="54500"/>
                        <a:pt x="226834" y="91336"/>
                      </a:cubicBezTo>
                      <a:cubicBezTo>
                        <a:pt x="202640" y="102829"/>
                        <a:pt x="29045" y="107062"/>
                        <a:pt x="133" y="91336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9" name="Freihandform: Form 348">
                  <a:extLst>
                    <a:ext uri="{FF2B5EF4-FFF2-40B4-BE49-F238E27FC236}">
                      <a16:creationId xmlns:a16="http://schemas.microsoft.com/office/drawing/2014/main" id="{2C958EC5-1C4F-DF2B-9854-9E200C7BA53D}"/>
                    </a:ext>
                  </a:extLst>
                </p:cNvPr>
                <p:cNvSpPr/>
                <p:nvPr/>
              </p:nvSpPr>
              <p:spPr>
                <a:xfrm>
                  <a:off x="11684193" y="3561887"/>
                  <a:ext cx="367936" cy="83591"/>
                </a:xfrm>
                <a:custGeom>
                  <a:avLst/>
                  <a:gdLst>
                    <a:gd name="connsiteX0" fmla="*/ 0 w 367936"/>
                    <a:gd name="connsiteY0" fmla="*/ 83592 h 83591"/>
                    <a:gd name="connsiteX1" fmla="*/ 365758 w 367936"/>
                    <a:gd name="connsiteY1" fmla="*/ 62784 h 83591"/>
                    <a:gd name="connsiteX2" fmla="*/ 365758 w 367936"/>
                    <a:gd name="connsiteY2" fmla="*/ 62784 h 83591"/>
                    <a:gd name="connsiteX3" fmla="*/ 367937 w 367936"/>
                    <a:gd name="connsiteY3" fmla="*/ 12279 h 83591"/>
                    <a:gd name="connsiteX4" fmla="*/ 2057 w 367936"/>
                    <a:gd name="connsiteY4" fmla="*/ 0 h 83591"/>
                    <a:gd name="connsiteX5" fmla="*/ 0 w 367936"/>
                    <a:gd name="connsiteY5" fmla="*/ 83592 h 835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67936" h="83591">
                      <a:moveTo>
                        <a:pt x="0" y="83592"/>
                      </a:moveTo>
                      <a:cubicBezTo>
                        <a:pt x="107786" y="70527"/>
                        <a:pt x="252892" y="50506"/>
                        <a:pt x="365758" y="62784"/>
                      </a:cubicBezTo>
                      <a:lnTo>
                        <a:pt x="365758" y="62784"/>
                      </a:lnTo>
                      <a:cubicBezTo>
                        <a:pt x="366666" y="45606"/>
                        <a:pt x="367392" y="27158"/>
                        <a:pt x="367937" y="12279"/>
                      </a:cubicBezTo>
                      <a:cubicBezTo>
                        <a:pt x="232448" y="9254"/>
                        <a:pt x="2057" y="0"/>
                        <a:pt x="2057" y="0"/>
                      </a:cubicBezTo>
                      <a:cubicBezTo>
                        <a:pt x="1029" y="28368"/>
                        <a:pt x="363" y="56131"/>
                        <a:pt x="0" y="83592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0" name="Freihandform: Form 349">
                  <a:extLst>
                    <a:ext uri="{FF2B5EF4-FFF2-40B4-BE49-F238E27FC236}">
                      <a16:creationId xmlns:a16="http://schemas.microsoft.com/office/drawing/2014/main" id="{607F19D0-2352-8BED-9FD3-71252EAFA952}"/>
                    </a:ext>
                  </a:extLst>
                </p:cNvPr>
                <p:cNvSpPr/>
                <p:nvPr/>
              </p:nvSpPr>
              <p:spPr>
                <a:xfrm>
                  <a:off x="11320727" y="3561826"/>
                  <a:ext cx="365643" cy="143049"/>
                </a:xfrm>
                <a:custGeom>
                  <a:avLst/>
                  <a:gdLst>
                    <a:gd name="connsiteX0" fmla="*/ 363466 w 365643"/>
                    <a:gd name="connsiteY0" fmla="*/ 61 h 143049"/>
                    <a:gd name="connsiteX1" fmla="*/ 368 w 365643"/>
                    <a:gd name="connsiteY1" fmla="*/ 8650 h 143049"/>
                    <a:gd name="connsiteX2" fmla="*/ 7022 w 365643"/>
                    <a:gd name="connsiteY2" fmla="*/ 143049 h 143049"/>
                    <a:gd name="connsiteX3" fmla="*/ 365643 w 365643"/>
                    <a:gd name="connsiteY3" fmla="*/ 83592 h 143049"/>
                    <a:gd name="connsiteX4" fmla="*/ 363466 w 365643"/>
                    <a:gd name="connsiteY4" fmla="*/ 0 h 143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5643" h="143049">
                      <a:moveTo>
                        <a:pt x="363466" y="61"/>
                      </a:moveTo>
                      <a:cubicBezTo>
                        <a:pt x="363466" y="61"/>
                        <a:pt x="68052" y="8650"/>
                        <a:pt x="368" y="8650"/>
                      </a:cubicBezTo>
                      <a:cubicBezTo>
                        <a:pt x="-1144" y="49841"/>
                        <a:pt x="2183" y="95931"/>
                        <a:pt x="7022" y="143049"/>
                      </a:cubicBezTo>
                      <a:cubicBezTo>
                        <a:pt x="89222" y="125387"/>
                        <a:pt x="233602" y="100104"/>
                        <a:pt x="365643" y="83592"/>
                      </a:cubicBezTo>
                      <a:cubicBezTo>
                        <a:pt x="365159" y="56131"/>
                        <a:pt x="364494" y="28368"/>
                        <a:pt x="363466" y="0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1" name="Freihandform: Form 350">
                  <a:extLst>
                    <a:ext uri="{FF2B5EF4-FFF2-40B4-BE49-F238E27FC236}">
                      <a16:creationId xmlns:a16="http://schemas.microsoft.com/office/drawing/2014/main" id="{A0913F5E-3131-9E9F-B4DF-4C43A0755A27}"/>
                    </a:ext>
                  </a:extLst>
                </p:cNvPr>
                <p:cNvSpPr/>
                <p:nvPr/>
              </p:nvSpPr>
              <p:spPr>
                <a:xfrm>
                  <a:off x="11710384" y="4184348"/>
                  <a:ext cx="213757" cy="213757"/>
                </a:xfrm>
                <a:custGeom>
                  <a:avLst/>
                  <a:gdLst>
                    <a:gd name="connsiteX0" fmla="*/ 213757 w 213757"/>
                    <a:gd name="connsiteY0" fmla="*/ 106879 h 213757"/>
                    <a:gd name="connsiteX1" fmla="*/ 106879 w 213757"/>
                    <a:gd name="connsiteY1" fmla="*/ 213757 h 213757"/>
                    <a:gd name="connsiteX2" fmla="*/ 0 w 213757"/>
                    <a:gd name="connsiteY2" fmla="*/ 106879 h 213757"/>
                    <a:gd name="connsiteX3" fmla="*/ 106879 w 213757"/>
                    <a:gd name="connsiteY3" fmla="*/ 0 h 213757"/>
                    <a:gd name="connsiteX4" fmla="*/ 213757 w 213757"/>
                    <a:gd name="connsiteY4" fmla="*/ 106879 h 2137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3757" h="213757">
                      <a:moveTo>
                        <a:pt x="213757" y="106879"/>
                      </a:moveTo>
                      <a:cubicBezTo>
                        <a:pt x="213757" y="165906"/>
                        <a:pt x="165906" y="213757"/>
                        <a:pt x="106879" y="213757"/>
                      </a:cubicBezTo>
                      <a:cubicBezTo>
                        <a:pt x="47851" y="213757"/>
                        <a:pt x="0" y="165906"/>
                        <a:pt x="0" y="106879"/>
                      </a:cubicBezTo>
                      <a:cubicBezTo>
                        <a:pt x="0" y="47851"/>
                        <a:pt x="47851" y="0"/>
                        <a:pt x="106879" y="0"/>
                      </a:cubicBezTo>
                      <a:cubicBezTo>
                        <a:pt x="165906" y="0"/>
                        <a:pt x="213757" y="47851"/>
                        <a:pt x="213757" y="106879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352" name="Grafik 297">
                  <a:extLst>
                    <a:ext uri="{FF2B5EF4-FFF2-40B4-BE49-F238E27FC236}">
                      <a16:creationId xmlns:a16="http://schemas.microsoft.com/office/drawing/2014/main" id="{82987580-8866-7B3F-C491-819A1C715787}"/>
                    </a:ext>
                  </a:extLst>
                </p:cNvPr>
                <p:cNvGrpSpPr/>
                <p:nvPr/>
              </p:nvGrpSpPr>
              <p:grpSpPr>
                <a:xfrm>
                  <a:off x="11174966" y="3045397"/>
                  <a:ext cx="164094" cy="552660"/>
                  <a:chOff x="11174966" y="3045397"/>
                  <a:chExt cx="164094" cy="552660"/>
                </a:xfrm>
              </p:grpSpPr>
              <p:sp>
                <p:nvSpPr>
                  <p:cNvPr id="353" name="Freihandform: Form 352">
                    <a:extLst>
                      <a:ext uri="{FF2B5EF4-FFF2-40B4-BE49-F238E27FC236}">
                        <a16:creationId xmlns:a16="http://schemas.microsoft.com/office/drawing/2014/main" id="{756BF7D5-AEEF-DCE4-32DA-4BA87C74D53B}"/>
                      </a:ext>
                    </a:extLst>
                  </p:cNvPr>
                  <p:cNvSpPr/>
                  <p:nvPr/>
                </p:nvSpPr>
                <p:spPr>
                  <a:xfrm>
                    <a:off x="11174966" y="3125964"/>
                    <a:ext cx="163973" cy="472093"/>
                  </a:xfrm>
                  <a:custGeom>
                    <a:avLst/>
                    <a:gdLst>
                      <a:gd name="connsiteX0" fmla="*/ 9130 w 163973"/>
                      <a:gd name="connsiteY0" fmla="*/ 472093 h 472093"/>
                      <a:gd name="connsiteX1" fmla="*/ 94294 w 163973"/>
                      <a:gd name="connsiteY1" fmla="*/ 468161 h 472093"/>
                      <a:gd name="connsiteX2" fmla="*/ 163974 w 163973"/>
                      <a:gd name="connsiteY2" fmla="*/ 9133 h 472093"/>
                      <a:gd name="connsiteX3" fmla="*/ 118 w 163973"/>
                      <a:gd name="connsiteY3" fmla="*/ 0 h 472093"/>
                      <a:gd name="connsiteX4" fmla="*/ 9130 w 163973"/>
                      <a:gd name="connsiteY4" fmla="*/ 472093 h 4720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3973" h="472093">
                        <a:moveTo>
                          <a:pt x="9130" y="472093"/>
                        </a:moveTo>
                        <a:lnTo>
                          <a:pt x="94294" y="468161"/>
                        </a:lnTo>
                        <a:cubicBezTo>
                          <a:pt x="94294" y="468161"/>
                          <a:pt x="161071" y="61151"/>
                          <a:pt x="163974" y="9133"/>
                        </a:cubicBezTo>
                        <a:lnTo>
                          <a:pt x="118" y="0"/>
                        </a:lnTo>
                        <a:cubicBezTo>
                          <a:pt x="-1153" y="212306"/>
                          <a:pt x="8283" y="346887"/>
                          <a:pt x="9130" y="472093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4" name="Freihandform: Form 353">
                    <a:extLst>
                      <a:ext uri="{FF2B5EF4-FFF2-40B4-BE49-F238E27FC236}">
                        <a16:creationId xmlns:a16="http://schemas.microsoft.com/office/drawing/2014/main" id="{FD283375-F158-A9A9-D27B-9DB56A4490A8}"/>
                      </a:ext>
                    </a:extLst>
                  </p:cNvPr>
                  <p:cNvSpPr/>
                  <p:nvPr/>
                </p:nvSpPr>
                <p:spPr>
                  <a:xfrm>
                    <a:off x="11175143" y="3045397"/>
                    <a:ext cx="163916" cy="163916"/>
                  </a:xfrm>
                  <a:custGeom>
                    <a:avLst/>
                    <a:gdLst>
                      <a:gd name="connsiteX0" fmla="*/ 163917 w 163916"/>
                      <a:gd name="connsiteY0" fmla="*/ 81959 h 163916"/>
                      <a:gd name="connsiteX1" fmla="*/ 81958 w 163916"/>
                      <a:gd name="connsiteY1" fmla="*/ 163917 h 163916"/>
                      <a:gd name="connsiteX2" fmla="*/ 0 w 163916"/>
                      <a:gd name="connsiteY2" fmla="*/ 81958 h 163916"/>
                      <a:gd name="connsiteX3" fmla="*/ 81958 w 163916"/>
                      <a:gd name="connsiteY3" fmla="*/ 0 h 163916"/>
                      <a:gd name="connsiteX4" fmla="*/ 163917 w 163916"/>
                      <a:gd name="connsiteY4" fmla="*/ 81959 h 1639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3916" h="163916">
                        <a:moveTo>
                          <a:pt x="163917" y="81959"/>
                        </a:moveTo>
                        <a:cubicBezTo>
                          <a:pt x="163917" y="127223"/>
                          <a:pt x="127223" y="163917"/>
                          <a:pt x="81958" y="163917"/>
                        </a:cubicBezTo>
                        <a:cubicBezTo>
                          <a:pt x="36694" y="163917"/>
                          <a:pt x="0" y="127223"/>
                          <a:pt x="0" y="81958"/>
                        </a:cubicBezTo>
                        <a:cubicBezTo>
                          <a:pt x="0" y="36694"/>
                          <a:pt x="36694" y="0"/>
                          <a:pt x="81958" y="0"/>
                        </a:cubicBezTo>
                        <a:cubicBezTo>
                          <a:pt x="127222" y="0"/>
                          <a:pt x="163917" y="36694"/>
                          <a:pt x="163917" y="81959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5" name="Freihandform: Form 354">
                    <a:extLst>
                      <a:ext uri="{FF2B5EF4-FFF2-40B4-BE49-F238E27FC236}">
                        <a16:creationId xmlns:a16="http://schemas.microsoft.com/office/drawing/2014/main" id="{59BC9CA9-174D-B8A3-292D-3E9AD6B1C9A2}"/>
                      </a:ext>
                    </a:extLst>
                  </p:cNvPr>
                  <p:cNvSpPr/>
                  <p:nvPr/>
                </p:nvSpPr>
                <p:spPr>
                  <a:xfrm>
                    <a:off x="11183128" y="3538055"/>
                    <a:ext cx="95265" cy="60002"/>
                  </a:xfrm>
                  <a:custGeom>
                    <a:avLst/>
                    <a:gdLst>
                      <a:gd name="connsiteX0" fmla="*/ 0 w 95265"/>
                      <a:gd name="connsiteY0" fmla="*/ 61 h 60002"/>
                      <a:gd name="connsiteX1" fmla="*/ 968 w 95265"/>
                      <a:gd name="connsiteY1" fmla="*/ 60002 h 60002"/>
                      <a:gd name="connsiteX2" fmla="*/ 86132 w 95265"/>
                      <a:gd name="connsiteY2" fmla="*/ 56070 h 60002"/>
                      <a:gd name="connsiteX3" fmla="*/ 95265 w 95265"/>
                      <a:gd name="connsiteY3" fmla="*/ 0 h 60002"/>
                      <a:gd name="connsiteX4" fmla="*/ 61 w 95265"/>
                      <a:gd name="connsiteY4" fmla="*/ 0 h 600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5265" h="60002">
                        <a:moveTo>
                          <a:pt x="0" y="61"/>
                        </a:moveTo>
                        <a:cubicBezTo>
                          <a:pt x="484" y="20444"/>
                          <a:pt x="847" y="40344"/>
                          <a:pt x="968" y="60002"/>
                        </a:cubicBezTo>
                        <a:lnTo>
                          <a:pt x="86132" y="56070"/>
                        </a:lnTo>
                        <a:cubicBezTo>
                          <a:pt x="86132" y="56070"/>
                          <a:pt x="89700" y="34235"/>
                          <a:pt x="95265" y="0"/>
                        </a:cubicBezTo>
                        <a:lnTo>
                          <a:pt x="61" y="0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56" name="Grafik 297">
                  <a:extLst>
                    <a:ext uri="{FF2B5EF4-FFF2-40B4-BE49-F238E27FC236}">
                      <a16:creationId xmlns:a16="http://schemas.microsoft.com/office/drawing/2014/main" id="{371CA25E-28FC-E9D2-99B4-C64F024EF7E0}"/>
                    </a:ext>
                  </a:extLst>
                </p:cNvPr>
                <p:cNvGrpSpPr/>
                <p:nvPr/>
              </p:nvGrpSpPr>
              <p:grpSpPr>
                <a:xfrm>
                  <a:off x="11138852" y="2513423"/>
                  <a:ext cx="352330" cy="680527"/>
                  <a:chOff x="11138852" y="2513423"/>
                  <a:chExt cx="352330" cy="680527"/>
                </a:xfrm>
              </p:grpSpPr>
              <p:sp>
                <p:nvSpPr>
                  <p:cNvPr id="357" name="Freihandform: Form 356">
                    <a:extLst>
                      <a:ext uri="{FF2B5EF4-FFF2-40B4-BE49-F238E27FC236}">
                        <a16:creationId xmlns:a16="http://schemas.microsoft.com/office/drawing/2014/main" id="{C06F496B-122B-C2DC-2B37-015BC35E9E0C}"/>
                      </a:ext>
                    </a:extLst>
                  </p:cNvPr>
                  <p:cNvSpPr/>
                  <p:nvPr/>
                </p:nvSpPr>
                <p:spPr>
                  <a:xfrm>
                    <a:off x="11279482" y="2513423"/>
                    <a:ext cx="211700" cy="211700"/>
                  </a:xfrm>
                  <a:custGeom>
                    <a:avLst/>
                    <a:gdLst>
                      <a:gd name="connsiteX0" fmla="*/ 211701 w 211700"/>
                      <a:gd name="connsiteY0" fmla="*/ 105850 h 211700"/>
                      <a:gd name="connsiteX1" fmla="*/ 105851 w 211700"/>
                      <a:gd name="connsiteY1" fmla="*/ 211701 h 211700"/>
                      <a:gd name="connsiteX2" fmla="*/ 0 w 211700"/>
                      <a:gd name="connsiteY2" fmla="*/ 105850 h 211700"/>
                      <a:gd name="connsiteX3" fmla="*/ 105851 w 211700"/>
                      <a:gd name="connsiteY3" fmla="*/ 0 h 211700"/>
                      <a:gd name="connsiteX4" fmla="*/ 211701 w 211700"/>
                      <a:gd name="connsiteY4" fmla="*/ 105850 h 2117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1700" h="211700">
                        <a:moveTo>
                          <a:pt x="211701" y="105850"/>
                        </a:moveTo>
                        <a:cubicBezTo>
                          <a:pt x="211701" y="164310"/>
                          <a:pt x="164311" y="211701"/>
                          <a:pt x="105851" y="211701"/>
                        </a:cubicBezTo>
                        <a:cubicBezTo>
                          <a:pt x="47391" y="211701"/>
                          <a:pt x="0" y="164310"/>
                          <a:pt x="0" y="105850"/>
                        </a:cubicBezTo>
                        <a:cubicBezTo>
                          <a:pt x="0" y="47391"/>
                          <a:pt x="47391" y="0"/>
                          <a:pt x="105851" y="0"/>
                        </a:cubicBezTo>
                        <a:cubicBezTo>
                          <a:pt x="164311" y="0"/>
                          <a:pt x="211701" y="47391"/>
                          <a:pt x="211701" y="105850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8" name="Freihandform: Form 357">
                    <a:extLst>
                      <a:ext uri="{FF2B5EF4-FFF2-40B4-BE49-F238E27FC236}">
                        <a16:creationId xmlns:a16="http://schemas.microsoft.com/office/drawing/2014/main" id="{367E8486-85A3-DDF3-5E7F-59EB4389B348}"/>
                      </a:ext>
                    </a:extLst>
                  </p:cNvPr>
                  <p:cNvSpPr/>
                  <p:nvPr/>
                </p:nvSpPr>
                <p:spPr>
                  <a:xfrm>
                    <a:off x="11138852" y="2521286"/>
                    <a:ext cx="309748" cy="672604"/>
                  </a:xfrm>
                  <a:custGeom>
                    <a:avLst/>
                    <a:gdLst>
                      <a:gd name="connsiteX0" fmla="*/ 206196 w 309748"/>
                      <a:gd name="connsiteY0" fmla="*/ 61 h 672604"/>
                      <a:gd name="connsiteX1" fmla="*/ 109237 w 309748"/>
                      <a:gd name="connsiteY1" fmla="*/ 151941 h 672604"/>
                      <a:gd name="connsiteX2" fmla="*/ 0 w 309748"/>
                      <a:gd name="connsiteY2" fmla="*/ 649498 h 672604"/>
                      <a:gd name="connsiteX3" fmla="*/ 210551 w 309748"/>
                      <a:gd name="connsiteY3" fmla="*/ 672604 h 672604"/>
                      <a:gd name="connsiteX4" fmla="*/ 309748 w 309748"/>
                      <a:gd name="connsiteY4" fmla="*/ 182668 h 672604"/>
                      <a:gd name="connsiteX5" fmla="*/ 206196 w 309748"/>
                      <a:gd name="connsiteY5" fmla="*/ 0 h 6726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748" h="672604">
                        <a:moveTo>
                          <a:pt x="206196" y="61"/>
                        </a:moveTo>
                        <a:cubicBezTo>
                          <a:pt x="206196" y="61"/>
                          <a:pt x="139541" y="14880"/>
                          <a:pt x="109237" y="151941"/>
                        </a:cubicBezTo>
                        <a:cubicBezTo>
                          <a:pt x="78511" y="290938"/>
                          <a:pt x="0" y="649498"/>
                          <a:pt x="0" y="649498"/>
                        </a:cubicBezTo>
                        <a:lnTo>
                          <a:pt x="210551" y="672604"/>
                        </a:lnTo>
                        <a:lnTo>
                          <a:pt x="309748" y="182668"/>
                        </a:lnTo>
                        <a:lnTo>
                          <a:pt x="206196" y="0"/>
                        </a:ln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9" name="Freihandform: Form 358">
                    <a:extLst>
                      <a:ext uri="{FF2B5EF4-FFF2-40B4-BE49-F238E27FC236}">
                        <a16:creationId xmlns:a16="http://schemas.microsoft.com/office/drawing/2014/main" id="{8E4B4840-7EB4-1879-1B0E-DEF160F9C1E3}"/>
                      </a:ext>
                    </a:extLst>
                  </p:cNvPr>
                  <p:cNvSpPr/>
                  <p:nvPr/>
                </p:nvSpPr>
                <p:spPr>
                  <a:xfrm>
                    <a:off x="11220790" y="2704014"/>
                    <a:ext cx="227870" cy="489936"/>
                  </a:xfrm>
                  <a:custGeom>
                    <a:avLst/>
                    <a:gdLst>
                      <a:gd name="connsiteX0" fmla="*/ 68853 w 227870"/>
                      <a:gd name="connsiteY0" fmla="*/ 234202 h 489936"/>
                      <a:gd name="connsiteX1" fmla="*/ 46050 w 227870"/>
                      <a:gd name="connsiteY1" fmla="*/ 411426 h 489936"/>
                      <a:gd name="connsiteX2" fmla="*/ 1290 w 227870"/>
                      <a:gd name="connsiteY2" fmla="*/ 475964 h 489936"/>
                      <a:gd name="connsiteX3" fmla="*/ 128674 w 227870"/>
                      <a:gd name="connsiteY3" fmla="*/ 489936 h 489936"/>
                      <a:gd name="connsiteX4" fmla="*/ 227871 w 227870"/>
                      <a:gd name="connsiteY4" fmla="*/ 0 h 489936"/>
                      <a:gd name="connsiteX5" fmla="*/ 68913 w 227870"/>
                      <a:gd name="connsiteY5" fmla="*/ 234202 h 4899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27870" h="489936">
                        <a:moveTo>
                          <a:pt x="68853" y="234202"/>
                        </a:moveTo>
                        <a:cubicBezTo>
                          <a:pt x="96495" y="346403"/>
                          <a:pt x="103996" y="388804"/>
                          <a:pt x="46050" y="411426"/>
                        </a:cubicBezTo>
                        <a:cubicBezTo>
                          <a:pt x="-11896" y="434047"/>
                          <a:pt x="1290" y="475964"/>
                          <a:pt x="1290" y="475964"/>
                        </a:cubicBezTo>
                        <a:lnTo>
                          <a:pt x="128674" y="489936"/>
                        </a:lnTo>
                        <a:lnTo>
                          <a:pt x="227871" y="0"/>
                        </a:lnTo>
                        <a:cubicBezTo>
                          <a:pt x="227871" y="0"/>
                          <a:pt x="43207" y="129742"/>
                          <a:pt x="68913" y="234202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360" name="Freihandform: Form 359">
                  <a:extLst>
                    <a:ext uri="{FF2B5EF4-FFF2-40B4-BE49-F238E27FC236}">
                      <a16:creationId xmlns:a16="http://schemas.microsoft.com/office/drawing/2014/main" id="{8620DAE6-4653-039F-1B33-7E44C34048F2}"/>
                    </a:ext>
                  </a:extLst>
                </p:cNvPr>
                <p:cNvSpPr/>
                <p:nvPr/>
              </p:nvSpPr>
              <p:spPr>
                <a:xfrm>
                  <a:off x="11592799" y="2187522"/>
                  <a:ext cx="184482" cy="347094"/>
                </a:xfrm>
                <a:custGeom>
                  <a:avLst/>
                  <a:gdLst>
                    <a:gd name="connsiteX0" fmla="*/ 0 w 184482"/>
                    <a:gd name="connsiteY0" fmla="*/ 298440 h 347094"/>
                    <a:gd name="connsiteX1" fmla="*/ 184482 w 184482"/>
                    <a:gd name="connsiteY1" fmla="*/ 298440 h 347094"/>
                    <a:gd name="connsiteX2" fmla="*/ 184482 w 184482"/>
                    <a:gd name="connsiteY2" fmla="*/ 60307 h 347094"/>
                    <a:gd name="connsiteX3" fmla="*/ 0 w 184482"/>
                    <a:gd name="connsiteY3" fmla="*/ 60307 h 347094"/>
                    <a:gd name="connsiteX4" fmla="*/ 0 w 184482"/>
                    <a:gd name="connsiteY4" fmla="*/ 298440 h 3470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4482" h="347094">
                      <a:moveTo>
                        <a:pt x="0" y="298440"/>
                      </a:moveTo>
                      <a:cubicBezTo>
                        <a:pt x="32058" y="362858"/>
                        <a:pt x="146739" y="363765"/>
                        <a:pt x="184482" y="298440"/>
                      </a:cubicBezTo>
                      <a:lnTo>
                        <a:pt x="184482" y="60307"/>
                      </a:lnTo>
                      <a:cubicBezTo>
                        <a:pt x="151820" y="-29091"/>
                        <a:pt x="13488" y="-10583"/>
                        <a:pt x="0" y="60307"/>
                      </a:cubicBezTo>
                      <a:lnTo>
                        <a:pt x="0" y="298440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1" name="Freihandform: Form 360">
                  <a:extLst>
                    <a:ext uri="{FF2B5EF4-FFF2-40B4-BE49-F238E27FC236}">
                      <a16:creationId xmlns:a16="http://schemas.microsoft.com/office/drawing/2014/main" id="{CAA0DC40-E6B6-638B-1F78-3CAFB5BDE067}"/>
                    </a:ext>
                  </a:extLst>
                </p:cNvPr>
                <p:cNvSpPr/>
                <p:nvPr/>
              </p:nvSpPr>
              <p:spPr>
                <a:xfrm>
                  <a:off x="11592799" y="2187522"/>
                  <a:ext cx="184482" cy="345619"/>
                </a:xfrm>
                <a:custGeom>
                  <a:avLst/>
                  <a:gdLst>
                    <a:gd name="connsiteX0" fmla="*/ 184482 w 184482"/>
                    <a:gd name="connsiteY0" fmla="*/ 60307 h 345619"/>
                    <a:gd name="connsiteX1" fmla="*/ 0 w 184482"/>
                    <a:gd name="connsiteY1" fmla="*/ 60307 h 345619"/>
                    <a:gd name="connsiteX2" fmla="*/ 0 w 184482"/>
                    <a:gd name="connsiteY2" fmla="*/ 298440 h 345619"/>
                    <a:gd name="connsiteX3" fmla="*/ 0 w 184482"/>
                    <a:gd name="connsiteY3" fmla="*/ 298440 h 345619"/>
                    <a:gd name="connsiteX4" fmla="*/ 5141 w 184482"/>
                    <a:gd name="connsiteY4" fmla="*/ 307090 h 345619"/>
                    <a:gd name="connsiteX5" fmla="*/ 6109 w 184482"/>
                    <a:gd name="connsiteY5" fmla="*/ 308541 h 345619"/>
                    <a:gd name="connsiteX6" fmla="*/ 12097 w 184482"/>
                    <a:gd name="connsiteY6" fmla="*/ 315981 h 345619"/>
                    <a:gd name="connsiteX7" fmla="*/ 13247 w 184482"/>
                    <a:gd name="connsiteY7" fmla="*/ 317191 h 345619"/>
                    <a:gd name="connsiteX8" fmla="*/ 28852 w 184482"/>
                    <a:gd name="connsiteY8" fmla="*/ 330014 h 345619"/>
                    <a:gd name="connsiteX9" fmla="*/ 29759 w 184482"/>
                    <a:gd name="connsiteY9" fmla="*/ 330619 h 345619"/>
                    <a:gd name="connsiteX10" fmla="*/ 38832 w 184482"/>
                    <a:gd name="connsiteY10" fmla="*/ 335639 h 345619"/>
                    <a:gd name="connsiteX11" fmla="*/ 39498 w 184482"/>
                    <a:gd name="connsiteY11" fmla="*/ 335941 h 345619"/>
                    <a:gd name="connsiteX12" fmla="*/ 60304 w 184482"/>
                    <a:gd name="connsiteY12" fmla="*/ 343381 h 345619"/>
                    <a:gd name="connsiteX13" fmla="*/ 60365 w 184482"/>
                    <a:gd name="connsiteY13" fmla="*/ 343381 h 345619"/>
                    <a:gd name="connsiteX14" fmla="*/ 71615 w 184482"/>
                    <a:gd name="connsiteY14" fmla="*/ 345619 h 345619"/>
                    <a:gd name="connsiteX15" fmla="*/ 71615 w 184482"/>
                    <a:gd name="connsiteY15" fmla="*/ 345619 h 345619"/>
                    <a:gd name="connsiteX16" fmla="*/ 41010 w 184482"/>
                    <a:gd name="connsiteY16" fmla="*/ 255556 h 345619"/>
                    <a:gd name="connsiteX17" fmla="*/ 91273 w 184482"/>
                    <a:gd name="connsiteY17" fmla="*/ 220474 h 345619"/>
                    <a:gd name="connsiteX18" fmla="*/ 184422 w 184482"/>
                    <a:gd name="connsiteY18" fmla="*/ 110329 h 345619"/>
                    <a:gd name="connsiteX19" fmla="*/ 184422 w 184482"/>
                    <a:gd name="connsiteY19" fmla="*/ 60246 h 3456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84482" h="345619">
                      <a:moveTo>
                        <a:pt x="184482" y="60307"/>
                      </a:moveTo>
                      <a:cubicBezTo>
                        <a:pt x="151820" y="-29091"/>
                        <a:pt x="13488" y="-10583"/>
                        <a:pt x="0" y="60307"/>
                      </a:cubicBezTo>
                      <a:lnTo>
                        <a:pt x="0" y="298440"/>
                      </a:lnTo>
                      <a:cubicBezTo>
                        <a:pt x="0" y="298440"/>
                        <a:pt x="0" y="298440"/>
                        <a:pt x="0" y="298440"/>
                      </a:cubicBezTo>
                      <a:cubicBezTo>
                        <a:pt x="1512" y="301465"/>
                        <a:pt x="3266" y="304307"/>
                        <a:pt x="5141" y="307090"/>
                      </a:cubicBezTo>
                      <a:cubicBezTo>
                        <a:pt x="5444" y="307574"/>
                        <a:pt x="5806" y="308057"/>
                        <a:pt x="6109" y="308541"/>
                      </a:cubicBezTo>
                      <a:cubicBezTo>
                        <a:pt x="7985" y="311142"/>
                        <a:pt x="9980" y="313622"/>
                        <a:pt x="12097" y="315981"/>
                      </a:cubicBezTo>
                      <a:cubicBezTo>
                        <a:pt x="12460" y="316405"/>
                        <a:pt x="12823" y="316767"/>
                        <a:pt x="13247" y="317191"/>
                      </a:cubicBezTo>
                      <a:cubicBezTo>
                        <a:pt x="17904" y="322030"/>
                        <a:pt x="23106" y="326324"/>
                        <a:pt x="28852" y="330014"/>
                      </a:cubicBezTo>
                      <a:cubicBezTo>
                        <a:pt x="29155" y="330195"/>
                        <a:pt x="29457" y="330437"/>
                        <a:pt x="29759" y="330619"/>
                      </a:cubicBezTo>
                      <a:cubicBezTo>
                        <a:pt x="32663" y="332433"/>
                        <a:pt x="35687" y="334127"/>
                        <a:pt x="38832" y="335639"/>
                      </a:cubicBezTo>
                      <a:cubicBezTo>
                        <a:pt x="39074" y="335760"/>
                        <a:pt x="39316" y="335881"/>
                        <a:pt x="39498" y="335941"/>
                      </a:cubicBezTo>
                      <a:cubicBezTo>
                        <a:pt x="46090" y="339087"/>
                        <a:pt x="53046" y="341567"/>
                        <a:pt x="60304" y="343381"/>
                      </a:cubicBezTo>
                      <a:cubicBezTo>
                        <a:pt x="60304" y="343381"/>
                        <a:pt x="60304" y="343381"/>
                        <a:pt x="60365" y="343381"/>
                      </a:cubicBezTo>
                      <a:cubicBezTo>
                        <a:pt x="64054" y="344289"/>
                        <a:pt x="67805" y="345075"/>
                        <a:pt x="71615" y="345619"/>
                      </a:cubicBezTo>
                      <a:cubicBezTo>
                        <a:pt x="71615" y="345619"/>
                        <a:pt x="71615" y="345619"/>
                        <a:pt x="71615" y="345619"/>
                      </a:cubicBezTo>
                      <a:cubicBezTo>
                        <a:pt x="58066" y="324328"/>
                        <a:pt x="40707" y="295779"/>
                        <a:pt x="41010" y="255556"/>
                      </a:cubicBezTo>
                      <a:cubicBezTo>
                        <a:pt x="41191" y="236079"/>
                        <a:pt x="55345" y="222349"/>
                        <a:pt x="91273" y="220474"/>
                      </a:cubicBezTo>
                      <a:cubicBezTo>
                        <a:pt x="151397" y="217389"/>
                        <a:pt x="179038" y="128535"/>
                        <a:pt x="184422" y="110329"/>
                      </a:cubicBezTo>
                      <a:lnTo>
                        <a:pt x="184422" y="60246"/>
                      </a:ln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2" name="Freihandform: Form 361">
                  <a:extLst>
                    <a:ext uri="{FF2B5EF4-FFF2-40B4-BE49-F238E27FC236}">
                      <a16:creationId xmlns:a16="http://schemas.microsoft.com/office/drawing/2014/main" id="{570300FB-C59D-149A-A64A-EE941167C757}"/>
                    </a:ext>
                  </a:extLst>
                </p:cNvPr>
                <p:cNvSpPr/>
                <p:nvPr/>
              </p:nvSpPr>
              <p:spPr>
                <a:xfrm>
                  <a:off x="11554257" y="2045063"/>
                  <a:ext cx="261685" cy="343154"/>
                </a:xfrm>
                <a:custGeom>
                  <a:avLst/>
                  <a:gdLst>
                    <a:gd name="connsiteX0" fmla="*/ 260888 w 261685"/>
                    <a:gd name="connsiteY0" fmla="*/ 115908 h 343154"/>
                    <a:gd name="connsiteX1" fmla="*/ 226713 w 261685"/>
                    <a:gd name="connsiteY1" fmla="*/ 30200 h 343154"/>
                    <a:gd name="connsiteX2" fmla="*/ 130843 w 261685"/>
                    <a:gd name="connsiteY2" fmla="*/ 17 h 343154"/>
                    <a:gd name="connsiteX3" fmla="*/ 34973 w 261685"/>
                    <a:gd name="connsiteY3" fmla="*/ 30200 h 343154"/>
                    <a:gd name="connsiteX4" fmla="*/ 798 w 261685"/>
                    <a:gd name="connsiteY4" fmla="*/ 115908 h 343154"/>
                    <a:gd name="connsiteX5" fmla="*/ 1342 w 261685"/>
                    <a:gd name="connsiteY5" fmla="*/ 197806 h 343154"/>
                    <a:gd name="connsiteX6" fmla="*/ 40235 w 261685"/>
                    <a:gd name="connsiteY6" fmla="*/ 289080 h 343154"/>
                    <a:gd name="connsiteX7" fmla="*/ 130843 w 261685"/>
                    <a:gd name="connsiteY7" fmla="*/ 343154 h 343154"/>
                    <a:gd name="connsiteX8" fmla="*/ 221451 w 261685"/>
                    <a:gd name="connsiteY8" fmla="*/ 289080 h 343154"/>
                    <a:gd name="connsiteX9" fmla="*/ 260344 w 261685"/>
                    <a:gd name="connsiteY9" fmla="*/ 197806 h 343154"/>
                    <a:gd name="connsiteX10" fmla="*/ 260888 w 261685"/>
                    <a:gd name="connsiteY10" fmla="*/ 115908 h 343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61685" h="343154">
                      <a:moveTo>
                        <a:pt x="260888" y="115908"/>
                      </a:moveTo>
                      <a:cubicBezTo>
                        <a:pt x="260888" y="115908"/>
                        <a:pt x="257803" y="64798"/>
                        <a:pt x="226713" y="30200"/>
                      </a:cubicBezTo>
                      <a:cubicBezTo>
                        <a:pt x="201067" y="1711"/>
                        <a:pt x="148566" y="-225"/>
                        <a:pt x="130843" y="17"/>
                      </a:cubicBezTo>
                      <a:cubicBezTo>
                        <a:pt x="113120" y="-164"/>
                        <a:pt x="60558" y="1711"/>
                        <a:pt x="34973" y="30200"/>
                      </a:cubicBezTo>
                      <a:cubicBezTo>
                        <a:pt x="3883" y="64798"/>
                        <a:pt x="798" y="115908"/>
                        <a:pt x="798" y="115908"/>
                      </a:cubicBezTo>
                      <a:cubicBezTo>
                        <a:pt x="798" y="115908"/>
                        <a:pt x="-1319" y="174943"/>
                        <a:pt x="1342" y="197806"/>
                      </a:cubicBezTo>
                      <a:cubicBezTo>
                        <a:pt x="4004" y="220610"/>
                        <a:pt x="1221" y="251941"/>
                        <a:pt x="40235" y="289080"/>
                      </a:cubicBezTo>
                      <a:cubicBezTo>
                        <a:pt x="78341" y="325371"/>
                        <a:pt x="104411" y="342307"/>
                        <a:pt x="130843" y="343154"/>
                      </a:cubicBezTo>
                      <a:cubicBezTo>
                        <a:pt x="157275" y="342368"/>
                        <a:pt x="183345" y="325371"/>
                        <a:pt x="221451" y="289080"/>
                      </a:cubicBezTo>
                      <a:cubicBezTo>
                        <a:pt x="260465" y="251881"/>
                        <a:pt x="257742" y="220610"/>
                        <a:pt x="260344" y="197806"/>
                      </a:cubicBezTo>
                      <a:cubicBezTo>
                        <a:pt x="263005" y="175003"/>
                        <a:pt x="260888" y="115908"/>
                        <a:pt x="260888" y="115908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3" name="Freihandform: Form 362">
                  <a:extLst>
                    <a:ext uri="{FF2B5EF4-FFF2-40B4-BE49-F238E27FC236}">
                      <a16:creationId xmlns:a16="http://schemas.microsoft.com/office/drawing/2014/main" id="{BCA06138-07B9-DDC4-A671-17E477433BDE}"/>
                    </a:ext>
                  </a:extLst>
                </p:cNvPr>
                <p:cNvSpPr/>
                <p:nvPr/>
              </p:nvSpPr>
              <p:spPr>
                <a:xfrm rot="-3871802">
                  <a:off x="11747236" y="2163336"/>
                  <a:ext cx="128714" cy="86011"/>
                </a:xfrm>
                <a:custGeom>
                  <a:avLst/>
                  <a:gdLst>
                    <a:gd name="connsiteX0" fmla="*/ 128714 w 128714"/>
                    <a:gd name="connsiteY0" fmla="*/ 43006 h 86011"/>
                    <a:gd name="connsiteX1" fmla="*/ 64357 w 128714"/>
                    <a:gd name="connsiteY1" fmla="*/ 86011 h 86011"/>
                    <a:gd name="connsiteX2" fmla="*/ 0 w 128714"/>
                    <a:gd name="connsiteY2" fmla="*/ 43006 h 86011"/>
                    <a:gd name="connsiteX3" fmla="*/ 64357 w 128714"/>
                    <a:gd name="connsiteY3" fmla="*/ 0 h 86011"/>
                    <a:gd name="connsiteX4" fmla="*/ 128714 w 128714"/>
                    <a:gd name="connsiteY4" fmla="*/ 43006 h 860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8714" h="86011">
                      <a:moveTo>
                        <a:pt x="128714" y="43006"/>
                      </a:moveTo>
                      <a:cubicBezTo>
                        <a:pt x="128714" y="66757"/>
                        <a:pt x="99900" y="86011"/>
                        <a:pt x="64357" y="86011"/>
                      </a:cubicBezTo>
                      <a:cubicBezTo>
                        <a:pt x="28813" y="86011"/>
                        <a:pt x="0" y="66757"/>
                        <a:pt x="0" y="43006"/>
                      </a:cubicBezTo>
                      <a:cubicBezTo>
                        <a:pt x="0" y="19254"/>
                        <a:pt x="28813" y="0"/>
                        <a:pt x="64357" y="0"/>
                      </a:cubicBezTo>
                      <a:cubicBezTo>
                        <a:pt x="99900" y="0"/>
                        <a:pt x="128714" y="19254"/>
                        <a:pt x="128714" y="43006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4" name="Freihandform: Form 363">
                  <a:extLst>
                    <a:ext uri="{FF2B5EF4-FFF2-40B4-BE49-F238E27FC236}">
                      <a16:creationId xmlns:a16="http://schemas.microsoft.com/office/drawing/2014/main" id="{6AFD1CD0-FF7F-F59A-ADFC-C6D21E262FF5}"/>
                    </a:ext>
                  </a:extLst>
                </p:cNvPr>
                <p:cNvSpPr/>
                <p:nvPr/>
              </p:nvSpPr>
              <p:spPr>
                <a:xfrm rot="-1168199">
                  <a:off x="11511939" y="2141862"/>
                  <a:ext cx="86252" cy="128230"/>
                </a:xfrm>
                <a:custGeom>
                  <a:avLst/>
                  <a:gdLst>
                    <a:gd name="connsiteX0" fmla="*/ 86253 w 86252"/>
                    <a:gd name="connsiteY0" fmla="*/ 64115 h 128230"/>
                    <a:gd name="connsiteX1" fmla="*/ 43127 w 86252"/>
                    <a:gd name="connsiteY1" fmla="*/ 128230 h 128230"/>
                    <a:gd name="connsiteX2" fmla="*/ 0 w 86252"/>
                    <a:gd name="connsiteY2" fmla="*/ 64115 h 128230"/>
                    <a:gd name="connsiteX3" fmla="*/ 43127 w 86252"/>
                    <a:gd name="connsiteY3" fmla="*/ 0 h 128230"/>
                    <a:gd name="connsiteX4" fmla="*/ 86253 w 86252"/>
                    <a:gd name="connsiteY4" fmla="*/ 64115 h 128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6252" h="128230">
                      <a:moveTo>
                        <a:pt x="86253" y="64115"/>
                      </a:moveTo>
                      <a:cubicBezTo>
                        <a:pt x="86253" y="99525"/>
                        <a:pt x="66944" y="128230"/>
                        <a:pt x="43127" y="128230"/>
                      </a:cubicBezTo>
                      <a:cubicBezTo>
                        <a:pt x="19309" y="128230"/>
                        <a:pt x="0" y="99525"/>
                        <a:pt x="0" y="64115"/>
                      </a:cubicBezTo>
                      <a:cubicBezTo>
                        <a:pt x="0" y="28705"/>
                        <a:pt x="19309" y="0"/>
                        <a:pt x="43127" y="0"/>
                      </a:cubicBezTo>
                      <a:cubicBezTo>
                        <a:pt x="66944" y="0"/>
                        <a:pt x="86253" y="28705"/>
                        <a:pt x="86253" y="64115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5" name="Freihandform: Form 364">
                  <a:extLst>
                    <a:ext uri="{FF2B5EF4-FFF2-40B4-BE49-F238E27FC236}">
                      <a16:creationId xmlns:a16="http://schemas.microsoft.com/office/drawing/2014/main" id="{7A31F45A-38D8-84FB-AC04-96F0E0A6D8CF}"/>
                    </a:ext>
                  </a:extLst>
                </p:cNvPr>
                <p:cNvSpPr/>
                <p:nvPr/>
              </p:nvSpPr>
              <p:spPr>
                <a:xfrm>
                  <a:off x="11518704" y="1942617"/>
                  <a:ext cx="332793" cy="347915"/>
                </a:xfrm>
                <a:custGeom>
                  <a:avLst/>
                  <a:gdLst>
                    <a:gd name="connsiteX0" fmla="*/ 332794 w 332793"/>
                    <a:gd name="connsiteY0" fmla="*/ 173958 h 347915"/>
                    <a:gd name="connsiteX1" fmla="*/ 166397 w 332793"/>
                    <a:gd name="connsiteY1" fmla="*/ 347915 h 347915"/>
                    <a:gd name="connsiteX2" fmla="*/ 0 w 332793"/>
                    <a:gd name="connsiteY2" fmla="*/ 173958 h 347915"/>
                    <a:gd name="connsiteX3" fmla="*/ 166397 w 332793"/>
                    <a:gd name="connsiteY3" fmla="*/ 0 h 347915"/>
                    <a:gd name="connsiteX4" fmla="*/ 332794 w 332793"/>
                    <a:gd name="connsiteY4" fmla="*/ 173958 h 347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793" h="347915">
                      <a:moveTo>
                        <a:pt x="332794" y="173958"/>
                      </a:moveTo>
                      <a:cubicBezTo>
                        <a:pt x="332794" y="270032"/>
                        <a:pt x="258295" y="347915"/>
                        <a:pt x="166397" y="347915"/>
                      </a:cubicBezTo>
                      <a:cubicBezTo>
                        <a:pt x="74498" y="347915"/>
                        <a:pt x="0" y="270032"/>
                        <a:pt x="0" y="173958"/>
                      </a:cubicBezTo>
                      <a:cubicBezTo>
                        <a:pt x="0" y="77883"/>
                        <a:pt x="74498" y="0"/>
                        <a:pt x="166397" y="0"/>
                      </a:cubicBezTo>
                      <a:cubicBezTo>
                        <a:pt x="258295" y="0"/>
                        <a:pt x="332794" y="77883"/>
                        <a:pt x="332794" y="173958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6" name="Freihandform: Form 365">
                  <a:extLst>
                    <a:ext uri="{FF2B5EF4-FFF2-40B4-BE49-F238E27FC236}">
                      <a16:creationId xmlns:a16="http://schemas.microsoft.com/office/drawing/2014/main" id="{8206DBAA-572D-640E-0A3C-DCE009645D2A}"/>
                    </a:ext>
                  </a:extLst>
                </p:cNvPr>
                <p:cNvSpPr/>
                <p:nvPr/>
              </p:nvSpPr>
              <p:spPr>
                <a:xfrm>
                  <a:off x="11511370" y="1945641"/>
                  <a:ext cx="328272" cy="250230"/>
                </a:xfrm>
                <a:custGeom>
                  <a:avLst/>
                  <a:gdLst>
                    <a:gd name="connsiteX0" fmla="*/ 165625 w 328272"/>
                    <a:gd name="connsiteY0" fmla="*/ 78874 h 250230"/>
                    <a:gd name="connsiteX1" fmla="*/ 304198 w 328272"/>
                    <a:gd name="connsiteY1" fmla="*/ 250230 h 250230"/>
                    <a:gd name="connsiteX2" fmla="*/ 328272 w 328272"/>
                    <a:gd name="connsiteY2" fmla="*/ 173958 h 250230"/>
                    <a:gd name="connsiteX3" fmla="*/ 164839 w 328272"/>
                    <a:gd name="connsiteY3" fmla="*/ 0 h 250230"/>
                    <a:gd name="connsiteX4" fmla="*/ 54331 w 328272"/>
                    <a:gd name="connsiteY4" fmla="*/ 45788 h 250230"/>
                    <a:gd name="connsiteX5" fmla="*/ 20277 w 328272"/>
                    <a:gd name="connsiteY5" fmla="*/ 236561 h 250230"/>
                    <a:gd name="connsiteX6" fmla="*/ 165625 w 328272"/>
                    <a:gd name="connsiteY6" fmla="*/ 78874 h 250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8272" h="250230">
                      <a:moveTo>
                        <a:pt x="165625" y="78874"/>
                      </a:moveTo>
                      <a:cubicBezTo>
                        <a:pt x="284057" y="86374"/>
                        <a:pt x="269540" y="183756"/>
                        <a:pt x="304198" y="250230"/>
                      </a:cubicBezTo>
                      <a:cubicBezTo>
                        <a:pt x="310731" y="231419"/>
                        <a:pt x="328272" y="195188"/>
                        <a:pt x="328272" y="173958"/>
                      </a:cubicBezTo>
                      <a:cubicBezTo>
                        <a:pt x="328272" y="77845"/>
                        <a:pt x="255083" y="0"/>
                        <a:pt x="164839" y="0"/>
                      </a:cubicBezTo>
                      <a:cubicBezTo>
                        <a:pt x="122257" y="0"/>
                        <a:pt x="83424" y="17359"/>
                        <a:pt x="54331" y="45788"/>
                      </a:cubicBezTo>
                      <a:cubicBezTo>
                        <a:pt x="10841" y="66958"/>
                        <a:pt x="-23454" y="158655"/>
                        <a:pt x="20277" y="236561"/>
                      </a:cubicBezTo>
                      <a:cubicBezTo>
                        <a:pt x="62860" y="195007"/>
                        <a:pt x="58988" y="72160"/>
                        <a:pt x="165625" y="78874"/>
                      </a:cubicBezTo>
                      <a:close/>
                    </a:path>
                  </a:pathLst>
                </a:custGeom>
                <a:solidFill>
                  <a:srgbClr val="C09066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7" name="Freihandform: Form 366">
                  <a:extLst>
                    <a:ext uri="{FF2B5EF4-FFF2-40B4-BE49-F238E27FC236}">
                      <a16:creationId xmlns:a16="http://schemas.microsoft.com/office/drawing/2014/main" id="{F0588B6E-CC08-9117-9890-9FB0F8682F9A}"/>
                    </a:ext>
                  </a:extLst>
                </p:cNvPr>
                <p:cNvSpPr/>
                <p:nvPr/>
              </p:nvSpPr>
              <p:spPr>
                <a:xfrm>
                  <a:off x="11653285" y="2232163"/>
                  <a:ext cx="48738" cy="19839"/>
                </a:xfrm>
                <a:custGeom>
                  <a:avLst/>
                  <a:gdLst>
                    <a:gd name="connsiteX0" fmla="*/ 665 w 48738"/>
                    <a:gd name="connsiteY0" fmla="*/ 0 h 19839"/>
                    <a:gd name="connsiteX1" fmla="*/ 22138 w 48738"/>
                    <a:gd name="connsiteY1" fmla="*/ 6532 h 19839"/>
                    <a:gd name="connsiteX2" fmla="*/ 48147 w 48738"/>
                    <a:gd name="connsiteY2" fmla="*/ 0 h 19839"/>
                    <a:gd name="connsiteX3" fmla="*/ 48147 w 48738"/>
                    <a:gd name="connsiteY3" fmla="*/ 5686 h 19839"/>
                    <a:gd name="connsiteX4" fmla="*/ 22985 w 48738"/>
                    <a:gd name="connsiteY4" fmla="*/ 19839 h 19839"/>
                    <a:gd name="connsiteX5" fmla="*/ 726 w 48738"/>
                    <a:gd name="connsiteY5" fmla="*/ 6291 h 19839"/>
                    <a:gd name="connsiteX6" fmla="*/ 726 w 48738"/>
                    <a:gd name="connsiteY6" fmla="*/ 0 h 198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8738" h="19839">
                      <a:moveTo>
                        <a:pt x="665" y="0"/>
                      </a:moveTo>
                      <a:cubicBezTo>
                        <a:pt x="665" y="0"/>
                        <a:pt x="6835" y="6532"/>
                        <a:pt x="22138" y="6532"/>
                      </a:cubicBezTo>
                      <a:cubicBezTo>
                        <a:pt x="41493" y="6532"/>
                        <a:pt x="48147" y="0"/>
                        <a:pt x="48147" y="0"/>
                      </a:cubicBezTo>
                      <a:cubicBezTo>
                        <a:pt x="48147" y="0"/>
                        <a:pt x="49478" y="1936"/>
                        <a:pt x="48147" y="5686"/>
                      </a:cubicBezTo>
                      <a:cubicBezTo>
                        <a:pt x="47179" y="8347"/>
                        <a:pt x="38772" y="19839"/>
                        <a:pt x="22985" y="19839"/>
                      </a:cubicBezTo>
                      <a:cubicBezTo>
                        <a:pt x="10646" y="19839"/>
                        <a:pt x="2359" y="10162"/>
                        <a:pt x="726" y="6291"/>
                      </a:cubicBezTo>
                      <a:cubicBezTo>
                        <a:pt x="-907" y="2419"/>
                        <a:pt x="726" y="0"/>
                        <a:pt x="726" y="0"/>
                      </a:cubicBez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8" name="Freihandform: Form 367">
                  <a:extLst>
                    <a:ext uri="{FF2B5EF4-FFF2-40B4-BE49-F238E27FC236}">
                      <a16:creationId xmlns:a16="http://schemas.microsoft.com/office/drawing/2014/main" id="{A11EDB4B-768A-883B-A006-2DE202371D19}"/>
                    </a:ext>
                  </a:extLst>
                </p:cNvPr>
                <p:cNvSpPr/>
                <p:nvPr/>
              </p:nvSpPr>
              <p:spPr>
                <a:xfrm>
                  <a:off x="11697217" y="2129414"/>
                  <a:ext cx="86717" cy="29137"/>
                </a:xfrm>
                <a:custGeom>
                  <a:avLst/>
                  <a:gdLst>
                    <a:gd name="connsiteX0" fmla="*/ 67725 w 86717"/>
                    <a:gd name="connsiteY0" fmla="*/ 10931 h 29137"/>
                    <a:gd name="connsiteX1" fmla="*/ 34518 w 86717"/>
                    <a:gd name="connsiteY1" fmla="*/ 467 h 29137"/>
                    <a:gd name="connsiteX2" fmla="*/ 34518 w 86717"/>
                    <a:gd name="connsiteY2" fmla="*/ 467 h 29137"/>
                    <a:gd name="connsiteX3" fmla="*/ 4760 w 86717"/>
                    <a:gd name="connsiteY3" fmla="*/ 3854 h 29137"/>
                    <a:gd name="connsiteX4" fmla="*/ 2643 w 86717"/>
                    <a:gd name="connsiteY4" fmla="*/ 5487 h 29137"/>
                    <a:gd name="connsiteX5" fmla="*/ 8631 w 86717"/>
                    <a:gd name="connsiteY5" fmla="*/ 20609 h 29137"/>
                    <a:gd name="connsiteX6" fmla="*/ 25567 w 86717"/>
                    <a:gd name="connsiteY6" fmla="*/ 19036 h 29137"/>
                    <a:gd name="connsiteX7" fmla="*/ 65306 w 86717"/>
                    <a:gd name="connsiteY7" fmla="*/ 21335 h 29137"/>
                    <a:gd name="connsiteX8" fmla="*/ 86718 w 86717"/>
                    <a:gd name="connsiteY8" fmla="*/ 29137 h 29137"/>
                    <a:gd name="connsiteX9" fmla="*/ 67665 w 86717"/>
                    <a:gd name="connsiteY9" fmla="*/ 10991 h 29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6717" h="29137">
                      <a:moveTo>
                        <a:pt x="67725" y="10931"/>
                      </a:moveTo>
                      <a:cubicBezTo>
                        <a:pt x="56233" y="3612"/>
                        <a:pt x="43773" y="830"/>
                        <a:pt x="34518" y="467"/>
                      </a:cubicBezTo>
                      <a:lnTo>
                        <a:pt x="34518" y="467"/>
                      </a:lnTo>
                      <a:cubicBezTo>
                        <a:pt x="18671" y="-1106"/>
                        <a:pt x="8207" y="1616"/>
                        <a:pt x="4760" y="3854"/>
                      </a:cubicBezTo>
                      <a:cubicBezTo>
                        <a:pt x="3973" y="4399"/>
                        <a:pt x="3248" y="4943"/>
                        <a:pt x="2643" y="5487"/>
                      </a:cubicBezTo>
                      <a:cubicBezTo>
                        <a:pt x="-2983" y="10871"/>
                        <a:pt x="1010" y="20790"/>
                        <a:pt x="8631" y="20609"/>
                      </a:cubicBezTo>
                      <a:cubicBezTo>
                        <a:pt x="12139" y="20548"/>
                        <a:pt x="20668" y="19580"/>
                        <a:pt x="25567" y="19036"/>
                      </a:cubicBezTo>
                      <a:cubicBezTo>
                        <a:pt x="34095" y="18129"/>
                        <a:pt x="58350" y="19399"/>
                        <a:pt x="65306" y="21335"/>
                      </a:cubicBezTo>
                      <a:cubicBezTo>
                        <a:pt x="78916" y="25024"/>
                        <a:pt x="86718" y="29137"/>
                        <a:pt x="86718" y="29137"/>
                      </a:cubicBezTo>
                      <a:cubicBezTo>
                        <a:pt x="86718" y="29137"/>
                        <a:pt x="83028" y="20790"/>
                        <a:pt x="67665" y="10991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9" name="Freihandform: Form 368">
                  <a:extLst>
                    <a:ext uri="{FF2B5EF4-FFF2-40B4-BE49-F238E27FC236}">
                      <a16:creationId xmlns:a16="http://schemas.microsoft.com/office/drawing/2014/main" id="{220D00EC-33A9-4EBF-4D62-71E0C2AA6E8D}"/>
                    </a:ext>
                  </a:extLst>
                </p:cNvPr>
                <p:cNvSpPr/>
                <p:nvPr/>
              </p:nvSpPr>
              <p:spPr>
                <a:xfrm>
                  <a:off x="11633687" y="2269845"/>
                  <a:ext cx="95568" cy="44941"/>
                </a:xfrm>
                <a:custGeom>
                  <a:avLst/>
                  <a:gdLst>
                    <a:gd name="connsiteX0" fmla="*/ 0 w 95568"/>
                    <a:gd name="connsiteY0" fmla="*/ 4961 h 44941"/>
                    <a:gd name="connsiteX1" fmla="*/ 36170 w 95568"/>
                    <a:gd name="connsiteY1" fmla="*/ 545 h 44941"/>
                    <a:gd name="connsiteX2" fmla="*/ 45607 w 95568"/>
                    <a:gd name="connsiteY2" fmla="*/ 3630 h 44941"/>
                    <a:gd name="connsiteX3" fmla="*/ 54498 w 95568"/>
                    <a:gd name="connsiteY3" fmla="*/ 1 h 44941"/>
                    <a:gd name="connsiteX4" fmla="*/ 95568 w 95568"/>
                    <a:gd name="connsiteY4" fmla="*/ 5263 h 44941"/>
                    <a:gd name="connsiteX5" fmla="*/ 44396 w 95568"/>
                    <a:gd name="connsiteY5" fmla="*/ 44942 h 44941"/>
                    <a:gd name="connsiteX6" fmla="*/ 61 w 95568"/>
                    <a:gd name="connsiteY6" fmla="*/ 4900 h 449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5568" h="44941">
                      <a:moveTo>
                        <a:pt x="0" y="4961"/>
                      </a:moveTo>
                      <a:cubicBezTo>
                        <a:pt x="0" y="4961"/>
                        <a:pt x="12339" y="2602"/>
                        <a:pt x="36170" y="545"/>
                      </a:cubicBezTo>
                      <a:cubicBezTo>
                        <a:pt x="38046" y="364"/>
                        <a:pt x="40163" y="3811"/>
                        <a:pt x="45607" y="3630"/>
                      </a:cubicBezTo>
                      <a:cubicBezTo>
                        <a:pt x="52139" y="3448"/>
                        <a:pt x="52381" y="-60"/>
                        <a:pt x="54498" y="1"/>
                      </a:cubicBezTo>
                      <a:cubicBezTo>
                        <a:pt x="80144" y="908"/>
                        <a:pt x="95568" y="5263"/>
                        <a:pt x="95568" y="5263"/>
                      </a:cubicBezTo>
                      <a:cubicBezTo>
                        <a:pt x="95568" y="5263"/>
                        <a:pt x="82865" y="44942"/>
                        <a:pt x="44396" y="44942"/>
                      </a:cubicBezTo>
                      <a:cubicBezTo>
                        <a:pt x="9799" y="44942"/>
                        <a:pt x="61" y="4900"/>
                        <a:pt x="61" y="4900"/>
                      </a:cubicBez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0" name="Freihandform: Form 369">
                  <a:extLst>
                    <a:ext uri="{FF2B5EF4-FFF2-40B4-BE49-F238E27FC236}">
                      <a16:creationId xmlns:a16="http://schemas.microsoft.com/office/drawing/2014/main" id="{AF125A6C-528C-8F39-4B2C-4A385E335909}"/>
                    </a:ext>
                  </a:extLst>
                </p:cNvPr>
                <p:cNvSpPr/>
                <p:nvPr/>
              </p:nvSpPr>
              <p:spPr>
                <a:xfrm rot="-5166000">
                  <a:off x="11600716" y="2174957"/>
                  <a:ext cx="24920" cy="23468"/>
                </a:xfrm>
                <a:custGeom>
                  <a:avLst/>
                  <a:gdLst>
                    <a:gd name="connsiteX0" fmla="*/ 24920 w 24920"/>
                    <a:gd name="connsiteY0" fmla="*/ 11734 h 23468"/>
                    <a:gd name="connsiteX1" fmla="*/ 12459 w 24920"/>
                    <a:gd name="connsiteY1" fmla="*/ 23469 h 23468"/>
                    <a:gd name="connsiteX2" fmla="*/ -1 w 24920"/>
                    <a:gd name="connsiteY2" fmla="*/ 11734 h 23468"/>
                    <a:gd name="connsiteX3" fmla="*/ 12459 w 24920"/>
                    <a:gd name="connsiteY3" fmla="*/ 0 h 23468"/>
                    <a:gd name="connsiteX4" fmla="*/ 24920 w 24920"/>
                    <a:gd name="connsiteY4" fmla="*/ 11734 h 234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920" h="23468">
                      <a:moveTo>
                        <a:pt x="24920" y="11734"/>
                      </a:moveTo>
                      <a:cubicBezTo>
                        <a:pt x="24920" y="18215"/>
                        <a:pt x="19342" y="23469"/>
                        <a:pt x="12459" y="23469"/>
                      </a:cubicBezTo>
                      <a:cubicBezTo>
                        <a:pt x="5578" y="23469"/>
                        <a:pt x="-1" y="18215"/>
                        <a:pt x="-1" y="11734"/>
                      </a:cubicBezTo>
                      <a:cubicBezTo>
                        <a:pt x="-1" y="5254"/>
                        <a:pt x="5577" y="0"/>
                        <a:pt x="12459" y="0"/>
                      </a:cubicBezTo>
                      <a:cubicBezTo>
                        <a:pt x="19341" y="0"/>
                        <a:pt x="24920" y="5254"/>
                        <a:pt x="24920" y="11734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1" name="Freihandform: Form 370">
                  <a:extLst>
                    <a:ext uri="{FF2B5EF4-FFF2-40B4-BE49-F238E27FC236}">
                      <a16:creationId xmlns:a16="http://schemas.microsoft.com/office/drawing/2014/main" id="{FFFDEBDF-9851-B988-025C-F2790F767C40}"/>
                    </a:ext>
                  </a:extLst>
                </p:cNvPr>
                <p:cNvSpPr/>
                <p:nvPr/>
              </p:nvSpPr>
              <p:spPr>
                <a:xfrm>
                  <a:off x="11570056" y="2130443"/>
                  <a:ext cx="86657" cy="29137"/>
                </a:xfrm>
                <a:custGeom>
                  <a:avLst/>
                  <a:gdLst>
                    <a:gd name="connsiteX0" fmla="*/ 19053 w 86657"/>
                    <a:gd name="connsiteY0" fmla="*/ 10931 h 29137"/>
                    <a:gd name="connsiteX1" fmla="*/ 52199 w 86657"/>
                    <a:gd name="connsiteY1" fmla="*/ 467 h 29137"/>
                    <a:gd name="connsiteX2" fmla="*/ 52199 w 86657"/>
                    <a:gd name="connsiteY2" fmla="*/ 467 h 29137"/>
                    <a:gd name="connsiteX3" fmla="*/ 81898 w 86657"/>
                    <a:gd name="connsiteY3" fmla="*/ 3854 h 29137"/>
                    <a:gd name="connsiteX4" fmla="*/ 84015 w 86657"/>
                    <a:gd name="connsiteY4" fmla="*/ 5487 h 29137"/>
                    <a:gd name="connsiteX5" fmla="*/ 78027 w 86657"/>
                    <a:gd name="connsiteY5" fmla="*/ 20609 h 29137"/>
                    <a:gd name="connsiteX6" fmla="*/ 61151 w 86657"/>
                    <a:gd name="connsiteY6" fmla="*/ 19036 h 29137"/>
                    <a:gd name="connsiteX7" fmla="*/ 21412 w 86657"/>
                    <a:gd name="connsiteY7" fmla="*/ 21335 h 29137"/>
                    <a:gd name="connsiteX8" fmla="*/ 0 w 86657"/>
                    <a:gd name="connsiteY8" fmla="*/ 29137 h 29137"/>
                    <a:gd name="connsiteX9" fmla="*/ 18993 w 86657"/>
                    <a:gd name="connsiteY9" fmla="*/ 10991 h 29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6657" h="29137">
                      <a:moveTo>
                        <a:pt x="19053" y="10931"/>
                      </a:moveTo>
                      <a:cubicBezTo>
                        <a:pt x="30546" y="3612"/>
                        <a:pt x="43005" y="830"/>
                        <a:pt x="52199" y="467"/>
                      </a:cubicBezTo>
                      <a:lnTo>
                        <a:pt x="52199" y="467"/>
                      </a:lnTo>
                      <a:cubicBezTo>
                        <a:pt x="67986" y="-1106"/>
                        <a:pt x="78511" y="1616"/>
                        <a:pt x="81898" y="3854"/>
                      </a:cubicBezTo>
                      <a:cubicBezTo>
                        <a:pt x="82685" y="4399"/>
                        <a:pt x="83410" y="4943"/>
                        <a:pt x="84015" y="5487"/>
                      </a:cubicBezTo>
                      <a:cubicBezTo>
                        <a:pt x="89641" y="10871"/>
                        <a:pt x="85648" y="20790"/>
                        <a:pt x="78027" y="20609"/>
                      </a:cubicBezTo>
                      <a:cubicBezTo>
                        <a:pt x="74519" y="20548"/>
                        <a:pt x="65990" y="19581"/>
                        <a:pt x="61151" y="19036"/>
                      </a:cubicBezTo>
                      <a:cubicBezTo>
                        <a:pt x="52623" y="18129"/>
                        <a:pt x="28368" y="19399"/>
                        <a:pt x="21412" y="21335"/>
                      </a:cubicBezTo>
                      <a:cubicBezTo>
                        <a:pt x="7803" y="25024"/>
                        <a:pt x="0" y="29137"/>
                        <a:pt x="0" y="29137"/>
                      </a:cubicBezTo>
                      <a:cubicBezTo>
                        <a:pt x="0" y="29137"/>
                        <a:pt x="3690" y="20790"/>
                        <a:pt x="18993" y="10991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2" name="Freihandform: Form 371">
                  <a:extLst>
                    <a:ext uri="{FF2B5EF4-FFF2-40B4-BE49-F238E27FC236}">
                      <a16:creationId xmlns:a16="http://schemas.microsoft.com/office/drawing/2014/main" id="{3B5FF6F3-0B30-FF98-16E9-7F9E101083E5}"/>
                    </a:ext>
                  </a:extLst>
                </p:cNvPr>
                <p:cNvSpPr/>
                <p:nvPr/>
              </p:nvSpPr>
              <p:spPr>
                <a:xfrm>
                  <a:off x="11580553" y="2168491"/>
                  <a:ext cx="64100" cy="16950"/>
                </a:xfrm>
                <a:custGeom>
                  <a:avLst/>
                  <a:gdLst>
                    <a:gd name="connsiteX0" fmla="*/ 2085 w 64100"/>
                    <a:gd name="connsiteY0" fmla="*/ 10989 h 16950"/>
                    <a:gd name="connsiteX1" fmla="*/ 28637 w 64100"/>
                    <a:gd name="connsiteY1" fmla="*/ 101 h 16950"/>
                    <a:gd name="connsiteX2" fmla="*/ 62631 w 64100"/>
                    <a:gd name="connsiteY2" fmla="*/ 10807 h 16950"/>
                    <a:gd name="connsiteX3" fmla="*/ 60574 w 64100"/>
                    <a:gd name="connsiteY3" fmla="*/ 16614 h 16950"/>
                    <a:gd name="connsiteX4" fmla="*/ 33598 w 64100"/>
                    <a:gd name="connsiteY4" fmla="*/ 7178 h 16950"/>
                    <a:gd name="connsiteX5" fmla="*/ 6742 w 64100"/>
                    <a:gd name="connsiteY5" fmla="*/ 13166 h 16950"/>
                    <a:gd name="connsiteX6" fmla="*/ 814 w 64100"/>
                    <a:gd name="connsiteY6" fmla="*/ 15767 h 16950"/>
                    <a:gd name="connsiteX7" fmla="*/ 2085 w 64100"/>
                    <a:gd name="connsiteY7" fmla="*/ 10928 h 16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4100" h="16950">
                      <a:moveTo>
                        <a:pt x="2085" y="10989"/>
                      </a:moveTo>
                      <a:cubicBezTo>
                        <a:pt x="5049" y="7965"/>
                        <a:pt x="14847" y="888"/>
                        <a:pt x="28637" y="101"/>
                      </a:cubicBezTo>
                      <a:cubicBezTo>
                        <a:pt x="47449" y="-927"/>
                        <a:pt x="58215" y="6090"/>
                        <a:pt x="62631" y="10807"/>
                      </a:cubicBezTo>
                      <a:cubicBezTo>
                        <a:pt x="65837" y="14255"/>
                        <a:pt x="63175" y="18126"/>
                        <a:pt x="60574" y="16614"/>
                      </a:cubicBezTo>
                      <a:cubicBezTo>
                        <a:pt x="53800" y="12743"/>
                        <a:pt x="50171" y="9174"/>
                        <a:pt x="33598" y="7178"/>
                      </a:cubicBezTo>
                      <a:cubicBezTo>
                        <a:pt x="21984" y="5787"/>
                        <a:pt x="10976" y="10807"/>
                        <a:pt x="6742" y="13166"/>
                      </a:cubicBezTo>
                      <a:cubicBezTo>
                        <a:pt x="3476" y="14981"/>
                        <a:pt x="1843" y="16493"/>
                        <a:pt x="814" y="15767"/>
                      </a:cubicBezTo>
                      <a:cubicBezTo>
                        <a:pt x="-1000" y="14437"/>
                        <a:pt x="573" y="12501"/>
                        <a:pt x="2085" y="1092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3" name="Freihandform: Form 372">
                  <a:extLst>
                    <a:ext uri="{FF2B5EF4-FFF2-40B4-BE49-F238E27FC236}">
                      <a16:creationId xmlns:a16="http://schemas.microsoft.com/office/drawing/2014/main" id="{EDF27732-ACE5-031C-7149-8236B55CCA7C}"/>
                    </a:ext>
                  </a:extLst>
                </p:cNvPr>
                <p:cNvSpPr/>
                <p:nvPr/>
              </p:nvSpPr>
              <p:spPr>
                <a:xfrm rot="-234000">
                  <a:off x="11725754" y="2174535"/>
                  <a:ext cx="23468" cy="24920"/>
                </a:xfrm>
                <a:custGeom>
                  <a:avLst/>
                  <a:gdLst>
                    <a:gd name="connsiteX0" fmla="*/ 23468 w 23468"/>
                    <a:gd name="connsiteY0" fmla="*/ 12460 h 24920"/>
                    <a:gd name="connsiteX1" fmla="*/ 11734 w 23468"/>
                    <a:gd name="connsiteY1" fmla="*/ 24920 h 24920"/>
                    <a:gd name="connsiteX2" fmla="*/ 1 w 23468"/>
                    <a:gd name="connsiteY2" fmla="*/ 12460 h 24920"/>
                    <a:gd name="connsiteX3" fmla="*/ 11734 w 23468"/>
                    <a:gd name="connsiteY3" fmla="*/ 0 h 24920"/>
                    <a:gd name="connsiteX4" fmla="*/ 23468 w 23468"/>
                    <a:gd name="connsiteY4" fmla="*/ 12460 h 249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468" h="24920">
                      <a:moveTo>
                        <a:pt x="23468" y="12460"/>
                      </a:moveTo>
                      <a:cubicBezTo>
                        <a:pt x="23468" y="19342"/>
                        <a:pt x="18215" y="24920"/>
                        <a:pt x="11734" y="24920"/>
                      </a:cubicBezTo>
                      <a:cubicBezTo>
                        <a:pt x="5254" y="24920"/>
                        <a:pt x="1" y="19342"/>
                        <a:pt x="1" y="12460"/>
                      </a:cubicBezTo>
                      <a:cubicBezTo>
                        <a:pt x="1" y="5579"/>
                        <a:pt x="5254" y="0"/>
                        <a:pt x="11734" y="0"/>
                      </a:cubicBezTo>
                      <a:cubicBezTo>
                        <a:pt x="18215" y="0"/>
                        <a:pt x="23468" y="5579"/>
                        <a:pt x="23468" y="12460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4" name="Freihandform: Form 373">
                  <a:extLst>
                    <a:ext uri="{FF2B5EF4-FFF2-40B4-BE49-F238E27FC236}">
                      <a16:creationId xmlns:a16="http://schemas.microsoft.com/office/drawing/2014/main" id="{929624FA-0535-15D4-C59A-F1A38A3D152F}"/>
                    </a:ext>
                  </a:extLst>
                </p:cNvPr>
                <p:cNvSpPr/>
                <p:nvPr/>
              </p:nvSpPr>
              <p:spPr>
                <a:xfrm>
                  <a:off x="11706252" y="2168491"/>
                  <a:ext cx="64101" cy="16950"/>
                </a:xfrm>
                <a:custGeom>
                  <a:avLst/>
                  <a:gdLst>
                    <a:gd name="connsiteX0" fmla="*/ 62017 w 64101"/>
                    <a:gd name="connsiteY0" fmla="*/ 10989 h 16950"/>
                    <a:gd name="connsiteX1" fmla="*/ 35463 w 64101"/>
                    <a:gd name="connsiteY1" fmla="*/ 101 h 16950"/>
                    <a:gd name="connsiteX2" fmla="*/ 1470 w 64101"/>
                    <a:gd name="connsiteY2" fmla="*/ 10807 h 16950"/>
                    <a:gd name="connsiteX3" fmla="*/ 3526 w 64101"/>
                    <a:gd name="connsiteY3" fmla="*/ 16614 h 16950"/>
                    <a:gd name="connsiteX4" fmla="*/ 30504 w 64101"/>
                    <a:gd name="connsiteY4" fmla="*/ 7178 h 16950"/>
                    <a:gd name="connsiteX5" fmla="*/ 57359 w 64101"/>
                    <a:gd name="connsiteY5" fmla="*/ 13166 h 16950"/>
                    <a:gd name="connsiteX6" fmla="*/ 63287 w 64101"/>
                    <a:gd name="connsiteY6" fmla="*/ 15767 h 16950"/>
                    <a:gd name="connsiteX7" fmla="*/ 62017 w 64101"/>
                    <a:gd name="connsiteY7" fmla="*/ 10928 h 16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4101" h="16950">
                      <a:moveTo>
                        <a:pt x="62017" y="10989"/>
                      </a:moveTo>
                      <a:cubicBezTo>
                        <a:pt x="59053" y="7965"/>
                        <a:pt x="49254" y="888"/>
                        <a:pt x="35463" y="101"/>
                      </a:cubicBezTo>
                      <a:cubicBezTo>
                        <a:pt x="16652" y="-927"/>
                        <a:pt x="5885" y="6090"/>
                        <a:pt x="1470" y="10807"/>
                      </a:cubicBezTo>
                      <a:cubicBezTo>
                        <a:pt x="-1736" y="14255"/>
                        <a:pt x="926" y="18126"/>
                        <a:pt x="3526" y="16614"/>
                      </a:cubicBezTo>
                      <a:cubicBezTo>
                        <a:pt x="10301" y="12743"/>
                        <a:pt x="13931" y="9174"/>
                        <a:pt x="30504" y="7178"/>
                      </a:cubicBezTo>
                      <a:cubicBezTo>
                        <a:pt x="42116" y="5787"/>
                        <a:pt x="53125" y="10807"/>
                        <a:pt x="57359" y="13166"/>
                      </a:cubicBezTo>
                      <a:cubicBezTo>
                        <a:pt x="60625" y="14981"/>
                        <a:pt x="62259" y="16493"/>
                        <a:pt x="63287" y="15767"/>
                      </a:cubicBezTo>
                      <a:cubicBezTo>
                        <a:pt x="65101" y="14437"/>
                        <a:pt x="63529" y="12501"/>
                        <a:pt x="62017" y="1092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5" name="Freihandform: Form 374">
                  <a:extLst>
                    <a:ext uri="{FF2B5EF4-FFF2-40B4-BE49-F238E27FC236}">
                      <a16:creationId xmlns:a16="http://schemas.microsoft.com/office/drawing/2014/main" id="{A6E5C98A-4095-D7C8-22F5-519651820B9A}"/>
                    </a:ext>
                  </a:extLst>
                </p:cNvPr>
                <p:cNvSpPr/>
                <p:nvPr/>
              </p:nvSpPr>
              <p:spPr>
                <a:xfrm>
                  <a:off x="11643728" y="2279947"/>
                  <a:ext cx="75425" cy="18026"/>
                </a:xfrm>
                <a:custGeom>
                  <a:avLst/>
                  <a:gdLst>
                    <a:gd name="connsiteX0" fmla="*/ 61 w 75425"/>
                    <a:gd name="connsiteY0" fmla="*/ 0 h 18026"/>
                    <a:gd name="connsiteX1" fmla="*/ 75426 w 75425"/>
                    <a:gd name="connsiteY1" fmla="*/ 0 h 18026"/>
                    <a:gd name="connsiteX2" fmla="*/ 36533 w 75425"/>
                    <a:gd name="connsiteY2" fmla="*/ 18025 h 18026"/>
                    <a:gd name="connsiteX3" fmla="*/ 0 w 75425"/>
                    <a:gd name="connsiteY3" fmla="*/ 0 h 18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5425" h="18026">
                      <a:moveTo>
                        <a:pt x="61" y="0"/>
                      </a:moveTo>
                      <a:cubicBezTo>
                        <a:pt x="28731" y="3266"/>
                        <a:pt x="42340" y="3145"/>
                        <a:pt x="75426" y="0"/>
                      </a:cubicBezTo>
                      <a:cubicBezTo>
                        <a:pt x="75426" y="0"/>
                        <a:pt x="64054" y="17843"/>
                        <a:pt x="36533" y="18025"/>
                      </a:cubicBezTo>
                      <a:cubicBezTo>
                        <a:pt x="19355" y="18146"/>
                        <a:pt x="9012" y="10646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6" name="Freihandform: Form 375">
                  <a:extLst>
                    <a:ext uri="{FF2B5EF4-FFF2-40B4-BE49-F238E27FC236}">
                      <a16:creationId xmlns:a16="http://schemas.microsoft.com/office/drawing/2014/main" id="{EEF9E963-4D4E-9497-8D82-1C091EBCB542}"/>
                    </a:ext>
                  </a:extLst>
                </p:cNvPr>
                <p:cNvSpPr/>
                <p:nvPr/>
              </p:nvSpPr>
              <p:spPr>
                <a:xfrm>
                  <a:off x="11573867" y="1928127"/>
                  <a:ext cx="300796" cy="234231"/>
                </a:xfrm>
                <a:custGeom>
                  <a:avLst/>
                  <a:gdLst>
                    <a:gd name="connsiteX0" fmla="*/ 61 w 300796"/>
                    <a:gd name="connsiteY0" fmla="*/ 61185 h 234231"/>
                    <a:gd name="connsiteX1" fmla="*/ 196458 w 300796"/>
                    <a:gd name="connsiteY1" fmla="*/ 219417 h 234231"/>
                    <a:gd name="connsiteX2" fmla="*/ 300797 w 300796"/>
                    <a:gd name="connsiteY2" fmla="*/ 230123 h 234231"/>
                    <a:gd name="connsiteX3" fmla="*/ 275090 w 300796"/>
                    <a:gd name="connsiteY3" fmla="*/ 135220 h 234231"/>
                    <a:gd name="connsiteX4" fmla="*/ 0 w 300796"/>
                    <a:gd name="connsiteY4" fmla="*/ 61185 h 2342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0796" h="234231">
                      <a:moveTo>
                        <a:pt x="61" y="61185"/>
                      </a:moveTo>
                      <a:cubicBezTo>
                        <a:pt x="-2843" y="129172"/>
                        <a:pt x="103250" y="194254"/>
                        <a:pt x="196458" y="219417"/>
                      </a:cubicBezTo>
                      <a:cubicBezTo>
                        <a:pt x="289667" y="244518"/>
                        <a:pt x="300797" y="230123"/>
                        <a:pt x="300797" y="230123"/>
                      </a:cubicBezTo>
                      <a:cubicBezTo>
                        <a:pt x="300797" y="230123"/>
                        <a:pt x="277812" y="221836"/>
                        <a:pt x="275090" y="135220"/>
                      </a:cubicBezTo>
                      <a:cubicBezTo>
                        <a:pt x="272005" y="37354"/>
                        <a:pt x="118129" y="-70735"/>
                        <a:pt x="0" y="61185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7" name="Freihandform: Form 376">
                  <a:extLst>
                    <a:ext uri="{FF2B5EF4-FFF2-40B4-BE49-F238E27FC236}">
                      <a16:creationId xmlns:a16="http://schemas.microsoft.com/office/drawing/2014/main" id="{683D65E0-E42B-24A5-A68A-C352E75AA11A}"/>
                    </a:ext>
                  </a:extLst>
                </p:cNvPr>
                <p:cNvSpPr/>
                <p:nvPr/>
              </p:nvSpPr>
              <p:spPr>
                <a:xfrm>
                  <a:off x="11301257" y="2440900"/>
                  <a:ext cx="766961" cy="1169315"/>
                </a:xfrm>
                <a:custGeom>
                  <a:avLst/>
                  <a:gdLst>
                    <a:gd name="connsiteX0" fmla="*/ 110749 w 766961"/>
                    <a:gd name="connsiteY0" fmla="*/ 634680 h 1169315"/>
                    <a:gd name="connsiteX1" fmla="*/ 0 w 766961"/>
                    <a:gd name="connsiteY1" fmla="*/ 1169315 h 1169315"/>
                    <a:gd name="connsiteX2" fmla="*/ 766962 w 766961"/>
                    <a:gd name="connsiteY2" fmla="*/ 1169315 h 1169315"/>
                    <a:gd name="connsiteX3" fmla="*/ 659962 w 766961"/>
                    <a:gd name="connsiteY3" fmla="*/ 653794 h 1169315"/>
                    <a:gd name="connsiteX4" fmla="*/ 722565 w 766961"/>
                    <a:gd name="connsiteY4" fmla="*/ 82625 h 1169315"/>
                    <a:gd name="connsiteX5" fmla="*/ 508929 w 766961"/>
                    <a:gd name="connsiteY5" fmla="*/ 908 h 1169315"/>
                    <a:gd name="connsiteX6" fmla="*/ 494594 w 766961"/>
                    <a:gd name="connsiteY6" fmla="*/ 5384 h 1169315"/>
                    <a:gd name="connsiteX7" fmla="*/ 380094 w 766961"/>
                    <a:gd name="connsiteY7" fmla="*/ 133130 h 1169315"/>
                    <a:gd name="connsiteX8" fmla="*/ 272368 w 766961"/>
                    <a:gd name="connsiteY8" fmla="*/ 5082 h 1169315"/>
                    <a:gd name="connsiteX9" fmla="*/ 261360 w 766961"/>
                    <a:gd name="connsiteY9" fmla="*/ 1452 h 1169315"/>
                    <a:gd name="connsiteX10" fmla="*/ 45909 w 766961"/>
                    <a:gd name="connsiteY10" fmla="*/ 79721 h 1169315"/>
                    <a:gd name="connsiteX11" fmla="*/ 110871 w 766961"/>
                    <a:gd name="connsiteY11" fmla="*/ 634801 h 1169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766961" h="1169315">
                      <a:moveTo>
                        <a:pt x="110749" y="634680"/>
                      </a:moveTo>
                      <a:cubicBezTo>
                        <a:pt x="21351" y="876745"/>
                        <a:pt x="3145" y="1117539"/>
                        <a:pt x="0" y="1169315"/>
                      </a:cubicBezTo>
                      <a:lnTo>
                        <a:pt x="766962" y="1169315"/>
                      </a:lnTo>
                      <a:cubicBezTo>
                        <a:pt x="762849" y="1116995"/>
                        <a:pt x="736597" y="804464"/>
                        <a:pt x="659962" y="653794"/>
                      </a:cubicBezTo>
                      <a:cubicBezTo>
                        <a:pt x="619436" y="574134"/>
                        <a:pt x="722565" y="82625"/>
                        <a:pt x="722565" y="82625"/>
                      </a:cubicBezTo>
                      <a:cubicBezTo>
                        <a:pt x="640788" y="50023"/>
                        <a:pt x="609517" y="37381"/>
                        <a:pt x="508929" y="908"/>
                      </a:cubicBezTo>
                      <a:cubicBezTo>
                        <a:pt x="503425" y="-1088"/>
                        <a:pt x="497497" y="122"/>
                        <a:pt x="494594" y="5384"/>
                      </a:cubicBezTo>
                      <a:cubicBezTo>
                        <a:pt x="476568" y="38409"/>
                        <a:pt x="414450" y="134884"/>
                        <a:pt x="380094" y="133130"/>
                      </a:cubicBezTo>
                      <a:cubicBezTo>
                        <a:pt x="339870" y="131013"/>
                        <a:pt x="286461" y="35748"/>
                        <a:pt x="272368" y="5082"/>
                      </a:cubicBezTo>
                      <a:cubicBezTo>
                        <a:pt x="270372" y="727"/>
                        <a:pt x="265714" y="-181"/>
                        <a:pt x="261360" y="1452"/>
                      </a:cubicBezTo>
                      <a:cubicBezTo>
                        <a:pt x="177829" y="32240"/>
                        <a:pt x="141537" y="44700"/>
                        <a:pt x="45909" y="79721"/>
                      </a:cubicBezTo>
                      <a:cubicBezTo>
                        <a:pt x="45909" y="79721"/>
                        <a:pt x="113532" y="475420"/>
                        <a:pt x="110871" y="634801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8" name="Freihandform: Form 377">
                  <a:extLst>
                    <a:ext uri="{FF2B5EF4-FFF2-40B4-BE49-F238E27FC236}">
                      <a16:creationId xmlns:a16="http://schemas.microsoft.com/office/drawing/2014/main" id="{32714B26-9E41-FC22-4DA1-C8695C34F510}"/>
                    </a:ext>
                  </a:extLst>
                </p:cNvPr>
                <p:cNvSpPr/>
                <p:nvPr/>
              </p:nvSpPr>
              <p:spPr>
                <a:xfrm>
                  <a:off x="11815932" y="2760992"/>
                  <a:ext cx="126173" cy="70405"/>
                </a:xfrm>
                <a:custGeom>
                  <a:avLst/>
                  <a:gdLst>
                    <a:gd name="connsiteX0" fmla="*/ 0 w 126173"/>
                    <a:gd name="connsiteY0" fmla="*/ 0 h 70405"/>
                    <a:gd name="connsiteX1" fmla="*/ 126174 w 126173"/>
                    <a:gd name="connsiteY1" fmla="*/ 0 h 70405"/>
                    <a:gd name="connsiteX2" fmla="*/ 126174 w 126173"/>
                    <a:gd name="connsiteY2" fmla="*/ 70406 h 70405"/>
                    <a:gd name="connsiteX3" fmla="*/ 0 w 126173"/>
                    <a:gd name="connsiteY3" fmla="*/ 70406 h 70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6173" h="70405">
                      <a:moveTo>
                        <a:pt x="0" y="0"/>
                      </a:moveTo>
                      <a:lnTo>
                        <a:pt x="126174" y="0"/>
                      </a:lnTo>
                      <a:lnTo>
                        <a:pt x="126174" y="70406"/>
                      </a:lnTo>
                      <a:lnTo>
                        <a:pt x="0" y="7040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9" name="Freihandform: Form 378">
                  <a:extLst>
                    <a:ext uri="{FF2B5EF4-FFF2-40B4-BE49-F238E27FC236}">
                      <a16:creationId xmlns:a16="http://schemas.microsoft.com/office/drawing/2014/main" id="{5F02B349-B0CE-8A37-7D40-B8EFCEFF9FF6}"/>
                    </a:ext>
                  </a:extLst>
                </p:cNvPr>
                <p:cNvSpPr/>
                <p:nvPr/>
              </p:nvSpPr>
              <p:spPr>
                <a:xfrm>
                  <a:off x="11765212" y="2760932"/>
                  <a:ext cx="162195" cy="183574"/>
                </a:xfrm>
                <a:custGeom>
                  <a:avLst/>
                  <a:gdLst>
                    <a:gd name="connsiteX0" fmla="*/ 16183 w 162195"/>
                    <a:gd name="connsiteY0" fmla="*/ 60 h 183574"/>
                    <a:gd name="connsiteX1" fmla="*/ 16848 w 162195"/>
                    <a:gd name="connsiteY1" fmla="*/ 136517 h 183574"/>
                    <a:gd name="connsiteX2" fmla="*/ 95601 w 162195"/>
                    <a:gd name="connsiteY2" fmla="*/ 176075 h 183574"/>
                    <a:gd name="connsiteX3" fmla="*/ 162196 w 162195"/>
                    <a:gd name="connsiteY3" fmla="*/ 171538 h 183574"/>
                    <a:gd name="connsiteX4" fmla="*/ 162196 w 162195"/>
                    <a:gd name="connsiteY4" fmla="*/ 171538 h 183574"/>
                    <a:gd name="connsiteX5" fmla="*/ 94936 w 162195"/>
                    <a:gd name="connsiteY5" fmla="*/ 183575 h 183574"/>
                    <a:gd name="connsiteX6" fmla="*/ 7472 w 162195"/>
                    <a:gd name="connsiteY6" fmla="*/ 143836 h 183574"/>
                    <a:gd name="connsiteX7" fmla="*/ 577 w 162195"/>
                    <a:gd name="connsiteY7" fmla="*/ 6170 h 183574"/>
                    <a:gd name="connsiteX8" fmla="*/ 16183 w 162195"/>
                    <a:gd name="connsiteY8" fmla="*/ 0 h 1835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2195" h="183574">
                      <a:moveTo>
                        <a:pt x="16183" y="60"/>
                      </a:moveTo>
                      <a:lnTo>
                        <a:pt x="16848" y="136517"/>
                      </a:lnTo>
                      <a:lnTo>
                        <a:pt x="95601" y="176075"/>
                      </a:lnTo>
                      <a:lnTo>
                        <a:pt x="162196" y="171538"/>
                      </a:lnTo>
                      <a:lnTo>
                        <a:pt x="162196" y="171538"/>
                      </a:lnTo>
                      <a:lnTo>
                        <a:pt x="94936" y="183575"/>
                      </a:lnTo>
                      <a:cubicBezTo>
                        <a:pt x="94936" y="183575"/>
                        <a:pt x="12191" y="148795"/>
                        <a:pt x="7472" y="143836"/>
                      </a:cubicBezTo>
                      <a:cubicBezTo>
                        <a:pt x="2754" y="138876"/>
                        <a:pt x="-1600" y="10404"/>
                        <a:pt x="577" y="6170"/>
                      </a:cubicBezTo>
                      <a:cubicBezTo>
                        <a:pt x="2754" y="1936"/>
                        <a:pt x="16183" y="0"/>
                        <a:pt x="16183" y="0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0" name="Freihandform: Form 379">
                  <a:extLst>
                    <a:ext uri="{FF2B5EF4-FFF2-40B4-BE49-F238E27FC236}">
                      <a16:creationId xmlns:a16="http://schemas.microsoft.com/office/drawing/2014/main" id="{D218713D-AD01-2505-F198-718128AA77C4}"/>
                    </a:ext>
                  </a:extLst>
                </p:cNvPr>
                <p:cNvSpPr/>
                <p:nvPr/>
              </p:nvSpPr>
              <p:spPr>
                <a:xfrm>
                  <a:off x="11431785" y="2402008"/>
                  <a:ext cx="233899" cy="653611"/>
                </a:xfrm>
                <a:custGeom>
                  <a:avLst/>
                  <a:gdLst>
                    <a:gd name="connsiteX0" fmla="*/ 217266 w 233899"/>
                    <a:gd name="connsiteY0" fmla="*/ 603287 h 653611"/>
                    <a:gd name="connsiteX1" fmla="*/ 217266 w 233899"/>
                    <a:gd name="connsiteY1" fmla="*/ 493082 h 653611"/>
                    <a:gd name="connsiteX2" fmla="*/ 124661 w 233899"/>
                    <a:gd name="connsiteY2" fmla="*/ 304607 h 653611"/>
                    <a:gd name="connsiteX3" fmla="*/ 80870 w 233899"/>
                    <a:gd name="connsiteY3" fmla="*/ 163191 h 653611"/>
                    <a:gd name="connsiteX4" fmla="*/ 56615 w 233899"/>
                    <a:gd name="connsiteY4" fmla="*/ 111778 h 653611"/>
                    <a:gd name="connsiteX5" fmla="*/ 74639 w 233899"/>
                    <a:gd name="connsiteY5" fmla="*/ 45848 h 653611"/>
                    <a:gd name="connsiteX6" fmla="*/ 160953 w 233899"/>
                    <a:gd name="connsiteY6" fmla="*/ 12097 h 653611"/>
                    <a:gd name="connsiteX7" fmla="*/ 160953 w 233899"/>
                    <a:gd name="connsiteY7" fmla="*/ 0 h 653611"/>
                    <a:gd name="connsiteX8" fmla="*/ 65627 w 233899"/>
                    <a:gd name="connsiteY8" fmla="*/ 37743 h 653611"/>
                    <a:gd name="connsiteX9" fmla="*/ 44518 w 233899"/>
                    <a:gd name="connsiteY9" fmla="*/ 113048 h 653611"/>
                    <a:gd name="connsiteX10" fmla="*/ 71192 w 233899"/>
                    <a:gd name="connsiteY10" fmla="*/ 170570 h 653611"/>
                    <a:gd name="connsiteX11" fmla="*/ 112443 w 233899"/>
                    <a:gd name="connsiteY11" fmla="*/ 304668 h 653611"/>
                    <a:gd name="connsiteX12" fmla="*/ 20021 w 233899"/>
                    <a:gd name="connsiteY12" fmla="*/ 493082 h 653611"/>
                    <a:gd name="connsiteX13" fmla="*/ 20021 w 233899"/>
                    <a:gd name="connsiteY13" fmla="*/ 602259 h 653611"/>
                    <a:gd name="connsiteX14" fmla="*/ 0 w 233899"/>
                    <a:gd name="connsiteY14" fmla="*/ 627542 h 653611"/>
                    <a:gd name="connsiteX15" fmla="*/ 26070 w 233899"/>
                    <a:gd name="connsiteY15" fmla="*/ 653611 h 653611"/>
                    <a:gd name="connsiteX16" fmla="*/ 52139 w 233899"/>
                    <a:gd name="connsiteY16" fmla="*/ 627542 h 653611"/>
                    <a:gd name="connsiteX17" fmla="*/ 32118 w 233899"/>
                    <a:gd name="connsiteY17" fmla="*/ 602259 h 653611"/>
                    <a:gd name="connsiteX18" fmla="*/ 32118 w 233899"/>
                    <a:gd name="connsiteY18" fmla="*/ 493082 h 653611"/>
                    <a:gd name="connsiteX19" fmla="*/ 118552 w 233899"/>
                    <a:gd name="connsiteY19" fmla="*/ 406647 h 653611"/>
                    <a:gd name="connsiteX20" fmla="*/ 204987 w 233899"/>
                    <a:gd name="connsiteY20" fmla="*/ 493082 h 653611"/>
                    <a:gd name="connsiteX21" fmla="*/ 204987 w 233899"/>
                    <a:gd name="connsiteY21" fmla="*/ 601775 h 653611"/>
                    <a:gd name="connsiteX22" fmla="*/ 181761 w 233899"/>
                    <a:gd name="connsiteY22" fmla="*/ 627542 h 653611"/>
                    <a:gd name="connsiteX23" fmla="*/ 207830 w 233899"/>
                    <a:gd name="connsiteY23" fmla="*/ 653611 h 653611"/>
                    <a:gd name="connsiteX24" fmla="*/ 233899 w 233899"/>
                    <a:gd name="connsiteY24" fmla="*/ 627542 h 653611"/>
                    <a:gd name="connsiteX25" fmla="*/ 217145 w 233899"/>
                    <a:gd name="connsiteY25" fmla="*/ 603287 h 653611"/>
                    <a:gd name="connsiteX26" fmla="*/ 118734 w 233899"/>
                    <a:gd name="connsiteY26" fmla="*/ 394550 h 653611"/>
                    <a:gd name="connsiteX27" fmla="*/ 43308 w 233899"/>
                    <a:gd name="connsiteY27" fmla="*/ 429813 h 653611"/>
                    <a:gd name="connsiteX28" fmla="*/ 118734 w 233899"/>
                    <a:gd name="connsiteY28" fmla="*/ 316221 h 653611"/>
                    <a:gd name="connsiteX29" fmla="*/ 194160 w 233899"/>
                    <a:gd name="connsiteY29" fmla="*/ 429813 h 653611"/>
                    <a:gd name="connsiteX30" fmla="*/ 118734 w 233899"/>
                    <a:gd name="connsiteY30" fmla="*/ 394550 h 6536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233899" h="653611">
                      <a:moveTo>
                        <a:pt x="217266" y="603287"/>
                      </a:moveTo>
                      <a:lnTo>
                        <a:pt x="217266" y="493082"/>
                      </a:lnTo>
                      <a:cubicBezTo>
                        <a:pt x="217266" y="447596"/>
                        <a:pt x="180127" y="313741"/>
                        <a:pt x="124661" y="304607"/>
                      </a:cubicBezTo>
                      <a:cubicBezTo>
                        <a:pt x="123634" y="218838"/>
                        <a:pt x="99983" y="187990"/>
                        <a:pt x="80870" y="163191"/>
                      </a:cubicBezTo>
                      <a:cubicBezTo>
                        <a:pt x="68712" y="147404"/>
                        <a:pt x="59095" y="134944"/>
                        <a:pt x="56615" y="111778"/>
                      </a:cubicBezTo>
                      <a:cubicBezTo>
                        <a:pt x="53712" y="84559"/>
                        <a:pt x="59821" y="62422"/>
                        <a:pt x="74639" y="45848"/>
                      </a:cubicBezTo>
                      <a:cubicBezTo>
                        <a:pt x="104459" y="12581"/>
                        <a:pt x="160409" y="12097"/>
                        <a:pt x="160953" y="12097"/>
                      </a:cubicBezTo>
                      <a:lnTo>
                        <a:pt x="160953" y="0"/>
                      </a:lnTo>
                      <a:cubicBezTo>
                        <a:pt x="158413" y="0"/>
                        <a:pt x="99137" y="484"/>
                        <a:pt x="65627" y="37743"/>
                      </a:cubicBezTo>
                      <a:cubicBezTo>
                        <a:pt x="48389" y="56978"/>
                        <a:pt x="41252" y="82321"/>
                        <a:pt x="44518" y="113048"/>
                      </a:cubicBezTo>
                      <a:cubicBezTo>
                        <a:pt x="47360" y="139662"/>
                        <a:pt x="58913" y="154663"/>
                        <a:pt x="71192" y="170570"/>
                      </a:cubicBezTo>
                      <a:cubicBezTo>
                        <a:pt x="90124" y="195128"/>
                        <a:pt x="111536" y="223072"/>
                        <a:pt x="112443" y="304668"/>
                      </a:cubicBezTo>
                      <a:cubicBezTo>
                        <a:pt x="57099" y="314043"/>
                        <a:pt x="20021" y="447657"/>
                        <a:pt x="20021" y="493082"/>
                      </a:cubicBezTo>
                      <a:lnTo>
                        <a:pt x="20021" y="602259"/>
                      </a:lnTo>
                      <a:cubicBezTo>
                        <a:pt x="8589" y="604981"/>
                        <a:pt x="0" y="615263"/>
                        <a:pt x="0" y="627542"/>
                      </a:cubicBezTo>
                      <a:cubicBezTo>
                        <a:pt x="0" y="641938"/>
                        <a:pt x="11674" y="653611"/>
                        <a:pt x="26070" y="653611"/>
                      </a:cubicBezTo>
                      <a:cubicBezTo>
                        <a:pt x="40465" y="653611"/>
                        <a:pt x="52139" y="641938"/>
                        <a:pt x="52139" y="627542"/>
                      </a:cubicBezTo>
                      <a:cubicBezTo>
                        <a:pt x="52139" y="615263"/>
                        <a:pt x="43610" y="604981"/>
                        <a:pt x="32118" y="602259"/>
                      </a:cubicBezTo>
                      <a:lnTo>
                        <a:pt x="32118" y="493082"/>
                      </a:lnTo>
                      <a:cubicBezTo>
                        <a:pt x="32118" y="445419"/>
                        <a:pt x="70889" y="406647"/>
                        <a:pt x="118552" y="406647"/>
                      </a:cubicBezTo>
                      <a:cubicBezTo>
                        <a:pt x="166215" y="406647"/>
                        <a:pt x="204987" y="445419"/>
                        <a:pt x="204987" y="493082"/>
                      </a:cubicBezTo>
                      <a:lnTo>
                        <a:pt x="204987" y="601775"/>
                      </a:lnTo>
                      <a:cubicBezTo>
                        <a:pt x="191922" y="603166"/>
                        <a:pt x="181761" y="614114"/>
                        <a:pt x="181761" y="627542"/>
                      </a:cubicBezTo>
                      <a:cubicBezTo>
                        <a:pt x="181761" y="641938"/>
                        <a:pt x="193434" y="653611"/>
                        <a:pt x="207830" y="653611"/>
                      </a:cubicBezTo>
                      <a:cubicBezTo>
                        <a:pt x="222225" y="653611"/>
                        <a:pt x="233899" y="641938"/>
                        <a:pt x="233899" y="627542"/>
                      </a:cubicBezTo>
                      <a:cubicBezTo>
                        <a:pt x="233899" y="616412"/>
                        <a:pt x="226943" y="607037"/>
                        <a:pt x="217145" y="603287"/>
                      </a:cubicBezTo>
                      <a:close/>
                      <a:moveTo>
                        <a:pt x="118734" y="394550"/>
                      </a:moveTo>
                      <a:cubicBezTo>
                        <a:pt x="88491" y="394550"/>
                        <a:pt x="61393" y="408280"/>
                        <a:pt x="43308" y="429813"/>
                      </a:cubicBezTo>
                      <a:cubicBezTo>
                        <a:pt x="58490" y="376162"/>
                        <a:pt x="87644" y="316221"/>
                        <a:pt x="118734" y="316221"/>
                      </a:cubicBezTo>
                      <a:cubicBezTo>
                        <a:pt x="149824" y="316221"/>
                        <a:pt x="178978" y="376223"/>
                        <a:pt x="194160" y="429813"/>
                      </a:cubicBezTo>
                      <a:cubicBezTo>
                        <a:pt x="176075" y="408280"/>
                        <a:pt x="148977" y="394550"/>
                        <a:pt x="118734" y="394550"/>
                      </a:cubicBezTo>
                      <a:close/>
                    </a:path>
                  </a:pathLst>
                </a:custGeom>
                <a:solidFill>
                  <a:srgbClr val="F19E6A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1" name="Freihandform: Form 380">
                  <a:extLst>
                    <a:ext uri="{FF2B5EF4-FFF2-40B4-BE49-F238E27FC236}">
                      <a16:creationId xmlns:a16="http://schemas.microsoft.com/office/drawing/2014/main" id="{1F84D538-B7EF-065C-87EB-6F3B096FD5D2}"/>
                    </a:ext>
                  </a:extLst>
                </p:cNvPr>
                <p:cNvSpPr/>
                <p:nvPr/>
              </p:nvSpPr>
              <p:spPr>
                <a:xfrm>
                  <a:off x="11738570" y="2401947"/>
                  <a:ext cx="135445" cy="330434"/>
                </a:xfrm>
                <a:custGeom>
                  <a:avLst/>
                  <a:gdLst>
                    <a:gd name="connsiteX0" fmla="*/ 135428 w 135445"/>
                    <a:gd name="connsiteY0" fmla="*/ 85830 h 330434"/>
                    <a:gd name="connsiteX1" fmla="*/ 113653 w 135445"/>
                    <a:gd name="connsiteY1" fmla="*/ 27158 h 330434"/>
                    <a:gd name="connsiteX2" fmla="*/ 38651 w 135445"/>
                    <a:gd name="connsiteY2" fmla="*/ 0 h 330434"/>
                    <a:gd name="connsiteX3" fmla="*/ 38651 w 135445"/>
                    <a:gd name="connsiteY3" fmla="*/ 12097 h 330434"/>
                    <a:gd name="connsiteX4" fmla="*/ 105004 w 135445"/>
                    <a:gd name="connsiteY4" fmla="*/ 35626 h 330434"/>
                    <a:gd name="connsiteX5" fmla="*/ 123270 w 135445"/>
                    <a:gd name="connsiteY5" fmla="*/ 85588 h 330434"/>
                    <a:gd name="connsiteX6" fmla="*/ 87463 w 135445"/>
                    <a:gd name="connsiteY6" fmla="*/ 150671 h 330434"/>
                    <a:gd name="connsiteX7" fmla="*/ 37623 w 135445"/>
                    <a:gd name="connsiteY7" fmla="*/ 252045 h 330434"/>
                    <a:gd name="connsiteX8" fmla="*/ 0 w 135445"/>
                    <a:gd name="connsiteY8" fmla="*/ 291179 h 330434"/>
                    <a:gd name="connsiteX9" fmla="*/ 39255 w 135445"/>
                    <a:gd name="connsiteY9" fmla="*/ 330435 h 330434"/>
                    <a:gd name="connsiteX10" fmla="*/ 78511 w 135445"/>
                    <a:gd name="connsiteY10" fmla="*/ 291179 h 330434"/>
                    <a:gd name="connsiteX11" fmla="*/ 49720 w 135445"/>
                    <a:gd name="connsiteY11" fmla="*/ 253376 h 330434"/>
                    <a:gd name="connsiteX12" fmla="*/ 96173 w 135445"/>
                    <a:gd name="connsiteY12" fmla="*/ 159078 h 330434"/>
                    <a:gd name="connsiteX13" fmla="*/ 135428 w 135445"/>
                    <a:gd name="connsiteY13" fmla="*/ 85769 h 330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35445" h="330434">
                      <a:moveTo>
                        <a:pt x="135428" y="85830"/>
                      </a:moveTo>
                      <a:cubicBezTo>
                        <a:pt x="135852" y="62422"/>
                        <a:pt x="128352" y="42098"/>
                        <a:pt x="113653" y="27158"/>
                      </a:cubicBezTo>
                      <a:cubicBezTo>
                        <a:pt x="96476" y="9617"/>
                        <a:pt x="69862" y="0"/>
                        <a:pt x="38651" y="0"/>
                      </a:cubicBezTo>
                      <a:lnTo>
                        <a:pt x="38651" y="12097"/>
                      </a:lnTo>
                      <a:cubicBezTo>
                        <a:pt x="66535" y="12097"/>
                        <a:pt x="90124" y="20444"/>
                        <a:pt x="105004" y="35626"/>
                      </a:cubicBezTo>
                      <a:cubicBezTo>
                        <a:pt x="117525" y="48389"/>
                        <a:pt x="123694" y="65204"/>
                        <a:pt x="123270" y="85588"/>
                      </a:cubicBezTo>
                      <a:cubicBezTo>
                        <a:pt x="122726" y="114500"/>
                        <a:pt x="106395" y="131255"/>
                        <a:pt x="87463" y="150671"/>
                      </a:cubicBezTo>
                      <a:cubicBezTo>
                        <a:pt x="64720" y="174079"/>
                        <a:pt x="39376" y="200209"/>
                        <a:pt x="37623" y="252045"/>
                      </a:cubicBezTo>
                      <a:cubicBezTo>
                        <a:pt x="16694" y="252892"/>
                        <a:pt x="0" y="270070"/>
                        <a:pt x="0" y="291179"/>
                      </a:cubicBezTo>
                      <a:cubicBezTo>
                        <a:pt x="0" y="312289"/>
                        <a:pt x="17541" y="330435"/>
                        <a:pt x="39255" y="330435"/>
                      </a:cubicBezTo>
                      <a:cubicBezTo>
                        <a:pt x="60970" y="330435"/>
                        <a:pt x="78511" y="312894"/>
                        <a:pt x="78511" y="291179"/>
                      </a:cubicBezTo>
                      <a:cubicBezTo>
                        <a:pt x="78511" y="273155"/>
                        <a:pt x="66293" y="257973"/>
                        <a:pt x="49720" y="253376"/>
                      </a:cubicBezTo>
                      <a:cubicBezTo>
                        <a:pt x="51051" y="205531"/>
                        <a:pt x="73914" y="181942"/>
                        <a:pt x="96173" y="159078"/>
                      </a:cubicBezTo>
                      <a:cubicBezTo>
                        <a:pt x="116012" y="138694"/>
                        <a:pt x="134763" y="119460"/>
                        <a:pt x="135428" y="85769"/>
                      </a:cubicBezTo>
                      <a:close/>
                    </a:path>
                  </a:pathLst>
                </a:custGeom>
                <a:solidFill>
                  <a:srgbClr val="F19E6A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382" name="Grafik 297">
                  <a:extLst>
                    <a:ext uri="{FF2B5EF4-FFF2-40B4-BE49-F238E27FC236}">
                      <a16:creationId xmlns:a16="http://schemas.microsoft.com/office/drawing/2014/main" id="{E24B9011-1E06-73EB-4362-F5C6A731AB05}"/>
                    </a:ext>
                  </a:extLst>
                </p:cNvPr>
                <p:cNvGrpSpPr/>
                <p:nvPr/>
              </p:nvGrpSpPr>
              <p:grpSpPr>
                <a:xfrm>
                  <a:off x="11163281" y="3555052"/>
                  <a:ext cx="144145" cy="337753"/>
                  <a:chOff x="11163281" y="3555052"/>
                  <a:chExt cx="144145" cy="337753"/>
                </a:xfrm>
                <a:solidFill>
                  <a:srgbClr val="02787D"/>
                </a:solidFill>
              </p:grpSpPr>
              <p:grpSp>
                <p:nvGrpSpPr>
                  <p:cNvPr id="383" name="Grafik 297">
                    <a:extLst>
                      <a:ext uri="{FF2B5EF4-FFF2-40B4-BE49-F238E27FC236}">
                        <a16:creationId xmlns:a16="http://schemas.microsoft.com/office/drawing/2014/main" id="{949BB993-C474-118C-242F-1F10AF94CCF8}"/>
                      </a:ext>
                    </a:extLst>
                  </p:cNvPr>
                  <p:cNvGrpSpPr/>
                  <p:nvPr/>
                </p:nvGrpSpPr>
                <p:grpSpPr>
                  <a:xfrm>
                    <a:off x="11183347" y="3766601"/>
                    <a:ext cx="67615" cy="68318"/>
                    <a:chOff x="11183347" y="3766601"/>
                    <a:chExt cx="67615" cy="68318"/>
                  </a:xfrm>
                  <a:solidFill>
                    <a:srgbClr val="02787D"/>
                  </a:solidFill>
                </p:grpSpPr>
                <p:sp>
                  <p:nvSpPr>
                    <p:cNvPr id="384" name="Freihandform: Form 383">
                      <a:extLst>
                        <a:ext uri="{FF2B5EF4-FFF2-40B4-BE49-F238E27FC236}">
                          <a16:creationId xmlns:a16="http://schemas.microsoft.com/office/drawing/2014/main" id="{8F95C7A7-FC6E-8AFA-979E-5C68F7F7945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4392" y="3786015"/>
                      <a:ext cx="36570" cy="48905"/>
                    </a:xfrm>
                    <a:custGeom>
                      <a:avLst/>
                      <a:gdLst>
                        <a:gd name="connsiteX0" fmla="*/ 33515 w 36570"/>
                        <a:gd name="connsiteY0" fmla="*/ 48845 h 48905"/>
                        <a:gd name="connsiteX1" fmla="*/ 10652 w 36570"/>
                        <a:gd name="connsiteY1" fmla="*/ 34207 h 48905"/>
                        <a:gd name="connsiteX2" fmla="*/ 853 w 36570"/>
                        <a:gd name="connsiteY2" fmla="*/ 6262 h 48905"/>
                        <a:gd name="connsiteX3" fmla="*/ 3272 w 36570"/>
                        <a:gd name="connsiteY3" fmla="*/ 32 h 48905"/>
                        <a:gd name="connsiteX4" fmla="*/ 28193 w 36570"/>
                        <a:gd name="connsiteY4" fmla="*/ 22231 h 48905"/>
                        <a:gd name="connsiteX5" fmla="*/ 33515 w 36570"/>
                        <a:gd name="connsiteY5" fmla="*/ 48905 h 48905"/>
                        <a:gd name="connsiteX6" fmla="*/ 33515 w 36570"/>
                        <a:gd name="connsiteY6" fmla="*/ 48905 h 4890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6570" h="48905">
                          <a:moveTo>
                            <a:pt x="33515" y="48845"/>
                          </a:moveTo>
                          <a:lnTo>
                            <a:pt x="10652" y="34207"/>
                          </a:lnTo>
                          <a:cubicBezTo>
                            <a:pt x="2063" y="28521"/>
                            <a:pt x="-1869" y="18299"/>
                            <a:pt x="853" y="6262"/>
                          </a:cubicBezTo>
                          <a:cubicBezTo>
                            <a:pt x="1700" y="2391"/>
                            <a:pt x="2607" y="-330"/>
                            <a:pt x="3272" y="32"/>
                          </a:cubicBezTo>
                          <a:cubicBezTo>
                            <a:pt x="4604" y="758"/>
                            <a:pt x="15249" y="10194"/>
                            <a:pt x="28193" y="22231"/>
                          </a:cubicBezTo>
                          <a:cubicBezTo>
                            <a:pt x="36359" y="29852"/>
                            <a:pt x="39383" y="36747"/>
                            <a:pt x="33515" y="48905"/>
                          </a:cubicBezTo>
                          <a:lnTo>
                            <a:pt x="33515" y="48905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5" name="Freihandform: Form 384">
                      <a:extLst>
                        <a:ext uri="{FF2B5EF4-FFF2-40B4-BE49-F238E27FC236}">
                          <a16:creationId xmlns:a16="http://schemas.microsoft.com/office/drawing/2014/main" id="{9BCAB8A0-B051-A487-A47F-9E98F8164B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83347" y="3766601"/>
                      <a:ext cx="47654" cy="53620"/>
                    </a:xfrm>
                    <a:custGeom>
                      <a:avLst/>
                      <a:gdLst>
                        <a:gd name="connsiteX0" fmla="*/ 41698 w 47654"/>
                        <a:gd name="connsiteY0" fmla="*/ 53621 h 53620"/>
                        <a:gd name="connsiteX1" fmla="*/ 6797 w 47654"/>
                        <a:gd name="connsiteY1" fmla="*/ 29426 h 53620"/>
                        <a:gd name="connsiteX2" fmla="*/ 23 w 47654"/>
                        <a:gd name="connsiteY2" fmla="*/ 22047 h 53620"/>
                        <a:gd name="connsiteX3" fmla="*/ 22946 w 47654"/>
                        <a:gd name="connsiteY3" fmla="*/ 91 h 53620"/>
                        <a:gd name="connsiteX4" fmla="*/ 42302 w 47654"/>
                        <a:gd name="connsiteY4" fmla="*/ 25797 h 53620"/>
                        <a:gd name="connsiteX5" fmla="*/ 41698 w 47654"/>
                        <a:gd name="connsiteY5" fmla="*/ 53621 h 53620"/>
                        <a:gd name="connsiteX6" fmla="*/ 41698 w 47654"/>
                        <a:gd name="connsiteY6" fmla="*/ 53621 h 536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7654" h="53620">
                          <a:moveTo>
                            <a:pt x="41698" y="53621"/>
                          </a:moveTo>
                          <a:lnTo>
                            <a:pt x="6797" y="29426"/>
                          </a:lnTo>
                          <a:cubicBezTo>
                            <a:pt x="2563" y="26221"/>
                            <a:pt x="1111" y="23741"/>
                            <a:pt x="23" y="22047"/>
                          </a:cubicBezTo>
                          <a:cubicBezTo>
                            <a:pt x="-643" y="9950"/>
                            <a:pt x="13511" y="-1119"/>
                            <a:pt x="22946" y="91"/>
                          </a:cubicBezTo>
                          <a:lnTo>
                            <a:pt x="42302" y="25797"/>
                          </a:lnTo>
                          <a:cubicBezTo>
                            <a:pt x="50286" y="32814"/>
                            <a:pt x="48713" y="42310"/>
                            <a:pt x="41698" y="53621"/>
                          </a:cubicBezTo>
                          <a:lnTo>
                            <a:pt x="41698" y="53621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386" name="Grafik 297">
                    <a:extLst>
                      <a:ext uri="{FF2B5EF4-FFF2-40B4-BE49-F238E27FC236}">
                        <a16:creationId xmlns:a16="http://schemas.microsoft.com/office/drawing/2014/main" id="{85869E3B-BC14-F485-A352-B531AA9E4850}"/>
                      </a:ext>
                    </a:extLst>
                  </p:cNvPr>
                  <p:cNvGrpSpPr/>
                  <p:nvPr/>
                </p:nvGrpSpPr>
                <p:grpSpPr>
                  <a:xfrm>
                    <a:off x="11163288" y="3738619"/>
                    <a:ext cx="90846" cy="132471"/>
                    <a:chOff x="11163288" y="3738619"/>
                    <a:chExt cx="90846" cy="132471"/>
                  </a:xfrm>
                  <a:solidFill>
                    <a:srgbClr val="02787D"/>
                  </a:solidFill>
                </p:grpSpPr>
                <p:sp>
                  <p:nvSpPr>
                    <p:cNvPr id="387" name="Freihandform: Form 386">
                      <a:extLst>
                        <a:ext uri="{FF2B5EF4-FFF2-40B4-BE49-F238E27FC236}">
                          <a16:creationId xmlns:a16="http://schemas.microsoft.com/office/drawing/2014/main" id="{D6ADD04E-939E-1B28-A0D7-F97E333041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0554" y="3808727"/>
                      <a:ext cx="43580" cy="62363"/>
                    </a:xfrm>
                    <a:custGeom>
                      <a:avLst/>
                      <a:gdLst>
                        <a:gd name="connsiteX0" fmla="*/ 39895 w 43580"/>
                        <a:gd name="connsiteY0" fmla="*/ 62364 h 62363"/>
                        <a:gd name="connsiteX1" fmla="*/ 12615 w 43580"/>
                        <a:gd name="connsiteY1" fmla="*/ 41194 h 62363"/>
                        <a:gd name="connsiteX2" fmla="*/ 1062 w 43580"/>
                        <a:gd name="connsiteY2" fmla="*/ 6898 h 62363"/>
                        <a:gd name="connsiteX3" fmla="*/ 3966 w 43580"/>
                        <a:gd name="connsiteY3" fmla="*/ 63 h 62363"/>
                        <a:gd name="connsiteX4" fmla="*/ 33664 w 43580"/>
                        <a:gd name="connsiteY4" fmla="*/ 30367 h 62363"/>
                        <a:gd name="connsiteX5" fmla="*/ 39895 w 43580"/>
                        <a:gd name="connsiteY5" fmla="*/ 62364 h 62363"/>
                        <a:gd name="connsiteX6" fmla="*/ 39895 w 43580"/>
                        <a:gd name="connsiteY6" fmla="*/ 62364 h 6236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3580" h="62363">
                          <a:moveTo>
                            <a:pt x="39895" y="62364"/>
                          </a:moveTo>
                          <a:lnTo>
                            <a:pt x="12615" y="41194"/>
                          </a:lnTo>
                          <a:cubicBezTo>
                            <a:pt x="2394" y="32968"/>
                            <a:pt x="-2264" y="20447"/>
                            <a:pt x="1062" y="6898"/>
                          </a:cubicBezTo>
                          <a:cubicBezTo>
                            <a:pt x="2151" y="2543"/>
                            <a:pt x="3179" y="-481"/>
                            <a:pt x="3966" y="63"/>
                          </a:cubicBezTo>
                          <a:cubicBezTo>
                            <a:pt x="5538" y="1152"/>
                            <a:pt x="18241" y="14036"/>
                            <a:pt x="33664" y="30367"/>
                          </a:cubicBezTo>
                          <a:cubicBezTo>
                            <a:pt x="43403" y="40710"/>
                            <a:pt x="46911" y="49238"/>
                            <a:pt x="39895" y="62364"/>
                          </a:cubicBezTo>
                          <a:lnTo>
                            <a:pt x="39895" y="62364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8" name="Freihandform: Form 387">
                      <a:extLst>
                        <a:ext uri="{FF2B5EF4-FFF2-40B4-BE49-F238E27FC236}">
                          <a16:creationId xmlns:a16="http://schemas.microsoft.com/office/drawing/2014/main" id="{DA6422EE-E5C8-F6DE-E089-3DB1D29B89F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72474" y="3771894"/>
                      <a:ext cx="58537" cy="78389"/>
                    </a:xfrm>
                    <a:custGeom>
                      <a:avLst/>
                      <a:gdLst>
                        <a:gd name="connsiteX0" fmla="*/ 51360 w 58537"/>
                        <a:gd name="connsiteY0" fmla="*/ 78390 h 78389"/>
                        <a:gd name="connsiteX1" fmla="*/ 9807 w 58537"/>
                        <a:gd name="connsiteY1" fmla="*/ 45425 h 78389"/>
                        <a:gd name="connsiteX2" fmla="*/ 8415 w 58537"/>
                        <a:gd name="connsiteY2" fmla="*/ 3085 h 78389"/>
                        <a:gd name="connsiteX3" fmla="*/ 13557 w 58537"/>
                        <a:gd name="connsiteY3" fmla="*/ 0 h 78389"/>
                        <a:gd name="connsiteX4" fmla="*/ 52207 w 58537"/>
                        <a:gd name="connsiteY4" fmla="*/ 46030 h 78389"/>
                        <a:gd name="connsiteX5" fmla="*/ 51360 w 58537"/>
                        <a:gd name="connsiteY5" fmla="*/ 78329 h 78389"/>
                        <a:gd name="connsiteX6" fmla="*/ 51360 w 58537"/>
                        <a:gd name="connsiteY6" fmla="*/ 78329 h 7838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58537" h="78389">
                          <a:moveTo>
                            <a:pt x="51360" y="78390"/>
                          </a:moveTo>
                          <a:lnTo>
                            <a:pt x="9807" y="45425"/>
                          </a:lnTo>
                          <a:cubicBezTo>
                            <a:pt x="-2714" y="35324"/>
                            <a:pt x="-3319" y="15968"/>
                            <a:pt x="8415" y="3085"/>
                          </a:cubicBezTo>
                          <a:lnTo>
                            <a:pt x="13557" y="0"/>
                          </a:lnTo>
                          <a:lnTo>
                            <a:pt x="52207" y="46030"/>
                          </a:lnTo>
                          <a:cubicBezTo>
                            <a:pt x="61703" y="55587"/>
                            <a:pt x="59768" y="66414"/>
                            <a:pt x="51360" y="78329"/>
                          </a:cubicBezTo>
                          <a:lnTo>
                            <a:pt x="51360" y="78329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9" name="Freihandform: Form 388">
                      <a:extLst>
                        <a:ext uri="{FF2B5EF4-FFF2-40B4-BE49-F238E27FC236}">
                          <a16:creationId xmlns:a16="http://schemas.microsoft.com/office/drawing/2014/main" id="{2E7D34B8-A241-B499-4A1F-606EE74880D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63288" y="3738619"/>
                      <a:ext cx="39981" cy="70534"/>
                    </a:xfrm>
                    <a:custGeom>
                      <a:avLst/>
                      <a:gdLst>
                        <a:gd name="connsiteX0" fmla="*/ 61 w 39981"/>
                        <a:gd name="connsiteY0" fmla="*/ 7508 h 70534"/>
                        <a:gd name="connsiteX1" fmla="*/ 9133 w 39981"/>
                        <a:gd name="connsiteY1" fmla="*/ 63881 h 70534"/>
                        <a:gd name="connsiteX2" fmla="*/ 12400 w 39981"/>
                        <a:gd name="connsiteY2" fmla="*/ 70534 h 70534"/>
                        <a:gd name="connsiteX3" fmla="*/ 39679 w 39981"/>
                        <a:gd name="connsiteY3" fmla="*/ 39444 h 70534"/>
                        <a:gd name="connsiteX4" fmla="*/ 39981 w 39981"/>
                        <a:gd name="connsiteY4" fmla="*/ 8718 h 70534"/>
                        <a:gd name="connsiteX5" fmla="*/ 0 w 39981"/>
                        <a:gd name="connsiteY5" fmla="*/ 7447 h 705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39981" h="70534">
                          <a:moveTo>
                            <a:pt x="61" y="7508"/>
                          </a:moveTo>
                          <a:cubicBezTo>
                            <a:pt x="1633" y="19121"/>
                            <a:pt x="9133" y="63881"/>
                            <a:pt x="9133" y="63881"/>
                          </a:cubicBezTo>
                          <a:lnTo>
                            <a:pt x="12400" y="70534"/>
                          </a:lnTo>
                          <a:cubicBezTo>
                            <a:pt x="28912" y="68417"/>
                            <a:pt x="39860" y="54808"/>
                            <a:pt x="39679" y="39444"/>
                          </a:cubicBezTo>
                          <a:lnTo>
                            <a:pt x="39981" y="8718"/>
                          </a:lnTo>
                          <a:cubicBezTo>
                            <a:pt x="34175" y="-1142"/>
                            <a:pt x="3871" y="-4045"/>
                            <a:pt x="0" y="7447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390" name="Grafik 297">
                    <a:extLst>
                      <a:ext uri="{FF2B5EF4-FFF2-40B4-BE49-F238E27FC236}">
                        <a16:creationId xmlns:a16="http://schemas.microsoft.com/office/drawing/2014/main" id="{8E7C9462-4069-2F43-80E7-C996721EF8CA}"/>
                      </a:ext>
                    </a:extLst>
                  </p:cNvPr>
                  <p:cNvGrpSpPr/>
                  <p:nvPr/>
                </p:nvGrpSpPr>
                <p:grpSpPr>
                  <a:xfrm>
                    <a:off x="11175204" y="3729413"/>
                    <a:ext cx="72144" cy="163391"/>
                    <a:chOff x="11175204" y="3729413"/>
                    <a:chExt cx="72144" cy="163391"/>
                  </a:xfrm>
                  <a:solidFill>
                    <a:srgbClr val="02787D"/>
                  </a:solidFill>
                </p:grpSpPr>
                <p:sp>
                  <p:nvSpPr>
                    <p:cNvPr id="391" name="Freihandform: Form 390">
                      <a:extLst>
                        <a:ext uri="{FF2B5EF4-FFF2-40B4-BE49-F238E27FC236}">
                          <a16:creationId xmlns:a16="http://schemas.microsoft.com/office/drawing/2014/main" id="{BE813FF5-AFD8-334E-2F2C-7858B9A3C1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2650" y="3814241"/>
                      <a:ext cx="34698" cy="78564"/>
                    </a:xfrm>
                    <a:custGeom>
                      <a:avLst/>
                      <a:gdLst>
                        <a:gd name="connsiteX0" fmla="*/ 24310 w 34698"/>
                        <a:gd name="connsiteY0" fmla="*/ 78504 h 78564"/>
                        <a:gd name="connsiteX1" fmla="*/ 5015 w 34698"/>
                        <a:gd name="connsiteY1" fmla="*/ 45781 h 78564"/>
                        <a:gd name="connsiteX2" fmla="*/ 7072 w 34698"/>
                        <a:gd name="connsiteY2" fmla="*/ 5982 h 78564"/>
                        <a:gd name="connsiteX3" fmla="*/ 12818 w 34698"/>
                        <a:gd name="connsiteY3" fmla="*/ 175 h 78564"/>
                        <a:gd name="connsiteX4" fmla="*/ 30903 w 34698"/>
                        <a:gd name="connsiteY4" fmla="*/ 43241 h 78564"/>
                        <a:gd name="connsiteX5" fmla="*/ 24310 w 34698"/>
                        <a:gd name="connsiteY5" fmla="*/ 78565 h 78564"/>
                        <a:gd name="connsiteX6" fmla="*/ 24310 w 34698"/>
                        <a:gd name="connsiteY6" fmla="*/ 78565 h 785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4698" h="78564">
                          <a:moveTo>
                            <a:pt x="24310" y="78504"/>
                          </a:moveTo>
                          <a:lnTo>
                            <a:pt x="5015" y="45781"/>
                          </a:lnTo>
                          <a:cubicBezTo>
                            <a:pt x="-2122" y="33261"/>
                            <a:pt x="-1820" y="18502"/>
                            <a:pt x="7072" y="5982"/>
                          </a:cubicBezTo>
                          <a:cubicBezTo>
                            <a:pt x="9915" y="1990"/>
                            <a:pt x="12213" y="-732"/>
                            <a:pt x="12818" y="175"/>
                          </a:cubicBezTo>
                          <a:cubicBezTo>
                            <a:pt x="13967" y="1929"/>
                            <a:pt x="21770" y="20256"/>
                            <a:pt x="30903" y="43241"/>
                          </a:cubicBezTo>
                          <a:cubicBezTo>
                            <a:pt x="36710" y="57758"/>
                            <a:pt x="36831" y="67919"/>
                            <a:pt x="24310" y="78565"/>
                          </a:cubicBezTo>
                          <a:lnTo>
                            <a:pt x="24310" y="78565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92" name="Freihandform: Form 391">
                      <a:extLst>
                        <a:ext uri="{FF2B5EF4-FFF2-40B4-BE49-F238E27FC236}">
                          <a16:creationId xmlns:a16="http://schemas.microsoft.com/office/drawing/2014/main" id="{AD238B6D-DC67-C8DD-ED23-55CA3FC2044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86914" y="3784717"/>
                      <a:ext cx="48550" cy="77543"/>
                    </a:xfrm>
                    <a:custGeom>
                      <a:avLst/>
                      <a:gdLst>
                        <a:gd name="connsiteX0" fmla="*/ 32082 w 48550"/>
                        <a:gd name="connsiteY0" fmla="*/ 77543 h 77543"/>
                        <a:gd name="connsiteX1" fmla="*/ 3169 w 48550"/>
                        <a:gd name="connsiteY1" fmla="*/ 26614 h 77543"/>
                        <a:gd name="connsiteX2" fmla="*/ 24097 w 48550"/>
                        <a:gd name="connsiteY2" fmla="*/ 1573 h 77543"/>
                        <a:gd name="connsiteX3" fmla="*/ 26577 w 48550"/>
                        <a:gd name="connsiteY3" fmla="*/ 0 h 77543"/>
                        <a:gd name="connsiteX4" fmla="*/ 46296 w 48550"/>
                        <a:gd name="connsiteY4" fmla="*/ 44457 h 77543"/>
                        <a:gd name="connsiteX5" fmla="*/ 32928 w 48550"/>
                        <a:gd name="connsiteY5" fmla="*/ 76938 h 77543"/>
                        <a:gd name="connsiteX6" fmla="*/ 32021 w 48550"/>
                        <a:gd name="connsiteY6" fmla="*/ 77543 h 7754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8550" h="77543">
                          <a:moveTo>
                            <a:pt x="32082" y="77543"/>
                          </a:moveTo>
                          <a:lnTo>
                            <a:pt x="3169" y="26614"/>
                          </a:lnTo>
                          <a:cubicBezTo>
                            <a:pt x="-5541" y="11190"/>
                            <a:pt x="4439" y="4476"/>
                            <a:pt x="24097" y="1573"/>
                          </a:cubicBezTo>
                          <a:lnTo>
                            <a:pt x="26577" y="0"/>
                          </a:lnTo>
                          <a:lnTo>
                            <a:pt x="46296" y="44457"/>
                          </a:lnTo>
                          <a:cubicBezTo>
                            <a:pt x="52102" y="58127"/>
                            <a:pt x="46356" y="68107"/>
                            <a:pt x="32928" y="76938"/>
                          </a:cubicBezTo>
                          <a:lnTo>
                            <a:pt x="32021" y="77543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93" name="Freihandform: Form 392">
                      <a:extLst>
                        <a:ext uri="{FF2B5EF4-FFF2-40B4-BE49-F238E27FC236}">
                          <a16:creationId xmlns:a16="http://schemas.microsoft.com/office/drawing/2014/main" id="{A3DAE052-1E03-8EB4-2CC0-E4F22E1C3CD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75204" y="3729413"/>
                      <a:ext cx="39679" cy="76473"/>
                    </a:xfrm>
                    <a:custGeom>
                      <a:avLst/>
                      <a:gdLst>
                        <a:gd name="connsiteX0" fmla="*/ 0 w 39679"/>
                        <a:gd name="connsiteY0" fmla="*/ 10000 h 76473"/>
                        <a:gd name="connsiteX1" fmla="*/ 12642 w 39679"/>
                        <a:gd name="connsiteY1" fmla="*/ 76474 h 76473"/>
                        <a:gd name="connsiteX2" fmla="*/ 39376 w 39679"/>
                        <a:gd name="connsiteY2" fmla="*/ 55908 h 76473"/>
                        <a:gd name="connsiteX3" fmla="*/ 39679 w 39679"/>
                        <a:gd name="connsiteY3" fmla="*/ 7762 h 76473"/>
                        <a:gd name="connsiteX4" fmla="*/ 0 w 39679"/>
                        <a:gd name="connsiteY4" fmla="*/ 9939 h 764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9679" h="76473">
                          <a:moveTo>
                            <a:pt x="0" y="10000"/>
                          </a:moveTo>
                          <a:cubicBezTo>
                            <a:pt x="0" y="11209"/>
                            <a:pt x="12642" y="76474"/>
                            <a:pt x="12642" y="76474"/>
                          </a:cubicBezTo>
                          <a:cubicBezTo>
                            <a:pt x="30848" y="74236"/>
                            <a:pt x="39376" y="72844"/>
                            <a:pt x="39376" y="55908"/>
                          </a:cubicBezTo>
                          <a:lnTo>
                            <a:pt x="39679" y="7762"/>
                          </a:lnTo>
                          <a:cubicBezTo>
                            <a:pt x="33388" y="-3126"/>
                            <a:pt x="4356" y="-2702"/>
                            <a:pt x="0" y="9939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394" name="Grafik 297">
                    <a:extLst>
                      <a:ext uri="{FF2B5EF4-FFF2-40B4-BE49-F238E27FC236}">
                        <a16:creationId xmlns:a16="http://schemas.microsoft.com/office/drawing/2014/main" id="{B189E286-C055-C728-1160-CC2F98FB753E}"/>
                      </a:ext>
                    </a:extLst>
                  </p:cNvPr>
                  <p:cNvGrpSpPr/>
                  <p:nvPr/>
                </p:nvGrpSpPr>
                <p:grpSpPr>
                  <a:xfrm>
                    <a:off x="11188390" y="3736015"/>
                    <a:ext cx="61520" cy="156366"/>
                    <a:chOff x="11188390" y="3736015"/>
                    <a:chExt cx="61520" cy="156366"/>
                  </a:xfrm>
                  <a:solidFill>
                    <a:srgbClr val="02787D"/>
                  </a:solidFill>
                </p:grpSpPr>
                <p:sp>
                  <p:nvSpPr>
                    <p:cNvPr id="395" name="Freihandform: Form 394">
                      <a:extLst>
                        <a:ext uri="{FF2B5EF4-FFF2-40B4-BE49-F238E27FC236}">
                          <a16:creationId xmlns:a16="http://schemas.microsoft.com/office/drawing/2014/main" id="{B886DB75-5241-81E7-82D9-8A7363526A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8103" y="3821286"/>
                      <a:ext cx="31807" cy="71096"/>
                    </a:xfrm>
                    <a:custGeom>
                      <a:avLst/>
                      <a:gdLst>
                        <a:gd name="connsiteX0" fmla="*/ 18917 w 31807"/>
                        <a:gd name="connsiteY0" fmla="*/ 71096 h 71096"/>
                        <a:gd name="connsiteX1" fmla="*/ 3554 w 31807"/>
                        <a:gd name="connsiteY1" fmla="*/ 39462 h 71096"/>
                        <a:gd name="connsiteX2" fmla="*/ 8877 w 31807"/>
                        <a:gd name="connsiteY2" fmla="*/ 4804 h 71096"/>
                        <a:gd name="connsiteX3" fmla="*/ 15288 w 31807"/>
                        <a:gd name="connsiteY3" fmla="*/ 207 h 71096"/>
                        <a:gd name="connsiteX4" fmla="*/ 29744 w 31807"/>
                        <a:gd name="connsiteY4" fmla="*/ 39946 h 71096"/>
                        <a:gd name="connsiteX5" fmla="*/ 18917 w 31807"/>
                        <a:gd name="connsiteY5" fmla="*/ 71096 h 71096"/>
                        <a:gd name="connsiteX6" fmla="*/ 18917 w 31807"/>
                        <a:gd name="connsiteY6" fmla="*/ 71096 h 7109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1807" h="71096">
                          <a:moveTo>
                            <a:pt x="18917" y="71096"/>
                          </a:moveTo>
                          <a:lnTo>
                            <a:pt x="3554" y="39462"/>
                          </a:lnTo>
                          <a:cubicBezTo>
                            <a:pt x="-2072" y="27365"/>
                            <a:pt x="-1527" y="15147"/>
                            <a:pt x="8877" y="4804"/>
                          </a:cubicBezTo>
                          <a:cubicBezTo>
                            <a:pt x="12204" y="1477"/>
                            <a:pt x="14804" y="-701"/>
                            <a:pt x="15288" y="207"/>
                          </a:cubicBezTo>
                          <a:cubicBezTo>
                            <a:pt x="16195" y="1900"/>
                            <a:pt x="23333" y="18232"/>
                            <a:pt x="29744" y="39946"/>
                          </a:cubicBezTo>
                          <a:cubicBezTo>
                            <a:pt x="33797" y="53676"/>
                            <a:pt x="32708" y="62870"/>
                            <a:pt x="18917" y="71096"/>
                          </a:cubicBezTo>
                          <a:lnTo>
                            <a:pt x="18917" y="71096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96" name="Freihandform: Form 395">
                      <a:extLst>
                        <a:ext uri="{FF2B5EF4-FFF2-40B4-BE49-F238E27FC236}">
                          <a16:creationId xmlns:a16="http://schemas.microsoft.com/office/drawing/2014/main" id="{30FB23E6-3402-D93C-AA95-2515CFD9B80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96102" y="3785140"/>
                      <a:ext cx="43119" cy="75607"/>
                    </a:xfrm>
                    <a:custGeom>
                      <a:avLst/>
                      <a:gdLst>
                        <a:gd name="connsiteX0" fmla="*/ 25495 w 43119"/>
                        <a:gd name="connsiteY0" fmla="*/ 75607 h 75607"/>
                        <a:gd name="connsiteX1" fmla="*/ 2389 w 43119"/>
                        <a:gd name="connsiteY1" fmla="*/ 26856 h 75607"/>
                        <a:gd name="connsiteX2" fmla="*/ 21987 w 43119"/>
                        <a:gd name="connsiteY2" fmla="*/ 0 h 75607"/>
                        <a:gd name="connsiteX3" fmla="*/ 26099 w 43119"/>
                        <a:gd name="connsiteY3" fmla="*/ 5444 h 75607"/>
                        <a:gd name="connsiteX4" fmla="*/ 41826 w 43119"/>
                        <a:gd name="connsiteY4" fmla="*/ 48631 h 75607"/>
                        <a:gd name="connsiteX5" fmla="*/ 25495 w 43119"/>
                        <a:gd name="connsiteY5" fmla="*/ 75607 h 75607"/>
                        <a:gd name="connsiteX6" fmla="*/ 25495 w 43119"/>
                        <a:gd name="connsiteY6" fmla="*/ 75607 h 756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3119" h="75607">
                          <a:moveTo>
                            <a:pt x="25495" y="75607"/>
                          </a:moveTo>
                          <a:lnTo>
                            <a:pt x="2389" y="26856"/>
                          </a:lnTo>
                          <a:cubicBezTo>
                            <a:pt x="-4446" y="12037"/>
                            <a:pt x="3780" y="5746"/>
                            <a:pt x="21987" y="0"/>
                          </a:cubicBezTo>
                          <a:lnTo>
                            <a:pt x="26099" y="5444"/>
                          </a:lnTo>
                          <a:lnTo>
                            <a:pt x="41826" y="48631"/>
                          </a:lnTo>
                          <a:cubicBezTo>
                            <a:pt x="46000" y="61575"/>
                            <a:pt x="39951" y="69075"/>
                            <a:pt x="25495" y="75607"/>
                          </a:cubicBezTo>
                          <a:lnTo>
                            <a:pt x="25495" y="75607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97" name="Freihandform: Form 396">
                      <a:extLst>
                        <a:ext uri="{FF2B5EF4-FFF2-40B4-BE49-F238E27FC236}">
                          <a16:creationId xmlns:a16="http://schemas.microsoft.com/office/drawing/2014/main" id="{BC7402CD-75C1-0E35-DD64-2E1F953D6CD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88390" y="3736015"/>
                      <a:ext cx="34476" cy="69266"/>
                    </a:xfrm>
                    <a:custGeom>
                      <a:avLst/>
                      <a:gdLst>
                        <a:gd name="connsiteX0" fmla="*/ 0 w 34476"/>
                        <a:gd name="connsiteY0" fmla="*/ 5575 h 69266"/>
                        <a:gd name="connsiteX1" fmla="*/ 7924 w 34476"/>
                        <a:gd name="connsiteY1" fmla="*/ 69267 h 69266"/>
                        <a:gd name="connsiteX2" fmla="*/ 33872 w 34476"/>
                        <a:gd name="connsiteY2" fmla="*/ 56867 h 69266"/>
                        <a:gd name="connsiteX3" fmla="*/ 34477 w 34476"/>
                        <a:gd name="connsiteY3" fmla="*/ 12168 h 69266"/>
                        <a:gd name="connsiteX4" fmla="*/ 0 w 34476"/>
                        <a:gd name="connsiteY4" fmla="*/ 5575 h 6926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4476" h="69266">
                          <a:moveTo>
                            <a:pt x="0" y="5575"/>
                          </a:moveTo>
                          <a:cubicBezTo>
                            <a:pt x="0" y="6724"/>
                            <a:pt x="7924" y="69267"/>
                            <a:pt x="7924" y="69267"/>
                          </a:cubicBezTo>
                          <a:cubicBezTo>
                            <a:pt x="26311" y="68420"/>
                            <a:pt x="32723" y="72170"/>
                            <a:pt x="33872" y="56867"/>
                          </a:cubicBezTo>
                          <a:lnTo>
                            <a:pt x="34477" y="12168"/>
                          </a:lnTo>
                          <a:cubicBezTo>
                            <a:pt x="28912" y="1946"/>
                            <a:pt x="5262" y="-5675"/>
                            <a:pt x="0" y="557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398" name="Grafik 297">
                    <a:extLst>
                      <a:ext uri="{FF2B5EF4-FFF2-40B4-BE49-F238E27FC236}">
                        <a16:creationId xmlns:a16="http://schemas.microsoft.com/office/drawing/2014/main" id="{1AED2AE7-A47A-6F19-9EB3-9B47070AC0BF}"/>
                      </a:ext>
                    </a:extLst>
                  </p:cNvPr>
                  <p:cNvGrpSpPr/>
                  <p:nvPr/>
                </p:nvGrpSpPr>
                <p:grpSpPr>
                  <a:xfrm>
                    <a:off x="11208616" y="3610134"/>
                    <a:ext cx="98810" cy="216076"/>
                    <a:chOff x="11208616" y="3610134"/>
                    <a:chExt cx="98810" cy="216076"/>
                  </a:xfrm>
                  <a:solidFill>
                    <a:srgbClr val="02787D"/>
                  </a:solidFill>
                </p:grpSpPr>
                <p:sp>
                  <p:nvSpPr>
                    <p:cNvPr id="399" name="Freihandform: Form 398">
                      <a:extLst>
                        <a:ext uri="{FF2B5EF4-FFF2-40B4-BE49-F238E27FC236}">
                          <a16:creationId xmlns:a16="http://schemas.microsoft.com/office/drawing/2014/main" id="{73A4382B-4FD3-0421-0BA4-553E147B324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53713" y="3739314"/>
                      <a:ext cx="34296" cy="86896"/>
                    </a:xfrm>
                    <a:custGeom>
                      <a:avLst/>
                      <a:gdLst>
                        <a:gd name="connsiteX0" fmla="*/ 17724 w 34296"/>
                        <a:gd name="connsiteY0" fmla="*/ 86896 h 86896"/>
                        <a:gd name="connsiteX1" fmla="*/ 34297 w 34296"/>
                        <a:gd name="connsiteY1" fmla="*/ 45766 h 86896"/>
                        <a:gd name="connsiteX2" fmla="*/ 26918 w 34296"/>
                        <a:gd name="connsiteY2" fmla="*/ 2942 h 86896"/>
                        <a:gd name="connsiteX3" fmla="*/ 18571 w 34296"/>
                        <a:gd name="connsiteY3" fmla="*/ 825 h 86896"/>
                        <a:gd name="connsiteX4" fmla="*/ 1634 w 34296"/>
                        <a:gd name="connsiteY4" fmla="*/ 50968 h 86896"/>
                        <a:gd name="connsiteX5" fmla="*/ 17724 w 34296"/>
                        <a:gd name="connsiteY5" fmla="*/ 86896 h 86896"/>
                        <a:gd name="connsiteX6" fmla="*/ 17724 w 34296"/>
                        <a:gd name="connsiteY6" fmla="*/ 86896 h 8689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4296" h="86896">
                          <a:moveTo>
                            <a:pt x="17724" y="86896"/>
                          </a:moveTo>
                          <a:lnTo>
                            <a:pt x="34297" y="45766"/>
                          </a:lnTo>
                          <a:cubicBezTo>
                            <a:pt x="34176" y="31794"/>
                            <a:pt x="34660" y="10140"/>
                            <a:pt x="26918" y="2942"/>
                          </a:cubicBezTo>
                          <a:cubicBezTo>
                            <a:pt x="22503" y="-1111"/>
                            <a:pt x="19115" y="-82"/>
                            <a:pt x="18571" y="825"/>
                          </a:cubicBezTo>
                          <a:cubicBezTo>
                            <a:pt x="14760" y="7599"/>
                            <a:pt x="7199" y="29616"/>
                            <a:pt x="1634" y="50968"/>
                          </a:cubicBezTo>
                          <a:cubicBezTo>
                            <a:pt x="-2236" y="65787"/>
                            <a:pt x="-119" y="76190"/>
                            <a:pt x="17724" y="86896"/>
                          </a:cubicBezTo>
                          <a:lnTo>
                            <a:pt x="17724" y="86896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00" name="Freihandform: Form 399">
                      <a:extLst>
                        <a:ext uri="{FF2B5EF4-FFF2-40B4-BE49-F238E27FC236}">
                          <a16:creationId xmlns:a16="http://schemas.microsoft.com/office/drawing/2014/main" id="{FCD495F1-C29F-6677-618D-EFC4DE1A9E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57041" y="3712410"/>
                      <a:ext cx="50385" cy="74325"/>
                    </a:xfrm>
                    <a:custGeom>
                      <a:avLst/>
                      <a:gdLst>
                        <a:gd name="connsiteX0" fmla="*/ 50385 w 50385"/>
                        <a:gd name="connsiteY0" fmla="*/ 8615 h 74325"/>
                        <a:gd name="connsiteX1" fmla="*/ 0 w 50385"/>
                        <a:gd name="connsiteY1" fmla="*/ 10188 h 74325"/>
                        <a:gd name="connsiteX2" fmla="*/ 7682 w 50385"/>
                        <a:gd name="connsiteY2" fmla="*/ 46782 h 74325"/>
                        <a:gd name="connsiteX3" fmla="*/ 31029 w 50385"/>
                        <a:gd name="connsiteY3" fmla="*/ 72670 h 74325"/>
                        <a:gd name="connsiteX4" fmla="*/ 50385 w 50385"/>
                        <a:gd name="connsiteY4" fmla="*/ 8615 h 743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0385" h="74325">
                          <a:moveTo>
                            <a:pt x="50385" y="8615"/>
                          </a:moveTo>
                          <a:cubicBezTo>
                            <a:pt x="36352" y="-11648"/>
                            <a:pt x="0" y="10188"/>
                            <a:pt x="0" y="10188"/>
                          </a:cubicBezTo>
                          <a:lnTo>
                            <a:pt x="7682" y="46782"/>
                          </a:lnTo>
                          <a:cubicBezTo>
                            <a:pt x="7924" y="62508"/>
                            <a:pt x="17602" y="79807"/>
                            <a:pt x="31029" y="72670"/>
                          </a:cubicBezTo>
                          <a:cubicBezTo>
                            <a:pt x="31029" y="72670"/>
                            <a:pt x="50385" y="7890"/>
                            <a:pt x="50385" y="861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01" name="Freihandform: Form 400">
                      <a:extLst>
                        <a:ext uri="{FF2B5EF4-FFF2-40B4-BE49-F238E27FC236}">
                          <a16:creationId xmlns:a16="http://schemas.microsoft.com/office/drawing/2014/main" id="{EC7F333F-AC27-C194-ECB6-1699EB6812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08616" y="3610134"/>
                      <a:ext cx="98810" cy="121421"/>
                    </a:xfrm>
                    <a:custGeom>
                      <a:avLst/>
                      <a:gdLst>
                        <a:gd name="connsiteX0" fmla="*/ 91190 w 98810"/>
                        <a:gd name="connsiteY0" fmla="*/ 57180 h 121421"/>
                        <a:gd name="connsiteX1" fmla="*/ 98811 w 98810"/>
                        <a:gd name="connsiteY1" fmla="*/ 110831 h 121421"/>
                        <a:gd name="connsiteX2" fmla="*/ 98811 w 98810"/>
                        <a:gd name="connsiteY2" fmla="*/ 110831 h 121421"/>
                        <a:gd name="connsiteX3" fmla="*/ 48728 w 98810"/>
                        <a:gd name="connsiteY3" fmla="*/ 113311 h 121421"/>
                        <a:gd name="connsiteX4" fmla="*/ 7719 w 98810"/>
                        <a:gd name="connsiteY4" fmla="*/ 53006 h 121421"/>
                        <a:gd name="connsiteX5" fmla="*/ 62035 w 98810"/>
                        <a:gd name="connsiteY5" fmla="*/ 4920 h 121421"/>
                        <a:gd name="connsiteX6" fmla="*/ 91250 w 98810"/>
                        <a:gd name="connsiteY6" fmla="*/ 57119 h 1214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98810" h="121421">
                          <a:moveTo>
                            <a:pt x="91190" y="57180"/>
                          </a:moveTo>
                          <a:cubicBezTo>
                            <a:pt x="95121" y="72241"/>
                            <a:pt x="98811" y="110831"/>
                            <a:pt x="98811" y="110831"/>
                          </a:cubicBezTo>
                          <a:lnTo>
                            <a:pt x="98811" y="110831"/>
                          </a:lnTo>
                          <a:cubicBezTo>
                            <a:pt x="75463" y="113311"/>
                            <a:pt x="78427" y="131759"/>
                            <a:pt x="48728" y="113311"/>
                          </a:cubicBezTo>
                          <a:cubicBezTo>
                            <a:pt x="48728" y="113311"/>
                            <a:pt x="37296" y="72906"/>
                            <a:pt x="7719" y="53006"/>
                          </a:cubicBezTo>
                          <a:cubicBezTo>
                            <a:pt x="-17806" y="35828"/>
                            <a:pt x="25078" y="-16069"/>
                            <a:pt x="62035" y="4920"/>
                          </a:cubicBezTo>
                          <a:cubicBezTo>
                            <a:pt x="79576" y="26755"/>
                            <a:pt x="91250" y="57119"/>
                            <a:pt x="91250" y="57119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402" name="Freihandform: Form 401">
                    <a:extLst>
                      <a:ext uri="{FF2B5EF4-FFF2-40B4-BE49-F238E27FC236}">
                        <a16:creationId xmlns:a16="http://schemas.microsoft.com/office/drawing/2014/main" id="{09DA4B66-DB8A-4D6F-7A71-6C442002533F}"/>
                      </a:ext>
                    </a:extLst>
                  </p:cNvPr>
                  <p:cNvSpPr/>
                  <p:nvPr/>
                </p:nvSpPr>
                <p:spPr>
                  <a:xfrm>
                    <a:off x="11163281" y="3594186"/>
                    <a:ext cx="140662" cy="175772"/>
                  </a:xfrm>
                  <a:custGeom>
                    <a:avLst/>
                    <a:gdLst>
                      <a:gd name="connsiteX0" fmla="*/ 128 w 140662"/>
                      <a:gd name="connsiteY0" fmla="*/ 127202 h 175772"/>
                      <a:gd name="connsiteX1" fmla="*/ 20995 w 140662"/>
                      <a:gd name="connsiteY1" fmla="*/ 2057 h 175772"/>
                      <a:gd name="connsiteX2" fmla="*/ 105978 w 140662"/>
                      <a:gd name="connsiteY2" fmla="*/ 0 h 175772"/>
                      <a:gd name="connsiteX3" fmla="*/ 112027 w 140662"/>
                      <a:gd name="connsiteY3" fmla="*/ 22077 h 175772"/>
                      <a:gd name="connsiteX4" fmla="*/ 140576 w 140662"/>
                      <a:gd name="connsiteY4" fmla="*/ 100770 h 175772"/>
                      <a:gd name="connsiteX5" fmla="*/ 92913 w 140662"/>
                      <a:gd name="connsiteY5" fmla="*/ 122968 h 175772"/>
                      <a:gd name="connsiteX6" fmla="*/ 58376 w 140662"/>
                      <a:gd name="connsiteY6" fmla="*/ 175772 h 175772"/>
                      <a:gd name="connsiteX7" fmla="*/ 67 w 140662"/>
                      <a:gd name="connsiteY7" fmla="*/ 152001 h 175772"/>
                      <a:gd name="connsiteX8" fmla="*/ 67 w 140662"/>
                      <a:gd name="connsiteY8" fmla="*/ 127263 h 1757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40662" h="175772">
                        <a:moveTo>
                          <a:pt x="128" y="127202"/>
                        </a:moveTo>
                        <a:cubicBezTo>
                          <a:pt x="7326" y="95144"/>
                          <a:pt x="15491" y="57341"/>
                          <a:pt x="20995" y="2057"/>
                        </a:cubicBezTo>
                        <a:lnTo>
                          <a:pt x="105978" y="0"/>
                        </a:lnTo>
                        <a:cubicBezTo>
                          <a:pt x="106160" y="16089"/>
                          <a:pt x="109910" y="20021"/>
                          <a:pt x="112027" y="22077"/>
                        </a:cubicBezTo>
                        <a:cubicBezTo>
                          <a:pt x="143721" y="52562"/>
                          <a:pt x="140576" y="100770"/>
                          <a:pt x="140576" y="100770"/>
                        </a:cubicBezTo>
                        <a:cubicBezTo>
                          <a:pt x="140032" y="105306"/>
                          <a:pt x="109366" y="98411"/>
                          <a:pt x="92913" y="122968"/>
                        </a:cubicBezTo>
                        <a:cubicBezTo>
                          <a:pt x="88255" y="129863"/>
                          <a:pt x="62791" y="137545"/>
                          <a:pt x="58376" y="175772"/>
                        </a:cubicBezTo>
                        <a:cubicBezTo>
                          <a:pt x="19786" y="137848"/>
                          <a:pt x="1943" y="151215"/>
                          <a:pt x="67" y="152001"/>
                        </a:cubicBezTo>
                        <a:cubicBezTo>
                          <a:pt x="611" y="142263"/>
                          <a:pt x="-235" y="133855"/>
                          <a:pt x="67" y="127263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03" name="Freihandform: Form 402">
                    <a:extLst>
                      <a:ext uri="{FF2B5EF4-FFF2-40B4-BE49-F238E27FC236}">
                        <a16:creationId xmlns:a16="http://schemas.microsoft.com/office/drawing/2014/main" id="{641B8E1F-29F0-3DE6-320E-43D40E965D7A}"/>
                      </a:ext>
                    </a:extLst>
                  </p:cNvPr>
                  <p:cNvSpPr/>
                  <p:nvPr/>
                </p:nvSpPr>
                <p:spPr>
                  <a:xfrm>
                    <a:off x="11184216" y="3555052"/>
                    <a:ext cx="85164" cy="85164"/>
                  </a:xfrm>
                  <a:custGeom>
                    <a:avLst/>
                    <a:gdLst>
                      <a:gd name="connsiteX0" fmla="*/ 85164 w 85164"/>
                      <a:gd name="connsiteY0" fmla="*/ 42582 h 85164"/>
                      <a:gd name="connsiteX1" fmla="*/ 42582 w 85164"/>
                      <a:gd name="connsiteY1" fmla="*/ 85164 h 85164"/>
                      <a:gd name="connsiteX2" fmla="*/ 0 w 85164"/>
                      <a:gd name="connsiteY2" fmla="*/ 42582 h 85164"/>
                      <a:gd name="connsiteX3" fmla="*/ 42582 w 85164"/>
                      <a:gd name="connsiteY3" fmla="*/ 0 h 85164"/>
                      <a:gd name="connsiteX4" fmla="*/ 85164 w 85164"/>
                      <a:gd name="connsiteY4" fmla="*/ 42582 h 85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5164" h="85164">
                        <a:moveTo>
                          <a:pt x="85164" y="42582"/>
                        </a:moveTo>
                        <a:cubicBezTo>
                          <a:pt x="85164" y="66100"/>
                          <a:pt x="66100" y="85164"/>
                          <a:pt x="42582" y="85164"/>
                        </a:cubicBezTo>
                        <a:cubicBezTo>
                          <a:pt x="19065" y="85164"/>
                          <a:pt x="0" y="66100"/>
                          <a:pt x="0" y="42582"/>
                        </a:cubicBezTo>
                        <a:cubicBezTo>
                          <a:pt x="0" y="19065"/>
                          <a:pt x="19064" y="0"/>
                          <a:pt x="42582" y="0"/>
                        </a:cubicBezTo>
                        <a:cubicBezTo>
                          <a:pt x="66099" y="0"/>
                          <a:pt x="85164" y="19065"/>
                          <a:pt x="85164" y="42582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404" name="Freihandform: Form 403">
                  <a:extLst>
                    <a:ext uri="{FF2B5EF4-FFF2-40B4-BE49-F238E27FC236}">
                      <a16:creationId xmlns:a16="http://schemas.microsoft.com/office/drawing/2014/main" id="{0F017A4C-E966-4F4D-247B-87D042F362C9}"/>
                    </a:ext>
                  </a:extLst>
                </p:cNvPr>
                <p:cNvSpPr/>
                <p:nvPr/>
              </p:nvSpPr>
              <p:spPr>
                <a:xfrm>
                  <a:off x="11554269" y="2207424"/>
                  <a:ext cx="268013" cy="182791"/>
                </a:xfrm>
                <a:custGeom>
                  <a:avLst/>
                  <a:gdLst>
                    <a:gd name="connsiteX0" fmla="*/ 0 w 268013"/>
                    <a:gd name="connsiteY0" fmla="*/ 0 h 182791"/>
                    <a:gd name="connsiteX1" fmla="*/ 9133 w 268013"/>
                    <a:gd name="connsiteY1" fmla="*/ 120125 h 182791"/>
                    <a:gd name="connsiteX2" fmla="*/ 135186 w 268013"/>
                    <a:gd name="connsiteY2" fmla="*/ 182789 h 182791"/>
                    <a:gd name="connsiteX3" fmla="*/ 259606 w 268013"/>
                    <a:gd name="connsiteY3" fmla="*/ 101374 h 182791"/>
                    <a:gd name="connsiteX4" fmla="*/ 268014 w 268013"/>
                    <a:gd name="connsiteY4" fmla="*/ 7440 h 182791"/>
                    <a:gd name="connsiteX5" fmla="*/ 0 w 268013"/>
                    <a:gd name="connsiteY5" fmla="*/ 121 h 182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68013" h="182791">
                      <a:moveTo>
                        <a:pt x="0" y="0"/>
                      </a:moveTo>
                      <a:cubicBezTo>
                        <a:pt x="1694" y="2903"/>
                        <a:pt x="9133" y="120125"/>
                        <a:pt x="9133" y="120125"/>
                      </a:cubicBezTo>
                      <a:cubicBezTo>
                        <a:pt x="9133" y="120125"/>
                        <a:pt x="13670" y="182244"/>
                        <a:pt x="135186" y="182789"/>
                      </a:cubicBezTo>
                      <a:cubicBezTo>
                        <a:pt x="268014" y="183333"/>
                        <a:pt x="259606" y="101374"/>
                        <a:pt x="259606" y="101374"/>
                      </a:cubicBezTo>
                      <a:lnTo>
                        <a:pt x="268014" y="7440"/>
                      </a:lnTo>
                      <a:cubicBezTo>
                        <a:pt x="182547" y="25646"/>
                        <a:pt x="96838" y="27219"/>
                        <a:pt x="0" y="121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05" name="Grafik 297">
                <a:extLst>
                  <a:ext uri="{FF2B5EF4-FFF2-40B4-BE49-F238E27FC236}">
                    <a16:creationId xmlns:a16="http://schemas.microsoft.com/office/drawing/2014/main" id="{8D8C3F3B-6853-BAB3-0E8A-81B39A0FF7EC}"/>
                  </a:ext>
                </a:extLst>
              </p:cNvPr>
              <p:cNvGrpSpPr/>
              <p:nvPr/>
            </p:nvGrpSpPr>
            <p:grpSpPr>
              <a:xfrm>
                <a:off x="9590362" y="1659724"/>
                <a:ext cx="1540851" cy="3537443"/>
                <a:chOff x="48" y="1659724"/>
                <a:chExt cx="1540851" cy="3537443"/>
              </a:xfrm>
            </p:grpSpPr>
            <p:grpSp>
              <p:nvGrpSpPr>
                <p:cNvPr id="406" name="Grafik 297">
                  <a:extLst>
                    <a:ext uri="{FF2B5EF4-FFF2-40B4-BE49-F238E27FC236}">
                      <a16:creationId xmlns:a16="http://schemas.microsoft.com/office/drawing/2014/main" id="{9267AD3B-3978-93CF-2F04-0391F2212197}"/>
                    </a:ext>
                  </a:extLst>
                </p:cNvPr>
                <p:cNvGrpSpPr/>
                <p:nvPr/>
              </p:nvGrpSpPr>
              <p:grpSpPr>
                <a:xfrm>
                  <a:off x="134278" y="3425249"/>
                  <a:ext cx="206694" cy="389892"/>
                  <a:chOff x="134278" y="3425249"/>
                  <a:chExt cx="206694" cy="389892"/>
                </a:xfrm>
                <a:solidFill>
                  <a:srgbClr val="02787D"/>
                </a:solidFill>
              </p:grpSpPr>
              <p:sp>
                <p:nvSpPr>
                  <p:cNvPr id="407" name="Freihandform: Form 406">
                    <a:extLst>
                      <a:ext uri="{FF2B5EF4-FFF2-40B4-BE49-F238E27FC236}">
                        <a16:creationId xmlns:a16="http://schemas.microsoft.com/office/drawing/2014/main" id="{F1EFB7FA-9645-1CCA-D76A-2B04286F0456}"/>
                      </a:ext>
                    </a:extLst>
                  </p:cNvPr>
                  <p:cNvSpPr/>
                  <p:nvPr/>
                </p:nvSpPr>
                <p:spPr>
                  <a:xfrm>
                    <a:off x="194341" y="3425249"/>
                    <a:ext cx="116254" cy="116254"/>
                  </a:xfrm>
                  <a:custGeom>
                    <a:avLst/>
                    <a:gdLst>
                      <a:gd name="connsiteX0" fmla="*/ 116254 w 116254"/>
                      <a:gd name="connsiteY0" fmla="*/ 58127 h 116254"/>
                      <a:gd name="connsiteX1" fmla="*/ 58127 w 116254"/>
                      <a:gd name="connsiteY1" fmla="*/ 116254 h 116254"/>
                      <a:gd name="connsiteX2" fmla="*/ 0 w 116254"/>
                      <a:gd name="connsiteY2" fmla="*/ 58127 h 116254"/>
                      <a:gd name="connsiteX3" fmla="*/ 58127 w 116254"/>
                      <a:gd name="connsiteY3" fmla="*/ 0 h 116254"/>
                      <a:gd name="connsiteX4" fmla="*/ 116254 w 116254"/>
                      <a:gd name="connsiteY4" fmla="*/ 58127 h 1162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6254" h="116254">
                        <a:moveTo>
                          <a:pt x="116254" y="58127"/>
                        </a:moveTo>
                        <a:cubicBezTo>
                          <a:pt x="116254" y="90230"/>
                          <a:pt x="90230" y="116254"/>
                          <a:pt x="58127" y="116254"/>
                        </a:cubicBezTo>
                        <a:cubicBezTo>
                          <a:pt x="26024" y="116254"/>
                          <a:pt x="0" y="90229"/>
                          <a:pt x="0" y="58127"/>
                        </a:cubicBezTo>
                        <a:cubicBezTo>
                          <a:pt x="0" y="26024"/>
                          <a:pt x="26024" y="0"/>
                          <a:pt x="58127" y="0"/>
                        </a:cubicBezTo>
                        <a:cubicBezTo>
                          <a:pt x="90230" y="0"/>
                          <a:pt x="116254" y="26024"/>
                          <a:pt x="116254" y="58127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408" name="Grafik 297">
                    <a:extLst>
                      <a:ext uri="{FF2B5EF4-FFF2-40B4-BE49-F238E27FC236}">
                        <a16:creationId xmlns:a16="http://schemas.microsoft.com/office/drawing/2014/main" id="{96E041D4-6E70-C70C-392E-C213804505E7}"/>
                      </a:ext>
                    </a:extLst>
                  </p:cNvPr>
                  <p:cNvGrpSpPr/>
                  <p:nvPr/>
                </p:nvGrpSpPr>
                <p:grpSpPr>
                  <a:xfrm>
                    <a:off x="134278" y="3462369"/>
                    <a:ext cx="206694" cy="352772"/>
                    <a:chOff x="134278" y="3462369"/>
                    <a:chExt cx="206694" cy="352772"/>
                  </a:xfrm>
                  <a:solidFill>
                    <a:srgbClr val="02787D"/>
                  </a:solidFill>
                </p:grpSpPr>
                <p:grpSp>
                  <p:nvGrpSpPr>
                    <p:cNvPr id="409" name="Grafik 297">
                      <a:extLst>
                        <a:ext uri="{FF2B5EF4-FFF2-40B4-BE49-F238E27FC236}">
                          <a16:creationId xmlns:a16="http://schemas.microsoft.com/office/drawing/2014/main" id="{BEF07FCA-6CC6-0364-5F87-3FC7BBF9F58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17870" y="3649645"/>
                      <a:ext cx="45684" cy="153097"/>
                      <a:chOff x="217870" y="3649645"/>
                      <a:chExt cx="45684" cy="153097"/>
                    </a:xfrm>
                    <a:solidFill>
                      <a:srgbClr val="02787D"/>
                    </a:solidFill>
                  </p:grpSpPr>
                  <p:sp>
                    <p:nvSpPr>
                      <p:cNvPr id="410" name="Freihandform: Form 409">
                        <a:extLst>
                          <a:ext uri="{FF2B5EF4-FFF2-40B4-BE49-F238E27FC236}">
                            <a16:creationId xmlns:a16="http://schemas.microsoft.com/office/drawing/2014/main" id="{106B5EC0-B51C-26F2-FCAF-3488F8B337C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17870" y="3649645"/>
                        <a:ext cx="45684" cy="70664"/>
                      </a:xfrm>
                      <a:custGeom>
                        <a:avLst/>
                        <a:gdLst>
                          <a:gd name="connsiteX0" fmla="*/ 0 w 45684"/>
                          <a:gd name="connsiteY0" fmla="*/ 57227 h 70664"/>
                          <a:gd name="connsiteX1" fmla="*/ 18388 w 45684"/>
                          <a:gd name="connsiteY1" fmla="*/ 70655 h 70664"/>
                          <a:gd name="connsiteX2" fmla="*/ 36050 w 45684"/>
                          <a:gd name="connsiteY2" fmla="*/ 55594 h 70664"/>
                          <a:gd name="connsiteX3" fmla="*/ 45485 w 45684"/>
                          <a:gd name="connsiteY3" fmla="*/ 18818 h 70664"/>
                          <a:gd name="connsiteX4" fmla="*/ 32300 w 45684"/>
                          <a:gd name="connsiteY4" fmla="*/ 914 h 70664"/>
                          <a:gd name="connsiteX5" fmla="*/ 9073 w 45684"/>
                          <a:gd name="connsiteY5" fmla="*/ 13435 h 70664"/>
                          <a:gd name="connsiteX6" fmla="*/ 0 w 45684"/>
                          <a:gd name="connsiteY6" fmla="*/ 57227 h 706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5684" h="70664">
                            <a:moveTo>
                              <a:pt x="0" y="57227"/>
                            </a:moveTo>
                            <a:cubicBezTo>
                              <a:pt x="0" y="57227"/>
                              <a:pt x="5262" y="71078"/>
                              <a:pt x="18388" y="70655"/>
                            </a:cubicBezTo>
                            <a:cubicBezTo>
                              <a:pt x="32179" y="70231"/>
                              <a:pt x="36050" y="55594"/>
                              <a:pt x="36050" y="55594"/>
                            </a:cubicBezTo>
                            <a:lnTo>
                              <a:pt x="45485" y="18818"/>
                            </a:lnTo>
                            <a:cubicBezTo>
                              <a:pt x="46816" y="7568"/>
                              <a:pt x="41372" y="2971"/>
                              <a:pt x="32300" y="914"/>
                            </a:cubicBezTo>
                            <a:cubicBezTo>
                              <a:pt x="23287" y="-1566"/>
                              <a:pt x="12339" y="491"/>
                              <a:pt x="9073" y="13435"/>
                            </a:cubicBezTo>
                            <a:lnTo>
                              <a:pt x="0" y="5722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11" name="Freihandform: Form 410">
                        <a:extLst>
                          <a:ext uri="{FF2B5EF4-FFF2-40B4-BE49-F238E27FC236}">
                            <a16:creationId xmlns:a16="http://schemas.microsoft.com/office/drawing/2014/main" id="{0DD2EC8F-8D60-3009-5B1B-9F669EAB25A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17870" y="3693202"/>
                        <a:ext cx="36856" cy="56556"/>
                      </a:xfrm>
                      <a:custGeom>
                        <a:avLst/>
                        <a:gdLst>
                          <a:gd name="connsiteX0" fmla="*/ 7016 w 36856"/>
                          <a:gd name="connsiteY0" fmla="*/ 49175 h 56556"/>
                          <a:gd name="connsiteX1" fmla="*/ 22985 w 36856"/>
                          <a:gd name="connsiteY1" fmla="*/ 56554 h 56556"/>
                          <a:gd name="connsiteX2" fmla="*/ 36775 w 36856"/>
                          <a:gd name="connsiteY2" fmla="*/ 43187 h 56556"/>
                          <a:gd name="connsiteX3" fmla="*/ 36110 w 36856"/>
                          <a:gd name="connsiteY3" fmla="*/ 12037 h 56556"/>
                          <a:gd name="connsiteX4" fmla="*/ 19356 w 36856"/>
                          <a:gd name="connsiteY4" fmla="*/ 0 h 56556"/>
                          <a:gd name="connsiteX5" fmla="*/ 0 w 36856"/>
                          <a:gd name="connsiteY5" fmla="*/ 13670 h 56556"/>
                          <a:gd name="connsiteX6" fmla="*/ 6956 w 36856"/>
                          <a:gd name="connsiteY6" fmla="*/ 49175 h 5655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6856" h="56556">
                            <a:moveTo>
                              <a:pt x="7016" y="49175"/>
                            </a:moveTo>
                            <a:cubicBezTo>
                              <a:pt x="7016" y="49175"/>
                              <a:pt x="7198" y="56192"/>
                              <a:pt x="22985" y="56554"/>
                            </a:cubicBezTo>
                            <a:cubicBezTo>
                              <a:pt x="38772" y="56736"/>
                              <a:pt x="36775" y="43187"/>
                              <a:pt x="36775" y="43187"/>
                            </a:cubicBezTo>
                            <a:lnTo>
                              <a:pt x="36110" y="12037"/>
                            </a:lnTo>
                            <a:cubicBezTo>
                              <a:pt x="32179" y="4899"/>
                              <a:pt x="31392" y="0"/>
                              <a:pt x="19356" y="0"/>
                            </a:cubicBezTo>
                            <a:cubicBezTo>
                              <a:pt x="8649" y="665"/>
                              <a:pt x="4234" y="6653"/>
                              <a:pt x="0" y="13670"/>
                            </a:cubicBezTo>
                            <a:lnTo>
                              <a:pt x="6956" y="4917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12" name="Freihandform: Form 411">
                        <a:extLst>
                          <a:ext uri="{FF2B5EF4-FFF2-40B4-BE49-F238E27FC236}">
                            <a16:creationId xmlns:a16="http://schemas.microsoft.com/office/drawing/2014/main" id="{A214FEDE-85F4-3140-8438-9F452A726FF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24826" y="3726462"/>
                        <a:ext cx="35970" cy="76279"/>
                      </a:xfrm>
                      <a:custGeom>
                        <a:avLst/>
                        <a:gdLst>
                          <a:gd name="connsiteX0" fmla="*/ 10404 w 35970"/>
                          <a:gd name="connsiteY0" fmla="*/ 52086 h 76279"/>
                          <a:gd name="connsiteX1" fmla="*/ 18146 w 35970"/>
                          <a:gd name="connsiteY1" fmla="*/ 76280 h 76279"/>
                          <a:gd name="connsiteX2" fmla="*/ 35747 w 35970"/>
                          <a:gd name="connsiteY2" fmla="*/ 41319 h 76279"/>
                          <a:gd name="connsiteX3" fmla="*/ 30062 w 35970"/>
                          <a:gd name="connsiteY3" fmla="*/ 10713 h 76279"/>
                          <a:gd name="connsiteX4" fmla="*/ 11795 w 35970"/>
                          <a:gd name="connsiteY4" fmla="*/ 854 h 76279"/>
                          <a:gd name="connsiteX5" fmla="*/ 0 w 35970"/>
                          <a:gd name="connsiteY5" fmla="*/ 15915 h 76279"/>
                          <a:gd name="connsiteX6" fmla="*/ 10343 w 35970"/>
                          <a:gd name="connsiteY6" fmla="*/ 52146 h 7627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5970" h="76279">
                            <a:moveTo>
                              <a:pt x="10404" y="52086"/>
                            </a:moveTo>
                            <a:lnTo>
                              <a:pt x="18146" y="76280"/>
                            </a:lnTo>
                            <a:cubicBezTo>
                              <a:pt x="33993" y="72106"/>
                              <a:pt x="36896" y="53779"/>
                              <a:pt x="35747" y="41319"/>
                            </a:cubicBezTo>
                            <a:cubicBezTo>
                              <a:pt x="34598" y="28859"/>
                              <a:pt x="30062" y="10713"/>
                              <a:pt x="30062" y="10713"/>
                            </a:cubicBezTo>
                            <a:cubicBezTo>
                              <a:pt x="26372" y="-477"/>
                              <a:pt x="17420" y="-1082"/>
                              <a:pt x="11795" y="854"/>
                            </a:cubicBezTo>
                            <a:cubicBezTo>
                              <a:pt x="5625" y="2971"/>
                              <a:pt x="0" y="6963"/>
                              <a:pt x="0" y="15915"/>
                            </a:cubicBezTo>
                            <a:lnTo>
                              <a:pt x="10343" y="52146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13" name="Grafik 297">
                      <a:extLst>
                        <a:ext uri="{FF2B5EF4-FFF2-40B4-BE49-F238E27FC236}">
                          <a16:creationId xmlns:a16="http://schemas.microsoft.com/office/drawing/2014/main" id="{CFFBB6AC-1003-FEFA-D1D7-A44023C75CE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85994" y="3644681"/>
                      <a:ext cx="53203" cy="170460"/>
                      <a:chOff x="185994" y="3644681"/>
                      <a:chExt cx="53203" cy="170460"/>
                    </a:xfrm>
                    <a:solidFill>
                      <a:srgbClr val="02787D"/>
                    </a:solidFill>
                  </p:grpSpPr>
                  <p:sp>
                    <p:nvSpPr>
                      <p:cNvPr id="414" name="Freihandform: Form 413">
                        <a:extLst>
                          <a:ext uri="{FF2B5EF4-FFF2-40B4-BE49-F238E27FC236}">
                            <a16:creationId xmlns:a16="http://schemas.microsoft.com/office/drawing/2014/main" id="{FD2882AD-6F0E-E7D8-3D73-B00A51C07F1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85994" y="3644681"/>
                        <a:ext cx="50168" cy="77084"/>
                      </a:xfrm>
                      <a:custGeom>
                        <a:avLst/>
                        <a:gdLst>
                          <a:gd name="connsiteX0" fmla="*/ 0 w 50168"/>
                          <a:gd name="connsiteY0" fmla="*/ 63098 h 77084"/>
                          <a:gd name="connsiteX1" fmla="*/ 18932 w 50168"/>
                          <a:gd name="connsiteY1" fmla="*/ 77070 h 77084"/>
                          <a:gd name="connsiteX2" fmla="*/ 38892 w 50168"/>
                          <a:gd name="connsiteY2" fmla="*/ 63702 h 77084"/>
                          <a:gd name="connsiteX3" fmla="*/ 49840 w 50168"/>
                          <a:gd name="connsiteY3" fmla="*/ 20999 h 77084"/>
                          <a:gd name="connsiteX4" fmla="*/ 38106 w 50168"/>
                          <a:gd name="connsiteY4" fmla="*/ 918 h 77084"/>
                          <a:gd name="connsiteX5" fmla="*/ 10041 w 50168"/>
                          <a:gd name="connsiteY5" fmla="*/ 15072 h 77084"/>
                          <a:gd name="connsiteX6" fmla="*/ 60 w 50168"/>
                          <a:gd name="connsiteY6" fmla="*/ 63037 h 7708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0168" h="77084">
                            <a:moveTo>
                              <a:pt x="0" y="63098"/>
                            </a:moveTo>
                            <a:cubicBezTo>
                              <a:pt x="0" y="63098"/>
                              <a:pt x="3932" y="77614"/>
                              <a:pt x="18932" y="77070"/>
                            </a:cubicBezTo>
                            <a:cubicBezTo>
                              <a:pt x="34054" y="76525"/>
                              <a:pt x="38892" y="63702"/>
                              <a:pt x="38892" y="63702"/>
                            </a:cubicBezTo>
                            <a:lnTo>
                              <a:pt x="49840" y="20999"/>
                            </a:lnTo>
                            <a:cubicBezTo>
                              <a:pt x="51292" y="8721"/>
                              <a:pt x="48026" y="3156"/>
                              <a:pt x="38106" y="918"/>
                            </a:cubicBezTo>
                            <a:cubicBezTo>
                              <a:pt x="28247" y="-1743"/>
                              <a:pt x="13549" y="918"/>
                              <a:pt x="10041" y="15072"/>
                            </a:cubicBezTo>
                            <a:lnTo>
                              <a:pt x="60" y="6303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15" name="Freihandform: Form 414">
                        <a:extLst>
                          <a:ext uri="{FF2B5EF4-FFF2-40B4-BE49-F238E27FC236}">
                            <a16:creationId xmlns:a16="http://schemas.microsoft.com/office/drawing/2014/main" id="{310DD638-5EFB-DC20-5C8F-F33CD3C34B3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86054" y="3694653"/>
                        <a:ext cx="41227" cy="66339"/>
                      </a:xfrm>
                      <a:custGeom>
                        <a:avLst/>
                        <a:gdLst>
                          <a:gd name="connsiteX0" fmla="*/ 6291 w 41227"/>
                          <a:gd name="connsiteY0" fmla="*/ 58248 h 66339"/>
                          <a:gd name="connsiteX1" fmla="*/ 29699 w 41227"/>
                          <a:gd name="connsiteY1" fmla="*/ 64478 h 66339"/>
                          <a:gd name="connsiteX2" fmla="*/ 40284 w 41227"/>
                          <a:gd name="connsiteY2" fmla="*/ 45485 h 66339"/>
                          <a:gd name="connsiteX3" fmla="*/ 38832 w 41227"/>
                          <a:gd name="connsiteY3" fmla="*/ 13730 h 66339"/>
                          <a:gd name="connsiteX4" fmla="*/ 21533 w 41227"/>
                          <a:gd name="connsiteY4" fmla="*/ 0 h 66339"/>
                          <a:gd name="connsiteX5" fmla="*/ 0 w 41227"/>
                          <a:gd name="connsiteY5" fmla="*/ 13065 h 66339"/>
                          <a:gd name="connsiteX6" fmla="*/ 6351 w 41227"/>
                          <a:gd name="connsiteY6" fmla="*/ 58187 h 6633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1227" h="66339">
                            <a:moveTo>
                              <a:pt x="6291" y="58248"/>
                            </a:moveTo>
                            <a:cubicBezTo>
                              <a:pt x="6291" y="58248"/>
                              <a:pt x="12279" y="71010"/>
                              <a:pt x="29699" y="64478"/>
                            </a:cubicBezTo>
                            <a:cubicBezTo>
                              <a:pt x="45909" y="58429"/>
                              <a:pt x="40284" y="45485"/>
                              <a:pt x="40284" y="45485"/>
                            </a:cubicBezTo>
                            <a:lnTo>
                              <a:pt x="38832" y="13730"/>
                            </a:lnTo>
                            <a:cubicBezTo>
                              <a:pt x="36957" y="5323"/>
                              <a:pt x="31392" y="0"/>
                              <a:pt x="21533" y="0"/>
                            </a:cubicBezTo>
                            <a:cubicBezTo>
                              <a:pt x="7258" y="0"/>
                              <a:pt x="2964" y="4657"/>
                              <a:pt x="0" y="13065"/>
                            </a:cubicBezTo>
                            <a:lnTo>
                              <a:pt x="6351" y="5818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16" name="Freihandform: Form 415">
                        <a:extLst>
                          <a:ext uri="{FF2B5EF4-FFF2-40B4-BE49-F238E27FC236}">
                            <a16:creationId xmlns:a16="http://schemas.microsoft.com/office/drawing/2014/main" id="{FF2C60BF-0FD1-8F48-AF87-F6B1AB3B4A8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92405" y="3728005"/>
                        <a:ext cx="46792" cy="87136"/>
                      </a:xfrm>
                      <a:custGeom>
                        <a:avLst/>
                        <a:gdLst>
                          <a:gd name="connsiteX0" fmla="*/ 19356 w 46792"/>
                          <a:gd name="connsiteY0" fmla="*/ 61974 h 87136"/>
                          <a:gd name="connsiteX1" fmla="*/ 31271 w 46792"/>
                          <a:gd name="connsiteY1" fmla="*/ 87136 h 87136"/>
                          <a:gd name="connsiteX2" fmla="*/ 45364 w 46792"/>
                          <a:gd name="connsiteY2" fmla="*/ 46671 h 87136"/>
                          <a:gd name="connsiteX3" fmla="*/ 32783 w 46792"/>
                          <a:gd name="connsiteY3" fmla="*/ 9351 h 87136"/>
                          <a:gd name="connsiteX4" fmla="*/ 7682 w 46792"/>
                          <a:gd name="connsiteY4" fmla="*/ 702 h 87136"/>
                          <a:gd name="connsiteX5" fmla="*/ 0 w 46792"/>
                          <a:gd name="connsiteY5" fmla="*/ 25017 h 87136"/>
                          <a:gd name="connsiteX6" fmla="*/ 19416 w 46792"/>
                          <a:gd name="connsiteY6" fmla="*/ 62035 h 8713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6792" h="87136">
                            <a:moveTo>
                              <a:pt x="19356" y="61974"/>
                            </a:moveTo>
                            <a:lnTo>
                              <a:pt x="31271" y="87136"/>
                            </a:lnTo>
                            <a:cubicBezTo>
                              <a:pt x="47844" y="80362"/>
                              <a:pt x="48389" y="59978"/>
                              <a:pt x="45364" y="46671"/>
                            </a:cubicBezTo>
                            <a:cubicBezTo>
                              <a:pt x="42340" y="33304"/>
                              <a:pt x="32783" y="9351"/>
                              <a:pt x="32783" y="9351"/>
                            </a:cubicBezTo>
                            <a:cubicBezTo>
                              <a:pt x="26130" y="3666"/>
                              <a:pt x="14275" y="-2020"/>
                              <a:pt x="7682" y="702"/>
                            </a:cubicBezTo>
                            <a:cubicBezTo>
                              <a:pt x="1089" y="3363"/>
                              <a:pt x="726" y="16307"/>
                              <a:pt x="0" y="25017"/>
                            </a:cubicBezTo>
                            <a:lnTo>
                              <a:pt x="19416" y="6203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17" name="Grafik 297">
                      <a:extLst>
                        <a:ext uri="{FF2B5EF4-FFF2-40B4-BE49-F238E27FC236}">
                          <a16:creationId xmlns:a16="http://schemas.microsoft.com/office/drawing/2014/main" id="{7FF42A81-F4E3-4D64-ADC8-E812AA5C602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1880" y="3632666"/>
                      <a:ext cx="59919" cy="164209"/>
                      <a:chOff x="151880" y="3632666"/>
                      <a:chExt cx="59919" cy="164209"/>
                    </a:xfrm>
                    <a:solidFill>
                      <a:srgbClr val="02787D"/>
                    </a:solidFill>
                  </p:grpSpPr>
                  <p:sp>
                    <p:nvSpPr>
                      <p:cNvPr id="418" name="Freihandform: Form 417">
                        <a:extLst>
                          <a:ext uri="{FF2B5EF4-FFF2-40B4-BE49-F238E27FC236}">
                            <a16:creationId xmlns:a16="http://schemas.microsoft.com/office/drawing/2014/main" id="{9145AB4A-E206-3BFB-E542-8C1C1008E4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880" y="3632666"/>
                        <a:ext cx="47698" cy="76503"/>
                      </a:xfrm>
                      <a:custGeom>
                        <a:avLst/>
                        <a:gdLst>
                          <a:gd name="connsiteX0" fmla="*/ 0 w 47698"/>
                          <a:gd name="connsiteY0" fmla="*/ 67492 h 76503"/>
                          <a:gd name="connsiteX1" fmla="*/ 20505 w 47698"/>
                          <a:gd name="connsiteY1" fmla="*/ 76202 h 76503"/>
                          <a:gd name="connsiteX2" fmla="*/ 37562 w 47698"/>
                          <a:gd name="connsiteY2" fmla="*/ 60355 h 76503"/>
                          <a:gd name="connsiteX3" fmla="*/ 47542 w 47698"/>
                          <a:gd name="connsiteY3" fmla="*/ 21160 h 76503"/>
                          <a:gd name="connsiteX4" fmla="*/ 36231 w 47698"/>
                          <a:gd name="connsiteY4" fmla="*/ 897 h 76503"/>
                          <a:gd name="connsiteX5" fmla="*/ 8770 w 47698"/>
                          <a:gd name="connsiteY5" fmla="*/ 14748 h 76503"/>
                          <a:gd name="connsiteX6" fmla="*/ 0 w 47698"/>
                          <a:gd name="connsiteY6" fmla="*/ 67492 h 7650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7698" h="76503">
                            <a:moveTo>
                              <a:pt x="0" y="67492"/>
                            </a:moveTo>
                            <a:cubicBezTo>
                              <a:pt x="0" y="67492"/>
                              <a:pt x="4960" y="78440"/>
                              <a:pt x="20505" y="76202"/>
                            </a:cubicBezTo>
                            <a:cubicBezTo>
                              <a:pt x="35142" y="74085"/>
                              <a:pt x="37562" y="60355"/>
                              <a:pt x="37562" y="60355"/>
                            </a:cubicBezTo>
                            <a:lnTo>
                              <a:pt x="47542" y="21160"/>
                            </a:lnTo>
                            <a:cubicBezTo>
                              <a:pt x="48389" y="11361"/>
                              <a:pt x="45969" y="3074"/>
                              <a:pt x="36231" y="897"/>
                            </a:cubicBezTo>
                            <a:cubicBezTo>
                              <a:pt x="26614" y="-1704"/>
                              <a:pt x="12218" y="897"/>
                              <a:pt x="8770" y="14748"/>
                            </a:cubicBezTo>
                            <a:lnTo>
                              <a:pt x="0" y="67492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19" name="Freihandform: Form 418">
                        <a:extLst>
                          <a:ext uri="{FF2B5EF4-FFF2-40B4-BE49-F238E27FC236}">
                            <a16:creationId xmlns:a16="http://schemas.microsoft.com/office/drawing/2014/main" id="{3BB86A11-311D-D0FD-C00A-D8AE416DFE9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880" y="3683991"/>
                        <a:ext cx="48902" cy="63864"/>
                      </a:xfrm>
                      <a:custGeom>
                        <a:avLst/>
                        <a:gdLst>
                          <a:gd name="connsiteX0" fmla="*/ 18267 w 48902"/>
                          <a:gd name="connsiteY0" fmla="*/ 55603 h 63864"/>
                          <a:gd name="connsiteX1" fmla="*/ 38772 w 48902"/>
                          <a:gd name="connsiteY1" fmla="*/ 62801 h 63864"/>
                          <a:gd name="connsiteX2" fmla="*/ 46877 w 48902"/>
                          <a:gd name="connsiteY2" fmla="*/ 37276 h 63864"/>
                          <a:gd name="connsiteX3" fmla="*/ 37562 w 48902"/>
                          <a:gd name="connsiteY3" fmla="*/ 9089 h 63864"/>
                          <a:gd name="connsiteX4" fmla="*/ 19295 w 48902"/>
                          <a:gd name="connsiteY4" fmla="*/ 319 h 63864"/>
                          <a:gd name="connsiteX5" fmla="*/ 0 w 48902"/>
                          <a:gd name="connsiteY5" fmla="*/ 16227 h 63864"/>
                          <a:gd name="connsiteX6" fmla="*/ 18267 w 48902"/>
                          <a:gd name="connsiteY6" fmla="*/ 55603 h 638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8902" h="63864">
                            <a:moveTo>
                              <a:pt x="18267" y="55603"/>
                            </a:moveTo>
                            <a:cubicBezTo>
                              <a:pt x="18267" y="55603"/>
                              <a:pt x="22561" y="67398"/>
                              <a:pt x="38772" y="62801"/>
                            </a:cubicBezTo>
                            <a:cubicBezTo>
                              <a:pt x="54982" y="58083"/>
                              <a:pt x="46877" y="37276"/>
                              <a:pt x="46877" y="37276"/>
                            </a:cubicBezTo>
                            <a:lnTo>
                              <a:pt x="37562" y="9089"/>
                            </a:lnTo>
                            <a:cubicBezTo>
                              <a:pt x="35324" y="137"/>
                              <a:pt x="28065" y="-649"/>
                              <a:pt x="19295" y="319"/>
                            </a:cubicBezTo>
                            <a:cubicBezTo>
                              <a:pt x="10525" y="1287"/>
                              <a:pt x="2117" y="7759"/>
                              <a:pt x="0" y="16227"/>
                            </a:cubicBezTo>
                            <a:lnTo>
                              <a:pt x="18267" y="55603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20" name="Freihandform: Form 419">
                        <a:extLst>
                          <a:ext uri="{FF2B5EF4-FFF2-40B4-BE49-F238E27FC236}">
                            <a16:creationId xmlns:a16="http://schemas.microsoft.com/office/drawing/2014/main" id="{881CA624-3D6E-3DD5-C79E-E6878E2C50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68150" y="3716396"/>
                        <a:ext cx="43649" cy="80478"/>
                      </a:xfrm>
                      <a:custGeom>
                        <a:avLst/>
                        <a:gdLst>
                          <a:gd name="connsiteX0" fmla="*/ 16815 w 43649"/>
                          <a:gd name="connsiteY0" fmla="*/ 55800 h 80478"/>
                          <a:gd name="connsiteX1" fmla="*/ 28307 w 43649"/>
                          <a:gd name="connsiteY1" fmla="*/ 80479 h 80478"/>
                          <a:gd name="connsiteX2" fmla="*/ 42340 w 43649"/>
                          <a:gd name="connsiteY2" fmla="*/ 40981 h 80478"/>
                          <a:gd name="connsiteX3" fmla="*/ 30606 w 43649"/>
                          <a:gd name="connsiteY3" fmla="*/ 4871 h 80478"/>
                          <a:gd name="connsiteX4" fmla="*/ 10162 w 43649"/>
                          <a:gd name="connsiteY4" fmla="*/ 1605 h 80478"/>
                          <a:gd name="connsiteX5" fmla="*/ 0 w 43649"/>
                          <a:gd name="connsiteY5" fmla="*/ 18722 h 80478"/>
                          <a:gd name="connsiteX6" fmla="*/ 16876 w 43649"/>
                          <a:gd name="connsiteY6" fmla="*/ 55861 h 8047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3649" h="80478">
                            <a:moveTo>
                              <a:pt x="16815" y="55800"/>
                            </a:moveTo>
                            <a:lnTo>
                              <a:pt x="28307" y="80479"/>
                            </a:lnTo>
                            <a:cubicBezTo>
                              <a:pt x="44578" y="73946"/>
                              <a:pt x="45183" y="54046"/>
                              <a:pt x="42340" y="40981"/>
                            </a:cubicBezTo>
                            <a:cubicBezTo>
                              <a:pt x="39497" y="27916"/>
                              <a:pt x="30606" y="4871"/>
                              <a:pt x="30606" y="4871"/>
                            </a:cubicBezTo>
                            <a:cubicBezTo>
                              <a:pt x="24134" y="-694"/>
                              <a:pt x="16634" y="-1057"/>
                              <a:pt x="10162" y="1605"/>
                            </a:cubicBezTo>
                            <a:cubicBezTo>
                              <a:pt x="3690" y="4206"/>
                              <a:pt x="786" y="10194"/>
                              <a:pt x="0" y="18722"/>
                            </a:cubicBezTo>
                            <a:lnTo>
                              <a:pt x="16876" y="55861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21" name="Grafik 297">
                      <a:extLst>
                        <a:ext uri="{FF2B5EF4-FFF2-40B4-BE49-F238E27FC236}">
                          <a16:creationId xmlns:a16="http://schemas.microsoft.com/office/drawing/2014/main" id="{E8FAD5B3-0B89-ED00-88F5-67869CFF5A3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278" y="3599477"/>
                      <a:ext cx="56322" cy="153424"/>
                      <a:chOff x="134278" y="3599477"/>
                      <a:chExt cx="56322" cy="153424"/>
                    </a:xfrm>
                    <a:solidFill>
                      <a:srgbClr val="02787D"/>
                    </a:solidFill>
                  </p:grpSpPr>
                  <p:sp>
                    <p:nvSpPr>
                      <p:cNvPr id="422" name="Freihandform: Form 421">
                        <a:extLst>
                          <a:ext uri="{FF2B5EF4-FFF2-40B4-BE49-F238E27FC236}">
                            <a16:creationId xmlns:a16="http://schemas.microsoft.com/office/drawing/2014/main" id="{4E881F46-C9F0-F5E9-CF2C-A6C31BAB5AC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278" y="3599477"/>
                        <a:ext cx="44676" cy="72318"/>
                      </a:xfrm>
                      <a:custGeom>
                        <a:avLst/>
                        <a:gdLst>
                          <a:gd name="connsiteX0" fmla="*/ 0 w 44676"/>
                          <a:gd name="connsiteY0" fmla="*/ 63301 h 72318"/>
                          <a:gd name="connsiteX1" fmla="*/ 19537 w 44676"/>
                          <a:gd name="connsiteY1" fmla="*/ 72071 h 72318"/>
                          <a:gd name="connsiteX2" fmla="*/ 34719 w 44676"/>
                          <a:gd name="connsiteY2" fmla="*/ 55256 h 72318"/>
                          <a:gd name="connsiteX3" fmla="*/ 44397 w 44676"/>
                          <a:gd name="connsiteY3" fmla="*/ 19085 h 72318"/>
                          <a:gd name="connsiteX4" fmla="*/ 33570 w 44676"/>
                          <a:gd name="connsiteY4" fmla="*/ 819 h 72318"/>
                          <a:gd name="connsiteX5" fmla="*/ 7984 w 44676"/>
                          <a:gd name="connsiteY5" fmla="*/ 13884 h 72318"/>
                          <a:gd name="connsiteX6" fmla="*/ 60 w 44676"/>
                          <a:gd name="connsiteY6" fmla="*/ 63301 h 723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4676" h="72318">
                            <a:moveTo>
                              <a:pt x="0" y="63301"/>
                            </a:moveTo>
                            <a:cubicBezTo>
                              <a:pt x="0" y="63301"/>
                              <a:pt x="5867" y="74067"/>
                              <a:pt x="19537" y="72071"/>
                            </a:cubicBezTo>
                            <a:cubicBezTo>
                              <a:pt x="32904" y="70075"/>
                              <a:pt x="34719" y="55256"/>
                              <a:pt x="34719" y="55256"/>
                            </a:cubicBezTo>
                            <a:lnTo>
                              <a:pt x="44397" y="19085"/>
                            </a:lnTo>
                            <a:cubicBezTo>
                              <a:pt x="45667" y="7835"/>
                              <a:pt x="42703" y="2815"/>
                              <a:pt x="33570" y="819"/>
                            </a:cubicBezTo>
                            <a:cubicBezTo>
                              <a:pt x="24557" y="-1601"/>
                              <a:pt x="11129" y="940"/>
                              <a:pt x="7984" y="13884"/>
                            </a:cubicBezTo>
                            <a:lnTo>
                              <a:pt x="60" y="63301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23" name="Freihandform: Form 422">
                        <a:extLst>
                          <a:ext uri="{FF2B5EF4-FFF2-40B4-BE49-F238E27FC236}">
                            <a16:creationId xmlns:a16="http://schemas.microsoft.com/office/drawing/2014/main" id="{4C41643D-B859-8C82-353C-9320CB6432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339" y="3644143"/>
                        <a:ext cx="45538" cy="61600"/>
                      </a:xfrm>
                      <a:custGeom>
                        <a:avLst/>
                        <a:gdLst>
                          <a:gd name="connsiteX0" fmla="*/ 17239 w 45538"/>
                          <a:gd name="connsiteY0" fmla="*/ 55349 h 61600"/>
                          <a:gd name="connsiteX1" fmla="*/ 35808 w 45538"/>
                          <a:gd name="connsiteY1" fmla="*/ 60430 h 61600"/>
                          <a:gd name="connsiteX2" fmla="*/ 43913 w 45538"/>
                          <a:gd name="connsiteY2" fmla="*/ 39562 h 61600"/>
                          <a:gd name="connsiteX3" fmla="*/ 34719 w 45538"/>
                          <a:gd name="connsiteY3" fmla="*/ 10590 h 61600"/>
                          <a:gd name="connsiteX4" fmla="*/ 13972 w 45538"/>
                          <a:gd name="connsiteY4" fmla="*/ 1033 h 61600"/>
                          <a:gd name="connsiteX5" fmla="*/ 0 w 45538"/>
                          <a:gd name="connsiteY5" fmla="*/ 18634 h 61600"/>
                          <a:gd name="connsiteX6" fmla="*/ 17239 w 45538"/>
                          <a:gd name="connsiteY6" fmla="*/ 55349 h 616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5538" h="61600">
                            <a:moveTo>
                              <a:pt x="17239" y="55349"/>
                            </a:moveTo>
                            <a:cubicBezTo>
                              <a:pt x="17239" y="55349"/>
                              <a:pt x="20686" y="64846"/>
                              <a:pt x="35808" y="60430"/>
                            </a:cubicBezTo>
                            <a:cubicBezTo>
                              <a:pt x="50929" y="55894"/>
                              <a:pt x="43913" y="39562"/>
                              <a:pt x="43913" y="39562"/>
                            </a:cubicBezTo>
                            <a:lnTo>
                              <a:pt x="34719" y="10590"/>
                            </a:lnTo>
                            <a:cubicBezTo>
                              <a:pt x="31029" y="3513"/>
                              <a:pt x="24920" y="-2475"/>
                              <a:pt x="13972" y="1033"/>
                            </a:cubicBezTo>
                            <a:cubicBezTo>
                              <a:pt x="3932" y="4843"/>
                              <a:pt x="1936" y="10711"/>
                              <a:pt x="0" y="18634"/>
                            </a:cubicBezTo>
                            <a:lnTo>
                              <a:pt x="17239" y="55349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24" name="Freihandform: Form 423">
                        <a:extLst>
                          <a:ext uri="{FF2B5EF4-FFF2-40B4-BE49-F238E27FC236}">
                            <a16:creationId xmlns:a16="http://schemas.microsoft.com/office/drawing/2014/main" id="{54F5F9D4-DAF9-8652-7832-285BF4EF8CC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581" y="3678059"/>
                        <a:ext cx="41019" cy="74842"/>
                      </a:xfrm>
                      <a:custGeom>
                        <a:avLst/>
                        <a:gdLst>
                          <a:gd name="connsiteX0" fmla="*/ 15968 w 41019"/>
                          <a:gd name="connsiteY0" fmla="*/ 51858 h 74842"/>
                          <a:gd name="connsiteX1" fmla="*/ 26795 w 41019"/>
                          <a:gd name="connsiteY1" fmla="*/ 74842 h 74842"/>
                          <a:gd name="connsiteX2" fmla="*/ 39739 w 41019"/>
                          <a:gd name="connsiteY2" fmla="*/ 37825 h 74842"/>
                          <a:gd name="connsiteX3" fmla="*/ 28610 w 41019"/>
                          <a:gd name="connsiteY3" fmla="*/ 5586 h 74842"/>
                          <a:gd name="connsiteX4" fmla="*/ 9436 w 41019"/>
                          <a:gd name="connsiteY4" fmla="*/ 1110 h 74842"/>
                          <a:gd name="connsiteX5" fmla="*/ 0 w 41019"/>
                          <a:gd name="connsiteY5" fmla="*/ 17139 h 74842"/>
                          <a:gd name="connsiteX6" fmla="*/ 15968 w 41019"/>
                          <a:gd name="connsiteY6" fmla="*/ 51797 h 7484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1019" h="74842">
                            <a:moveTo>
                              <a:pt x="15968" y="51858"/>
                            </a:moveTo>
                            <a:lnTo>
                              <a:pt x="26795" y="74842"/>
                            </a:lnTo>
                            <a:cubicBezTo>
                              <a:pt x="41977" y="68673"/>
                              <a:pt x="42461" y="50043"/>
                              <a:pt x="39739" y="37825"/>
                            </a:cubicBezTo>
                            <a:cubicBezTo>
                              <a:pt x="37017" y="25607"/>
                              <a:pt x="28610" y="5586"/>
                              <a:pt x="28610" y="5586"/>
                            </a:cubicBezTo>
                            <a:cubicBezTo>
                              <a:pt x="22561" y="384"/>
                              <a:pt x="15484" y="-1370"/>
                              <a:pt x="9436" y="1110"/>
                            </a:cubicBezTo>
                            <a:cubicBezTo>
                              <a:pt x="3387" y="3530"/>
                              <a:pt x="726" y="9155"/>
                              <a:pt x="0" y="17139"/>
                            </a:cubicBezTo>
                            <a:lnTo>
                              <a:pt x="15968" y="5179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425" name="Freihandform: Form 424">
                      <a:extLst>
                        <a:ext uri="{FF2B5EF4-FFF2-40B4-BE49-F238E27FC236}">
                          <a16:creationId xmlns:a16="http://schemas.microsoft.com/office/drawing/2014/main" id="{D357EBCB-CC64-D119-FEFE-7D5C4F34F9C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537" y="3462369"/>
                      <a:ext cx="174817" cy="206099"/>
                    </a:xfrm>
                    <a:custGeom>
                      <a:avLst/>
                      <a:gdLst>
                        <a:gd name="connsiteX0" fmla="*/ 52804 w 174817"/>
                        <a:gd name="connsiteY0" fmla="*/ 17257 h 206099"/>
                        <a:gd name="connsiteX1" fmla="*/ 23831 w 174817"/>
                        <a:gd name="connsiteY1" fmla="*/ 59174 h 206099"/>
                        <a:gd name="connsiteX2" fmla="*/ 0 w 174817"/>
                        <a:gd name="connsiteY2" fmla="*/ 154742 h 206099"/>
                        <a:gd name="connsiteX3" fmla="*/ 121879 w 174817"/>
                        <a:gd name="connsiteY3" fmla="*/ 206034 h 206099"/>
                        <a:gd name="connsiteX4" fmla="*/ 137787 w 174817"/>
                        <a:gd name="connsiteY4" fmla="*/ 181174 h 206099"/>
                        <a:gd name="connsiteX5" fmla="*/ 174623 w 174817"/>
                        <a:gd name="connsiteY5" fmla="*/ 68670 h 206099"/>
                        <a:gd name="connsiteX6" fmla="*/ 168332 w 174817"/>
                        <a:gd name="connsiteY6" fmla="*/ 27721 h 206099"/>
                        <a:gd name="connsiteX7" fmla="*/ 52804 w 174817"/>
                        <a:gd name="connsiteY7" fmla="*/ 17257 h 2060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74817" h="206099">
                          <a:moveTo>
                            <a:pt x="52804" y="17257"/>
                          </a:moveTo>
                          <a:cubicBezTo>
                            <a:pt x="38892" y="30201"/>
                            <a:pt x="35021" y="36068"/>
                            <a:pt x="23831" y="59174"/>
                          </a:cubicBezTo>
                          <a:cubicBezTo>
                            <a:pt x="3327" y="112462"/>
                            <a:pt x="302" y="153472"/>
                            <a:pt x="0" y="154742"/>
                          </a:cubicBezTo>
                          <a:cubicBezTo>
                            <a:pt x="1210" y="158129"/>
                            <a:pt x="24920" y="208151"/>
                            <a:pt x="121879" y="206034"/>
                          </a:cubicBezTo>
                          <a:cubicBezTo>
                            <a:pt x="127988" y="172585"/>
                            <a:pt x="137666" y="181235"/>
                            <a:pt x="137787" y="181174"/>
                          </a:cubicBezTo>
                          <a:cubicBezTo>
                            <a:pt x="137787" y="181174"/>
                            <a:pt x="167667" y="127886"/>
                            <a:pt x="174623" y="68670"/>
                          </a:cubicBezTo>
                          <a:cubicBezTo>
                            <a:pt x="176135" y="55847"/>
                            <a:pt x="168332" y="27721"/>
                            <a:pt x="168332" y="27721"/>
                          </a:cubicBezTo>
                          <a:cubicBezTo>
                            <a:pt x="164038" y="-5667"/>
                            <a:pt x="76152" y="-8570"/>
                            <a:pt x="52804" y="17257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26" name="Freihandform: Form 425">
                      <a:extLst>
                        <a:ext uri="{FF2B5EF4-FFF2-40B4-BE49-F238E27FC236}">
                          <a16:creationId xmlns:a16="http://schemas.microsoft.com/office/drawing/2014/main" id="{C44C81AD-A4BA-B470-4011-A7FB3670E7F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3920" y="3485840"/>
                      <a:ext cx="87053" cy="155308"/>
                    </a:xfrm>
                    <a:custGeom>
                      <a:avLst/>
                      <a:gdLst>
                        <a:gd name="connsiteX0" fmla="*/ 55950 w 87053"/>
                        <a:gd name="connsiteY0" fmla="*/ 4250 h 155308"/>
                        <a:gd name="connsiteX1" fmla="*/ 85043 w 87053"/>
                        <a:gd name="connsiteY1" fmla="*/ 131331 h 155308"/>
                        <a:gd name="connsiteX2" fmla="*/ 21835 w 87053"/>
                        <a:gd name="connsiteY2" fmla="*/ 146150 h 155308"/>
                        <a:gd name="connsiteX3" fmla="*/ 0 w 87053"/>
                        <a:gd name="connsiteY3" fmla="*/ 76107 h 155308"/>
                        <a:gd name="connsiteX4" fmla="*/ 55950 w 87053"/>
                        <a:gd name="connsiteY4" fmla="*/ 4190 h 15530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7053" h="155308">
                          <a:moveTo>
                            <a:pt x="55950" y="4250"/>
                          </a:moveTo>
                          <a:cubicBezTo>
                            <a:pt x="77120" y="30682"/>
                            <a:pt x="92785" y="95644"/>
                            <a:pt x="85043" y="131331"/>
                          </a:cubicBezTo>
                          <a:cubicBezTo>
                            <a:pt x="80507" y="158368"/>
                            <a:pt x="26916" y="161392"/>
                            <a:pt x="21835" y="146150"/>
                          </a:cubicBezTo>
                          <a:cubicBezTo>
                            <a:pt x="21835" y="146150"/>
                            <a:pt x="0" y="101028"/>
                            <a:pt x="0" y="76107"/>
                          </a:cubicBezTo>
                          <a:cubicBezTo>
                            <a:pt x="0" y="30924"/>
                            <a:pt x="41312" y="-14138"/>
                            <a:pt x="55950" y="4190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27" name="Freihandform: Form 426">
                      <a:extLst>
                        <a:ext uri="{FF2B5EF4-FFF2-40B4-BE49-F238E27FC236}">
                          <a16:creationId xmlns:a16="http://schemas.microsoft.com/office/drawing/2014/main" id="{3F73E6A5-8A52-DEE0-F606-2468C1C373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67523" y="3590194"/>
                      <a:ext cx="71027" cy="149944"/>
                    </a:xfrm>
                    <a:custGeom>
                      <a:avLst/>
                      <a:gdLst>
                        <a:gd name="connsiteX0" fmla="*/ 70956 w 71027"/>
                        <a:gd name="connsiteY0" fmla="*/ 29336 h 149944"/>
                        <a:gd name="connsiteX1" fmla="*/ 51722 w 71027"/>
                        <a:gd name="connsiteY1" fmla="*/ 90910 h 149944"/>
                        <a:gd name="connsiteX2" fmla="*/ 14704 w 71027"/>
                        <a:gd name="connsiteY2" fmla="*/ 149945 h 149944"/>
                        <a:gd name="connsiteX3" fmla="*/ 6 w 71027"/>
                        <a:gd name="connsiteY3" fmla="*/ 123996 h 149944"/>
                        <a:gd name="connsiteX4" fmla="*/ 16035 w 71027"/>
                        <a:gd name="connsiteY4" fmla="*/ 85346 h 149944"/>
                        <a:gd name="connsiteX5" fmla="*/ 8293 w 71027"/>
                        <a:gd name="connsiteY5" fmla="*/ 41796 h 149944"/>
                        <a:gd name="connsiteX6" fmla="*/ 34725 w 71027"/>
                        <a:gd name="connsiteY6" fmla="*/ 423 h 149944"/>
                        <a:gd name="connsiteX7" fmla="*/ 71017 w 71027"/>
                        <a:gd name="connsiteY7" fmla="*/ 29275 h 14994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71027" h="149944">
                          <a:moveTo>
                            <a:pt x="70956" y="29336"/>
                          </a:moveTo>
                          <a:lnTo>
                            <a:pt x="51722" y="90910"/>
                          </a:lnTo>
                          <a:lnTo>
                            <a:pt x="14704" y="149945"/>
                          </a:lnTo>
                          <a:cubicBezTo>
                            <a:pt x="14704" y="149945"/>
                            <a:pt x="974" y="147646"/>
                            <a:pt x="6" y="123996"/>
                          </a:cubicBezTo>
                          <a:cubicBezTo>
                            <a:pt x="-296" y="117040"/>
                            <a:pt x="10349" y="98108"/>
                            <a:pt x="16035" y="85346"/>
                          </a:cubicBezTo>
                          <a:cubicBezTo>
                            <a:pt x="16398" y="62664"/>
                            <a:pt x="8293" y="41796"/>
                            <a:pt x="8293" y="41796"/>
                          </a:cubicBezTo>
                          <a:cubicBezTo>
                            <a:pt x="8293" y="41796"/>
                            <a:pt x="10652" y="4416"/>
                            <a:pt x="34725" y="423"/>
                          </a:cubicBezTo>
                          <a:cubicBezTo>
                            <a:pt x="55895" y="-3085"/>
                            <a:pt x="71501" y="15968"/>
                            <a:pt x="71017" y="2927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28" name="Freihandform: Form 427">
                      <a:extLst>
                        <a:ext uri="{FF2B5EF4-FFF2-40B4-BE49-F238E27FC236}">
                          <a16:creationId xmlns:a16="http://schemas.microsoft.com/office/drawing/2014/main" id="{E2895B75-2F18-59DC-BD69-5D8C32CA58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78856" y="3541362"/>
                      <a:ext cx="93208" cy="118390"/>
                    </a:xfrm>
                    <a:custGeom>
                      <a:avLst/>
                      <a:gdLst>
                        <a:gd name="connsiteX0" fmla="*/ 66837 w 93208"/>
                        <a:gd name="connsiteY0" fmla="*/ 23609 h 118390"/>
                        <a:gd name="connsiteX1" fmla="*/ 37078 w 93208"/>
                        <a:gd name="connsiteY1" fmla="*/ 17198 h 118390"/>
                        <a:gd name="connsiteX2" fmla="*/ 0 w 93208"/>
                        <a:gd name="connsiteY2" fmla="*/ 74478 h 118390"/>
                        <a:gd name="connsiteX3" fmla="*/ 86374 w 93208"/>
                        <a:gd name="connsiteY3" fmla="*/ 118391 h 118390"/>
                        <a:gd name="connsiteX4" fmla="*/ 93209 w 93208"/>
                        <a:gd name="connsiteY4" fmla="*/ 103390 h 118390"/>
                        <a:gd name="connsiteX5" fmla="*/ 66837 w 93208"/>
                        <a:gd name="connsiteY5" fmla="*/ 23609 h 11839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93208" h="118390">
                          <a:moveTo>
                            <a:pt x="66837" y="23609"/>
                          </a:moveTo>
                          <a:cubicBezTo>
                            <a:pt x="69861" y="-2400"/>
                            <a:pt x="47844" y="-10263"/>
                            <a:pt x="37078" y="17198"/>
                          </a:cubicBezTo>
                          <a:cubicBezTo>
                            <a:pt x="29941" y="35344"/>
                            <a:pt x="32904" y="48711"/>
                            <a:pt x="0" y="74478"/>
                          </a:cubicBezTo>
                          <a:cubicBezTo>
                            <a:pt x="35445" y="68792"/>
                            <a:pt x="57401" y="83490"/>
                            <a:pt x="86374" y="118391"/>
                          </a:cubicBezTo>
                          <a:cubicBezTo>
                            <a:pt x="90547" y="107080"/>
                            <a:pt x="93148" y="103390"/>
                            <a:pt x="93209" y="103390"/>
                          </a:cubicBezTo>
                          <a:cubicBezTo>
                            <a:pt x="79600" y="95345"/>
                            <a:pt x="62059" y="64619"/>
                            <a:pt x="66837" y="23609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grpSp>
              <p:nvGrpSpPr>
                <p:cNvPr id="429" name="Grafik 297">
                  <a:extLst>
                    <a:ext uri="{FF2B5EF4-FFF2-40B4-BE49-F238E27FC236}">
                      <a16:creationId xmlns:a16="http://schemas.microsoft.com/office/drawing/2014/main" id="{34675A6E-D9C7-D8AC-0EE5-27AE7AE89CFD}"/>
                    </a:ext>
                  </a:extLst>
                </p:cNvPr>
                <p:cNvGrpSpPr/>
                <p:nvPr/>
              </p:nvGrpSpPr>
              <p:grpSpPr>
                <a:xfrm>
                  <a:off x="194280" y="2857225"/>
                  <a:ext cx="247629" cy="636603"/>
                  <a:chOff x="194280" y="2857225"/>
                  <a:chExt cx="247629" cy="636603"/>
                </a:xfrm>
              </p:grpSpPr>
              <p:sp>
                <p:nvSpPr>
                  <p:cNvPr id="430" name="Freihandform: Form 429">
                    <a:extLst>
                      <a:ext uri="{FF2B5EF4-FFF2-40B4-BE49-F238E27FC236}">
                        <a16:creationId xmlns:a16="http://schemas.microsoft.com/office/drawing/2014/main" id="{0FC2DA7E-7E70-61B5-37C6-DC536A77B913}"/>
                      </a:ext>
                    </a:extLst>
                  </p:cNvPr>
                  <p:cNvSpPr/>
                  <p:nvPr/>
                </p:nvSpPr>
                <p:spPr>
                  <a:xfrm>
                    <a:off x="194280" y="2955333"/>
                    <a:ext cx="244484" cy="537175"/>
                  </a:xfrm>
                  <a:custGeom>
                    <a:avLst/>
                    <a:gdLst>
                      <a:gd name="connsiteX0" fmla="*/ 0 w 244484"/>
                      <a:gd name="connsiteY0" fmla="*/ 526712 h 537175"/>
                      <a:gd name="connsiteX1" fmla="*/ 115589 w 244484"/>
                      <a:gd name="connsiteY1" fmla="*/ 537176 h 537175"/>
                      <a:gd name="connsiteX2" fmla="*/ 244484 w 244484"/>
                      <a:gd name="connsiteY2" fmla="*/ 34356 h 537175"/>
                      <a:gd name="connsiteX3" fmla="*/ 34114 w 244484"/>
                      <a:gd name="connsiteY3" fmla="*/ 0 h 537175"/>
                      <a:gd name="connsiteX4" fmla="*/ 0 w 244484"/>
                      <a:gd name="connsiteY4" fmla="*/ 526712 h 537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4484" h="537175">
                        <a:moveTo>
                          <a:pt x="0" y="526712"/>
                        </a:moveTo>
                        <a:lnTo>
                          <a:pt x="115589" y="537176"/>
                        </a:lnTo>
                        <a:lnTo>
                          <a:pt x="244484" y="34356"/>
                        </a:lnTo>
                        <a:lnTo>
                          <a:pt x="34114" y="0"/>
                        </a:lnTo>
                        <a:lnTo>
                          <a:pt x="0" y="526712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1" name="Freihandform: Form 430">
                    <a:extLst>
                      <a:ext uri="{FF2B5EF4-FFF2-40B4-BE49-F238E27FC236}">
                        <a16:creationId xmlns:a16="http://schemas.microsoft.com/office/drawing/2014/main" id="{7946848D-7B34-E8D7-BDF3-A920E41851C5}"/>
                      </a:ext>
                    </a:extLst>
                  </p:cNvPr>
                  <p:cNvSpPr/>
                  <p:nvPr/>
                </p:nvSpPr>
                <p:spPr>
                  <a:xfrm>
                    <a:off x="228032" y="2857225"/>
                    <a:ext cx="213878" cy="213878"/>
                  </a:xfrm>
                  <a:custGeom>
                    <a:avLst/>
                    <a:gdLst>
                      <a:gd name="connsiteX0" fmla="*/ 213878 w 213878"/>
                      <a:gd name="connsiteY0" fmla="*/ 106939 h 213878"/>
                      <a:gd name="connsiteX1" fmla="*/ 106939 w 213878"/>
                      <a:gd name="connsiteY1" fmla="*/ 213878 h 213878"/>
                      <a:gd name="connsiteX2" fmla="*/ 0 w 213878"/>
                      <a:gd name="connsiteY2" fmla="*/ 106939 h 213878"/>
                      <a:gd name="connsiteX3" fmla="*/ 106939 w 213878"/>
                      <a:gd name="connsiteY3" fmla="*/ 0 h 213878"/>
                      <a:gd name="connsiteX4" fmla="*/ 213878 w 213878"/>
                      <a:gd name="connsiteY4" fmla="*/ 106939 h 21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3878" h="213878">
                        <a:moveTo>
                          <a:pt x="213878" y="106939"/>
                        </a:moveTo>
                        <a:cubicBezTo>
                          <a:pt x="213878" y="166000"/>
                          <a:pt x="166000" y="213878"/>
                          <a:pt x="106939" y="213878"/>
                        </a:cubicBezTo>
                        <a:cubicBezTo>
                          <a:pt x="47878" y="213878"/>
                          <a:pt x="0" y="166000"/>
                          <a:pt x="0" y="106939"/>
                        </a:cubicBezTo>
                        <a:cubicBezTo>
                          <a:pt x="0" y="47878"/>
                          <a:pt x="47878" y="0"/>
                          <a:pt x="106939" y="0"/>
                        </a:cubicBezTo>
                        <a:cubicBezTo>
                          <a:pt x="166000" y="0"/>
                          <a:pt x="213878" y="47878"/>
                          <a:pt x="213878" y="106939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2" name="Freihandform: Form 431">
                    <a:extLst>
                      <a:ext uri="{FF2B5EF4-FFF2-40B4-BE49-F238E27FC236}">
                        <a16:creationId xmlns:a16="http://schemas.microsoft.com/office/drawing/2014/main" id="{34014B00-1BCC-908E-A72C-11134A04F520}"/>
                      </a:ext>
                    </a:extLst>
                  </p:cNvPr>
                  <p:cNvSpPr/>
                  <p:nvPr/>
                </p:nvSpPr>
                <p:spPr>
                  <a:xfrm>
                    <a:off x="194280" y="3406377"/>
                    <a:ext cx="134944" cy="87451"/>
                  </a:xfrm>
                  <a:custGeom>
                    <a:avLst/>
                    <a:gdLst>
                      <a:gd name="connsiteX0" fmla="*/ 4899 w 134944"/>
                      <a:gd name="connsiteY0" fmla="*/ 0 h 87451"/>
                      <a:gd name="connsiteX1" fmla="*/ 0 w 134944"/>
                      <a:gd name="connsiteY1" fmla="*/ 75607 h 87451"/>
                      <a:gd name="connsiteX2" fmla="*/ 115528 w 134944"/>
                      <a:gd name="connsiteY2" fmla="*/ 86071 h 87451"/>
                      <a:gd name="connsiteX3" fmla="*/ 134944 w 134944"/>
                      <a:gd name="connsiteY3" fmla="*/ 10283 h 87451"/>
                      <a:gd name="connsiteX4" fmla="*/ 4839 w 134944"/>
                      <a:gd name="connsiteY4" fmla="*/ 0 h 874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4944" h="87451">
                        <a:moveTo>
                          <a:pt x="4899" y="0"/>
                        </a:moveTo>
                        <a:lnTo>
                          <a:pt x="0" y="75607"/>
                        </a:lnTo>
                        <a:cubicBezTo>
                          <a:pt x="36655" y="86676"/>
                          <a:pt x="75305" y="89519"/>
                          <a:pt x="115528" y="86071"/>
                        </a:cubicBezTo>
                        <a:lnTo>
                          <a:pt x="134944" y="10283"/>
                        </a:lnTo>
                        <a:lnTo>
                          <a:pt x="4839" y="0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33" name="Grafik 297">
                  <a:extLst>
                    <a:ext uri="{FF2B5EF4-FFF2-40B4-BE49-F238E27FC236}">
                      <a16:creationId xmlns:a16="http://schemas.microsoft.com/office/drawing/2014/main" id="{9C0B225F-D16E-1184-465F-D45B0308871A}"/>
                    </a:ext>
                  </a:extLst>
                </p:cNvPr>
                <p:cNvGrpSpPr/>
                <p:nvPr/>
              </p:nvGrpSpPr>
              <p:grpSpPr>
                <a:xfrm>
                  <a:off x="228455" y="2290411"/>
                  <a:ext cx="494351" cy="698612"/>
                  <a:chOff x="228455" y="2290411"/>
                  <a:chExt cx="494351" cy="698612"/>
                </a:xfrm>
              </p:grpSpPr>
              <p:sp>
                <p:nvSpPr>
                  <p:cNvPr id="434" name="Freihandform: Form 433">
                    <a:extLst>
                      <a:ext uri="{FF2B5EF4-FFF2-40B4-BE49-F238E27FC236}">
                        <a16:creationId xmlns:a16="http://schemas.microsoft.com/office/drawing/2014/main" id="{6AC75045-2628-3103-5DAA-2D44DAA1D762}"/>
                      </a:ext>
                    </a:extLst>
                  </p:cNvPr>
                  <p:cNvSpPr/>
                  <p:nvPr/>
                </p:nvSpPr>
                <p:spPr>
                  <a:xfrm>
                    <a:off x="237467" y="2772000"/>
                    <a:ext cx="265472" cy="217023"/>
                  </a:xfrm>
                  <a:custGeom>
                    <a:avLst/>
                    <a:gdLst>
                      <a:gd name="connsiteX0" fmla="*/ 0 w 265472"/>
                      <a:gd name="connsiteY0" fmla="*/ 148191 h 217023"/>
                      <a:gd name="connsiteX1" fmla="*/ 201297 w 265472"/>
                      <a:gd name="connsiteY1" fmla="*/ 217024 h 217023"/>
                      <a:gd name="connsiteX2" fmla="*/ 265473 w 265472"/>
                      <a:gd name="connsiteY2" fmla="*/ 95084 h 217023"/>
                      <a:gd name="connsiteX3" fmla="*/ 65567 w 265472"/>
                      <a:gd name="connsiteY3" fmla="*/ 0 h 217023"/>
                      <a:gd name="connsiteX4" fmla="*/ 0 w 265472"/>
                      <a:gd name="connsiteY4" fmla="*/ 148191 h 2170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5472" h="217023">
                        <a:moveTo>
                          <a:pt x="0" y="148191"/>
                        </a:moveTo>
                        <a:lnTo>
                          <a:pt x="201297" y="217024"/>
                        </a:lnTo>
                        <a:lnTo>
                          <a:pt x="265473" y="95084"/>
                        </a:lnTo>
                        <a:lnTo>
                          <a:pt x="65567" y="0"/>
                        </a:lnTo>
                        <a:lnTo>
                          <a:pt x="0" y="148191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5" name="Freihandform: Form 434">
                    <a:extLst>
                      <a:ext uri="{FF2B5EF4-FFF2-40B4-BE49-F238E27FC236}">
                        <a16:creationId xmlns:a16="http://schemas.microsoft.com/office/drawing/2014/main" id="{E484419E-9962-F876-2832-8C1D11CCE5F0}"/>
                      </a:ext>
                    </a:extLst>
                  </p:cNvPr>
                  <p:cNvSpPr/>
                  <p:nvPr/>
                </p:nvSpPr>
                <p:spPr>
                  <a:xfrm>
                    <a:off x="228455" y="2356643"/>
                    <a:ext cx="479532" cy="616231"/>
                  </a:xfrm>
                  <a:custGeom>
                    <a:avLst/>
                    <a:gdLst>
                      <a:gd name="connsiteX0" fmla="*/ 213576 w 479532"/>
                      <a:gd name="connsiteY0" fmla="*/ 60 h 616231"/>
                      <a:gd name="connsiteX1" fmla="*/ 0 w 479532"/>
                      <a:gd name="connsiteY1" fmla="*/ 525321 h 616231"/>
                      <a:gd name="connsiteX2" fmla="*/ 252347 w 479532"/>
                      <a:gd name="connsiteY2" fmla="*/ 616231 h 616231"/>
                      <a:gd name="connsiteX3" fmla="*/ 479533 w 479532"/>
                      <a:gd name="connsiteY3" fmla="*/ 153574 h 616231"/>
                      <a:gd name="connsiteX4" fmla="*/ 213515 w 479532"/>
                      <a:gd name="connsiteY4" fmla="*/ 0 h 6162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79532" h="616231">
                        <a:moveTo>
                          <a:pt x="213576" y="60"/>
                        </a:moveTo>
                        <a:cubicBezTo>
                          <a:pt x="130650" y="109963"/>
                          <a:pt x="0" y="525321"/>
                          <a:pt x="0" y="525321"/>
                        </a:cubicBezTo>
                        <a:lnTo>
                          <a:pt x="252347" y="616231"/>
                        </a:lnTo>
                        <a:lnTo>
                          <a:pt x="479533" y="153574"/>
                        </a:lnTo>
                        <a:cubicBezTo>
                          <a:pt x="397272" y="103854"/>
                          <a:pt x="353359" y="77785"/>
                          <a:pt x="213515" y="0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6" name="Freihandform: Form 435">
                    <a:extLst>
                      <a:ext uri="{FF2B5EF4-FFF2-40B4-BE49-F238E27FC236}">
                        <a16:creationId xmlns:a16="http://schemas.microsoft.com/office/drawing/2014/main" id="{15F28F44-AB44-F59F-E144-8414F2D692F5}"/>
                      </a:ext>
                    </a:extLst>
                  </p:cNvPr>
                  <p:cNvSpPr/>
                  <p:nvPr/>
                </p:nvSpPr>
                <p:spPr>
                  <a:xfrm>
                    <a:off x="414570" y="2290411"/>
                    <a:ext cx="308236" cy="308236"/>
                  </a:xfrm>
                  <a:custGeom>
                    <a:avLst/>
                    <a:gdLst>
                      <a:gd name="connsiteX0" fmla="*/ 308236 w 308236"/>
                      <a:gd name="connsiteY0" fmla="*/ 154118 h 308236"/>
                      <a:gd name="connsiteX1" fmla="*/ 154118 w 308236"/>
                      <a:gd name="connsiteY1" fmla="*/ 308237 h 308236"/>
                      <a:gd name="connsiteX2" fmla="*/ 0 w 308236"/>
                      <a:gd name="connsiteY2" fmla="*/ 154118 h 308236"/>
                      <a:gd name="connsiteX3" fmla="*/ 154118 w 308236"/>
                      <a:gd name="connsiteY3" fmla="*/ 0 h 308236"/>
                      <a:gd name="connsiteX4" fmla="*/ 308236 w 308236"/>
                      <a:gd name="connsiteY4" fmla="*/ 154118 h 3082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8236" h="308236">
                        <a:moveTo>
                          <a:pt x="308236" y="154118"/>
                        </a:moveTo>
                        <a:cubicBezTo>
                          <a:pt x="308236" y="239235"/>
                          <a:pt x="239235" y="308237"/>
                          <a:pt x="154118" y="308237"/>
                        </a:cubicBezTo>
                        <a:cubicBezTo>
                          <a:pt x="69001" y="308237"/>
                          <a:pt x="0" y="239235"/>
                          <a:pt x="0" y="154118"/>
                        </a:cubicBezTo>
                        <a:cubicBezTo>
                          <a:pt x="0" y="69001"/>
                          <a:pt x="69001" y="0"/>
                          <a:pt x="154118" y="0"/>
                        </a:cubicBezTo>
                        <a:cubicBezTo>
                          <a:pt x="239235" y="0"/>
                          <a:pt x="308236" y="69001"/>
                          <a:pt x="308236" y="15411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37" name="Grafik 297">
                  <a:extLst>
                    <a:ext uri="{FF2B5EF4-FFF2-40B4-BE49-F238E27FC236}">
                      <a16:creationId xmlns:a16="http://schemas.microsoft.com/office/drawing/2014/main" id="{350E551F-2075-A471-9F9C-DA200AC653B4}"/>
                    </a:ext>
                  </a:extLst>
                </p:cNvPr>
                <p:cNvGrpSpPr/>
                <p:nvPr/>
              </p:nvGrpSpPr>
              <p:grpSpPr>
                <a:xfrm>
                  <a:off x="1011981" y="4899413"/>
                  <a:ext cx="528917" cy="254497"/>
                  <a:chOff x="1011981" y="4899413"/>
                  <a:chExt cx="528917" cy="254497"/>
                </a:xfrm>
              </p:grpSpPr>
              <p:sp>
                <p:nvSpPr>
                  <p:cNvPr id="438" name="Freihandform: Form 437">
                    <a:extLst>
                      <a:ext uri="{FF2B5EF4-FFF2-40B4-BE49-F238E27FC236}">
                        <a16:creationId xmlns:a16="http://schemas.microsoft.com/office/drawing/2014/main" id="{AC218323-0BCF-3C67-2B26-E0282E13A7E7}"/>
                      </a:ext>
                    </a:extLst>
                  </p:cNvPr>
                  <p:cNvSpPr/>
                  <p:nvPr/>
                </p:nvSpPr>
                <p:spPr>
                  <a:xfrm>
                    <a:off x="1011981" y="4899413"/>
                    <a:ext cx="527136" cy="243225"/>
                  </a:xfrm>
                  <a:custGeom>
                    <a:avLst/>
                    <a:gdLst>
                      <a:gd name="connsiteX0" fmla="*/ 14162 w 527136"/>
                      <a:gd name="connsiteY0" fmla="*/ 88430 h 243225"/>
                      <a:gd name="connsiteX1" fmla="*/ 5876 w 527136"/>
                      <a:gd name="connsiteY1" fmla="*/ 184845 h 243225"/>
                      <a:gd name="connsiteX2" fmla="*/ 25776 w 527136"/>
                      <a:gd name="connsiteY2" fmla="*/ 233778 h 243225"/>
                      <a:gd name="connsiteX3" fmla="*/ 45071 w 527136"/>
                      <a:gd name="connsiteY3" fmla="*/ 242609 h 243225"/>
                      <a:gd name="connsiteX4" fmla="*/ 505550 w 527136"/>
                      <a:gd name="connsiteY4" fmla="*/ 72281 h 243225"/>
                      <a:gd name="connsiteX5" fmla="*/ 490066 w 527136"/>
                      <a:gd name="connsiteY5" fmla="*/ 0 h 243225"/>
                      <a:gd name="connsiteX6" fmla="*/ 307822 w 527136"/>
                      <a:gd name="connsiteY6" fmla="*/ 27824 h 243225"/>
                      <a:gd name="connsiteX7" fmla="*/ 169309 w 527136"/>
                      <a:gd name="connsiteY7" fmla="*/ 18811 h 243225"/>
                      <a:gd name="connsiteX8" fmla="*/ 146506 w 527136"/>
                      <a:gd name="connsiteY8" fmla="*/ 63510 h 243225"/>
                      <a:gd name="connsiteX9" fmla="*/ 14223 w 527136"/>
                      <a:gd name="connsiteY9" fmla="*/ 88491 h 2432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527136" h="243225">
                        <a:moveTo>
                          <a:pt x="14162" y="88430"/>
                        </a:moveTo>
                        <a:cubicBezTo>
                          <a:pt x="14162" y="88430"/>
                          <a:pt x="-11121" y="138876"/>
                          <a:pt x="5876" y="184845"/>
                        </a:cubicBezTo>
                        <a:cubicBezTo>
                          <a:pt x="14646" y="208616"/>
                          <a:pt x="21360" y="224222"/>
                          <a:pt x="25776" y="233778"/>
                        </a:cubicBezTo>
                        <a:cubicBezTo>
                          <a:pt x="29163" y="241037"/>
                          <a:pt x="37329" y="244787"/>
                          <a:pt x="45071" y="242609"/>
                        </a:cubicBezTo>
                        <a:cubicBezTo>
                          <a:pt x="110819" y="223980"/>
                          <a:pt x="446516" y="134702"/>
                          <a:pt x="505550" y="72281"/>
                        </a:cubicBezTo>
                        <a:cubicBezTo>
                          <a:pt x="561923" y="12702"/>
                          <a:pt x="490066" y="0"/>
                          <a:pt x="490066" y="0"/>
                        </a:cubicBezTo>
                        <a:cubicBezTo>
                          <a:pt x="490066" y="0"/>
                          <a:pt x="389599" y="46454"/>
                          <a:pt x="307822" y="27824"/>
                        </a:cubicBezTo>
                        <a:cubicBezTo>
                          <a:pt x="234997" y="11251"/>
                          <a:pt x="178926" y="11614"/>
                          <a:pt x="169309" y="18811"/>
                        </a:cubicBezTo>
                        <a:cubicBezTo>
                          <a:pt x="159692" y="26009"/>
                          <a:pt x="161506" y="44336"/>
                          <a:pt x="146506" y="63510"/>
                        </a:cubicBezTo>
                        <a:cubicBezTo>
                          <a:pt x="131505" y="82685"/>
                          <a:pt x="23840" y="79963"/>
                          <a:pt x="14223" y="88491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9" name="Freihandform: Form 438">
                    <a:extLst>
                      <a:ext uri="{FF2B5EF4-FFF2-40B4-BE49-F238E27FC236}">
                        <a16:creationId xmlns:a16="http://schemas.microsoft.com/office/drawing/2014/main" id="{DAFD54A2-D098-ECCA-3B3B-C138E65B8743}"/>
                      </a:ext>
                    </a:extLst>
                  </p:cNvPr>
                  <p:cNvSpPr/>
                  <p:nvPr/>
                </p:nvSpPr>
                <p:spPr>
                  <a:xfrm>
                    <a:off x="1023059" y="4902195"/>
                    <a:ext cx="517840" cy="251715"/>
                  </a:xfrm>
                  <a:custGeom>
                    <a:avLst/>
                    <a:gdLst>
                      <a:gd name="connsiteX0" fmla="*/ 37380 w 517840"/>
                      <a:gd name="connsiteY0" fmla="*/ 251077 h 251715"/>
                      <a:gd name="connsiteX1" fmla="*/ 432596 w 517840"/>
                      <a:gd name="connsiteY1" fmla="*/ 120004 h 251715"/>
                      <a:gd name="connsiteX2" fmla="*/ 496469 w 517840"/>
                      <a:gd name="connsiteY2" fmla="*/ 74761 h 251715"/>
                      <a:gd name="connsiteX3" fmla="*/ 489694 w 517840"/>
                      <a:gd name="connsiteY3" fmla="*/ 0 h 251715"/>
                      <a:gd name="connsiteX4" fmla="*/ 474149 w 517840"/>
                      <a:gd name="connsiteY4" fmla="*/ 33146 h 251715"/>
                      <a:gd name="connsiteX5" fmla="*/ 0 w 517840"/>
                      <a:gd name="connsiteY5" fmla="*/ 196035 h 251715"/>
                      <a:gd name="connsiteX6" fmla="*/ 17964 w 517840"/>
                      <a:gd name="connsiteY6" fmla="*/ 242186 h 251715"/>
                      <a:gd name="connsiteX7" fmla="*/ 37320 w 517840"/>
                      <a:gd name="connsiteY7" fmla="*/ 251077 h 2517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17840" h="251715">
                        <a:moveTo>
                          <a:pt x="37380" y="251077"/>
                        </a:moveTo>
                        <a:cubicBezTo>
                          <a:pt x="38832" y="250654"/>
                          <a:pt x="431386" y="120609"/>
                          <a:pt x="432596" y="120004"/>
                        </a:cubicBezTo>
                        <a:cubicBezTo>
                          <a:pt x="466407" y="105004"/>
                          <a:pt x="484734" y="87221"/>
                          <a:pt x="496469" y="74761"/>
                        </a:cubicBezTo>
                        <a:cubicBezTo>
                          <a:pt x="538688" y="30122"/>
                          <a:pt x="508506" y="4234"/>
                          <a:pt x="489694" y="0"/>
                        </a:cubicBezTo>
                        <a:cubicBezTo>
                          <a:pt x="486428" y="7319"/>
                          <a:pt x="483283" y="23469"/>
                          <a:pt x="474149" y="33146"/>
                        </a:cubicBezTo>
                        <a:cubicBezTo>
                          <a:pt x="411788" y="99076"/>
                          <a:pt x="41856" y="185631"/>
                          <a:pt x="0" y="196035"/>
                        </a:cubicBezTo>
                        <a:cubicBezTo>
                          <a:pt x="7621" y="216298"/>
                          <a:pt x="13972" y="233476"/>
                          <a:pt x="17964" y="242186"/>
                        </a:cubicBezTo>
                        <a:cubicBezTo>
                          <a:pt x="21352" y="249505"/>
                          <a:pt x="29517" y="253315"/>
                          <a:pt x="37320" y="251077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40" name="Grafik 297">
                  <a:extLst>
                    <a:ext uri="{FF2B5EF4-FFF2-40B4-BE49-F238E27FC236}">
                      <a16:creationId xmlns:a16="http://schemas.microsoft.com/office/drawing/2014/main" id="{18743901-C8B4-CA59-1F5C-C158022821E7}"/>
                    </a:ext>
                  </a:extLst>
                </p:cNvPr>
                <p:cNvGrpSpPr/>
                <p:nvPr/>
              </p:nvGrpSpPr>
              <p:grpSpPr>
                <a:xfrm>
                  <a:off x="741194" y="4087994"/>
                  <a:ext cx="551329" cy="969001"/>
                  <a:chOff x="741194" y="4087994"/>
                  <a:chExt cx="551329" cy="969001"/>
                </a:xfrm>
                <a:solidFill>
                  <a:srgbClr val="02787D"/>
                </a:solidFill>
              </p:grpSpPr>
              <p:sp>
                <p:nvSpPr>
                  <p:cNvPr id="441" name="Freihandform: Form 440">
                    <a:extLst>
                      <a:ext uri="{FF2B5EF4-FFF2-40B4-BE49-F238E27FC236}">
                        <a16:creationId xmlns:a16="http://schemas.microsoft.com/office/drawing/2014/main" id="{EDD8BBA0-D9F3-780E-7AB4-2B3BFC3F9537}"/>
                      </a:ext>
                    </a:extLst>
                  </p:cNvPr>
                  <p:cNvSpPr/>
                  <p:nvPr/>
                </p:nvSpPr>
                <p:spPr>
                  <a:xfrm>
                    <a:off x="753352" y="4197221"/>
                    <a:ext cx="539171" cy="859774"/>
                  </a:xfrm>
                  <a:custGeom>
                    <a:avLst/>
                    <a:gdLst>
                      <a:gd name="connsiteX0" fmla="*/ 258638 w 539171"/>
                      <a:gd name="connsiteY0" fmla="*/ 859637 h 859774"/>
                      <a:gd name="connsiteX1" fmla="*/ 539172 w 539171"/>
                      <a:gd name="connsiteY1" fmla="*/ 728141 h 859774"/>
                      <a:gd name="connsiteX2" fmla="*/ 437253 w 539171"/>
                      <a:gd name="connsiteY2" fmla="*/ 484685 h 859774"/>
                      <a:gd name="connsiteX3" fmla="*/ 309930 w 539171"/>
                      <a:gd name="connsiteY3" fmla="*/ 10535 h 859774"/>
                      <a:gd name="connsiteX4" fmla="*/ 0 w 539171"/>
                      <a:gd name="connsiteY4" fmla="*/ 117172 h 859774"/>
                      <a:gd name="connsiteX5" fmla="*/ 169905 w 539171"/>
                      <a:gd name="connsiteY5" fmla="*/ 715257 h 859774"/>
                      <a:gd name="connsiteX6" fmla="*/ 258638 w 539171"/>
                      <a:gd name="connsiteY6" fmla="*/ 859637 h 8597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39171" h="859774">
                        <a:moveTo>
                          <a:pt x="258638" y="859637"/>
                        </a:moveTo>
                        <a:lnTo>
                          <a:pt x="539172" y="728141"/>
                        </a:lnTo>
                        <a:cubicBezTo>
                          <a:pt x="539172" y="728141"/>
                          <a:pt x="448685" y="518133"/>
                          <a:pt x="437253" y="484685"/>
                        </a:cubicBezTo>
                        <a:cubicBezTo>
                          <a:pt x="425821" y="451236"/>
                          <a:pt x="309930" y="10535"/>
                          <a:pt x="309930" y="10535"/>
                        </a:cubicBezTo>
                        <a:cubicBezTo>
                          <a:pt x="194099" y="-20676"/>
                          <a:pt x="72160" y="18217"/>
                          <a:pt x="0" y="117172"/>
                        </a:cubicBezTo>
                        <a:cubicBezTo>
                          <a:pt x="26372" y="349740"/>
                          <a:pt x="140327" y="605535"/>
                          <a:pt x="169905" y="715257"/>
                        </a:cubicBezTo>
                        <a:cubicBezTo>
                          <a:pt x="187930" y="782276"/>
                          <a:pt x="222407" y="863569"/>
                          <a:pt x="258638" y="859637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2" name="Freihandform: Form 441">
                    <a:extLst>
                      <a:ext uri="{FF2B5EF4-FFF2-40B4-BE49-F238E27FC236}">
                        <a16:creationId xmlns:a16="http://schemas.microsoft.com/office/drawing/2014/main" id="{691B106E-B2F2-4620-A188-DBEC1AF28681}"/>
                      </a:ext>
                    </a:extLst>
                  </p:cNvPr>
                  <p:cNvSpPr/>
                  <p:nvPr/>
                </p:nvSpPr>
                <p:spPr>
                  <a:xfrm>
                    <a:off x="741194" y="4087994"/>
                    <a:ext cx="328196" cy="328196"/>
                  </a:xfrm>
                  <a:custGeom>
                    <a:avLst/>
                    <a:gdLst>
                      <a:gd name="connsiteX0" fmla="*/ 328197 w 328196"/>
                      <a:gd name="connsiteY0" fmla="*/ 164098 h 328196"/>
                      <a:gd name="connsiteX1" fmla="*/ 164098 w 328196"/>
                      <a:gd name="connsiteY1" fmla="*/ 328197 h 328196"/>
                      <a:gd name="connsiteX2" fmla="*/ 0 w 328196"/>
                      <a:gd name="connsiteY2" fmla="*/ 164098 h 328196"/>
                      <a:gd name="connsiteX3" fmla="*/ 164098 w 328196"/>
                      <a:gd name="connsiteY3" fmla="*/ 0 h 328196"/>
                      <a:gd name="connsiteX4" fmla="*/ 328197 w 328196"/>
                      <a:gd name="connsiteY4" fmla="*/ 164098 h 3281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8196" h="328196">
                        <a:moveTo>
                          <a:pt x="328197" y="164098"/>
                        </a:moveTo>
                        <a:cubicBezTo>
                          <a:pt x="328197" y="254727"/>
                          <a:pt x="254727" y="328197"/>
                          <a:pt x="164098" y="328197"/>
                        </a:cubicBezTo>
                        <a:cubicBezTo>
                          <a:pt x="73469" y="328197"/>
                          <a:pt x="0" y="254727"/>
                          <a:pt x="0" y="164098"/>
                        </a:cubicBezTo>
                        <a:cubicBezTo>
                          <a:pt x="0" y="73469"/>
                          <a:pt x="73469" y="0"/>
                          <a:pt x="164098" y="0"/>
                        </a:cubicBezTo>
                        <a:cubicBezTo>
                          <a:pt x="254727" y="0"/>
                          <a:pt x="328197" y="73469"/>
                          <a:pt x="328197" y="16409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43" name="Grafik 297">
                  <a:extLst>
                    <a:ext uri="{FF2B5EF4-FFF2-40B4-BE49-F238E27FC236}">
                      <a16:creationId xmlns:a16="http://schemas.microsoft.com/office/drawing/2014/main" id="{7F182C8F-B976-6A77-380B-3E0A6BAA7389}"/>
                    </a:ext>
                  </a:extLst>
                </p:cNvPr>
                <p:cNvGrpSpPr/>
                <p:nvPr/>
              </p:nvGrpSpPr>
              <p:grpSpPr>
                <a:xfrm>
                  <a:off x="415417" y="3058220"/>
                  <a:ext cx="647865" cy="1260991"/>
                  <a:chOff x="415417" y="3058220"/>
                  <a:chExt cx="647865" cy="1260991"/>
                </a:xfrm>
                <a:solidFill>
                  <a:srgbClr val="02787D"/>
                </a:solidFill>
              </p:grpSpPr>
              <p:sp>
                <p:nvSpPr>
                  <p:cNvPr id="444" name="Freihandform: Form 443">
                    <a:extLst>
                      <a:ext uri="{FF2B5EF4-FFF2-40B4-BE49-F238E27FC236}">
                        <a16:creationId xmlns:a16="http://schemas.microsoft.com/office/drawing/2014/main" id="{EB0DE10F-920D-C1D0-C328-3B039D26F312}"/>
                      </a:ext>
                    </a:extLst>
                  </p:cNvPr>
                  <p:cNvSpPr/>
                  <p:nvPr/>
                </p:nvSpPr>
                <p:spPr>
                  <a:xfrm>
                    <a:off x="422857" y="3262239"/>
                    <a:ext cx="640425" cy="1056972"/>
                  </a:xfrm>
                  <a:custGeom>
                    <a:avLst/>
                    <a:gdLst>
                      <a:gd name="connsiteX0" fmla="*/ 60 w 640425"/>
                      <a:gd name="connsiteY0" fmla="*/ 100588 h 1056972"/>
                      <a:gd name="connsiteX1" fmla="*/ 478021 w 640425"/>
                      <a:gd name="connsiteY1" fmla="*/ 0 h 1056972"/>
                      <a:gd name="connsiteX2" fmla="*/ 559616 w 640425"/>
                      <a:gd name="connsiteY2" fmla="*/ 405861 h 1056972"/>
                      <a:gd name="connsiteX3" fmla="*/ 640425 w 640425"/>
                      <a:gd name="connsiteY3" fmla="*/ 945517 h 1056972"/>
                      <a:gd name="connsiteX4" fmla="*/ 330616 w 640425"/>
                      <a:gd name="connsiteY4" fmla="*/ 1052396 h 1056972"/>
                      <a:gd name="connsiteX5" fmla="*/ 0 w 640425"/>
                      <a:gd name="connsiteY5" fmla="*/ 100588 h 10569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40425" h="1056972">
                        <a:moveTo>
                          <a:pt x="60" y="100588"/>
                        </a:moveTo>
                        <a:cubicBezTo>
                          <a:pt x="6049" y="100588"/>
                          <a:pt x="478021" y="0"/>
                          <a:pt x="478021" y="0"/>
                        </a:cubicBezTo>
                        <a:cubicBezTo>
                          <a:pt x="478021" y="0"/>
                          <a:pt x="539837" y="303216"/>
                          <a:pt x="559616" y="405861"/>
                        </a:cubicBezTo>
                        <a:cubicBezTo>
                          <a:pt x="635466" y="799141"/>
                          <a:pt x="640425" y="945517"/>
                          <a:pt x="640425" y="945517"/>
                        </a:cubicBezTo>
                        <a:cubicBezTo>
                          <a:pt x="558043" y="1025600"/>
                          <a:pt x="438765" y="1072295"/>
                          <a:pt x="330616" y="1052396"/>
                        </a:cubicBezTo>
                        <a:cubicBezTo>
                          <a:pt x="265654" y="932149"/>
                          <a:pt x="64055" y="315555"/>
                          <a:pt x="0" y="10058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5" name="Freihandform: Form 444">
                    <a:extLst>
                      <a:ext uri="{FF2B5EF4-FFF2-40B4-BE49-F238E27FC236}">
                        <a16:creationId xmlns:a16="http://schemas.microsoft.com/office/drawing/2014/main" id="{DDAC25BC-8211-019E-7578-D3B500E8CE3A}"/>
                      </a:ext>
                    </a:extLst>
                  </p:cNvPr>
                  <p:cNvSpPr/>
                  <p:nvPr/>
                </p:nvSpPr>
                <p:spPr>
                  <a:xfrm>
                    <a:off x="415417" y="3058220"/>
                    <a:ext cx="488847" cy="488847"/>
                  </a:xfrm>
                  <a:custGeom>
                    <a:avLst/>
                    <a:gdLst>
                      <a:gd name="connsiteX0" fmla="*/ 488848 w 488847"/>
                      <a:gd name="connsiteY0" fmla="*/ 244424 h 488847"/>
                      <a:gd name="connsiteX1" fmla="*/ 244424 w 488847"/>
                      <a:gd name="connsiteY1" fmla="*/ 488848 h 488847"/>
                      <a:gd name="connsiteX2" fmla="*/ 0 w 488847"/>
                      <a:gd name="connsiteY2" fmla="*/ 244424 h 488847"/>
                      <a:gd name="connsiteX3" fmla="*/ 244424 w 488847"/>
                      <a:gd name="connsiteY3" fmla="*/ 0 h 488847"/>
                      <a:gd name="connsiteX4" fmla="*/ 488848 w 488847"/>
                      <a:gd name="connsiteY4" fmla="*/ 244424 h 4888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88847" h="488847">
                        <a:moveTo>
                          <a:pt x="488848" y="244424"/>
                        </a:moveTo>
                        <a:cubicBezTo>
                          <a:pt x="488848" y="379415"/>
                          <a:pt x="379415" y="488848"/>
                          <a:pt x="244424" y="488848"/>
                        </a:cubicBezTo>
                        <a:cubicBezTo>
                          <a:pt x="109432" y="488848"/>
                          <a:pt x="0" y="379415"/>
                          <a:pt x="0" y="244424"/>
                        </a:cubicBezTo>
                        <a:cubicBezTo>
                          <a:pt x="0" y="109432"/>
                          <a:pt x="109432" y="0"/>
                          <a:pt x="244424" y="0"/>
                        </a:cubicBezTo>
                        <a:cubicBezTo>
                          <a:pt x="379415" y="0"/>
                          <a:pt x="488848" y="109432"/>
                          <a:pt x="488848" y="244424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46" name="Grafik 297">
                  <a:extLst>
                    <a:ext uri="{FF2B5EF4-FFF2-40B4-BE49-F238E27FC236}">
                      <a16:creationId xmlns:a16="http://schemas.microsoft.com/office/drawing/2014/main" id="{85BF5121-1219-0FC2-7ED8-15976E2A0E1C}"/>
                    </a:ext>
                  </a:extLst>
                </p:cNvPr>
                <p:cNvGrpSpPr/>
                <p:nvPr/>
              </p:nvGrpSpPr>
              <p:grpSpPr>
                <a:xfrm>
                  <a:off x="48" y="4970823"/>
                  <a:ext cx="543691" cy="226344"/>
                  <a:chOff x="48" y="4970823"/>
                  <a:chExt cx="543691" cy="226344"/>
                </a:xfrm>
              </p:grpSpPr>
              <p:sp>
                <p:nvSpPr>
                  <p:cNvPr id="447" name="Freihandform: Form 446">
                    <a:extLst>
                      <a:ext uri="{FF2B5EF4-FFF2-40B4-BE49-F238E27FC236}">
                        <a16:creationId xmlns:a16="http://schemas.microsoft.com/office/drawing/2014/main" id="{95E220C9-A200-AF2C-3BB6-222A2991B0DB}"/>
                      </a:ext>
                    </a:extLst>
                  </p:cNvPr>
                  <p:cNvSpPr/>
                  <p:nvPr/>
                </p:nvSpPr>
                <p:spPr>
                  <a:xfrm>
                    <a:off x="2105" y="4970823"/>
                    <a:ext cx="540897" cy="215866"/>
                  </a:xfrm>
                  <a:custGeom>
                    <a:avLst/>
                    <a:gdLst>
                      <a:gd name="connsiteX0" fmla="*/ 55780 w 540897"/>
                      <a:gd name="connsiteY0" fmla="*/ 23 h 215866"/>
                      <a:gd name="connsiteX1" fmla="*/ 4548 w 540897"/>
                      <a:gd name="connsiteY1" fmla="*/ 82163 h 215866"/>
                      <a:gd name="connsiteX2" fmla="*/ 12 w 540897"/>
                      <a:gd name="connsiteY2" fmla="*/ 134786 h 215866"/>
                      <a:gd name="connsiteX3" fmla="*/ 13198 w 540897"/>
                      <a:gd name="connsiteY3" fmla="*/ 151420 h 215866"/>
                      <a:gd name="connsiteX4" fmla="*/ 500775 w 540897"/>
                      <a:gd name="connsiteY4" fmla="*/ 209244 h 215866"/>
                      <a:gd name="connsiteX5" fmla="*/ 519889 w 540897"/>
                      <a:gd name="connsiteY5" fmla="*/ 137810 h 215866"/>
                      <a:gd name="connsiteX6" fmla="*/ 344903 w 540897"/>
                      <a:gd name="connsiteY6" fmla="*/ 79683 h 215866"/>
                      <a:gd name="connsiteX7" fmla="*/ 225685 w 540897"/>
                      <a:gd name="connsiteY7" fmla="*/ 8612 h 215866"/>
                      <a:gd name="connsiteX8" fmla="*/ 185038 w 540897"/>
                      <a:gd name="connsiteY8" fmla="*/ 38069 h 215866"/>
                      <a:gd name="connsiteX9" fmla="*/ 55901 w 540897"/>
                      <a:gd name="connsiteY9" fmla="*/ 144 h 2158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540897" h="215866">
                        <a:moveTo>
                          <a:pt x="55780" y="23"/>
                        </a:moveTo>
                        <a:cubicBezTo>
                          <a:pt x="55780" y="23"/>
                          <a:pt x="10294" y="33472"/>
                          <a:pt x="4548" y="82163"/>
                        </a:cubicBezTo>
                        <a:cubicBezTo>
                          <a:pt x="1524" y="107386"/>
                          <a:pt x="435" y="124322"/>
                          <a:pt x="12" y="134786"/>
                        </a:cubicBezTo>
                        <a:cubicBezTo>
                          <a:pt x="-291" y="142831"/>
                          <a:pt x="5274" y="149847"/>
                          <a:pt x="13198" y="151420"/>
                        </a:cubicBezTo>
                        <a:cubicBezTo>
                          <a:pt x="80216" y="164727"/>
                          <a:pt x="419784" y="237975"/>
                          <a:pt x="500775" y="209244"/>
                        </a:cubicBezTo>
                        <a:cubicBezTo>
                          <a:pt x="578076" y="181844"/>
                          <a:pt x="519889" y="137810"/>
                          <a:pt x="519889" y="137810"/>
                        </a:cubicBezTo>
                        <a:cubicBezTo>
                          <a:pt x="519889" y="137810"/>
                          <a:pt x="409260" y="133455"/>
                          <a:pt x="344903" y="79683"/>
                        </a:cubicBezTo>
                        <a:cubicBezTo>
                          <a:pt x="287623" y="31778"/>
                          <a:pt x="237480" y="6616"/>
                          <a:pt x="225685" y="8612"/>
                        </a:cubicBezTo>
                        <a:cubicBezTo>
                          <a:pt x="213830" y="10608"/>
                          <a:pt x="207116" y="27786"/>
                          <a:pt x="185038" y="38069"/>
                        </a:cubicBezTo>
                        <a:cubicBezTo>
                          <a:pt x="162961" y="48352"/>
                          <a:pt x="68361" y="-3061"/>
                          <a:pt x="55901" y="144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8" name="Freihandform: Form 447">
                    <a:extLst>
                      <a:ext uri="{FF2B5EF4-FFF2-40B4-BE49-F238E27FC236}">
                        <a16:creationId xmlns:a16="http://schemas.microsoft.com/office/drawing/2014/main" id="{01D95072-F151-5EFE-80A1-7E55AFDA9254}"/>
                      </a:ext>
                    </a:extLst>
                  </p:cNvPr>
                  <p:cNvSpPr/>
                  <p:nvPr/>
                </p:nvSpPr>
                <p:spPr>
                  <a:xfrm>
                    <a:off x="48" y="5067745"/>
                    <a:ext cx="543691" cy="129422"/>
                  </a:xfrm>
                  <a:custGeom>
                    <a:avLst/>
                    <a:gdLst>
                      <a:gd name="connsiteX0" fmla="*/ 13137 w 543691"/>
                      <a:gd name="connsiteY0" fmla="*/ 65990 h 129422"/>
                      <a:gd name="connsiteX1" fmla="*/ 424744 w 543691"/>
                      <a:gd name="connsiteY1" fmla="*/ 129077 h 129422"/>
                      <a:gd name="connsiteX2" fmla="*/ 502227 w 543691"/>
                      <a:gd name="connsiteY2" fmla="*/ 117887 h 129422"/>
                      <a:gd name="connsiteX3" fmla="*/ 530232 w 543691"/>
                      <a:gd name="connsiteY3" fmla="*/ 48208 h 129422"/>
                      <a:gd name="connsiteX4" fmla="*/ 501319 w 543691"/>
                      <a:gd name="connsiteY4" fmla="*/ 70648 h 129422"/>
                      <a:gd name="connsiteX5" fmla="*/ 4972 w 543691"/>
                      <a:gd name="connsiteY5" fmla="*/ 0 h 129422"/>
                      <a:gd name="connsiteX6" fmla="*/ 12 w 543691"/>
                      <a:gd name="connsiteY6" fmla="*/ 49236 h 129422"/>
                      <a:gd name="connsiteX7" fmla="*/ 13198 w 543691"/>
                      <a:gd name="connsiteY7" fmla="*/ 65930 h 129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43691" h="129422">
                        <a:moveTo>
                          <a:pt x="13137" y="65990"/>
                        </a:moveTo>
                        <a:cubicBezTo>
                          <a:pt x="14649" y="66293"/>
                          <a:pt x="423353" y="129017"/>
                          <a:pt x="424744" y="129077"/>
                        </a:cubicBezTo>
                        <a:cubicBezTo>
                          <a:pt x="461701" y="131134"/>
                          <a:pt x="486077" y="123573"/>
                          <a:pt x="502227" y="117887"/>
                        </a:cubicBezTo>
                        <a:cubicBezTo>
                          <a:pt x="560112" y="97322"/>
                          <a:pt x="544990" y="60547"/>
                          <a:pt x="530232" y="48208"/>
                        </a:cubicBezTo>
                        <a:cubicBezTo>
                          <a:pt x="524002" y="53228"/>
                          <a:pt x="513840" y="66232"/>
                          <a:pt x="501319" y="70648"/>
                        </a:cubicBezTo>
                        <a:cubicBezTo>
                          <a:pt x="415792" y="101012"/>
                          <a:pt x="46949" y="9799"/>
                          <a:pt x="4972" y="0"/>
                        </a:cubicBezTo>
                        <a:cubicBezTo>
                          <a:pt x="2552" y="21533"/>
                          <a:pt x="375" y="39679"/>
                          <a:pt x="12" y="49236"/>
                        </a:cubicBezTo>
                        <a:cubicBezTo>
                          <a:pt x="-291" y="57280"/>
                          <a:pt x="5274" y="64357"/>
                          <a:pt x="13198" y="65930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49" name="Grafik 297">
                  <a:extLst>
                    <a:ext uri="{FF2B5EF4-FFF2-40B4-BE49-F238E27FC236}">
                      <a16:creationId xmlns:a16="http://schemas.microsoft.com/office/drawing/2014/main" id="{5F0F7808-B71B-9E72-7695-B30E90208A80}"/>
                    </a:ext>
                  </a:extLst>
                </p:cNvPr>
                <p:cNvGrpSpPr/>
                <p:nvPr/>
              </p:nvGrpSpPr>
              <p:grpSpPr>
                <a:xfrm>
                  <a:off x="16751" y="4091502"/>
                  <a:ext cx="531069" cy="960275"/>
                  <a:chOff x="16751" y="4091502"/>
                  <a:chExt cx="531069" cy="960275"/>
                </a:xfrm>
                <a:solidFill>
                  <a:srgbClr val="009999"/>
                </a:solidFill>
              </p:grpSpPr>
              <p:sp>
                <p:nvSpPr>
                  <p:cNvPr id="450" name="Freihandform: Form 449">
                    <a:extLst>
                      <a:ext uri="{FF2B5EF4-FFF2-40B4-BE49-F238E27FC236}">
                        <a16:creationId xmlns:a16="http://schemas.microsoft.com/office/drawing/2014/main" id="{68E79449-6B33-494D-9AA3-ABA12D527170}"/>
                      </a:ext>
                    </a:extLst>
                  </p:cNvPr>
                  <p:cNvSpPr/>
                  <p:nvPr/>
                </p:nvSpPr>
                <p:spPr>
                  <a:xfrm>
                    <a:off x="16751" y="4199963"/>
                    <a:ext cx="525868" cy="851813"/>
                  </a:xfrm>
                  <a:custGeom>
                    <a:avLst/>
                    <a:gdLst>
                      <a:gd name="connsiteX0" fmla="*/ 206926 w 525868"/>
                      <a:gd name="connsiteY0" fmla="*/ 20132 h 851813"/>
                      <a:gd name="connsiteX1" fmla="*/ 29944 w 525868"/>
                      <a:gd name="connsiteY1" fmla="*/ 616221 h 851813"/>
                      <a:gd name="connsiteX2" fmla="*/ 9802 w 525868"/>
                      <a:gd name="connsiteY2" fmla="*/ 803788 h 851813"/>
                      <a:gd name="connsiteX3" fmla="*/ 331406 w 525868"/>
                      <a:gd name="connsiteY3" fmla="*/ 851814 h 851813"/>
                      <a:gd name="connsiteX4" fmla="*/ 384634 w 525868"/>
                      <a:gd name="connsiteY4" fmla="*/ 568498 h 851813"/>
                      <a:gd name="connsiteX5" fmla="*/ 525868 w 525868"/>
                      <a:gd name="connsiteY5" fmla="*/ 96042 h 851813"/>
                      <a:gd name="connsiteX6" fmla="*/ 206926 w 525868"/>
                      <a:gd name="connsiteY6" fmla="*/ 20071 h 8518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25868" h="851813">
                        <a:moveTo>
                          <a:pt x="206926" y="20132"/>
                        </a:moveTo>
                        <a:cubicBezTo>
                          <a:pt x="104463" y="230623"/>
                          <a:pt x="63816" y="507770"/>
                          <a:pt x="29944" y="616221"/>
                        </a:cubicBezTo>
                        <a:cubicBezTo>
                          <a:pt x="9258" y="682453"/>
                          <a:pt x="-13425" y="774271"/>
                          <a:pt x="9802" y="803788"/>
                        </a:cubicBezTo>
                        <a:lnTo>
                          <a:pt x="331406" y="851814"/>
                        </a:lnTo>
                        <a:cubicBezTo>
                          <a:pt x="331406" y="851814"/>
                          <a:pt x="365762" y="636605"/>
                          <a:pt x="384634" y="568498"/>
                        </a:cubicBezTo>
                        <a:cubicBezTo>
                          <a:pt x="394069" y="534383"/>
                          <a:pt x="525868" y="96042"/>
                          <a:pt x="525868" y="96042"/>
                        </a:cubicBezTo>
                        <a:cubicBezTo>
                          <a:pt x="444817" y="7611"/>
                          <a:pt x="320881" y="-24749"/>
                          <a:pt x="206926" y="20071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1" name="Freihandform: Form 450">
                    <a:extLst>
                      <a:ext uri="{FF2B5EF4-FFF2-40B4-BE49-F238E27FC236}">
                        <a16:creationId xmlns:a16="http://schemas.microsoft.com/office/drawing/2014/main" id="{AB53CBC1-70F3-D340-4B31-2F7100F6B540}"/>
                      </a:ext>
                    </a:extLst>
                  </p:cNvPr>
                  <p:cNvSpPr/>
                  <p:nvPr/>
                </p:nvSpPr>
                <p:spPr>
                  <a:xfrm>
                    <a:off x="220350" y="4091502"/>
                    <a:ext cx="327470" cy="327471"/>
                  </a:xfrm>
                  <a:custGeom>
                    <a:avLst/>
                    <a:gdLst>
                      <a:gd name="connsiteX0" fmla="*/ 327471 w 327470"/>
                      <a:gd name="connsiteY0" fmla="*/ 163736 h 327471"/>
                      <a:gd name="connsiteX1" fmla="*/ 163735 w 327470"/>
                      <a:gd name="connsiteY1" fmla="*/ 327471 h 327471"/>
                      <a:gd name="connsiteX2" fmla="*/ 0 w 327470"/>
                      <a:gd name="connsiteY2" fmla="*/ 163736 h 327471"/>
                      <a:gd name="connsiteX3" fmla="*/ 163735 w 327470"/>
                      <a:gd name="connsiteY3" fmla="*/ 0 h 327471"/>
                      <a:gd name="connsiteX4" fmla="*/ 327471 w 327470"/>
                      <a:gd name="connsiteY4" fmla="*/ 163736 h 3274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7470" h="327471">
                        <a:moveTo>
                          <a:pt x="327471" y="163736"/>
                        </a:moveTo>
                        <a:cubicBezTo>
                          <a:pt x="327471" y="254164"/>
                          <a:pt x="254164" y="327471"/>
                          <a:pt x="163735" y="327471"/>
                        </a:cubicBezTo>
                        <a:cubicBezTo>
                          <a:pt x="73307" y="327471"/>
                          <a:pt x="0" y="254164"/>
                          <a:pt x="0" y="163736"/>
                        </a:cubicBezTo>
                        <a:cubicBezTo>
                          <a:pt x="0" y="73307"/>
                          <a:pt x="73307" y="0"/>
                          <a:pt x="163735" y="0"/>
                        </a:cubicBezTo>
                        <a:cubicBezTo>
                          <a:pt x="254164" y="0"/>
                          <a:pt x="327471" y="73307"/>
                          <a:pt x="327471" y="16373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52" name="Grafik 297">
                  <a:extLst>
                    <a:ext uri="{FF2B5EF4-FFF2-40B4-BE49-F238E27FC236}">
                      <a16:creationId xmlns:a16="http://schemas.microsoft.com/office/drawing/2014/main" id="{0A337FE6-24E1-C424-CAF3-EF8A0CCBBCCE}"/>
                    </a:ext>
                  </a:extLst>
                </p:cNvPr>
                <p:cNvGrpSpPr/>
                <p:nvPr/>
              </p:nvGrpSpPr>
              <p:grpSpPr>
                <a:xfrm>
                  <a:off x="223798" y="3058220"/>
                  <a:ext cx="680467" cy="1246379"/>
                  <a:chOff x="223798" y="3058220"/>
                  <a:chExt cx="680467" cy="1246379"/>
                </a:xfrm>
              </p:grpSpPr>
              <p:sp>
                <p:nvSpPr>
                  <p:cNvPr id="453" name="Freihandform: Form 452">
                    <a:extLst>
                      <a:ext uri="{FF2B5EF4-FFF2-40B4-BE49-F238E27FC236}">
                        <a16:creationId xmlns:a16="http://schemas.microsoft.com/office/drawing/2014/main" id="{04445AE5-9D29-2DCC-AF0C-C737E4A478A8}"/>
                      </a:ext>
                    </a:extLst>
                  </p:cNvPr>
                  <p:cNvSpPr/>
                  <p:nvPr/>
                </p:nvSpPr>
                <p:spPr>
                  <a:xfrm>
                    <a:off x="415417" y="3058220"/>
                    <a:ext cx="488847" cy="488847"/>
                  </a:xfrm>
                  <a:custGeom>
                    <a:avLst/>
                    <a:gdLst>
                      <a:gd name="connsiteX0" fmla="*/ 488848 w 488847"/>
                      <a:gd name="connsiteY0" fmla="*/ 244424 h 488847"/>
                      <a:gd name="connsiteX1" fmla="*/ 244424 w 488847"/>
                      <a:gd name="connsiteY1" fmla="*/ 488848 h 488847"/>
                      <a:gd name="connsiteX2" fmla="*/ 0 w 488847"/>
                      <a:gd name="connsiteY2" fmla="*/ 244424 h 488847"/>
                      <a:gd name="connsiteX3" fmla="*/ 244424 w 488847"/>
                      <a:gd name="connsiteY3" fmla="*/ 0 h 488847"/>
                      <a:gd name="connsiteX4" fmla="*/ 488848 w 488847"/>
                      <a:gd name="connsiteY4" fmla="*/ 244424 h 4888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88847" h="488847">
                        <a:moveTo>
                          <a:pt x="488848" y="244424"/>
                        </a:moveTo>
                        <a:cubicBezTo>
                          <a:pt x="488848" y="379415"/>
                          <a:pt x="379415" y="488848"/>
                          <a:pt x="244424" y="488848"/>
                        </a:cubicBezTo>
                        <a:cubicBezTo>
                          <a:pt x="109432" y="488848"/>
                          <a:pt x="0" y="379415"/>
                          <a:pt x="0" y="244424"/>
                        </a:cubicBezTo>
                        <a:cubicBezTo>
                          <a:pt x="0" y="109432"/>
                          <a:pt x="109432" y="0"/>
                          <a:pt x="244424" y="0"/>
                        </a:cubicBezTo>
                        <a:cubicBezTo>
                          <a:pt x="379415" y="0"/>
                          <a:pt x="488848" y="109432"/>
                          <a:pt x="488848" y="244424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4" name="Freihandform: Form 453">
                    <a:extLst>
                      <a:ext uri="{FF2B5EF4-FFF2-40B4-BE49-F238E27FC236}">
                        <a16:creationId xmlns:a16="http://schemas.microsoft.com/office/drawing/2014/main" id="{E416457E-0D19-CA88-F0B3-F2F8E8340A4D}"/>
                      </a:ext>
                    </a:extLst>
                  </p:cNvPr>
                  <p:cNvSpPr/>
                  <p:nvPr/>
                </p:nvSpPr>
                <p:spPr>
                  <a:xfrm>
                    <a:off x="223798" y="3286434"/>
                    <a:ext cx="674539" cy="1018166"/>
                  </a:xfrm>
                  <a:custGeom>
                    <a:avLst/>
                    <a:gdLst>
                      <a:gd name="connsiteX0" fmla="*/ 192164 w 674539"/>
                      <a:gd name="connsiteY0" fmla="*/ 0 h 1018166"/>
                      <a:gd name="connsiteX1" fmla="*/ 674539 w 674539"/>
                      <a:gd name="connsiteY1" fmla="*/ 69740 h 1018166"/>
                      <a:gd name="connsiteX2" fmla="*/ 540321 w 674539"/>
                      <a:gd name="connsiteY2" fmla="*/ 510865 h 1018166"/>
                      <a:gd name="connsiteX3" fmla="*/ 318942 w 674539"/>
                      <a:gd name="connsiteY3" fmla="*/ 1009632 h 1018166"/>
                      <a:gd name="connsiteX4" fmla="*/ 0 w 674539"/>
                      <a:gd name="connsiteY4" fmla="*/ 933661 h 1018166"/>
                      <a:gd name="connsiteX5" fmla="*/ 192164 w 674539"/>
                      <a:gd name="connsiteY5" fmla="*/ 0 h 1018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4539" h="1018166">
                        <a:moveTo>
                          <a:pt x="192164" y="0"/>
                        </a:moveTo>
                        <a:cubicBezTo>
                          <a:pt x="197245" y="3206"/>
                          <a:pt x="674539" y="69740"/>
                          <a:pt x="674539" y="69740"/>
                        </a:cubicBezTo>
                        <a:cubicBezTo>
                          <a:pt x="674539" y="69740"/>
                          <a:pt x="578609" y="413603"/>
                          <a:pt x="540321" y="510865"/>
                        </a:cubicBezTo>
                        <a:cubicBezTo>
                          <a:pt x="393522" y="883519"/>
                          <a:pt x="318942" y="1009632"/>
                          <a:pt x="318942" y="1009632"/>
                        </a:cubicBezTo>
                        <a:cubicBezTo>
                          <a:pt x="206439" y="1033040"/>
                          <a:pt x="80567" y="1008483"/>
                          <a:pt x="0" y="933661"/>
                        </a:cubicBezTo>
                        <a:cubicBezTo>
                          <a:pt x="9617" y="797326"/>
                          <a:pt x="136577" y="272429"/>
                          <a:pt x="192164" y="0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5" name="Freihandform: Form 454">
                    <a:extLst>
                      <a:ext uri="{FF2B5EF4-FFF2-40B4-BE49-F238E27FC236}">
                        <a16:creationId xmlns:a16="http://schemas.microsoft.com/office/drawing/2014/main" id="{DAC89785-F42E-51B3-CBBE-A676C62F1F69}"/>
                      </a:ext>
                    </a:extLst>
                  </p:cNvPr>
                  <p:cNvSpPr/>
                  <p:nvPr/>
                </p:nvSpPr>
                <p:spPr>
                  <a:xfrm>
                    <a:off x="378884" y="3286434"/>
                    <a:ext cx="519392" cy="173110"/>
                  </a:xfrm>
                  <a:custGeom>
                    <a:avLst/>
                    <a:gdLst>
                      <a:gd name="connsiteX0" fmla="*/ 490239 w 519392"/>
                      <a:gd name="connsiteY0" fmla="*/ 172566 h 173110"/>
                      <a:gd name="connsiteX1" fmla="*/ 519393 w 519392"/>
                      <a:gd name="connsiteY1" fmla="*/ 69740 h 173110"/>
                      <a:gd name="connsiteX2" fmla="*/ 37017 w 519392"/>
                      <a:gd name="connsiteY2" fmla="*/ 0 h 173110"/>
                      <a:gd name="connsiteX3" fmla="*/ 0 w 519392"/>
                      <a:gd name="connsiteY3" fmla="*/ 173111 h 173110"/>
                      <a:gd name="connsiteX4" fmla="*/ 490178 w 519392"/>
                      <a:gd name="connsiteY4" fmla="*/ 172566 h 1731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9392" h="173110">
                        <a:moveTo>
                          <a:pt x="490239" y="172566"/>
                        </a:moveTo>
                        <a:cubicBezTo>
                          <a:pt x="507417" y="112685"/>
                          <a:pt x="519393" y="69740"/>
                          <a:pt x="519393" y="69740"/>
                        </a:cubicBezTo>
                        <a:cubicBezTo>
                          <a:pt x="519393" y="69740"/>
                          <a:pt x="42098" y="3206"/>
                          <a:pt x="37017" y="0"/>
                        </a:cubicBezTo>
                        <a:cubicBezTo>
                          <a:pt x="26735" y="50385"/>
                          <a:pt x="13972" y="109480"/>
                          <a:pt x="0" y="173111"/>
                        </a:cubicBezTo>
                        <a:cubicBezTo>
                          <a:pt x="109963" y="109782"/>
                          <a:pt x="360012" y="115468"/>
                          <a:pt x="490178" y="172566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56" name="Grafik 297">
                  <a:extLst>
                    <a:ext uri="{FF2B5EF4-FFF2-40B4-BE49-F238E27FC236}">
                      <a16:creationId xmlns:a16="http://schemas.microsoft.com/office/drawing/2014/main" id="{ABD05A6F-E92E-61F0-023B-E2B4796413F8}"/>
                    </a:ext>
                  </a:extLst>
                </p:cNvPr>
                <p:cNvGrpSpPr/>
                <p:nvPr/>
              </p:nvGrpSpPr>
              <p:grpSpPr>
                <a:xfrm>
                  <a:off x="477899" y="1918236"/>
                  <a:ext cx="322234" cy="429852"/>
                  <a:chOff x="477899" y="1918236"/>
                  <a:chExt cx="322234" cy="429852"/>
                </a:xfrm>
              </p:grpSpPr>
              <p:sp>
                <p:nvSpPr>
                  <p:cNvPr id="457" name="Freihandform: Form 456">
                    <a:extLst>
                      <a:ext uri="{FF2B5EF4-FFF2-40B4-BE49-F238E27FC236}">
                        <a16:creationId xmlns:a16="http://schemas.microsoft.com/office/drawing/2014/main" id="{AF9293BB-6702-4A40-6D50-72E5A0AB4709}"/>
                      </a:ext>
                    </a:extLst>
                  </p:cNvPr>
                  <p:cNvSpPr/>
                  <p:nvPr/>
                </p:nvSpPr>
                <p:spPr>
                  <a:xfrm>
                    <a:off x="477899" y="1918236"/>
                    <a:ext cx="322234" cy="429852"/>
                  </a:xfrm>
                  <a:custGeom>
                    <a:avLst/>
                    <a:gdLst>
                      <a:gd name="connsiteX0" fmla="*/ 0 w 322234"/>
                      <a:gd name="connsiteY0" fmla="*/ 329049 h 429852"/>
                      <a:gd name="connsiteX1" fmla="*/ 227972 w 322234"/>
                      <a:gd name="connsiteY1" fmla="*/ 410342 h 429852"/>
                      <a:gd name="connsiteX2" fmla="*/ 314043 w 322234"/>
                      <a:gd name="connsiteY2" fmla="*/ 168943 h 429852"/>
                      <a:gd name="connsiteX3" fmla="*/ 86071 w 322234"/>
                      <a:gd name="connsiteY3" fmla="*/ 87649 h 429852"/>
                      <a:gd name="connsiteX4" fmla="*/ 0 w 322234"/>
                      <a:gd name="connsiteY4" fmla="*/ 329049 h 4298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2234" h="429852">
                        <a:moveTo>
                          <a:pt x="0" y="329049"/>
                        </a:moveTo>
                        <a:cubicBezTo>
                          <a:pt x="16331" y="408467"/>
                          <a:pt x="157687" y="459941"/>
                          <a:pt x="227972" y="410342"/>
                        </a:cubicBezTo>
                        <a:lnTo>
                          <a:pt x="314043" y="168943"/>
                        </a:lnTo>
                        <a:cubicBezTo>
                          <a:pt x="366968" y="-5076"/>
                          <a:pt x="148493" y="-65441"/>
                          <a:pt x="86071" y="87649"/>
                        </a:cubicBezTo>
                        <a:lnTo>
                          <a:pt x="0" y="329049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8" name="Freihandform: Form 457">
                    <a:extLst>
                      <a:ext uri="{FF2B5EF4-FFF2-40B4-BE49-F238E27FC236}">
                        <a16:creationId xmlns:a16="http://schemas.microsoft.com/office/drawing/2014/main" id="{78859A30-7E72-8C42-D436-F91A3E108856}"/>
                      </a:ext>
                    </a:extLst>
                  </p:cNvPr>
                  <p:cNvSpPr/>
                  <p:nvPr/>
                </p:nvSpPr>
                <p:spPr>
                  <a:xfrm>
                    <a:off x="663707" y="2057624"/>
                    <a:ext cx="118237" cy="209535"/>
                  </a:xfrm>
                  <a:custGeom>
                    <a:avLst/>
                    <a:gdLst>
                      <a:gd name="connsiteX0" fmla="*/ 64060 w 118237"/>
                      <a:gd name="connsiteY0" fmla="*/ 209500 h 209535"/>
                      <a:gd name="connsiteX1" fmla="*/ 114505 w 118237"/>
                      <a:gd name="connsiteY1" fmla="*/ 68567 h 209535"/>
                      <a:gd name="connsiteX2" fmla="*/ 10772 w 118237"/>
                      <a:gd name="connsiteY2" fmla="*/ 97903 h 209535"/>
                      <a:gd name="connsiteX3" fmla="*/ 21599 w 118237"/>
                      <a:gd name="connsiteY3" fmla="*/ 160325 h 209535"/>
                      <a:gd name="connsiteX4" fmla="*/ 64060 w 118237"/>
                      <a:gd name="connsiteY4" fmla="*/ 209500 h 2095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8237" h="209535">
                        <a:moveTo>
                          <a:pt x="64060" y="209500"/>
                        </a:moveTo>
                        <a:lnTo>
                          <a:pt x="114505" y="68567"/>
                        </a:lnTo>
                        <a:cubicBezTo>
                          <a:pt x="147168" y="-43816"/>
                          <a:pt x="-46871" y="-6677"/>
                          <a:pt x="10772" y="97903"/>
                        </a:cubicBezTo>
                        <a:cubicBezTo>
                          <a:pt x="22990" y="118226"/>
                          <a:pt x="26256" y="127360"/>
                          <a:pt x="21599" y="160325"/>
                        </a:cubicBezTo>
                        <a:cubicBezTo>
                          <a:pt x="14159" y="212645"/>
                          <a:pt x="64060" y="209500"/>
                          <a:pt x="64060" y="20950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59" name="Grafik 297">
                  <a:extLst>
                    <a:ext uri="{FF2B5EF4-FFF2-40B4-BE49-F238E27FC236}">
                      <a16:creationId xmlns:a16="http://schemas.microsoft.com/office/drawing/2014/main" id="{318177A8-49CC-20B6-3865-A234305CAAD4}"/>
                    </a:ext>
                  </a:extLst>
                </p:cNvPr>
                <p:cNvGrpSpPr/>
                <p:nvPr/>
              </p:nvGrpSpPr>
              <p:grpSpPr>
                <a:xfrm>
                  <a:off x="443945" y="1659724"/>
                  <a:ext cx="481759" cy="506110"/>
                  <a:chOff x="443945" y="1659724"/>
                  <a:chExt cx="481759" cy="506110"/>
                </a:xfrm>
              </p:grpSpPr>
              <p:sp>
                <p:nvSpPr>
                  <p:cNvPr id="460" name="Freihandform: Form 459">
                    <a:extLst>
                      <a:ext uri="{FF2B5EF4-FFF2-40B4-BE49-F238E27FC236}">
                        <a16:creationId xmlns:a16="http://schemas.microsoft.com/office/drawing/2014/main" id="{EA5A0E55-3BE9-C6B7-11F8-91A8BEB81D5C}"/>
                      </a:ext>
                    </a:extLst>
                  </p:cNvPr>
                  <p:cNvSpPr/>
                  <p:nvPr/>
                </p:nvSpPr>
                <p:spPr>
                  <a:xfrm rot="-274200">
                    <a:off x="468855" y="1719942"/>
                    <a:ext cx="390981" cy="349246"/>
                  </a:xfrm>
                  <a:custGeom>
                    <a:avLst/>
                    <a:gdLst>
                      <a:gd name="connsiteX0" fmla="*/ 390981 w 390981"/>
                      <a:gd name="connsiteY0" fmla="*/ 174623 h 349246"/>
                      <a:gd name="connsiteX1" fmla="*/ 195491 w 390981"/>
                      <a:gd name="connsiteY1" fmla="*/ 349246 h 349246"/>
                      <a:gd name="connsiteX2" fmla="*/ 0 w 390981"/>
                      <a:gd name="connsiteY2" fmla="*/ 174623 h 349246"/>
                      <a:gd name="connsiteX3" fmla="*/ 195491 w 390981"/>
                      <a:gd name="connsiteY3" fmla="*/ 0 h 349246"/>
                      <a:gd name="connsiteX4" fmla="*/ 390981 w 390981"/>
                      <a:gd name="connsiteY4" fmla="*/ 174623 h 3492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0981" h="349246">
                        <a:moveTo>
                          <a:pt x="390981" y="174623"/>
                        </a:moveTo>
                        <a:cubicBezTo>
                          <a:pt x="390981" y="271065"/>
                          <a:pt x="303457" y="349246"/>
                          <a:pt x="195491" y="349246"/>
                        </a:cubicBezTo>
                        <a:cubicBezTo>
                          <a:pt x="87524" y="349246"/>
                          <a:pt x="0" y="271065"/>
                          <a:pt x="0" y="174623"/>
                        </a:cubicBezTo>
                        <a:cubicBezTo>
                          <a:pt x="0" y="78181"/>
                          <a:pt x="87524" y="0"/>
                          <a:pt x="195491" y="0"/>
                        </a:cubicBezTo>
                        <a:cubicBezTo>
                          <a:pt x="303457" y="0"/>
                          <a:pt x="390981" y="78181"/>
                          <a:pt x="390981" y="174623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1" name="Freihandform: Form 460">
                    <a:extLst>
                      <a:ext uri="{FF2B5EF4-FFF2-40B4-BE49-F238E27FC236}">
                        <a16:creationId xmlns:a16="http://schemas.microsoft.com/office/drawing/2014/main" id="{D67AC327-3DD1-5AFE-1261-FE9B7E10F015}"/>
                      </a:ext>
                    </a:extLst>
                  </p:cNvPr>
                  <p:cNvSpPr/>
                  <p:nvPr/>
                </p:nvSpPr>
                <p:spPr>
                  <a:xfrm>
                    <a:off x="650224" y="1870436"/>
                    <a:ext cx="272366" cy="292635"/>
                  </a:xfrm>
                  <a:custGeom>
                    <a:avLst/>
                    <a:gdLst>
                      <a:gd name="connsiteX0" fmla="*/ 232448 w 272366"/>
                      <a:gd name="connsiteY0" fmla="*/ 139925 h 292635"/>
                      <a:gd name="connsiteX1" fmla="*/ 268255 w 272366"/>
                      <a:gd name="connsiteY1" fmla="*/ 105629 h 292635"/>
                      <a:gd name="connsiteX2" fmla="*/ 209221 w 272366"/>
                      <a:gd name="connsiteY2" fmla="*/ 13570 h 292635"/>
                      <a:gd name="connsiteX3" fmla="*/ 0 w 272366"/>
                      <a:gd name="connsiteY3" fmla="*/ 86153 h 292635"/>
                      <a:gd name="connsiteX4" fmla="*/ 24073 w 272366"/>
                      <a:gd name="connsiteY4" fmla="*/ 213899 h 292635"/>
                      <a:gd name="connsiteX5" fmla="*/ 114560 w 272366"/>
                      <a:gd name="connsiteY5" fmla="*/ 292531 h 292635"/>
                      <a:gd name="connsiteX6" fmla="*/ 204624 w 272366"/>
                      <a:gd name="connsiteY6" fmla="*/ 285878 h 292635"/>
                      <a:gd name="connsiteX7" fmla="*/ 232448 w 272366"/>
                      <a:gd name="connsiteY7" fmla="*/ 242509 h 292635"/>
                      <a:gd name="connsiteX8" fmla="*/ 230996 w 272366"/>
                      <a:gd name="connsiteY8" fmla="*/ 222004 h 292635"/>
                      <a:gd name="connsiteX9" fmla="*/ 230996 w 272366"/>
                      <a:gd name="connsiteY9" fmla="*/ 222186 h 292635"/>
                      <a:gd name="connsiteX10" fmla="*/ 234383 w 272366"/>
                      <a:gd name="connsiteY10" fmla="*/ 207125 h 292635"/>
                      <a:gd name="connsiteX11" fmla="*/ 227730 w 272366"/>
                      <a:gd name="connsiteY11" fmla="*/ 186681 h 292635"/>
                      <a:gd name="connsiteX12" fmla="*/ 227730 w 272366"/>
                      <a:gd name="connsiteY12" fmla="*/ 186681 h 292635"/>
                      <a:gd name="connsiteX13" fmla="*/ 235230 w 272366"/>
                      <a:gd name="connsiteY13" fmla="*/ 170107 h 292635"/>
                      <a:gd name="connsiteX14" fmla="*/ 232508 w 272366"/>
                      <a:gd name="connsiteY14" fmla="*/ 139925 h 2926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72366" h="292635">
                        <a:moveTo>
                          <a:pt x="232448" y="139925"/>
                        </a:moveTo>
                        <a:cubicBezTo>
                          <a:pt x="244545" y="136356"/>
                          <a:pt x="285312" y="122868"/>
                          <a:pt x="268255" y="105629"/>
                        </a:cubicBezTo>
                        <a:cubicBezTo>
                          <a:pt x="239282" y="76415"/>
                          <a:pt x="213697" y="23792"/>
                          <a:pt x="209221" y="13570"/>
                        </a:cubicBezTo>
                        <a:cubicBezTo>
                          <a:pt x="208072" y="2682"/>
                          <a:pt x="16815" y="-33125"/>
                          <a:pt x="0" y="86153"/>
                        </a:cubicBezTo>
                        <a:cubicBezTo>
                          <a:pt x="0" y="86153"/>
                          <a:pt x="0" y="150691"/>
                          <a:pt x="24073" y="213899"/>
                        </a:cubicBezTo>
                        <a:cubicBezTo>
                          <a:pt x="29820" y="229021"/>
                          <a:pt x="73128" y="291261"/>
                          <a:pt x="114560" y="292531"/>
                        </a:cubicBezTo>
                        <a:cubicBezTo>
                          <a:pt x="150005" y="293620"/>
                          <a:pt x="204624" y="285878"/>
                          <a:pt x="204624" y="285878"/>
                        </a:cubicBezTo>
                        <a:cubicBezTo>
                          <a:pt x="204624" y="285878"/>
                          <a:pt x="232690" y="278982"/>
                          <a:pt x="232448" y="242509"/>
                        </a:cubicBezTo>
                        <a:cubicBezTo>
                          <a:pt x="232448" y="239666"/>
                          <a:pt x="231903" y="232347"/>
                          <a:pt x="230996" y="222004"/>
                        </a:cubicBezTo>
                        <a:lnTo>
                          <a:pt x="230996" y="222186"/>
                        </a:lnTo>
                        <a:cubicBezTo>
                          <a:pt x="230996" y="222186"/>
                          <a:pt x="230996" y="216137"/>
                          <a:pt x="234383" y="207125"/>
                        </a:cubicBezTo>
                        <a:cubicBezTo>
                          <a:pt x="238496" y="196056"/>
                          <a:pt x="239403" y="186197"/>
                          <a:pt x="227730" y="186681"/>
                        </a:cubicBezTo>
                        <a:lnTo>
                          <a:pt x="227730" y="186681"/>
                        </a:lnTo>
                        <a:cubicBezTo>
                          <a:pt x="236077" y="184382"/>
                          <a:pt x="236923" y="173858"/>
                          <a:pt x="235230" y="170107"/>
                        </a:cubicBezTo>
                        <a:cubicBezTo>
                          <a:pt x="230331" y="159401"/>
                          <a:pt x="229423" y="140832"/>
                          <a:pt x="232508" y="139925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2" name="Freihandform: Form 461">
                    <a:extLst>
                      <a:ext uri="{FF2B5EF4-FFF2-40B4-BE49-F238E27FC236}">
                        <a16:creationId xmlns:a16="http://schemas.microsoft.com/office/drawing/2014/main" id="{EF2E4258-E22C-291E-49DE-89DAC9DC4133}"/>
                      </a:ext>
                    </a:extLst>
                  </p:cNvPr>
                  <p:cNvSpPr/>
                  <p:nvPr/>
                </p:nvSpPr>
                <p:spPr>
                  <a:xfrm>
                    <a:off x="837065" y="1919511"/>
                    <a:ext cx="21653" cy="31694"/>
                  </a:xfrm>
                  <a:custGeom>
                    <a:avLst/>
                    <a:gdLst>
                      <a:gd name="connsiteX0" fmla="*/ 21654 w 21653"/>
                      <a:gd name="connsiteY0" fmla="*/ 15847 h 31694"/>
                      <a:gd name="connsiteX1" fmla="*/ 10827 w 21653"/>
                      <a:gd name="connsiteY1" fmla="*/ 31695 h 31694"/>
                      <a:gd name="connsiteX2" fmla="*/ 0 w 21653"/>
                      <a:gd name="connsiteY2" fmla="*/ 15847 h 31694"/>
                      <a:gd name="connsiteX3" fmla="*/ 10827 w 21653"/>
                      <a:gd name="connsiteY3" fmla="*/ 0 h 31694"/>
                      <a:gd name="connsiteX4" fmla="*/ 21654 w 21653"/>
                      <a:gd name="connsiteY4" fmla="*/ 15847 h 316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653" h="31694">
                        <a:moveTo>
                          <a:pt x="21654" y="15847"/>
                        </a:moveTo>
                        <a:cubicBezTo>
                          <a:pt x="21654" y="24600"/>
                          <a:pt x="16807" y="31695"/>
                          <a:pt x="10827" y="31695"/>
                        </a:cubicBezTo>
                        <a:cubicBezTo>
                          <a:pt x="4847" y="31695"/>
                          <a:pt x="0" y="24600"/>
                          <a:pt x="0" y="15847"/>
                        </a:cubicBezTo>
                        <a:cubicBezTo>
                          <a:pt x="0" y="7095"/>
                          <a:pt x="4847" y="0"/>
                          <a:pt x="10827" y="0"/>
                        </a:cubicBezTo>
                        <a:cubicBezTo>
                          <a:pt x="16807" y="0"/>
                          <a:pt x="21654" y="7095"/>
                          <a:pt x="21654" y="15847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3" name="Freihandform: Form 462">
                    <a:extLst>
                      <a:ext uri="{FF2B5EF4-FFF2-40B4-BE49-F238E27FC236}">
                        <a16:creationId xmlns:a16="http://schemas.microsoft.com/office/drawing/2014/main" id="{2A48A769-A14C-828C-FEAF-7410EBADFD16}"/>
                      </a:ext>
                    </a:extLst>
                  </p:cNvPr>
                  <p:cNvSpPr/>
                  <p:nvPr/>
                </p:nvSpPr>
                <p:spPr>
                  <a:xfrm>
                    <a:off x="767336" y="1853119"/>
                    <a:ext cx="83261" cy="40843"/>
                  </a:xfrm>
                  <a:custGeom>
                    <a:avLst/>
                    <a:gdLst>
                      <a:gd name="connsiteX0" fmla="*/ 16139 w 83261"/>
                      <a:gd name="connsiteY0" fmla="*/ 19455 h 40843"/>
                      <a:gd name="connsiteX1" fmla="*/ 47047 w 83261"/>
                      <a:gd name="connsiteY1" fmla="*/ 3245 h 40843"/>
                      <a:gd name="connsiteX2" fmla="*/ 47047 w 83261"/>
                      <a:gd name="connsiteY2" fmla="*/ 3245 h 40843"/>
                      <a:gd name="connsiteX3" fmla="*/ 77048 w 83261"/>
                      <a:gd name="connsiteY3" fmla="*/ 1249 h 40843"/>
                      <a:gd name="connsiteX4" fmla="*/ 79407 w 83261"/>
                      <a:gd name="connsiteY4" fmla="*/ 2519 h 40843"/>
                      <a:gd name="connsiteX5" fmla="*/ 76201 w 83261"/>
                      <a:gd name="connsiteY5" fmla="*/ 18427 h 40843"/>
                      <a:gd name="connsiteX6" fmla="*/ 59205 w 83261"/>
                      <a:gd name="connsiteY6" fmla="*/ 19939 h 40843"/>
                      <a:gd name="connsiteX7" fmla="*/ 20312 w 83261"/>
                      <a:gd name="connsiteY7" fmla="*/ 29254 h 40843"/>
                      <a:gd name="connsiteX8" fmla="*/ 533 w 83261"/>
                      <a:gd name="connsiteY8" fmla="*/ 40746 h 40843"/>
                      <a:gd name="connsiteX9" fmla="*/ 16139 w 83261"/>
                      <a:gd name="connsiteY9" fmla="*/ 19515 h 408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83261" h="40843">
                        <a:moveTo>
                          <a:pt x="16139" y="19455"/>
                        </a:moveTo>
                        <a:cubicBezTo>
                          <a:pt x="26179" y="10201"/>
                          <a:pt x="38034" y="5241"/>
                          <a:pt x="47047" y="3245"/>
                        </a:cubicBezTo>
                        <a:lnTo>
                          <a:pt x="47047" y="3245"/>
                        </a:lnTo>
                        <a:cubicBezTo>
                          <a:pt x="62410" y="-1110"/>
                          <a:pt x="73237" y="-324"/>
                          <a:pt x="77048" y="1249"/>
                        </a:cubicBezTo>
                        <a:cubicBezTo>
                          <a:pt x="77955" y="1612"/>
                          <a:pt x="78742" y="2035"/>
                          <a:pt x="79407" y="2519"/>
                        </a:cubicBezTo>
                        <a:cubicBezTo>
                          <a:pt x="85939" y="6813"/>
                          <a:pt x="83701" y="17277"/>
                          <a:pt x="76201" y="18427"/>
                        </a:cubicBezTo>
                        <a:cubicBezTo>
                          <a:pt x="72753" y="18971"/>
                          <a:pt x="64104" y="19576"/>
                          <a:pt x="59205" y="19939"/>
                        </a:cubicBezTo>
                        <a:cubicBezTo>
                          <a:pt x="50616" y="20604"/>
                          <a:pt x="26845" y="26169"/>
                          <a:pt x="20312" y="29254"/>
                        </a:cubicBezTo>
                        <a:cubicBezTo>
                          <a:pt x="7489" y="35302"/>
                          <a:pt x="2711" y="41714"/>
                          <a:pt x="533" y="40746"/>
                        </a:cubicBezTo>
                        <a:cubicBezTo>
                          <a:pt x="-1644" y="39778"/>
                          <a:pt x="2711" y="31854"/>
                          <a:pt x="16139" y="1951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4" name="Freihandform: Form 463">
                    <a:extLst>
                      <a:ext uri="{FF2B5EF4-FFF2-40B4-BE49-F238E27FC236}">
                        <a16:creationId xmlns:a16="http://schemas.microsoft.com/office/drawing/2014/main" id="{39212651-155C-EBF7-CA4F-15E7EC97A141}"/>
                      </a:ext>
                    </a:extLst>
                  </p:cNvPr>
                  <p:cNvSpPr/>
                  <p:nvPr/>
                </p:nvSpPr>
                <p:spPr>
                  <a:xfrm>
                    <a:off x="806812" y="1909914"/>
                    <a:ext cx="51859" cy="18055"/>
                  </a:xfrm>
                  <a:custGeom>
                    <a:avLst/>
                    <a:gdLst>
                      <a:gd name="connsiteX0" fmla="*/ 312 w 51859"/>
                      <a:gd name="connsiteY0" fmla="*/ 14496 h 18055"/>
                      <a:gd name="connsiteX1" fmla="*/ 38176 w 51859"/>
                      <a:gd name="connsiteY1" fmla="*/ 40 h 18055"/>
                      <a:gd name="connsiteX2" fmla="*/ 45192 w 51859"/>
                      <a:gd name="connsiteY2" fmla="*/ 10625 h 18055"/>
                      <a:gd name="connsiteX3" fmla="*/ 8840 w 51859"/>
                      <a:gd name="connsiteY3" fmla="*/ 17520 h 18055"/>
                      <a:gd name="connsiteX4" fmla="*/ 312 w 51859"/>
                      <a:gd name="connsiteY4" fmla="*/ 14496 h 180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859" h="18055">
                        <a:moveTo>
                          <a:pt x="312" y="14496"/>
                        </a:moveTo>
                        <a:cubicBezTo>
                          <a:pt x="1824" y="12258"/>
                          <a:pt x="20454" y="887"/>
                          <a:pt x="38176" y="40"/>
                        </a:cubicBezTo>
                        <a:cubicBezTo>
                          <a:pt x="52935" y="-686"/>
                          <a:pt x="56503" y="8689"/>
                          <a:pt x="45192" y="10625"/>
                        </a:cubicBezTo>
                        <a:cubicBezTo>
                          <a:pt x="31281" y="12984"/>
                          <a:pt x="14707" y="15887"/>
                          <a:pt x="8840" y="17520"/>
                        </a:cubicBezTo>
                        <a:cubicBezTo>
                          <a:pt x="2973" y="19154"/>
                          <a:pt x="-1200" y="16734"/>
                          <a:pt x="312" y="1449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5" name="Freihandform: Form 464">
                    <a:extLst>
                      <a:ext uri="{FF2B5EF4-FFF2-40B4-BE49-F238E27FC236}">
                        <a16:creationId xmlns:a16="http://schemas.microsoft.com/office/drawing/2014/main" id="{2FB705D3-0F02-0153-FFA2-D0AF5E08D3A3}"/>
                      </a:ext>
                    </a:extLst>
                  </p:cNvPr>
                  <p:cNvSpPr/>
                  <p:nvPr/>
                </p:nvSpPr>
                <p:spPr>
                  <a:xfrm>
                    <a:off x="701939" y="1951595"/>
                    <a:ext cx="223765" cy="214238"/>
                  </a:xfrm>
                  <a:custGeom>
                    <a:avLst/>
                    <a:gdLst>
                      <a:gd name="connsiteX0" fmla="*/ 15303 w 223765"/>
                      <a:gd name="connsiteY0" fmla="*/ 20962 h 214238"/>
                      <a:gd name="connsiteX1" fmla="*/ 0 w 223765"/>
                      <a:gd name="connsiteY1" fmla="*/ 121490 h 214238"/>
                      <a:gd name="connsiteX2" fmla="*/ 62784 w 223765"/>
                      <a:gd name="connsiteY2" fmla="*/ 211432 h 214238"/>
                      <a:gd name="connsiteX3" fmla="*/ 191378 w 223765"/>
                      <a:gd name="connsiteY3" fmla="*/ 203690 h 214238"/>
                      <a:gd name="connsiteX4" fmla="*/ 211459 w 223765"/>
                      <a:gd name="connsiteY4" fmla="*/ 3300 h 214238"/>
                      <a:gd name="connsiteX5" fmla="*/ 15242 w 223765"/>
                      <a:gd name="connsiteY5" fmla="*/ 20962 h 2142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23765" h="214238">
                        <a:moveTo>
                          <a:pt x="15303" y="20962"/>
                        </a:moveTo>
                        <a:lnTo>
                          <a:pt x="0" y="121490"/>
                        </a:lnTo>
                        <a:cubicBezTo>
                          <a:pt x="0" y="121490"/>
                          <a:pt x="9617" y="172358"/>
                          <a:pt x="62784" y="211432"/>
                        </a:cubicBezTo>
                        <a:cubicBezTo>
                          <a:pt x="117403" y="220808"/>
                          <a:pt x="191378" y="203690"/>
                          <a:pt x="191378" y="203690"/>
                        </a:cubicBezTo>
                        <a:cubicBezTo>
                          <a:pt x="191378" y="203690"/>
                          <a:pt x="248053" y="74492"/>
                          <a:pt x="211459" y="3300"/>
                        </a:cubicBezTo>
                        <a:cubicBezTo>
                          <a:pt x="205713" y="-9946"/>
                          <a:pt x="15242" y="20962"/>
                          <a:pt x="15242" y="20962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6" name="Freihandform: Form 465">
                    <a:extLst>
                      <a:ext uri="{FF2B5EF4-FFF2-40B4-BE49-F238E27FC236}">
                        <a16:creationId xmlns:a16="http://schemas.microsoft.com/office/drawing/2014/main" id="{E6A57E3B-5962-F4D0-DF06-DB46BF061C35}"/>
                      </a:ext>
                    </a:extLst>
                  </p:cNvPr>
                  <p:cNvSpPr/>
                  <p:nvPr/>
                </p:nvSpPr>
                <p:spPr>
                  <a:xfrm>
                    <a:off x="601944" y="1942055"/>
                    <a:ext cx="146387" cy="143187"/>
                  </a:xfrm>
                  <a:custGeom>
                    <a:avLst/>
                    <a:gdLst>
                      <a:gd name="connsiteX0" fmla="*/ 108282 w 146387"/>
                      <a:gd name="connsiteY0" fmla="*/ 143127 h 143187"/>
                      <a:gd name="connsiteX1" fmla="*/ 28259 w 146387"/>
                      <a:gd name="connsiteY1" fmla="*/ 110586 h 143187"/>
                      <a:gd name="connsiteX2" fmla="*/ 133 w 146387"/>
                      <a:gd name="connsiteY2" fmla="*/ 68185 h 143187"/>
                      <a:gd name="connsiteX3" fmla="*/ 30134 w 146387"/>
                      <a:gd name="connsiteY3" fmla="*/ 8304 h 143187"/>
                      <a:gd name="connsiteX4" fmla="*/ 120500 w 146387"/>
                      <a:gd name="connsiteY4" fmla="*/ 31893 h 143187"/>
                      <a:gd name="connsiteX5" fmla="*/ 146388 w 146387"/>
                      <a:gd name="connsiteY5" fmla="*/ 49555 h 143187"/>
                      <a:gd name="connsiteX6" fmla="*/ 108282 w 146387"/>
                      <a:gd name="connsiteY6" fmla="*/ 143188 h 143187"/>
                      <a:gd name="connsiteX7" fmla="*/ 55417 w 146387"/>
                      <a:gd name="connsiteY7" fmla="*/ 12961 h 143187"/>
                      <a:gd name="connsiteX8" fmla="*/ 38118 w 146387"/>
                      <a:gd name="connsiteY8" fmla="*/ 18587 h 143187"/>
                      <a:gd name="connsiteX9" fmla="*/ 13137 w 146387"/>
                      <a:gd name="connsiteY9" fmla="*/ 67278 h 143187"/>
                      <a:gd name="connsiteX10" fmla="*/ 34731 w 146387"/>
                      <a:gd name="connsiteY10" fmla="*/ 99275 h 143187"/>
                      <a:gd name="connsiteX11" fmla="*/ 101084 w 146387"/>
                      <a:gd name="connsiteY11" fmla="*/ 128066 h 143187"/>
                      <a:gd name="connsiteX12" fmla="*/ 130057 w 146387"/>
                      <a:gd name="connsiteY12" fmla="*/ 53971 h 143187"/>
                      <a:gd name="connsiteX13" fmla="*/ 112092 w 146387"/>
                      <a:gd name="connsiteY13" fmla="*/ 41632 h 143187"/>
                      <a:gd name="connsiteX14" fmla="*/ 55477 w 146387"/>
                      <a:gd name="connsiteY14" fmla="*/ 12901 h 1431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146387" h="143187">
                        <a:moveTo>
                          <a:pt x="108282" y="143127"/>
                        </a:moveTo>
                        <a:cubicBezTo>
                          <a:pt x="108282" y="143127"/>
                          <a:pt x="66546" y="132300"/>
                          <a:pt x="28259" y="110586"/>
                        </a:cubicBezTo>
                        <a:cubicBezTo>
                          <a:pt x="11383" y="100968"/>
                          <a:pt x="1403" y="85907"/>
                          <a:pt x="133" y="68185"/>
                        </a:cubicBezTo>
                        <a:cubicBezTo>
                          <a:pt x="-1379" y="46652"/>
                          <a:pt x="10113" y="23667"/>
                          <a:pt x="30134" y="8304"/>
                        </a:cubicBezTo>
                        <a:cubicBezTo>
                          <a:pt x="64671" y="-18249"/>
                          <a:pt x="115056" y="26934"/>
                          <a:pt x="120500" y="31893"/>
                        </a:cubicBezTo>
                        <a:lnTo>
                          <a:pt x="146388" y="49555"/>
                        </a:lnTo>
                        <a:lnTo>
                          <a:pt x="108282" y="143188"/>
                        </a:lnTo>
                        <a:close/>
                        <a:moveTo>
                          <a:pt x="55417" y="12961"/>
                        </a:moveTo>
                        <a:cubicBezTo>
                          <a:pt x="49247" y="12961"/>
                          <a:pt x="43320" y="14594"/>
                          <a:pt x="38118" y="18587"/>
                        </a:cubicBezTo>
                        <a:cubicBezTo>
                          <a:pt x="21484" y="31349"/>
                          <a:pt x="11928" y="50039"/>
                          <a:pt x="13137" y="67278"/>
                        </a:cubicBezTo>
                        <a:cubicBezTo>
                          <a:pt x="14045" y="80766"/>
                          <a:pt x="21545" y="91835"/>
                          <a:pt x="34731" y="99275"/>
                        </a:cubicBezTo>
                        <a:cubicBezTo>
                          <a:pt x="62494" y="115062"/>
                          <a:pt x="91043" y="125284"/>
                          <a:pt x="101084" y="128066"/>
                        </a:cubicBezTo>
                        <a:lnTo>
                          <a:pt x="130057" y="53971"/>
                        </a:lnTo>
                        <a:lnTo>
                          <a:pt x="112092" y="41632"/>
                        </a:lnTo>
                        <a:cubicBezTo>
                          <a:pt x="111729" y="41269"/>
                          <a:pt x="81365" y="12901"/>
                          <a:pt x="55477" y="12901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7" name="Freihandform: Form 466">
                    <a:extLst>
                      <a:ext uri="{FF2B5EF4-FFF2-40B4-BE49-F238E27FC236}">
                        <a16:creationId xmlns:a16="http://schemas.microsoft.com/office/drawing/2014/main" id="{098914F6-1F93-327B-118D-166124E158EE}"/>
                      </a:ext>
                    </a:extLst>
                  </p:cNvPr>
                  <p:cNvSpPr/>
                  <p:nvPr/>
                </p:nvSpPr>
                <p:spPr>
                  <a:xfrm>
                    <a:off x="443945" y="1659724"/>
                    <a:ext cx="397535" cy="386565"/>
                  </a:xfrm>
                  <a:custGeom>
                    <a:avLst/>
                    <a:gdLst>
                      <a:gd name="connsiteX0" fmla="*/ 105690 w 397535"/>
                      <a:gd name="connsiteY0" fmla="*/ 386566 h 386565"/>
                      <a:gd name="connsiteX1" fmla="*/ 397535 w 397535"/>
                      <a:gd name="connsiteY1" fmla="*/ 158352 h 386565"/>
                      <a:gd name="connsiteX2" fmla="*/ 206279 w 397535"/>
                      <a:gd name="connsiteY2" fmla="*/ 0 h 386565"/>
                      <a:gd name="connsiteX3" fmla="*/ 263 w 397535"/>
                      <a:gd name="connsiteY3" fmla="*/ 246057 h 386565"/>
                      <a:gd name="connsiteX4" fmla="*/ 105690 w 397535"/>
                      <a:gd name="connsiteY4" fmla="*/ 386505 h 3865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7535" h="386565">
                        <a:moveTo>
                          <a:pt x="105690" y="386566"/>
                        </a:moveTo>
                        <a:cubicBezTo>
                          <a:pt x="207972" y="341504"/>
                          <a:pt x="277894" y="163917"/>
                          <a:pt x="397535" y="158352"/>
                        </a:cubicBezTo>
                        <a:cubicBezTo>
                          <a:pt x="393785" y="80688"/>
                          <a:pt x="324650" y="0"/>
                          <a:pt x="206279" y="0"/>
                        </a:cubicBezTo>
                        <a:cubicBezTo>
                          <a:pt x="155107" y="0"/>
                          <a:pt x="-7418" y="149945"/>
                          <a:pt x="263" y="246057"/>
                        </a:cubicBezTo>
                        <a:cubicBezTo>
                          <a:pt x="4195" y="295172"/>
                          <a:pt x="66495" y="357774"/>
                          <a:pt x="105690" y="386505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8" name="Freihandform: Form 467">
                    <a:extLst>
                      <a:ext uri="{FF2B5EF4-FFF2-40B4-BE49-F238E27FC236}">
                        <a16:creationId xmlns:a16="http://schemas.microsoft.com/office/drawing/2014/main" id="{94F5C81E-F13E-A69A-05C8-38C30F2340A0}"/>
                      </a:ext>
                    </a:extLst>
                  </p:cNvPr>
                  <p:cNvSpPr/>
                  <p:nvPr/>
                </p:nvSpPr>
                <p:spPr>
                  <a:xfrm>
                    <a:off x="618710" y="1863562"/>
                    <a:ext cx="284700" cy="113350"/>
                  </a:xfrm>
                  <a:custGeom>
                    <a:avLst/>
                    <a:gdLst>
                      <a:gd name="connsiteX0" fmla="*/ 115589 w 284700"/>
                      <a:gd name="connsiteY0" fmla="*/ 113351 h 113350"/>
                      <a:gd name="connsiteX1" fmla="*/ 106032 w 284700"/>
                      <a:gd name="connsiteY1" fmla="*/ 59579 h 113350"/>
                      <a:gd name="connsiteX2" fmla="*/ 4415 w 284700"/>
                      <a:gd name="connsiteY2" fmla="*/ 86737 h 113350"/>
                      <a:gd name="connsiteX3" fmla="*/ 0 w 284700"/>
                      <a:gd name="connsiteY3" fmla="*/ 70224 h 113350"/>
                      <a:gd name="connsiteX4" fmla="*/ 262993 w 284700"/>
                      <a:gd name="connsiteY4" fmla="*/ 0 h 113350"/>
                      <a:gd name="connsiteX5" fmla="*/ 266320 w 284700"/>
                      <a:gd name="connsiteY5" fmla="*/ 5444 h 113350"/>
                      <a:gd name="connsiteX6" fmla="*/ 279748 w 284700"/>
                      <a:gd name="connsiteY6" fmla="*/ 97685 h 113350"/>
                      <a:gd name="connsiteX7" fmla="*/ 278114 w 284700"/>
                      <a:gd name="connsiteY7" fmla="*/ 103491 h 113350"/>
                      <a:gd name="connsiteX8" fmla="*/ 115649 w 284700"/>
                      <a:gd name="connsiteY8" fmla="*/ 113290 h 113350"/>
                      <a:gd name="connsiteX9" fmla="*/ 122545 w 284700"/>
                      <a:gd name="connsiteY9" fmla="*/ 55163 h 113350"/>
                      <a:gd name="connsiteX10" fmla="*/ 129742 w 284700"/>
                      <a:gd name="connsiteY10" fmla="*/ 95386 h 113350"/>
                      <a:gd name="connsiteX11" fmla="*/ 264808 w 284700"/>
                      <a:gd name="connsiteY11" fmla="*/ 87221 h 113350"/>
                      <a:gd name="connsiteX12" fmla="*/ 254888 w 284700"/>
                      <a:gd name="connsiteY12" fmla="*/ 19839 h 113350"/>
                      <a:gd name="connsiteX13" fmla="*/ 122545 w 284700"/>
                      <a:gd name="connsiteY13" fmla="*/ 55163 h 113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284700" h="113350">
                        <a:moveTo>
                          <a:pt x="115589" y="113351"/>
                        </a:moveTo>
                        <a:lnTo>
                          <a:pt x="106032" y="59579"/>
                        </a:lnTo>
                        <a:lnTo>
                          <a:pt x="4415" y="86737"/>
                        </a:lnTo>
                        <a:lnTo>
                          <a:pt x="0" y="70224"/>
                        </a:lnTo>
                        <a:lnTo>
                          <a:pt x="262993" y="0"/>
                        </a:lnTo>
                        <a:lnTo>
                          <a:pt x="266320" y="5444"/>
                        </a:lnTo>
                        <a:cubicBezTo>
                          <a:pt x="285252" y="36655"/>
                          <a:pt x="289244" y="64236"/>
                          <a:pt x="279748" y="97685"/>
                        </a:cubicBezTo>
                        <a:lnTo>
                          <a:pt x="278114" y="103491"/>
                        </a:lnTo>
                        <a:lnTo>
                          <a:pt x="115649" y="113290"/>
                        </a:lnTo>
                        <a:close/>
                        <a:moveTo>
                          <a:pt x="122545" y="55163"/>
                        </a:moveTo>
                        <a:lnTo>
                          <a:pt x="129742" y="95386"/>
                        </a:lnTo>
                        <a:lnTo>
                          <a:pt x="264808" y="87221"/>
                        </a:lnTo>
                        <a:cubicBezTo>
                          <a:pt x="270614" y="62724"/>
                          <a:pt x="267711" y="43006"/>
                          <a:pt x="254888" y="19839"/>
                        </a:cubicBezTo>
                        <a:lnTo>
                          <a:pt x="122545" y="55163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9" name="Freihandform: Form 468">
                    <a:extLst>
                      <a:ext uri="{FF2B5EF4-FFF2-40B4-BE49-F238E27FC236}">
                        <a16:creationId xmlns:a16="http://schemas.microsoft.com/office/drawing/2014/main" id="{AFD20B0A-CD7F-5E6D-EB36-54425BFFE64C}"/>
                      </a:ext>
                    </a:extLst>
                  </p:cNvPr>
                  <p:cNvSpPr/>
                  <p:nvPr/>
                </p:nvSpPr>
                <p:spPr>
                  <a:xfrm rot="-1304998">
                    <a:off x="588752" y="1930189"/>
                    <a:ext cx="87099" cy="135004"/>
                  </a:xfrm>
                  <a:custGeom>
                    <a:avLst/>
                    <a:gdLst>
                      <a:gd name="connsiteX0" fmla="*/ 87100 w 87099"/>
                      <a:gd name="connsiteY0" fmla="*/ 67502 h 135004"/>
                      <a:gd name="connsiteX1" fmla="*/ 43550 w 87099"/>
                      <a:gd name="connsiteY1" fmla="*/ 135005 h 135004"/>
                      <a:gd name="connsiteX2" fmla="*/ 0 w 87099"/>
                      <a:gd name="connsiteY2" fmla="*/ 67502 h 135004"/>
                      <a:gd name="connsiteX3" fmla="*/ 43550 w 87099"/>
                      <a:gd name="connsiteY3" fmla="*/ 0 h 135004"/>
                      <a:gd name="connsiteX4" fmla="*/ 87100 w 87099"/>
                      <a:gd name="connsiteY4" fmla="*/ 67502 h 1350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7099" h="135004">
                        <a:moveTo>
                          <a:pt x="87100" y="67502"/>
                        </a:moveTo>
                        <a:cubicBezTo>
                          <a:pt x="87100" y="104783"/>
                          <a:pt x="67602" y="135005"/>
                          <a:pt x="43550" y="135005"/>
                        </a:cubicBezTo>
                        <a:cubicBezTo>
                          <a:pt x="19498" y="135005"/>
                          <a:pt x="0" y="104783"/>
                          <a:pt x="0" y="67502"/>
                        </a:cubicBezTo>
                        <a:cubicBezTo>
                          <a:pt x="0" y="30222"/>
                          <a:pt x="19498" y="0"/>
                          <a:pt x="43550" y="0"/>
                        </a:cubicBezTo>
                        <a:cubicBezTo>
                          <a:pt x="67602" y="0"/>
                          <a:pt x="87100" y="30222"/>
                          <a:pt x="87100" y="67502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70" name="Grafik 297">
                  <a:extLst>
                    <a:ext uri="{FF2B5EF4-FFF2-40B4-BE49-F238E27FC236}">
                      <a16:creationId xmlns:a16="http://schemas.microsoft.com/office/drawing/2014/main" id="{36A1CD4A-BD06-DB8B-E426-91894D46EA2D}"/>
                    </a:ext>
                  </a:extLst>
                </p:cNvPr>
                <p:cNvGrpSpPr/>
                <p:nvPr/>
              </p:nvGrpSpPr>
              <p:grpSpPr>
                <a:xfrm>
                  <a:off x="372895" y="2175735"/>
                  <a:ext cx="581693" cy="1213887"/>
                  <a:chOff x="372895" y="2175735"/>
                  <a:chExt cx="581693" cy="1213887"/>
                </a:xfrm>
              </p:grpSpPr>
              <p:sp>
                <p:nvSpPr>
                  <p:cNvPr id="471" name="Freihandform: Form 470">
                    <a:extLst>
                      <a:ext uri="{FF2B5EF4-FFF2-40B4-BE49-F238E27FC236}">
                        <a16:creationId xmlns:a16="http://schemas.microsoft.com/office/drawing/2014/main" id="{AC7F5AA1-1C22-A00E-FCC8-76C758CBC93B}"/>
                      </a:ext>
                    </a:extLst>
                  </p:cNvPr>
                  <p:cNvSpPr/>
                  <p:nvPr/>
                </p:nvSpPr>
                <p:spPr>
                  <a:xfrm>
                    <a:off x="372895" y="2175735"/>
                    <a:ext cx="581693" cy="1213887"/>
                  </a:xfrm>
                  <a:custGeom>
                    <a:avLst/>
                    <a:gdLst>
                      <a:gd name="connsiteX0" fmla="*/ 0 w 581693"/>
                      <a:gd name="connsiteY0" fmla="*/ 1177656 h 1213887"/>
                      <a:gd name="connsiteX1" fmla="*/ 561189 w 581693"/>
                      <a:gd name="connsiteY1" fmla="*/ 1213888 h 1213887"/>
                      <a:gd name="connsiteX2" fmla="*/ 579637 w 581693"/>
                      <a:gd name="connsiteY2" fmla="*/ 480616 h 1213887"/>
                      <a:gd name="connsiteX3" fmla="*/ 434894 w 581693"/>
                      <a:gd name="connsiteY3" fmla="*/ 178610 h 1213887"/>
                      <a:gd name="connsiteX4" fmla="*/ 342230 w 581693"/>
                      <a:gd name="connsiteY4" fmla="*/ 70158 h 1213887"/>
                      <a:gd name="connsiteX5" fmla="*/ 125871 w 581693"/>
                      <a:gd name="connsiteY5" fmla="*/ 2535 h 1213887"/>
                      <a:gd name="connsiteX6" fmla="*/ 49296 w 581693"/>
                      <a:gd name="connsiteY6" fmla="*/ 803248 h 1213887"/>
                      <a:gd name="connsiteX7" fmla="*/ 0 w 581693"/>
                      <a:gd name="connsiteY7" fmla="*/ 1177596 h 12138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81693" h="1213887">
                        <a:moveTo>
                          <a:pt x="0" y="1177656"/>
                        </a:moveTo>
                        <a:lnTo>
                          <a:pt x="561189" y="1213888"/>
                        </a:lnTo>
                        <a:cubicBezTo>
                          <a:pt x="571229" y="1059769"/>
                          <a:pt x="587440" y="576063"/>
                          <a:pt x="579637" y="480616"/>
                        </a:cubicBezTo>
                        <a:cubicBezTo>
                          <a:pt x="567782" y="336055"/>
                          <a:pt x="434894" y="178610"/>
                          <a:pt x="434894" y="178610"/>
                        </a:cubicBezTo>
                        <a:cubicBezTo>
                          <a:pt x="434894" y="178610"/>
                          <a:pt x="368964" y="95502"/>
                          <a:pt x="342230" y="70158"/>
                        </a:cubicBezTo>
                        <a:cubicBezTo>
                          <a:pt x="338661" y="66771"/>
                          <a:pt x="237226" y="-15308"/>
                          <a:pt x="125871" y="2535"/>
                        </a:cubicBezTo>
                        <a:cubicBezTo>
                          <a:pt x="-63692" y="199477"/>
                          <a:pt x="37259" y="683668"/>
                          <a:pt x="49296" y="803248"/>
                        </a:cubicBezTo>
                        <a:cubicBezTo>
                          <a:pt x="60184" y="911397"/>
                          <a:pt x="8408" y="1132050"/>
                          <a:pt x="0" y="117759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2" name="Freihandform: Form 471">
                    <a:extLst>
                      <a:ext uri="{FF2B5EF4-FFF2-40B4-BE49-F238E27FC236}">
                        <a16:creationId xmlns:a16="http://schemas.microsoft.com/office/drawing/2014/main" id="{E2217F9D-68C2-49B3-653E-366333CF95FC}"/>
                      </a:ext>
                    </a:extLst>
                  </p:cNvPr>
                  <p:cNvSpPr/>
                  <p:nvPr/>
                </p:nvSpPr>
                <p:spPr>
                  <a:xfrm>
                    <a:off x="431918" y="2368973"/>
                    <a:ext cx="299871" cy="833700"/>
                  </a:xfrm>
                  <a:custGeom>
                    <a:avLst/>
                    <a:gdLst>
                      <a:gd name="connsiteX0" fmla="*/ 214737 w 299871"/>
                      <a:gd name="connsiteY0" fmla="*/ 243586 h 833700"/>
                      <a:gd name="connsiteX1" fmla="*/ 69934 w 299871"/>
                      <a:gd name="connsiteY1" fmla="*/ 12953 h 833700"/>
                      <a:gd name="connsiteX2" fmla="*/ 11625 w 299871"/>
                      <a:gd name="connsiteY2" fmla="*/ 413612 h 833700"/>
                      <a:gd name="connsiteX3" fmla="*/ 173062 w 299871"/>
                      <a:gd name="connsiteY3" fmla="*/ 832175 h 833700"/>
                      <a:gd name="connsiteX4" fmla="*/ 214737 w 299871"/>
                      <a:gd name="connsiteY4" fmla="*/ 243586 h 8337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9871" h="833700">
                        <a:moveTo>
                          <a:pt x="214737" y="243586"/>
                        </a:moveTo>
                        <a:cubicBezTo>
                          <a:pt x="198890" y="90315"/>
                          <a:pt x="116205" y="-42815"/>
                          <a:pt x="69934" y="12953"/>
                        </a:cubicBezTo>
                        <a:cubicBezTo>
                          <a:pt x="-45111" y="208323"/>
                          <a:pt x="17976" y="260462"/>
                          <a:pt x="11625" y="413612"/>
                        </a:cubicBezTo>
                        <a:cubicBezTo>
                          <a:pt x="2915" y="624103"/>
                          <a:pt x="31404" y="854676"/>
                          <a:pt x="173062" y="832175"/>
                        </a:cubicBezTo>
                        <a:cubicBezTo>
                          <a:pt x="424200" y="792315"/>
                          <a:pt x="226895" y="361473"/>
                          <a:pt x="214737" y="243586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73" name="Grafik 297">
                  <a:extLst>
                    <a:ext uri="{FF2B5EF4-FFF2-40B4-BE49-F238E27FC236}">
                      <a16:creationId xmlns:a16="http://schemas.microsoft.com/office/drawing/2014/main" id="{BC990033-B12E-225D-C171-DF3C51556DE1}"/>
                    </a:ext>
                  </a:extLst>
                </p:cNvPr>
                <p:cNvGrpSpPr/>
                <p:nvPr/>
              </p:nvGrpSpPr>
              <p:grpSpPr>
                <a:xfrm>
                  <a:off x="1054754" y="3219161"/>
                  <a:ext cx="382210" cy="209656"/>
                  <a:chOff x="1054754" y="3219161"/>
                  <a:chExt cx="382210" cy="209656"/>
                </a:xfrm>
                <a:solidFill>
                  <a:srgbClr val="02787D"/>
                </a:solidFill>
              </p:grpSpPr>
              <p:sp>
                <p:nvSpPr>
                  <p:cNvPr id="474" name="Freihandform: Form 473">
                    <a:extLst>
                      <a:ext uri="{FF2B5EF4-FFF2-40B4-BE49-F238E27FC236}">
                        <a16:creationId xmlns:a16="http://schemas.microsoft.com/office/drawing/2014/main" id="{AB937EF7-27B8-F587-C6B9-80F2FA9494E8}"/>
                      </a:ext>
                    </a:extLst>
                  </p:cNvPr>
                  <p:cNvSpPr/>
                  <p:nvPr/>
                </p:nvSpPr>
                <p:spPr>
                  <a:xfrm>
                    <a:off x="1054754" y="3240041"/>
                    <a:ext cx="118915" cy="118915"/>
                  </a:xfrm>
                  <a:custGeom>
                    <a:avLst/>
                    <a:gdLst>
                      <a:gd name="connsiteX0" fmla="*/ 118915 w 118915"/>
                      <a:gd name="connsiteY0" fmla="*/ 59458 h 118915"/>
                      <a:gd name="connsiteX1" fmla="*/ 59458 w 118915"/>
                      <a:gd name="connsiteY1" fmla="*/ 118915 h 118915"/>
                      <a:gd name="connsiteX2" fmla="*/ 0 w 118915"/>
                      <a:gd name="connsiteY2" fmla="*/ 59458 h 118915"/>
                      <a:gd name="connsiteX3" fmla="*/ 59458 w 118915"/>
                      <a:gd name="connsiteY3" fmla="*/ 0 h 118915"/>
                      <a:gd name="connsiteX4" fmla="*/ 118915 w 118915"/>
                      <a:gd name="connsiteY4" fmla="*/ 59458 h 118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8915" h="118915">
                        <a:moveTo>
                          <a:pt x="118915" y="59458"/>
                        </a:moveTo>
                        <a:cubicBezTo>
                          <a:pt x="118915" y="92295"/>
                          <a:pt x="92295" y="118915"/>
                          <a:pt x="59458" y="118915"/>
                        </a:cubicBezTo>
                        <a:cubicBezTo>
                          <a:pt x="26620" y="118915"/>
                          <a:pt x="0" y="92295"/>
                          <a:pt x="0" y="59458"/>
                        </a:cubicBezTo>
                        <a:cubicBezTo>
                          <a:pt x="0" y="26620"/>
                          <a:pt x="26620" y="0"/>
                          <a:pt x="59458" y="0"/>
                        </a:cubicBezTo>
                        <a:cubicBezTo>
                          <a:pt x="92295" y="0"/>
                          <a:pt x="118915" y="26620"/>
                          <a:pt x="118915" y="5945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475" name="Grafik 297">
                    <a:extLst>
                      <a:ext uri="{FF2B5EF4-FFF2-40B4-BE49-F238E27FC236}">
                        <a16:creationId xmlns:a16="http://schemas.microsoft.com/office/drawing/2014/main" id="{73FC30AC-B150-DA99-CD61-D7A71E6E4558}"/>
                      </a:ext>
                    </a:extLst>
                  </p:cNvPr>
                  <p:cNvGrpSpPr/>
                  <p:nvPr/>
                </p:nvGrpSpPr>
                <p:grpSpPr>
                  <a:xfrm>
                    <a:off x="1069820" y="3219161"/>
                    <a:ext cx="367143" cy="209656"/>
                    <a:chOff x="1069820" y="3219161"/>
                    <a:chExt cx="367143" cy="209656"/>
                  </a:xfrm>
                  <a:solidFill>
                    <a:srgbClr val="02787D"/>
                  </a:solidFill>
                </p:grpSpPr>
                <p:grpSp>
                  <p:nvGrpSpPr>
                    <p:cNvPr id="476" name="Grafik 297">
                      <a:extLst>
                        <a:ext uri="{FF2B5EF4-FFF2-40B4-BE49-F238E27FC236}">
                          <a16:creationId xmlns:a16="http://schemas.microsoft.com/office/drawing/2014/main" id="{98B9A424-AFA2-F455-104F-4D71848BFB4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64829" y="3326989"/>
                      <a:ext cx="172135" cy="51322"/>
                      <a:chOff x="1264829" y="3326989"/>
                      <a:chExt cx="172135" cy="51322"/>
                    </a:xfrm>
                    <a:solidFill>
                      <a:srgbClr val="02787D"/>
                    </a:solidFill>
                  </p:grpSpPr>
                  <p:sp>
                    <p:nvSpPr>
                      <p:cNvPr id="477" name="Freihandform: Form 476">
                        <a:extLst>
                          <a:ext uri="{FF2B5EF4-FFF2-40B4-BE49-F238E27FC236}">
                            <a16:creationId xmlns:a16="http://schemas.microsoft.com/office/drawing/2014/main" id="{7A45278D-E1EF-E357-F7EF-A0F4C0A84B4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64829" y="3326989"/>
                        <a:ext cx="79232" cy="51322"/>
                      </a:xfrm>
                      <a:custGeom>
                        <a:avLst/>
                        <a:gdLst>
                          <a:gd name="connsiteX0" fmla="*/ 63865 w 79232"/>
                          <a:gd name="connsiteY0" fmla="*/ 51323 h 51322"/>
                          <a:gd name="connsiteX1" fmla="*/ 79229 w 79232"/>
                          <a:gd name="connsiteY1" fmla="*/ 30999 h 51322"/>
                          <a:gd name="connsiteX2" fmla="*/ 65559 w 79232"/>
                          <a:gd name="connsiteY2" fmla="*/ 12551 h 51322"/>
                          <a:gd name="connsiteX3" fmla="*/ 23158 w 79232"/>
                          <a:gd name="connsiteY3" fmla="*/ 514 h 51322"/>
                          <a:gd name="connsiteX4" fmla="*/ 900 w 79232"/>
                          <a:gd name="connsiteY4" fmla="*/ 14668 h 51322"/>
                          <a:gd name="connsiteX5" fmla="*/ 16202 w 79232"/>
                          <a:gd name="connsiteY5" fmla="*/ 40133 h 51322"/>
                          <a:gd name="connsiteX6" fmla="*/ 63865 w 79232"/>
                          <a:gd name="connsiteY6" fmla="*/ 51323 h 5132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9232" h="51322">
                            <a:moveTo>
                              <a:pt x="63865" y="51323"/>
                            </a:moveTo>
                            <a:cubicBezTo>
                              <a:pt x="63865" y="51323"/>
                              <a:pt x="78987" y="46544"/>
                              <a:pt x="79229" y="30999"/>
                            </a:cubicBezTo>
                            <a:cubicBezTo>
                              <a:pt x="79471" y="15878"/>
                              <a:pt x="65559" y="12551"/>
                              <a:pt x="65559" y="12551"/>
                            </a:cubicBezTo>
                            <a:lnTo>
                              <a:pt x="23158" y="514"/>
                            </a:lnTo>
                            <a:cubicBezTo>
                              <a:pt x="11243" y="-1966"/>
                              <a:pt x="3440" y="4809"/>
                              <a:pt x="900" y="14668"/>
                            </a:cubicBezTo>
                            <a:cubicBezTo>
                              <a:pt x="-2064" y="24467"/>
                              <a:pt x="2109" y="36262"/>
                              <a:pt x="16202" y="40133"/>
                            </a:cubicBezTo>
                            <a:lnTo>
                              <a:pt x="63865" y="51323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78" name="Freihandform: Form 477">
                        <a:extLst>
                          <a:ext uri="{FF2B5EF4-FFF2-40B4-BE49-F238E27FC236}">
                            <a16:creationId xmlns:a16="http://schemas.microsoft.com/office/drawing/2014/main" id="{7DA27D00-08D0-E4BE-D7F9-27C1DD35C9C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6113" y="3336851"/>
                        <a:ext cx="66300" cy="41461"/>
                      </a:xfrm>
                      <a:custGeom>
                        <a:avLst/>
                        <a:gdLst>
                          <a:gd name="connsiteX0" fmla="*/ 57099 w 66300"/>
                          <a:gd name="connsiteY0" fmla="*/ 34384 h 41461"/>
                          <a:gd name="connsiteX1" fmla="*/ 65325 w 66300"/>
                          <a:gd name="connsiteY1" fmla="*/ 14424 h 41461"/>
                          <a:gd name="connsiteX2" fmla="*/ 51534 w 66300"/>
                          <a:gd name="connsiteY2" fmla="*/ 89 h 41461"/>
                          <a:gd name="connsiteX3" fmla="*/ 14275 w 66300"/>
                          <a:gd name="connsiteY3" fmla="*/ 2629 h 41461"/>
                          <a:gd name="connsiteX4" fmla="*/ 0 w 66300"/>
                          <a:gd name="connsiteY4" fmla="*/ 21319 h 41461"/>
                          <a:gd name="connsiteX5" fmla="*/ 12581 w 66300"/>
                          <a:gd name="connsiteY5" fmla="*/ 41461 h 41461"/>
                          <a:gd name="connsiteX6" fmla="*/ 57099 w 66300"/>
                          <a:gd name="connsiteY6" fmla="*/ 34384 h 4146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6300" h="41461">
                            <a:moveTo>
                              <a:pt x="57099" y="34384"/>
                            </a:moveTo>
                            <a:cubicBezTo>
                              <a:pt x="57099" y="34384"/>
                              <a:pt x="69861" y="28880"/>
                              <a:pt x="65325" y="14424"/>
                            </a:cubicBezTo>
                            <a:cubicBezTo>
                              <a:pt x="60184" y="-2028"/>
                              <a:pt x="51534" y="89"/>
                              <a:pt x="51534" y="89"/>
                            </a:cubicBezTo>
                            <a:lnTo>
                              <a:pt x="14275" y="2629"/>
                            </a:lnTo>
                            <a:cubicBezTo>
                              <a:pt x="5202" y="2629"/>
                              <a:pt x="61" y="13759"/>
                              <a:pt x="0" y="21319"/>
                            </a:cubicBezTo>
                            <a:cubicBezTo>
                              <a:pt x="423" y="33054"/>
                              <a:pt x="2057" y="38074"/>
                              <a:pt x="12581" y="41461"/>
                            </a:cubicBezTo>
                            <a:lnTo>
                              <a:pt x="57099" y="34384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79" name="Freihandform: Form 478">
                        <a:extLst>
                          <a:ext uri="{FF2B5EF4-FFF2-40B4-BE49-F238E27FC236}">
                            <a16:creationId xmlns:a16="http://schemas.microsoft.com/office/drawing/2014/main" id="{FEF10AE2-F1E7-6D8F-1523-CCCB7E0DB9A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780" y="3327234"/>
                        <a:ext cx="82184" cy="44013"/>
                      </a:xfrm>
                      <a:custGeom>
                        <a:avLst/>
                        <a:gdLst>
                          <a:gd name="connsiteX0" fmla="*/ 56720 w 82184"/>
                          <a:gd name="connsiteY0" fmla="*/ 27489 h 44013"/>
                          <a:gd name="connsiteX1" fmla="*/ 82185 w 82184"/>
                          <a:gd name="connsiteY1" fmla="*/ 16238 h 44013"/>
                          <a:gd name="connsiteX2" fmla="*/ 42082 w 82184"/>
                          <a:gd name="connsiteY2" fmla="*/ 1117 h 44013"/>
                          <a:gd name="connsiteX3" fmla="*/ 12868 w 82184"/>
                          <a:gd name="connsiteY3" fmla="*/ 9706 h 44013"/>
                          <a:gd name="connsiteX4" fmla="*/ 165 w 82184"/>
                          <a:gd name="connsiteY4" fmla="*/ 29484 h 44013"/>
                          <a:gd name="connsiteX5" fmla="*/ 18432 w 82184"/>
                          <a:gd name="connsiteY5" fmla="*/ 44001 h 44013"/>
                          <a:gd name="connsiteX6" fmla="*/ 56720 w 82184"/>
                          <a:gd name="connsiteY6" fmla="*/ 27489 h 440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82184" h="44013">
                            <a:moveTo>
                              <a:pt x="56720" y="27489"/>
                            </a:moveTo>
                            <a:lnTo>
                              <a:pt x="82185" y="16238"/>
                            </a:lnTo>
                            <a:cubicBezTo>
                              <a:pt x="75833" y="-517"/>
                              <a:pt x="55510" y="-1545"/>
                              <a:pt x="42082" y="1117"/>
                            </a:cubicBezTo>
                            <a:cubicBezTo>
                              <a:pt x="28654" y="3778"/>
                              <a:pt x="12868" y="9706"/>
                              <a:pt x="12868" y="9706"/>
                            </a:cubicBezTo>
                            <a:cubicBezTo>
                              <a:pt x="3916" y="11460"/>
                              <a:pt x="-984" y="19988"/>
                              <a:pt x="165" y="29484"/>
                            </a:cubicBezTo>
                            <a:cubicBezTo>
                              <a:pt x="1315" y="38981"/>
                              <a:pt x="9299" y="44304"/>
                              <a:pt x="18432" y="44001"/>
                            </a:cubicBezTo>
                            <a:lnTo>
                              <a:pt x="56720" y="27489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0" name="Freihandform: Form 479">
                        <a:extLst>
                          <a:ext uri="{FF2B5EF4-FFF2-40B4-BE49-F238E27FC236}">
                            <a16:creationId xmlns:a16="http://schemas.microsoft.com/office/drawing/2014/main" id="{5A4F0C9C-CD9E-05D5-4C19-4D699F1E2FA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85508" y="3327201"/>
                        <a:ext cx="103672" cy="28807"/>
                      </a:xfrm>
                      <a:custGeom>
                        <a:avLst/>
                        <a:gdLst>
                          <a:gd name="connsiteX0" fmla="*/ 103673 w 103672"/>
                          <a:gd name="connsiteY0" fmla="*/ 2964 h 28807"/>
                          <a:gd name="connsiteX1" fmla="*/ 82140 w 103672"/>
                          <a:gd name="connsiteY1" fmla="*/ 9799 h 28807"/>
                          <a:gd name="connsiteX2" fmla="*/ 44881 w 103672"/>
                          <a:gd name="connsiteY2" fmla="*/ 12339 h 28807"/>
                          <a:gd name="connsiteX3" fmla="*/ 2480 w 103672"/>
                          <a:gd name="connsiteY3" fmla="*/ 302 h 28807"/>
                          <a:gd name="connsiteX4" fmla="*/ 0 w 103672"/>
                          <a:gd name="connsiteY4" fmla="*/ 0 h 28807"/>
                          <a:gd name="connsiteX5" fmla="*/ 16573 w 103672"/>
                          <a:gd name="connsiteY5" fmla="*/ 22864 h 28807"/>
                          <a:gd name="connsiteX6" fmla="*/ 63510 w 103672"/>
                          <a:gd name="connsiteY6" fmla="*/ 26916 h 28807"/>
                          <a:gd name="connsiteX7" fmla="*/ 103673 w 103672"/>
                          <a:gd name="connsiteY7" fmla="*/ 3024 h 28807"/>
                          <a:gd name="connsiteX8" fmla="*/ 103673 w 103672"/>
                          <a:gd name="connsiteY8" fmla="*/ 3024 h 2880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03672" h="28807">
                            <a:moveTo>
                              <a:pt x="103673" y="2964"/>
                            </a:moveTo>
                            <a:cubicBezTo>
                              <a:pt x="92544" y="5867"/>
                              <a:pt x="82140" y="9799"/>
                              <a:pt x="82140" y="9799"/>
                            </a:cubicBezTo>
                            <a:lnTo>
                              <a:pt x="44881" y="12339"/>
                            </a:lnTo>
                            <a:lnTo>
                              <a:pt x="2480" y="302"/>
                            </a:lnTo>
                            <a:cubicBezTo>
                              <a:pt x="1633" y="121"/>
                              <a:pt x="847" y="121"/>
                              <a:pt x="0" y="0"/>
                            </a:cubicBezTo>
                            <a:cubicBezTo>
                              <a:pt x="0" y="0"/>
                              <a:pt x="7803" y="19718"/>
                              <a:pt x="16573" y="22864"/>
                            </a:cubicBezTo>
                            <a:cubicBezTo>
                              <a:pt x="25404" y="26009"/>
                              <a:pt x="32844" y="31815"/>
                              <a:pt x="63510" y="26916"/>
                            </a:cubicBezTo>
                            <a:cubicBezTo>
                              <a:pt x="84196" y="23589"/>
                              <a:pt x="103673" y="3024"/>
                              <a:pt x="103673" y="3024"/>
                            </a:cubicBezTo>
                            <a:lnTo>
                              <a:pt x="103673" y="3024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81" name="Grafik 297">
                      <a:extLst>
                        <a:ext uri="{FF2B5EF4-FFF2-40B4-BE49-F238E27FC236}">
                          <a16:creationId xmlns:a16="http://schemas.microsoft.com/office/drawing/2014/main" id="{E1D8EBF0-CEED-5DB8-4FDF-D9C9B820626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50636" y="3354113"/>
                      <a:ext cx="167214" cy="58191"/>
                      <a:chOff x="1250636" y="3354113"/>
                      <a:chExt cx="167214" cy="58191"/>
                    </a:xfrm>
                    <a:solidFill>
                      <a:srgbClr val="02787D"/>
                    </a:solidFill>
                  </p:grpSpPr>
                  <p:sp>
                    <p:nvSpPr>
                      <p:cNvPr id="482" name="Freihandform: Form 481">
                        <a:extLst>
                          <a:ext uri="{FF2B5EF4-FFF2-40B4-BE49-F238E27FC236}">
                            <a16:creationId xmlns:a16="http://schemas.microsoft.com/office/drawing/2014/main" id="{B46CC4C8-C6B8-97B0-C132-D3890BFE16B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50636" y="3363067"/>
                        <a:ext cx="81268" cy="49237"/>
                      </a:xfrm>
                      <a:custGeom>
                        <a:avLst/>
                        <a:gdLst>
                          <a:gd name="connsiteX0" fmla="*/ 69530 w 81268"/>
                          <a:gd name="connsiteY0" fmla="*/ 49177 h 49237"/>
                          <a:gd name="connsiteX1" fmla="*/ 81022 w 81268"/>
                          <a:gd name="connsiteY1" fmla="*/ 30426 h 49237"/>
                          <a:gd name="connsiteX2" fmla="*/ 64993 w 81268"/>
                          <a:gd name="connsiteY2" fmla="*/ 11131 h 49237"/>
                          <a:gd name="connsiteX3" fmla="*/ 23803 w 81268"/>
                          <a:gd name="connsiteY3" fmla="*/ 304 h 49237"/>
                          <a:gd name="connsiteX4" fmla="*/ 757 w 81268"/>
                          <a:gd name="connsiteY4" fmla="*/ 14216 h 49237"/>
                          <a:gd name="connsiteX5" fmla="*/ 17089 w 81268"/>
                          <a:gd name="connsiteY5" fmla="*/ 39076 h 49237"/>
                          <a:gd name="connsiteX6" fmla="*/ 69590 w 81268"/>
                          <a:gd name="connsiteY6" fmla="*/ 49237 h 492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81268" h="49237">
                            <a:moveTo>
                              <a:pt x="69530" y="49177"/>
                            </a:moveTo>
                            <a:cubicBezTo>
                              <a:pt x="69530" y="49177"/>
                              <a:pt x="83260" y="45003"/>
                              <a:pt x="81022" y="30426"/>
                            </a:cubicBezTo>
                            <a:cubicBezTo>
                              <a:pt x="78361" y="12885"/>
                              <a:pt x="64993" y="11131"/>
                              <a:pt x="64993" y="11131"/>
                            </a:cubicBezTo>
                            <a:lnTo>
                              <a:pt x="23803" y="304"/>
                            </a:lnTo>
                            <a:cubicBezTo>
                              <a:pt x="11826" y="-1450"/>
                              <a:pt x="3177" y="4538"/>
                              <a:pt x="757" y="14216"/>
                            </a:cubicBezTo>
                            <a:cubicBezTo>
                              <a:pt x="-2146" y="23773"/>
                              <a:pt x="3298" y="35265"/>
                              <a:pt x="17089" y="39076"/>
                            </a:cubicBezTo>
                            <a:lnTo>
                              <a:pt x="69590" y="4923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3" name="Freihandform: Form 482">
                        <a:extLst>
                          <a:ext uri="{FF2B5EF4-FFF2-40B4-BE49-F238E27FC236}">
                            <a16:creationId xmlns:a16="http://schemas.microsoft.com/office/drawing/2014/main" id="{344A496B-416F-377F-4403-3CBDB0EA17F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3585" y="3362437"/>
                        <a:ext cx="66097" cy="49807"/>
                      </a:xfrm>
                      <a:custGeom>
                        <a:avLst/>
                        <a:gdLst>
                          <a:gd name="connsiteX0" fmla="*/ 56441 w 66097"/>
                          <a:gd name="connsiteY0" fmla="*/ 32569 h 49807"/>
                          <a:gd name="connsiteX1" fmla="*/ 65272 w 66097"/>
                          <a:gd name="connsiteY1" fmla="*/ 13093 h 49807"/>
                          <a:gd name="connsiteX2" fmla="*/ 48578 w 66097"/>
                          <a:gd name="connsiteY2" fmla="*/ 330 h 49807"/>
                          <a:gd name="connsiteX3" fmla="*/ 11621 w 66097"/>
                          <a:gd name="connsiteY3" fmla="*/ 11762 h 49807"/>
                          <a:gd name="connsiteX4" fmla="*/ 68 w 66097"/>
                          <a:gd name="connsiteY4" fmla="*/ 31057 h 49807"/>
                          <a:gd name="connsiteX5" fmla="*/ 16581 w 66097"/>
                          <a:gd name="connsiteY5" fmla="*/ 49808 h 49807"/>
                          <a:gd name="connsiteX6" fmla="*/ 56441 w 66097"/>
                          <a:gd name="connsiteY6" fmla="*/ 32569 h 4980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6097" h="49807">
                            <a:moveTo>
                              <a:pt x="56441" y="32569"/>
                            </a:moveTo>
                            <a:cubicBezTo>
                              <a:pt x="56441" y="32569"/>
                              <a:pt x="69445" y="29424"/>
                              <a:pt x="65272" y="13093"/>
                            </a:cubicBezTo>
                            <a:cubicBezTo>
                              <a:pt x="60977" y="-3239"/>
                              <a:pt x="48578" y="330"/>
                              <a:pt x="48578" y="330"/>
                            </a:cubicBezTo>
                            <a:lnTo>
                              <a:pt x="11621" y="11762"/>
                            </a:lnTo>
                            <a:cubicBezTo>
                              <a:pt x="5391" y="17871"/>
                              <a:pt x="673" y="23194"/>
                              <a:pt x="68" y="31057"/>
                            </a:cubicBezTo>
                            <a:cubicBezTo>
                              <a:pt x="-537" y="38920"/>
                              <a:pt x="2729" y="47751"/>
                              <a:pt x="16581" y="49808"/>
                            </a:cubicBezTo>
                            <a:lnTo>
                              <a:pt x="56441" y="32569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4" name="Freihandform: Form 483">
                        <a:extLst>
                          <a:ext uri="{FF2B5EF4-FFF2-40B4-BE49-F238E27FC236}">
                            <a16:creationId xmlns:a16="http://schemas.microsoft.com/office/drawing/2014/main" id="{BDB77721-DB70-8551-CDB4-8BE8A1C2B22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3092" y="3354113"/>
                        <a:ext cx="74758" cy="40567"/>
                      </a:xfrm>
                      <a:custGeom>
                        <a:avLst/>
                        <a:gdLst>
                          <a:gd name="connsiteX0" fmla="*/ 49839 w 74758"/>
                          <a:gd name="connsiteY0" fmla="*/ 26920 h 40567"/>
                          <a:gd name="connsiteX1" fmla="*/ 74759 w 74758"/>
                          <a:gd name="connsiteY1" fmla="*/ 16093 h 40567"/>
                          <a:gd name="connsiteX2" fmla="*/ 35685 w 74758"/>
                          <a:gd name="connsiteY2" fmla="*/ 1032 h 40567"/>
                          <a:gd name="connsiteX3" fmla="*/ 7498 w 74758"/>
                          <a:gd name="connsiteY3" fmla="*/ 9137 h 40567"/>
                          <a:gd name="connsiteX4" fmla="*/ 845 w 74758"/>
                          <a:gd name="connsiteY4" fmla="*/ 28977 h 40567"/>
                          <a:gd name="connsiteX5" fmla="*/ 18507 w 74758"/>
                          <a:gd name="connsiteY5" fmla="*/ 40348 h 40567"/>
                          <a:gd name="connsiteX6" fmla="*/ 49899 w 74758"/>
                          <a:gd name="connsiteY6" fmla="*/ 26920 h 4056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4758" h="40567">
                            <a:moveTo>
                              <a:pt x="49839" y="26920"/>
                            </a:moveTo>
                            <a:lnTo>
                              <a:pt x="74759" y="16093"/>
                            </a:lnTo>
                            <a:cubicBezTo>
                              <a:pt x="68650" y="-359"/>
                              <a:pt x="48810" y="-1508"/>
                              <a:pt x="35685" y="1032"/>
                            </a:cubicBezTo>
                            <a:cubicBezTo>
                              <a:pt x="22559" y="3572"/>
                              <a:pt x="7498" y="9137"/>
                              <a:pt x="7498" y="9137"/>
                            </a:cubicBezTo>
                            <a:cubicBezTo>
                              <a:pt x="-1030" y="14400"/>
                              <a:pt x="-667" y="22202"/>
                              <a:pt x="845" y="28977"/>
                            </a:cubicBezTo>
                            <a:cubicBezTo>
                              <a:pt x="2599" y="36840"/>
                              <a:pt x="9676" y="41679"/>
                              <a:pt x="18507" y="40348"/>
                            </a:cubicBezTo>
                            <a:lnTo>
                              <a:pt x="49899" y="26920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85" name="Grafik 297">
                      <a:extLst>
                        <a:ext uri="{FF2B5EF4-FFF2-40B4-BE49-F238E27FC236}">
                          <a16:creationId xmlns:a16="http://schemas.microsoft.com/office/drawing/2014/main" id="{F641BF49-0106-98D8-4960-C17443E6F00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19789" y="3374219"/>
                      <a:ext cx="153786" cy="54598"/>
                      <a:chOff x="1219789" y="3374219"/>
                      <a:chExt cx="153786" cy="54598"/>
                    </a:xfrm>
                    <a:solidFill>
                      <a:srgbClr val="02787D"/>
                    </a:solidFill>
                  </p:grpSpPr>
                  <p:sp>
                    <p:nvSpPr>
                      <p:cNvPr id="486" name="Freihandform: Form 485">
                        <a:extLst>
                          <a:ext uri="{FF2B5EF4-FFF2-40B4-BE49-F238E27FC236}">
                            <a16:creationId xmlns:a16="http://schemas.microsoft.com/office/drawing/2014/main" id="{BCCAD320-23D8-0B40-718C-285C4EE90C6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19789" y="3382861"/>
                        <a:ext cx="71114" cy="45956"/>
                      </a:xfrm>
                      <a:custGeom>
                        <a:avLst/>
                        <a:gdLst>
                          <a:gd name="connsiteX0" fmla="*/ 62513 w 71114"/>
                          <a:gd name="connsiteY0" fmla="*/ 45956 h 45956"/>
                          <a:gd name="connsiteX1" fmla="*/ 70195 w 71114"/>
                          <a:gd name="connsiteY1" fmla="*/ 29746 h 45956"/>
                          <a:gd name="connsiteX2" fmla="*/ 65537 w 71114"/>
                          <a:gd name="connsiteY2" fmla="*/ 13233 h 45956"/>
                          <a:gd name="connsiteX3" fmla="*/ 19568 w 71114"/>
                          <a:gd name="connsiteY3" fmla="*/ 410 h 45956"/>
                          <a:gd name="connsiteX4" fmla="*/ 999 w 71114"/>
                          <a:gd name="connsiteY4" fmla="*/ 10753 h 45956"/>
                          <a:gd name="connsiteX5" fmla="*/ 13399 w 71114"/>
                          <a:gd name="connsiteY5" fmla="*/ 36702 h 45956"/>
                          <a:gd name="connsiteX6" fmla="*/ 62513 w 71114"/>
                          <a:gd name="connsiteY6" fmla="*/ 45956 h 4595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1114" h="45956">
                            <a:moveTo>
                              <a:pt x="62513" y="45956"/>
                            </a:moveTo>
                            <a:cubicBezTo>
                              <a:pt x="62513" y="45956"/>
                              <a:pt x="66566" y="43053"/>
                              <a:pt x="70195" y="29746"/>
                            </a:cubicBezTo>
                            <a:cubicBezTo>
                              <a:pt x="73824" y="16379"/>
                              <a:pt x="65537" y="13233"/>
                              <a:pt x="65537" y="13233"/>
                            </a:cubicBezTo>
                            <a:lnTo>
                              <a:pt x="19568" y="410"/>
                            </a:lnTo>
                            <a:cubicBezTo>
                              <a:pt x="8378" y="-1162"/>
                              <a:pt x="3237" y="1681"/>
                              <a:pt x="999" y="10753"/>
                            </a:cubicBezTo>
                            <a:cubicBezTo>
                              <a:pt x="-1662" y="19705"/>
                              <a:pt x="515" y="33194"/>
                              <a:pt x="13399" y="36702"/>
                            </a:cubicBezTo>
                            <a:lnTo>
                              <a:pt x="62513" y="45956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7" name="Freihandform: Form 486">
                        <a:extLst>
                          <a:ext uri="{FF2B5EF4-FFF2-40B4-BE49-F238E27FC236}">
                            <a16:creationId xmlns:a16="http://schemas.microsoft.com/office/drawing/2014/main" id="{FF070828-4CDE-604C-AD71-F8E8FE53BA2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70181" y="3381975"/>
                        <a:ext cx="59305" cy="46842"/>
                      </a:xfrm>
                      <a:custGeom>
                        <a:avLst/>
                        <a:gdLst>
                          <a:gd name="connsiteX0" fmla="*/ 49320 w 59305"/>
                          <a:gd name="connsiteY0" fmla="*/ 30572 h 46842"/>
                          <a:gd name="connsiteX1" fmla="*/ 58574 w 59305"/>
                          <a:gd name="connsiteY1" fmla="*/ 11338 h 46842"/>
                          <a:gd name="connsiteX2" fmla="*/ 41154 w 59305"/>
                          <a:gd name="connsiteY2" fmla="*/ 632 h 46842"/>
                          <a:gd name="connsiteX3" fmla="*/ 13330 w 59305"/>
                          <a:gd name="connsiteY3" fmla="*/ 13636 h 46842"/>
                          <a:gd name="connsiteX4" fmla="*/ 23 w 59305"/>
                          <a:gd name="connsiteY4" fmla="*/ 28213 h 46842"/>
                          <a:gd name="connsiteX5" fmla="*/ 12121 w 59305"/>
                          <a:gd name="connsiteY5" fmla="*/ 46843 h 46842"/>
                          <a:gd name="connsiteX6" fmla="*/ 49320 w 59305"/>
                          <a:gd name="connsiteY6" fmla="*/ 30572 h 4684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9305" h="46842">
                            <a:moveTo>
                              <a:pt x="49320" y="30572"/>
                            </a:moveTo>
                            <a:cubicBezTo>
                              <a:pt x="49320" y="30572"/>
                              <a:pt x="62506" y="26641"/>
                              <a:pt x="58574" y="11338"/>
                            </a:cubicBezTo>
                            <a:cubicBezTo>
                              <a:pt x="54461" y="-3905"/>
                              <a:pt x="41154" y="632"/>
                              <a:pt x="41154" y="632"/>
                            </a:cubicBezTo>
                            <a:lnTo>
                              <a:pt x="13330" y="13636"/>
                            </a:lnTo>
                            <a:cubicBezTo>
                              <a:pt x="5467" y="14967"/>
                              <a:pt x="326" y="15511"/>
                              <a:pt x="23" y="28213"/>
                            </a:cubicBezTo>
                            <a:cubicBezTo>
                              <a:pt x="-279" y="40915"/>
                              <a:pt x="2261" y="44968"/>
                              <a:pt x="12121" y="46843"/>
                            </a:cubicBezTo>
                            <a:lnTo>
                              <a:pt x="49320" y="30572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8" name="Freihandform: Form 487">
                        <a:extLst>
                          <a:ext uri="{FF2B5EF4-FFF2-40B4-BE49-F238E27FC236}">
                            <a16:creationId xmlns:a16="http://schemas.microsoft.com/office/drawing/2014/main" id="{95A5D970-2A19-EA1E-8346-CD4EC68DA0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4207" y="3374219"/>
                        <a:ext cx="69368" cy="38586"/>
                      </a:xfrm>
                      <a:custGeom>
                        <a:avLst/>
                        <a:gdLst>
                          <a:gd name="connsiteX0" fmla="*/ 46081 w 69368"/>
                          <a:gd name="connsiteY0" fmla="*/ 25142 h 38586"/>
                          <a:gd name="connsiteX1" fmla="*/ 69368 w 69368"/>
                          <a:gd name="connsiteY1" fmla="*/ 14920 h 38586"/>
                          <a:gd name="connsiteX2" fmla="*/ 32714 w 69368"/>
                          <a:gd name="connsiteY2" fmla="*/ 1008 h 38586"/>
                          <a:gd name="connsiteX3" fmla="*/ 7128 w 69368"/>
                          <a:gd name="connsiteY3" fmla="*/ 8447 h 38586"/>
                          <a:gd name="connsiteX4" fmla="*/ 656 w 69368"/>
                          <a:gd name="connsiteY4" fmla="*/ 23569 h 38586"/>
                          <a:gd name="connsiteX5" fmla="*/ 15294 w 69368"/>
                          <a:gd name="connsiteY5" fmla="*/ 38388 h 38586"/>
                          <a:gd name="connsiteX6" fmla="*/ 46081 w 69368"/>
                          <a:gd name="connsiteY6" fmla="*/ 25142 h 385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9368" h="38586">
                            <a:moveTo>
                              <a:pt x="46081" y="25142"/>
                            </a:moveTo>
                            <a:lnTo>
                              <a:pt x="69368" y="14920"/>
                            </a:lnTo>
                            <a:cubicBezTo>
                              <a:pt x="63562" y="-444"/>
                              <a:pt x="44992" y="-1412"/>
                              <a:pt x="32714" y="1008"/>
                            </a:cubicBezTo>
                            <a:cubicBezTo>
                              <a:pt x="20435" y="3427"/>
                              <a:pt x="7128" y="8447"/>
                              <a:pt x="7128" y="8447"/>
                            </a:cubicBezTo>
                            <a:cubicBezTo>
                              <a:pt x="-917" y="12863"/>
                              <a:pt x="-554" y="17157"/>
                              <a:pt x="656" y="23569"/>
                            </a:cubicBezTo>
                            <a:cubicBezTo>
                              <a:pt x="1926" y="30585"/>
                              <a:pt x="7128" y="40082"/>
                              <a:pt x="15294" y="38388"/>
                            </a:cubicBezTo>
                            <a:lnTo>
                              <a:pt x="46081" y="25142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489" name="Freihandform: Form 488">
                      <a:extLst>
                        <a:ext uri="{FF2B5EF4-FFF2-40B4-BE49-F238E27FC236}">
                          <a16:creationId xmlns:a16="http://schemas.microsoft.com/office/drawing/2014/main" id="{835EF62D-8ADC-B10D-4332-7379716CF6C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9820" y="3243005"/>
                      <a:ext cx="221554" cy="177405"/>
                    </a:xfrm>
                    <a:custGeom>
                      <a:avLst/>
                      <a:gdLst>
                        <a:gd name="connsiteX0" fmla="*/ 8644 w 221554"/>
                        <a:gd name="connsiteY0" fmla="*/ 104036 h 177405"/>
                        <a:gd name="connsiteX1" fmla="*/ 72154 w 221554"/>
                        <a:gd name="connsiteY1" fmla="*/ 151094 h 177405"/>
                        <a:gd name="connsiteX2" fmla="*/ 167056 w 221554"/>
                        <a:gd name="connsiteY2" fmla="*/ 177405 h 177405"/>
                        <a:gd name="connsiteX3" fmla="*/ 221554 w 221554"/>
                        <a:gd name="connsiteY3" fmla="*/ 56917 h 177405"/>
                        <a:gd name="connsiteX4" fmla="*/ 195001 w 221554"/>
                        <a:gd name="connsiteY4" fmla="*/ 39739 h 177405"/>
                        <a:gd name="connsiteX5" fmla="*/ 58968 w 221554"/>
                        <a:gd name="connsiteY5" fmla="*/ 0 h 177405"/>
                        <a:gd name="connsiteX6" fmla="*/ 8644 w 221554"/>
                        <a:gd name="connsiteY6" fmla="*/ 104096 h 17740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221554" h="177405">
                          <a:moveTo>
                            <a:pt x="8644" y="104036"/>
                          </a:moveTo>
                          <a:cubicBezTo>
                            <a:pt x="21890" y="119339"/>
                            <a:pt x="47415" y="136396"/>
                            <a:pt x="72154" y="151094"/>
                          </a:cubicBezTo>
                          <a:cubicBezTo>
                            <a:pt x="124898" y="172990"/>
                            <a:pt x="165786" y="177103"/>
                            <a:pt x="167056" y="177405"/>
                          </a:cubicBezTo>
                          <a:cubicBezTo>
                            <a:pt x="170504" y="176317"/>
                            <a:pt x="221131" y="153876"/>
                            <a:pt x="221554" y="56917"/>
                          </a:cubicBezTo>
                          <a:cubicBezTo>
                            <a:pt x="188287" y="49961"/>
                            <a:pt x="195061" y="39860"/>
                            <a:pt x="195001" y="39739"/>
                          </a:cubicBezTo>
                          <a:lnTo>
                            <a:pt x="58968" y="0"/>
                          </a:lnTo>
                          <a:cubicBezTo>
                            <a:pt x="22011" y="0"/>
                            <a:pt x="-17970" y="83229"/>
                            <a:pt x="8644" y="104096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90" name="Freihandform: Form 489">
                      <a:extLst>
                        <a:ext uri="{FF2B5EF4-FFF2-40B4-BE49-F238E27FC236}">
                          <a16:creationId xmlns:a16="http://schemas.microsoft.com/office/drawing/2014/main" id="{AB92DEA1-9D3C-EC90-CAF4-55DF7201FB5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0941" y="3219161"/>
                      <a:ext cx="147269" cy="87642"/>
                    </a:xfrm>
                    <a:custGeom>
                      <a:avLst/>
                      <a:gdLst>
                        <a:gd name="connsiteX0" fmla="*/ 8271 w 147269"/>
                        <a:gd name="connsiteY0" fmla="*/ 22815 h 87642"/>
                        <a:gd name="connsiteX1" fmla="*/ 123497 w 147269"/>
                        <a:gd name="connsiteY1" fmla="*/ 4428 h 87642"/>
                        <a:gd name="connsiteX2" fmla="*/ 134384 w 147269"/>
                        <a:gd name="connsiteY2" fmla="*/ 67454 h 87642"/>
                        <a:gd name="connsiteX3" fmla="*/ 63797 w 147269"/>
                        <a:gd name="connsiteY3" fmla="*/ 87475 h 87642"/>
                        <a:gd name="connsiteX4" fmla="*/ 8271 w 147269"/>
                        <a:gd name="connsiteY4" fmla="*/ 22815 h 8764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47269" h="87642">
                          <a:moveTo>
                            <a:pt x="8271" y="22815"/>
                          </a:moveTo>
                          <a:cubicBezTo>
                            <a:pt x="41720" y="-1258"/>
                            <a:pt x="87992" y="-4222"/>
                            <a:pt x="123497" y="4428"/>
                          </a:cubicBezTo>
                          <a:cubicBezTo>
                            <a:pt x="157006" y="18763"/>
                            <a:pt x="149687" y="62797"/>
                            <a:pt x="134384" y="67454"/>
                          </a:cubicBezTo>
                          <a:cubicBezTo>
                            <a:pt x="134384" y="67454"/>
                            <a:pt x="88717" y="86023"/>
                            <a:pt x="63797" y="87475"/>
                          </a:cubicBezTo>
                          <a:cubicBezTo>
                            <a:pt x="1073" y="91044"/>
                            <a:pt x="-10722" y="36546"/>
                            <a:pt x="8271" y="2281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91" name="Freihandform: Form 490">
                      <a:extLst>
                        <a:ext uri="{FF2B5EF4-FFF2-40B4-BE49-F238E27FC236}">
                          <a16:creationId xmlns:a16="http://schemas.microsoft.com/office/drawing/2014/main" id="{0EF72698-E998-8937-E4B2-A512AD6A70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14311" y="3223039"/>
                      <a:ext cx="149283" cy="73980"/>
                    </a:xfrm>
                    <a:custGeom>
                      <a:avLst/>
                      <a:gdLst>
                        <a:gd name="connsiteX0" fmla="*/ 30126 w 149283"/>
                        <a:gd name="connsiteY0" fmla="*/ 550 h 73980"/>
                        <a:gd name="connsiteX1" fmla="*/ 91217 w 149283"/>
                        <a:gd name="connsiteY1" fmla="*/ 21417 h 73980"/>
                        <a:gd name="connsiteX2" fmla="*/ 149284 w 149283"/>
                        <a:gd name="connsiteY2" fmla="*/ 59947 h 73980"/>
                        <a:gd name="connsiteX3" fmla="*/ 122912 w 149283"/>
                        <a:gd name="connsiteY3" fmla="*/ 73979 h 73980"/>
                        <a:gd name="connsiteX4" fmla="*/ 84685 w 149283"/>
                        <a:gd name="connsiteY4" fmla="*/ 56983 h 73980"/>
                        <a:gd name="connsiteX5" fmla="*/ 50510 w 149283"/>
                        <a:gd name="connsiteY5" fmla="*/ 59705 h 73980"/>
                        <a:gd name="connsiteX6" fmla="*/ 4 w 149283"/>
                        <a:gd name="connsiteY6" fmla="*/ 27526 h 73980"/>
                        <a:gd name="connsiteX7" fmla="*/ 30126 w 149283"/>
                        <a:gd name="connsiteY7" fmla="*/ 550 h 7398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49283" h="73980">
                          <a:moveTo>
                            <a:pt x="30126" y="550"/>
                          </a:moveTo>
                          <a:lnTo>
                            <a:pt x="91217" y="21417"/>
                          </a:lnTo>
                          <a:lnTo>
                            <a:pt x="149284" y="59947"/>
                          </a:lnTo>
                          <a:cubicBezTo>
                            <a:pt x="149284" y="59947"/>
                            <a:pt x="146622" y="73617"/>
                            <a:pt x="122912" y="73979"/>
                          </a:cubicBezTo>
                          <a:cubicBezTo>
                            <a:pt x="115956" y="74101"/>
                            <a:pt x="97266" y="62911"/>
                            <a:pt x="84685" y="56983"/>
                          </a:cubicBezTo>
                          <a:cubicBezTo>
                            <a:pt x="62002" y="56076"/>
                            <a:pt x="50510" y="59705"/>
                            <a:pt x="50510" y="59705"/>
                          </a:cubicBezTo>
                          <a:cubicBezTo>
                            <a:pt x="50510" y="59705"/>
                            <a:pt x="791" y="61398"/>
                            <a:pt x="4" y="27526"/>
                          </a:cubicBezTo>
                          <a:cubicBezTo>
                            <a:pt x="-359" y="12405"/>
                            <a:pt x="21900" y="-3140"/>
                            <a:pt x="30126" y="550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492" name="Grafik 297">
                      <a:extLst>
                        <a:ext uri="{FF2B5EF4-FFF2-40B4-BE49-F238E27FC236}">
                          <a16:creationId xmlns:a16="http://schemas.microsoft.com/office/drawing/2014/main" id="{DDDF0A67-EC11-8CBE-8A58-F2B26F68EC2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66882" y="3299490"/>
                      <a:ext cx="158227" cy="46280"/>
                      <a:chOff x="1266882" y="3299490"/>
                      <a:chExt cx="158227" cy="46280"/>
                    </a:xfrm>
                    <a:solidFill>
                      <a:srgbClr val="02787D"/>
                    </a:solidFill>
                  </p:grpSpPr>
                  <p:sp>
                    <p:nvSpPr>
                      <p:cNvPr id="493" name="Freihandform: Form 492">
                        <a:extLst>
                          <a:ext uri="{FF2B5EF4-FFF2-40B4-BE49-F238E27FC236}">
                            <a16:creationId xmlns:a16="http://schemas.microsoft.com/office/drawing/2014/main" id="{60C40D62-18B2-892E-14A9-C7F5724EA9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66882" y="3299490"/>
                        <a:ext cx="75457" cy="46280"/>
                      </a:xfrm>
                      <a:custGeom>
                        <a:avLst/>
                        <a:gdLst>
                          <a:gd name="connsiteX0" fmla="*/ 58849 w 75457"/>
                          <a:gd name="connsiteY0" fmla="*/ 46280 h 46280"/>
                          <a:gd name="connsiteX1" fmla="*/ 74938 w 75457"/>
                          <a:gd name="connsiteY1" fmla="*/ 30009 h 46280"/>
                          <a:gd name="connsiteX2" fmla="*/ 61450 w 75457"/>
                          <a:gd name="connsiteY2" fmla="*/ 10956 h 46280"/>
                          <a:gd name="connsiteX3" fmla="*/ 24432 w 75457"/>
                          <a:gd name="connsiteY3" fmla="*/ 432 h 46280"/>
                          <a:gd name="connsiteX4" fmla="*/ 540 w 75457"/>
                          <a:gd name="connsiteY4" fmla="*/ 10775 h 46280"/>
                          <a:gd name="connsiteX5" fmla="*/ 18142 w 75457"/>
                          <a:gd name="connsiteY5" fmla="*/ 36663 h 46280"/>
                          <a:gd name="connsiteX6" fmla="*/ 58849 w 75457"/>
                          <a:gd name="connsiteY6" fmla="*/ 46220 h 4628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5457" h="46280">
                            <a:moveTo>
                              <a:pt x="58849" y="46280"/>
                            </a:moveTo>
                            <a:cubicBezTo>
                              <a:pt x="58849" y="46280"/>
                              <a:pt x="71248" y="43316"/>
                              <a:pt x="74938" y="30009"/>
                            </a:cubicBezTo>
                            <a:cubicBezTo>
                              <a:pt x="78628" y="16703"/>
                              <a:pt x="61450" y="10956"/>
                              <a:pt x="61450" y="10956"/>
                            </a:cubicBezTo>
                            <a:lnTo>
                              <a:pt x="24432" y="432"/>
                            </a:lnTo>
                            <a:cubicBezTo>
                              <a:pt x="13242" y="-1201"/>
                              <a:pt x="2778" y="1702"/>
                              <a:pt x="540" y="10775"/>
                            </a:cubicBezTo>
                            <a:cubicBezTo>
                              <a:pt x="-2121" y="19727"/>
                              <a:pt x="5258" y="33094"/>
                              <a:pt x="18142" y="36663"/>
                            </a:cubicBezTo>
                            <a:lnTo>
                              <a:pt x="58849" y="46220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94" name="Freihandform: Form 493">
                        <a:extLst>
                          <a:ext uri="{FF2B5EF4-FFF2-40B4-BE49-F238E27FC236}">
                            <a16:creationId xmlns:a16="http://schemas.microsoft.com/office/drawing/2014/main" id="{21B64AC0-4136-EB30-E9E7-F80D4D0006E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0046" y="3310251"/>
                        <a:ext cx="65362" cy="35519"/>
                      </a:xfrm>
                      <a:custGeom>
                        <a:avLst/>
                        <a:gdLst>
                          <a:gd name="connsiteX0" fmla="*/ 54214 w 65362"/>
                          <a:gd name="connsiteY0" fmla="*/ 30137 h 35519"/>
                          <a:gd name="connsiteX1" fmla="*/ 65344 w 65362"/>
                          <a:gd name="connsiteY1" fmla="*/ 13926 h 35519"/>
                          <a:gd name="connsiteX2" fmla="*/ 51311 w 65362"/>
                          <a:gd name="connsiteY2" fmla="*/ 75 h 35519"/>
                          <a:gd name="connsiteX3" fmla="*/ 17741 w 65362"/>
                          <a:gd name="connsiteY3" fmla="*/ 75 h 35519"/>
                          <a:gd name="connsiteX4" fmla="*/ 382 w 65362"/>
                          <a:gd name="connsiteY4" fmla="*/ 16709 h 35519"/>
                          <a:gd name="connsiteX5" fmla="*/ 15685 w 65362"/>
                          <a:gd name="connsiteY5" fmla="*/ 35520 h 35519"/>
                          <a:gd name="connsiteX6" fmla="*/ 54214 w 65362"/>
                          <a:gd name="connsiteY6" fmla="*/ 30137 h 3551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5362" h="35519">
                            <a:moveTo>
                              <a:pt x="54214" y="30137"/>
                            </a:moveTo>
                            <a:cubicBezTo>
                              <a:pt x="54214" y="30137"/>
                              <a:pt x="64557" y="29653"/>
                              <a:pt x="65344" y="13926"/>
                            </a:cubicBezTo>
                            <a:cubicBezTo>
                              <a:pt x="65949" y="-1861"/>
                              <a:pt x="51311" y="75"/>
                              <a:pt x="51311" y="75"/>
                            </a:cubicBezTo>
                            <a:lnTo>
                              <a:pt x="17741" y="75"/>
                            </a:lnTo>
                            <a:cubicBezTo>
                              <a:pt x="6128" y="982"/>
                              <a:pt x="2680" y="4793"/>
                              <a:pt x="382" y="16709"/>
                            </a:cubicBezTo>
                            <a:cubicBezTo>
                              <a:pt x="-1856" y="28624"/>
                              <a:pt x="6068" y="33282"/>
                              <a:pt x="15685" y="35520"/>
                            </a:cubicBezTo>
                            <a:lnTo>
                              <a:pt x="54214" y="3013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95" name="Freihandform: Form 494">
                        <a:extLst>
                          <a:ext uri="{FF2B5EF4-FFF2-40B4-BE49-F238E27FC236}">
                            <a16:creationId xmlns:a16="http://schemas.microsoft.com/office/drawing/2014/main" id="{1A163C0A-3DBD-15B4-9E2E-C16511831A7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9145" y="3305185"/>
                        <a:ext cx="75964" cy="35201"/>
                      </a:xfrm>
                      <a:custGeom>
                        <a:avLst/>
                        <a:gdLst>
                          <a:gd name="connsiteX0" fmla="*/ 51588 w 75964"/>
                          <a:gd name="connsiteY0" fmla="*/ 25766 h 35201"/>
                          <a:gd name="connsiteX1" fmla="*/ 75964 w 75964"/>
                          <a:gd name="connsiteY1" fmla="*/ 18628 h 35201"/>
                          <a:gd name="connsiteX2" fmla="*/ 41427 w 75964"/>
                          <a:gd name="connsiteY2" fmla="*/ 120 h 35201"/>
                          <a:gd name="connsiteX3" fmla="*/ 12151 w 75964"/>
                          <a:gd name="connsiteY3" fmla="*/ 5080 h 35201"/>
                          <a:gd name="connsiteX4" fmla="*/ 54 w 75964"/>
                          <a:gd name="connsiteY4" fmla="*/ 20987 h 35201"/>
                          <a:gd name="connsiteX5" fmla="*/ 15055 w 75964"/>
                          <a:gd name="connsiteY5" fmla="*/ 35202 h 35201"/>
                          <a:gd name="connsiteX6" fmla="*/ 51528 w 75964"/>
                          <a:gd name="connsiteY6" fmla="*/ 25766 h 3520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5964" h="35201">
                            <a:moveTo>
                              <a:pt x="51588" y="25766"/>
                            </a:moveTo>
                            <a:lnTo>
                              <a:pt x="75964" y="18628"/>
                            </a:lnTo>
                            <a:cubicBezTo>
                              <a:pt x="72214" y="2660"/>
                              <a:pt x="53947" y="-727"/>
                              <a:pt x="41427" y="120"/>
                            </a:cubicBezTo>
                            <a:cubicBezTo>
                              <a:pt x="28967" y="906"/>
                              <a:pt x="12151" y="5080"/>
                              <a:pt x="12151" y="5080"/>
                            </a:cubicBezTo>
                            <a:cubicBezTo>
                              <a:pt x="3925" y="8285"/>
                              <a:pt x="-551" y="12761"/>
                              <a:pt x="54" y="20987"/>
                            </a:cubicBezTo>
                            <a:cubicBezTo>
                              <a:pt x="538" y="27520"/>
                              <a:pt x="5559" y="34294"/>
                              <a:pt x="15055" y="35202"/>
                            </a:cubicBezTo>
                            <a:lnTo>
                              <a:pt x="51528" y="25766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</p:grpSp>
            </p:grpSp>
            <p:grpSp>
              <p:nvGrpSpPr>
                <p:cNvPr id="496" name="Grafik 297">
                  <a:extLst>
                    <a:ext uri="{FF2B5EF4-FFF2-40B4-BE49-F238E27FC236}">
                      <a16:creationId xmlns:a16="http://schemas.microsoft.com/office/drawing/2014/main" id="{EA1885C7-E725-E2BD-7715-7D70C0A05135}"/>
                    </a:ext>
                  </a:extLst>
                </p:cNvPr>
                <p:cNvGrpSpPr/>
                <p:nvPr/>
              </p:nvGrpSpPr>
              <p:grpSpPr>
                <a:xfrm>
                  <a:off x="541712" y="2906158"/>
                  <a:ext cx="587500" cy="440882"/>
                  <a:chOff x="541712" y="2906158"/>
                  <a:chExt cx="587500" cy="440882"/>
                </a:xfrm>
              </p:grpSpPr>
              <p:sp>
                <p:nvSpPr>
                  <p:cNvPr id="497" name="Freihandform: Form 496">
                    <a:extLst>
                      <a:ext uri="{FF2B5EF4-FFF2-40B4-BE49-F238E27FC236}">
                        <a16:creationId xmlns:a16="http://schemas.microsoft.com/office/drawing/2014/main" id="{35E585B1-D87B-68D4-049B-E426DF9899B9}"/>
                      </a:ext>
                    </a:extLst>
                  </p:cNvPr>
                  <p:cNvSpPr/>
                  <p:nvPr/>
                </p:nvSpPr>
                <p:spPr>
                  <a:xfrm>
                    <a:off x="598145" y="2926300"/>
                    <a:ext cx="531066" cy="420740"/>
                  </a:xfrm>
                  <a:custGeom>
                    <a:avLst/>
                    <a:gdLst>
                      <a:gd name="connsiteX0" fmla="*/ 480319 w 531066"/>
                      <a:gd name="connsiteY0" fmla="*/ 420740 h 420740"/>
                      <a:gd name="connsiteX1" fmla="*/ 531067 w 531066"/>
                      <a:gd name="connsiteY1" fmla="*/ 315676 h 420740"/>
                      <a:gd name="connsiteX2" fmla="*/ 112927 w 531066"/>
                      <a:gd name="connsiteY2" fmla="*/ 0 h 420740"/>
                      <a:gd name="connsiteX3" fmla="*/ 0 w 531066"/>
                      <a:gd name="connsiteY3" fmla="*/ 181035 h 420740"/>
                      <a:gd name="connsiteX4" fmla="*/ 480319 w 531066"/>
                      <a:gd name="connsiteY4" fmla="*/ 420740 h 4207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31066" h="420740">
                        <a:moveTo>
                          <a:pt x="480319" y="420740"/>
                        </a:moveTo>
                        <a:lnTo>
                          <a:pt x="531067" y="315676"/>
                        </a:lnTo>
                        <a:lnTo>
                          <a:pt x="112927" y="0"/>
                        </a:lnTo>
                        <a:lnTo>
                          <a:pt x="0" y="181035"/>
                        </a:lnTo>
                        <a:lnTo>
                          <a:pt x="480319" y="420740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8" name="Freihandform: Form 497">
                    <a:extLst>
                      <a:ext uri="{FF2B5EF4-FFF2-40B4-BE49-F238E27FC236}">
                        <a16:creationId xmlns:a16="http://schemas.microsoft.com/office/drawing/2014/main" id="{CDFE11EB-6332-A8F9-00BF-334E58B77A85}"/>
                      </a:ext>
                    </a:extLst>
                  </p:cNvPr>
                  <p:cNvSpPr/>
                  <p:nvPr/>
                </p:nvSpPr>
                <p:spPr>
                  <a:xfrm>
                    <a:off x="541712" y="2906158"/>
                    <a:ext cx="213878" cy="213878"/>
                  </a:xfrm>
                  <a:custGeom>
                    <a:avLst/>
                    <a:gdLst>
                      <a:gd name="connsiteX0" fmla="*/ 213878 w 213878"/>
                      <a:gd name="connsiteY0" fmla="*/ 106939 h 213878"/>
                      <a:gd name="connsiteX1" fmla="*/ 106939 w 213878"/>
                      <a:gd name="connsiteY1" fmla="*/ 213878 h 213878"/>
                      <a:gd name="connsiteX2" fmla="*/ 0 w 213878"/>
                      <a:gd name="connsiteY2" fmla="*/ 106939 h 213878"/>
                      <a:gd name="connsiteX3" fmla="*/ 106939 w 213878"/>
                      <a:gd name="connsiteY3" fmla="*/ 0 h 213878"/>
                      <a:gd name="connsiteX4" fmla="*/ 213878 w 213878"/>
                      <a:gd name="connsiteY4" fmla="*/ 106939 h 21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3878" h="213878">
                        <a:moveTo>
                          <a:pt x="213878" y="106939"/>
                        </a:moveTo>
                        <a:cubicBezTo>
                          <a:pt x="213878" y="166000"/>
                          <a:pt x="166000" y="213878"/>
                          <a:pt x="106939" y="213878"/>
                        </a:cubicBezTo>
                        <a:cubicBezTo>
                          <a:pt x="47878" y="213878"/>
                          <a:pt x="0" y="166000"/>
                          <a:pt x="0" y="106939"/>
                        </a:cubicBezTo>
                        <a:cubicBezTo>
                          <a:pt x="0" y="47878"/>
                          <a:pt x="47878" y="0"/>
                          <a:pt x="106939" y="0"/>
                        </a:cubicBezTo>
                        <a:cubicBezTo>
                          <a:pt x="166000" y="0"/>
                          <a:pt x="213878" y="47878"/>
                          <a:pt x="213878" y="106939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9" name="Freihandform: Form 498">
                    <a:extLst>
                      <a:ext uri="{FF2B5EF4-FFF2-40B4-BE49-F238E27FC236}">
                        <a16:creationId xmlns:a16="http://schemas.microsoft.com/office/drawing/2014/main" id="{C10DAD7F-022C-0763-575D-E76D90B8D019}"/>
                      </a:ext>
                    </a:extLst>
                  </p:cNvPr>
                  <p:cNvSpPr/>
                  <p:nvPr/>
                </p:nvSpPr>
                <p:spPr>
                  <a:xfrm>
                    <a:off x="1001586" y="3186390"/>
                    <a:ext cx="127625" cy="160650"/>
                  </a:xfrm>
                  <a:custGeom>
                    <a:avLst/>
                    <a:gdLst>
                      <a:gd name="connsiteX0" fmla="*/ 53953 w 127625"/>
                      <a:gd name="connsiteY0" fmla="*/ 0 h 160650"/>
                      <a:gd name="connsiteX1" fmla="*/ 0 w 127625"/>
                      <a:gd name="connsiteY1" fmla="*/ 122121 h 160650"/>
                      <a:gd name="connsiteX2" fmla="*/ 76878 w 127625"/>
                      <a:gd name="connsiteY2" fmla="*/ 160651 h 160650"/>
                      <a:gd name="connsiteX3" fmla="*/ 127625 w 127625"/>
                      <a:gd name="connsiteY3" fmla="*/ 55587 h 160650"/>
                      <a:gd name="connsiteX4" fmla="*/ 53953 w 127625"/>
                      <a:gd name="connsiteY4" fmla="*/ 60 h 1606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7625" h="160650">
                        <a:moveTo>
                          <a:pt x="53953" y="0"/>
                        </a:moveTo>
                        <a:cubicBezTo>
                          <a:pt x="35505" y="41493"/>
                          <a:pt x="15182" y="87523"/>
                          <a:pt x="0" y="122121"/>
                        </a:cubicBezTo>
                        <a:lnTo>
                          <a:pt x="76878" y="160651"/>
                        </a:lnTo>
                        <a:cubicBezTo>
                          <a:pt x="102403" y="136094"/>
                          <a:pt x="118250" y="99802"/>
                          <a:pt x="127625" y="55587"/>
                        </a:cubicBezTo>
                        <a:lnTo>
                          <a:pt x="53953" y="60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500" name="Grafik 297">
                  <a:extLst>
                    <a:ext uri="{FF2B5EF4-FFF2-40B4-BE49-F238E27FC236}">
                      <a16:creationId xmlns:a16="http://schemas.microsoft.com/office/drawing/2014/main" id="{1BF3CF7F-5AE1-914C-4D9B-453676997E55}"/>
                    </a:ext>
                  </a:extLst>
                </p:cNvPr>
                <p:cNvGrpSpPr/>
                <p:nvPr/>
              </p:nvGrpSpPr>
              <p:grpSpPr>
                <a:xfrm>
                  <a:off x="469794" y="2286298"/>
                  <a:ext cx="311744" cy="732303"/>
                  <a:chOff x="469794" y="2286298"/>
                  <a:chExt cx="311744" cy="732303"/>
                </a:xfrm>
              </p:grpSpPr>
              <p:sp>
                <p:nvSpPr>
                  <p:cNvPr id="501" name="Freihandform: Form 500">
                    <a:extLst>
                      <a:ext uri="{FF2B5EF4-FFF2-40B4-BE49-F238E27FC236}">
                        <a16:creationId xmlns:a16="http://schemas.microsoft.com/office/drawing/2014/main" id="{43D48E93-F240-A579-4EA0-C1A15F0C7F13}"/>
                      </a:ext>
                    </a:extLst>
                  </p:cNvPr>
                  <p:cNvSpPr/>
                  <p:nvPr/>
                </p:nvSpPr>
                <p:spPr>
                  <a:xfrm>
                    <a:off x="469794" y="2286298"/>
                    <a:ext cx="308236" cy="308236"/>
                  </a:xfrm>
                  <a:custGeom>
                    <a:avLst/>
                    <a:gdLst>
                      <a:gd name="connsiteX0" fmla="*/ 308236 w 308236"/>
                      <a:gd name="connsiteY0" fmla="*/ 154118 h 308236"/>
                      <a:gd name="connsiteX1" fmla="*/ 154118 w 308236"/>
                      <a:gd name="connsiteY1" fmla="*/ 308236 h 308236"/>
                      <a:gd name="connsiteX2" fmla="*/ 0 w 308236"/>
                      <a:gd name="connsiteY2" fmla="*/ 154118 h 308236"/>
                      <a:gd name="connsiteX3" fmla="*/ 154118 w 308236"/>
                      <a:gd name="connsiteY3" fmla="*/ 0 h 308236"/>
                      <a:gd name="connsiteX4" fmla="*/ 308236 w 308236"/>
                      <a:gd name="connsiteY4" fmla="*/ 154118 h 3082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8236" h="308236">
                        <a:moveTo>
                          <a:pt x="308236" y="154118"/>
                        </a:moveTo>
                        <a:cubicBezTo>
                          <a:pt x="308236" y="239235"/>
                          <a:pt x="239235" y="308236"/>
                          <a:pt x="154118" y="308236"/>
                        </a:cubicBezTo>
                        <a:cubicBezTo>
                          <a:pt x="69001" y="308236"/>
                          <a:pt x="0" y="239235"/>
                          <a:pt x="0" y="154118"/>
                        </a:cubicBezTo>
                        <a:cubicBezTo>
                          <a:pt x="0" y="69001"/>
                          <a:pt x="69001" y="0"/>
                          <a:pt x="154118" y="0"/>
                        </a:cubicBezTo>
                        <a:cubicBezTo>
                          <a:pt x="239235" y="0"/>
                          <a:pt x="308236" y="69001"/>
                          <a:pt x="308236" y="154118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2" name="Freihandform: Form 501">
                    <a:extLst>
                      <a:ext uri="{FF2B5EF4-FFF2-40B4-BE49-F238E27FC236}">
                        <a16:creationId xmlns:a16="http://schemas.microsoft.com/office/drawing/2014/main" id="{F1F30D28-D6D1-804C-69BD-04EDF983CA50}"/>
                      </a:ext>
                    </a:extLst>
                  </p:cNvPr>
                  <p:cNvSpPr/>
                  <p:nvPr/>
                </p:nvSpPr>
                <p:spPr>
                  <a:xfrm>
                    <a:off x="519030" y="2805268"/>
                    <a:ext cx="245331" cy="213333"/>
                  </a:xfrm>
                  <a:custGeom>
                    <a:avLst/>
                    <a:gdLst>
                      <a:gd name="connsiteX0" fmla="*/ 22864 w 245331"/>
                      <a:gd name="connsiteY0" fmla="*/ 213334 h 213333"/>
                      <a:gd name="connsiteX1" fmla="*/ 236319 w 245331"/>
                      <a:gd name="connsiteY1" fmla="*/ 203354 h 213333"/>
                      <a:gd name="connsiteX2" fmla="*/ 245331 w 245331"/>
                      <a:gd name="connsiteY2" fmla="*/ 0 h 213333"/>
                      <a:gd name="connsiteX3" fmla="*/ 0 w 245331"/>
                      <a:gd name="connsiteY3" fmla="*/ 5807 h 213333"/>
                      <a:gd name="connsiteX4" fmla="*/ 22864 w 245331"/>
                      <a:gd name="connsiteY4" fmla="*/ 213334 h 2133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5331" h="213333">
                        <a:moveTo>
                          <a:pt x="22864" y="213334"/>
                        </a:moveTo>
                        <a:lnTo>
                          <a:pt x="236319" y="203354"/>
                        </a:lnTo>
                        <a:lnTo>
                          <a:pt x="245331" y="0"/>
                        </a:lnTo>
                        <a:lnTo>
                          <a:pt x="0" y="5807"/>
                        </a:lnTo>
                        <a:lnTo>
                          <a:pt x="22864" y="213334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3" name="Freihandform: Form 502">
                    <a:extLst>
                      <a:ext uri="{FF2B5EF4-FFF2-40B4-BE49-F238E27FC236}">
                        <a16:creationId xmlns:a16="http://schemas.microsoft.com/office/drawing/2014/main" id="{AAF6E9F9-342B-A193-FCF3-433205687F50}"/>
                      </a:ext>
                    </a:extLst>
                  </p:cNvPr>
                  <p:cNvSpPr/>
                  <p:nvPr/>
                </p:nvSpPr>
                <p:spPr>
                  <a:xfrm>
                    <a:off x="470096" y="2439751"/>
                    <a:ext cx="311442" cy="552236"/>
                  </a:xfrm>
                  <a:custGeom>
                    <a:avLst/>
                    <a:gdLst>
                      <a:gd name="connsiteX0" fmla="*/ 0 w 311442"/>
                      <a:gd name="connsiteY0" fmla="*/ 10041 h 552236"/>
                      <a:gd name="connsiteX1" fmla="*/ 46211 w 311442"/>
                      <a:gd name="connsiteY1" fmla="*/ 552237 h 552236"/>
                      <a:gd name="connsiteX2" fmla="*/ 311442 w 311442"/>
                      <a:gd name="connsiteY2" fmla="*/ 512195 h 552236"/>
                      <a:gd name="connsiteX3" fmla="*/ 307995 w 311442"/>
                      <a:gd name="connsiteY3" fmla="*/ 0 h 552236"/>
                      <a:gd name="connsiteX4" fmla="*/ 0 w 311442"/>
                      <a:gd name="connsiteY4" fmla="*/ 10041 h 5522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1442" h="552236">
                        <a:moveTo>
                          <a:pt x="0" y="10041"/>
                        </a:moveTo>
                        <a:cubicBezTo>
                          <a:pt x="4899" y="166881"/>
                          <a:pt x="46211" y="552237"/>
                          <a:pt x="46211" y="552237"/>
                        </a:cubicBezTo>
                        <a:lnTo>
                          <a:pt x="311442" y="512195"/>
                        </a:lnTo>
                        <a:lnTo>
                          <a:pt x="307995" y="0"/>
                        </a:lnTo>
                        <a:cubicBezTo>
                          <a:pt x="195551" y="3024"/>
                          <a:pt x="153876" y="4718"/>
                          <a:pt x="0" y="10041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</p:grpSp>
        <p:sp>
          <p:nvSpPr>
            <p:cNvPr id="515" name="Rechteck 514">
              <a:extLst>
                <a:ext uri="{FF2B5EF4-FFF2-40B4-BE49-F238E27FC236}">
                  <a16:creationId xmlns:a16="http://schemas.microsoft.com/office/drawing/2014/main" id="{6C8B6E2A-E84C-29A3-2AA4-775A92B96541}"/>
                </a:ext>
              </a:extLst>
            </p:cNvPr>
            <p:cNvSpPr>
              <a:spLocks/>
            </p:cNvSpPr>
            <p:nvPr/>
          </p:nvSpPr>
          <p:spPr>
            <a:xfrm>
              <a:off x="9210675" y="2912475"/>
              <a:ext cx="53975" cy="906229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l"/>
              <a:endParaRPr lang="en-US" sz="1000" b="1">
                <a:solidFill>
                  <a:schemeClr val="tx1"/>
                </a:solidFill>
              </a:endParaRPr>
            </a:p>
          </p:txBody>
        </p:sp>
      </p:grpSp>
      <p:cxnSp>
        <p:nvCxnSpPr>
          <p:cNvPr id="538" name="Gerader Verbinder 537">
            <a:extLst>
              <a:ext uri="{FF2B5EF4-FFF2-40B4-BE49-F238E27FC236}">
                <a16:creationId xmlns:a16="http://schemas.microsoft.com/office/drawing/2014/main" id="{E4558DFD-CF03-F684-C099-25DF95FC0F1D}"/>
              </a:ext>
            </a:extLst>
          </p:cNvPr>
          <p:cNvCxnSpPr>
            <a:cxnSpLocks/>
          </p:cNvCxnSpPr>
          <p:nvPr/>
        </p:nvCxnSpPr>
        <p:spPr>
          <a:xfrm>
            <a:off x="3176" y="6194425"/>
            <a:ext cx="7388224" cy="0"/>
          </a:xfrm>
          <a:prstGeom prst="line">
            <a:avLst/>
          </a:prstGeom>
          <a:ln w="12700" cap="rnd">
            <a:gradFill flip="none" rotWithShape="1">
              <a:gsLst>
                <a:gs pos="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0" scaled="1"/>
              <a:tileRect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1" name="Gruppieren 560">
            <a:extLst>
              <a:ext uri="{FF2B5EF4-FFF2-40B4-BE49-F238E27FC236}">
                <a16:creationId xmlns:a16="http://schemas.microsoft.com/office/drawing/2014/main" id="{1B311E3E-ECAF-7024-E058-0734B22CD410}"/>
              </a:ext>
            </a:extLst>
          </p:cNvPr>
          <p:cNvGrpSpPr>
            <a:grpSpLocks/>
          </p:cNvGrpSpPr>
          <p:nvPr/>
        </p:nvGrpSpPr>
        <p:grpSpPr>
          <a:xfrm>
            <a:off x="9210675" y="3998704"/>
            <a:ext cx="2201842" cy="906229"/>
            <a:chOff x="9210675" y="3998704"/>
            <a:chExt cx="2201842" cy="906229"/>
          </a:xfrm>
        </p:grpSpPr>
        <p:sp>
          <p:nvSpPr>
            <p:cNvPr id="549" name="Rechteck 548">
              <a:extLst>
                <a:ext uri="{FF2B5EF4-FFF2-40B4-BE49-F238E27FC236}">
                  <a16:creationId xmlns:a16="http://schemas.microsoft.com/office/drawing/2014/main" id="{43B11274-7C74-3277-78A1-940D4C267EC7}"/>
                </a:ext>
              </a:extLst>
            </p:cNvPr>
            <p:cNvSpPr>
              <a:spLocks/>
            </p:cNvSpPr>
            <p:nvPr/>
          </p:nvSpPr>
          <p:spPr>
            <a:xfrm>
              <a:off x="9210675" y="3998704"/>
              <a:ext cx="2201842" cy="90622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tlCol="0" anchor="t"/>
            <a:lstStyle/>
            <a:p>
              <a:r>
                <a:rPr lang="en-US" sz="1200" b="1" err="1">
                  <a:solidFill>
                    <a:schemeClr val="tx1"/>
                  </a:solidFill>
                </a:rPr>
                <a:t>Patientinnen</a:t>
              </a:r>
              <a:r>
                <a:rPr lang="en-US" sz="1200" b="1">
                  <a:solidFill>
                    <a:schemeClr val="tx1"/>
                  </a:solidFill>
                </a:rPr>
                <a:t> &amp; </a:t>
              </a:r>
              <a:br>
                <a:rPr lang="en-US" sz="1200" b="1">
                  <a:solidFill>
                    <a:schemeClr val="tx1"/>
                  </a:solidFill>
                </a:rPr>
              </a:br>
              <a:r>
                <a:rPr lang="en-US" sz="1200" b="1" err="1">
                  <a:solidFill>
                    <a:schemeClr val="tx1"/>
                  </a:solidFill>
                </a:rPr>
                <a:t>Patienten</a:t>
              </a:r>
              <a:endParaRPr lang="en-US" sz="1200" b="1">
                <a:solidFill>
                  <a:schemeClr val="tx1"/>
                </a:solidFill>
              </a:endParaRPr>
            </a:p>
            <a:p>
              <a:pPr algn="l"/>
              <a:endParaRPr lang="en-US" sz="1200" b="1">
                <a:solidFill>
                  <a:schemeClr val="tx1"/>
                </a:solidFill>
              </a:endParaRPr>
            </a:p>
          </p:txBody>
        </p:sp>
        <p:sp>
          <p:nvSpPr>
            <p:cNvPr id="550" name="Rechteck 549">
              <a:extLst>
                <a:ext uri="{FF2B5EF4-FFF2-40B4-BE49-F238E27FC236}">
                  <a16:creationId xmlns:a16="http://schemas.microsoft.com/office/drawing/2014/main" id="{CCB54E46-8DFF-F83A-DBC6-4C92020378F8}"/>
                </a:ext>
              </a:extLst>
            </p:cNvPr>
            <p:cNvSpPr>
              <a:spLocks/>
            </p:cNvSpPr>
            <p:nvPr/>
          </p:nvSpPr>
          <p:spPr>
            <a:xfrm>
              <a:off x="9210675" y="3998704"/>
              <a:ext cx="53975" cy="906229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l"/>
              <a:endParaRPr lang="en-US" sz="1000" b="1">
                <a:solidFill>
                  <a:schemeClr val="tx1"/>
                </a:solidFill>
              </a:endParaRPr>
            </a:p>
          </p:txBody>
        </p:sp>
        <p:grpSp>
          <p:nvGrpSpPr>
            <p:cNvPr id="558" name="Gruppieren 557">
              <a:extLst>
                <a:ext uri="{FF2B5EF4-FFF2-40B4-BE49-F238E27FC236}">
                  <a16:creationId xmlns:a16="http://schemas.microsoft.com/office/drawing/2014/main" id="{6DD47228-A363-1D21-FD05-4086FB36CCE7}"/>
                </a:ext>
              </a:extLst>
            </p:cNvPr>
            <p:cNvGrpSpPr/>
            <p:nvPr/>
          </p:nvGrpSpPr>
          <p:grpSpPr>
            <a:xfrm>
              <a:off x="10614025" y="4114800"/>
              <a:ext cx="694387" cy="666750"/>
              <a:chOff x="10614025" y="4114800"/>
              <a:chExt cx="694387" cy="666750"/>
            </a:xfrm>
          </p:grpSpPr>
          <p:pic>
            <p:nvPicPr>
              <p:cNvPr id="552" name="Grafik 551">
                <a:extLst>
                  <a:ext uri="{FF2B5EF4-FFF2-40B4-BE49-F238E27FC236}">
                    <a16:creationId xmlns:a16="http://schemas.microsoft.com/office/drawing/2014/main" id="{093FA96E-6CA7-2F39-BF88-7F04D715FB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0829366" y="4114800"/>
                <a:ext cx="229159" cy="666750"/>
              </a:xfrm>
              <a:prstGeom prst="rect">
                <a:avLst/>
              </a:prstGeom>
            </p:spPr>
          </p:pic>
          <p:pic>
            <p:nvPicPr>
              <p:cNvPr id="554" name="Grafik 553">
                <a:extLst>
                  <a:ext uri="{FF2B5EF4-FFF2-40B4-BE49-F238E27FC236}">
                    <a16:creationId xmlns:a16="http://schemas.microsoft.com/office/drawing/2014/main" id="{E2A7F8B3-C647-D818-102A-1AD1D1D6206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 flipH="1">
                <a:off x="10954885" y="4257593"/>
                <a:ext cx="353527" cy="523957"/>
              </a:xfrm>
              <a:prstGeom prst="rect">
                <a:avLst/>
              </a:prstGeom>
            </p:spPr>
          </p:pic>
          <p:pic>
            <p:nvPicPr>
              <p:cNvPr id="556" name="Grafik 555">
                <a:extLst>
                  <a:ext uri="{FF2B5EF4-FFF2-40B4-BE49-F238E27FC236}">
                    <a16:creationId xmlns:a16="http://schemas.microsoft.com/office/drawing/2014/main" id="{D59F338D-3C2B-B7E6-C88D-AF97BBCDAFB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10614025" y="4185045"/>
                <a:ext cx="208431" cy="596505"/>
              </a:xfrm>
              <a:prstGeom prst="rect">
                <a:avLst/>
              </a:prstGeom>
            </p:spPr>
          </p:pic>
        </p:grpSp>
      </p:grpSp>
      <p:sp>
        <p:nvSpPr>
          <p:cNvPr id="564" name="Rechteck 563">
            <a:extLst>
              <a:ext uri="{FF2B5EF4-FFF2-40B4-BE49-F238E27FC236}">
                <a16:creationId xmlns:a16="http://schemas.microsoft.com/office/drawing/2014/main" id="{9A62BBFC-21AE-0D42-D2F7-544E8508812C}"/>
              </a:ext>
            </a:extLst>
          </p:cNvPr>
          <p:cNvSpPr>
            <a:spLocks/>
          </p:cNvSpPr>
          <p:nvPr/>
        </p:nvSpPr>
        <p:spPr>
          <a:xfrm>
            <a:off x="9210675" y="3996963"/>
            <a:ext cx="2201842" cy="906229"/>
          </a:xfrm>
          <a:prstGeom prst="rect">
            <a:avLst/>
          </a:prstGeom>
          <a:solidFill>
            <a:schemeClr val="bg1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17" name="Gruppieren 516">
            <a:extLst>
              <a:ext uri="{FF2B5EF4-FFF2-40B4-BE49-F238E27FC236}">
                <a16:creationId xmlns:a16="http://schemas.microsoft.com/office/drawing/2014/main" id="{37F1A57B-D40F-F2F7-578A-0EB8FC696DD1}"/>
              </a:ext>
            </a:extLst>
          </p:cNvPr>
          <p:cNvGrpSpPr/>
          <p:nvPr/>
        </p:nvGrpSpPr>
        <p:grpSpPr>
          <a:xfrm>
            <a:off x="2964790" y="2910483"/>
            <a:ext cx="5390507" cy="3283942"/>
            <a:chOff x="2964790" y="2910483"/>
            <a:chExt cx="5390507" cy="3283942"/>
          </a:xfrm>
        </p:grpSpPr>
        <p:grpSp>
          <p:nvGrpSpPr>
            <p:cNvPr id="521" name="Gruppieren 520">
              <a:extLst>
                <a:ext uri="{FF2B5EF4-FFF2-40B4-BE49-F238E27FC236}">
                  <a16:creationId xmlns:a16="http://schemas.microsoft.com/office/drawing/2014/main" id="{5A05FF3B-69A1-C4E5-C7EB-F192E138EDEE}"/>
                </a:ext>
              </a:extLst>
            </p:cNvPr>
            <p:cNvGrpSpPr/>
            <p:nvPr/>
          </p:nvGrpSpPr>
          <p:grpSpPr>
            <a:xfrm>
              <a:off x="2964790" y="2910483"/>
              <a:ext cx="5390507" cy="3283942"/>
              <a:chOff x="3185160" y="3688080"/>
              <a:chExt cx="5153310" cy="3139440"/>
            </a:xfrm>
          </p:grpSpPr>
          <p:sp>
            <p:nvSpPr>
              <p:cNvPr id="522" name="Rechteck 521">
                <a:extLst>
                  <a:ext uri="{FF2B5EF4-FFF2-40B4-BE49-F238E27FC236}">
                    <a16:creationId xmlns:a16="http://schemas.microsoft.com/office/drawing/2014/main" id="{4ED21239-A136-8F86-4DEC-F433CB307C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185160" y="3688080"/>
                <a:ext cx="5153310" cy="25908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3" name="Rechteck 522">
                <a:extLst>
                  <a:ext uri="{FF2B5EF4-FFF2-40B4-BE49-F238E27FC236}">
                    <a16:creationId xmlns:a16="http://schemas.microsoft.com/office/drawing/2014/main" id="{1FA07F6F-EC5F-AE4A-1316-9BF57EEC7B8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45380" y="6271260"/>
                <a:ext cx="1632870" cy="47244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4" name="Rechteck 523">
                <a:extLst>
                  <a:ext uri="{FF2B5EF4-FFF2-40B4-BE49-F238E27FC236}">
                    <a16:creationId xmlns:a16="http://schemas.microsoft.com/office/drawing/2014/main" id="{D777F178-53C5-2C9A-6172-7DD9D32D7DA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482750" y="6736080"/>
                <a:ext cx="2558130" cy="9144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5" name="Rechtwinkliges Dreieck 524">
                <a:extLst>
                  <a:ext uri="{FF2B5EF4-FFF2-40B4-BE49-F238E27FC236}">
                    <a16:creationId xmlns:a16="http://schemas.microsoft.com/office/drawing/2014/main" id="{86DD6B61-8A60-443D-EA09-18801D97308E}"/>
                  </a:ext>
                </a:extLst>
              </p:cNvPr>
              <p:cNvSpPr/>
              <p:nvPr/>
            </p:nvSpPr>
            <p:spPr>
              <a:xfrm flipH="1" flipV="1">
                <a:off x="4945379" y="6278880"/>
                <a:ext cx="1632870" cy="457200"/>
              </a:xfrm>
              <a:prstGeom prst="rtTriangle">
                <a:avLst/>
              </a:prstGeom>
              <a:solidFill>
                <a:schemeClr val="tx1">
                  <a:alpha val="3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510" name="Grafik 509">
              <a:extLst>
                <a:ext uri="{FF2B5EF4-FFF2-40B4-BE49-F238E27FC236}">
                  <a16:creationId xmlns:a16="http://schemas.microsoft.com/office/drawing/2014/main" id="{B7CBBC34-E4FF-4A10-AA4A-E2ABA2C515D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068263" y="2973888"/>
              <a:ext cx="5215884" cy="2549260"/>
            </a:xfrm>
            <a:prstGeom prst="rect">
              <a:avLst/>
            </a:prstGeom>
            <a:ln w="15875">
              <a:solidFill>
                <a:srgbClr val="1B1B1B"/>
              </a:solidFill>
              <a:miter lim="800000"/>
            </a:ln>
          </p:spPr>
        </p:pic>
      </p:grpSp>
      <p:sp>
        <p:nvSpPr>
          <p:cNvPr id="3" name="TextBox 5">
            <a:extLst>
              <a:ext uri="{FF2B5EF4-FFF2-40B4-BE49-F238E27FC236}">
                <a16:creationId xmlns:a16="http://schemas.microsoft.com/office/drawing/2014/main" id="{72F1419F-3F3B-23AF-1866-D85EAC9DEF8D}"/>
              </a:ext>
            </a:extLst>
          </p:cNvPr>
          <p:cNvSpPr txBox="1"/>
          <p:nvPr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13</a:t>
            </a:fld>
            <a:endParaRPr lang="de-DE" sz="1000" b="1" i="0" u="none" kern="1200" spc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5" name="Restricted">
            <a:extLst>
              <a:ext uri="{FF2B5EF4-FFF2-40B4-BE49-F238E27FC236}">
                <a16:creationId xmlns:a16="http://schemas.microsoft.com/office/drawing/2014/main" id="{9EDC227E-B61F-43BC-75F2-42273584ABA2}"/>
              </a:ext>
            </a:extLst>
          </p:cNvPr>
          <p:cNvSpPr txBox="1"/>
          <p:nvPr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de-DE" sz="1000">
                <a:solidFill>
                  <a:schemeClr val="tx1"/>
                </a:solidFill>
              </a:rPr>
              <a:t>Frei verwendbar © Siemens Healthineers, 2023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2CDC234-F71C-963D-0DE5-1A445A362FC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544327" y="5734560"/>
            <a:ext cx="1617999" cy="218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235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CCAE77A-0EFA-1BB7-727F-C68D0388AF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6882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CCAE77A-0EFA-1BB7-727F-C68D0388AF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E697D4C5-95CA-F09F-FABF-6F4E26B68AC0}"/>
              </a:ext>
            </a:extLst>
          </p:cNvPr>
          <p:cNvGrpSpPr>
            <a:grpSpLocks/>
          </p:cNvGrpSpPr>
          <p:nvPr/>
        </p:nvGrpSpPr>
        <p:grpSpPr>
          <a:xfrm>
            <a:off x="8994773" y="1619250"/>
            <a:ext cx="3175003" cy="5238751"/>
            <a:chOff x="8994773" y="1619250"/>
            <a:chExt cx="3175003" cy="5238751"/>
          </a:xfrm>
        </p:grpSpPr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647D6AC3-ED16-C9A2-3588-E6B20562EC05}"/>
                </a:ext>
              </a:extLst>
            </p:cNvPr>
            <p:cNvSpPr/>
            <p:nvPr/>
          </p:nvSpPr>
          <p:spPr>
            <a:xfrm>
              <a:off x="8994773" y="1619250"/>
              <a:ext cx="3175003" cy="5238751"/>
            </a:xfrm>
            <a:custGeom>
              <a:avLst/>
              <a:gdLst>
                <a:gd name="connsiteX0" fmla="*/ 2641103 w 3175003"/>
                <a:gd name="connsiteY0" fmla="*/ 0 h 5238751"/>
                <a:gd name="connsiteX1" fmla="*/ 3175003 w 3175003"/>
                <a:gd name="connsiteY1" fmla="*/ 1401789 h 5238751"/>
                <a:gd name="connsiteX2" fmla="*/ 3175003 w 3175003"/>
                <a:gd name="connsiteY2" fmla="*/ 5238751 h 5238751"/>
                <a:gd name="connsiteX3" fmla="*/ 252737 w 3175003"/>
                <a:gd name="connsiteY3" fmla="*/ 5238751 h 5238751"/>
                <a:gd name="connsiteX4" fmla="*/ 0 w 3175003"/>
                <a:gd name="connsiteY4" fmla="*/ 4575174 h 5238751"/>
                <a:gd name="connsiteX5" fmla="*/ 2641103 w 3175003"/>
                <a:gd name="connsiteY5" fmla="*/ 4575174 h 5238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5003" h="5238751">
                  <a:moveTo>
                    <a:pt x="2641103" y="0"/>
                  </a:moveTo>
                  <a:lnTo>
                    <a:pt x="3175003" y="1401789"/>
                  </a:lnTo>
                  <a:lnTo>
                    <a:pt x="3175003" y="5238751"/>
                  </a:lnTo>
                  <a:lnTo>
                    <a:pt x="252737" y="5238751"/>
                  </a:lnTo>
                  <a:lnTo>
                    <a:pt x="0" y="4575174"/>
                  </a:lnTo>
                  <a:lnTo>
                    <a:pt x="2641103" y="4575174"/>
                  </a:lnTo>
                  <a:close/>
                </a:path>
              </a:pathLst>
            </a:custGeom>
            <a:pattFill prst="wdDnDiag">
              <a:fgClr>
                <a:srgbClr val="ECECEC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B3CB6A98-B5C3-8D77-68E5-00837CBE2790}"/>
                </a:ext>
              </a:extLst>
            </p:cNvPr>
            <p:cNvSpPr txBox="1">
              <a:spLocks/>
            </p:cNvSpPr>
            <p:nvPr/>
          </p:nvSpPr>
          <p:spPr>
            <a:xfrm>
              <a:off x="8994774" y="1619250"/>
              <a:ext cx="2633663" cy="4575175"/>
            </a:xfrm>
            <a:prstGeom prst="rect">
              <a:avLst/>
            </a:prstGeom>
            <a:solidFill>
              <a:srgbClr val="ECECEC"/>
            </a:solidFill>
            <a:effectLst>
              <a:outerShdw blurRad="50800" dist="38100" dir="2700000" algn="tl" rotWithShape="0">
                <a:prstClr val="black">
                  <a:alpha val="8000"/>
                </a:prstClr>
              </a:outerShdw>
            </a:effectLst>
          </p:spPr>
          <p:txBody>
            <a:bodyPr wrap="square" lIns="180000" tIns="144000" rIns="180000" bIns="0" rtlCol="0" anchor="t">
              <a:noAutofit/>
            </a:bodyPr>
            <a:lstStyle/>
            <a:p>
              <a:pPr>
                <a:spcAft>
                  <a:spcPts val="300"/>
                </a:spcAft>
              </a:pPr>
              <a:endParaRPr lang="de-DE" sz="44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0CF6A715-0F2A-5B18-60BE-FB41B9D72B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elekonsultation </a:t>
            </a:r>
            <a:r>
              <a:rPr lang="de-DE" noProof="0"/>
              <a:t>– </a:t>
            </a:r>
            <a:br>
              <a:rPr lang="de-DE" noProof="0"/>
            </a:br>
            <a:r>
              <a:rPr lang="de-DE" noProof="0"/>
              <a:t>Institutionsübergreifende Fernkonsultation</a:t>
            </a:r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4AA8B8D-2C46-E3D9-D904-AFD7D43FA03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238AD6-11E9-3EB9-935A-B1A9F6684AE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pt-BR"/>
              <a:t>A91GER-H-001672-E4</a:t>
            </a:r>
            <a:endParaRPr lang="de-DE"/>
          </a:p>
        </p:txBody>
      </p:sp>
      <p:grpSp>
        <p:nvGrpSpPr>
          <p:cNvPr id="562" name="Gruppieren 561">
            <a:extLst>
              <a:ext uri="{FF2B5EF4-FFF2-40B4-BE49-F238E27FC236}">
                <a16:creationId xmlns:a16="http://schemas.microsoft.com/office/drawing/2014/main" id="{05BA45E6-3D83-7FBC-CFCD-C92577A68CA4}"/>
              </a:ext>
            </a:extLst>
          </p:cNvPr>
          <p:cNvGrpSpPr/>
          <p:nvPr/>
        </p:nvGrpSpPr>
        <p:grpSpPr>
          <a:xfrm>
            <a:off x="9210675" y="5084932"/>
            <a:ext cx="2201842" cy="906229"/>
            <a:chOff x="9210675" y="5084932"/>
            <a:chExt cx="2201842" cy="906229"/>
          </a:xfrm>
        </p:grpSpPr>
        <p:sp>
          <p:nvSpPr>
            <p:cNvPr id="506" name="Rechteck 505">
              <a:extLst>
                <a:ext uri="{FF2B5EF4-FFF2-40B4-BE49-F238E27FC236}">
                  <a16:creationId xmlns:a16="http://schemas.microsoft.com/office/drawing/2014/main" id="{855ED48A-DA04-D66F-26F9-25B679633F3A}"/>
                </a:ext>
              </a:extLst>
            </p:cNvPr>
            <p:cNvSpPr>
              <a:spLocks/>
            </p:cNvSpPr>
            <p:nvPr/>
          </p:nvSpPr>
          <p:spPr>
            <a:xfrm>
              <a:off x="9210675" y="5084932"/>
              <a:ext cx="2201842" cy="90622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ctr"/>
              <a:r>
                <a:rPr lang="en-US" sz="1000" b="1" i="1">
                  <a:solidFill>
                    <a:schemeClr val="accent5"/>
                  </a:solidFill>
                </a:rPr>
                <a:t>Ein </a:t>
              </a:r>
              <a:r>
                <a:rPr lang="en-US" sz="1000" b="1" i="1" err="1">
                  <a:solidFill>
                    <a:schemeClr val="accent5"/>
                  </a:solidFill>
                </a:rPr>
                <a:t>Mehrwertdienst</a:t>
              </a:r>
              <a:r>
                <a:rPr lang="en-US" sz="1000" b="1" i="1">
                  <a:solidFill>
                    <a:schemeClr val="accent5"/>
                  </a:solidFill>
                </a:rPr>
                <a:t> der</a:t>
              </a:r>
            </a:p>
          </p:txBody>
        </p:sp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893DE335-B8A8-6D76-AC85-7C363D1BC1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b="30378"/>
            <a:stretch/>
          </p:blipFill>
          <p:spPr>
            <a:xfrm>
              <a:off x="9896567" y="5359400"/>
              <a:ext cx="764916" cy="360272"/>
            </a:xfrm>
            <a:prstGeom prst="rect">
              <a:avLst/>
            </a:prstGeom>
          </p:spPr>
        </p:pic>
      </p:grpSp>
      <p:grpSp>
        <p:nvGrpSpPr>
          <p:cNvPr id="559" name="Gruppieren 558">
            <a:extLst>
              <a:ext uri="{FF2B5EF4-FFF2-40B4-BE49-F238E27FC236}">
                <a16:creationId xmlns:a16="http://schemas.microsoft.com/office/drawing/2014/main" id="{CE283433-D750-4D0D-98CB-888E4C69F2EE}"/>
              </a:ext>
            </a:extLst>
          </p:cNvPr>
          <p:cNvGrpSpPr>
            <a:grpSpLocks/>
          </p:cNvGrpSpPr>
          <p:nvPr/>
        </p:nvGrpSpPr>
        <p:grpSpPr>
          <a:xfrm>
            <a:off x="9210675" y="1826246"/>
            <a:ext cx="2201842" cy="906229"/>
            <a:chOff x="9210675" y="1826246"/>
            <a:chExt cx="2201842" cy="906229"/>
          </a:xfrm>
        </p:grpSpPr>
        <p:sp>
          <p:nvSpPr>
            <p:cNvPr id="509" name="Rechteck 508">
              <a:extLst>
                <a:ext uri="{FF2B5EF4-FFF2-40B4-BE49-F238E27FC236}">
                  <a16:creationId xmlns:a16="http://schemas.microsoft.com/office/drawing/2014/main" id="{82756B9B-3349-F1AE-8459-889318524D47}"/>
                </a:ext>
              </a:extLst>
            </p:cNvPr>
            <p:cNvSpPr>
              <a:spLocks/>
            </p:cNvSpPr>
            <p:nvPr/>
          </p:nvSpPr>
          <p:spPr>
            <a:xfrm>
              <a:off x="9210675" y="1826246"/>
              <a:ext cx="2201842" cy="90622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tlCol="0" anchor="t"/>
            <a:lstStyle/>
            <a:p>
              <a:pPr algn="l"/>
              <a:r>
                <a:rPr lang="en-US" sz="1200" b="1" err="1">
                  <a:solidFill>
                    <a:schemeClr val="tx1"/>
                  </a:solidFill>
                </a:rPr>
                <a:t>Medizinische</a:t>
              </a:r>
              <a:r>
                <a:rPr lang="en-US" sz="1200" b="1">
                  <a:solidFill>
                    <a:schemeClr val="tx1"/>
                  </a:solidFill>
                </a:rPr>
                <a:t> </a:t>
              </a:r>
              <a:br>
                <a:rPr lang="en-US" sz="1200" b="1">
                  <a:solidFill>
                    <a:schemeClr val="tx1"/>
                  </a:solidFill>
                </a:rPr>
              </a:br>
              <a:r>
                <a:rPr lang="en-US" sz="1200" b="1">
                  <a:solidFill>
                    <a:schemeClr val="tx1"/>
                  </a:solidFill>
                </a:rPr>
                <a:t>Partner</a:t>
              </a:r>
            </a:p>
          </p:txBody>
        </p:sp>
        <p:grpSp>
          <p:nvGrpSpPr>
            <p:cNvPr id="291" name="Gruppieren 290">
              <a:extLst>
                <a:ext uri="{FF2B5EF4-FFF2-40B4-BE49-F238E27FC236}">
                  <a16:creationId xmlns:a16="http://schemas.microsoft.com/office/drawing/2014/main" id="{C41F10AB-0F43-9F63-4178-0CDC5C14C680}"/>
                </a:ext>
              </a:extLst>
            </p:cNvPr>
            <p:cNvGrpSpPr/>
            <p:nvPr/>
          </p:nvGrpSpPr>
          <p:grpSpPr>
            <a:xfrm>
              <a:off x="10463363" y="1936376"/>
              <a:ext cx="788837" cy="693056"/>
              <a:chOff x="9291637" y="1854304"/>
              <a:chExt cx="950913" cy="835453"/>
            </a:xfrm>
          </p:grpSpPr>
          <p:grpSp>
            <p:nvGrpSpPr>
              <p:cNvPr id="289" name="Gruppieren 288">
                <a:extLst>
                  <a:ext uri="{FF2B5EF4-FFF2-40B4-BE49-F238E27FC236}">
                    <a16:creationId xmlns:a16="http://schemas.microsoft.com/office/drawing/2014/main" id="{09D9AF2C-732A-5056-94BE-941C5AF4F8D9}"/>
                  </a:ext>
                </a:extLst>
              </p:cNvPr>
              <p:cNvGrpSpPr/>
              <p:nvPr/>
            </p:nvGrpSpPr>
            <p:grpSpPr>
              <a:xfrm>
                <a:off x="9956732" y="1880092"/>
                <a:ext cx="285818" cy="809665"/>
                <a:chOff x="8386350" y="7360423"/>
                <a:chExt cx="1906395" cy="5400434"/>
              </a:xfrm>
            </p:grpSpPr>
            <p:grpSp>
              <p:nvGrpSpPr>
                <p:cNvPr id="26" name="Grafik 23">
                  <a:extLst>
                    <a:ext uri="{FF2B5EF4-FFF2-40B4-BE49-F238E27FC236}">
                      <a16:creationId xmlns:a16="http://schemas.microsoft.com/office/drawing/2014/main" id="{FC80289D-3612-D318-79EC-412B3916977F}"/>
                    </a:ext>
                  </a:extLst>
                </p:cNvPr>
                <p:cNvGrpSpPr/>
                <p:nvPr/>
              </p:nvGrpSpPr>
              <p:grpSpPr>
                <a:xfrm>
                  <a:off x="8386350" y="7360423"/>
                  <a:ext cx="1583022" cy="5400434"/>
                  <a:chOff x="8386350" y="781823"/>
                  <a:chExt cx="1583022" cy="5400434"/>
                </a:xfrm>
              </p:grpSpPr>
              <p:sp>
                <p:nvSpPr>
                  <p:cNvPr id="27" name="Freihandform: Form 26">
                    <a:extLst>
                      <a:ext uri="{FF2B5EF4-FFF2-40B4-BE49-F238E27FC236}">
                        <a16:creationId xmlns:a16="http://schemas.microsoft.com/office/drawing/2014/main" id="{E61B68B9-FFC7-B1B7-B212-2BEB8E9D2CAD}"/>
                      </a:ext>
                    </a:extLst>
                  </p:cNvPr>
                  <p:cNvSpPr/>
                  <p:nvPr/>
                </p:nvSpPr>
                <p:spPr>
                  <a:xfrm>
                    <a:off x="9182798" y="5806059"/>
                    <a:ext cx="145732" cy="145732"/>
                  </a:xfrm>
                  <a:custGeom>
                    <a:avLst/>
                    <a:gdLst>
                      <a:gd name="connsiteX0" fmla="*/ 145732 w 145732"/>
                      <a:gd name="connsiteY0" fmla="*/ 72866 h 145732"/>
                      <a:gd name="connsiteX1" fmla="*/ 72866 w 145732"/>
                      <a:gd name="connsiteY1" fmla="*/ 145733 h 145732"/>
                      <a:gd name="connsiteX2" fmla="*/ -1 w 145732"/>
                      <a:gd name="connsiteY2" fmla="*/ 72866 h 145732"/>
                      <a:gd name="connsiteX3" fmla="*/ 72866 w 145732"/>
                      <a:gd name="connsiteY3" fmla="*/ 0 h 145732"/>
                      <a:gd name="connsiteX4" fmla="*/ 145732 w 145732"/>
                      <a:gd name="connsiteY4" fmla="*/ 72866 h 1457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5732" h="145732">
                        <a:moveTo>
                          <a:pt x="145732" y="72866"/>
                        </a:moveTo>
                        <a:cubicBezTo>
                          <a:pt x="145732" y="113109"/>
                          <a:pt x="113109" y="145733"/>
                          <a:pt x="72866" y="145733"/>
                        </a:cubicBezTo>
                        <a:cubicBezTo>
                          <a:pt x="32623" y="145733"/>
                          <a:pt x="-1" y="113109"/>
                          <a:pt x="-1" y="72866"/>
                        </a:cubicBezTo>
                        <a:cubicBezTo>
                          <a:pt x="-1" y="32624"/>
                          <a:pt x="32623" y="0"/>
                          <a:pt x="72866" y="0"/>
                        </a:cubicBezTo>
                        <a:cubicBezTo>
                          <a:pt x="113109" y="0"/>
                          <a:pt x="145732" y="32624"/>
                          <a:pt x="145732" y="7286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" name="Freihandform: Form 27">
                    <a:extLst>
                      <a:ext uri="{FF2B5EF4-FFF2-40B4-BE49-F238E27FC236}">
                        <a16:creationId xmlns:a16="http://schemas.microsoft.com/office/drawing/2014/main" id="{A592A07D-196E-B004-84E2-64C5303D567F}"/>
                      </a:ext>
                    </a:extLst>
                  </p:cNvPr>
                  <p:cNvSpPr/>
                  <p:nvPr/>
                </p:nvSpPr>
                <p:spPr>
                  <a:xfrm>
                    <a:off x="9365963" y="5825680"/>
                    <a:ext cx="145732" cy="145732"/>
                  </a:xfrm>
                  <a:custGeom>
                    <a:avLst/>
                    <a:gdLst>
                      <a:gd name="connsiteX0" fmla="*/ 145733 w 145732"/>
                      <a:gd name="connsiteY0" fmla="*/ 72866 h 145732"/>
                      <a:gd name="connsiteX1" fmla="*/ 72866 w 145732"/>
                      <a:gd name="connsiteY1" fmla="*/ 145733 h 145732"/>
                      <a:gd name="connsiteX2" fmla="*/ 0 w 145732"/>
                      <a:gd name="connsiteY2" fmla="*/ 72866 h 145732"/>
                      <a:gd name="connsiteX3" fmla="*/ 72866 w 145732"/>
                      <a:gd name="connsiteY3" fmla="*/ 0 h 145732"/>
                      <a:gd name="connsiteX4" fmla="*/ 145733 w 145732"/>
                      <a:gd name="connsiteY4" fmla="*/ 72866 h 1457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5732" h="145732">
                        <a:moveTo>
                          <a:pt x="145733" y="72866"/>
                        </a:moveTo>
                        <a:cubicBezTo>
                          <a:pt x="145733" y="113109"/>
                          <a:pt x="113109" y="145733"/>
                          <a:pt x="72866" y="145733"/>
                        </a:cubicBezTo>
                        <a:cubicBezTo>
                          <a:pt x="32623" y="145733"/>
                          <a:pt x="0" y="113109"/>
                          <a:pt x="0" y="72866"/>
                        </a:cubicBezTo>
                        <a:cubicBezTo>
                          <a:pt x="0" y="32624"/>
                          <a:pt x="32623" y="0"/>
                          <a:pt x="72866" y="0"/>
                        </a:cubicBezTo>
                        <a:cubicBezTo>
                          <a:pt x="113109" y="0"/>
                          <a:pt x="145733" y="32624"/>
                          <a:pt x="145733" y="7286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9" name="Freihandform: Form 28">
                    <a:extLst>
                      <a:ext uri="{FF2B5EF4-FFF2-40B4-BE49-F238E27FC236}">
                        <a16:creationId xmlns:a16="http://schemas.microsoft.com/office/drawing/2014/main" id="{D75520E1-259F-A2A8-9D16-3BA3C84038BE}"/>
                      </a:ext>
                    </a:extLst>
                  </p:cNvPr>
                  <p:cNvSpPr/>
                  <p:nvPr/>
                </p:nvSpPr>
                <p:spPr>
                  <a:xfrm>
                    <a:off x="8938672" y="4682013"/>
                    <a:ext cx="389953" cy="1217787"/>
                  </a:xfrm>
                  <a:custGeom>
                    <a:avLst/>
                    <a:gdLst>
                      <a:gd name="connsiteX0" fmla="*/ 389954 w 389953"/>
                      <a:gd name="connsiteY0" fmla="*/ 1196054 h 1217787"/>
                      <a:gd name="connsiteX1" fmla="*/ 245079 w 389953"/>
                      <a:gd name="connsiteY1" fmla="*/ 1208532 h 1217787"/>
                      <a:gd name="connsiteX2" fmla="*/ 52388 w 389953"/>
                      <a:gd name="connsiteY2" fmla="*/ 579406 h 1217787"/>
                      <a:gd name="connsiteX3" fmla="*/ 0 w 389953"/>
                      <a:gd name="connsiteY3" fmla="*/ 44863 h 1217787"/>
                      <a:gd name="connsiteX4" fmla="*/ 306705 w 389953"/>
                      <a:gd name="connsiteY4" fmla="*/ 0 h 1217787"/>
                      <a:gd name="connsiteX5" fmla="*/ 316039 w 389953"/>
                      <a:gd name="connsiteY5" fmla="*/ 166878 h 1217787"/>
                      <a:gd name="connsiteX6" fmla="*/ 351091 w 389953"/>
                      <a:gd name="connsiteY6" fmla="*/ 480251 h 1217787"/>
                      <a:gd name="connsiteX7" fmla="*/ 361760 w 389953"/>
                      <a:gd name="connsiteY7" fmla="*/ 876681 h 1217787"/>
                      <a:gd name="connsiteX8" fmla="*/ 389858 w 389953"/>
                      <a:gd name="connsiteY8" fmla="*/ 1195959 h 12177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89953" h="1217787">
                        <a:moveTo>
                          <a:pt x="389954" y="1196054"/>
                        </a:moveTo>
                        <a:cubicBezTo>
                          <a:pt x="339471" y="1220438"/>
                          <a:pt x="293561" y="1223867"/>
                          <a:pt x="245079" y="1208532"/>
                        </a:cubicBezTo>
                        <a:cubicBezTo>
                          <a:pt x="209550" y="1038987"/>
                          <a:pt x="96964" y="734759"/>
                          <a:pt x="52388" y="579406"/>
                        </a:cubicBezTo>
                        <a:cubicBezTo>
                          <a:pt x="7715" y="423767"/>
                          <a:pt x="0" y="44863"/>
                          <a:pt x="0" y="44863"/>
                        </a:cubicBezTo>
                        <a:lnTo>
                          <a:pt x="306705" y="0"/>
                        </a:lnTo>
                        <a:lnTo>
                          <a:pt x="316039" y="166878"/>
                        </a:lnTo>
                        <a:cubicBezTo>
                          <a:pt x="316039" y="166878"/>
                          <a:pt x="347472" y="345662"/>
                          <a:pt x="351091" y="480251"/>
                        </a:cubicBezTo>
                        <a:cubicBezTo>
                          <a:pt x="354711" y="614839"/>
                          <a:pt x="361760" y="876681"/>
                          <a:pt x="361760" y="876681"/>
                        </a:cubicBezTo>
                        <a:lnTo>
                          <a:pt x="389858" y="1195959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0" name="Freihandform: Form 29">
                    <a:extLst>
                      <a:ext uri="{FF2B5EF4-FFF2-40B4-BE49-F238E27FC236}">
                        <a16:creationId xmlns:a16="http://schemas.microsoft.com/office/drawing/2014/main" id="{B49B46D6-1FB3-A453-808B-826FD673B7ED}"/>
                      </a:ext>
                    </a:extLst>
                  </p:cNvPr>
                  <p:cNvSpPr/>
                  <p:nvPr/>
                </p:nvSpPr>
                <p:spPr>
                  <a:xfrm>
                    <a:off x="8936291" y="4539329"/>
                    <a:ext cx="309943" cy="318515"/>
                  </a:xfrm>
                  <a:custGeom>
                    <a:avLst/>
                    <a:gdLst>
                      <a:gd name="connsiteX0" fmla="*/ 309944 w 309943"/>
                      <a:gd name="connsiteY0" fmla="*/ 159258 h 318515"/>
                      <a:gd name="connsiteX1" fmla="*/ 154972 w 309943"/>
                      <a:gd name="connsiteY1" fmla="*/ 318516 h 318515"/>
                      <a:gd name="connsiteX2" fmla="*/ 0 w 309943"/>
                      <a:gd name="connsiteY2" fmla="*/ 159258 h 318515"/>
                      <a:gd name="connsiteX3" fmla="*/ 154972 w 309943"/>
                      <a:gd name="connsiteY3" fmla="*/ 0 h 318515"/>
                      <a:gd name="connsiteX4" fmla="*/ 309944 w 309943"/>
                      <a:gd name="connsiteY4" fmla="*/ 159258 h 3185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9943" h="318515">
                        <a:moveTo>
                          <a:pt x="309944" y="159258"/>
                        </a:moveTo>
                        <a:cubicBezTo>
                          <a:pt x="309944" y="247214"/>
                          <a:pt x="240561" y="318516"/>
                          <a:pt x="154972" y="318516"/>
                        </a:cubicBezTo>
                        <a:cubicBezTo>
                          <a:pt x="69383" y="318516"/>
                          <a:pt x="0" y="247214"/>
                          <a:pt x="0" y="159258"/>
                        </a:cubicBezTo>
                        <a:cubicBezTo>
                          <a:pt x="0" y="71302"/>
                          <a:pt x="69383" y="0"/>
                          <a:pt x="154972" y="0"/>
                        </a:cubicBezTo>
                        <a:cubicBezTo>
                          <a:pt x="240560" y="0"/>
                          <a:pt x="309944" y="71302"/>
                          <a:pt x="309944" y="159258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1" name="Freihandform: Form 30">
                    <a:extLst>
                      <a:ext uri="{FF2B5EF4-FFF2-40B4-BE49-F238E27FC236}">
                        <a16:creationId xmlns:a16="http://schemas.microsoft.com/office/drawing/2014/main" id="{E6A38647-741A-92BB-087F-C728C9B9CBB9}"/>
                      </a:ext>
                    </a:extLst>
                  </p:cNvPr>
                  <p:cNvSpPr/>
                  <p:nvPr/>
                </p:nvSpPr>
                <p:spPr>
                  <a:xfrm>
                    <a:off x="9325196" y="4544758"/>
                    <a:ext cx="311086" cy="311086"/>
                  </a:xfrm>
                  <a:custGeom>
                    <a:avLst/>
                    <a:gdLst>
                      <a:gd name="connsiteX0" fmla="*/ 311086 w 311086"/>
                      <a:gd name="connsiteY0" fmla="*/ 155543 h 311086"/>
                      <a:gd name="connsiteX1" fmla="*/ 155543 w 311086"/>
                      <a:gd name="connsiteY1" fmla="*/ 311086 h 311086"/>
                      <a:gd name="connsiteX2" fmla="*/ -1 w 311086"/>
                      <a:gd name="connsiteY2" fmla="*/ 155543 h 311086"/>
                      <a:gd name="connsiteX3" fmla="*/ 155543 w 311086"/>
                      <a:gd name="connsiteY3" fmla="*/ 0 h 311086"/>
                      <a:gd name="connsiteX4" fmla="*/ 311086 w 311086"/>
                      <a:gd name="connsiteY4" fmla="*/ 155543 h 3110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1086" h="311086">
                        <a:moveTo>
                          <a:pt x="311086" y="155543"/>
                        </a:moveTo>
                        <a:cubicBezTo>
                          <a:pt x="311086" y="241447"/>
                          <a:pt x="241447" y="311086"/>
                          <a:pt x="155543" y="311086"/>
                        </a:cubicBezTo>
                        <a:cubicBezTo>
                          <a:pt x="69639" y="311086"/>
                          <a:pt x="-1" y="241447"/>
                          <a:pt x="-1" y="155543"/>
                        </a:cubicBezTo>
                        <a:cubicBezTo>
                          <a:pt x="-1" y="69639"/>
                          <a:pt x="69639" y="0"/>
                          <a:pt x="155543" y="0"/>
                        </a:cubicBezTo>
                        <a:cubicBezTo>
                          <a:pt x="241447" y="0"/>
                          <a:pt x="311086" y="69639"/>
                          <a:pt x="311086" y="155543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2" name="Freihandform: Form 31">
                    <a:extLst>
                      <a:ext uri="{FF2B5EF4-FFF2-40B4-BE49-F238E27FC236}">
                        <a16:creationId xmlns:a16="http://schemas.microsoft.com/office/drawing/2014/main" id="{588E08F5-DAB6-2980-EC19-CFE8F03211F0}"/>
                      </a:ext>
                    </a:extLst>
                  </p:cNvPr>
                  <p:cNvSpPr/>
                  <p:nvPr/>
                </p:nvSpPr>
                <p:spPr>
                  <a:xfrm>
                    <a:off x="9111551" y="5873591"/>
                    <a:ext cx="251269" cy="207930"/>
                  </a:xfrm>
                  <a:custGeom>
                    <a:avLst/>
                    <a:gdLst>
                      <a:gd name="connsiteX0" fmla="*/ 72294 w 251269"/>
                      <a:gd name="connsiteY0" fmla="*/ 0 h 207930"/>
                      <a:gd name="connsiteX1" fmla="*/ 0 w 251269"/>
                      <a:gd name="connsiteY1" fmla="*/ 201549 h 207930"/>
                      <a:gd name="connsiteX2" fmla="*/ 251270 w 251269"/>
                      <a:gd name="connsiteY2" fmla="*/ 207930 h 207930"/>
                      <a:gd name="connsiteX3" fmla="*/ 216789 w 251269"/>
                      <a:gd name="connsiteY3" fmla="*/ 3334 h 207930"/>
                      <a:gd name="connsiteX4" fmla="*/ 72294 w 251269"/>
                      <a:gd name="connsiteY4" fmla="*/ 95 h 207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51269" h="207930">
                        <a:moveTo>
                          <a:pt x="72294" y="0"/>
                        </a:moveTo>
                        <a:cubicBezTo>
                          <a:pt x="56579" y="148399"/>
                          <a:pt x="952" y="162496"/>
                          <a:pt x="0" y="201549"/>
                        </a:cubicBezTo>
                        <a:lnTo>
                          <a:pt x="251270" y="207930"/>
                        </a:lnTo>
                        <a:cubicBezTo>
                          <a:pt x="246126" y="145922"/>
                          <a:pt x="216789" y="118300"/>
                          <a:pt x="216789" y="3334"/>
                        </a:cubicBezTo>
                        <a:lnTo>
                          <a:pt x="72294" y="95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3" name="Freihandform: Form 32">
                    <a:extLst>
                      <a:ext uri="{FF2B5EF4-FFF2-40B4-BE49-F238E27FC236}">
                        <a16:creationId xmlns:a16="http://schemas.microsoft.com/office/drawing/2014/main" id="{6E1C5875-E337-B3F8-BCEB-14952D6BB77C}"/>
                      </a:ext>
                    </a:extLst>
                  </p:cNvPr>
                  <p:cNvSpPr/>
                  <p:nvPr/>
                </p:nvSpPr>
                <p:spPr>
                  <a:xfrm>
                    <a:off x="9040208" y="6087713"/>
                    <a:ext cx="343280" cy="94544"/>
                  </a:xfrm>
                  <a:custGeom>
                    <a:avLst/>
                    <a:gdLst>
                      <a:gd name="connsiteX0" fmla="*/ 322326 w 343280"/>
                      <a:gd name="connsiteY0" fmla="*/ 89821 h 94544"/>
                      <a:gd name="connsiteX1" fmla="*/ 21145 w 343280"/>
                      <a:gd name="connsiteY1" fmla="*/ 89630 h 94544"/>
                      <a:gd name="connsiteX2" fmla="*/ 0 w 343280"/>
                      <a:gd name="connsiteY2" fmla="*/ 60960 h 94544"/>
                      <a:gd name="connsiteX3" fmla="*/ 0 w 343280"/>
                      <a:gd name="connsiteY3" fmla="*/ 0 h 94544"/>
                      <a:gd name="connsiteX4" fmla="*/ 343281 w 343280"/>
                      <a:gd name="connsiteY4" fmla="*/ 0 h 94544"/>
                      <a:gd name="connsiteX5" fmla="*/ 343281 w 343280"/>
                      <a:gd name="connsiteY5" fmla="*/ 61150 h 94544"/>
                      <a:gd name="connsiteX6" fmla="*/ 322326 w 343280"/>
                      <a:gd name="connsiteY6" fmla="*/ 89821 h 945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43280" h="94544">
                        <a:moveTo>
                          <a:pt x="322326" y="89821"/>
                        </a:moveTo>
                        <a:cubicBezTo>
                          <a:pt x="218218" y="97822"/>
                          <a:pt x="135160" y="94202"/>
                          <a:pt x="21145" y="89630"/>
                        </a:cubicBezTo>
                        <a:cubicBezTo>
                          <a:pt x="8954" y="89154"/>
                          <a:pt x="0" y="75533"/>
                          <a:pt x="0" y="60960"/>
                        </a:cubicBezTo>
                        <a:lnTo>
                          <a:pt x="0" y="0"/>
                        </a:lnTo>
                        <a:cubicBezTo>
                          <a:pt x="0" y="0"/>
                          <a:pt x="343281" y="0"/>
                          <a:pt x="343281" y="0"/>
                        </a:cubicBezTo>
                        <a:lnTo>
                          <a:pt x="343281" y="61150"/>
                        </a:lnTo>
                        <a:cubicBezTo>
                          <a:pt x="343281" y="75629"/>
                          <a:pt x="334423" y="88868"/>
                          <a:pt x="322326" y="89821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" name="Freihandform: Form 33">
                    <a:extLst>
                      <a:ext uri="{FF2B5EF4-FFF2-40B4-BE49-F238E27FC236}">
                        <a16:creationId xmlns:a16="http://schemas.microsoft.com/office/drawing/2014/main" id="{E3EE99E0-89D8-E49D-96D7-8145A6F81818}"/>
                      </a:ext>
                    </a:extLst>
                  </p:cNvPr>
                  <p:cNvSpPr/>
                  <p:nvPr/>
                </p:nvSpPr>
                <p:spPr>
                  <a:xfrm>
                    <a:off x="9040208" y="5934550"/>
                    <a:ext cx="343280" cy="181734"/>
                  </a:xfrm>
                  <a:custGeom>
                    <a:avLst/>
                    <a:gdLst>
                      <a:gd name="connsiteX0" fmla="*/ 343281 w 343280"/>
                      <a:gd name="connsiteY0" fmla="*/ 153163 h 181734"/>
                      <a:gd name="connsiteX1" fmla="*/ 294227 w 343280"/>
                      <a:gd name="connsiteY1" fmla="*/ 23147 h 181734"/>
                      <a:gd name="connsiteX2" fmla="*/ 279273 w 343280"/>
                      <a:gd name="connsiteY2" fmla="*/ 64199 h 181734"/>
                      <a:gd name="connsiteX3" fmla="*/ 98964 w 343280"/>
                      <a:gd name="connsiteY3" fmla="*/ 59628 h 181734"/>
                      <a:gd name="connsiteX4" fmla="*/ 0 w 343280"/>
                      <a:gd name="connsiteY4" fmla="*/ 153163 h 181734"/>
                      <a:gd name="connsiteX5" fmla="*/ 343281 w 343280"/>
                      <a:gd name="connsiteY5" fmla="*/ 153163 h 1817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43280" h="181734">
                        <a:moveTo>
                          <a:pt x="343281" y="153163"/>
                        </a:moveTo>
                        <a:cubicBezTo>
                          <a:pt x="303847" y="73344"/>
                          <a:pt x="306133" y="10193"/>
                          <a:pt x="294227" y="23147"/>
                        </a:cubicBezTo>
                        <a:cubicBezTo>
                          <a:pt x="301276" y="53055"/>
                          <a:pt x="295656" y="65914"/>
                          <a:pt x="279273" y="64199"/>
                        </a:cubicBezTo>
                        <a:cubicBezTo>
                          <a:pt x="279273" y="64199"/>
                          <a:pt x="167544" y="-77151"/>
                          <a:pt x="98964" y="59628"/>
                        </a:cubicBezTo>
                        <a:cubicBezTo>
                          <a:pt x="57340" y="142591"/>
                          <a:pt x="4096" y="120397"/>
                          <a:pt x="0" y="153163"/>
                        </a:cubicBezTo>
                        <a:cubicBezTo>
                          <a:pt x="16478" y="185738"/>
                          <a:pt x="323945" y="196406"/>
                          <a:pt x="343281" y="15316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" name="Freihandform: Form 34">
                    <a:extLst>
                      <a:ext uri="{FF2B5EF4-FFF2-40B4-BE49-F238E27FC236}">
                        <a16:creationId xmlns:a16="http://schemas.microsoft.com/office/drawing/2014/main" id="{735EB25D-09DE-8829-0CFB-EF4EE5463E0D}"/>
                      </a:ext>
                    </a:extLst>
                  </p:cNvPr>
                  <p:cNvSpPr/>
                  <p:nvPr/>
                </p:nvSpPr>
                <p:spPr>
                  <a:xfrm>
                    <a:off x="9324879" y="4677727"/>
                    <a:ext cx="326797" cy="1236394"/>
                  </a:xfrm>
                  <a:custGeom>
                    <a:avLst/>
                    <a:gdLst>
                      <a:gd name="connsiteX0" fmla="*/ 41084 w 326797"/>
                      <a:gd name="connsiteY0" fmla="*/ 1218819 h 1236394"/>
                      <a:gd name="connsiteX1" fmla="*/ 186626 w 326797"/>
                      <a:gd name="connsiteY1" fmla="*/ 1215199 h 1236394"/>
                      <a:gd name="connsiteX2" fmla="*/ 315405 w 326797"/>
                      <a:gd name="connsiteY2" fmla="*/ 571024 h 1236394"/>
                      <a:gd name="connsiteX3" fmla="*/ 309594 w 326797"/>
                      <a:gd name="connsiteY3" fmla="*/ 0 h 1236394"/>
                      <a:gd name="connsiteX4" fmla="*/ 222 w 326797"/>
                      <a:gd name="connsiteY4" fmla="*/ 286 h 1236394"/>
                      <a:gd name="connsiteX5" fmla="*/ 8033 w 326797"/>
                      <a:gd name="connsiteY5" fmla="*/ 502825 h 1236394"/>
                      <a:gd name="connsiteX6" fmla="*/ 37655 w 326797"/>
                      <a:gd name="connsiteY6" fmla="*/ 898302 h 1236394"/>
                      <a:gd name="connsiteX7" fmla="*/ 40989 w 326797"/>
                      <a:gd name="connsiteY7" fmla="*/ 1218819 h 12363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797" h="1236394">
                        <a:moveTo>
                          <a:pt x="41084" y="1218819"/>
                        </a:moveTo>
                        <a:cubicBezTo>
                          <a:pt x="93853" y="1243870"/>
                          <a:pt x="140049" y="1241679"/>
                          <a:pt x="186626" y="1215199"/>
                        </a:cubicBezTo>
                        <a:cubicBezTo>
                          <a:pt x="204724" y="1042892"/>
                          <a:pt x="286830" y="730091"/>
                          <a:pt x="315405" y="571024"/>
                        </a:cubicBezTo>
                        <a:cubicBezTo>
                          <a:pt x="344075" y="411575"/>
                          <a:pt x="309594" y="0"/>
                          <a:pt x="309594" y="0"/>
                        </a:cubicBezTo>
                        <a:lnTo>
                          <a:pt x="222" y="286"/>
                        </a:lnTo>
                        <a:cubicBezTo>
                          <a:pt x="222" y="286"/>
                          <a:pt x="-2064" y="368617"/>
                          <a:pt x="8033" y="502825"/>
                        </a:cubicBezTo>
                        <a:cubicBezTo>
                          <a:pt x="18129" y="637032"/>
                          <a:pt x="37655" y="898302"/>
                          <a:pt x="37655" y="898302"/>
                        </a:cubicBezTo>
                        <a:lnTo>
                          <a:pt x="40989" y="1218819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6" name="Freihandform: Form 35">
                    <a:extLst>
                      <a:ext uri="{FF2B5EF4-FFF2-40B4-BE49-F238E27FC236}">
                        <a16:creationId xmlns:a16="http://schemas.microsoft.com/office/drawing/2014/main" id="{4891889A-B054-8BDC-EE83-B0E1075F6962}"/>
                      </a:ext>
                    </a:extLst>
                  </p:cNvPr>
                  <p:cNvSpPr/>
                  <p:nvPr/>
                </p:nvSpPr>
                <p:spPr>
                  <a:xfrm>
                    <a:off x="9333007" y="5892926"/>
                    <a:ext cx="284035" cy="215074"/>
                  </a:xfrm>
                  <a:custGeom>
                    <a:avLst/>
                    <a:gdLst>
                      <a:gd name="connsiteX0" fmla="*/ 178498 w 284035"/>
                      <a:gd name="connsiteY0" fmla="*/ 0 h 215074"/>
                      <a:gd name="connsiteX1" fmla="*/ 284036 w 284035"/>
                      <a:gd name="connsiteY1" fmla="*/ 215075 h 215074"/>
                      <a:gd name="connsiteX2" fmla="*/ 0 w 284035"/>
                      <a:gd name="connsiteY2" fmla="*/ 215075 h 215074"/>
                      <a:gd name="connsiteX3" fmla="*/ 32956 w 284035"/>
                      <a:gd name="connsiteY3" fmla="*/ 4477 h 215074"/>
                      <a:gd name="connsiteX4" fmla="*/ 178594 w 284035"/>
                      <a:gd name="connsiteY4" fmla="*/ 0 h 2150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84035" h="215074">
                        <a:moveTo>
                          <a:pt x="178498" y="0"/>
                        </a:moveTo>
                        <a:cubicBezTo>
                          <a:pt x="199549" y="148685"/>
                          <a:pt x="284036" y="176022"/>
                          <a:pt x="284036" y="215075"/>
                        </a:cubicBezTo>
                        <a:lnTo>
                          <a:pt x="0" y="215075"/>
                        </a:lnTo>
                        <a:cubicBezTo>
                          <a:pt x="0" y="139637"/>
                          <a:pt x="37529" y="86963"/>
                          <a:pt x="32956" y="4477"/>
                        </a:cubicBezTo>
                        <a:lnTo>
                          <a:pt x="178594" y="0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7" name="Freihandform: Form 36">
                    <a:extLst>
                      <a:ext uri="{FF2B5EF4-FFF2-40B4-BE49-F238E27FC236}">
                        <a16:creationId xmlns:a16="http://schemas.microsoft.com/office/drawing/2014/main" id="{04425868-2B88-B380-308B-FA513490E376}"/>
                      </a:ext>
                    </a:extLst>
                  </p:cNvPr>
                  <p:cNvSpPr/>
                  <p:nvPr/>
                </p:nvSpPr>
                <p:spPr>
                  <a:xfrm>
                    <a:off x="9312909" y="6089332"/>
                    <a:ext cx="343280" cy="92916"/>
                  </a:xfrm>
                  <a:custGeom>
                    <a:avLst/>
                    <a:gdLst>
                      <a:gd name="connsiteX0" fmla="*/ 20955 w 343280"/>
                      <a:gd name="connsiteY0" fmla="*/ 89821 h 92916"/>
                      <a:gd name="connsiteX1" fmla="*/ 322135 w 343280"/>
                      <a:gd name="connsiteY1" fmla="*/ 89631 h 92916"/>
                      <a:gd name="connsiteX2" fmla="*/ 343281 w 343280"/>
                      <a:gd name="connsiteY2" fmla="*/ 60960 h 92916"/>
                      <a:gd name="connsiteX3" fmla="*/ 343281 w 343280"/>
                      <a:gd name="connsiteY3" fmla="*/ 0 h 92916"/>
                      <a:gd name="connsiteX4" fmla="*/ 0 w 343280"/>
                      <a:gd name="connsiteY4" fmla="*/ 0 h 92916"/>
                      <a:gd name="connsiteX5" fmla="*/ 0 w 343280"/>
                      <a:gd name="connsiteY5" fmla="*/ 61150 h 92916"/>
                      <a:gd name="connsiteX6" fmla="*/ 20955 w 343280"/>
                      <a:gd name="connsiteY6" fmla="*/ 89821 h 929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43280" h="92916">
                        <a:moveTo>
                          <a:pt x="20955" y="89821"/>
                        </a:moveTo>
                        <a:cubicBezTo>
                          <a:pt x="138969" y="93345"/>
                          <a:pt x="221932" y="94583"/>
                          <a:pt x="322135" y="89631"/>
                        </a:cubicBezTo>
                        <a:cubicBezTo>
                          <a:pt x="334327" y="89059"/>
                          <a:pt x="343281" y="75533"/>
                          <a:pt x="343281" y="60960"/>
                        </a:cubicBezTo>
                        <a:lnTo>
                          <a:pt x="343281" y="0"/>
                        </a:lnTo>
                        <a:cubicBezTo>
                          <a:pt x="343281" y="0"/>
                          <a:pt x="0" y="0"/>
                          <a:pt x="0" y="0"/>
                        </a:cubicBezTo>
                        <a:lnTo>
                          <a:pt x="0" y="61150"/>
                        </a:lnTo>
                        <a:cubicBezTo>
                          <a:pt x="0" y="75629"/>
                          <a:pt x="8858" y="89440"/>
                          <a:pt x="20955" y="89821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8" name="Freihandform: Form 37">
                    <a:extLst>
                      <a:ext uri="{FF2B5EF4-FFF2-40B4-BE49-F238E27FC236}">
                        <a16:creationId xmlns:a16="http://schemas.microsoft.com/office/drawing/2014/main" id="{A69FB320-E4AC-6C72-AFDA-4EB0F1A1075D}"/>
                      </a:ext>
                    </a:extLst>
                  </p:cNvPr>
                  <p:cNvSpPr/>
                  <p:nvPr/>
                </p:nvSpPr>
                <p:spPr>
                  <a:xfrm>
                    <a:off x="9312909" y="5936264"/>
                    <a:ext cx="343280" cy="181734"/>
                  </a:xfrm>
                  <a:custGeom>
                    <a:avLst/>
                    <a:gdLst>
                      <a:gd name="connsiteX0" fmla="*/ 0 w 343280"/>
                      <a:gd name="connsiteY0" fmla="*/ 153163 h 181734"/>
                      <a:gd name="connsiteX1" fmla="*/ 49053 w 343280"/>
                      <a:gd name="connsiteY1" fmla="*/ 23147 h 181734"/>
                      <a:gd name="connsiteX2" fmla="*/ 64008 w 343280"/>
                      <a:gd name="connsiteY2" fmla="*/ 64199 h 181734"/>
                      <a:gd name="connsiteX3" fmla="*/ 244316 w 343280"/>
                      <a:gd name="connsiteY3" fmla="*/ 59628 h 181734"/>
                      <a:gd name="connsiteX4" fmla="*/ 343281 w 343280"/>
                      <a:gd name="connsiteY4" fmla="*/ 153163 h 181734"/>
                      <a:gd name="connsiteX5" fmla="*/ 0 w 343280"/>
                      <a:gd name="connsiteY5" fmla="*/ 153163 h 1817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43280" h="181734">
                        <a:moveTo>
                          <a:pt x="0" y="153163"/>
                        </a:moveTo>
                        <a:cubicBezTo>
                          <a:pt x="39433" y="73344"/>
                          <a:pt x="37147" y="10193"/>
                          <a:pt x="49053" y="23147"/>
                        </a:cubicBezTo>
                        <a:cubicBezTo>
                          <a:pt x="42005" y="53055"/>
                          <a:pt x="47625" y="65914"/>
                          <a:pt x="64008" y="64199"/>
                        </a:cubicBezTo>
                        <a:cubicBezTo>
                          <a:pt x="64008" y="64199"/>
                          <a:pt x="175736" y="-77151"/>
                          <a:pt x="244316" y="59628"/>
                        </a:cubicBezTo>
                        <a:cubicBezTo>
                          <a:pt x="285940" y="142591"/>
                          <a:pt x="339185" y="120397"/>
                          <a:pt x="343281" y="153163"/>
                        </a:cubicBezTo>
                        <a:cubicBezTo>
                          <a:pt x="326803" y="185738"/>
                          <a:pt x="19335" y="196406"/>
                          <a:pt x="0" y="15316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9" name="Freihandform: Form 38">
                    <a:extLst>
                      <a:ext uri="{FF2B5EF4-FFF2-40B4-BE49-F238E27FC236}">
                        <a16:creationId xmlns:a16="http://schemas.microsoft.com/office/drawing/2014/main" id="{84EA4B2E-DED4-65DC-36FB-CCABAB302212}"/>
                      </a:ext>
                    </a:extLst>
                  </p:cNvPr>
                  <p:cNvSpPr/>
                  <p:nvPr/>
                </p:nvSpPr>
                <p:spPr>
                  <a:xfrm>
                    <a:off x="8692641" y="2714148"/>
                    <a:ext cx="1197659" cy="1963864"/>
                  </a:xfrm>
                  <a:custGeom>
                    <a:avLst/>
                    <a:gdLst>
                      <a:gd name="connsiteX0" fmla="*/ 1130998 w 1197659"/>
                      <a:gd name="connsiteY0" fmla="*/ 302133 h 1963864"/>
                      <a:gd name="connsiteX1" fmla="*/ 919353 w 1197659"/>
                      <a:gd name="connsiteY1" fmla="*/ 1429 h 1963864"/>
                      <a:gd name="connsiteX2" fmla="*/ 598075 w 1197659"/>
                      <a:gd name="connsiteY2" fmla="*/ 0 h 1963864"/>
                      <a:gd name="connsiteX3" fmla="*/ 598075 w 1197659"/>
                      <a:gd name="connsiteY3" fmla="*/ 0 h 1963864"/>
                      <a:gd name="connsiteX4" fmla="*/ 594646 w 1197659"/>
                      <a:gd name="connsiteY4" fmla="*/ 0 h 1963864"/>
                      <a:gd name="connsiteX5" fmla="*/ 591216 w 1197659"/>
                      <a:gd name="connsiteY5" fmla="*/ 0 h 1963864"/>
                      <a:gd name="connsiteX6" fmla="*/ 591216 w 1197659"/>
                      <a:gd name="connsiteY6" fmla="*/ 0 h 1963864"/>
                      <a:gd name="connsiteX7" fmla="*/ 269938 w 1197659"/>
                      <a:gd name="connsiteY7" fmla="*/ 1429 h 1963864"/>
                      <a:gd name="connsiteX8" fmla="*/ 65531 w 1197659"/>
                      <a:gd name="connsiteY8" fmla="*/ 316421 h 1963864"/>
                      <a:gd name="connsiteX9" fmla="*/ 0 w 1197659"/>
                      <a:gd name="connsiteY9" fmla="*/ 635127 h 1963864"/>
                      <a:gd name="connsiteX10" fmla="*/ 24384 w 1197659"/>
                      <a:gd name="connsiteY10" fmla="*/ 1062895 h 1963864"/>
                      <a:gd name="connsiteX11" fmla="*/ 117634 w 1197659"/>
                      <a:gd name="connsiteY11" fmla="*/ 1567434 h 1963864"/>
                      <a:gd name="connsiteX12" fmla="*/ 209264 w 1197659"/>
                      <a:gd name="connsiteY12" fmla="*/ 1963865 h 1963864"/>
                      <a:gd name="connsiteX13" fmla="*/ 978217 w 1197659"/>
                      <a:gd name="connsiteY13" fmla="*/ 1963865 h 1963864"/>
                      <a:gd name="connsiteX14" fmla="*/ 1069848 w 1197659"/>
                      <a:gd name="connsiteY14" fmla="*/ 1567434 h 1963864"/>
                      <a:gd name="connsiteX15" fmla="*/ 1163098 w 1197659"/>
                      <a:gd name="connsiteY15" fmla="*/ 1062895 h 1963864"/>
                      <a:gd name="connsiteX16" fmla="*/ 1131189 w 1197659"/>
                      <a:gd name="connsiteY16" fmla="*/ 302133 h 19638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1197659" h="1963864">
                        <a:moveTo>
                          <a:pt x="1130998" y="302133"/>
                        </a:moveTo>
                        <a:cubicBezTo>
                          <a:pt x="1066895" y="164021"/>
                          <a:pt x="919353" y="1429"/>
                          <a:pt x="919353" y="1429"/>
                        </a:cubicBezTo>
                        <a:lnTo>
                          <a:pt x="598075" y="0"/>
                        </a:lnTo>
                        <a:lnTo>
                          <a:pt x="598075" y="0"/>
                        </a:lnTo>
                        <a:cubicBezTo>
                          <a:pt x="598075" y="0"/>
                          <a:pt x="594646" y="0"/>
                          <a:pt x="594646" y="0"/>
                        </a:cubicBezTo>
                        <a:lnTo>
                          <a:pt x="591216" y="0"/>
                        </a:lnTo>
                        <a:cubicBezTo>
                          <a:pt x="591216" y="0"/>
                          <a:pt x="591216" y="0"/>
                          <a:pt x="591216" y="0"/>
                        </a:cubicBezTo>
                        <a:lnTo>
                          <a:pt x="269938" y="1429"/>
                        </a:lnTo>
                        <a:cubicBezTo>
                          <a:pt x="269938" y="1429"/>
                          <a:pt x="120205" y="174308"/>
                          <a:pt x="65531" y="316421"/>
                        </a:cubicBezTo>
                        <a:cubicBezTo>
                          <a:pt x="10953" y="458534"/>
                          <a:pt x="0" y="635127"/>
                          <a:pt x="0" y="635127"/>
                        </a:cubicBezTo>
                        <a:cubicBezTo>
                          <a:pt x="0" y="635127"/>
                          <a:pt x="6477" y="908114"/>
                          <a:pt x="24384" y="1062895"/>
                        </a:cubicBezTo>
                        <a:cubicBezTo>
                          <a:pt x="42196" y="1217676"/>
                          <a:pt x="82677" y="1449991"/>
                          <a:pt x="117634" y="1567434"/>
                        </a:cubicBezTo>
                        <a:cubicBezTo>
                          <a:pt x="152590" y="1684877"/>
                          <a:pt x="209264" y="1963865"/>
                          <a:pt x="209264" y="1963865"/>
                        </a:cubicBezTo>
                        <a:lnTo>
                          <a:pt x="978217" y="1963865"/>
                        </a:lnTo>
                        <a:cubicBezTo>
                          <a:pt x="978217" y="1963865"/>
                          <a:pt x="1034891" y="1684973"/>
                          <a:pt x="1069848" y="1567434"/>
                        </a:cubicBezTo>
                        <a:cubicBezTo>
                          <a:pt x="1104805" y="1449991"/>
                          <a:pt x="1134999" y="1216152"/>
                          <a:pt x="1163098" y="1062895"/>
                        </a:cubicBezTo>
                        <a:cubicBezTo>
                          <a:pt x="1214818" y="780859"/>
                          <a:pt x="1211866" y="476059"/>
                          <a:pt x="1131189" y="302133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0" name="Freihandform: Form 39">
                    <a:extLst>
                      <a:ext uri="{FF2B5EF4-FFF2-40B4-BE49-F238E27FC236}">
                        <a16:creationId xmlns:a16="http://schemas.microsoft.com/office/drawing/2014/main" id="{4D3DEEDE-4302-BC58-B628-7C6A674AC117}"/>
                      </a:ext>
                    </a:extLst>
                  </p:cNvPr>
                  <p:cNvSpPr/>
                  <p:nvPr/>
                </p:nvSpPr>
                <p:spPr>
                  <a:xfrm>
                    <a:off x="8910483" y="810018"/>
                    <a:ext cx="817969" cy="1046717"/>
                  </a:xfrm>
                  <a:custGeom>
                    <a:avLst/>
                    <a:gdLst>
                      <a:gd name="connsiteX0" fmla="*/ 720465 w 817969"/>
                      <a:gd name="connsiteY0" fmla="*/ 892765 h 1046717"/>
                      <a:gd name="connsiteX1" fmla="*/ 679603 w 817969"/>
                      <a:gd name="connsiteY1" fmla="*/ 349364 h 1046717"/>
                      <a:gd name="connsiteX2" fmla="*/ 351467 w 817969"/>
                      <a:gd name="connsiteY2" fmla="*/ 1321 h 1046717"/>
                      <a:gd name="connsiteX3" fmla="*/ 212974 w 817969"/>
                      <a:gd name="connsiteY3" fmla="*/ 66472 h 1046717"/>
                      <a:gd name="connsiteX4" fmla="*/ 25522 w 817969"/>
                      <a:gd name="connsiteY4" fmla="*/ 310312 h 1046717"/>
                      <a:gd name="connsiteX5" fmla="*/ 68956 w 817969"/>
                      <a:gd name="connsiteY5" fmla="*/ 866857 h 1046717"/>
                      <a:gd name="connsiteX6" fmla="*/ 720465 w 817969"/>
                      <a:gd name="connsiteY6" fmla="*/ 892765 h 10467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17969" h="1046717">
                        <a:moveTo>
                          <a:pt x="720465" y="892765"/>
                        </a:moveTo>
                        <a:cubicBezTo>
                          <a:pt x="720465" y="892765"/>
                          <a:pt x="964972" y="672262"/>
                          <a:pt x="679603" y="349364"/>
                        </a:cubicBezTo>
                        <a:cubicBezTo>
                          <a:pt x="593307" y="251733"/>
                          <a:pt x="546444" y="-21254"/>
                          <a:pt x="351467" y="1321"/>
                        </a:cubicBezTo>
                        <a:cubicBezTo>
                          <a:pt x="299555" y="8560"/>
                          <a:pt x="250502" y="23038"/>
                          <a:pt x="212974" y="66472"/>
                        </a:cubicBezTo>
                        <a:cubicBezTo>
                          <a:pt x="212974" y="66472"/>
                          <a:pt x="81243" y="74568"/>
                          <a:pt x="25522" y="310312"/>
                        </a:cubicBezTo>
                        <a:cubicBezTo>
                          <a:pt x="-22008" y="511480"/>
                          <a:pt x="-672" y="769036"/>
                          <a:pt x="68956" y="866857"/>
                        </a:cubicBezTo>
                        <a:cubicBezTo>
                          <a:pt x="228975" y="1099363"/>
                          <a:pt x="446907" y="1104792"/>
                          <a:pt x="720465" y="89276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1" name="Freihandform: Form 40">
                    <a:extLst>
                      <a:ext uri="{FF2B5EF4-FFF2-40B4-BE49-F238E27FC236}">
                        <a16:creationId xmlns:a16="http://schemas.microsoft.com/office/drawing/2014/main" id="{957AE813-D5E4-A05E-4132-D4274EE46EB0}"/>
                      </a:ext>
                    </a:extLst>
                  </p:cNvPr>
                  <p:cNvSpPr/>
                  <p:nvPr/>
                </p:nvSpPr>
                <p:spPr>
                  <a:xfrm>
                    <a:off x="9143174" y="1311973"/>
                    <a:ext cx="298227" cy="463654"/>
                  </a:xfrm>
                  <a:custGeom>
                    <a:avLst/>
                    <a:gdLst>
                      <a:gd name="connsiteX0" fmla="*/ 0 w 298227"/>
                      <a:gd name="connsiteY0" fmla="*/ 385001 h 463654"/>
                      <a:gd name="connsiteX1" fmla="*/ 298228 w 298227"/>
                      <a:gd name="connsiteY1" fmla="*/ 385001 h 463654"/>
                      <a:gd name="connsiteX2" fmla="*/ 298228 w 298227"/>
                      <a:gd name="connsiteY2" fmla="*/ 0 h 463654"/>
                      <a:gd name="connsiteX3" fmla="*/ 0 w 298227"/>
                      <a:gd name="connsiteY3" fmla="*/ 0 h 463654"/>
                      <a:gd name="connsiteX4" fmla="*/ 0 w 298227"/>
                      <a:gd name="connsiteY4" fmla="*/ 385001 h 4636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8227" h="463654">
                        <a:moveTo>
                          <a:pt x="0" y="385001"/>
                        </a:moveTo>
                        <a:cubicBezTo>
                          <a:pt x="51816" y="489109"/>
                          <a:pt x="237172" y="490633"/>
                          <a:pt x="298228" y="385001"/>
                        </a:cubicBezTo>
                        <a:lnTo>
                          <a:pt x="298228" y="0"/>
                        </a:lnTo>
                        <a:lnTo>
                          <a:pt x="0" y="0"/>
                        </a:lnTo>
                        <a:cubicBezTo>
                          <a:pt x="0" y="0"/>
                          <a:pt x="0" y="385001"/>
                          <a:pt x="0" y="385001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2" name="Freihandform: Form 41">
                    <a:extLst>
                      <a:ext uri="{FF2B5EF4-FFF2-40B4-BE49-F238E27FC236}">
                        <a16:creationId xmlns:a16="http://schemas.microsoft.com/office/drawing/2014/main" id="{15ED007A-78A3-8D52-D845-FB4756E2E848}"/>
                      </a:ext>
                    </a:extLst>
                  </p:cNvPr>
                  <p:cNvSpPr/>
                  <p:nvPr/>
                </p:nvSpPr>
                <p:spPr>
                  <a:xfrm>
                    <a:off x="9054877" y="1366837"/>
                    <a:ext cx="361378" cy="476350"/>
                  </a:xfrm>
                  <a:custGeom>
                    <a:avLst/>
                    <a:gdLst>
                      <a:gd name="connsiteX0" fmla="*/ 361379 w 361378"/>
                      <a:gd name="connsiteY0" fmla="*/ 0 h 476350"/>
                      <a:gd name="connsiteX1" fmla="*/ 347186 w 361378"/>
                      <a:gd name="connsiteY1" fmla="*/ 72295 h 476350"/>
                      <a:gd name="connsiteX2" fmla="*/ 224790 w 361378"/>
                      <a:gd name="connsiteY2" fmla="*/ 204121 h 476350"/>
                      <a:gd name="connsiteX3" fmla="*/ 143542 w 361378"/>
                      <a:gd name="connsiteY3" fmla="*/ 260890 h 476350"/>
                      <a:gd name="connsiteX4" fmla="*/ 220313 w 361378"/>
                      <a:gd name="connsiteY4" fmla="*/ 473012 h 476350"/>
                      <a:gd name="connsiteX5" fmla="*/ 0 w 361378"/>
                      <a:gd name="connsiteY5" fmla="*/ 278987 h 476350"/>
                      <a:gd name="connsiteX6" fmla="*/ 88106 w 361378"/>
                      <a:gd name="connsiteY6" fmla="*/ 244888 h 476350"/>
                      <a:gd name="connsiteX7" fmla="*/ 88106 w 361378"/>
                      <a:gd name="connsiteY7" fmla="*/ 0 h 476350"/>
                      <a:gd name="connsiteX8" fmla="*/ 361379 w 361378"/>
                      <a:gd name="connsiteY8" fmla="*/ 0 h 476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61378" h="476350">
                        <a:moveTo>
                          <a:pt x="361379" y="0"/>
                        </a:moveTo>
                        <a:lnTo>
                          <a:pt x="347186" y="72295"/>
                        </a:lnTo>
                        <a:cubicBezTo>
                          <a:pt x="347186" y="72295"/>
                          <a:pt x="321945" y="199168"/>
                          <a:pt x="224790" y="204121"/>
                        </a:cubicBezTo>
                        <a:cubicBezTo>
                          <a:pt x="166688" y="207073"/>
                          <a:pt x="143827" y="229362"/>
                          <a:pt x="143542" y="260890"/>
                        </a:cubicBezTo>
                        <a:cubicBezTo>
                          <a:pt x="142590" y="384810"/>
                          <a:pt x="240030" y="440627"/>
                          <a:pt x="220313" y="473012"/>
                        </a:cubicBezTo>
                        <a:cubicBezTo>
                          <a:pt x="147733" y="501110"/>
                          <a:pt x="34100" y="344519"/>
                          <a:pt x="0" y="278987"/>
                        </a:cubicBezTo>
                        <a:lnTo>
                          <a:pt x="88106" y="244888"/>
                        </a:lnTo>
                        <a:lnTo>
                          <a:pt x="88106" y="0"/>
                        </a:lnTo>
                        <a:lnTo>
                          <a:pt x="361379" y="0"/>
                        </a:ln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" name="Freihandform: Form 42">
                    <a:extLst>
                      <a:ext uri="{FF2B5EF4-FFF2-40B4-BE49-F238E27FC236}">
                        <a16:creationId xmlns:a16="http://schemas.microsoft.com/office/drawing/2014/main" id="{E069042B-EB84-3381-B4C9-40CEBB383B6F}"/>
                      </a:ext>
                    </a:extLst>
                  </p:cNvPr>
                  <p:cNvSpPr/>
                  <p:nvPr/>
                </p:nvSpPr>
                <p:spPr>
                  <a:xfrm>
                    <a:off x="9092333" y="984096"/>
                    <a:ext cx="400153" cy="557524"/>
                  </a:xfrm>
                  <a:custGeom>
                    <a:avLst/>
                    <a:gdLst>
                      <a:gd name="connsiteX0" fmla="*/ 398979 w 400153"/>
                      <a:gd name="connsiteY0" fmla="*/ 188336 h 557524"/>
                      <a:gd name="connsiteX1" fmla="*/ 346687 w 400153"/>
                      <a:gd name="connsiteY1" fmla="*/ 49080 h 557524"/>
                      <a:gd name="connsiteX2" fmla="*/ 200097 w 400153"/>
                      <a:gd name="connsiteY2" fmla="*/ 26 h 557524"/>
                      <a:gd name="connsiteX3" fmla="*/ 53507 w 400153"/>
                      <a:gd name="connsiteY3" fmla="*/ 49080 h 557524"/>
                      <a:gd name="connsiteX4" fmla="*/ 1215 w 400153"/>
                      <a:gd name="connsiteY4" fmla="*/ 188336 h 557524"/>
                      <a:gd name="connsiteX5" fmla="*/ 2073 w 400153"/>
                      <a:gd name="connsiteY5" fmla="*/ 321400 h 557524"/>
                      <a:gd name="connsiteX6" fmla="*/ 61604 w 400153"/>
                      <a:gd name="connsiteY6" fmla="*/ 469704 h 557524"/>
                      <a:gd name="connsiteX7" fmla="*/ 200097 w 400153"/>
                      <a:gd name="connsiteY7" fmla="*/ 557525 h 557524"/>
                      <a:gd name="connsiteX8" fmla="*/ 338591 w 400153"/>
                      <a:gd name="connsiteY8" fmla="*/ 469704 h 557524"/>
                      <a:gd name="connsiteX9" fmla="*/ 398122 w 400153"/>
                      <a:gd name="connsiteY9" fmla="*/ 321400 h 557524"/>
                      <a:gd name="connsiteX10" fmla="*/ 398979 w 400153"/>
                      <a:gd name="connsiteY10" fmla="*/ 188336 h 5575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400153" h="557524">
                        <a:moveTo>
                          <a:pt x="398979" y="188336"/>
                        </a:moveTo>
                        <a:cubicBezTo>
                          <a:pt x="398979" y="188336"/>
                          <a:pt x="394217" y="105278"/>
                          <a:pt x="346687" y="49080"/>
                        </a:cubicBezTo>
                        <a:cubicBezTo>
                          <a:pt x="307540" y="2789"/>
                          <a:pt x="227148" y="-355"/>
                          <a:pt x="200097" y="26"/>
                        </a:cubicBezTo>
                        <a:cubicBezTo>
                          <a:pt x="173046" y="-355"/>
                          <a:pt x="92655" y="2789"/>
                          <a:pt x="53507" y="49080"/>
                        </a:cubicBezTo>
                        <a:cubicBezTo>
                          <a:pt x="5978" y="105278"/>
                          <a:pt x="1215" y="188336"/>
                          <a:pt x="1215" y="188336"/>
                        </a:cubicBezTo>
                        <a:cubicBezTo>
                          <a:pt x="1215" y="188336"/>
                          <a:pt x="-2023" y="284252"/>
                          <a:pt x="2073" y="321400"/>
                        </a:cubicBezTo>
                        <a:cubicBezTo>
                          <a:pt x="6073" y="358452"/>
                          <a:pt x="1882" y="409316"/>
                          <a:pt x="61604" y="469704"/>
                        </a:cubicBezTo>
                        <a:cubicBezTo>
                          <a:pt x="119802" y="528664"/>
                          <a:pt x="159711" y="556191"/>
                          <a:pt x="200097" y="557525"/>
                        </a:cubicBezTo>
                        <a:cubicBezTo>
                          <a:pt x="240483" y="556191"/>
                          <a:pt x="280393" y="528664"/>
                          <a:pt x="338591" y="469704"/>
                        </a:cubicBezTo>
                        <a:cubicBezTo>
                          <a:pt x="398217" y="409316"/>
                          <a:pt x="394026" y="358452"/>
                          <a:pt x="398122" y="321400"/>
                        </a:cubicBezTo>
                        <a:cubicBezTo>
                          <a:pt x="402123" y="284348"/>
                          <a:pt x="398979" y="188336"/>
                          <a:pt x="398979" y="18833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" name="Freihandform: Form 43">
                    <a:extLst>
                      <a:ext uri="{FF2B5EF4-FFF2-40B4-BE49-F238E27FC236}">
                        <a16:creationId xmlns:a16="http://schemas.microsoft.com/office/drawing/2014/main" id="{795D31F1-B719-39EE-BCA1-900652C70242}"/>
                      </a:ext>
                    </a:extLst>
                  </p:cNvPr>
                  <p:cNvSpPr/>
                  <p:nvPr/>
                </p:nvSpPr>
                <p:spPr>
                  <a:xfrm rot="-3581400">
                    <a:off x="9397508" y="1182954"/>
                    <a:ext cx="196214" cy="136778"/>
                  </a:xfrm>
                  <a:custGeom>
                    <a:avLst/>
                    <a:gdLst>
                      <a:gd name="connsiteX0" fmla="*/ 196215 w 196214"/>
                      <a:gd name="connsiteY0" fmla="*/ 68389 h 136778"/>
                      <a:gd name="connsiteX1" fmla="*/ 98107 w 196214"/>
                      <a:gd name="connsiteY1" fmla="*/ 136779 h 136778"/>
                      <a:gd name="connsiteX2" fmla="*/ 0 w 196214"/>
                      <a:gd name="connsiteY2" fmla="*/ 68389 h 136778"/>
                      <a:gd name="connsiteX3" fmla="*/ 98107 w 196214"/>
                      <a:gd name="connsiteY3" fmla="*/ 0 h 136778"/>
                      <a:gd name="connsiteX4" fmla="*/ 196215 w 196214"/>
                      <a:gd name="connsiteY4" fmla="*/ 68389 h 1367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6214" h="136778">
                        <a:moveTo>
                          <a:pt x="196215" y="68389"/>
                        </a:moveTo>
                        <a:cubicBezTo>
                          <a:pt x="196215" y="106160"/>
                          <a:pt x="152291" y="136779"/>
                          <a:pt x="98107" y="136779"/>
                        </a:cubicBezTo>
                        <a:cubicBezTo>
                          <a:pt x="43924" y="136779"/>
                          <a:pt x="0" y="106160"/>
                          <a:pt x="0" y="68389"/>
                        </a:cubicBezTo>
                        <a:cubicBezTo>
                          <a:pt x="0" y="30619"/>
                          <a:pt x="43924" y="0"/>
                          <a:pt x="98107" y="0"/>
                        </a:cubicBezTo>
                        <a:cubicBezTo>
                          <a:pt x="152291" y="0"/>
                          <a:pt x="196215" y="30619"/>
                          <a:pt x="196215" y="68389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" name="Freihandform: Form 44">
                    <a:extLst>
                      <a:ext uri="{FF2B5EF4-FFF2-40B4-BE49-F238E27FC236}">
                        <a16:creationId xmlns:a16="http://schemas.microsoft.com/office/drawing/2014/main" id="{381727DC-617E-70A3-9375-C80D3B2C7479}"/>
                      </a:ext>
                    </a:extLst>
                  </p:cNvPr>
                  <p:cNvSpPr/>
                  <p:nvPr/>
                </p:nvSpPr>
                <p:spPr>
                  <a:xfrm rot="-1416000">
                    <a:off x="9013384" y="1154698"/>
                    <a:ext cx="138112" cy="194310"/>
                  </a:xfrm>
                  <a:custGeom>
                    <a:avLst/>
                    <a:gdLst>
                      <a:gd name="connsiteX0" fmla="*/ 138113 w 138112"/>
                      <a:gd name="connsiteY0" fmla="*/ 97155 h 194310"/>
                      <a:gd name="connsiteX1" fmla="*/ 69056 w 138112"/>
                      <a:gd name="connsiteY1" fmla="*/ 194310 h 194310"/>
                      <a:gd name="connsiteX2" fmla="*/ 0 w 138112"/>
                      <a:gd name="connsiteY2" fmla="*/ 97155 h 194310"/>
                      <a:gd name="connsiteX3" fmla="*/ 69056 w 138112"/>
                      <a:gd name="connsiteY3" fmla="*/ 0 h 194310"/>
                      <a:gd name="connsiteX4" fmla="*/ 138113 w 138112"/>
                      <a:gd name="connsiteY4" fmla="*/ 97155 h 1943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8112" h="194310">
                        <a:moveTo>
                          <a:pt x="138113" y="97155"/>
                        </a:moveTo>
                        <a:cubicBezTo>
                          <a:pt x="138113" y="150812"/>
                          <a:pt x="107195" y="194310"/>
                          <a:pt x="69056" y="194310"/>
                        </a:cubicBezTo>
                        <a:cubicBezTo>
                          <a:pt x="30917" y="194310"/>
                          <a:pt x="0" y="150812"/>
                          <a:pt x="0" y="97155"/>
                        </a:cubicBezTo>
                        <a:cubicBezTo>
                          <a:pt x="0" y="43498"/>
                          <a:pt x="30917" y="0"/>
                          <a:pt x="69056" y="0"/>
                        </a:cubicBezTo>
                        <a:cubicBezTo>
                          <a:pt x="107195" y="0"/>
                          <a:pt x="138113" y="43498"/>
                          <a:pt x="138113" y="97155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" name="Freihandform: Form 45">
                    <a:extLst>
                      <a:ext uri="{FF2B5EF4-FFF2-40B4-BE49-F238E27FC236}">
                        <a16:creationId xmlns:a16="http://schemas.microsoft.com/office/drawing/2014/main" id="{E7B9C82E-0B7B-A99E-66F7-B630C7F7785B}"/>
                      </a:ext>
                    </a:extLst>
                  </p:cNvPr>
                  <p:cNvSpPr/>
                  <p:nvPr/>
                </p:nvSpPr>
                <p:spPr>
                  <a:xfrm>
                    <a:off x="9023349" y="818483"/>
                    <a:ext cx="538162" cy="562546"/>
                  </a:xfrm>
                  <a:custGeom>
                    <a:avLst/>
                    <a:gdLst>
                      <a:gd name="connsiteX0" fmla="*/ 538163 w 538162"/>
                      <a:gd name="connsiteY0" fmla="*/ 281273 h 562546"/>
                      <a:gd name="connsiteX1" fmla="*/ 269081 w 538162"/>
                      <a:gd name="connsiteY1" fmla="*/ 562547 h 562546"/>
                      <a:gd name="connsiteX2" fmla="*/ 0 w 538162"/>
                      <a:gd name="connsiteY2" fmla="*/ 281273 h 562546"/>
                      <a:gd name="connsiteX3" fmla="*/ 269081 w 538162"/>
                      <a:gd name="connsiteY3" fmla="*/ 0 h 562546"/>
                      <a:gd name="connsiteX4" fmla="*/ 538163 w 538162"/>
                      <a:gd name="connsiteY4" fmla="*/ 281273 h 5625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38162" h="562546">
                        <a:moveTo>
                          <a:pt x="538163" y="281273"/>
                        </a:moveTo>
                        <a:cubicBezTo>
                          <a:pt x="538163" y="436616"/>
                          <a:pt x="417691" y="562547"/>
                          <a:pt x="269081" y="562547"/>
                        </a:cubicBezTo>
                        <a:cubicBezTo>
                          <a:pt x="120472" y="562547"/>
                          <a:pt x="0" y="436616"/>
                          <a:pt x="0" y="281273"/>
                        </a:cubicBezTo>
                        <a:cubicBezTo>
                          <a:pt x="0" y="125930"/>
                          <a:pt x="120472" y="0"/>
                          <a:pt x="269081" y="0"/>
                        </a:cubicBezTo>
                        <a:cubicBezTo>
                          <a:pt x="417691" y="0"/>
                          <a:pt x="538163" y="125930"/>
                          <a:pt x="538163" y="281273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" name="Freihandform: Form 46">
                    <a:extLst>
                      <a:ext uri="{FF2B5EF4-FFF2-40B4-BE49-F238E27FC236}">
                        <a16:creationId xmlns:a16="http://schemas.microsoft.com/office/drawing/2014/main" id="{B330A15B-864A-53E6-DBD3-0CEEBD1FA839}"/>
                      </a:ext>
                    </a:extLst>
                  </p:cNvPr>
                  <p:cNvSpPr/>
                  <p:nvPr/>
                </p:nvSpPr>
                <p:spPr>
                  <a:xfrm>
                    <a:off x="9011639" y="823245"/>
                    <a:ext cx="530631" cy="404621"/>
                  </a:xfrm>
                  <a:custGeom>
                    <a:avLst/>
                    <a:gdLst>
                      <a:gd name="connsiteX0" fmla="*/ 267647 w 530631"/>
                      <a:gd name="connsiteY0" fmla="*/ 127540 h 404621"/>
                      <a:gd name="connsiteX1" fmla="*/ 491770 w 530631"/>
                      <a:gd name="connsiteY1" fmla="*/ 404622 h 404621"/>
                      <a:gd name="connsiteX2" fmla="*/ 530632 w 530631"/>
                      <a:gd name="connsiteY2" fmla="*/ 281273 h 404621"/>
                      <a:gd name="connsiteX3" fmla="*/ 266408 w 530631"/>
                      <a:gd name="connsiteY3" fmla="*/ 0 h 404621"/>
                      <a:gd name="connsiteX4" fmla="*/ 87814 w 530631"/>
                      <a:gd name="connsiteY4" fmla="*/ 74009 h 404621"/>
                      <a:gd name="connsiteX5" fmla="*/ 54382 w 530631"/>
                      <a:gd name="connsiteY5" fmla="*/ 389858 h 404621"/>
                      <a:gd name="connsiteX6" fmla="*/ 267647 w 530631"/>
                      <a:gd name="connsiteY6" fmla="*/ 127540 h 4046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30631" h="404621">
                        <a:moveTo>
                          <a:pt x="267647" y="127540"/>
                        </a:moveTo>
                        <a:cubicBezTo>
                          <a:pt x="459099" y="139637"/>
                          <a:pt x="435572" y="297085"/>
                          <a:pt x="491770" y="404622"/>
                        </a:cubicBezTo>
                        <a:cubicBezTo>
                          <a:pt x="502343" y="374142"/>
                          <a:pt x="530632" y="315659"/>
                          <a:pt x="530632" y="281273"/>
                        </a:cubicBezTo>
                        <a:cubicBezTo>
                          <a:pt x="530632" y="125920"/>
                          <a:pt x="412331" y="0"/>
                          <a:pt x="266408" y="0"/>
                        </a:cubicBezTo>
                        <a:cubicBezTo>
                          <a:pt x="197543" y="0"/>
                          <a:pt x="134773" y="28004"/>
                          <a:pt x="87814" y="74009"/>
                        </a:cubicBezTo>
                        <a:cubicBezTo>
                          <a:pt x="17520" y="108204"/>
                          <a:pt x="-51250" y="297085"/>
                          <a:pt x="54382" y="389858"/>
                        </a:cubicBezTo>
                        <a:cubicBezTo>
                          <a:pt x="94958" y="311753"/>
                          <a:pt x="95244" y="116681"/>
                          <a:pt x="267647" y="127540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" name="Freihandform: Form 47">
                    <a:extLst>
                      <a:ext uri="{FF2B5EF4-FFF2-40B4-BE49-F238E27FC236}">
                        <a16:creationId xmlns:a16="http://schemas.microsoft.com/office/drawing/2014/main" id="{FB610446-9360-C8FB-4BAA-0ADD397502F3}"/>
                      </a:ext>
                    </a:extLst>
                  </p:cNvPr>
                  <p:cNvSpPr/>
                  <p:nvPr/>
                </p:nvSpPr>
                <p:spPr>
                  <a:xfrm>
                    <a:off x="9240995" y="1305210"/>
                    <a:ext cx="78793" cy="32099"/>
                  </a:xfrm>
                  <a:custGeom>
                    <a:avLst/>
                    <a:gdLst>
                      <a:gd name="connsiteX0" fmla="*/ 1143 w 78793"/>
                      <a:gd name="connsiteY0" fmla="*/ 0 h 32099"/>
                      <a:gd name="connsiteX1" fmla="*/ 35814 w 78793"/>
                      <a:gd name="connsiteY1" fmla="*/ 10573 h 32099"/>
                      <a:gd name="connsiteX2" fmla="*/ 77820 w 78793"/>
                      <a:gd name="connsiteY2" fmla="*/ 0 h 32099"/>
                      <a:gd name="connsiteX3" fmla="*/ 77820 w 78793"/>
                      <a:gd name="connsiteY3" fmla="*/ 9239 h 32099"/>
                      <a:gd name="connsiteX4" fmla="*/ 37148 w 78793"/>
                      <a:gd name="connsiteY4" fmla="*/ 32099 h 32099"/>
                      <a:gd name="connsiteX5" fmla="*/ 1143 w 78793"/>
                      <a:gd name="connsiteY5" fmla="*/ 10192 h 32099"/>
                      <a:gd name="connsiteX6" fmla="*/ 1143 w 78793"/>
                      <a:gd name="connsiteY6" fmla="*/ 95 h 320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793" h="32099">
                        <a:moveTo>
                          <a:pt x="1143" y="0"/>
                        </a:moveTo>
                        <a:cubicBezTo>
                          <a:pt x="1143" y="0"/>
                          <a:pt x="11049" y="10573"/>
                          <a:pt x="35814" y="10573"/>
                        </a:cubicBezTo>
                        <a:cubicBezTo>
                          <a:pt x="67152" y="10573"/>
                          <a:pt x="77820" y="0"/>
                          <a:pt x="77820" y="0"/>
                        </a:cubicBezTo>
                        <a:cubicBezTo>
                          <a:pt x="77820" y="0"/>
                          <a:pt x="80010" y="3143"/>
                          <a:pt x="77820" y="9239"/>
                        </a:cubicBezTo>
                        <a:cubicBezTo>
                          <a:pt x="76295" y="13525"/>
                          <a:pt x="62675" y="32099"/>
                          <a:pt x="37148" y="32099"/>
                        </a:cubicBezTo>
                        <a:cubicBezTo>
                          <a:pt x="17240" y="32099"/>
                          <a:pt x="3715" y="16383"/>
                          <a:pt x="1143" y="10192"/>
                        </a:cubicBezTo>
                        <a:cubicBezTo>
                          <a:pt x="-1429" y="4000"/>
                          <a:pt x="1143" y="95"/>
                          <a:pt x="1143" y="95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" name="Freihandform: Form 48">
                    <a:extLst>
                      <a:ext uri="{FF2B5EF4-FFF2-40B4-BE49-F238E27FC236}">
                        <a16:creationId xmlns:a16="http://schemas.microsoft.com/office/drawing/2014/main" id="{CCD21F1A-8193-BE9A-6894-5FE25785B836}"/>
                      </a:ext>
                    </a:extLst>
                  </p:cNvPr>
                  <p:cNvSpPr/>
                  <p:nvPr/>
                </p:nvSpPr>
                <p:spPr>
                  <a:xfrm>
                    <a:off x="9312056" y="1120425"/>
                    <a:ext cx="140203" cy="47053"/>
                  </a:xfrm>
                  <a:custGeom>
                    <a:avLst/>
                    <a:gdLst>
                      <a:gd name="connsiteX0" fmla="*/ 109438 w 140203"/>
                      <a:gd name="connsiteY0" fmla="*/ 17716 h 47053"/>
                      <a:gd name="connsiteX1" fmla="*/ 55812 w 140203"/>
                      <a:gd name="connsiteY1" fmla="*/ 762 h 47053"/>
                      <a:gd name="connsiteX2" fmla="*/ 55812 w 140203"/>
                      <a:gd name="connsiteY2" fmla="*/ 762 h 47053"/>
                      <a:gd name="connsiteX3" fmla="*/ 7711 w 140203"/>
                      <a:gd name="connsiteY3" fmla="*/ 6191 h 47053"/>
                      <a:gd name="connsiteX4" fmla="*/ 4282 w 140203"/>
                      <a:gd name="connsiteY4" fmla="*/ 8858 h 47053"/>
                      <a:gd name="connsiteX5" fmla="*/ 13902 w 140203"/>
                      <a:gd name="connsiteY5" fmla="*/ 33242 h 47053"/>
                      <a:gd name="connsiteX6" fmla="*/ 41239 w 140203"/>
                      <a:gd name="connsiteY6" fmla="*/ 30766 h 47053"/>
                      <a:gd name="connsiteX7" fmla="*/ 105533 w 140203"/>
                      <a:gd name="connsiteY7" fmla="*/ 34480 h 47053"/>
                      <a:gd name="connsiteX8" fmla="*/ 140204 w 140203"/>
                      <a:gd name="connsiteY8" fmla="*/ 47053 h 47053"/>
                      <a:gd name="connsiteX9" fmla="*/ 109438 w 140203"/>
                      <a:gd name="connsiteY9" fmla="*/ 17716 h 470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40203" h="47053">
                        <a:moveTo>
                          <a:pt x="109438" y="17716"/>
                        </a:moveTo>
                        <a:cubicBezTo>
                          <a:pt x="90864" y="5905"/>
                          <a:pt x="70671" y="1429"/>
                          <a:pt x="55812" y="762"/>
                        </a:cubicBezTo>
                        <a:lnTo>
                          <a:pt x="55812" y="762"/>
                        </a:lnTo>
                        <a:cubicBezTo>
                          <a:pt x="30285" y="-1810"/>
                          <a:pt x="13236" y="2667"/>
                          <a:pt x="7711" y="6191"/>
                        </a:cubicBezTo>
                        <a:cubicBezTo>
                          <a:pt x="6377" y="7048"/>
                          <a:pt x="5234" y="7906"/>
                          <a:pt x="4282" y="8858"/>
                        </a:cubicBezTo>
                        <a:cubicBezTo>
                          <a:pt x="-4862" y="17526"/>
                          <a:pt x="1710" y="33623"/>
                          <a:pt x="13902" y="33242"/>
                        </a:cubicBezTo>
                        <a:cubicBezTo>
                          <a:pt x="19522" y="33147"/>
                          <a:pt x="33333" y="31528"/>
                          <a:pt x="41239" y="30766"/>
                        </a:cubicBezTo>
                        <a:cubicBezTo>
                          <a:pt x="55050" y="29337"/>
                          <a:pt x="94293" y="31432"/>
                          <a:pt x="105533" y="34480"/>
                        </a:cubicBezTo>
                        <a:cubicBezTo>
                          <a:pt x="127536" y="40481"/>
                          <a:pt x="140204" y="47053"/>
                          <a:pt x="140204" y="47053"/>
                        </a:cubicBezTo>
                        <a:cubicBezTo>
                          <a:pt x="140204" y="47053"/>
                          <a:pt x="134203" y="33528"/>
                          <a:pt x="109438" y="1771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" name="Freihandform: Form 49">
                    <a:extLst>
                      <a:ext uri="{FF2B5EF4-FFF2-40B4-BE49-F238E27FC236}">
                        <a16:creationId xmlns:a16="http://schemas.microsoft.com/office/drawing/2014/main" id="{A993ECED-1B37-5516-9616-1A4A683BCD54}"/>
                      </a:ext>
                    </a:extLst>
                  </p:cNvPr>
                  <p:cNvSpPr/>
                  <p:nvPr/>
                </p:nvSpPr>
                <p:spPr>
                  <a:xfrm rot="-5166000">
                    <a:off x="9156216" y="1194137"/>
                    <a:ext cx="40385" cy="37909"/>
                  </a:xfrm>
                  <a:custGeom>
                    <a:avLst/>
                    <a:gdLst>
                      <a:gd name="connsiteX0" fmla="*/ 40386 w 40385"/>
                      <a:gd name="connsiteY0" fmla="*/ 18955 h 37909"/>
                      <a:gd name="connsiteX1" fmla="*/ 20193 w 40385"/>
                      <a:gd name="connsiteY1" fmla="*/ 37910 h 37909"/>
                      <a:gd name="connsiteX2" fmla="*/ 0 w 40385"/>
                      <a:gd name="connsiteY2" fmla="*/ 18955 h 37909"/>
                      <a:gd name="connsiteX3" fmla="*/ 20193 w 40385"/>
                      <a:gd name="connsiteY3" fmla="*/ 0 h 37909"/>
                      <a:gd name="connsiteX4" fmla="*/ 40386 w 40385"/>
                      <a:gd name="connsiteY4" fmla="*/ 18955 h 379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385" h="37909">
                        <a:moveTo>
                          <a:pt x="40386" y="18955"/>
                        </a:moveTo>
                        <a:cubicBezTo>
                          <a:pt x="40386" y="29423"/>
                          <a:pt x="31345" y="37910"/>
                          <a:pt x="20193" y="37910"/>
                        </a:cubicBezTo>
                        <a:cubicBezTo>
                          <a:pt x="9041" y="37910"/>
                          <a:pt x="0" y="29423"/>
                          <a:pt x="0" y="18955"/>
                        </a:cubicBezTo>
                        <a:cubicBezTo>
                          <a:pt x="0" y="8486"/>
                          <a:pt x="9041" y="0"/>
                          <a:pt x="20193" y="0"/>
                        </a:cubicBezTo>
                        <a:cubicBezTo>
                          <a:pt x="31345" y="0"/>
                          <a:pt x="40386" y="8486"/>
                          <a:pt x="40386" y="18955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1" name="Freihandform: Form 50">
                    <a:extLst>
                      <a:ext uri="{FF2B5EF4-FFF2-40B4-BE49-F238E27FC236}">
                        <a16:creationId xmlns:a16="http://schemas.microsoft.com/office/drawing/2014/main" id="{ECD515D3-6962-194F-D723-85BEA4820EBF}"/>
                      </a:ext>
                    </a:extLst>
                  </p:cNvPr>
                  <p:cNvSpPr/>
                  <p:nvPr/>
                </p:nvSpPr>
                <p:spPr>
                  <a:xfrm>
                    <a:off x="9106502" y="1122045"/>
                    <a:ext cx="140013" cy="47053"/>
                  </a:xfrm>
                  <a:custGeom>
                    <a:avLst/>
                    <a:gdLst>
                      <a:gd name="connsiteX0" fmla="*/ 30766 w 140013"/>
                      <a:gd name="connsiteY0" fmla="*/ 17716 h 47053"/>
                      <a:gd name="connsiteX1" fmla="*/ 84297 w 140013"/>
                      <a:gd name="connsiteY1" fmla="*/ 762 h 47053"/>
                      <a:gd name="connsiteX2" fmla="*/ 84297 w 140013"/>
                      <a:gd name="connsiteY2" fmla="*/ 762 h 47053"/>
                      <a:gd name="connsiteX3" fmla="*/ 132302 w 140013"/>
                      <a:gd name="connsiteY3" fmla="*/ 6191 h 47053"/>
                      <a:gd name="connsiteX4" fmla="*/ 135731 w 140013"/>
                      <a:gd name="connsiteY4" fmla="*/ 8858 h 47053"/>
                      <a:gd name="connsiteX5" fmla="*/ 126111 w 140013"/>
                      <a:gd name="connsiteY5" fmla="*/ 33242 h 47053"/>
                      <a:gd name="connsiteX6" fmla="*/ 98774 w 140013"/>
                      <a:gd name="connsiteY6" fmla="*/ 30766 h 47053"/>
                      <a:gd name="connsiteX7" fmla="*/ 34576 w 140013"/>
                      <a:gd name="connsiteY7" fmla="*/ 34480 h 47053"/>
                      <a:gd name="connsiteX8" fmla="*/ 0 w 140013"/>
                      <a:gd name="connsiteY8" fmla="*/ 47053 h 47053"/>
                      <a:gd name="connsiteX9" fmla="*/ 30766 w 140013"/>
                      <a:gd name="connsiteY9" fmla="*/ 17716 h 470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40013" h="47053">
                        <a:moveTo>
                          <a:pt x="30766" y="17716"/>
                        </a:moveTo>
                        <a:cubicBezTo>
                          <a:pt x="49339" y="5905"/>
                          <a:pt x="69438" y="1429"/>
                          <a:pt x="84297" y="762"/>
                        </a:cubicBezTo>
                        <a:lnTo>
                          <a:pt x="84297" y="762"/>
                        </a:lnTo>
                        <a:cubicBezTo>
                          <a:pt x="109824" y="-1810"/>
                          <a:pt x="126778" y="2667"/>
                          <a:pt x="132302" y="6191"/>
                        </a:cubicBezTo>
                        <a:cubicBezTo>
                          <a:pt x="133636" y="7048"/>
                          <a:pt x="134684" y="7906"/>
                          <a:pt x="135731" y="8858"/>
                        </a:cubicBezTo>
                        <a:cubicBezTo>
                          <a:pt x="144875" y="17526"/>
                          <a:pt x="138303" y="33623"/>
                          <a:pt x="126111" y="33242"/>
                        </a:cubicBezTo>
                        <a:cubicBezTo>
                          <a:pt x="120491" y="33147"/>
                          <a:pt x="106680" y="31528"/>
                          <a:pt x="98774" y="30766"/>
                        </a:cubicBezTo>
                        <a:cubicBezTo>
                          <a:pt x="84963" y="29337"/>
                          <a:pt x="45815" y="31432"/>
                          <a:pt x="34576" y="34480"/>
                        </a:cubicBezTo>
                        <a:cubicBezTo>
                          <a:pt x="12573" y="40481"/>
                          <a:pt x="0" y="47053"/>
                          <a:pt x="0" y="47053"/>
                        </a:cubicBezTo>
                        <a:cubicBezTo>
                          <a:pt x="0" y="47053"/>
                          <a:pt x="6001" y="33528"/>
                          <a:pt x="30766" y="1771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2" name="Freihandform: Form 51">
                    <a:extLst>
                      <a:ext uri="{FF2B5EF4-FFF2-40B4-BE49-F238E27FC236}">
                        <a16:creationId xmlns:a16="http://schemas.microsoft.com/office/drawing/2014/main" id="{98F85ADD-1F3D-5B5D-3DB8-A58CBE057AA4}"/>
                      </a:ext>
                    </a:extLst>
                  </p:cNvPr>
                  <p:cNvSpPr/>
                  <p:nvPr/>
                </p:nvSpPr>
                <p:spPr>
                  <a:xfrm>
                    <a:off x="9123564" y="1183592"/>
                    <a:ext cx="103635" cy="27457"/>
                  </a:xfrm>
                  <a:custGeom>
                    <a:avLst/>
                    <a:gdLst>
                      <a:gd name="connsiteX0" fmla="*/ 3227 w 103635"/>
                      <a:gd name="connsiteY0" fmla="*/ 17795 h 27457"/>
                      <a:gd name="connsiteX1" fmla="*/ 46185 w 103635"/>
                      <a:gd name="connsiteY1" fmla="*/ 174 h 27457"/>
                      <a:gd name="connsiteX2" fmla="*/ 101239 w 103635"/>
                      <a:gd name="connsiteY2" fmla="*/ 17509 h 27457"/>
                      <a:gd name="connsiteX3" fmla="*/ 97905 w 103635"/>
                      <a:gd name="connsiteY3" fmla="*/ 26939 h 27457"/>
                      <a:gd name="connsiteX4" fmla="*/ 54281 w 103635"/>
                      <a:gd name="connsiteY4" fmla="*/ 11699 h 27457"/>
                      <a:gd name="connsiteX5" fmla="*/ 10847 w 103635"/>
                      <a:gd name="connsiteY5" fmla="*/ 21415 h 27457"/>
                      <a:gd name="connsiteX6" fmla="*/ 1322 w 103635"/>
                      <a:gd name="connsiteY6" fmla="*/ 25606 h 27457"/>
                      <a:gd name="connsiteX7" fmla="*/ 3417 w 103635"/>
                      <a:gd name="connsiteY7" fmla="*/ 17795 h 274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03635" h="27457">
                        <a:moveTo>
                          <a:pt x="3227" y="17795"/>
                        </a:moveTo>
                        <a:cubicBezTo>
                          <a:pt x="7989" y="12938"/>
                          <a:pt x="23896" y="1412"/>
                          <a:pt x="46185" y="174"/>
                        </a:cubicBezTo>
                        <a:cubicBezTo>
                          <a:pt x="76569" y="-1541"/>
                          <a:pt x="94000" y="9794"/>
                          <a:pt x="101239" y="17509"/>
                        </a:cubicBezTo>
                        <a:cubicBezTo>
                          <a:pt x="106478" y="23034"/>
                          <a:pt x="102096" y="29321"/>
                          <a:pt x="97905" y="26939"/>
                        </a:cubicBezTo>
                        <a:cubicBezTo>
                          <a:pt x="86952" y="20748"/>
                          <a:pt x="81046" y="14843"/>
                          <a:pt x="54281" y="11699"/>
                        </a:cubicBezTo>
                        <a:cubicBezTo>
                          <a:pt x="35517" y="9413"/>
                          <a:pt x="17705" y="17605"/>
                          <a:pt x="10847" y="21415"/>
                        </a:cubicBezTo>
                        <a:cubicBezTo>
                          <a:pt x="5608" y="24368"/>
                          <a:pt x="2941" y="26844"/>
                          <a:pt x="1322" y="25606"/>
                        </a:cubicBezTo>
                        <a:cubicBezTo>
                          <a:pt x="-1631" y="23415"/>
                          <a:pt x="941" y="20272"/>
                          <a:pt x="3417" y="17795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3" name="Freihandform: Form 52">
                    <a:extLst>
                      <a:ext uri="{FF2B5EF4-FFF2-40B4-BE49-F238E27FC236}">
                        <a16:creationId xmlns:a16="http://schemas.microsoft.com/office/drawing/2014/main" id="{53EC35B7-7D61-5377-EF69-8393457061F0}"/>
                      </a:ext>
                    </a:extLst>
                  </p:cNvPr>
                  <p:cNvSpPr/>
                  <p:nvPr/>
                </p:nvSpPr>
                <p:spPr>
                  <a:xfrm rot="-234000">
                    <a:off x="9358240" y="1193075"/>
                    <a:ext cx="37909" cy="40385"/>
                  </a:xfrm>
                  <a:custGeom>
                    <a:avLst/>
                    <a:gdLst>
                      <a:gd name="connsiteX0" fmla="*/ 37910 w 37909"/>
                      <a:gd name="connsiteY0" fmla="*/ 20193 h 40385"/>
                      <a:gd name="connsiteX1" fmla="*/ 18955 w 37909"/>
                      <a:gd name="connsiteY1" fmla="*/ 40386 h 40385"/>
                      <a:gd name="connsiteX2" fmla="*/ 0 w 37909"/>
                      <a:gd name="connsiteY2" fmla="*/ 20193 h 40385"/>
                      <a:gd name="connsiteX3" fmla="*/ 18955 w 37909"/>
                      <a:gd name="connsiteY3" fmla="*/ 0 h 40385"/>
                      <a:gd name="connsiteX4" fmla="*/ 37910 w 37909"/>
                      <a:gd name="connsiteY4" fmla="*/ 20193 h 403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7909" h="40385">
                        <a:moveTo>
                          <a:pt x="37910" y="20193"/>
                        </a:moveTo>
                        <a:cubicBezTo>
                          <a:pt x="37910" y="31345"/>
                          <a:pt x="29424" y="40386"/>
                          <a:pt x="18955" y="40386"/>
                        </a:cubicBezTo>
                        <a:cubicBezTo>
                          <a:pt x="8486" y="40386"/>
                          <a:pt x="0" y="31345"/>
                          <a:pt x="0" y="20193"/>
                        </a:cubicBezTo>
                        <a:cubicBezTo>
                          <a:pt x="0" y="9041"/>
                          <a:pt x="8486" y="0"/>
                          <a:pt x="18955" y="0"/>
                        </a:cubicBezTo>
                        <a:cubicBezTo>
                          <a:pt x="29424" y="0"/>
                          <a:pt x="37910" y="9041"/>
                          <a:pt x="37910" y="20193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4" name="Freihandform: Form 53">
                    <a:extLst>
                      <a:ext uri="{FF2B5EF4-FFF2-40B4-BE49-F238E27FC236}">
                        <a16:creationId xmlns:a16="http://schemas.microsoft.com/office/drawing/2014/main" id="{6E2C35ED-5BDA-CC20-0DC0-4CA98B61DBFC}"/>
                      </a:ext>
                    </a:extLst>
                  </p:cNvPr>
                  <p:cNvSpPr/>
                  <p:nvPr/>
                </p:nvSpPr>
                <p:spPr>
                  <a:xfrm>
                    <a:off x="9326515" y="1183592"/>
                    <a:ext cx="103634" cy="27457"/>
                  </a:xfrm>
                  <a:custGeom>
                    <a:avLst/>
                    <a:gdLst>
                      <a:gd name="connsiteX0" fmla="*/ 100408 w 103634"/>
                      <a:gd name="connsiteY0" fmla="*/ 17795 h 27457"/>
                      <a:gd name="connsiteX1" fmla="*/ 57450 w 103634"/>
                      <a:gd name="connsiteY1" fmla="*/ 174 h 27457"/>
                      <a:gd name="connsiteX2" fmla="*/ 2396 w 103634"/>
                      <a:gd name="connsiteY2" fmla="*/ 17509 h 27457"/>
                      <a:gd name="connsiteX3" fmla="*/ 5730 w 103634"/>
                      <a:gd name="connsiteY3" fmla="*/ 26939 h 27457"/>
                      <a:gd name="connsiteX4" fmla="*/ 49354 w 103634"/>
                      <a:gd name="connsiteY4" fmla="*/ 11699 h 27457"/>
                      <a:gd name="connsiteX5" fmla="*/ 92788 w 103634"/>
                      <a:gd name="connsiteY5" fmla="*/ 21415 h 27457"/>
                      <a:gd name="connsiteX6" fmla="*/ 102313 w 103634"/>
                      <a:gd name="connsiteY6" fmla="*/ 25606 h 27457"/>
                      <a:gd name="connsiteX7" fmla="*/ 100218 w 103634"/>
                      <a:gd name="connsiteY7" fmla="*/ 17795 h 274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03634" h="27457">
                        <a:moveTo>
                          <a:pt x="100408" y="17795"/>
                        </a:moveTo>
                        <a:cubicBezTo>
                          <a:pt x="95646" y="12938"/>
                          <a:pt x="79739" y="1412"/>
                          <a:pt x="57450" y="174"/>
                        </a:cubicBezTo>
                        <a:cubicBezTo>
                          <a:pt x="27066" y="-1541"/>
                          <a:pt x="9635" y="9794"/>
                          <a:pt x="2396" y="17509"/>
                        </a:cubicBezTo>
                        <a:cubicBezTo>
                          <a:pt x="-2842" y="23034"/>
                          <a:pt x="1539" y="29321"/>
                          <a:pt x="5730" y="26939"/>
                        </a:cubicBezTo>
                        <a:cubicBezTo>
                          <a:pt x="16684" y="20748"/>
                          <a:pt x="22589" y="14843"/>
                          <a:pt x="49354" y="11699"/>
                        </a:cubicBezTo>
                        <a:cubicBezTo>
                          <a:pt x="68118" y="9413"/>
                          <a:pt x="85930" y="17605"/>
                          <a:pt x="92788" y="21415"/>
                        </a:cubicBezTo>
                        <a:cubicBezTo>
                          <a:pt x="98027" y="24368"/>
                          <a:pt x="100694" y="26844"/>
                          <a:pt x="102313" y="25606"/>
                        </a:cubicBezTo>
                        <a:cubicBezTo>
                          <a:pt x="105266" y="23415"/>
                          <a:pt x="102694" y="20272"/>
                          <a:pt x="100218" y="17795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5" name="Freihandform: Form 54">
                    <a:extLst>
                      <a:ext uri="{FF2B5EF4-FFF2-40B4-BE49-F238E27FC236}">
                        <a16:creationId xmlns:a16="http://schemas.microsoft.com/office/drawing/2014/main" id="{C327A88E-C59A-1EAC-BDB4-823BED8FAD62}"/>
                      </a:ext>
                    </a:extLst>
                  </p:cNvPr>
                  <p:cNvSpPr/>
                  <p:nvPr/>
                </p:nvSpPr>
                <p:spPr>
                  <a:xfrm>
                    <a:off x="9123366" y="781823"/>
                    <a:ext cx="508630" cy="429280"/>
                  </a:xfrm>
                  <a:custGeom>
                    <a:avLst/>
                    <a:gdLst>
                      <a:gd name="connsiteX0" fmla="*/ 91 w 508630"/>
                      <a:gd name="connsiteY0" fmla="*/ 94667 h 429280"/>
                      <a:gd name="connsiteX1" fmla="*/ 318131 w 508630"/>
                      <a:gd name="connsiteY1" fmla="*/ 352223 h 429280"/>
                      <a:gd name="connsiteX2" fmla="*/ 508631 w 508630"/>
                      <a:gd name="connsiteY2" fmla="*/ 429281 h 429280"/>
                      <a:gd name="connsiteX3" fmla="*/ 449956 w 508630"/>
                      <a:gd name="connsiteY3" fmla="*/ 231446 h 429280"/>
                      <a:gd name="connsiteX4" fmla="*/ 91 w 508630"/>
                      <a:gd name="connsiteY4" fmla="*/ 94667 h 4292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8630" h="429280">
                        <a:moveTo>
                          <a:pt x="91" y="94667"/>
                        </a:moveTo>
                        <a:cubicBezTo>
                          <a:pt x="-4576" y="204586"/>
                          <a:pt x="171731" y="297931"/>
                          <a:pt x="318131" y="352223"/>
                        </a:cubicBezTo>
                        <a:cubicBezTo>
                          <a:pt x="464530" y="406516"/>
                          <a:pt x="508631" y="429281"/>
                          <a:pt x="508631" y="429281"/>
                        </a:cubicBezTo>
                        <a:cubicBezTo>
                          <a:pt x="508631" y="429281"/>
                          <a:pt x="454338" y="371464"/>
                          <a:pt x="449956" y="231446"/>
                        </a:cubicBezTo>
                        <a:cubicBezTo>
                          <a:pt x="445003" y="73236"/>
                          <a:pt x="191067" y="-118597"/>
                          <a:pt x="91" y="94667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56" name="Grafik 23">
                    <a:extLst>
                      <a:ext uri="{FF2B5EF4-FFF2-40B4-BE49-F238E27FC236}">
                        <a16:creationId xmlns:a16="http://schemas.microsoft.com/office/drawing/2014/main" id="{A6A5ABC8-7618-813C-8374-0F9285ABDEB7}"/>
                      </a:ext>
                    </a:extLst>
                  </p:cNvPr>
                  <p:cNvGrpSpPr/>
                  <p:nvPr/>
                </p:nvGrpSpPr>
                <p:grpSpPr>
                  <a:xfrm>
                    <a:off x="8395080" y="3305841"/>
                    <a:ext cx="234464" cy="670178"/>
                    <a:chOff x="8395080" y="3305841"/>
                    <a:chExt cx="234464" cy="670178"/>
                  </a:xfrm>
                  <a:solidFill>
                    <a:srgbClr val="8A5942"/>
                  </a:solidFill>
                </p:grpSpPr>
                <p:sp>
                  <p:nvSpPr>
                    <p:cNvPr id="57" name="Freihandform: Form 56">
                      <a:extLst>
                        <a:ext uri="{FF2B5EF4-FFF2-40B4-BE49-F238E27FC236}">
                          <a16:creationId xmlns:a16="http://schemas.microsoft.com/office/drawing/2014/main" id="{4B9E6B82-F549-77E8-5B56-2A96E212A38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33275" y="3305841"/>
                      <a:ext cx="191738" cy="211264"/>
                    </a:xfrm>
                    <a:custGeom>
                      <a:avLst/>
                      <a:gdLst>
                        <a:gd name="connsiteX0" fmla="*/ 95 w 191738"/>
                        <a:gd name="connsiteY0" fmla="*/ 0 h 211264"/>
                        <a:gd name="connsiteX1" fmla="*/ 21431 w 191738"/>
                        <a:gd name="connsiteY1" fmla="*/ 211264 h 211264"/>
                        <a:gd name="connsiteX2" fmla="*/ 156782 w 191738"/>
                        <a:gd name="connsiteY2" fmla="*/ 200406 h 211264"/>
                        <a:gd name="connsiteX3" fmla="*/ 191738 w 191738"/>
                        <a:gd name="connsiteY3" fmla="*/ 10763 h 211264"/>
                        <a:gd name="connsiteX4" fmla="*/ 0 w 191738"/>
                        <a:gd name="connsiteY4" fmla="*/ 0 h 2112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91738" h="211264">
                          <a:moveTo>
                            <a:pt x="95" y="0"/>
                          </a:moveTo>
                          <a:cubicBezTo>
                            <a:pt x="5239" y="79629"/>
                            <a:pt x="13525" y="148495"/>
                            <a:pt x="21431" y="211264"/>
                          </a:cubicBezTo>
                          <a:lnTo>
                            <a:pt x="156782" y="200406"/>
                          </a:lnTo>
                          <a:cubicBezTo>
                            <a:pt x="156782" y="200406"/>
                            <a:pt x="172212" y="119158"/>
                            <a:pt x="191738" y="10763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58" name="Grafik 23">
                      <a:extLst>
                        <a:ext uri="{FF2B5EF4-FFF2-40B4-BE49-F238E27FC236}">
                          <a16:creationId xmlns:a16="http://schemas.microsoft.com/office/drawing/2014/main" id="{D2B54FFA-5FCE-8A52-681C-DA7C6ED9431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395080" y="3436239"/>
                      <a:ext cx="234464" cy="539781"/>
                      <a:chOff x="8395080" y="3436239"/>
                      <a:chExt cx="234464" cy="539781"/>
                    </a:xfrm>
                    <a:solidFill>
                      <a:srgbClr val="8A5942"/>
                    </a:solidFill>
                  </p:grpSpPr>
                  <p:sp>
                    <p:nvSpPr>
                      <p:cNvPr id="59" name="Freihandform: Form 58">
                        <a:extLst>
                          <a:ext uri="{FF2B5EF4-FFF2-40B4-BE49-F238E27FC236}">
                            <a16:creationId xmlns:a16="http://schemas.microsoft.com/office/drawing/2014/main" id="{CC18B521-95C5-445D-EB08-039A8291F5A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66681" y="3802691"/>
                        <a:ext cx="54546" cy="83127"/>
                      </a:xfrm>
                      <a:custGeom>
                        <a:avLst/>
                        <a:gdLst>
                          <a:gd name="connsiteX0" fmla="*/ 47557 w 54546"/>
                          <a:gd name="connsiteY0" fmla="*/ 83128 h 83127"/>
                          <a:gd name="connsiteX1" fmla="*/ 13648 w 54546"/>
                          <a:gd name="connsiteY1" fmla="*/ 55791 h 83127"/>
                          <a:gd name="connsiteX2" fmla="*/ 2885 w 54546"/>
                          <a:gd name="connsiteY2" fmla="*/ 9595 h 83127"/>
                          <a:gd name="connsiteX3" fmla="*/ 7838 w 54546"/>
                          <a:gd name="connsiteY3" fmla="*/ 70 h 83127"/>
                          <a:gd name="connsiteX4" fmla="*/ 43747 w 54546"/>
                          <a:gd name="connsiteY4" fmla="*/ 39694 h 83127"/>
                          <a:gd name="connsiteX5" fmla="*/ 47557 w 54546"/>
                          <a:gd name="connsiteY5" fmla="*/ 83128 h 83127"/>
                          <a:gd name="connsiteX6" fmla="*/ 47557 w 54546"/>
                          <a:gd name="connsiteY6" fmla="*/ 83128 h 831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4546" h="83127">
                            <a:moveTo>
                              <a:pt x="47557" y="83128"/>
                            </a:moveTo>
                            <a:lnTo>
                              <a:pt x="13648" y="55791"/>
                            </a:lnTo>
                            <a:cubicBezTo>
                              <a:pt x="979" y="45218"/>
                              <a:pt x="-3497" y="28264"/>
                              <a:pt x="2885" y="9595"/>
                            </a:cubicBezTo>
                            <a:cubicBezTo>
                              <a:pt x="4980" y="3594"/>
                              <a:pt x="6790" y="-597"/>
                              <a:pt x="7838" y="70"/>
                            </a:cubicBezTo>
                            <a:cubicBezTo>
                              <a:pt x="9743" y="1499"/>
                              <a:pt x="25173" y="18262"/>
                              <a:pt x="43747" y="39694"/>
                            </a:cubicBezTo>
                            <a:cubicBezTo>
                              <a:pt x="55463" y="53219"/>
                              <a:pt x="58987" y="64744"/>
                              <a:pt x="47557" y="83128"/>
                            </a:cubicBezTo>
                            <a:lnTo>
                              <a:pt x="47557" y="83128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60" name="Freihandform: Form 59">
                        <a:extLst>
                          <a:ext uri="{FF2B5EF4-FFF2-40B4-BE49-F238E27FC236}">
                            <a16:creationId xmlns:a16="http://schemas.microsoft.com/office/drawing/2014/main" id="{8AC3B62C-26E9-ABED-89E7-26DC3F97620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19369" y="3769457"/>
                        <a:ext cx="73352" cy="89024"/>
                      </a:xfrm>
                      <a:custGeom>
                        <a:avLst/>
                        <a:gdLst>
                          <a:gd name="connsiteX0" fmla="*/ 60960 w 73352"/>
                          <a:gd name="connsiteY0" fmla="*/ 89025 h 89024"/>
                          <a:gd name="connsiteX1" fmla="*/ 9525 w 73352"/>
                          <a:gd name="connsiteY1" fmla="*/ 44448 h 89024"/>
                          <a:gd name="connsiteX2" fmla="*/ 0 w 73352"/>
                          <a:gd name="connsiteY2" fmla="*/ 31494 h 89024"/>
                          <a:gd name="connsiteX3" fmla="*/ 40291 w 73352"/>
                          <a:gd name="connsiteY3" fmla="*/ 537 h 89024"/>
                          <a:gd name="connsiteX4" fmla="*/ 66675 w 73352"/>
                          <a:gd name="connsiteY4" fmla="*/ 44829 h 89024"/>
                          <a:gd name="connsiteX5" fmla="*/ 60864 w 73352"/>
                          <a:gd name="connsiteY5" fmla="*/ 89025 h 89024"/>
                          <a:gd name="connsiteX6" fmla="*/ 60864 w 73352"/>
                          <a:gd name="connsiteY6" fmla="*/ 89025 h 8902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3352" h="89024">
                            <a:moveTo>
                              <a:pt x="60960" y="89025"/>
                            </a:moveTo>
                            <a:lnTo>
                              <a:pt x="9525" y="44448"/>
                            </a:lnTo>
                            <a:cubicBezTo>
                              <a:pt x="3334" y="38637"/>
                              <a:pt x="1524" y="34446"/>
                              <a:pt x="0" y="31494"/>
                            </a:cubicBezTo>
                            <a:cubicBezTo>
                              <a:pt x="1048" y="12063"/>
                              <a:pt x="25432" y="-3082"/>
                              <a:pt x="40291" y="537"/>
                            </a:cubicBezTo>
                            <a:lnTo>
                              <a:pt x="66675" y="44829"/>
                            </a:lnTo>
                            <a:cubicBezTo>
                              <a:pt x="78105" y="57307"/>
                              <a:pt x="74009" y="72261"/>
                              <a:pt x="60864" y="89025"/>
                            </a:cubicBezTo>
                            <a:lnTo>
                              <a:pt x="60864" y="89025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61" name="Freihandform: Form 60">
                        <a:extLst>
                          <a:ext uri="{FF2B5EF4-FFF2-40B4-BE49-F238E27FC236}">
                            <a16:creationId xmlns:a16="http://schemas.microsoft.com/office/drawing/2014/main" id="{D3E69C00-87E9-EE0C-8ECC-0B57CD45E59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55898" y="3838165"/>
                        <a:ext cx="63906" cy="105660"/>
                      </a:xfrm>
                      <a:custGeom>
                        <a:avLst/>
                        <a:gdLst>
                          <a:gd name="connsiteX0" fmla="*/ 55673 w 63906"/>
                          <a:gd name="connsiteY0" fmla="*/ 105660 h 105660"/>
                          <a:gd name="connsiteX1" fmla="*/ 15954 w 63906"/>
                          <a:gd name="connsiteY1" fmla="*/ 67179 h 105660"/>
                          <a:gd name="connsiteX2" fmla="*/ 3476 w 63906"/>
                          <a:gd name="connsiteY2" fmla="*/ 10506 h 105660"/>
                          <a:gd name="connsiteX3" fmla="*/ 9287 w 63906"/>
                          <a:gd name="connsiteY3" fmla="*/ 123 h 105660"/>
                          <a:gd name="connsiteX4" fmla="*/ 51292 w 63906"/>
                          <a:gd name="connsiteY4" fmla="*/ 53559 h 105660"/>
                          <a:gd name="connsiteX5" fmla="*/ 55673 w 63906"/>
                          <a:gd name="connsiteY5" fmla="*/ 105565 h 105660"/>
                          <a:gd name="connsiteX6" fmla="*/ 55673 w 63906"/>
                          <a:gd name="connsiteY6" fmla="*/ 105565 h 1056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3906" h="105660">
                            <a:moveTo>
                              <a:pt x="55673" y="105660"/>
                            </a:moveTo>
                            <a:lnTo>
                              <a:pt x="15954" y="67179"/>
                            </a:lnTo>
                            <a:cubicBezTo>
                              <a:pt x="1095" y="52321"/>
                              <a:pt x="-4144" y="31556"/>
                              <a:pt x="3476" y="10506"/>
                            </a:cubicBezTo>
                            <a:cubicBezTo>
                              <a:pt x="5953" y="3838"/>
                              <a:pt x="8144" y="-829"/>
                              <a:pt x="9287" y="123"/>
                            </a:cubicBezTo>
                            <a:cubicBezTo>
                              <a:pt x="11573" y="2124"/>
                              <a:pt x="29575" y="24793"/>
                              <a:pt x="51292" y="53559"/>
                            </a:cubicBezTo>
                            <a:cubicBezTo>
                              <a:pt x="65008" y="71656"/>
                              <a:pt x="69103" y="85944"/>
                              <a:pt x="55673" y="105565"/>
                            </a:cubicBezTo>
                            <a:lnTo>
                              <a:pt x="55673" y="105565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62" name="Freihandform: Form 61">
                        <a:extLst>
                          <a:ext uri="{FF2B5EF4-FFF2-40B4-BE49-F238E27FC236}">
                            <a16:creationId xmlns:a16="http://schemas.microsoft.com/office/drawing/2014/main" id="{DEFA3D49-22FA-A732-5050-9B4D8B14572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00115" y="3774757"/>
                        <a:ext cx="87440" cy="131349"/>
                      </a:xfrm>
                      <a:custGeom>
                        <a:avLst/>
                        <a:gdLst>
                          <a:gd name="connsiteX0" fmla="*/ 72689 w 87440"/>
                          <a:gd name="connsiteY0" fmla="*/ 131350 h 131349"/>
                          <a:gd name="connsiteX1" fmla="*/ 12205 w 87440"/>
                          <a:gd name="connsiteY1" fmla="*/ 71628 h 131349"/>
                          <a:gd name="connsiteX2" fmla="*/ 17349 w 87440"/>
                          <a:gd name="connsiteY2" fmla="*/ 4001 h 131349"/>
                          <a:gd name="connsiteX3" fmla="*/ 26112 w 87440"/>
                          <a:gd name="connsiteY3" fmla="*/ 0 h 131349"/>
                          <a:gd name="connsiteX4" fmla="*/ 79642 w 87440"/>
                          <a:gd name="connsiteY4" fmla="*/ 80010 h 131349"/>
                          <a:gd name="connsiteX5" fmla="*/ 72689 w 87440"/>
                          <a:gd name="connsiteY5" fmla="*/ 131254 h 131349"/>
                          <a:gd name="connsiteX6" fmla="*/ 72689 w 87440"/>
                          <a:gd name="connsiteY6" fmla="*/ 131254 h 13134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87440" h="131349">
                            <a:moveTo>
                              <a:pt x="72689" y="131350"/>
                            </a:moveTo>
                            <a:lnTo>
                              <a:pt x="12205" y="71628"/>
                            </a:lnTo>
                            <a:cubicBezTo>
                              <a:pt x="-5892" y="53340"/>
                              <a:pt x="-3606" y="22479"/>
                              <a:pt x="17349" y="4001"/>
                            </a:cubicBezTo>
                            <a:lnTo>
                              <a:pt x="26112" y="0"/>
                            </a:lnTo>
                            <a:lnTo>
                              <a:pt x="79642" y="80010"/>
                            </a:lnTo>
                            <a:cubicBezTo>
                              <a:pt x="93073" y="96869"/>
                              <a:pt x="88120" y="113729"/>
                              <a:pt x="72689" y="131254"/>
                            </a:cubicBezTo>
                            <a:lnTo>
                              <a:pt x="72689" y="131254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63" name="Freihandform: Form 62">
                        <a:extLst>
                          <a:ext uri="{FF2B5EF4-FFF2-40B4-BE49-F238E27FC236}">
                            <a16:creationId xmlns:a16="http://schemas.microsoft.com/office/drawing/2014/main" id="{7D636039-949B-5FB5-8B8E-127F20B714C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395080" y="3720421"/>
                        <a:ext cx="62960" cy="111771"/>
                      </a:xfrm>
                      <a:custGeom>
                        <a:avLst/>
                        <a:gdLst>
                          <a:gd name="connsiteX0" fmla="*/ 0 w 62960"/>
                          <a:gd name="connsiteY0" fmla="*/ 9378 h 111771"/>
                          <a:gd name="connsiteX1" fmla="*/ 4191 w 62960"/>
                          <a:gd name="connsiteY1" fmla="*/ 100628 h 111771"/>
                          <a:gd name="connsiteX2" fmla="*/ 8287 w 62960"/>
                          <a:gd name="connsiteY2" fmla="*/ 111772 h 111771"/>
                          <a:gd name="connsiteX3" fmla="*/ 57150 w 62960"/>
                          <a:gd name="connsiteY3" fmla="*/ 67100 h 111771"/>
                          <a:gd name="connsiteX4" fmla="*/ 62961 w 62960"/>
                          <a:gd name="connsiteY4" fmla="*/ 18236 h 111771"/>
                          <a:gd name="connsiteX5" fmla="*/ 0 w 62960"/>
                          <a:gd name="connsiteY5" fmla="*/ 9378 h 11177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62960" h="111771">
                            <a:moveTo>
                              <a:pt x="0" y="9378"/>
                            </a:moveTo>
                            <a:cubicBezTo>
                              <a:pt x="477" y="28142"/>
                              <a:pt x="4191" y="100628"/>
                              <a:pt x="4191" y="100628"/>
                            </a:cubicBezTo>
                            <a:lnTo>
                              <a:pt x="8287" y="111772"/>
                            </a:lnTo>
                            <a:cubicBezTo>
                              <a:pt x="34957" y="111296"/>
                              <a:pt x="54674" y="91484"/>
                              <a:pt x="57150" y="67100"/>
                            </a:cubicBezTo>
                            <a:lnTo>
                              <a:pt x="62961" y="18236"/>
                            </a:lnTo>
                            <a:cubicBezTo>
                              <a:pt x="55436" y="1568"/>
                              <a:pt x="8192" y="-8338"/>
                              <a:pt x="0" y="9378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grpSp>
                    <p:nvGrpSpPr>
                      <p:cNvPr id="64" name="Grafik 23">
                        <a:extLst>
                          <a:ext uri="{FF2B5EF4-FFF2-40B4-BE49-F238E27FC236}">
                            <a16:creationId xmlns:a16="http://schemas.microsoft.com/office/drawing/2014/main" id="{97BC5F13-636B-7883-A0BB-A3ADC5B3AB2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8415082" y="3708417"/>
                        <a:ext cx="91882" cy="267603"/>
                        <a:chOff x="8415082" y="3708417"/>
                        <a:chExt cx="91882" cy="267603"/>
                      </a:xfrm>
                      <a:solidFill>
                        <a:srgbClr val="8A5942"/>
                      </a:solidFill>
                    </p:grpSpPr>
                    <p:sp>
                      <p:nvSpPr>
                        <p:cNvPr id="65" name="Freihandform: Form 64">
                          <a:extLst>
                            <a:ext uri="{FF2B5EF4-FFF2-40B4-BE49-F238E27FC236}">
                              <a16:creationId xmlns:a16="http://schemas.microsoft.com/office/drawing/2014/main" id="{7D7FB65F-813D-CC44-BBBB-326AD0C6369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56624" y="3848906"/>
                          <a:ext cx="50341" cy="127114"/>
                        </a:xfrm>
                        <a:custGeom>
                          <a:avLst/>
                          <a:gdLst>
                            <a:gd name="connsiteX0" fmla="*/ 30182 w 50341"/>
                            <a:gd name="connsiteY0" fmla="*/ 127114 h 127114"/>
                            <a:gd name="connsiteX1" fmla="*/ 5131 w 50341"/>
                            <a:gd name="connsiteY1" fmla="*/ 71584 h 127114"/>
                            <a:gd name="connsiteX2" fmla="*/ 15323 w 50341"/>
                            <a:gd name="connsiteY2" fmla="*/ 8528 h 127114"/>
                            <a:gd name="connsiteX3" fmla="*/ 25515 w 50341"/>
                            <a:gd name="connsiteY3" fmla="*/ 337 h 127114"/>
                            <a:gd name="connsiteX4" fmla="*/ 46851 w 50341"/>
                            <a:gd name="connsiteY4" fmla="*/ 72060 h 127114"/>
                            <a:gd name="connsiteX5" fmla="*/ 30182 w 50341"/>
                            <a:gd name="connsiteY5" fmla="*/ 127114 h 127114"/>
                            <a:gd name="connsiteX6" fmla="*/ 30182 w 50341"/>
                            <a:gd name="connsiteY6" fmla="*/ 127114 h 12711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50341" h="127114">
                              <a:moveTo>
                                <a:pt x="30182" y="127114"/>
                              </a:moveTo>
                              <a:lnTo>
                                <a:pt x="5131" y="71584"/>
                              </a:lnTo>
                              <a:cubicBezTo>
                                <a:pt x="-4108" y="50343"/>
                                <a:pt x="-964" y="26912"/>
                                <a:pt x="15323" y="8528"/>
                              </a:cubicBezTo>
                              <a:cubicBezTo>
                                <a:pt x="20562" y="2623"/>
                                <a:pt x="24658" y="-1187"/>
                                <a:pt x="25515" y="337"/>
                              </a:cubicBezTo>
                              <a:cubicBezTo>
                                <a:pt x="27039" y="3385"/>
                                <a:pt x="36278" y="33865"/>
                                <a:pt x="46851" y="72060"/>
                              </a:cubicBezTo>
                              <a:cubicBezTo>
                                <a:pt x="53518" y="96158"/>
                                <a:pt x="51995" y="112446"/>
                                <a:pt x="30182" y="127114"/>
                              </a:cubicBezTo>
                              <a:lnTo>
                                <a:pt x="30182" y="127114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6" name="Freihandform: Form 65">
                          <a:extLst>
                            <a:ext uri="{FF2B5EF4-FFF2-40B4-BE49-F238E27FC236}">
                              <a16:creationId xmlns:a16="http://schemas.microsoft.com/office/drawing/2014/main" id="{0C3134B7-EC18-7BA4-8EF9-EB3919DC29D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22907" y="3799998"/>
                          <a:ext cx="71113" cy="124396"/>
                        </a:xfrm>
                        <a:custGeom>
                          <a:avLst/>
                          <a:gdLst>
                            <a:gd name="connsiteX0" fmla="*/ 40563 w 71113"/>
                            <a:gd name="connsiteY0" fmla="*/ 124396 h 124396"/>
                            <a:gd name="connsiteX1" fmla="*/ 3415 w 71113"/>
                            <a:gd name="connsiteY1" fmla="*/ 38290 h 124396"/>
                            <a:gd name="connsiteX2" fmla="*/ 41135 w 71113"/>
                            <a:gd name="connsiteY2" fmla="*/ 2000 h 124396"/>
                            <a:gd name="connsiteX3" fmla="*/ 45325 w 71113"/>
                            <a:gd name="connsiteY3" fmla="*/ 0 h 124396"/>
                            <a:gd name="connsiteX4" fmla="*/ 69043 w 71113"/>
                            <a:gd name="connsiteY4" fmla="*/ 74295 h 124396"/>
                            <a:gd name="connsiteX5" fmla="*/ 42087 w 71113"/>
                            <a:gd name="connsiteY5" fmla="*/ 123634 h 124396"/>
                            <a:gd name="connsiteX6" fmla="*/ 40563 w 71113"/>
                            <a:gd name="connsiteY6" fmla="*/ 124396 h 12439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71113" h="124396">
                              <a:moveTo>
                                <a:pt x="40563" y="124396"/>
                              </a:moveTo>
                              <a:lnTo>
                                <a:pt x="3415" y="38290"/>
                              </a:lnTo>
                              <a:cubicBezTo>
                                <a:pt x="-7729" y="12192"/>
                                <a:pt x="9321" y="3238"/>
                                <a:pt x="41135" y="2000"/>
                              </a:cubicBezTo>
                              <a:lnTo>
                                <a:pt x="45325" y="0"/>
                              </a:lnTo>
                              <a:lnTo>
                                <a:pt x="69043" y="74295"/>
                              </a:lnTo>
                              <a:cubicBezTo>
                                <a:pt x="75996" y="97060"/>
                                <a:pt x="65042" y="112014"/>
                                <a:pt x="42087" y="123634"/>
                              </a:cubicBezTo>
                              <a:lnTo>
                                <a:pt x="40563" y="124396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7" name="Freihandform: Form 66">
                          <a:extLst>
                            <a:ext uri="{FF2B5EF4-FFF2-40B4-BE49-F238E27FC236}">
                              <a16:creationId xmlns:a16="http://schemas.microsoft.com/office/drawing/2014/main" id="{4C5BDDF3-9973-FF94-E2BF-FE006A5FF1D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15082" y="3708417"/>
                          <a:ext cx="63532" cy="120728"/>
                        </a:xfrm>
                        <a:custGeom>
                          <a:avLst/>
                          <a:gdLst>
                            <a:gd name="connsiteX0" fmla="*/ 1 w 63532"/>
                            <a:gd name="connsiteY0" fmla="*/ 12715 h 120728"/>
                            <a:gd name="connsiteX1" fmla="*/ 8573 w 63532"/>
                            <a:gd name="connsiteY1" fmla="*/ 120728 h 120728"/>
                            <a:gd name="connsiteX2" fmla="*/ 54674 w 63532"/>
                            <a:gd name="connsiteY2" fmla="*/ 92629 h 120728"/>
                            <a:gd name="connsiteX3" fmla="*/ 63532 w 63532"/>
                            <a:gd name="connsiteY3" fmla="*/ 16048 h 120728"/>
                            <a:gd name="connsiteX4" fmla="*/ 1 w 63532"/>
                            <a:gd name="connsiteY4" fmla="*/ 12619 h 12072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63532" h="120728">
                              <a:moveTo>
                                <a:pt x="1" y="12715"/>
                              </a:moveTo>
                              <a:cubicBezTo>
                                <a:pt x="-95" y="14715"/>
                                <a:pt x="8573" y="120728"/>
                                <a:pt x="8573" y="120728"/>
                              </a:cubicBezTo>
                              <a:cubicBezTo>
                                <a:pt x="37910" y="120347"/>
                                <a:pt x="51817" y="119585"/>
                                <a:pt x="54674" y="92629"/>
                              </a:cubicBezTo>
                              <a:lnTo>
                                <a:pt x="63532" y="16048"/>
                              </a:lnTo>
                              <a:cubicBezTo>
                                <a:pt x="55341" y="-2335"/>
                                <a:pt x="9144" y="-6812"/>
                                <a:pt x="1" y="12619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sp>
                    <p:nvSpPr>
                      <p:cNvPr id="68" name="Freihandform: Form 67">
                        <a:extLst>
                          <a:ext uri="{FF2B5EF4-FFF2-40B4-BE49-F238E27FC236}">
                            <a16:creationId xmlns:a16="http://schemas.microsoft.com/office/drawing/2014/main" id="{6C7AACEA-614D-D12E-47FF-99706C38BC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63914" y="3855038"/>
                        <a:ext cx="46483" cy="113934"/>
                      </a:xfrm>
                      <a:custGeom>
                        <a:avLst/>
                        <a:gdLst>
                          <a:gd name="connsiteX0" fmla="*/ 22320 w 46483"/>
                          <a:gd name="connsiteY0" fmla="*/ 113744 h 113934"/>
                          <a:gd name="connsiteX1" fmla="*/ 3366 w 46483"/>
                          <a:gd name="connsiteY1" fmla="*/ 60784 h 113934"/>
                          <a:gd name="connsiteX2" fmla="*/ 17844 w 46483"/>
                          <a:gd name="connsiteY2" fmla="*/ 6587 h 113934"/>
                          <a:gd name="connsiteX3" fmla="*/ 28893 w 46483"/>
                          <a:gd name="connsiteY3" fmla="*/ 396 h 113934"/>
                          <a:gd name="connsiteX4" fmla="*/ 44990 w 46483"/>
                          <a:gd name="connsiteY4" fmla="*/ 66214 h 113934"/>
                          <a:gd name="connsiteX5" fmla="*/ 22416 w 46483"/>
                          <a:gd name="connsiteY5" fmla="*/ 113934 h 113934"/>
                          <a:gd name="connsiteX6" fmla="*/ 22416 w 46483"/>
                          <a:gd name="connsiteY6" fmla="*/ 113934 h 11393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6483" h="113934">
                            <a:moveTo>
                              <a:pt x="22320" y="113744"/>
                            </a:moveTo>
                            <a:lnTo>
                              <a:pt x="3366" y="60784"/>
                            </a:lnTo>
                            <a:cubicBezTo>
                              <a:pt x="-3492" y="40591"/>
                              <a:pt x="-444" y="21161"/>
                              <a:pt x="17844" y="6587"/>
                            </a:cubicBezTo>
                            <a:cubicBezTo>
                              <a:pt x="23749" y="1920"/>
                              <a:pt x="28321" y="-1128"/>
                              <a:pt x="28893" y="396"/>
                            </a:cubicBezTo>
                            <a:cubicBezTo>
                              <a:pt x="30036" y="3254"/>
                              <a:pt x="38608" y="30495"/>
                              <a:pt x="44990" y="66214"/>
                            </a:cubicBezTo>
                            <a:cubicBezTo>
                              <a:pt x="49086" y="88788"/>
                              <a:pt x="45752" y="103171"/>
                              <a:pt x="22416" y="113934"/>
                            </a:cubicBezTo>
                            <a:lnTo>
                              <a:pt x="22416" y="113934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69" name="Freihandform: Form 68">
                        <a:extLst>
                          <a:ext uri="{FF2B5EF4-FFF2-40B4-BE49-F238E27FC236}">
                            <a16:creationId xmlns:a16="http://schemas.microsoft.com/office/drawing/2014/main" id="{0A603A35-09B5-DAD7-70D7-A1C7BB8760C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36560" y="3794759"/>
                        <a:ext cx="62340" cy="120967"/>
                      </a:xfrm>
                      <a:custGeom>
                        <a:avLst/>
                        <a:gdLst>
                          <a:gd name="connsiteX0" fmla="*/ 30624 w 62340"/>
                          <a:gd name="connsiteY0" fmla="*/ 120968 h 120967"/>
                          <a:gd name="connsiteX1" fmla="*/ 2335 w 62340"/>
                          <a:gd name="connsiteY1" fmla="*/ 39338 h 120967"/>
                          <a:gd name="connsiteX2" fmla="*/ 38244 w 62340"/>
                          <a:gd name="connsiteY2" fmla="*/ 0 h 120967"/>
                          <a:gd name="connsiteX3" fmla="*/ 43864 w 62340"/>
                          <a:gd name="connsiteY3" fmla="*/ 9335 h 120967"/>
                          <a:gd name="connsiteX4" fmla="*/ 61390 w 62340"/>
                          <a:gd name="connsiteY4" fmla="*/ 80867 h 120967"/>
                          <a:gd name="connsiteX5" fmla="*/ 30719 w 62340"/>
                          <a:gd name="connsiteY5" fmla="*/ 120968 h 120967"/>
                          <a:gd name="connsiteX6" fmla="*/ 30719 w 62340"/>
                          <a:gd name="connsiteY6" fmla="*/ 120968 h 12096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2340" h="120967">
                            <a:moveTo>
                              <a:pt x="30624" y="120968"/>
                            </a:moveTo>
                            <a:lnTo>
                              <a:pt x="2335" y="39338"/>
                            </a:lnTo>
                            <a:cubicBezTo>
                              <a:pt x="-5952" y="14573"/>
                              <a:pt x="8240" y="6001"/>
                              <a:pt x="38244" y="0"/>
                            </a:cubicBezTo>
                            <a:lnTo>
                              <a:pt x="43864" y="9335"/>
                            </a:lnTo>
                            <a:lnTo>
                              <a:pt x="61390" y="80867"/>
                            </a:lnTo>
                            <a:cubicBezTo>
                              <a:pt x="65771" y="102203"/>
                              <a:pt x="54912" y="113157"/>
                              <a:pt x="30719" y="120968"/>
                            </a:cubicBezTo>
                            <a:lnTo>
                              <a:pt x="30719" y="120968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0" name="Freihandform: Form 69">
                        <a:extLst>
                          <a:ext uri="{FF2B5EF4-FFF2-40B4-BE49-F238E27FC236}">
                            <a16:creationId xmlns:a16="http://schemas.microsoft.com/office/drawing/2014/main" id="{FFE30E86-F9EF-A026-C612-8C9944386E0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35054" y="3713098"/>
                        <a:ext cx="53751" cy="112434"/>
                      </a:xfrm>
                      <a:custGeom>
                        <a:avLst/>
                        <a:gdLst>
                          <a:gd name="connsiteX0" fmla="*/ 31 w 53751"/>
                          <a:gd name="connsiteY0" fmla="*/ 7176 h 112434"/>
                          <a:gd name="connsiteX1" fmla="*/ 1555 w 53751"/>
                          <a:gd name="connsiteY1" fmla="*/ 110046 h 112434"/>
                          <a:gd name="connsiteX2" fmla="*/ 44989 w 53751"/>
                          <a:gd name="connsiteY2" fmla="*/ 94806 h 112434"/>
                          <a:gd name="connsiteX3" fmla="*/ 53752 w 53751"/>
                          <a:gd name="connsiteY3" fmla="*/ 23654 h 112434"/>
                          <a:gd name="connsiteX4" fmla="*/ 31 w 53751"/>
                          <a:gd name="connsiteY4" fmla="*/ 7176 h 11243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53751" h="112434">
                            <a:moveTo>
                              <a:pt x="31" y="7176"/>
                            </a:moveTo>
                            <a:cubicBezTo>
                              <a:pt x="-255" y="8986"/>
                              <a:pt x="1555" y="110046"/>
                              <a:pt x="1555" y="110046"/>
                            </a:cubicBezTo>
                            <a:cubicBezTo>
                              <a:pt x="30987" y="111856"/>
                              <a:pt x="40512" y="119000"/>
                              <a:pt x="44989" y="94806"/>
                            </a:cubicBezTo>
                            <a:lnTo>
                              <a:pt x="53752" y="23654"/>
                            </a:lnTo>
                            <a:cubicBezTo>
                              <a:pt x="46703" y="6414"/>
                              <a:pt x="10318" y="-9778"/>
                              <a:pt x="31" y="7176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grpSp>
                    <p:nvGrpSpPr>
                      <p:cNvPr id="71" name="Grafik 23">
                        <a:extLst>
                          <a:ext uri="{FF2B5EF4-FFF2-40B4-BE49-F238E27FC236}">
                            <a16:creationId xmlns:a16="http://schemas.microsoft.com/office/drawing/2014/main" id="{B097A2B0-DDD8-E3BC-E93B-9F0074DCEE88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8483816" y="3539440"/>
                        <a:ext cx="145001" cy="336662"/>
                        <a:chOff x="8483816" y="3539440"/>
                        <a:chExt cx="145001" cy="336662"/>
                      </a:xfrm>
                      <a:solidFill>
                        <a:srgbClr val="8A5942"/>
                      </a:solidFill>
                    </p:grpSpPr>
                    <p:sp>
                      <p:nvSpPr>
                        <p:cNvPr id="72" name="Freihandform: Form 71">
                          <a:extLst>
                            <a:ext uri="{FF2B5EF4-FFF2-40B4-BE49-F238E27FC236}">
                              <a16:creationId xmlns:a16="http://schemas.microsoft.com/office/drawing/2014/main" id="{F8B3906A-249D-6BA9-447D-C0044D4069D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529038" y="3738176"/>
                          <a:ext cx="60495" cy="137927"/>
                        </a:xfrm>
                        <a:custGeom>
                          <a:avLst/>
                          <a:gdLst>
                            <a:gd name="connsiteX0" fmla="*/ 24158 w 60495"/>
                            <a:gd name="connsiteY0" fmla="*/ 137927 h 137927"/>
                            <a:gd name="connsiteX1" fmla="*/ 57685 w 60495"/>
                            <a:gd name="connsiteY1" fmla="*/ 75253 h 137927"/>
                            <a:gd name="connsiteX2" fmla="*/ 53304 w 60495"/>
                            <a:gd name="connsiteY2" fmla="*/ 5815 h 137927"/>
                            <a:gd name="connsiteX3" fmla="*/ 40350 w 60495"/>
                            <a:gd name="connsiteY3" fmla="*/ 958 h 137927"/>
                            <a:gd name="connsiteX4" fmla="*/ 4726 w 60495"/>
                            <a:gd name="connsiteY4" fmla="*/ 77824 h 137927"/>
                            <a:gd name="connsiteX5" fmla="*/ 24062 w 60495"/>
                            <a:gd name="connsiteY5" fmla="*/ 137832 h 137927"/>
                            <a:gd name="connsiteX6" fmla="*/ 24062 w 60495"/>
                            <a:gd name="connsiteY6" fmla="*/ 137832 h 13792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60495" h="137927">
                              <a:moveTo>
                                <a:pt x="24158" y="137927"/>
                              </a:moveTo>
                              <a:lnTo>
                                <a:pt x="57685" y="75253"/>
                              </a:lnTo>
                              <a:cubicBezTo>
                                <a:pt x="59876" y="52964"/>
                                <a:pt x="64448" y="18579"/>
                                <a:pt x="53304" y="5815"/>
                              </a:cubicBezTo>
                              <a:cubicBezTo>
                                <a:pt x="47017" y="-1424"/>
                                <a:pt x="41398" y="-376"/>
                                <a:pt x="40350" y="958"/>
                              </a:cubicBezTo>
                              <a:cubicBezTo>
                                <a:pt x="33111" y="11149"/>
                                <a:pt x="17204" y="44868"/>
                                <a:pt x="4726" y="77824"/>
                              </a:cubicBezTo>
                              <a:cubicBezTo>
                                <a:pt x="-3941" y="100780"/>
                                <a:pt x="-2417" y="117639"/>
                                <a:pt x="24062" y="137832"/>
                              </a:cubicBezTo>
                              <a:lnTo>
                                <a:pt x="24062" y="13783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3" name="Freihandform: Form 72">
                          <a:extLst>
                            <a:ext uri="{FF2B5EF4-FFF2-40B4-BE49-F238E27FC236}">
                              <a16:creationId xmlns:a16="http://schemas.microsoft.com/office/drawing/2014/main" id="{C469FA3C-E703-43E2-E9CB-E1CD7ABD5A7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548242" y="3697576"/>
                          <a:ext cx="80486" cy="117625"/>
                        </a:xfrm>
                        <a:custGeom>
                          <a:avLst/>
                          <a:gdLst>
                            <a:gd name="connsiteX0" fmla="*/ 80486 w 80486"/>
                            <a:gd name="connsiteY0" fmla="*/ 17269 h 117625"/>
                            <a:gd name="connsiteX1" fmla="*/ 0 w 80486"/>
                            <a:gd name="connsiteY1" fmla="*/ 10982 h 117625"/>
                            <a:gd name="connsiteX2" fmla="*/ 5810 w 80486"/>
                            <a:gd name="connsiteY2" fmla="*/ 70608 h 117625"/>
                            <a:gd name="connsiteX3" fmla="*/ 38481 w 80486"/>
                            <a:gd name="connsiteY3" fmla="*/ 115948 h 117625"/>
                            <a:gd name="connsiteX4" fmla="*/ 80486 w 80486"/>
                            <a:gd name="connsiteY4" fmla="*/ 17269 h 11762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80486" h="117625">
                              <a:moveTo>
                                <a:pt x="80486" y="17269"/>
                              </a:moveTo>
                              <a:cubicBezTo>
                                <a:pt x="61627" y="-17498"/>
                                <a:pt x="0" y="10982"/>
                                <a:pt x="0" y="10982"/>
                              </a:cubicBezTo>
                              <a:lnTo>
                                <a:pt x="5810" y="70608"/>
                              </a:lnTo>
                              <a:cubicBezTo>
                                <a:pt x="3429" y="95659"/>
                                <a:pt x="15907" y="124996"/>
                                <a:pt x="38481" y="115948"/>
                              </a:cubicBezTo>
                              <a:cubicBezTo>
                                <a:pt x="38481" y="115948"/>
                                <a:pt x="80582" y="16221"/>
                                <a:pt x="80486" y="17269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4" name="Freihandform: Form 73">
                          <a:extLst>
                            <a:ext uri="{FF2B5EF4-FFF2-40B4-BE49-F238E27FC236}">
                              <a16:creationId xmlns:a16="http://schemas.microsoft.com/office/drawing/2014/main" id="{D442AB8C-3A35-5422-8DAF-935CFBF688A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83816" y="3539440"/>
                          <a:ext cx="145001" cy="187300"/>
                        </a:xfrm>
                        <a:custGeom>
                          <a:avLst/>
                          <a:gdLst>
                            <a:gd name="connsiteX0" fmla="*/ 142151 w 145001"/>
                            <a:gd name="connsiteY0" fmla="*/ 88632 h 187300"/>
                            <a:gd name="connsiteX1" fmla="*/ 144913 w 145001"/>
                            <a:gd name="connsiteY1" fmla="*/ 175405 h 187300"/>
                            <a:gd name="connsiteX2" fmla="*/ 144913 w 145001"/>
                            <a:gd name="connsiteY2" fmla="*/ 175405 h 187300"/>
                            <a:gd name="connsiteX3" fmla="*/ 64712 w 145001"/>
                            <a:gd name="connsiteY3" fmla="*/ 170642 h 187300"/>
                            <a:gd name="connsiteX4" fmla="*/ 9848 w 145001"/>
                            <a:gd name="connsiteY4" fmla="*/ 67486 h 187300"/>
                            <a:gd name="connsiteX5" fmla="*/ 104717 w 145001"/>
                            <a:gd name="connsiteY5" fmla="*/ 431 h 187300"/>
                            <a:gd name="connsiteX6" fmla="*/ 142151 w 145001"/>
                            <a:gd name="connsiteY6" fmla="*/ 88632 h 18730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145001" h="187300">
                              <a:moveTo>
                                <a:pt x="142151" y="88632"/>
                              </a:moveTo>
                              <a:cubicBezTo>
                                <a:pt x="145770" y="113302"/>
                                <a:pt x="144913" y="175405"/>
                                <a:pt x="144913" y="175405"/>
                              </a:cubicBezTo>
                              <a:lnTo>
                                <a:pt x="144913" y="175405"/>
                              </a:lnTo>
                              <a:cubicBezTo>
                                <a:pt x="107289" y="175214"/>
                                <a:pt x="108813" y="205218"/>
                                <a:pt x="64712" y="170642"/>
                              </a:cubicBezTo>
                              <a:cubicBezTo>
                                <a:pt x="64712" y="170642"/>
                                <a:pt x="53472" y="104253"/>
                                <a:pt x="9848" y="67486"/>
                              </a:cubicBezTo>
                              <a:cubicBezTo>
                                <a:pt x="-27871" y="35768"/>
                                <a:pt x="51186" y="-4618"/>
                                <a:pt x="104717" y="431"/>
                              </a:cubicBezTo>
                              <a:cubicBezTo>
                                <a:pt x="128815" y="38244"/>
                                <a:pt x="142151" y="88632"/>
                                <a:pt x="142151" y="8863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sp>
                    <p:nvSpPr>
                      <p:cNvPr id="75" name="Freihandform: Form 74">
                        <a:extLst>
                          <a:ext uri="{FF2B5EF4-FFF2-40B4-BE49-F238E27FC236}">
                            <a16:creationId xmlns:a16="http://schemas.microsoft.com/office/drawing/2014/main" id="{C717B5E7-21E0-3492-587A-B95C05ADAC4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395080" y="3494722"/>
                        <a:ext cx="234464" cy="282987"/>
                      </a:xfrm>
                      <a:custGeom>
                        <a:avLst/>
                        <a:gdLst>
                          <a:gd name="connsiteX0" fmla="*/ 4382 w 234464"/>
                          <a:gd name="connsiteY0" fmla="*/ 195644 h 282987"/>
                          <a:gd name="connsiteX1" fmla="*/ 59341 w 234464"/>
                          <a:gd name="connsiteY1" fmla="*/ 0 h 282987"/>
                          <a:gd name="connsiteX2" fmla="*/ 194977 w 234464"/>
                          <a:gd name="connsiteY2" fmla="*/ 11430 h 282987"/>
                          <a:gd name="connsiteX3" fmla="*/ 200787 w 234464"/>
                          <a:gd name="connsiteY3" fmla="*/ 47625 h 282987"/>
                          <a:gd name="connsiteX4" fmla="*/ 232601 w 234464"/>
                          <a:gd name="connsiteY4" fmla="*/ 177832 h 282987"/>
                          <a:gd name="connsiteX5" fmla="*/ 152877 w 234464"/>
                          <a:gd name="connsiteY5" fmla="*/ 204883 h 282987"/>
                          <a:gd name="connsiteX6" fmla="*/ 88678 w 234464"/>
                          <a:gd name="connsiteY6" fmla="*/ 282988 h 282987"/>
                          <a:gd name="connsiteX7" fmla="*/ 0 w 234464"/>
                          <a:gd name="connsiteY7" fmla="*/ 234982 h 282987"/>
                          <a:gd name="connsiteX8" fmla="*/ 4382 w 234464"/>
                          <a:gd name="connsiteY8" fmla="*/ 195548 h 2829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234464" h="282987">
                            <a:moveTo>
                              <a:pt x="4382" y="195644"/>
                            </a:moveTo>
                            <a:cubicBezTo>
                              <a:pt x="21431" y="145828"/>
                              <a:pt x="40958" y="87154"/>
                              <a:pt x="59341" y="0"/>
                            </a:cubicBezTo>
                            <a:lnTo>
                              <a:pt x="194977" y="11430"/>
                            </a:lnTo>
                            <a:cubicBezTo>
                              <a:pt x="194977" y="32099"/>
                              <a:pt x="197739" y="44005"/>
                              <a:pt x="200787" y="47625"/>
                            </a:cubicBezTo>
                            <a:cubicBezTo>
                              <a:pt x="246031" y="101727"/>
                              <a:pt x="232601" y="177832"/>
                              <a:pt x="232601" y="177832"/>
                            </a:cubicBezTo>
                            <a:cubicBezTo>
                              <a:pt x="230981" y="184976"/>
                              <a:pt x="183261" y="168688"/>
                              <a:pt x="152877" y="204883"/>
                            </a:cubicBezTo>
                            <a:cubicBezTo>
                              <a:pt x="144304" y="215075"/>
                              <a:pt x="102394" y="222885"/>
                              <a:pt x="88678" y="282988"/>
                            </a:cubicBezTo>
                            <a:cubicBezTo>
                              <a:pt x="33909" y="215837"/>
                              <a:pt x="3048" y="234125"/>
                              <a:pt x="0" y="234982"/>
                            </a:cubicBezTo>
                            <a:cubicBezTo>
                              <a:pt x="2572" y="219551"/>
                              <a:pt x="2667" y="206026"/>
                              <a:pt x="4382" y="195548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6" name="Freihandform: Form 75">
                        <a:extLst>
                          <a:ext uri="{FF2B5EF4-FFF2-40B4-BE49-F238E27FC236}">
                            <a16:creationId xmlns:a16="http://schemas.microsoft.com/office/drawing/2014/main" id="{B78F126A-E226-154D-8C4B-E2C16756549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53659" y="3436239"/>
                        <a:ext cx="136397" cy="136398"/>
                      </a:xfrm>
                      <a:custGeom>
                        <a:avLst/>
                        <a:gdLst>
                          <a:gd name="connsiteX0" fmla="*/ 136398 w 136397"/>
                          <a:gd name="connsiteY0" fmla="*/ 68199 h 136398"/>
                          <a:gd name="connsiteX1" fmla="*/ 68199 w 136397"/>
                          <a:gd name="connsiteY1" fmla="*/ 136398 h 136398"/>
                          <a:gd name="connsiteX2" fmla="*/ 1 w 136397"/>
                          <a:gd name="connsiteY2" fmla="*/ 68199 h 136398"/>
                          <a:gd name="connsiteX3" fmla="*/ 68199 w 136397"/>
                          <a:gd name="connsiteY3" fmla="*/ 0 h 136398"/>
                          <a:gd name="connsiteX4" fmla="*/ 136398 w 136397"/>
                          <a:gd name="connsiteY4" fmla="*/ 68199 h 13639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36397" h="136398">
                            <a:moveTo>
                              <a:pt x="136398" y="68199"/>
                            </a:moveTo>
                            <a:cubicBezTo>
                              <a:pt x="136398" y="105864"/>
                              <a:pt x="105864" y="136398"/>
                              <a:pt x="68199" y="136398"/>
                            </a:cubicBezTo>
                            <a:cubicBezTo>
                              <a:pt x="30534" y="136398"/>
                              <a:pt x="1" y="105865"/>
                              <a:pt x="1" y="68199"/>
                            </a:cubicBezTo>
                            <a:cubicBezTo>
                              <a:pt x="1" y="30534"/>
                              <a:pt x="30534" y="0"/>
                              <a:pt x="68199" y="0"/>
                            </a:cubicBezTo>
                            <a:cubicBezTo>
                              <a:pt x="105864" y="0"/>
                              <a:pt x="136398" y="30534"/>
                              <a:pt x="136398" y="68199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</p:grpSp>
              <p:sp>
                <p:nvSpPr>
                  <p:cNvPr id="77" name="Freihandform: Form 76">
                    <a:extLst>
                      <a:ext uri="{FF2B5EF4-FFF2-40B4-BE49-F238E27FC236}">
                        <a16:creationId xmlns:a16="http://schemas.microsoft.com/office/drawing/2014/main" id="{033BB49D-DDE7-266B-D20F-045717888045}"/>
                      </a:ext>
                    </a:extLst>
                  </p:cNvPr>
                  <p:cNvSpPr/>
                  <p:nvPr/>
                </p:nvSpPr>
                <p:spPr>
                  <a:xfrm>
                    <a:off x="8688572" y="1533884"/>
                    <a:ext cx="1208416" cy="1222459"/>
                  </a:xfrm>
                  <a:custGeom>
                    <a:avLst/>
                    <a:gdLst>
                      <a:gd name="connsiteX0" fmla="*/ 1189550 w 1208416"/>
                      <a:gd name="connsiteY0" fmla="*/ 262626 h 1222459"/>
                      <a:gd name="connsiteX1" fmla="*/ 821695 w 1208416"/>
                      <a:gd name="connsiteY1" fmla="*/ 114131 h 1222459"/>
                      <a:gd name="connsiteX2" fmla="*/ 766641 w 1208416"/>
                      <a:gd name="connsiteY2" fmla="*/ 15071 h 1222459"/>
                      <a:gd name="connsiteX3" fmla="*/ 747971 w 1208416"/>
                      <a:gd name="connsiteY3" fmla="*/ 6879 h 1222459"/>
                      <a:gd name="connsiteX4" fmla="*/ 454506 w 1208416"/>
                      <a:gd name="connsiteY4" fmla="*/ 1164 h 1222459"/>
                      <a:gd name="connsiteX5" fmla="*/ 438885 w 1208416"/>
                      <a:gd name="connsiteY5" fmla="*/ 8975 h 1222459"/>
                      <a:gd name="connsiteX6" fmla="*/ 424026 w 1208416"/>
                      <a:gd name="connsiteY6" fmla="*/ 67744 h 1222459"/>
                      <a:gd name="connsiteX7" fmla="*/ 390879 w 1208416"/>
                      <a:gd name="connsiteY7" fmla="*/ 96986 h 1222459"/>
                      <a:gd name="connsiteX8" fmla="*/ 17594 w 1208416"/>
                      <a:gd name="connsiteY8" fmla="*/ 279771 h 1222459"/>
                      <a:gd name="connsiteX9" fmla="*/ 143896 w 1208416"/>
                      <a:gd name="connsiteY9" fmla="*/ 680868 h 1222459"/>
                      <a:gd name="connsiteX10" fmla="*/ 240384 w 1208416"/>
                      <a:gd name="connsiteY10" fmla="*/ 1222460 h 1222459"/>
                      <a:gd name="connsiteX11" fmla="*/ 955235 w 1208416"/>
                      <a:gd name="connsiteY11" fmla="*/ 1220364 h 1222459"/>
                      <a:gd name="connsiteX12" fmla="*/ 1093729 w 1208416"/>
                      <a:gd name="connsiteY12" fmla="*/ 696870 h 1222459"/>
                      <a:gd name="connsiteX13" fmla="*/ 1189455 w 1208416"/>
                      <a:gd name="connsiteY13" fmla="*/ 262530 h 12224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208416" h="1222459">
                        <a:moveTo>
                          <a:pt x="1189550" y="262626"/>
                        </a:moveTo>
                        <a:cubicBezTo>
                          <a:pt x="1103921" y="179663"/>
                          <a:pt x="966475" y="205666"/>
                          <a:pt x="821695" y="114131"/>
                        </a:cubicBezTo>
                        <a:cubicBezTo>
                          <a:pt x="785500" y="80793"/>
                          <a:pt x="771689" y="38597"/>
                          <a:pt x="766641" y="15071"/>
                        </a:cubicBezTo>
                        <a:cubicBezTo>
                          <a:pt x="764831" y="6689"/>
                          <a:pt x="755401" y="2593"/>
                          <a:pt x="747971" y="6879"/>
                        </a:cubicBezTo>
                        <a:cubicBezTo>
                          <a:pt x="655769" y="60791"/>
                          <a:pt x="553947" y="49837"/>
                          <a:pt x="454506" y="1164"/>
                        </a:cubicBezTo>
                        <a:cubicBezTo>
                          <a:pt x="447934" y="-2074"/>
                          <a:pt x="440123" y="1736"/>
                          <a:pt x="438885" y="8975"/>
                        </a:cubicBezTo>
                        <a:cubicBezTo>
                          <a:pt x="436504" y="22500"/>
                          <a:pt x="431932" y="44122"/>
                          <a:pt x="424026" y="67744"/>
                        </a:cubicBezTo>
                        <a:cubicBezTo>
                          <a:pt x="421073" y="74316"/>
                          <a:pt x="412501" y="88223"/>
                          <a:pt x="390879" y="96986"/>
                        </a:cubicBezTo>
                        <a:cubicBezTo>
                          <a:pt x="225049" y="164137"/>
                          <a:pt x="111987" y="195188"/>
                          <a:pt x="17594" y="279771"/>
                        </a:cubicBezTo>
                        <a:cubicBezTo>
                          <a:pt x="-59939" y="349303"/>
                          <a:pt x="143896" y="680868"/>
                          <a:pt x="143896" y="680868"/>
                        </a:cubicBezTo>
                        <a:lnTo>
                          <a:pt x="240384" y="1222460"/>
                        </a:lnTo>
                        <a:lnTo>
                          <a:pt x="955235" y="1220364"/>
                        </a:lnTo>
                        <a:lnTo>
                          <a:pt x="1093729" y="696870"/>
                        </a:lnTo>
                        <a:cubicBezTo>
                          <a:pt x="1093729" y="696870"/>
                          <a:pt x="1264227" y="335016"/>
                          <a:pt x="1189455" y="262530"/>
                        </a:cubicBezTo>
                        <a:close/>
                      </a:path>
                    </a:pathLst>
                  </a:custGeom>
                  <a:solidFill>
                    <a:srgbClr val="FFE98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8" name="Freihandform: Form 77">
                    <a:extLst>
                      <a:ext uri="{FF2B5EF4-FFF2-40B4-BE49-F238E27FC236}">
                        <a16:creationId xmlns:a16="http://schemas.microsoft.com/office/drawing/2014/main" id="{8125EA3B-A5DD-C997-346C-13FD71A879CF}"/>
                      </a:ext>
                    </a:extLst>
                  </p:cNvPr>
                  <p:cNvSpPr/>
                  <p:nvPr/>
                </p:nvSpPr>
                <p:spPr>
                  <a:xfrm>
                    <a:off x="9209944" y="1375027"/>
                    <a:ext cx="147256" cy="49531"/>
                  </a:xfrm>
                  <a:custGeom>
                    <a:avLst/>
                    <a:gdLst>
                      <a:gd name="connsiteX0" fmla="*/ 0 w 147256"/>
                      <a:gd name="connsiteY0" fmla="*/ 5431 h 49531"/>
                      <a:gd name="connsiteX1" fmla="*/ 55721 w 147256"/>
                      <a:gd name="connsiteY1" fmla="*/ 573 h 49531"/>
                      <a:gd name="connsiteX2" fmla="*/ 70294 w 147256"/>
                      <a:gd name="connsiteY2" fmla="*/ 4002 h 49531"/>
                      <a:gd name="connsiteX3" fmla="*/ 84010 w 147256"/>
                      <a:gd name="connsiteY3" fmla="*/ 2 h 49531"/>
                      <a:gd name="connsiteX4" fmla="*/ 147256 w 147256"/>
                      <a:gd name="connsiteY4" fmla="*/ 5812 h 49531"/>
                      <a:gd name="connsiteX5" fmla="*/ 68389 w 147256"/>
                      <a:gd name="connsiteY5" fmla="*/ 49532 h 49531"/>
                      <a:gd name="connsiteX6" fmla="*/ 0 w 147256"/>
                      <a:gd name="connsiteY6" fmla="*/ 5431 h 495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7256" h="49531">
                        <a:moveTo>
                          <a:pt x="0" y="5431"/>
                        </a:moveTo>
                        <a:cubicBezTo>
                          <a:pt x="0" y="5431"/>
                          <a:pt x="19050" y="2859"/>
                          <a:pt x="55721" y="573"/>
                        </a:cubicBezTo>
                        <a:cubicBezTo>
                          <a:pt x="58578" y="383"/>
                          <a:pt x="61817" y="4193"/>
                          <a:pt x="70294" y="4002"/>
                        </a:cubicBezTo>
                        <a:cubicBezTo>
                          <a:pt x="80296" y="3812"/>
                          <a:pt x="80676" y="-94"/>
                          <a:pt x="84010" y="2"/>
                        </a:cubicBezTo>
                        <a:cubicBezTo>
                          <a:pt x="123539" y="1049"/>
                          <a:pt x="147256" y="5812"/>
                          <a:pt x="147256" y="5812"/>
                        </a:cubicBezTo>
                        <a:cubicBezTo>
                          <a:pt x="147256" y="5812"/>
                          <a:pt x="127635" y="49532"/>
                          <a:pt x="68389" y="49532"/>
                        </a:cubicBezTo>
                        <a:cubicBezTo>
                          <a:pt x="15049" y="49532"/>
                          <a:pt x="0" y="5431"/>
                          <a:pt x="0" y="5431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9" name="Freihandform: Form 78">
                    <a:extLst>
                      <a:ext uri="{FF2B5EF4-FFF2-40B4-BE49-F238E27FC236}">
                        <a16:creationId xmlns:a16="http://schemas.microsoft.com/office/drawing/2014/main" id="{E3648D5E-E69D-0495-1039-D1F0853422F7}"/>
                      </a:ext>
                    </a:extLst>
                  </p:cNvPr>
                  <p:cNvSpPr/>
                  <p:nvPr/>
                </p:nvSpPr>
                <p:spPr>
                  <a:xfrm>
                    <a:off x="8620918" y="1760791"/>
                    <a:ext cx="314705" cy="314706"/>
                  </a:xfrm>
                  <a:custGeom>
                    <a:avLst/>
                    <a:gdLst>
                      <a:gd name="connsiteX0" fmla="*/ 314706 w 314705"/>
                      <a:gd name="connsiteY0" fmla="*/ 157353 h 314706"/>
                      <a:gd name="connsiteX1" fmla="*/ 157353 w 314705"/>
                      <a:gd name="connsiteY1" fmla="*/ 314706 h 314706"/>
                      <a:gd name="connsiteX2" fmla="*/ -1 w 314705"/>
                      <a:gd name="connsiteY2" fmla="*/ 157353 h 314706"/>
                      <a:gd name="connsiteX3" fmla="*/ 157353 w 314705"/>
                      <a:gd name="connsiteY3" fmla="*/ 0 h 314706"/>
                      <a:gd name="connsiteX4" fmla="*/ 314706 w 314705"/>
                      <a:gd name="connsiteY4" fmla="*/ 157353 h 3147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4705" h="314706">
                        <a:moveTo>
                          <a:pt x="314706" y="157353"/>
                        </a:moveTo>
                        <a:cubicBezTo>
                          <a:pt x="314706" y="244257"/>
                          <a:pt x="244257" y="314706"/>
                          <a:pt x="157353" y="314706"/>
                        </a:cubicBezTo>
                        <a:cubicBezTo>
                          <a:pt x="70449" y="314706"/>
                          <a:pt x="-1" y="244257"/>
                          <a:pt x="-1" y="157353"/>
                        </a:cubicBezTo>
                        <a:cubicBezTo>
                          <a:pt x="-1" y="70449"/>
                          <a:pt x="70449" y="0"/>
                          <a:pt x="157353" y="0"/>
                        </a:cubicBezTo>
                        <a:cubicBezTo>
                          <a:pt x="244256" y="0"/>
                          <a:pt x="314706" y="70449"/>
                          <a:pt x="314706" y="15735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0" name="Freihandform: Form 79">
                    <a:extLst>
                      <a:ext uri="{FF2B5EF4-FFF2-40B4-BE49-F238E27FC236}">
                        <a16:creationId xmlns:a16="http://schemas.microsoft.com/office/drawing/2014/main" id="{9521ECC7-1396-14E9-4855-E61AF7BE8E90}"/>
                      </a:ext>
                    </a:extLst>
                  </p:cNvPr>
                  <p:cNvSpPr/>
                  <p:nvPr/>
                </p:nvSpPr>
                <p:spPr>
                  <a:xfrm>
                    <a:off x="8398795" y="1816227"/>
                    <a:ext cx="523018" cy="989647"/>
                  </a:xfrm>
                  <a:custGeom>
                    <a:avLst/>
                    <a:gdLst>
                      <a:gd name="connsiteX0" fmla="*/ 0 w 523018"/>
                      <a:gd name="connsiteY0" fmla="*/ 947261 h 989647"/>
                      <a:gd name="connsiteX1" fmla="*/ 307467 w 523018"/>
                      <a:gd name="connsiteY1" fmla="*/ 989648 h 989647"/>
                      <a:gd name="connsiteX2" fmla="*/ 523018 w 523018"/>
                      <a:gd name="connsiteY2" fmla="*/ 167259 h 989647"/>
                      <a:gd name="connsiteX3" fmla="*/ 259747 w 523018"/>
                      <a:gd name="connsiteY3" fmla="*/ 0 h 989647"/>
                      <a:gd name="connsiteX4" fmla="*/ 0 w 523018"/>
                      <a:gd name="connsiteY4" fmla="*/ 947261 h 9896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23018" h="989647">
                        <a:moveTo>
                          <a:pt x="0" y="947261"/>
                        </a:moveTo>
                        <a:lnTo>
                          <a:pt x="307467" y="989648"/>
                        </a:lnTo>
                        <a:lnTo>
                          <a:pt x="523018" y="167259"/>
                        </a:lnTo>
                        <a:lnTo>
                          <a:pt x="259747" y="0"/>
                        </a:lnTo>
                        <a:cubicBezTo>
                          <a:pt x="171069" y="80486"/>
                          <a:pt x="0" y="947261"/>
                          <a:pt x="0" y="94726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1" name="Freihandform: Form 80">
                    <a:extLst>
                      <a:ext uri="{FF2B5EF4-FFF2-40B4-BE49-F238E27FC236}">
                        <a16:creationId xmlns:a16="http://schemas.microsoft.com/office/drawing/2014/main" id="{E199C73E-E592-AFE2-63C2-30F5BE004913}"/>
                      </a:ext>
                    </a:extLst>
                  </p:cNvPr>
                  <p:cNvSpPr/>
                  <p:nvPr/>
                </p:nvSpPr>
                <p:spPr>
                  <a:xfrm>
                    <a:off x="8398128" y="2625471"/>
                    <a:ext cx="310133" cy="310134"/>
                  </a:xfrm>
                  <a:custGeom>
                    <a:avLst/>
                    <a:gdLst>
                      <a:gd name="connsiteX0" fmla="*/ 310134 w 310133"/>
                      <a:gd name="connsiteY0" fmla="*/ 155067 h 310134"/>
                      <a:gd name="connsiteX1" fmla="*/ 155067 w 310133"/>
                      <a:gd name="connsiteY1" fmla="*/ 310134 h 310134"/>
                      <a:gd name="connsiteX2" fmla="*/ -1 w 310133"/>
                      <a:gd name="connsiteY2" fmla="*/ 155067 h 310134"/>
                      <a:gd name="connsiteX3" fmla="*/ 155067 w 310133"/>
                      <a:gd name="connsiteY3" fmla="*/ 0 h 310134"/>
                      <a:gd name="connsiteX4" fmla="*/ 310134 w 310133"/>
                      <a:gd name="connsiteY4" fmla="*/ 155067 h 3101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0133" h="310134">
                        <a:moveTo>
                          <a:pt x="310134" y="155067"/>
                        </a:moveTo>
                        <a:cubicBezTo>
                          <a:pt x="310134" y="240708"/>
                          <a:pt x="240708" y="310134"/>
                          <a:pt x="155067" y="310134"/>
                        </a:cubicBezTo>
                        <a:cubicBezTo>
                          <a:pt x="69425" y="310134"/>
                          <a:pt x="-1" y="240708"/>
                          <a:pt x="-1" y="155067"/>
                        </a:cubicBezTo>
                        <a:cubicBezTo>
                          <a:pt x="-1" y="69426"/>
                          <a:pt x="69425" y="0"/>
                          <a:pt x="155067" y="0"/>
                        </a:cubicBezTo>
                        <a:cubicBezTo>
                          <a:pt x="240708" y="0"/>
                          <a:pt x="310134" y="69426"/>
                          <a:pt x="310134" y="15506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2" name="Freihandform: Form 81">
                    <a:extLst>
                      <a:ext uri="{FF2B5EF4-FFF2-40B4-BE49-F238E27FC236}">
                        <a16:creationId xmlns:a16="http://schemas.microsoft.com/office/drawing/2014/main" id="{7305E45E-18A7-42C2-7E7B-48326B7D94DE}"/>
                      </a:ext>
                    </a:extLst>
                  </p:cNvPr>
                  <p:cNvSpPr/>
                  <p:nvPr/>
                </p:nvSpPr>
                <p:spPr>
                  <a:xfrm>
                    <a:off x="8616251" y="1610010"/>
                    <a:ext cx="575214" cy="3144202"/>
                  </a:xfrm>
                  <a:custGeom>
                    <a:avLst/>
                    <a:gdLst>
                      <a:gd name="connsiteX0" fmla="*/ 197358 w 575214"/>
                      <a:gd name="connsiteY0" fmla="*/ 1136999 h 3144202"/>
                      <a:gd name="connsiteX1" fmla="*/ 0 w 575214"/>
                      <a:gd name="connsiteY1" fmla="*/ 3144203 h 3144202"/>
                      <a:gd name="connsiteX2" fmla="*/ 527590 w 575214"/>
                      <a:gd name="connsiteY2" fmla="*/ 3144203 h 3144202"/>
                      <a:gd name="connsiteX3" fmla="*/ 575215 w 575214"/>
                      <a:gd name="connsiteY3" fmla="*/ 576167 h 3144202"/>
                      <a:gd name="connsiteX4" fmla="*/ 467868 w 575214"/>
                      <a:gd name="connsiteY4" fmla="*/ 0 h 3144202"/>
                      <a:gd name="connsiteX5" fmla="*/ 28194 w 575214"/>
                      <a:gd name="connsiteY5" fmla="*/ 225647 h 3144202"/>
                      <a:gd name="connsiteX6" fmla="*/ 216312 w 575214"/>
                      <a:gd name="connsiteY6" fmla="*/ 604838 h 3144202"/>
                      <a:gd name="connsiteX7" fmla="*/ 197453 w 575214"/>
                      <a:gd name="connsiteY7" fmla="*/ 1137095 h 31442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75214" h="3144202">
                        <a:moveTo>
                          <a:pt x="197358" y="1136999"/>
                        </a:moveTo>
                        <a:cubicBezTo>
                          <a:pt x="-28861" y="1726597"/>
                          <a:pt x="51340" y="2820543"/>
                          <a:pt x="0" y="3144203"/>
                        </a:cubicBezTo>
                        <a:lnTo>
                          <a:pt x="527590" y="3144203"/>
                        </a:lnTo>
                        <a:lnTo>
                          <a:pt x="575215" y="576167"/>
                        </a:lnTo>
                        <a:lnTo>
                          <a:pt x="467868" y="0"/>
                        </a:lnTo>
                        <a:cubicBezTo>
                          <a:pt x="302037" y="67151"/>
                          <a:pt x="69437" y="144590"/>
                          <a:pt x="28194" y="225647"/>
                        </a:cubicBezTo>
                        <a:cubicBezTo>
                          <a:pt x="120682" y="378047"/>
                          <a:pt x="216312" y="604838"/>
                          <a:pt x="216312" y="604838"/>
                        </a:cubicBezTo>
                        <a:cubicBezTo>
                          <a:pt x="216312" y="604838"/>
                          <a:pt x="200406" y="745903"/>
                          <a:pt x="197453" y="113709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3" name="Freihandform: Form 82">
                    <a:extLst>
                      <a:ext uri="{FF2B5EF4-FFF2-40B4-BE49-F238E27FC236}">
                        <a16:creationId xmlns:a16="http://schemas.microsoft.com/office/drawing/2014/main" id="{FA73E432-3626-EB46-B4C0-3C775ECA0C7D}"/>
                      </a:ext>
                    </a:extLst>
                  </p:cNvPr>
                  <p:cNvSpPr/>
                  <p:nvPr/>
                </p:nvSpPr>
                <p:spPr>
                  <a:xfrm>
                    <a:off x="8923527" y="1659159"/>
                    <a:ext cx="199834" cy="706945"/>
                  </a:xfrm>
                  <a:custGeom>
                    <a:avLst/>
                    <a:gdLst>
                      <a:gd name="connsiteX0" fmla="*/ 35528 w 199834"/>
                      <a:gd name="connsiteY0" fmla="*/ 0 h 706945"/>
                      <a:gd name="connsiteX1" fmla="*/ 0 w 199834"/>
                      <a:gd name="connsiteY1" fmla="*/ 13906 h 706945"/>
                      <a:gd name="connsiteX2" fmla="*/ 88106 w 199834"/>
                      <a:gd name="connsiteY2" fmla="*/ 352234 h 706945"/>
                      <a:gd name="connsiteX3" fmla="*/ 199834 w 199834"/>
                      <a:gd name="connsiteY3" fmla="*/ 706946 h 706945"/>
                      <a:gd name="connsiteX4" fmla="*/ 123539 w 199834"/>
                      <a:gd name="connsiteY4" fmla="*/ 352234 h 706945"/>
                      <a:gd name="connsiteX5" fmla="*/ 35623 w 199834"/>
                      <a:gd name="connsiteY5" fmla="*/ 0 h 7069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99834" h="706945">
                        <a:moveTo>
                          <a:pt x="35528" y="0"/>
                        </a:moveTo>
                        <a:lnTo>
                          <a:pt x="0" y="13906"/>
                        </a:lnTo>
                        <a:cubicBezTo>
                          <a:pt x="0" y="13906"/>
                          <a:pt x="76009" y="206692"/>
                          <a:pt x="88106" y="352234"/>
                        </a:cubicBezTo>
                        <a:cubicBezTo>
                          <a:pt x="100108" y="497776"/>
                          <a:pt x="199834" y="706946"/>
                          <a:pt x="199834" y="706946"/>
                        </a:cubicBezTo>
                        <a:cubicBezTo>
                          <a:pt x="199834" y="706946"/>
                          <a:pt x="128968" y="398050"/>
                          <a:pt x="123539" y="352234"/>
                        </a:cubicBezTo>
                        <a:cubicBezTo>
                          <a:pt x="118110" y="306419"/>
                          <a:pt x="35623" y="0"/>
                          <a:pt x="35623" y="0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4" name="Freihandform: Form 83">
                    <a:extLst>
                      <a:ext uri="{FF2B5EF4-FFF2-40B4-BE49-F238E27FC236}">
                        <a16:creationId xmlns:a16="http://schemas.microsoft.com/office/drawing/2014/main" id="{054EBD5D-1AD6-F502-375E-2BC7F6F1CFFC}"/>
                      </a:ext>
                    </a:extLst>
                  </p:cNvPr>
                  <p:cNvSpPr/>
                  <p:nvPr/>
                </p:nvSpPr>
                <p:spPr>
                  <a:xfrm>
                    <a:off x="8664457" y="2198655"/>
                    <a:ext cx="159748" cy="575881"/>
                  </a:xfrm>
                  <a:custGeom>
                    <a:avLst/>
                    <a:gdLst>
                      <a:gd name="connsiteX0" fmla="*/ 132483 w 159748"/>
                      <a:gd name="connsiteY0" fmla="*/ 0 h 575881"/>
                      <a:gd name="connsiteX1" fmla="*/ 6753 w 159748"/>
                      <a:gd name="connsiteY1" fmla="*/ 303467 h 575881"/>
                      <a:gd name="connsiteX2" fmla="*/ 50568 w 159748"/>
                      <a:gd name="connsiteY2" fmla="*/ 575881 h 575881"/>
                      <a:gd name="connsiteX3" fmla="*/ 50568 w 159748"/>
                      <a:gd name="connsiteY3" fmla="*/ 575881 h 575881"/>
                      <a:gd name="connsiteX4" fmla="*/ 157343 w 159748"/>
                      <a:gd name="connsiteY4" fmla="*/ 197834 h 575881"/>
                      <a:gd name="connsiteX5" fmla="*/ 132387 w 159748"/>
                      <a:gd name="connsiteY5" fmla="*/ 0 h 5758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59748" h="575881">
                        <a:moveTo>
                          <a:pt x="132483" y="0"/>
                        </a:moveTo>
                        <a:cubicBezTo>
                          <a:pt x="80191" y="30004"/>
                          <a:pt x="-28013" y="139351"/>
                          <a:pt x="6753" y="303467"/>
                        </a:cubicBezTo>
                        <a:cubicBezTo>
                          <a:pt x="41614" y="467582"/>
                          <a:pt x="50568" y="575881"/>
                          <a:pt x="50568" y="575881"/>
                        </a:cubicBezTo>
                        <a:lnTo>
                          <a:pt x="50568" y="575881"/>
                        </a:lnTo>
                        <a:lnTo>
                          <a:pt x="157343" y="197834"/>
                        </a:lnTo>
                        <a:cubicBezTo>
                          <a:pt x="160201" y="166592"/>
                          <a:pt x="166582" y="73057"/>
                          <a:pt x="132387" y="0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5" name="Freihandform: Form 84">
                    <a:extLst>
                      <a:ext uri="{FF2B5EF4-FFF2-40B4-BE49-F238E27FC236}">
                        <a16:creationId xmlns:a16="http://schemas.microsoft.com/office/drawing/2014/main" id="{C86B9CA5-5466-6D3D-6253-B42ACB4C338B}"/>
                      </a:ext>
                    </a:extLst>
                  </p:cNvPr>
                  <p:cNvSpPr/>
                  <p:nvPr/>
                </p:nvSpPr>
                <p:spPr>
                  <a:xfrm>
                    <a:off x="8695689" y="3364706"/>
                    <a:ext cx="330837" cy="409959"/>
                  </a:xfrm>
                  <a:custGeom>
                    <a:avLst/>
                    <a:gdLst>
                      <a:gd name="connsiteX0" fmla="*/ 49911 w 330837"/>
                      <a:gd name="connsiteY0" fmla="*/ 0 h 409959"/>
                      <a:gd name="connsiteX1" fmla="*/ 37338 w 330837"/>
                      <a:gd name="connsiteY1" fmla="*/ 351377 h 409959"/>
                      <a:gd name="connsiteX2" fmla="*/ 330804 w 330837"/>
                      <a:gd name="connsiteY2" fmla="*/ 359093 h 409959"/>
                      <a:gd name="connsiteX3" fmla="*/ 0 w 330837"/>
                      <a:gd name="connsiteY3" fmla="*/ 388715 h 409959"/>
                      <a:gd name="connsiteX4" fmla="*/ 25146 w 330837"/>
                      <a:gd name="connsiteY4" fmla="*/ 81724 h 409959"/>
                      <a:gd name="connsiteX5" fmla="*/ 49911 w 330837"/>
                      <a:gd name="connsiteY5" fmla="*/ 0 h 409959"/>
                      <a:gd name="connsiteX6" fmla="*/ 49911 w 330837"/>
                      <a:gd name="connsiteY6" fmla="*/ 0 h 4099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30837" h="409959">
                        <a:moveTo>
                          <a:pt x="49911" y="0"/>
                        </a:moveTo>
                        <a:cubicBezTo>
                          <a:pt x="49911" y="0"/>
                          <a:pt x="33909" y="310229"/>
                          <a:pt x="37338" y="351377"/>
                        </a:cubicBezTo>
                        <a:cubicBezTo>
                          <a:pt x="43149" y="368713"/>
                          <a:pt x="307372" y="358616"/>
                          <a:pt x="330804" y="359093"/>
                        </a:cubicBezTo>
                        <a:cubicBezTo>
                          <a:pt x="334709" y="393859"/>
                          <a:pt x="0" y="436340"/>
                          <a:pt x="0" y="388715"/>
                        </a:cubicBezTo>
                        <a:cubicBezTo>
                          <a:pt x="0" y="341090"/>
                          <a:pt x="20193" y="122015"/>
                          <a:pt x="25146" y="81724"/>
                        </a:cubicBezTo>
                        <a:cubicBezTo>
                          <a:pt x="31909" y="25813"/>
                          <a:pt x="32861" y="8572"/>
                          <a:pt x="49911" y="0"/>
                        </a:cubicBezTo>
                        <a:lnTo>
                          <a:pt x="49911" y="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6" name="Freihandform: Form 85">
                    <a:extLst>
                      <a:ext uri="{FF2B5EF4-FFF2-40B4-BE49-F238E27FC236}">
                        <a16:creationId xmlns:a16="http://schemas.microsoft.com/office/drawing/2014/main" id="{2A09F8D6-B1AA-B232-9375-ADF179D0391C}"/>
                      </a:ext>
                    </a:extLst>
                  </p:cNvPr>
                  <p:cNvSpPr/>
                  <p:nvPr/>
                </p:nvSpPr>
                <p:spPr>
                  <a:xfrm>
                    <a:off x="9393395" y="1633156"/>
                    <a:ext cx="575977" cy="3121056"/>
                  </a:xfrm>
                  <a:custGeom>
                    <a:avLst/>
                    <a:gdLst>
                      <a:gd name="connsiteX0" fmla="*/ 575977 w 575977"/>
                      <a:gd name="connsiteY0" fmla="*/ 3121057 h 3121056"/>
                      <a:gd name="connsiteX1" fmla="*/ 377857 w 575977"/>
                      <a:gd name="connsiteY1" fmla="*/ 1113854 h 3121056"/>
                      <a:gd name="connsiteX2" fmla="*/ 358997 w 575977"/>
                      <a:gd name="connsiteY2" fmla="*/ 581597 h 3121056"/>
                      <a:gd name="connsiteX3" fmla="*/ 540925 w 575977"/>
                      <a:gd name="connsiteY3" fmla="*/ 220123 h 3121056"/>
                      <a:gd name="connsiteX4" fmla="*/ 102680 w 575977"/>
                      <a:gd name="connsiteY4" fmla="*/ 0 h 3121056"/>
                      <a:gd name="connsiteX5" fmla="*/ 0 w 575977"/>
                      <a:gd name="connsiteY5" fmla="*/ 552926 h 3121056"/>
                      <a:gd name="connsiteX6" fmla="*/ 47816 w 575977"/>
                      <a:gd name="connsiteY6" fmla="*/ 3120962 h 3121056"/>
                      <a:gd name="connsiteX7" fmla="*/ 575977 w 575977"/>
                      <a:gd name="connsiteY7" fmla="*/ 3120962 h 31210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75977" h="3121056">
                        <a:moveTo>
                          <a:pt x="575977" y="3121057"/>
                        </a:moveTo>
                        <a:cubicBezTo>
                          <a:pt x="522923" y="2803493"/>
                          <a:pt x="605219" y="1706594"/>
                          <a:pt x="377857" y="1113854"/>
                        </a:cubicBezTo>
                        <a:cubicBezTo>
                          <a:pt x="374904" y="722757"/>
                          <a:pt x="358997" y="581597"/>
                          <a:pt x="358997" y="581597"/>
                        </a:cubicBezTo>
                        <a:cubicBezTo>
                          <a:pt x="358997" y="581597"/>
                          <a:pt x="448437" y="372523"/>
                          <a:pt x="540925" y="220123"/>
                        </a:cubicBezTo>
                        <a:cubicBezTo>
                          <a:pt x="496729" y="112681"/>
                          <a:pt x="254889" y="58102"/>
                          <a:pt x="102680" y="0"/>
                        </a:cubicBezTo>
                        <a:lnTo>
                          <a:pt x="0" y="552926"/>
                        </a:lnTo>
                        <a:lnTo>
                          <a:pt x="47816" y="3120962"/>
                        </a:lnTo>
                        <a:lnTo>
                          <a:pt x="575977" y="312096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7" name="Freihandform: Form 86">
                    <a:extLst>
                      <a:ext uri="{FF2B5EF4-FFF2-40B4-BE49-F238E27FC236}">
                        <a16:creationId xmlns:a16="http://schemas.microsoft.com/office/drawing/2014/main" id="{BB241EC8-1EAE-0D6B-18D4-80EEE59F5CBA}"/>
                      </a:ext>
                    </a:extLst>
                  </p:cNvPr>
                  <p:cNvSpPr/>
                  <p:nvPr/>
                </p:nvSpPr>
                <p:spPr>
                  <a:xfrm>
                    <a:off x="9346962" y="1469469"/>
                    <a:ext cx="321998" cy="541925"/>
                  </a:xfrm>
                  <a:custGeom>
                    <a:avLst/>
                    <a:gdLst>
                      <a:gd name="connsiteX0" fmla="*/ 108251 w 321998"/>
                      <a:gd name="connsiteY0" fmla="*/ 79486 h 541925"/>
                      <a:gd name="connsiteX1" fmla="*/ 300084 w 321998"/>
                      <a:gd name="connsiteY1" fmla="*/ 216265 h 541925"/>
                      <a:gd name="connsiteX2" fmla="*/ 180641 w 321998"/>
                      <a:gd name="connsiteY2" fmla="*/ 354378 h 541925"/>
                      <a:gd name="connsiteX3" fmla="*/ 149113 w 321998"/>
                      <a:gd name="connsiteY3" fmla="*/ 541925 h 541925"/>
                      <a:gd name="connsiteX4" fmla="*/ 35289 w 321998"/>
                      <a:gd name="connsiteY4" fmla="*/ 264176 h 541925"/>
                      <a:gd name="connsiteX5" fmla="*/ 108251 w 321998"/>
                      <a:gd name="connsiteY5" fmla="*/ 79486 h 5419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21998" h="541925">
                        <a:moveTo>
                          <a:pt x="108251" y="79486"/>
                        </a:moveTo>
                        <a:cubicBezTo>
                          <a:pt x="82534" y="-113585"/>
                          <a:pt x="407717" y="89964"/>
                          <a:pt x="300084" y="216265"/>
                        </a:cubicBezTo>
                        <a:cubicBezTo>
                          <a:pt x="300084" y="216265"/>
                          <a:pt x="221217" y="286750"/>
                          <a:pt x="180641" y="354378"/>
                        </a:cubicBezTo>
                        <a:cubicBezTo>
                          <a:pt x="140064" y="422005"/>
                          <a:pt x="146256" y="484870"/>
                          <a:pt x="149113" y="541925"/>
                        </a:cubicBezTo>
                        <a:cubicBezTo>
                          <a:pt x="-20336" y="527161"/>
                          <a:pt x="-25194" y="321612"/>
                          <a:pt x="35289" y="264176"/>
                        </a:cubicBezTo>
                        <a:cubicBezTo>
                          <a:pt x="133968" y="170450"/>
                          <a:pt x="123015" y="126635"/>
                          <a:pt x="108251" y="7948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8" name="Freihandform: Form 87">
                    <a:extLst>
                      <a:ext uri="{FF2B5EF4-FFF2-40B4-BE49-F238E27FC236}">
                        <a16:creationId xmlns:a16="http://schemas.microsoft.com/office/drawing/2014/main" id="{D66003DA-622D-D4B3-8D25-E87873BDCD46}"/>
                      </a:ext>
                    </a:extLst>
                  </p:cNvPr>
                  <p:cNvSpPr/>
                  <p:nvPr/>
                </p:nvSpPr>
                <p:spPr>
                  <a:xfrm>
                    <a:off x="8386350" y="2763488"/>
                    <a:ext cx="319816" cy="722471"/>
                  </a:xfrm>
                  <a:custGeom>
                    <a:avLst/>
                    <a:gdLst>
                      <a:gd name="connsiteX0" fmla="*/ 11778 w 319816"/>
                      <a:gd name="connsiteY0" fmla="*/ 722471 h 722471"/>
                      <a:gd name="connsiteX1" fmla="*/ 243998 w 319816"/>
                      <a:gd name="connsiteY1" fmla="*/ 722471 h 722471"/>
                      <a:gd name="connsiteX2" fmla="*/ 319817 w 319816"/>
                      <a:gd name="connsiteY2" fmla="*/ 42386 h 722471"/>
                      <a:gd name="connsiteX3" fmla="*/ 12350 w 319816"/>
                      <a:gd name="connsiteY3" fmla="*/ 0 h 722471"/>
                      <a:gd name="connsiteX4" fmla="*/ 11683 w 319816"/>
                      <a:gd name="connsiteY4" fmla="*/ 722471 h 7224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9816" h="722471">
                        <a:moveTo>
                          <a:pt x="11778" y="722471"/>
                        </a:moveTo>
                        <a:lnTo>
                          <a:pt x="243998" y="722471"/>
                        </a:lnTo>
                        <a:cubicBezTo>
                          <a:pt x="243998" y="722471"/>
                          <a:pt x="304100" y="215360"/>
                          <a:pt x="319817" y="42386"/>
                        </a:cubicBezTo>
                        <a:lnTo>
                          <a:pt x="12350" y="0"/>
                        </a:lnTo>
                        <a:cubicBezTo>
                          <a:pt x="12350" y="339566"/>
                          <a:pt x="-14987" y="531781"/>
                          <a:pt x="11683" y="72247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89" name="Grafik 23">
                  <a:extLst>
                    <a:ext uri="{FF2B5EF4-FFF2-40B4-BE49-F238E27FC236}">
                      <a16:creationId xmlns:a16="http://schemas.microsoft.com/office/drawing/2014/main" id="{539E2105-853C-28FA-6B78-C40458F2FB7D}"/>
                    </a:ext>
                  </a:extLst>
                </p:cNvPr>
                <p:cNvGrpSpPr/>
                <p:nvPr/>
              </p:nvGrpSpPr>
              <p:grpSpPr>
                <a:xfrm>
                  <a:off x="9633235" y="8339391"/>
                  <a:ext cx="650747" cy="968216"/>
                  <a:chOff x="9633235" y="1760791"/>
                  <a:chExt cx="650747" cy="968216"/>
                </a:xfrm>
                <a:solidFill>
                  <a:srgbClr val="FFFFFF"/>
                </a:solidFill>
              </p:grpSpPr>
              <p:sp>
                <p:nvSpPr>
                  <p:cNvPr id="90" name="Freihandform: Form 89">
                    <a:extLst>
                      <a:ext uri="{FF2B5EF4-FFF2-40B4-BE49-F238E27FC236}">
                        <a16:creationId xmlns:a16="http://schemas.microsoft.com/office/drawing/2014/main" id="{1576543B-8C5E-87BE-1843-E27A2DD868F9}"/>
                      </a:ext>
                    </a:extLst>
                  </p:cNvPr>
                  <p:cNvSpPr/>
                  <p:nvPr/>
                </p:nvSpPr>
                <p:spPr>
                  <a:xfrm>
                    <a:off x="9633235" y="1760791"/>
                    <a:ext cx="314705" cy="314706"/>
                  </a:xfrm>
                  <a:custGeom>
                    <a:avLst/>
                    <a:gdLst>
                      <a:gd name="connsiteX0" fmla="*/ 314706 w 314705"/>
                      <a:gd name="connsiteY0" fmla="*/ 157353 h 314706"/>
                      <a:gd name="connsiteX1" fmla="*/ 157353 w 314705"/>
                      <a:gd name="connsiteY1" fmla="*/ 314706 h 314706"/>
                      <a:gd name="connsiteX2" fmla="*/ 0 w 314705"/>
                      <a:gd name="connsiteY2" fmla="*/ 157353 h 314706"/>
                      <a:gd name="connsiteX3" fmla="*/ 157353 w 314705"/>
                      <a:gd name="connsiteY3" fmla="*/ 0 h 314706"/>
                      <a:gd name="connsiteX4" fmla="*/ 314706 w 314705"/>
                      <a:gd name="connsiteY4" fmla="*/ 157353 h 3147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4705" h="314706">
                        <a:moveTo>
                          <a:pt x="314706" y="157353"/>
                        </a:moveTo>
                        <a:cubicBezTo>
                          <a:pt x="314706" y="244257"/>
                          <a:pt x="244257" y="314706"/>
                          <a:pt x="157353" y="314706"/>
                        </a:cubicBezTo>
                        <a:cubicBezTo>
                          <a:pt x="70449" y="314706"/>
                          <a:pt x="0" y="244257"/>
                          <a:pt x="0" y="157353"/>
                        </a:cubicBezTo>
                        <a:cubicBezTo>
                          <a:pt x="0" y="70449"/>
                          <a:pt x="70449" y="0"/>
                          <a:pt x="157353" y="0"/>
                        </a:cubicBezTo>
                        <a:cubicBezTo>
                          <a:pt x="244256" y="0"/>
                          <a:pt x="314706" y="70449"/>
                          <a:pt x="314706" y="15735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1" name="Freihandform: Form 90">
                    <a:extLst>
                      <a:ext uri="{FF2B5EF4-FFF2-40B4-BE49-F238E27FC236}">
                        <a16:creationId xmlns:a16="http://schemas.microsoft.com/office/drawing/2014/main" id="{E60EE7DD-B747-2127-D9AE-2E1B10E85BB2}"/>
                      </a:ext>
                    </a:extLst>
                  </p:cNvPr>
                  <p:cNvSpPr/>
                  <p:nvPr/>
                </p:nvSpPr>
                <p:spPr>
                  <a:xfrm>
                    <a:off x="9658000" y="1838991"/>
                    <a:ext cx="625982" cy="890015"/>
                  </a:xfrm>
                  <a:custGeom>
                    <a:avLst/>
                    <a:gdLst>
                      <a:gd name="connsiteX0" fmla="*/ 625888 w 625982"/>
                      <a:gd name="connsiteY0" fmla="*/ 774287 h 890015"/>
                      <a:gd name="connsiteX1" fmla="*/ 334518 w 625982"/>
                      <a:gd name="connsiteY1" fmla="*/ 890016 h 890015"/>
                      <a:gd name="connsiteX2" fmla="*/ 135064 w 625982"/>
                      <a:gd name="connsiteY2" fmla="*/ 426720 h 890015"/>
                      <a:gd name="connsiteX3" fmla="*/ 0 w 625982"/>
                      <a:gd name="connsiteY3" fmla="*/ 163163 h 890015"/>
                      <a:gd name="connsiteX4" fmla="*/ 268986 w 625982"/>
                      <a:gd name="connsiteY4" fmla="*/ 0 h 890015"/>
                      <a:gd name="connsiteX5" fmla="*/ 430339 w 625982"/>
                      <a:gd name="connsiteY5" fmla="*/ 315373 h 890015"/>
                      <a:gd name="connsiteX6" fmla="*/ 625983 w 625982"/>
                      <a:gd name="connsiteY6" fmla="*/ 774287 h 8900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25982" h="890015">
                        <a:moveTo>
                          <a:pt x="625888" y="774287"/>
                        </a:moveTo>
                        <a:lnTo>
                          <a:pt x="334518" y="890016"/>
                        </a:lnTo>
                        <a:lnTo>
                          <a:pt x="135064" y="426720"/>
                        </a:lnTo>
                        <a:lnTo>
                          <a:pt x="0" y="163163"/>
                        </a:lnTo>
                        <a:lnTo>
                          <a:pt x="268986" y="0"/>
                        </a:lnTo>
                        <a:cubicBezTo>
                          <a:pt x="311182" y="74009"/>
                          <a:pt x="367665" y="187928"/>
                          <a:pt x="430339" y="315373"/>
                        </a:cubicBezTo>
                        <a:cubicBezTo>
                          <a:pt x="529780" y="517589"/>
                          <a:pt x="625983" y="774287"/>
                          <a:pt x="625983" y="77428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2" name="Grafik 23">
                  <a:extLst>
                    <a:ext uri="{FF2B5EF4-FFF2-40B4-BE49-F238E27FC236}">
                      <a16:creationId xmlns:a16="http://schemas.microsoft.com/office/drawing/2014/main" id="{F4BA013B-E70D-FCA3-0C6F-E2645DF78B75}"/>
                    </a:ext>
                  </a:extLst>
                </p:cNvPr>
                <p:cNvGrpSpPr/>
                <p:nvPr/>
              </p:nvGrpSpPr>
              <p:grpSpPr>
                <a:xfrm>
                  <a:off x="9348914" y="8729059"/>
                  <a:ext cx="629316" cy="785241"/>
                  <a:chOff x="9348914" y="2150459"/>
                  <a:chExt cx="629316" cy="785241"/>
                </a:xfrm>
              </p:grpSpPr>
              <p:sp>
                <p:nvSpPr>
                  <p:cNvPr id="93" name="Freihandform: Form 92">
                    <a:extLst>
                      <a:ext uri="{FF2B5EF4-FFF2-40B4-BE49-F238E27FC236}">
                        <a16:creationId xmlns:a16="http://schemas.microsoft.com/office/drawing/2014/main" id="{3F42AF5B-560A-850A-4EFD-9046F48B79D6}"/>
                      </a:ext>
                    </a:extLst>
                  </p:cNvPr>
                  <p:cNvSpPr/>
                  <p:nvPr/>
                </p:nvSpPr>
                <p:spPr>
                  <a:xfrm>
                    <a:off x="9381870" y="2150459"/>
                    <a:ext cx="596360" cy="785241"/>
                  </a:xfrm>
                  <a:custGeom>
                    <a:avLst/>
                    <a:gdLst>
                      <a:gd name="connsiteX0" fmla="*/ 572548 w 596360"/>
                      <a:gd name="connsiteY0" fmla="*/ 0 h 785241"/>
                      <a:gd name="connsiteX1" fmla="*/ 596360 w 596360"/>
                      <a:gd name="connsiteY1" fmla="*/ 23813 h 785241"/>
                      <a:gd name="connsiteX2" fmla="*/ 596360 w 596360"/>
                      <a:gd name="connsiteY2" fmla="*/ 761429 h 785241"/>
                      <a:gd name="connsiteX3" fmla="*/ 572548 w 596360"/>
                      <a:gd name="connsiteY3" fmla="*/ 785241 h 785241"/>
                      <a:gd name="connsiteX4" fmla="*/ 23813 w 596360"/>
                      <a:gd name="connsiteY4" fmla="*/ 785241 h 785241"/>
                      <a:gd name="connsiteX5" fmla="*/ 0 w 596360"/>
                      <a:gd name="connsiteY5" fmla="*/ 761429 h 785241"/>
                      <a:gd name="connsiteX6" fmla="*/ 0 w 596360"/>
                      <a:gd name="connsiteY6" fmla="*/ 23813 h 785241"/>
                      <a:gd name="connsiteX7" fmla="*/ 23813 w 596360"/>
                      <a:gd name="connsiteY7" fmla="*/ 0 h 785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96360" h="785241">
                        <a:moveTo>
                          <a:pt x="572548" y="0"/>
                        </a:moveTo>
                        <a:cubicBezTo>
                          <a:pt x="585699" y="0"/>
                          <a:pt x="596360" y="10661"/>
                          <a:pt x="596360" y="23813"/>
                        </a:cubicBezTo>
                        <a:lnTo>
                          <a:pt x="596360" y="761429"/>
                        </a:lnTo>
                        <a:cubicBezTo>
                          <a:pt x="596360" y="774580"/>
                          <a:pt x="585699" y="785241"/>
                          <a:pt x="572548" y="785241"/>
                        </a:cubicBezTo>
                        <a:lnTo>
                          <a:pt x="23813" y="785241"/>
                        </a:lnTo>
                        <a:cubicBezTo>
                          <a:pt x="10661" y="785241"/>
                          <a:pt x="0" y="774580"/>
                          <a:pt x="0" y="761429"/>
                        </a:cubicBezTo>
                        <a:lnTo>
                          <a:pt x="0" y="23813"/>
                        </a:lnTo>
                        <a:cubicBezTo>
                          <a:pt x="0" y="10661"/>
                          <a:pt x="10661" y="0"/>
                          <a:pt x="23813" y="0"/>
                        </a:cubicBezTo>
                        <a:close/>
                      </a:path>
                    </a:pathLst>
                  </a:custGeom>
                  <a:solidFill>
                    <a:srgbClr val="EDEDE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4" name="Freihandform: Form 93">
                    <a:extLst>
                      <a:ext uri="{FF2B5EF4-FFF2-40B4-BE49-F238E27FC236}">
                        <a16:creationId xmlns:a16="http://schemas.microsoft.com/office/drawing/2014/main" id="{9105707A-EF1A-7890-78FA-997AFF493DEC}"/>
                      </a:ext>
                    </a:extLst>
                  </p:cNvPr>
                  <p:cNvSpPr/>
                  <p:nvPr/>
                </p:nvSpPr>
                <p:spPr>
                  <a:xfrm>
                    <a:off x="9348914" y="2150459"/>
                    <a:ext cx="596360" cy="785241"/>
                  </a:xfrm>
                  <a:custGeom>
                    <a:avLst/>
                    <a:gdLst>
                      <a:gd name="connsiteX0" fmla="*/ 0 w 596360"/>
                      <a:gd name="connsiteY0" fmla="*/ 0 h 785241"/>
                      <a:gd name="connsiteX1" fmla="*/ 596360 w 596360"/>
                      <a:gd name="connsiteY1" fmla="*/ 0 h 785241"/>
                      <a:gd name="connsiteX2" fmla="*/ 596360 w 596360"/>
                      <a:gd name="connsiteY2" fmla="*/ 785241 h 785241"/>
                      <a:gd name="connsiteX3" fmla="*/ 0 w 596360"/>
                      <a:gd name="connsiteY3" fmla="*/ 785241 h 785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96360" h="785241">
                        <a:moveTo>
                          <a:pt x="0" y="0"/>
                        </a:moveTo>
                        <a:lnTo>
                          <a:pt x="596360" y="0"/>
                        </a:lnTo>
                        <a:lnTo>
                          <a:pt x="596360" y="785241"/>
                        </a:lnTo>
                        <a:lnTo>
                          <a:pt x="0" y="785241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5" name="Freihandform: Form 94">
                    <a:extLst>
                      <a:ext uri="{FF2B5EF4-FFF2-40B4-BE49-F238E27FC236}">
                        <a16:creationId xmlns:a16="http://schemas.microsoft.com/office/drawing/2014/main" id="{BD6D2B86-E5B5-E31A-360E-423CDAE0740B}"/>
                      </a:ext>
                    </a:extLst>
                  </p:cNvPr>
                  <p:cNvSpPr/>
                  <p:nvPr/>
                </p:nvSpPr>
                <p:spPr>
                  <a:xfrm>
                    <a:off x="9578942" y="2272093"/>
                    <a:ext cx="123253" cy="123253"/>
                  </a:xfrm>
                  <a:custGeom>
                    <a:avLst/>
                    <a:gdLst>
                      <a:gd name="connsiteX0" fmla="*/ 123254 w 123253"/>
                      <a:gd name="connsiteY0" fmla="*/ 61627 h 123253"/>
                      <a:gd name="connsiteX1" fmla="*/ 61627 w 123253"/>
                      <a:gd name="connsiteY1" fmla="*/ 123253 h 123253"/>
                      <a:gd name="connsiteX2" fmla="*/ 1 w 123253"/>
                      <a:gd name="connsiteY2" fmla="*/ 61627 h 123253"/>
                      <a:gd name="connsiteX3" fmla="*/ 61627 w 123253"/>
                      <a:gd name="connsiteY3" fmla="*/ 0 h 123253"/>
                      <a:gd name="connsiteX4" fmla="*/ 123254 w 123253"/>
                      <a:gd name="connsiteY4" fmla="*/ 61627 h 1232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3253" h="123253">
                        <a:moveTo>
                          <a:pt x="123254" y="61627"/>
                        </a:moveTo>
                        <a:cubicBezTo>
                          <a:pt x="123254" y="95662"/>
                          <a:pt x="95662" y="123253"/>
                          <a:pt x="61627" y="123253"/>
                        </a:cubicBezTo>
                        <a:cubicBezTo>
                          <a:pt x="27592" y="123253"/>
                          <a:pt x="1" y="95662"/>
                          <a:pt x="1" y="61627"/>
                        </a:cubicBezTo>
                        <a:cubicBezTo>
                          <a:pt x="1" y="27591"/>
                          <a:pt x="27592" y="0"/>
                          <a:pt x="61627" y="0"/>
                        </a:cubicBezTo>
                        <a:cubicBezTo>
                          <a:pt x="95663" y="0"/>
                          <a:pt x="123254" y="27591"/>
                          <a:pt x="123254" y="61627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6" name="Freihandform: Form 95">
                    <a:extLst>
                      <a:ext uri="{FF2B5EF4-FFF2-40B4-BE49-F238E27FC236}">
                        <a16:creationId xmlns:a16="http://schemas.microsoft.com/office/drawing/2014/main" id="{F55B17AE-DC0D-9649-062E-B56D16FFEB45}"/>
                      </a:ext>
                    </a:extLst>
                  </p:cNvPr>
                  <p:cNvSpPr/>
                  <p:nvPr/>
                </p:nvSpPr>
                <p:spPr>
                  <a:xfrm>
                    <a:off x="9852024" y="2186178"/>
                    <a:ext cx="24955" cy="24955"/>
                  </a:xfrm>
                  <a:custGeom>
                    <a:avLst/>
                    <a:gdLst>
                      <a:gd name="connsiteX0" fmla="*/ 24955 w 24955"/>
                      <a:gd name="connsiteY0" fmla="*/ 12478 h 24955"/>
                      <a:gd name="connsiteX1" fmla="*/ 12478 w 24955"/>
                      <a:gd name="connsiteY1" fmla="*/ 24955 h 24955"/>
                      <a:gd name="connsiteX2" fmla="*/ 0 w 24955"/>
                      <a:gd name="connsiteY2" fmla="*/ 12478 h 24955"/>
                      <a:gd name="connsiteX3" fmla="*/ 12478 w 24955"/>
                      <a:gd name="connsiteY3" fmla="*/ 0 h 24955"/>
                      <a:gd name="connsiteX4" fmla="*/ 24955 w 24955"/>
                      <a:gd name="connsiteY4" fmla="*/ 12478 h 249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955" h="24955">
                        <a:moveTo>
                          <a:pt x="24955" y="12478"/>
                        </a:moveTo>
                        <a:cubicBezTo>
                          <a:pt x="24955" y="19369"/>
                          <a:pt x="19369" y="24955"/>
                          <a:pt x="12478" y="24955"/>
                        </a:cubicBezTo>
                        <a:cubicBezTo>
                          <a:pt x="5586" y="24955"/>
                          <a:pt x="0" y="19369"/>
                          <a:pt x="0" y="12478"/>
                        </a:cubicBezTo>
                        <a:cubicBezTo>
                          <a:pt x="0" y="5586"/>
                          <a:pt x="5586" y="0"/>
                          <a:pt x="12478" y="0"/>
                        </a:cubicBezTo>
                        <a:cubicBezTo>
                          <a:pt x="19369" y="0"/>
                          <a:pt x="24955" y="5586"/>
                          <a:pt x="24955" y="12478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7" name="Grafik 23">
                  <a:extLst>
                    <a:ext uri="{FF2B5EF4-FFF2-40B4-BE49-F238E27FC236}">
                      <a16:creationId xmlns:a16="http://schemas.microsoft.com/office/drawing/2014/main" id="{7CDB460A-7057-9236-3590-98675600B16B}"/>
                    </a:ext>
                  </a:extLst>
                </p:cNvPr>
                <p:cNvGrpSpPr/>
                <p:nvPr/>
              </p:nvGrpSpPr>
              <p:grpSpPr>
                <a:xfrm>
                  <a:off x="9261970" y="8864885"/>
                  <a:ext cx="346213" cy="324535"/>
                  <a:chOff x="9261970" y="2286285"/>
                  <a:chExt cx="346213" cy="324535"/>
                </a:xfrm>
                <a:solidFill>
                  <a:srgbClr val="8A5942"/>
                </a:solidFill>
              </p:grpSpPr>
              <p:sp>
                <p:nvSpPr>
                  <p:cNvPr id="98" name="Freihandform: Form 97">
                    <a:extLst>
                      <a:ext uri="{FF2B5EF4-FFF2-40B4-BE49-F238E27FC236}">
                        <a16:creationId xmlns:a16="http://schemas.microsoft.com/office/drawing/2014/main" id="{6D34E14A-D7E3-69D5-62C2-0FBB34FD55CB}"/>
                      </a:ext>
                    </a:extLst>
                  </p:cNvPr>
                  <p:cNvSpPr/>
                  <p:nvPr/>
                </p:nvSpPr>
                <p:spPr>
                  <a:xfrm>
                    <a:off x="9472929" y="2452497"/>
                    <a:ext cx="135255" cy="135254"/>
                  </a:xfrm>
                  <a:custGeom>
                    <a:avLst/>
                    <a:gdLst>
                      <a:gd name="connsiteX0" fmla="*/ 135255 w 135255"/>
                      <a:gd name="connsiteY0" fmla="*/ 67628 h 135254"/>
                      <a:gd name="connsiteX1" fmla="*/ 67628 w 135255"/>
                      <a:gd name="connsiteY1" fmla="*/ 135255 h 135254"/>
                      <a:gd name="connsiteX2" fmla="*/ 1 w 135255"/>
                      <a:gd name="connsiteY2" fmla="*/ 67628 h 135254"/>
                      <a:gd name="connsiteX3" fmla="*/ 67628 w 135255"/>
                      <a:gd name="connsiteY3" fmla="*/ 0 h 135254"/>
                      <a:gd name="connsiteX4" fmla="*/ 135255 w 135255"/>
                      <a:gd name="connsiteY4" fmla="*/ 67628 h 1352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5255" h="135254">
                        <a:moveTo>
                          <a:pt x="135255" y="67628"/>
                        </a:moveTo>
                        <a:cubicBezTo>
                          <a:pt x="135255" y="104977"/>
                          <a:pt x="104977" y="135255"/>
                          <a:pt x="67628" y="135255"/>
                        </a:cubicBezTo>
                        <a:cubicBezTo>
                          <a:pt x="30279" y="135255"/>
                          <a:pt x="1" y="104977"/>
                          <a:pt x="1" y="67628"/>
                        </a:cubicBezTo>
                        <a:cubicBezTo>
                          <a:pt x="1" y="30278"/>
                          <a:pt x="30279" y="0"/>
                          <a:pt x="67628" y="0"/>
                        </a:cubicBezTo>
                        <a:cubicBezTo>
                          <a:pt x="104977" y="0"/>
                          <a:pt x="135255" y="30278"/>
                          <a:pt x="135255" y="67628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9" name="Freihandform: Form 98">
                    <a:extLst>
                      <a:ext uri="{FF2B5EF4-FFF2-40B4-BE49-F238E27FC236}">
                        <a16:creationId xmlns:a16="http://schemas.microsoft.com/office/drawing/2014/main" id="{8E4C1F49-2DA0-1997-4518-4DA19B924C75}"/>
                      </a:ext>
                    </a:extLst>
                  </p:cNvPr>
                  <p:cNvSpPr/>
                  <p:nvPr/>
                </p:nvSpPr>
                <p:spPr>
                  <a:xfrm>
                    <a:off x="9261970" y="2286285"/>
                    <a:ext cx="308150" cy="265148"/>
                  </a:xfrm>
                  <a:custGeom>
                    <a:avLst/>
                    <a:gdLst>
                      <a:gd name="connsiteX0" fmla="*/ 167049 w 308150"/>
                      <a:gd name="connsiteY0" fmla="*/ 59246 h 265148"/>
                      <a:gd name="connsiteX1" fmla="*/ 245725 w 308150"/>
                      <a:gd name="connsiteY1" fmla="*/ 106299 h 265148"/>
                      <a:gd name="connsiteX2" fmla="*/ 306685 w 308150"/>
                      <a:gd name="connsiteY2" fmla="*/ 206788 h 265148"/>
                      <a:gd name="connsiteX3" fmla="*/ 197338 w 308150"/>
                      <a:gd name="connsiteY3" fmla="*/ 239173 h 265148"/>
                      <a:gd name="connsiteX4" fmla="*/ 131520 w 308150"/>
                      <a:gd name="connsiteY4" fmla="*/ 136588 h 265148"/>
                      <a:gd name="connsiteX5" fmla="*/ 67322 w 308150"/>
                      <a:gd name="connsiteY5" fmla="*/ 96012 h 265148"/>
                      <a:gd name="connsiteX6" fmla="*/ 67322 w 308150"/>
                      <a:gd name="connsiteY6" fmla="*/ 96012 h 265148"/>
                      <a:gd name="connsiteX7" fmla="*/ 22269 w 308150"/>
                      <a:gd name="connsiteY7" fmla="*/ 64579 h 265148"/>
                      <a:gd name="connsiteX8" fmla="*/ 5790 w 308150"/>
                      <a:gd name="connsiteY8" fmla="*/ 0 h 265148"/>
                      <a:gd name="connsiteX9" fmla="*/ 71036 w 308150"/>
                      <a:gd name="connsiteY9" fmla="*/ 37147 h 265148"/>
                      <a:gd name="connsiteX10" fmla="*/ 166000 w 308150"/>
                      <a:gd name="connsiteY10" fmla="*/ 58674 h 265148"/>
                      <a:gd name="connsiteX11" fmla="*/ 166572 w 308150"/>
                      <a:gd name="connsiteY11" fmla="*/ 59912 h 265148"/>
                      <a:gd name="connsiteX12" fmla="*/ 167049 w 308150"/>
                      <a:gd name="connsiteY12" fmla="*/ 59150 h 2651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308150" h="265148">
                        <a:moveTo>
                          <a:pt x="167049" y="59246"/>
                        </a:moveTo>
                        <a:cubicBezTo>
                          <a:pt x="167049" y="59246"/>
                          <a:pt x="224770" y="90297"/>
                          <a:pt x="245725" y="106299"/>
                        </a:cubicBezTo>
                        <a:cubicBezTo>
                          <a:pt x="245725" y="106299"/>
                          <a:pt x="319353" y="177927"/>
                          <a:pt x="306685" y="206788"/>
                        </a:cubicBezTo>
                        <a:cubicBezTo>
                          <a:pt x="283920" y="258699"/>
                          <a:pt x="207244" y="290322"/>
                          <a:pt x="197338" y="239173"/>
                        </a:cubicBezTo>
                        <a:cubicBezTo>
                          <a:pt x="186765" y="184975"/>
                          <a:pt x="139331" y="143256"/>
                          <a:pt x="131520" y="136588"/>
                        </a:cubicBezTo>
                        <a:lnTo>
                          <a:pt x="67322" y="96012"/>
                        </a:lnTo>
                        <a:cubicBezTo>
                          <a:pt x="67322" y="96012"/>
                          <a:pt x="67322" y="96012"/>
                          <a:pt x="67322" y="96012"/>
                        </a:cubicBezTo>
                        <a:cubicBezTo>
                          <a:pt x="53606" y="87154"/>
                          <a:pt x="37508" y="76009"/>
                          <a:pt x="22269" y="64579"/>
                        </a:cubicBezTo>
                        <a:cubicBezTo>
                          <a:pt x="1599" y="48958"/>
                          <a:pt x="-6497" y="32957"/>
                          <a:pt x="5790" y="0"/>
                        </a:cubicBezTo>
                        <a:lnTo>
                          <a:pt x="71036" y="37147"/>
                        </a:lnTo>
                        <a:cubicBezTo>
                          <a:pt x="71036" y="37147"/>
                          <a:pt x="167049" y="59150"/>
                          <a:pt x="166000" y="58674"/>
                        </a:cubicBezTo>
                        <a:cubicBezTo>
                          <a:pt x="166286" y="59055"/>
                          <a:pt x="166382" y="59531"/>
                          <a:pt x="166572" y="59912"/>
                        </a:cubicBezTo>
                        <a:cubicBezTo>
                          <a:pt x="166763" y="59626"/>
                          <a:pt x="166858" y="59436"/>
                          <a:pt x="167049" y="59150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0" name="Freihandform: Form 99">
                    <a:extLst>
                      <a:ext uri="{FF2B5EF4-FFF2-40B4-BE49-F238E27FC236}">
                        <a16:creationId xmlns:a16="http://schemas.microsoft.com/office/drawing/2014/main" id="{734E7DAD-2CB1-AB55-9F42-70E24B1557E1}"/>
                      </a:ext>
                    </a:extLst>
                  </p:cNvPr>
                  <p:cNvSpPr/>
                  <p:nvPr/>
                </p:nvSpPr>
                <p:spPr>
                  <a:xfrm>
                    <a:off x="9265221" y="2389083"/>
                    <a:ext cx="295814" cy="221737"/>
                  </a:xfrm>
                  <a:custGeom>
                    <a:avLst/>
                    <a:gdLst>
                      <a:gd name="connsiteX0" fmla="*/ 209422 w 295814"/>
                      <a:gd name="connsiteY0" fmla="*/ 11026 h 221737"/>
                      <a:gd name="connsiteX1" fmla="*/ 68357 w 295814"/>
                      <a:gd name="connsiteY1" fmla="*/ 15598 h 221737"/>
                      <a:gd name="connsiteX2" fmla="*/ 6158 w 295814"/>
                      <a:gd name="connsiteY2" fmla="*/ 29790 h 221737"/>
                      <a:gd name="connsiteX3" fmla="*/ 63785 w 295814"/>
                      <a:gd name="connsiteY3" fmla="*/ 220290 h 221737"/>
                      <a:gd name="connsiteX4" fmla="*/ 268382 w 295814"/>
                      <a:gd name="connsiteY4" fmla="*/ 198573 h 221737"/>
                      <a:gd name="connsiteX5" fmla="*/ 295814 w 295814"/>
                      <a:gd name="connsiteY5" fmla="*/ 73034 h 221737"/>
                      <a:gd name="connsiteX6" fmla="*/ 209422 w 295814"/>
                      <a:gd name="connsiteY6" fmla="*/ 11026 h 2217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95814" h="221737">
                        <a:moveTo>
                          <a:pt x="209422" y="11026"/>
                        </a:moveTo>
                        <a:cubicBezTo>
                          <a:pt x="153224" y="-16216"/>
                          <a:pt x="68357" y="15598"/>
                          <a:pt x="68357" y="15598"/>
                        </a:cubicBezTo>
                        <a:lnTo>
                          <a:pt x="6158" y="29790"/>
                        </a:lnTo>
                        <a:cubicBezTo>
                          <a:pt x="-10986" y="83416"/>
                          <a:pt x="7492" y="164188"/>
                          <a:pt x="63785" y="220290"/>
                        </a:cubicBezTo>
                        <a:cubicBezTo>
                          <a:pt x="156559" y="228577"/>
                          <a:pt x="268382" y="198573"/>
                          <a:pt x="268382" y="198573"/>
                        </a:cubicBezTo>
                        <a:lnTo>
                          <a:pt x="295814" y="73034"/>
                        </a:lnTo>
                        <a:cubicBezTo>
                          <a:pt x="295814" y="73034"/>
                          <a:pt x="265620" y="38172"/>
                          <a:pt x="209422" y="1102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101" name="Freihandform: Form 100">
                  <a:extLst>
                    <a:ext uri="{FF2B5EF4-FFF2-40B4-BE49-F238E27FC236}">
                      <a16:creationId xmlns:a16="http://schemas.microsoft.com/office/drawing/2014/main" id="{57AC9EB3-1156-FFB5-E043-9B6B024936DE}"/>
                    </a:ext>
                  </a:extLst>
                </p:cNvPr>
                <p:cNvSpPr/>
                <p:nvPr/>
              </p:nvSpPr>
              <p:spPr>
                <a:xfrm>
                  <a:off x="9182798" y="12384659"/>
                  <a:ext cx="145732" cy="145732"/>
                </a:xfrm>
                <a:custGeom>
                  <a:avLst/>
                  <a:gdLst>
                    <a:gd name="connsiteX0" fmla="*/ 145732 w 145732"/>
                    <a:gd name="connsiteY0" fmla="*/ 72866 h 145732"/>
                    <a:gd name="connsiteX1" fmla="*/ 72866 w 145732"/>
                    <a:gd name="connsiteY1" fmla="*/ 145733 h 145732"/>
                    <a:gd name="connsiteX2" fmla="*/ -1 w 145732"/>
                    <a:gd name="connsiteY2" fmla="*/ 72866 h 145732"/>
                    <a:gd name="connsiteX3" fmla="*/ 72866 w 145732"/>
                    <a:gd name="connsiteY3" fmla="*/ 0 h 145732"/>
                    <a:gd name="connsiteX4" fmla="*/ 145732 w 145732"/>
                    <a:gd name="connsiteY4" fmla="*/ 72866 h 145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5732" h="145732">
                      <a:moveTo>
                        <a:pt x="145732" y="72866"/>
                      </a:moveTo>
                      <a:cubicBezTo>
                        <a:pt x="145732" y="113109"/>
                        <a:pt x="113109" y="145733"/>
                        <a:pt x="72866" y="145733"/>
                      </a:cubicBezTo>
                      <a:cubicBezTo>
                        <a:pt x="32623" y="145733"/>
                        <a:pt x="-1" y="113109"/>
                        <a:pt x="-1" y="72866"/>
                      </a:cubicBezTo>
                      <a:cubicBezTo>
                        <a:pt x="-1" y="32624"/>
                        <a:pt x="32623" y="0"/>
                        <a:pt x="72866" y="0"/>
                      </a:cubicBezTo>
                      <a:cubicBezTo>
                        <a:pt x="113109" y="0"/>
                        <a:pt x="145732" y="32624"/>
                        <a:pt x="145732" y="7286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2" name="Freihandform: Form 101">
                  <a:extLst>
                    <a:ext uri="{FF2B5EF4-FFF2-40B4-BE49-F238E27FC236}">
                      <a16:creationId xmlns:a16="http://schemas.microsoft.com/office/drawing/2014/main" id="{3AD9C50D-316B-F8FA-56C1-7311B1A68D9A}"/>
                    </a:ext>
                  </a:extLst>
                </p:cNvPr>
                <p:cNvSpPr/>
                <p:nvPr/>
              </p:nvSpPr>
              <p:spPr>
                <a:xfrm>
                  <a:off x="9365963" y="12404280"/>
                  <a:ext cx="145732" cy="145732"/>
                </a:xfrm>
                <a:custGeom>
                  <a:avLst/>
                  <a:gdLst>
                    <a:gd name="connsiteX0" fmla="*/ 145733 w 145732"/>
                    <a:gd name="connsiteY0" fmla="*/ 72866 h 145732"/>
                    <a:gd name="connsiteX1" fmla="*/ 72866 w 145732"/>
                    <a:gd name="connsiteY1" fmla="*/ 145733 h 145732"/>
                    <a:gd name="connsiteX2" fmla="*/ 0 w 145732"/>
                    <a:gd name="connsiteY2" fmla="*/ 72866 h 145732"/>
                    <a:gd name="connsiteX3" fmla="*/ 72866 w 145732"/>
                    <a:gd name="connsiteY3" fmla="*/ 0 h 145732"/>
                    <a:gd name="connsiteX4" fmla="*/ 145733 w 145732"/>
                    <a:gd name="connsiteY4" fmla="*/ 72866 h 145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5732" h="145732">
                      <a:moveTo>
                        <a:pt x="145733" y="72866"/>
                      </a:moveTo>
                      <a:cubicBezTo>
                        <a:pt x="145733" y="113109"/>
                        <a:pt x="113109" y="145733"/>
                        <a:pt x="72866" y="145733"/>
                      </a:cubicBezTo>
                      <a:cubicBezTo>
                        <a:pt x="32623" y="145733"/>
                        <a:pt x="0" y="113109"/>
                        <a:pt x="0" y="72866"/>
                      </a:cubicBezTo>
                      <a:cubicBezTo>
                        <a:pt x="0" y="32624"/>
                        <a:pt x="32623" y="0"/>
                        <a:pt x="72866" y="0"/>
                      </a:cubicBezTo>
                      <a:cubicBezTo>
                        <a:pt x="113109" y="0"/>
                        <a:pt x="145733" y="32624"/>
                        <a:pt x="145733" y="7286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3" name="Freihandform: Form 102">
                  <a:extLst>
                    <a:ext uri="{FF2B5EF4-FFF2-40B4-BE49-F238E27FC236}">
                      <a16:creationId xmlns:a16="http://schemas.microsoft.com/office/drawing/2014/main" id="{436A653F-9D78-B183-3B45-2421257B96F3}"/>
                    </a:ext>
                  </a:extLst>
                </p:cNvPr>
                <p:cNvSpPr/>
                <p:nvPr/>
              </p:nvSpPr>
              <p:spPr>
                <a:xfrm>
                  <a:off x="8938672" y="11260613"/>
                  <a:ext cx="389953" cy="1217787"/>
                </a:xfrm>
                <a:custGeom>
                  <a:avLst/>
                  <a:gdLst>
                    <a:gd name="connsiteX0" fmla="*/ 389954 w 389953"/>
                    <a:gd name="connsiteY0" fmla="*/ 1196054 h 1217787"/>
                    <a:gd name="connsiteX1" fmla="*/ 245079 w 389953"/>
                    <a:gd name="connsiteY1" fmla="*/ 1208532 h 1217787"/>
                    <a:gd name="connsiteX2" fmla="*/ 52388 w 389953"/>
                    <a:gd name="connsiteY2" fmla="*/ 579406 h 1217787"/>
                    <a:gd name="connsiteX3" fmla="*/ 0 w 389953"/>
                    <a:gd name="connsiteY3" fmla="*/ 44863 h 1217787"/>
                    <a:gd name="connsiteX4" fmla="*/ 306705 w 389953"/>
                    <a:gd name="connsiteY4" fmla="*/ 0 h 1217787"/>
                    <a:gd name="connsiteX5" fmla="*/ 316039 w 389953"/>
                    <a:gd name="connsiteY5" fmla="*/ 166878 h 1217787"/>
                    <a:gd name="connsiteX6" fmla="*/ 351091 w 389953"/>
                    <a:gd name="connsiteY6" fmla="*/ 480251 h 1217787"/>
                    <a:gd name="connsiteX7" fmla="*/ 361760 w 389953"/>
                    <a:gd name="connsiteY7" fmla="*/ 876681 h 1217787"/>
                    <a:gd name="connsiteX8" fmla="*/ 389858 w 389953"/>
                    <a:gd name="connsiteY8" fmla="*/ 1195959 h 12177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89953" h="1217787">
                      <a:moveTo>
                        <a:pt x="389954" y="1196054"/>
                      </a:moveTo>
                      <a:cubicBezTo>
                        <a:pt x="339471" y="1220438"/>
                        <a:pt x="293561" y="1223867"/>
                        <a:pt x="245079" y="1208532"/>
                      </a:cubicBezTo>
                      <a:cubicBezTo>
                        <a:pt x="209550" y="1038987"/>
                        <a:pt x="96964" y="734759"/>
                        <a:pt x="52388" y="579406"/>
                      </a:cubicBezTo>
                      <a:cubicBezTo>
                        <a:pt x="7715" y="423767"/>
                        <a:pt x="0" y="44863"/>
                        <a:pt x="0" y="44863"/>
                      </a:cubicBezTo>
                      <a:lnTo>
                        <a:pt x="306705" y="0"/>
                      </a:lnTo>
                      <a:lnTo>
                        <a:pt x="316039" y="166878"/>
                      </a:lnTo>
                      <a:cubicBezTo>
                        <a:pt x="316039" y="166878"/>
                        <a:pt x="347472" y="345662"/>
                        <a:pt x="351091" y="480251"/>
                      </a:cubicBezTo>
                      <a:cubicBezTo>
                        <a:pt x="354711" y="614839"/>
                        <a:pt x="361760" y="876681"/>
                        <a:pt x="361760" y="876681"/>
                      </a:cubicBezTo>
                      <a:lnTo>
                        <a:pt x="389858" y="1195959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4" name="Freihandform: Form 103">
                  <a:extLst>
                    <a:ext uri="{FF2B5EF4-FFF2-40B4-BE49-F238E27FC236}">
                      <a16:creationId xmlns:a16="http://schemas.microsoft.com/office/drawing/2014/main" id="{0C462DC0-A90F-D1D7-FF1F-70D1F31AE434}"/>
                    </a:ext>
                  </a:extLst>
                </p:cNvPr>
                <p:cNvSpPr/>
                <p:nvPr/>
              </p:nvSpPr>
              <p:spPr>
                <a:xfrm>
                  <a:off x="8936291" y="11117929"/>
                  <a:ext cx="309943" cy="318515"/>
                </a:xfrm>
                <a:custGeom>
                  <a:avLst/>
                  <a:gdLst>
                    <a:gd name="connsiteX0" fmla="*/ 309944 w 309943"/>
                    <a:gd name="connsiteY0" fmla="*/ 159258 h 318515"/>
                    <a:gd name="connsiteX1" fmla="*/ 154972 w 309943"/>
                    <a:gd name="connsiteY1" fmla="*/ 318516 h 318515"/>
                    <a:gd name="connsiteX2" fmla="*/ 0 w 309943"/>
                    <a:gd name="connsiteY2" fmla="*/ 159258 h 318515"/>
                    <a:gd name="connsiteX3" fmla="*/ 154972 w 309943"/>
                    <a:gd name="connsiteY3" fmla="*/ 0 h 318515"/>
                    <a:gd name="connsiteX4" fmla="*/ 309944 w 309943"/>
                    <a:gd name="connsiteY4" fmla="*/ 159258 h 3185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9943" h="318515">
                      <a:moveTo>
                        <a:pt x="309944" y="159258"/>
                      </a:moveTo>
                      <a:cubicBezTo>
                        <a:pt x="309944" y="247214"/>
                        <a:pt x="240561" y="318516"/>
                        <a:pt x="154972" y="318516"/>
                      </a:cubicBezTo>
                      <a:cubicBezTo>
                        <a:pt x="69383" y="318516"/>
                        <a:pt x="0" y="247214"/>
                        <a:pt x="0" y="159258"/>
                      </a:cubicBezTo>
                      <a:cubicBezTo>
                        <a:pt x="0" y="71302"/>
                        <a:pt x="69383" y="0"/>
                        <a:pt x="154972" y="0"/>
                      </a:cubicBezTo>
                      <a:cubicBezTo>
                        <a:pt x="240560" y="0"/>
                        <a:pt x="309944" y="71302"/>
                        <a:pt x="309944" y="15925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5" name="Freihandform: Form 104">
                  <a:extLst>
                    <a:ext uri="{FF2B5EF4-FFF2-40B4-BE49-F238E27FC236}">
                      <a16:creationId xmlns:a16="http://schemas.microsoft.com/office/drawing/2014/main" id="{CB981138-363A-8E93-E99A-DCFBAFA23880}"/>
                    </a:ext>
                  </a:extLst>
                </p:cNvPr>
                <p:cNvSpPr/>
                <p:nvPr/>
              </p:nvSpPr>
              <p:spPr>
                <a:xfrm>
                  <a:off x="9325196" y="11123358"/>
                  <a:ext cx="311086" cy="311086"/>
                </a:xfrm>
                <a:custGeom>
                  <a:avLst/>
                  <a:gdLst>
                    <a:gd name="connsiteX0" fmla="*/ 311086 w 311086"/>
                    <a:gd name="connsiteY0" fmla="*/ 155543 h 311086"/>
                    <a:gd name="connsiteX1" fmla="*/ 155543 w 311086"/>
                    <a:gd name="connsiteY1" fmla="*/ 311086 h 311086"/>
                    <a:gd name="connsiteX2" fmla="*/ -1 w 311086"/>
                    <a:gd name="connsiteY2" fmla="*/ 155543 h 311086"/>
                    <a:gd name="connsiteX3" fmla="*/ 155543 w 311086"/>
                    <a:gd name="connsiteY3" fmla="*/ 0 h 311086"/>
                    <a:gd name="connsiteX4" fmla="*/ 311086 w 311086"/>
                    <a:gd name="connsiteY4" fmla="*/ 155543 h 3110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1086" h="311086">
                      <a:moveTo>
                        <a:pt x="311086" y="155543"/>
                      </a:moveTo>
                      <a:cubicBezTo>
                        <a:pt x="311086" y="241447"/>
                        <a:pt x="241447" y="311086"/>
                        <a:pt x="155543" y="311086"/>
                      </a:cubicBezTo>
                      <a:cubicBezTo>
                        <a:pt x="69639" y="311086"/>
                        <a:pt x="-1" y="241447"/>
                        <a:pt x="-1" y="155543"/>
                      </a:cubicBezTo>
                      <a:cubicBezTo>
                        <a:pt x="-1" y="69639"/>
                        <a:pt x="69639" y="0"/>
                        <a:pt x="155543" y="0"/>
                      </a:cubicBezTo>
                      <a:cubicBezTo>
                        <a:pt x="241447" y="0"/>
                        <a:pt x="311086" y="69639"/>
                        <a:pt x="311086" y="155543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6" name="Freihandform: Form 105">
                  <a:extLst>
                    <a:ext uri="{FF2B5EF4-FFF2-40B4-BE49-F238E27FC236}">
                      <a16:creationId xmlns:a16="http://schemas.microsoft.com/office/drawing/2014/main" id="{67784386-5860-8DA6-CD95-3BDBEC48E4E5}"/>
                    </a:ext>
                  </a:extLst>
                </p:cNvPr>
                <p:cNvSpPr/>
                <p:nvPr/>
              </p:nvSpPr>
              <p:spPr>
                <a:xfrm>
                  <a:off x="9111551" y="12452191"/>
                  <a:ext cx="251269" cy="207930"/>
                </a:xfrm>
                <a:custGeom>
                  <a:avLst/>
                  <a:gdLst>
                    <a:gd name="connsiteX0" fmla="*/ 72294 w 251269"/>
                    <a:gd name="connsiteY0" fmla="*/ 0 h 207930"/>
                    <a:gd name="connsiteX1" fmla="*/ 0 w 251269"/>
                    <a:gd name="connsiteY1" fmla="*/ 201549 h 207930"/>
                    <a:gd name="connsiteX2" fmla="*/ 251270 w 251269"/>
                    <a:gd name="connsiteY2" fmla="*/ 207930 h 207930"/>
                    <a:gd name="connsiteX3" fmla="*/ 216789 w 251269"/>
                    <a:gd name="connsiteY3" fmla="*/ 3334 h 207930"/>
                    <a:gd name="connsiteX4" fmla="*/ 72294 w 251269"/>
                    <a:gd name="connsiteY4" fmla="*/ 95 h 2079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1269" h="207930">
                      <a:moveTo>
                        <a:pt x="72294" y="0"/>
                      </a:moveTo>
                      <a:cubicBezTo>
                        <a:pt x="56579" y="148399"/>
                        <a:pt x="952" y="162496"/>
                        <a:pt x="0" y="201549"/>
                      </a:cubicBezTo>
                      <a:lnTo>
                        <a:pt x="251270" y="207930"/>
                      </a:lnTo>
                      <a:cubicBezTo>
                        <a:pt x="246126" y="145922"/>
                        <a:pt x="216789" y="118300"/>
                        <a:pt x="216789" y="3334"/>
                      </a:cubicBezTo>
                      <a:lnTo>
                        <a:pt x="72294" y="95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7" name="Freihandform: Form 106">
                  <a:extLst>
                    <a:ext uri="{FF2B5EF4-FFF2-40B4-BE49-F238E27FC236}">
                      <a16:creationId xmlns:a16="http://schemas.microsoft.com/office/drawing/2014/main" id="{3BA7FD74-2780-2D5D-2598-B627BFFE1A5B}"/>
                    </a:ext>
                  </a:extLst>
                </p:cNvPr>
                <p:cNvSpPr/>
                <p:nvPr/>
              </p:nvSpPr>
              <p:spPr>
                <a:xfrm>
                  <a:off x="9040208" y="12666313"/>
                  <a:ext cx="343280" cy="94544"/>
                </a:xfrm>
                <a:custGeom>
                  <a:avLst/>
                  <a:gdLst>
                    <a:gd name="connsiteX0" fmla="*/ 322326 w 343280"/>
                    <a:gd name="connsiteY0" fmla="*/ 89821 h 94544"/>
                    <a:gd name="connsiteX1" fmla="*/ 21145 w 343280"/>
                    <a:gd name="connsiteY1" fmla="*/ 89630 h 94544"/>
                    <a:gd name="connsiteX2" fmla="*/ 0 w 343280"/>
                    <a:gd name="connsiteY2" fmla="*/ 60960 h 94544"/>
                    <a:gd name="connsiteX3" fmla="*/ 0 w 343280"/>
                    <a:gd name="connsiteY3" fmla="*/ 0 h 94544"/>
                    <a:gd name="connsiteX4" fmla="*/ 343281 w 343280"/>
                    <a:gd name="connsiteY4" fmla="*/ 0 h 94544"/>
                    <a:gd name="connsiteX5" fmla="*/ 343281 w 343280"/>
                    <a:gd name="connsiteY5" fmla="*/ 61150 h 94544"/>
                    <a:gd name="connsiteX6" fmla="*/ 322326 w 343280"/>
                    <a:gd name="connsiteY6" fmla="*/ 89821 h 945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43280" h="94544">
                      <a:moveTo>
                        <a:pt x="322326" y="89821"/>
                      </a:moveTo>
                      <a:cubicBezTo>
                        <a:pt x="218218" y="97822"/>
                        <a:pt x="135160" y="94202"/>
                        <a:pt x="21145" y="89630"/>
                      </a:cubicBezTo>
                      <a:cubicBezTo>
                        <a:pt x="8954" y="89154"/>
                        <a:pt x="0" y="75533"/>
                        <a:pt x="0" y="60960"/>
                      </a:cubicBezTo>
                      <a:lnTo>
                        <a:pt x="0" y="0"/>
                      </a:lnTo>
                      <a:cubicBezTo>
                        <a:pt x="0" y="0"/>
                        <a:pt x="343281" y="0"/>
                        <a:pt x="343281" y="0"/>
                      </a:cubicBezTo>
                      <a:lnTo>
                        <a:pt x="343281" y="61150"/>
                      </a:lnTo>
                      <a:cubicBezTo>
                        <a:pt x="343281" y="75629"/>
                        <a:pt x="334423" y="88868"/>
                        <a:pt x="322326" y="89821"/>
                      </a:cubicBezTo>
                      <a:close/>
                    </a:path>
                  </a:pathLst>
                </a:custGeom>
                <a:solidFill>
                  <a:srgbClr val="40404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8" name="Freihandform: Form 107">
                  <a:extLst>
                    <a:ext uri="{FF2B5EF4-FFF2-40B4-BE49-F238E27FC236}">
                      <a16:creationId xmlns:a16="http://schemas.microsoft.com/office/drawing/2014/main" id="{D264128F-5940-F850-8AC1-DACC4353B774}"/>
                    </a:ext>
                  </a:extLst>
                </p:cNvPr>
                <p:cNvSpPr/>
                <p:nvPr/>
              </p:nvSpPr>
              <p:spPr>
                <a:xfrm>
                  <a:off x="9040208" y="12513150"/>
                  <a:ext cx="343280" cy="181734"/>
                </a:xfrm>
                <a:custGeom>
                  <a:avLst/>
                  <a:gdLst>
                    <a:gd name="connsiteX0" fmla="*/ 343281 w 343280"/>
                    <a:gd name="connsiteY0" fmla="*/ 153163 h 181734"/>
                    <a:gd name="connsiteX1" fmla="*/ 294227 w 343280"/>
                    <a:gd name="connsiteY1" fmla="*/ 23147 h 181734"/>
                    <a:gd name="connsiteX2" fmla="*/ 279273 w 343280"/>
                    <a:gd name="connsiteY2" fmla="*/ 64199 h 181734"/>
                    <a:gd name="connsiteX3" fmla="*/ 98964 w 343280"/>
                    <a:gd name="connsiteY3" fmla="*/ 59628 h 181734"/>
                    <a:gd name="connsiteX4" fmla="*/ 0 w 343280"/>
                    <a:gd name="connsiteY4" fmla="*/ 153163 h 181734"/>
                    <a:gd name="connsiteX5" fmla="*/ 343281 w 343280"/>
                    <a:gd name="connsiteY5" fmla="*/ 153163 h 181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3280" h="181734">
                      <a:moveTo>
                        <a:pt x="343281" y="153163"/>
                      </a:moveTo>
                      <a:cubicBezTo>
                        <a:pt x="303847" y="73344"/>
                        <a:pt x="306133" y="10193"/>
                        <a:pt x="294227" y="23147"/>
                      </a:cubicBezTo>
                      <a:cubicBezTo>
                        <a:pt x="301276" y="53055"/>
                        <a:pt x="295656" y="65914"/>
                        <a:pt x="279273" y="64199"/>
                      </a:cubicBezTo>
                      <a:cubicBezTo>
                        <a:pt x="279273" y="64199"/>
                        <a:pt x="167544" y="-77151"/>
                        <a:pt x="98964" y="59628"/>
                      </a:cubicBezTo>
                      <a:cubicBezTo>
                        <a:pt x="57340" y="142591"/>
                        <a:pt x="4096" y="120397"/>
                        <a:pt x="0" y="153163"/>
                      </a:cubicBezTo>
                      <a:cubicBezTo>
                        <a:pt x="16478" y="185738"/>
                        <a:pt x="323945" y="196406"/>
                        <a:pt x="343281" y="15316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9" name="Freihandform: Form 108">
                  <a:extLst>
                    <a:ext uri="{FF2B5EF4-FFF2-40B4-BE49-F238E27FC236}">
                      <a16:creationId xmlns:a16="http://schemas.microsoft.com/office/drawing/2014/main" id="{D25415B4-44B1-2D2E-19AA-8A2D2C2B7717}"/>
                    </a:ext>
                  </a:extLst>
                </p:cNvPr>
                <p:cNvSpPr/>
                <p:nvPr/>
              </p:nvSpPr>
              <p:spPr>
                <a:xfrm>
                  <a:off x="9324879" y="11256327"/>
                  <a:ext cx="326797" cy="1236394"/>
                </a:xfrm>
                <a:custGeom>
                  <a:avLst/>
                  <a:gdLst>
                    <a:gd name="connsiteX0" fmla="*/ 41084 w 326797"/>
                    <a:gd name="connsiteY0" fmla="*/ 1218819 h 1236394"/>
                    <a:gd name="connsiteX1" fmla="*/ 186626 w 326797"/>
                    <a:gd name="connsiteY1" fmla="*/ 1215199 h 1236394"/>
                    <a:gd name="connsiteX2" fmla="*/ 315405 w 326797"/>
                    <a:gd name="connsiteY2" fmla="*/ 571024 h 1236394"/>
                    <a:gd name="connsiteX3" fmla="*/ 309594 w 326797"/>
                    <a:gd name="connsiteY3" fmla="*/ 0 h 1236394"/>
                    <a:gd name="connsiteX4" fmla="*/ 222 w 326797"/>
                    <a:gd name="connsiteY4" fmla="*/ 286 h 1236394"/>
                    <a:gd name="connsiteX5" fmla="*/ 8033 w 326797"/>
                    <a:gd name="connsiteY5" fmla="*/ 502825 h 1236394"/>
                    <a:gd name="connsiteX6" fmla="*/ 37655 w 326797"/>
                    <a:gd name="connsiteY6" fmla="*/ 898302 h 1236394"/>
                    <a:gd name="connsiteX7" fmla="*/ 40989 w 326797"/>
                    <a:gd name="connsiteY7" fmla="*/ 1218819 h 12363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797" h="1236394">
                      <a:moveTo>
                        <a:pt x="41084" y="1218819"/>
                      </a:moveTo>
                      <a:cubicBezTo>
                        <a:pt x="93853" y="1243870"/>
                        <a:pt x="140049" y="1241679"/>
                        <a:pt x="186626" y="1215199"/>
                      </a:cubicBezTo>
                      <a:cubicBezTo>
                        <a:pt x="204724" y="1042892"/>
                        <a:pt x="286830" y="730091"/>
                        <a:pt x="315405" y="571024"/>
                      </a:cubicBezTo>
                      <a:cubicBezTo>
                        <a:pt x="344075" y="411575"/>
                        <a:pt x="309594" y="0"/>
                        <a:pt x="309594" y="0"/>
                      </a:cubicBezTo>
                      <a:lnTo>
                        <a:pt x="222" y="286"/>
                      </a:lnTo>
                      <a:cubicBezTo>
                        <a:pt x="222" y="286"/>
                        <a:pt x="-2064" y="368617"/>
                        <a:pt x="8033" y="502825"/>
                      </a:cubicBezTo>
                      <a:cubicBezTo>
                        <a:pt x="18129" y="637032"/>
                        <a:pt x="37655" y="898302"/>
                        <a:pt x="37655" y="898302"/>
                      </a:cubicBezTo>
                      <a:lnTo>
                        <a:pt x="40989" y="1218819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0" name="Freihandform: Form 109">
                  <a:extLst>
                    <a:ext uri="{FF2B5EF4-FFF2-40B4-BE49-F238E27FC236}">
                      <a16:creationId xmlns:a16="http://schemas.microsoft.com/office/drawing/2014/main" id="{6DCAA3CF-7503-B61C-B00A-D85FD87B1553}"/>
                    </a:ext>
                  </a:extLst>
                </p:cNvPr>
                <p:cNvSpPr/>
                <p:nvPr/>
              </p:nvSpPr>
              <p:spPr>
                <a:xfrm>
                  <a:off x="9333007" y="12471526"/>
                  <a:ext cx="284035" cy="215074"/>
                </a:xfrm>
                <a:custGeom>
                  <a:avLst/>
                  <a:gdLst>
                    <a:gd name="connsiteX0" fmla="*/ 178498 w 284035"/>
                    <a:gd name="connsiteY0" fmla="*/ 0 h 215074"/>
                    <a:gd name="connsiteX1" fmla="*/ 284036 w 284035"/>
                    <a:gd name="connsiteY1" fmla="*/ 215075 h 215074"/>
                    <a:gd name="connsiteX2" fmla="*/ 0 w 284035"/>
                    <a:gd name="connsiteY2" fmla="*/ 215075 h 215074"/>
                    <a:gd name="connsiteX3" fmla="*/ 32956 w 284035"/>
                    <a:gd name="connsiteY3" fmla="*/ 4477 h 215074"/>
                    <a:gd name="connsiteX4" fmla="*/ 178594 w 284035"/>
                    <a:gd name="connsiteY4" fmla="*/ 0 h 2150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84035" h="215074">
                      <a:moveTo>
                        <a:pt x="178498" y="0"/>
                      </a:moveTo>
                      <a:cubicBezTo>
                        <a:pt x="199549" y="148685"/>
                        <a:pt x="284036" y="176022"/>
                        <a:pt x="284036" y="215075"/>
                      </a:cubicBezTo>
                      <a:lnTo>
                        <a:pt x="0" y="215075"/>
                      </a:lnTo>
                      <a:cubicBezTo>
                        <a:pt x="0" y="139637"/>
                        <a:pt x="37529" y="86963"/>
                        <a:pt x="32956" y="4477"/>
                      </a:cubicBezTo>
                      <a:lnTo>
                        <a:pt x="178594" y="0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1" name="Freihandform: Form 110">
                  <a:extLst>
                    <a:ext uri="{FF2B5EF4-FFF2-40B4-BE49-F238E27FC236}">
                      <a16:creationId xmlns:a16="http://schemas.microsoft.com/office/drawing/2014/main" id="{FE448C79-73AA-1232-7820-85B64D051923}"/>
                    </a:ext>
                  </a:extLst>
                </p:cNvPr>
                <p:cNvSpPr/>
                <p:nvPr/>
              </p:nvSpPr>
              <p:spPr>
                <a:xfrm>
                  <a:off x="9312909" y="12667932"/>
                  <a:ext cx="343280" cy="92916"/>
                </a:xfrm>
                <a:custGeom>
                  <a:avLst/>
                  <a:gdLst>
                    <a:gd name="connsiteX0" fmla="*/ 20955 w 343280"/>
                    <a:gd name="connsiteY0" fmla="*/ 89821 h 92916"/>
                    <a:gd name="connsiteX1" fmla="*/ 322135 w 343280"/>
                    <a:gd name="connsiteY1" fmla="*/ 89631 h 92916"/>
                    <a:gd name="connsiteX2" fmla="*/ 343281 w 343280"/>
                    <a:gd name="connsiteY2" fmla="*/ 60960 h 92916"/>
                    <a:gd name="connsiteX3" fmla="*/ 343281 w 343280"/>
                    <a:gd name="connsiteY3" fmla="*/ 0 h 92916"/>
                    <a:gd name="connsiteX4" fmla="*/ 0 w 343280"/>
                    <a:gd name="connsiteY4" fmla="*/ 0 h 92916"/>
                    <a:gd name="connsiteX5" fmla="*/ 0 w 343280"/>
                    <a:gd name="connsiteY5" fmla="*/ 61150 h 92916"/>
                    <a:gd name="connsiteX6" fmla="*/ 20955 w 343280"/>
                    <a:gd name="connsiteY6" fmla="*/ 89821 h 929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43280" h="92916">
                      <a:moveTo>
                        <a:pt x="20955" y="89821"/>
                      </a:moveTo>
                      <a:cubicBezTo>
                        <a:pt x="138969" y="93345"/>
                        <a:pt x="221932" y="94583"/>
                        <a:pt x="322135" y="89631"/>
                      </a:cubicBezTo>
                      <a:cubicBezTo>
                        <a:pt x="334327" y="89059"/>
                        <a:pt x="343281" y="75533"/>
                        <a:pt x="343281" y="60960"/>
                      </a:cubicBezTo>
                      <a:lnTo>
                        <a:pt x="343281" y="0"/>
                      </a:lnTo>
                      <a:cubicBezTo>
                        <a:pt x="343281" y="0"/>
                        <a:pt x="0" y="0"/>
                        <a:pt x="0" y="0"/>
                      </a:cubicBezTo>
                      <a:lnTo>
                        <a:pt x="0" y="61150"/>
                      </a:lnTo>
                      <a:cubicBezTo>
                        <a:pt x="0" y="75629"/>
                        <a:pt x="8858" y="89440"/>
                        <a:pt x="20955" y="89821"/>
                      </a:cubicBezTo>
                      <a:close/>
                    </a:path>
                  </a:pathLst>
                </a:custGeom>
                <a:solidFill>
                  <a:srgbClr val="40404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2" name="Freihandform: Form 111">
                  <a:extLst>
                    <a:ext uri="{FF2B5EF4-FFF2-40B4-BE49-F238E27FC236}">
                      <a16:creationId xmlns:a16="http://schemas.microsoft.com/office/drawing/2014/main" id="{0913BEBA-E87C-B51B-FB4A-1DD4CE5CFAAC}"/>
                    </a:ext>
                  </a:extLst>
                </p:cNvPr>
                <p:cNvSpPr/>
                <p:nvPr/>
              </p:nvSpPr>
              <p:spPr>
                <a:xfrm>
                  <a:off x="9312909" y="12514864"/>
                  <a:ext cx="343280" cy="181734"/>
                </a:xfrm>
                <a:custGeom>
                  <a:avLst/>
                  <a:gdLst>
                    <a:gd name="connsiteX0" fmla="*/ 0 w 343280"/>
                    <a:gd name="connsiteY0" fmla="*/ 153163 h 181734"/>
                    <a:gd name="connsiteX1" fmla="*/ 49053 w 343280"/>
                    <a:gd name="connsiteY1" fmla="*/ 23147 h 181734"/>
                    <a:gd name="connsiteX2" fmla="*/ 64008 w 343280"/>
                    <a:gd name="connsiteY2" fmla="*/ 64199 h 181734"/>
                    <a:gd name="connsiteX3" fmla="*/ 244316 w 343280"/>
                    <a:gd name="connsiteY3" fmla="*/ 59628 h 181734"/>
                    <a:gd name="connsiteX4" fmla="*/ 343281 w 343280"/>
                    <a:gd name="connsiteY4" fmla="*/ 153163 h 181734"/>
                    <a:gd name="connsiteX5" fmla="*/ 0 w 343280"/>
                    <a:gd name="connsiteY5" fmla="*/ 153163 h 181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3280" h="181734">
                      <a:moveTo>
                        <a:pt x="0" y="153163"/>
                      </a:moveTo>
                      <a:cubicBezTo>
                        <a:pt x="39433" y="73344"/>
                        <a:pt x="37147" y="10193"/>
                        <a:pt x="49053" y="23147"/>
                      </a:cubicBezTo>
                      <a:cubicBezTo>
                        <a:pt x="42005" y="53055"/>
                        <a:pt x="47625" y="65914"/>
                        <a:pt x="64008" y="64199"/>
                      </a:cubicBezTo>
                      <a:cubicBezTo>
                        <a:pt x="64008" y="64199"/>
                        <a:pt x="175736" y="-77151"/>
                        <a:pt x="244316" y="59628"/>
                      </a:cubicBezTo>
                      <a:cubicBezTo>
                        <a:pt x="285940" y="142591"/>
                        <a:pt x="339185" y="120397"/>
                        <a:pt x="343281" y="153163"/>
                      </a:cubicBezTo>
                      <a:cubicBezTo>
                        <a:pt x="326803" y="185738"/>
                        <a:pt x="19335" y="196406"/>
                        <a:pt x="0" y="15316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3" name="Freihandform: Form 112">
                  <a:extLst>
                    <a:ext uri="{FF2B5EF4-FFF2-40B4-BE49-F238E27FC236}">
                      <a16:creationId xmlns:a16="http://schemas.microsoft.com/office/drawing/2014/main" id="{3B371553-8310-7B69-F6E3-6D79EA97EB06}"/>
                    </a:ext>
                  </a:extLst>
                </p:cNvPr>
                <p:cNvSpPr/>
                <p:nvPr/>
              </p:nvSpPr>
              <p:spPr>
                <a:xfrm>
                  <a:off x="8692641" y="9292748"/>
                  <a:ext cx="1197659" cy="1963864"/>
                </a:xfrm>
                <a:custGeom>
                  <a:avLst/>
                  <a:gdLst>
                    <a:gd name="connsiteX0" fmla="*/ 1130998 w 1197659"/>
                    <a:gd name="connsiteY0" fmla="*/ 302133 h 1963864"/>
                    <a:gd name="connsiteX1" fmla="*/ 919353 w 1197659"/>
                    <a:gd name="connsiteY1" fmla="*/ 1429 h 1963864"/>
                    <a:gd name="connsiteX2" fmla="*/ 598075 w 1197659"/>
                    <a:gd name="connsiteY2" fmla="*/ 0 h 1963864"/>
                    <a:gd name="connsiteX3" fmla="*/ 598075 w 1197659"/>
                    <a:gd name="connsiteY3" fmla="*/ 0 h 1963864"/>
                    <a:gd name="connsiteX4" fmla="*/ 594646 w 1197659"/>
                    <a:gd name="connsiteY4" fmla="*/ 0 h 1963864"/>
                    <a:gd name="connsiteX5" fmla="*/ 591216 w 1197659"/>
                    <a:gd name="connsiteY5" fmla="*/ 0 h 1963864"/>
                    <a:gd name="connsiteX6" fmla="*/ 591216 w 1197659"/>
                    <a:gd name="connsiteY6" fmla="*/ 0 h 1963864"/>
                    <a:gd name="connsiteX7" fmla="*/ 269938 w 1197659"/>
                    <a:gd name="connsiteY7" fmla="*/ 1429 h 1963864"/>
                    <a:gd name="connsiteX8" fmla="*/ 65531 w 1197659"/>
                    <a:gd name="connsiteY8" fmla="*/ 316421 h 1963864"/>
                    <a:gd name="connsiteX9" fmla="*/ 0 w 1197659"/>
                    <a:gd name="connsiteY9" fmla="*/ 635127 h 1963864"/>
                    <a:gd name="connsiteX10" fmla="*/ 24384 w 1197659"/>
                    <a:gd name="connsiteY10" fmla="*/ 1062895 h 1963864"/>
                    <a:gd name="connsiteX11" fmla="*/ 117634 w 1197659"/>
                    <a:gd name="connsiteY11" fmla="*/ 1567434 h 1963864"/>
                    <a:gd name="connsiteX12" fmla="*/ 209264 w 1197659"/>
                    <a:gd name="connsiteY12" fmla="*/ 1963865 h 1963864"/>
                    <a:gd name="connsiteX13" fmla="*/ 978217 w 1197659"/>
                    <a:gd name="connsiteY13" fmla="*/ 1963865 h 1963864"/>
                    <a:gd name="connsiteX14" fmla="*/ 1069848 w 1197659"/>
                    <a:gd name="connsiteY14" fmla="*/ 1567434 h 1963864"/>
                    <a:gd name="connsiteX15" fmla="*/ 1163098 w 1197659"/>
                    <a:gd name="connsiteY15" fmla="*/ 1062895 h 1963864"/>
                    <a:gd name="connsiteX16" fmla="*/ 1131189 w 1197659"/>
                    <a:gd name="connsiteY16" fmla="*/ 302133 h 1963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197659" h="1963864">
                      <a:moveTo>
                        <a:pt x="1130998" y="302133"/>
                      </a:moveTo>
                      <a:cubicBezTo>
                        <a:pt x="1066895" y="164021"/>
                        <a:pt x="919353" y="1429"/>
                        <a:pt x="919353" y="1429"/>
                      </a:cubicBezTo>
                      <a:lnTo>
                        <a:pt x="598075" y="0"/>
                      </a:lnTo>
                      <a:lnTo>
                        <a:pt x="598075" y="0"/>
                      </a:lnTo>
                      <a:cubicBezTo>
                        <a:pt x="598075" y="0"/>
                        <a:pt x="594646" y="0"/>
                        <a:pt x="594646" y="0"/>
                      </a:cubicBezTo>
                      <a:lnTo>
                        <a:pt x="591216" y="0"/>
                      </a:lnTo>
                      <a:cubicBezTo>
                        <a:pt x="591216" y="0"/>
                        <a:pt x="591216" y="0"/>
                        <a:pt x="591216" y="0"/>
                      </a:cubicBezTo>
                      <a:lnTo>
                        <a:pt x="269938" y="1429"/>
                      </a:lnTo>
                      <a:cubicBezTo>
                        <a:pt x="269938" y="1429"/>
                        <a:pt x="120205" y="174308"/>
                        <a:pt x="65531" y="316421"/>
                      </a:cubicBezTo>
                      <a:cubicBezTo>
                        <a:pt x="10953" y="458534"/>
                        <a:pt x="0" y="635127"/>
                        <a:pt x="0" y="635127"/>
                      </a:cubicBezTo>
                      <a:cubicBezTo>
                        <a:pt x="0" y="635127"/>
                        <a:pt x="6477" y="908114"/>
                        <a:pt x="24384" y="1062895"/>
                      </a:cubicBezTo>
                      <a:cubicBezTo>
                        <a:pt x="42196" y="1217676"/>
                        <a:pt x="82677" y="1449991"/>
                        <a:pt x="117634" y="1567434"/>
                      </a:cubicBezTo>
                      <a:cubicBezTo>
                        <a:pt x="152590" y="1684877"/>
                        <a:pt x="209264" y="1963865"/>
                        <a:pt x="209264" y="1963865"/>
                      </a:cubicBezTo>
                      <a:lnTo>
                        <a:pt x="978217" y="1963865"/>
                      </a:lnTo>
                      <a:cubicBezTo>
                        <a:pt x="978217" y="1963865"/>
                        <a:pt x="1034891" y="1684973"/>
                        <a:pt x="1069848" y="1567434"/>
                      </a:cubicBezTo>
                      <a:cubicBezTo>
                        <a:pt x="1104805" y="1449991"/>
                        <a:pt x="1134999" y="1216152"/>
                        <a:pt x="1163098" y="1062895"/>
                      </a:cubicBezTo>
                      <a:cubicBezTo>
                        <a:pt x="1214818" y="780859"/>
                        <a:pt x="1211866" y="476059"/>
                        <a:pt x="1131189" y="302133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4" name="Freihandform: Form 113">
                  <a:extLst>
                    <a:ext uri="{FF2B5EF4-FFF2-40B4-BE49-F238E27FC236}">
                      <a16:creationId xmlns:a16="http://schemas.microsoft.com/office/drawing/2014/main" id="{41432A89-9C29-E1F4-FD65-758A037FCCA5}"/>
                    </a:ext>
                  </a:extLst>
                </p:cNvPr>
                <p:cNvSpPr/>
                <p:nvPr/>
              </p:nvSpPr>
              <p:spPr>
                <a:xfrm>
                  <a:off x="8910483" y="7388618"/>
                  <a:ext cx="817969" cy="1046717"/>
                </a:xfrm>
                <a:custGeom>
                  <a:avLst/>
                  <a:gdLst>
                    <a:gd name="connsiteX0" fmla="*/ 720465 w 817969"/>
                    <a:gd name="connsiteY0" fmla="*/ 892765 h 1046717"/>
                    <a:gd name="connsiteX1" fmla="*/ 679603 w 817969"/>
                    <a:gd name="connsiteY1" fmla="*/ 349364 h 1046717"/>
                    <a:gd name="connsiteX2" fmla="*/ 351467 w 817969"/>
                    <a:gd name="connsiteY2" fmla="*/ 1321 h 1046717"/>
                    <a:gd name="connsiteX3" fmla="*/ 212974 w 817969"/>
                    <a:gd name="connsiteY3" fmla="*/ 66472 h 1046717"/>
                    <a:gd name="connsiteX4" fmla="*/ 25522 w 817969"/>
                    <a:gd name="connsiteY4" fmla="*/ 310312 h 1046717"/>
                    <a:gd name="connsiteX5" fmla="*/ 68956 w 817969"/>
                    <a:gd name="connsiteY5" fmla="*/ 866857 h 1046717"/>
                    <a:gd name="connsiteX6" fmla="*/ 720465 w 817969"/>
                    <a:gd name="connsiteY6" fmla="*/ 892765 h 1046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7969" h="1046717">
                      <a:moveTo>
                        <a:pt x="720465" y="892765"/>
                      </a:moveTo>
                      <a:cubicBezTo>
                        <a:pt x="720465" y="892765"/>
                        <a:pt x="964972" y="672262"/>
                        <a:pt x="679603" y="349364"/>
                      </a:cubicBezTo>
                      <a:cubicBezTo>
                        <a:pt x="593307" y="251733"/>
                        <a:pt x="546444" y="-21254"/>
                        <a:pt x="351467" y="1321"/>
                      </a:cubicBezTo>
                      <a:cubicBezTo>
                        <a:pt x="299555" y="8560"/>
                        <a:pt x="250502" y="23038"/>
                        <a:pt x="212974" y="66472"/>
                      </a:cubicBezTo>
                      <a:cubicBezTo>
                        <a:pt x="212974" y="66472"/>
                        <a:pt x="81243" y="74568"/>
                        <a:pt x="25522" y="310312"/>
                      </a:cubicBezTo>
                      <a:cubicBezTo>
                        <a:pt x="-22008" y="511480"/>
                        <a:pt x="-672" y="769036"/>
                        <a:pt x="68956" y="866857"/>
                      </a:cubicBezTo>
                      <a:cubicBezTo>
                        <a:pt x="228975" y="1099363"/>
                        <a:pt x="446907" y="1104792"/>
                        <a:pt x="720465" y="89276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5" name="Freihandform: Form 114">
                  <a:extLst>
                    <a:ext uri="{FF2B5EF4-FFF2-40B4-BE49-F238E27FC236}">
                      <a16:creationId xmlns:a16="http://schemas.microsoft.com/office/drawing/2014/main" id="{D21DEB1A-B612-686E-3459-80BBDCF48640}"/>
                    </a:ext>
                  </a:extLst>
                </p:cNvPr>
                <p:cNvSpPr/>
                <p:nvPr/>
              </p:nvSpPr>
              <p:spPr>
                <a:xfrm>
                  <a:off x="9143174" y="7890573"/>
                  <a:ext cx="298227" cy="463654"/>
                </a:xfrm>
                <a:custGeom>
                  <a:avLst/>
                  <a:gdLst>
                    <a:gd name="connsiteX0" fmla="*/ 0 w 298227"/>
                    <a:gd name="connsiteY0" fmla="*/ 385001 h 463654"/>
                    <a:gd name="connsiteX1" fmla="*/ 298228 w 298227"/>
                    <a:gd name="connsiteY1" fmla="*/ 385001 h 463654"/>
                    <a:gd name="connsiteX2" fmla="*/ 298228 w 298227"/>
                    <a:gd name="connsiteY2" fmla="*/ 0 h 463654"/>
                    <a:gd name="connsiteX3" fmla="*/ 0 w 298227"/>
                    <a:gd name="connsiteY3" fmla="*/ 0 h 463654"/>
                    <a:gd name="connsiteX4" fmla="*/ 0 w 298227"/>
                    <a:gd name="connsiteY4" fmla="*/ 385001 h 4636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8227" h="463654">
                      <a:moveTo>
                        <a:pt x="0" y="385001"/>
                      </a:moveTo>
                      <a:cubicBezTo>
                        <a:pt x="51816" y="489109"/>
                        <a:pt x="237172" y="490633"/>
                        <a:pt x="298228" y="385001"/>
                      </a:cubicBezTo>
                      <a:lnTo>
                        <a:pt x="298228" y="0"/>
                      </a:lnTo>
                      <a:lnTo>
                        <a:pt x="0" y="0"/>
                      </a:lnTo>
                      <a:cubicBezTo>
                        <a:pt x="0" y="0"/>
                        <a:pt x="0" y="385001"/>
                        <a:pt x="0" y="385001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6" name="Freihandform: Form 115">
                  <a:extLst>
                    <a:ext uri="{FF2B5EF4-FFF2-40B4-BE49-F238E27FC236}">
                      <a16:creationId xmlns:a16="http://schemas.microsoft.com/office/drawing/2014/main" id="{23DDFB16-2B81-0311-E5FF-DA5841195B9C}"/>
                    </a:ext>
                  </a:extLst>
                </p:cNvPr>
                <p:cNvSpPr/>
                <p:nvPr/>
              </p:nvSpPr>
              <p:spPr>
                <a:xfrm>
                  <a:off x="9054877" y="7945437"/>
                  <a:ext cx="361378" cy="476350"/>
                </a:xfrm>
                <a:custGeom>
                  <a:avLst/>
                  <a:gdLst>
                    <a:gd name="connsiteX0" fmla="*/ 361379 w 361378"/>
                    <a:gd name="connsiteY0" fmla="*/ 0 h 476350"/>
                    <a:gd name="connsiteX1" fmla="*/ 347186 w 361378"/>
                    <a:gd name="connsiteY1" fmla="*/ 72295 h 476350"/>
                    <a:gd name="connsiteX2" fmla="*/ 224790 w 361378"/>
                    <a:gd name="connsiteY2" fmla="*/ 204121 h 476350"/>
                    <a:gd name="connsiteX3" fmla="*/ 143542 w 361378"/>
                    <a:gd name="connsiteY3" fmla="*/ 260890 h 476350"/>
                    <a:gd name="connsiteX4" fmla="*/ 220313 w 361378"/>
                    <a:gd name="connsiteY4" fmla="*/ 473012 h 476350"/>
                    <a:gd name="connsiteX5" fmla="*/ 0 w 361378"/>
                    <a:gd name="connsiteY5" fmla="*/ 278987 h 476350"/>
                    <a:gd name="connsiteX6" fmla="*/ 88106 w 361378"/>
                    <a:gd name="connsiteY6" fmla="*/ 244888 h 476350"/>
                    <a:gd name="connsiteX7" fmla="*/ 88106 w 361378"/>
                    <a:gd name="connsiteY7" fmla="*/ 0 h 476350"/>
                    <a:gd name="connsiteX8" fmla="*/ 361379 w 361378"/>
                    <a:gd name="connsiteY8" fmla="*/ 0 h 476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61378" h="476350">
                      <a:moveTo>
                        <a:pt x="361379" y="0"/>
                      </a:moveTo>
                      <a:lnTo>
                        <a:pt x="347186" y="72295"/>
                      </a:lnTo>
                      <a:cubicBezTo>
                        <a:pt x="347186" y="72295"/>
                        <a:pt x="321945" y="199168"/>
                        <a:pt x="224790" y="204121"/>
                      </a:cubicBezTo>
                      <a:cubicBezTo>
                        <a:pt x="166688" y="207073"/>
                        <a:pt x="143827" y="229362"/>
                        <a:pt x="143542" y="260890"/>
                      </a:cubicBezTo>
                      <a:cubicBezTo>
                        <a:pt x="142590" y="384810"/>
                        <a:pt x="240030" y="440627"/>
                        <a:pt x="220313" y="473012"/>
                      </a:cubicBezTo>
                      <a:cubicBezTo>
                        <a:pt x="147733" y="501110"/>
                        <a:pt x="34100" y="344519"/>
                        <a:pt x="0" y="278987"/>
                      </a:cubicBezTo>
                      <a:lnTo>
                        <a:pt x="88106" y="244888"/>
                      </a:lnTo>
                      <a:lnTo>
                        <a:pt x="88106" y="0"/>
                      </a:lnTo>
                      <a:lnTo>
                        <a:pt x="361379" y="0"/>
                      </a:lnTo>
                      <a:close/>
                    </a:path>
                  </a:pathLst>
                </a:custGeom>
                <a:solidFill>
                  <a:srgbClr val="4B2E1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7" name="Freihandform: Form 116">
                  <a:extLst>
                    <a:ext uri="{FF2B5EF4-FFF2-40B4-BE49-F238E27FC236}">
                      <a16:creationId xmlns:a16="http://schemas.microsoft.com/office/drawing/2014/main" id="{E6A5F262-92EC-48FB-FBFF-7E3B5BB59752}"/>
                    </a:ext>
                  </a:extLst>
                </p:cNvPr>
                <p:cNvSpPr/>
                <p:nvPr/>
              </p:nvSpPr>
              <p:spPr>
                <a:xfrm>
                  <a:off x="9092333" y="7562696"/>
                  <a:ext cx="400153" cy="557524"/>
                </a:xfrm>
                <a:custGeom>
                  <a:avLst/>
                  <a:gdLst>
                    <a:gd name="connsiteX0" fmla="*/ 398979 w 400153"/>
                    <a:gd name="connsiteY0" fmla="*/ 188336 h 557524"/>
                    <a:gd name="connsiteX1" fmla="*/ 346687 w 400153"/>
                    <a:gd name="connsiteY1" fmla="*/ 49080 h 557524"/>
                    <a:gd name="connsiteX2" fmla="*/ 200097 w 400153"/>
                    <a:gd name="connsiteY2" fmla="*/ 26 h 557524"/>
                    <a:gd name="connsiteX3" fmla="*/ 53507 w 400153"/>
                    <a:gd name="connsiteY3" fmla="*/ 49080 h 557524"/>
                    <a:gd name="connsiteX4" fmla="*/ 1215 w 400153"/>
                    <a:gd name="connsiteY4" fmla="*/ 188336 h 557524"/>
                    <a:gd name="connsiteX5" fmla="*/ 2073 w 400153"/>
                    <a:gd name="connsiteY5" fmla="*/ 321400 h 557524"/>
                    <a:gd name="connsiteX6" fmla="*/ 61604 w 400153"/>
                    <a:gd name="connsiteY6" fmla="*/ 469704 h 557524"/>
                    <a:gd name="connsiteX7" fmla="*/ 200097 w 400153"/>
                    <a:gd name="connsiteY7" fmla="*/ 557525 h 557524"/>
                    <a:gd name="connsiteX8" fmla="*/ 338591 w 400153"/>
                    <a:gd name="connsiteY8" fmla="*/ 469704 h 557524"/>
                    <a:gd name="connsiteX9" fmla="*/ 398122 w 400153"/>
                    <a:gd name="connsiteY9" fmla="*/ 321400 h 557524"/>
                    <a:gd name="connsiteX10" fmla="*/ 398979 w 400153"/>
                    <a:gd name="connsiteY10" fmla="*/ 188336 h 5575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00153" h="557524">
                      <a:moveTo>
                        <a:pt x="398979" y="188336"/>
                      </a:moveTo>
                      <a:cubicBezTo>
                        <a:pt x="398979" y="188336"/>
                        <a:pt x="394217" y="105278"/>
                        <a:pt x="346687" y="49080"/>
                      </a:cubicBezTo>
                      <a:cubicBezTo>
                        <a:pt x="307540" y="2789"/>
                        <a:pt x="227148" y="-355"/>
                        <a:pt x="200097" y="26"/>
                      </a:cubicBezTo>
                      <a:cubicBezTo>
                        <a:pt x="173046" y="-355"/>
                        <a:pt x="92655" y="2789"/>
                        <a:pt x="53507" y="49080"/>
                      </a:cubicBezTo>
                      <a:cubicBezTo>
                        <a:pt x="5978" y="105278"/>
                        <a:pt x="1215" y="188336"/>
                        <a:pt x="1215" y="188336"/>
                      </a:cubicBezTo>
                      <a:cubicBezTo>
                        <a:pt x="1215" y="188336"/>
                        <a:pt x="-2023" y="284252"/>
                        <a:pt x="2073" y="321400"/>
                      </a:cubicBezTo>
                      <a:cubicBezTo>
                        <a:pt x="6073" y="358452"/>
                        <a:pt x="1882" y="409316"/>
                        <a:pt x="61604" y="469704"/>
                      </a:cubicBezTo>
                      <a:cubicBezTo>
                        <a:pt x="119802" y="528664"/>
                        <a:pt x="159711" y="556191"/>
                        <a:pt x="200097" y="557525"/>
                      </a:cubicBezTo>
                      <a:cubicBezTo>
                        <a:pt x="240483" y="556191"/>
                        <a:pt x="280393" y="528664"/>
                        <a:pt x="338591" y="469704"/>
                      </a:cubicBezTo>
                      <a:cubicBezTo>
                        <a:pt x="398217" y="409316"/>
                        <a:pt x="394026" y="358452"/>
                        <a:pt x="398122" y="321400"/>
                      </a:cubicBezTo>
                      <a:cubicBezTo>
                        <a:pt x="402123" y="284348"/>
                        <a:pt x="398979" y="188336"/>
                        <a:pt x="398979" y="18833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8" name="Freihandform: Form 117">
                  <a:extLst>
                    <a:ext uri="{FF2B5EF4-FFF2-40B4-BE49-F238E27FC236}">
                      <a16:creationId xmlns:a16="http://schemas.microsoft.com/office/drawing/2014/main" id="{91B26D5F-758C-13F5-4A17-EBFD1112D69A}"/>
                    </a:ext>
                  </a:extLst>
                </p:cNvPr>
                <p:cNvSpPr/>
                <p:nvPr/>
              </p:nvSpPr>
              <p:spPr>
                <a:xfrm rot="18018600">
                  <a:off x="9397508" y="7761554"/>
                  <a:ext cx="196214" cy="136778"/>
                </a:xfrm>
                <a:custGeom>
                  <a:avLst/>
                  <a:gdLst>
                    <a:gd name="connsiteX0" fmla="*/ 196215 w 196214"/>
                    <a:gd name="connsiteY0" fmla="*/ 68389 h 136778"/>
                    <a:gd name="connsiteX1" fmla="*/ 98107 w 196214"/>
                    <a:gd name="connsiteY1" fmla="*/ 136779 h 136778"/>
                    <a:gd name="connsiteX2" fmla="*/ 0 w 196214"/>
                    <a:gd name="connsiteY2" fmla="*/ 68389 h 136778"/>
                    <a:gd name="connsiteX3" fmla="*/ 98107 w 196214"/>
                    <a:gd name="connsiteY3" fmla="*/ 0 h 136778"/>
                    <a:gd name="connsiteX4" fmla="*/ 196215 w 196214"/>
                    <a:gd name="connsiteY4" fmla="*/ 68389 h 136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6214" h="136778">
                      <a:moveTo>
                        <a:pt x="196215" y="68389"/>
                      </a:moveTo>
                      <a:cubicBezTo>
                        <a:pt x="196215" y="106160"/>
                        <a:pt x="152291" y="136779"/>
                        <a:pt x="98107" y="136779"/>
                      </a:cubicBezTo>
                      <a:cubicBezTo>
                        <a:pt x="43924" y="136779"/>
                        <a:pt x="0" y="106160"/>
                        <a:pt x="0" y="68389"/>
                      </a:cubicBezTo>
                      <a:cubicBezTo>
                        <a:pt x="0" y="30619"/>
                        <a:pt x="43924" y="0"/>
                        <a:pt x="98107" y="0"/>
                      </a:cubicBezTo>
                      <a:cubicBezTo>
                        <a:pt x="152291" y="0"/>
                        <a:pt x="196215" y="30619"/>
                        <a:pt x="196215" y="68389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9" name="Freihandform: Form 118">
                  <a:extLst>
                    <a:ext uri="{FF2B5EF4-FFF2-40B4-BE49-F238E27FC236}">
                      <a16:creationId xmlns:a16="http://schemas.microsoft.com/office/drawing/2014/main" id="{13428BB7-5E8E-B0A7-C6E4-9F420DA2BFC4}"/>
                    </a:ext>
                  </a:extLst>
                </p:cNvPr>
                <p:cNvSpPr/>
                <p:nvPr/>
              </p:nvSpPr>
              <p:spPr>
                <a:xfrm rot="20184000">
                  <a:off x="9013384" y="7733298"/>
                  <a:ext cx="138112" cy="194310"/>
                </a:xfrm>
                <a:custGeom>
                  <a:avLst/>
                  <a:gdLst>
                    <a:gd name="connsiteX0" fmla="*/ 138113 w 138112"/>
                    <a:gd name="connsiteY0" fmla="*/ 97155 h 194310"/>
                    <a:gd name="connsiteX1" fmla="*/ 69056 w 138112"/>
                    <a:gd name="connsiteY1" fmla="*/ 194310 h 194310"/>
                    <a:gd name="connsiteX2" fmla="*/ 0 w 138112"/>
                    <a:gd name="connsiteY2" fmla="*/ 97155 h 194310"/>
                    <a:gd name="connsiteX3" fmla="*/ 69056 w 138112"/>
                    <a:gd name="connsiteY3" fmla="*/ 0 h 194310"/>
                    <a:gd name="connsiteX4" fmla="*/ 138113 w 138112"/>
                    <a:gd name="connsiteY4" fmla="*/ 97155 h 1943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8112" h="194310">
                      <a:moveTo>
                        <a:pt x="138113" y="97155"/>
                      </a:moveTo>
                      <a:cubicBezTo>
                        <a:pt x="138113" y="150812"/>
                        <a:pt x="107195" y="194310"/>
                        <a:pt x="69056" y="194310"/>
                      </a:cubicBezTo>
                      <a:cubicBezTo>
                        <a:pt x="30917" y="194310"/>
                        <a:pt x="0" y="150812"/>
                        <a:pt x="0" y="97155"/>
                      </a:cubicBezTo>
                      <a:cubicBezTo>
                        <a:pt x="0" y="43498"/>
                        <a:pt x="30917" y="0"/>
                        <a:pt x="69056" y="0"/>
                      </a:cubicBezTo>
                      <a:cubicBezTo>
                        <a:pt x="107195" y="0"/>
                        <a:pt x="138113" y="43498"/>
                        <a:pt x="138113" y="97155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0" name="Freihandform: Form 119">
                  <a:extLst>
                    <a:ext uri="{FF2B5EF4-FFF2-40B4-BE49-F238E27FC236}">
                      <a16:creationId xmlns:a16="http://schemas.microsoft.com/office/drawing/2014/main" id="{86E09787-667C-C4AE-0CE2-D1CF0CB94BBF}"/>
                    </a:ext>
                  </a:extLst>
                </p:cNvPr>
                <p:cNvSpPr/>
                <p:nvPr/>
              </p:nvSpPr>
              <p:spPr>
                <a:xfrm>
                  <a:off x="9023349" y="7397083"/>
                  <a:ext cx="538162" cy="562546"/>
                </a:xfrm>
                <a:custGeom>
                  <a:avLst/>
                  <a:gdLst>
                    <a:gd name="connsiteX0" fmla="*/ 538163 w 538162"/>
                    <a:gd name="connsiteY0" fmla="*/ 281273 h 562546"/>
                    <a:gd name="connsiteX1" fmla="*/ 269081 w 538162"/>
                    <a:gd name="connsiteY1" fmla="*/ 562547 h 562546"/>
                    <a:gd name="connsiteX2" fmla="*/ 0 w 538162"/>
                    <a:gd name="connsiteY2" fmla="*/ 281273 h 562546"/>
                    <a:gd name="connsiteX3" fmla="*/ 269081 w 538162"/>
                    <a:gd name="connsiteY3" fmla="*/ 0 h 562546"/>
                    <a:gd name="connsiteX4" fmla="*/ 538163 w 538162"/>
                    <a:gd name="connsiteY4" fmla="*/ 281273 h 562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8162" h="562546">
                      <a:moveTo>
                        <a:pt x="538163" y="281273"/>
                      </a:moveTo>
                      <a:cubicBezTo>
                        <a:pt x="538163" y="436616"/>
                        <a:pt x="417691" y="562547"/>
                        <a:pt x="269081" y="562547"/>
                      </a:cubicBezTo>
                      <a:cubicBezTo>
                        <a:pt x="120472" y="562547"/>
                        <a:pt x="0" y="436616"/>
                        <a:pt x="0" y="281273"/>
                      </a:cubicBezTo>
                      <a:cubicBezTo>
                        <a:pt x="0" y="125930"/>
                        <a:pt x="120472" y="0"/>
                        <a:pt x="269081" y="0"/>
                      </a:cubicBezTo>
                      <a:cubicBezTo>
                        <a:pt x="417691" y="0"/>
                        <a:pt x="538163" y="125930"/>
                        <a:pt x="538163" y="281273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1" name="Freihandform: Form 120">
                  <a:extLst>
                    <a:ext uri="{FF2B5EF4-FFF2-40B4-BE49-F238E27FC236}">
                      <a16:creationId xmlns:a16="http://schemas.microsoft.com/office/drawing/2014/main" id="{756205D1-73F1-86DC-6062-86338FFC72ED}"/>
                    </a:ext>
                  </a:extLst>
                </p:cNvPr>
                <p:cNvSpPr/>
                <p:nvPr/>
              </p:nvSpPr>
              <p:spPr>
                <a:xfrm>
                  <a:off x="9011639" y="7401845"/>
                  <a:ext cx="530631" cy="404621"/>
                </a:xfrm>
                <a:custGeom>
                  <a:avLst/>
                  <a:gdLst>
                    <a:gd name="connsiteX0" fmla="*/ 267647 w 530631"/>
                    <a:gd name="connsiteY0" fmla="*/ 127540 h 404621"/>
                    <a:gd name="connsiteX1" fmla="*/ 491770 w 530631"/>
                    <a:gd name="connsiteY1" fmla="*/ 404622 h 404621"/>
                    <a:gd name="connsiteX2" fmla="*/ 530632 w 530631"/>
                    <a:gd name="connsiteY2" fmla="*/ 281273 h 404621"/>
                    <a:gd name="connsiteX3" fmla="*/ 266408 w 530631"/>
                    <a:gd name="connsiteY3" fmla="*/ 0 h 404621"/>
                    <a:gd name="connsiteX4" fmla="*/ 87814 w 530631"/>
                    <a:gd name="connsiteY4" fmla="*/ 74009 h 404621"/>
                    <a:gd name="connsiteX5" fmla="*/ 54382 w 530631"/>
                    <a:gd name="connsiteY5" fmla="*/ 389858 h 404621"/>
                    <a:gd name="connsiteX6" fmla="*/ 267647 w 530631"/>
                    <a:gd name="connsiteY6" fmla="*/ 127540 h 4046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0631" h="404621">
                      <a:moveTo>
                        <a:pt x="267647" y="127540"/>
                      </a:moveTo>
                      <a:cubicBezTo>
                        <a:pt x="459099" y="139637"/>
                        <a:pt x="435572" y="297085"/>
                        <a:pt x="491770" y="404622"/>
                      </a:cubicBezTo>
                      <a:cubicBezTo>
                        <a:pt x="502343" y="374142"/>
                        <a:pt x="530632" y="315659"/>
                        <a:pt x="530632" y="281273"/>
                      </a:cubicBezTo>
                      <a:cubicBezTo>
                        <a:pt x="530632" y="125920"/>
                        <a:pt x="412331" y="0"/>
                        <a:pt x="266408" y="0"/>
                      </a:cubicBezTo>
                      <a:cubicBezTo>
                        <a:pt x="197543" y="0"/>
                        <a:pt x="134773" y="28004"/>
                        <a:pt x="87814" y="74009"/>
                      </a:cubicBezTo>
                      <a:cubicBezTo>
                        <a:pt x="17520" y="108204"/>
                        <a:pt x="-51250" y="297085"/>
                        <a:pt x="54382" y="389858"/>
                      </a:cubicBezTo>
                      <a:cubicBezTo>
                        <a:pt x="94958" y="311753"/>
                        <a:pt x="95244" y="116681"/>
                        <a:pt x="267647" y="12754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2" name="Freihandform: Form 121">
                  <a:extLst>
                    <a:ext uri="{FF2B5EF4-FFF2-40B4-BE49-F238E27FC236}">
                      <a16:creationId xmlns:a16="http://schemas.microsoft.com/office/drawing/2014/main" id="{9090493D-3C68-EA4D-35B5-667E293ADB14}"/>
                    </a:ext>
                  </a:extLst>
                </p:cNvPr>
                <p:cNvSpPr/>
                <p:nvPr/>
              </p:nvSpPr>
              <p:spPr>
                <a:xfrm>
                  <a:off x="9240995" y="7883810"/>
                  <a:ext cx="78793" cy="32099"/>
                </a:xfrm>
                <a:custGeom>
                  <a:avLst/>
                  <a:gdLst>
                    <a:gd name="connsiteX0" fmla="*/ 1143 w 78793"/>
                    <a:gd name="connsiteY0" fmla="*/ 0 h 32099"/>
                    <a:gd name="connsiteX1" fmla="*/ 35814 w 78793"/>
                    <a:gd name="connsiteY1" fmla="*/ 10573 h 32099"/>
                    <a:gd name="connsiteX2" fmla="*/ 77820 w 78793"/>
                    <a:gd name="connsiteY2" fmla="*/ 0 h 32099"/>
                    <a:gd name="connsiteX3" fmla="*/ 77820 w 78793"/>
                    <a:gd name="connsiteY3" fmla="*/ 9239 h 32099"/>
                    <a:gd name="connsiteX4" fmla="*/ 37148 w 78793"/>
                    <a:gd name="connsiteY4" fmla="*/ 32099 h 32099"/>
                    <a:gd name="connsiteX5" fmla="*/ 1143 w 78793"/>
                    <a:gd name="connsiteY5" fmla="*/ 10192 h 32099"/>
                    <a:gd name="connsiteX6" fmla="*/ 1143 w 78793"/>
                    <a:gd name="connsiteY6" fmla="*/ 95 h 32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8793" h="32099">
                      <a:moveTo>
                        <a:pt x="1143" y="0"/>
                      </a:moveTo>
                      <a:cubicBezTo>
                        <a:pt x="1143" y="0"/>
                        <a:pt x="11049" y="10573"/>
                        <a:pt x="35814" y="10573"/>
                      </a:cubicBezTo>
                      <a:cubicBezTo>
                        <a:pt x="67152" y="10573"/>
                        <a:pt x="77820" y="0"/>
                        <a:pt x="77820" y="0"/>
                      </a:cubicBezTo>
                      <a:cubicBezTo>
                        <a:pt x="77820" y="0"/>
                        <a:pt x="80010" y="3143"/>
                        <a:pt x="77820" y="9239"/>
                      </a:cubicBezTo>
                      <a:cubicBezTo>
                        <a:pt x="76295" y="13525"/>
                        <a:pt x="62675" y="32099"/>
                        <a:pt x="37148" y="32099"/>
                      </a:cubicBezTo>
                      <a:cubicBezTo>
                        <a:pt x="17240" y="32099"/>
                        <a:pt x="3715" y="16383"/>
                        <a:pt x="1143" y="10192"/>
                      </a:cubicBezTo>
                      <a:cubicBezTo>
                        <a:pt x="-1429" y="4000"/>
                        <a:pt x="1143" y="95"/>
                        <a:pt x="1143" y="95"/>
                      </a:cubicBezTo>
                      <a:close/>
                    </a:path>
                  </a:pathLst>
                </a:custGeom>
                <a:solidFill>
                  <a:srgbClr val="4B2E1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3" name="Freihandform: Form 122">
                  <a:extLst>
                    <a:ext uri="{FF2B5EF4-FFF2-40B4-BE49-F238E27FC236}">
                      <a16:creationId xmlns:a16="http://schemas.microsoft.com/office/drawing/2014/main" id="{49C62122-9D11-E523-71B2-7013062F6D39}"/>
                    </a:ext>
                  </a:extLst>
                </p:cNvPr>
                <p:cNvSpPr/>
                <p:nvPr/>
              </p:nvSpPr>
              <p:spPr>
                <a:xfrm>
                  <a:off x="9312056" y="7699025"/>
                  <a:ext cx="140203" cy="47053"/>
                </a:xfrm>
                <a:custGeom>
                  <a:avLst/>
                  <a:gdLst>
                    <a:gd name="connsiteX0" fmla="*/ 109438 w 140203"/>
                    <a:gd name="connsiteY0" fmla="*/ 17716 h 47053"/>
                    <a:gd name="connsiteX1" fmla="*/ 55812 w 140203"/>
                    <a:gd name="connsiteY1" fmla="*/ 762 h 47053"/>
                    <a:gd name="connsiteX2" fmla="*/ 55812 w 140203"/>
                    <a:gd name="connsiteY2" fmla="*/ 762 h 47053"/>
                    <a:gd name="connsiteX3" fmla="*/ 7711 w 140203"/>
                    <a:gd name="connsiteY3" fmla="*/ 6191 h 47053"/>
                    <a:gd name="connsiteX4" fmla="*/ 4282 w 140203"/>
                    <a:gd name="connsiteY4" fmla="*/ 8858 h 47053"/>
                    <a:gd name="connsiteX5" fmla="*/ 13902 w 140203"/>
                    <a:gd name="connsiteY5" fmla="*/ 33242 h 47053"/>
                    <a:gd name="connsiteX6" fmla="*/ 41239 w 140203"/>
                    <a:gd name="connsiteY6" fmla="*/ 30766 h 47053"/>
                    <a:gd name="connsiteX7" fmla="*/ 105533 w 140203"/>
                    <a:gd name="connsiteY7" fmla="*/ 34480 h 47053"/>
                    <a:gd name="connsiteX8" fmla="*/ 140204 w 140203"/>
                    <a:gd name="connsiteY8" fmla="*/ 47053 h 47053"/>
                    <a:gd name="connsiteX9" fmla="*/ 109438 w 140203"/>
                    <a:gd name="connsiteY9" fmla="*/ 17716 h 4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0203" h="47053">
                      <a:moveTo>
                        <a:pt x="109438" y="17716"/>
                      </a:moveTo>
                      <a:cubicBezTo>
                        <a:pt x="90864" y="5905"/>
                        <a:pt x="70671" y="1429"/>
                        <a:pt x="55812" y="762"/>
                      </a:cubicBezTo>
                      <a:lnTo>
                        <a:pt x="55812" y="762"/>
                      </a:lnTo>
                      <a:cubicBezTo>
                        <a:pt x="30285" y="-1810"/>
                        <a:pt x="13236" y="2667"/>
                        <a:pt x="7711" y="6191"/>
                      </a:cubicBezTo>
                      <a:cubicBezTo>
                        <a:pt x="6377" y="7048"/>
                        <a:pt x="5234" y="7906"/>
                        <a:pt x="4282" y="8858"/>
                      </a:cubicBezTo>
                      <a:cubicBezTo>
                        <a:pt x="-4862" y="17526"/>
                        <a:pt x="1710" y="33623"/>
                        <a:pt x="13902" y="33242"/>
                      </a:cubicBezTo>
                      <a:cubicBezTo>
                        <a:pt x="19522" y="33147"/>
                        <a:pt x="33333" y="31528"/>
                        <a:pt x="41239" y="30766"/>
                      </a:cubicBezTo>
                      <a:cubicBezTo>
                        <a:pt x="55050" y="29337"/>
                        <a:pt x="94293" y="31432"/>
                        <a:pt x="105533" y="34480"/>
                      </a:cubicBezTo>
                      <a:cubicBezTo>
                        <a:pt x="127536" y="40481"/>
                        <a:pt x="140204" y="47053"/>
                        <a:pt x="140204" y="47053"/>
                      </a:cubicBezTo>
                      <a:cubicBezTo>
                        <a:pt x="140204" y="47053"/>
                        <a:pt x="134203" y="33528"/>
                        <a:pt x="109438" y="1771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4" name="Freihandform: Form 123">
                  <a:extLst>
                    <a:ext uri="{FF2B5EF4-FFF2-40B4-BE49-F238E27FC236}">
                      <a16:creationId xmlns:a16="http://schemas.microsoft.com/office/drawing/2014/main" id="{69631DEF-C31A-2B50-2720-80AF17A1E993}"/>
                    </a:ext>
                  </a:extLst>
                </p:cNvPr>
                <p:cNvSpPr/>
                <p:nvPr/>
              </p:nvSpPr>
              <p:spPr>
                <a:xfrm rot="16434000">
                  <a:off x="9156216" y="7772737"/>
                  <a:ext cx="40385" cy="37909"/>
                </a:xfrm>
                <a:custGeom>
                  <a:avLst/>
                  <a:gdLst>
                    <a:gd name="connsiteX0" fmla="*/ 40386 w 40385"/>
                    <a:gd name="connsiteY0" fmla="*/ 18955 h 37909"/>
                    <a:gd name="connsiteX1" fmla="*/ 20193 w 40385"/>
                    <a:gd name="connsiteY1" fmla="*/ 37910 h 37909"/>
                    <a:gd name="connsiteX2" fmla="*/ 0 w 40385"/>
                    <a:gd name="connsiteY2" fmla="*/ 18955 h 37909"/>
                    <a:gd name="connsiteX3" fmla="*/ 20193 w 40385"/>
                    <a:gd name="connsiteY3" fmla="*/ 0 h 37909"/>
                    <a:gd name="connsiteX4" fmla="*/ 40386 w 40385"/>
                    <a:gd name="connsiteY4" fmla="*/ 18955 h 37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385" h="37909">
                      <a:moveTo>
                        <a:pt x="40386" y="18955"/>
                      </a:moveTo>
                      <a:cubicBezTo>
                        <a:pt x="40386" y="29423"/>
                        <a:pt x="31345" y="37910"/>
                        <a:pt x="20193" y="37910"/>
                      </a:cubicBezTo>
                      <a:cubicBezTo>
                        <a:pt x="9041" y="37910"/>
                        <a:pt x="0" y="29423"/>
                        <a:pt x="0" y="18955"/>
                      </a:cubicBezTo>
                      <a:cubicBezTo>
                        <a:pt x="0" y="8486"/>
                        <a:pt x="9041" y="0"/>
                        <a:pt x="20193" y="0"/>
                      </a:cubicBezTo>
                      <a:cubicBezTo>
                        <a:pt x="31345" y="0"/>
                        <a:pt x="40386" y="8486"/>
                        <a:pt x="40386" y="18955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5" name="Freihandform: Form 124">
                  <a:extLst>
                    <a:ext uri="{FF2B5EF4-FFF2-40B4-BE49-F238E27FC236}">
                      <a16:creationId xmlns:a16="http://schemas.microsoft.com/office/drawing/2014/main" id="{EBE8FCDB-262D-14AC-1E63-1E90EE200942}"/>
                    </a:ext>
                  </a:extLst>
                </p:cNvPr>
                <p:cNvSpPr/>
                <p:nvPr/>
              </p:nvSpPr>
              <p:spPr>
                <a:xfrm>
                  <a:off x="9106502" y="7700645"/>
                  <a:ext cx="140013" cy="47053"/>
                </a:xfrm>
                <a:custGeom>
                  <a:avLst/>
                  <a:gdLst>
                    <a:gd name="connsiteX0" fmla="*/ 30766 w 140013"/>
                    <a:gd name="connsiteY0" fmla="*/ 17716 h 47053"/>
                    <a:gd name="connsiteX1" fmla="*/ 84297 w 140013"/>
                    <a:gd name="connsiteY1" fmla="*/ 762 h 47053"/>
                    <a:gd name="connsiteX2" fmla="*/ 84297 w 140013"/>
                    <a:gd name="connsiteY2" fmla="*/ 762 h 47053"/>
                    <a:gd name="connsiteX3" fmla="*/ 132302 w 140013"/>
                    <a:gd name="connsiteY3" fmla="*/ 6191 h 47053"/>
                    <a:gd name="connsiteX4" fmla="*/ 135731 w 140013"/>
                    <a:gd name="connsiteY4" fmla="*/ 8858 h 47053"/>
                    <a:gd name="connsiteX5" fmla="*/ 126111 w 140013"/>
                    <a:gd name="connsiteY5" fmla="*/ 33242 h 47053"/>
                    <a:gd name="connsiteX6" fmla="*/ 98774 w 140013"/>
                    <a:gd name="connsiteY6" fmla="*/ 30766 h 47053"/>
                    <a:gd name="connsiteX7" fmla="*/ 34576 w 140013"/>
                    <a:gd name="connsiteY7" fmla="*/ 34480 h 47053"/>
                    <a:gd name="connsiteX8" fmla="*/ 0 w 140013"/>
                    <a:gd name="connsiteY8" fmla="*/ 47053 h 47053"/>
                    <a:gd name="connsiteX9" fmla="*/ 30766 w 140013"/>
                    <a:gd name="connsiteY9" fmla="*/ 17716 h 4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0013" h="47053">
                      <a:moveTo>
                        <a:pt x="30766" y="17716"/>
                      </a:moveTo>
                      <a:cubicBezTo>
                        <a:pt x="49339" y="5905"/>
                        <a:pt x="69438" y="1429"/>
                        <a:pt x="84297" y="762"/>
                      </a:cubicBezTo>
                      <a:lnTo>
                        <a:pt x="84297" y="762"/>
                      </a:lnTo>
                      <a:cubicBezTo>
                        <a:pt x="109824" y="-1810"/>
                        <a:pt x="126778" y="2667"/>
                        <a:pt x="132302" y="6191"/>
                      </a:cubicBezTo>
                      <a:cubicBezTo>
                        <a:pt x="133636" y="7048"/>
                        <a:pt x="134684" y="7906"/>
                        <a:pt x="135731" y="8858"/>
                      </a:cubicBezTo>
                      <a:cubicBezTo>
                        <a:pt x="144875" y="17526"/>
                        <a:pt x="138303" y="33623"/>
                        <a:pt x="126111" y="33242"/>
                      </a:cubicBezTo>
                      <a:cubicBezTo>
                        <a:pt x="120491" y="33147"/>
                        <a:pt x="106680" y="31528"/>
                        <a:pt x="98774" y="30766"/>
                      </a:cubicBezTo>
                      <a:cubicBezTo>
                        <a:pt x="84963" y="29337"/>
                        <a:pt x="45815" y="31432"/>
                        <a:pt x="34576" y="34480"/>
                      </a:cubicBezTo>
                      <a:cubicBezTo>
                        <a:pt x="12573" y="40481"/>
                        <a:pt x="0" y="47053"/>
                        <a:pt x="0" y="47053"/>
                      </a:cubicBezTo>
                      <a:cubicBezTo>
                        <a:pt x="0" y="47053"/>
                        <a:pt x="6001" y="33528"/>
                        <a:pt x="30766" y="1771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6" name="Freihandform: Form 125">
                  <a:extLst>
                    <a:ext uri="{FF2B5EF4-FFF2-40B4-BE49-F238E27FC236}">
                      <a16:creationId xmlns:a16="http://schemas.microsoft.com/office/drawing/2014/main" id="{19DC9FEE-20FB-D943-234A-744DBB1ACDEE}"/>
                    </a:ext>
                  </a:extLst>
                </p:cNvPr>
                <p:cNvSpPr/>
                <p:nvPr/>
              </p:nvSpPr>
              <p:spPr>
                <a:xfrm>
                  <a:off x="9123564" y="7762192"/>
                  <a:ext cx="103635" cy="27457"/>
                </a:xfrm>
                <a:custGeom>
                  <a:avLst/>
                  <a:gdLst>
                    <a:gd name="connsiteX0" fmla="*/ 3227 w 103635"/>
                    <a:gd name="connsiteY0" fmla="*/ 17795 h 27457"/>
                    <a:gd name="connsiteX1" fmla="*/ 46185 w 103635"/>
                    <a:gd name="connsiteY1" fmla="*/ 174 h 27457"/>
                    <a:gd name="connsiteX2" fmla="*/ 101239 w 103635"/>
                    <a:gd name="connsiteY2" fmla="*/ 17509 h 27457"/>
                    <a:gd name="connsiteX3" fmla="*/ 97905 w 103635"/>
                    <a:gd name="connsiteY3" fmla="*/ 26939 h 27457"/>
                    <a:gd name="connsiteX4" fmla="*/ 54281 w 103635"/>
                    <a:gd name="connsiteY4" fmla="*/ 11699 h 27457"/>
                    <a:gd name="connsiteX5" fmla="*/ 10847 w 103635"/>
                    <a:gd name="connsiteY5" fmla="*/ 21415 h 27457"/>
                    <a:gd name="connsiteX6" fmla="*/ 1322 w 103635"/>
                    <a:gd name="connsiteY6" fmla="*/ 25606 h 27457"/>
                    <a:gd name="connsiteX7" fmla="*/ 3417 w 103635"/>
                    <a:gd name="connsiteY7" fmla="*/ 17795 h 274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3635" h="27457">
                      <a:moveTo>
                        <a:pt x="3227" y="17795"/>
                      </a:moveTo>
                      <a:cubicBezTo>
                        <a:pt x="7989" y="12938"/>
                        <a:pt x="23896" y="1412"/>
                        <a:pt x="46185" y="174"/>
                      </a:cubicBezTo>
                      <a:cubicBezTo>
                        <a:pt x="76569" y="-1541"/>
                        <a:pt x="94000" y="9794"/>
                        <a:pt x="101239" y="17509"/>
                      </a:cubicBezTo>
                      <a:cubicBezTo>
                        <a:pt x="106478" y="23034"/>
                        <a:pt x="102096" y="29321"/>
                        <a:pt x="97905" y="26939"/>
                      </a:cubicBezTo>
                      <a:cubicBezTo>
                        <a:pt x="86952" y="20748"/>
                        <a:pt x="81046" y="14843"/>
                        <a:pt x="54281" y="11699"/>
                      </a:cubicBezTo>
                      <a:cubicBezTo>
                        <a:pt x="35517" y="9413"/>
                        <a:pt x="17705" y="17605"/>
                        <a:pt x="10847" y="21415"/>
                      </a:cubicBezTo>
                      <a:cubicBezTo>
                        <a:pt x="5608" y="24368"/>
                        <a:pt x="2941" y="26844"/>
                        <a:pt x="1322" y="25606"/>
                      </a:cubicBezTo>
                      <a:cubicBezTo>
                        <a:pt x="-1631" y="23415"/>
                        <a:pt x="941" y="20272"/>
                        <a:pt x="3417" y="17795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7" name="Freihandform: Form 126">
                  <a:extLst>
                    <a:ext uri="{FF2B5EF4-FFF2-40B4-BE49-F238E27FC236}">
                      <a16:creationId xmlns:a16="http://schemas.microsoft.com/office/drawing/2014/main" id="{22C5B982-9729-1B85-E5E7-FCE6891A7C42}"/>
                    </a:ext>
                  </a:extLst>
                </p:cNvPr>
                <p:cNvSpPr/>
                <p:nvPr/>
              </p:nvSpPr>
              <p:spPr>
                <a:xfrm rot="21366000">
                  <a:off x="9358240" y="7771675"/>
                  <a:ext cx="37909" cy="40385"/>
                </a:xfrm>
                <a:custGeom>
                  <a:avLst/>
                  <a:gdLst>
                    <a:gd name="connsiteX0" fmla="*/ 37910 w 37909"/>
                    <a:gd name="connsiteY0" fmla="*/ 20193 h 40385"/>
                    <a:gd name="connsiteX1" fmla="*/ 18955 w 37909"/>
                    <a:gd name="connsiteY1" fmla="*/ 40386 h 40385"/>
                    <a:gd name="connsiteX2" fmla="*/ 0 w 37909"/>
                    <a:gd name="connsiteY2" fmla="*/ 20193 h 40385"/>
                    <a:gd name="connsiteX3" fmla="*/ 18955 w 37909"/>
                    <a:gd name="connsiteY3" fmla="*/ 0 h 40385"/>
                    <a:gd name="connsiteX4" fmla="*/ 37910 w 37909"/>
                    <a:gd name="connsiteY4" fmla="*/ 20193 h 40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7909" h="40385">
                      <a:moveTo>
                        <a:pt x="37910" y="20193"/>
                      </a:moveTo>
                      <a:cubicBezTo>
                        <a:pt x="37910" y="31345"/>
                        <a:pt x="29424" y="40386"/>
                        <a:pt x="18955" y="40386"/>
                      </a:cubicBezTo>
                      <a:cubicBezTo>
                        <a:pt x="8486" y="40386"/>
                        <a:pt x="0" y="31345"/>
                        <a:pt x="0" y="20193"/>
                      </a:cubicBezTo>
                      <a:cubicBezTo>
                        <a:pt x="0" y="9041"/>
                        <a:pt x="8486" y="0"/>
                        <a:pt x="18955" y="0"/>
                      </a:cubicBezTo>
                      <a:cubicBezTo>
                        <a:pt x="29424" y="0"/>
                        <a:pt x="37910" y="9041"/>
                        <a:pt x="37910" y="20193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8" name="Freihandform: Form 127">
                  <a:extLst>
                    <a:ext uri="{FF2B5EF4-FFF2-40B4-BE49-F238E27FC236}">
                      <a16:creationId xmlns:a16="http://schemas.microsoft.com/office/drawing/2014/main" id="{6FC37FC6-F10A-4C8C-D3CB-FE929BFB1478}"/>
                    </a:ext>
                  </a:extLst>
                </p:cNvPr>
                <p:cNvSpPr/>
                <p:nvPr/>
              </p:nvSpPr>
              <p:spPr>
                <a:xfrm>
                  <a:off x="9326515" y="7762192"/>
                  <a:ext cx="103634" cy="27457"/>
                </a:xfrm>
                <a:custGeom>
                  <a:avLst/>
                  <a:gdLst>
                    <a:gd name="connsiteX0" fmla="*/ 100408 w 103634"/>
                    <a:gd name="connsiteY0" fmla="*/ 17795 h 27457"/>
                    <a:gd name="connsiteX1" fmla="*/ 57450 w 103634"/>
                    <a:gd name="connsiteY1" fmla="*/ 174 h 27457"/>
                    <a:gd name="connsiteX2" fmla="*/ 2396 w 103634"/>
                    <a:gd name="connsiteY2" fmla="*/ 17509 h 27457"/>
                    <a:gd name="connsiteX3" fmla="*/ 5730 w 103634"/>
                    <a:gd name="connsiteY3" fmla="*/ 26939 h 27457"/>
                    <a:gd name="connsiteX4" fmla="*/ 49354 w 103634"/>
                    <a:gd name="connsiteY4" fmla="*/ 11699 h 27457"/>
                    <a:gd name="connsiteX5" fmla="*/ 92788 w 103634"/>
                    <a:gd name="connsiteY5" fmla="*/ 21415 h 27457"/>
                    <a:gd name="connsiteX6" fmla="*/ 102313 w 103634"/>
                    <a:gd name="connsiteY6" fmla="*/ 25606 h 27457"/>
                    <a:gd name="connsiteX7" fmla="*/ 100218 w 103634"/>
                    <a:gd name="connsiteY7" fmla="*/ 17795 h 274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3634" h="27457">
                      <a:moveTo>
                        <a:pt x="100408" y="17795"/>
                      </a:moveTo>
                      <a:cubicBezTo>
                        <a:pt x="95646" y="12938"/>
                        <a:pt x="79739" y="1412"/>
                        <a:pt x="57450" y="174"/>
                      </a:cubicBezTo>
                      <a:cubicBezTo>
                        <a:pt x="27066" y="-1541"/>
                        <a:pt x="9635" y="9794"/>
                        <a:pt x="2396" y="17509"/>
                      </a:cubicBezTo>
                      <a:cubicBezTo>
                        <a:pt x="-2842" y="23034"/>
                        <a:pt x="1539" y="29321"/>
                        <a:pt x="5730" y="26939"/>
                      </a:cubicBezTo>
                      <a:cubicBezTo>
                        <a:pt x="16684" y="20748"/>
                        <a:pt x="22589" y="14843"/>
                        <a:pt x="49354" y="11699"/>
                      </a:cubicBezTo>
                      <a:cubicBezTo>
                        <a:pt x="68118" y="9413"/>
                        <a:pt x="85930" y="17605"/>
                        <a:pt x="92788" y="21415"/>
                      </a:cubicBezTo>
                      <a:cubicBezTo>
                        <a:pt x="98027" y="24368"/>
                        <a:pt x="100694" y="26844"/>
                        <a:pt x="102313" y="25606"/>
                      </a:cubicBezTo>
                      <a:cubicBezTo>
                        <a:pt x="105266" y="23415"/>
                        <a:pt x="102694" y="20272"/>
                        <a:pt x="100218" y="17795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9" name="Freihandform: Form 128">
                  <a:extLst>
                    <a:ext uri="{FF2B5EF4-FFF2-40B4-BE49-F238E27FC236}">
                      <a16:creationId xmlns:a16="http://schemas.microsoft.com/office/drawing/2014/main" id="{FC4B430F-F670-E1E8-527B-F83C3610805E}"/>
                    </a:ext>
                  </a:extLst>
                </p:cNvPr>
                <p:cNvSpPr/>
                <p:nvPr/>
              </p:nvSpPr>
              <p:spPr>
                <a:xfrm>
                  <a:off x="9123366" y="7360423"/>
                  <a:ext cx="508630" cy="429280"/>
                </a:xfrm>
                <a:custGeom>
                  <a:avLst/>
                  <a:gdLst>
                    <a:gd name="connsiteX0" fmla="*/ 91 w 508630"/>
                    <a:gd name="connsiteY0" fmla="*/ 94667 h 429280"/>
                    <a:gd name="connsiteX1" fmla="*/ 318131 w 508630"/>
                    <a:gd name="connsiteY1" fmla="*/ 352223 h 429280"/>
                    <a:gd name="connsiteX2" fmla="*/ 508631 w 508630"/>
                    <a:gd name="connsiteY2" fmla="*/ 429281 h 429280"/>
                    <a:gd name="connsiteX3" fmla="*/ 449956 w 508630"/>
                    <a:gd name="connsiteY3" fmla="*/ 231446 h 429280"/>
                    <a:gd name="connsiteX4" fmla="*/ 91 w 508630"/>
                    <a:gd name="connsiteY4" fmla="*/ 94667 h 429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8630" h="429280">
                      <a:moveTo>
                        <a:pt x="91" y="94667"/>
                      </a:moveTo>
                      <a:cubicBezTo>
                        <a:pt x="-4576" y="204586"/>
                        <a:pt x="171731" y="297931"/>
                        <a:pt x="318131" y="352223"/>
                      </a:cubicBezTo>
                      <a:cubicBezTo>
                        <a:pt x="464530" y="406516"/>
                        <a:pt x="508631" y="429281"/>
                        <a:pt x="508631" y="429281"/>
                      </a:cubicBezTo>
                      <a:cubicBezTo>
                        <a:pt x="508631" y="429281"/>
                        <a:pt x="454338" y="371464"/>
                        <a:pt x="449956" y="231446"/>
                      </a:cubicBezTo>
                      <a:cubicBezTo>
                        <a:pt x="445003" y="73236"/>
                        <a:pt x="191067" y="-118597"/>
                        <a:pt x="91" y="94667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130" name="Grafik 23">
                  <a:extLst>
                    <a:ext uri="{FF2B5EF4-FFF2-40B4-BE49-F238E27FC236}">
                      <a16:creationId xmlns:a16="http://schemas.microsoft.com/office/drawing/2014/main" id="{AFE154A5-8EF4-98B5-F5D2-6D37BFEAEA70}"/>
                    </a:ext>
                  </a:extLst>
                </p:cNvPr>
                <p:cNvGrpSpPr/>
                <p:nvPr/>
              </p:nvGrpSpPr>
              <p:grpSpPr>
                <a:xfrm>
                  <a:off x="8395080" y="9884441"/>
                  <a:ext cx="234464" cy="670178"/>
                  <a:chOff x="8395080" y="3305841"/>
                  <a:chExt cx="234464" cy="670178"/>
                </a:xfrm>
                <a:solidFill>
                  <a:srgbClr val="8A5942"/>
                </a:solidFill>
              </p:grpSpPr>
              <p:sp>
                <p:nvSpPr>
                  <p:cNvPr id="131" name="Freihandform: Form 130">
                    <a:extLst>
                      <a:ext uri="{FF2B5EF4-FFF2-40B4-BE49-F238E27FC236}">
                        <a16:creationId xmlns:a16="http://schemas.microsoft.com/office/drawing/2014/main" id="{4E59A560-B845-0F99-D595-A32B432DD518}"/>
                      </a:ext>
                    </a:extLst>
                  </p:cNvPr>
                  <p:cNvSpPr/>
                  <p:nvPr/>
                </p:nvSpPr>
                <p:spPr>
                  <a:xfrm>
                    <a:off x="8433275" y="3305841"/>
                    <a:ext cx="191738" cy="211264"/>
                  </a:xfrm>
                  <a:custGeom>
                    <a:avLst/>
                    <a:gdLst>
                      <a:gd name="connsiteX0" fmla="*/ 95 w 191738"/>
                      <a:gd name="connsiteY0" fmla="*/ 0 h 211264"/>
                      <a:gd name="connsiteX1" fmla="*/ 21431 w 191738"/>
                      <a:gd name="connsiteY1" fmla="*/ 211264 h 211264"/>
                      <a:gd name="connsiteX2" fmla="*/ 156782 w 191738"/>
                      <a:gd name="connsiteY2" fmla="*/ 200406 h 211264"/>
                      <a:gd name="connsiteX3" fmla="*/ 191738 w 191738"/>
                      <a:gd name="connsiteY3" fmla="*/ 10763 h 211264"/>
                      <a:gd name="connsiteX4" fmla="*/ 0 w 191738"/>
                      <a:gd name="connsiteY4" fmla="*/ 0 h 2112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1738" h="211264">
                        <a:moveTo>
                          <a:pt x="95" y="0"/>
                        </a:moveTo>
                        <a:cubicBezTo>
                          <a:pt x="5239" y="79629"/>
                          <a:pt x="13525" y="148495"/>
                          <a:pt x="21431" y="211264"/>
                        </a:cubicBezTo>
                        <a:lnTo>
                          <a:pt x="156782" y="200406"/>
                        </a:lnTo>
                        <a:cubicBezTo>
                          <a:pt x="156782" y="200406"/>
                          <a:pt x="172212" y="119158"/>
                          <a:pt x="191738" y="10763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132" name="Grafik 23">
                    <a:extLst>
                      <a:ext uri="{FF2B5EF4-FFF2-40B4-BE49-F238E27FC236}">
                        <a16:creationId xmlns:a16="http://schemas.microsoft.com/office/drawing/2014/main" id="{672348D4-031B-83BE-F823-0237FCED8900}"/>
                      </a:ext>
                    </a:extLst>
                  </p:cNvPr>
                  <p:cNvGrpSpPr/>
                  <p:nvPr/>
                </p:nvGrpSpPr>
                <p:grpSpPr>
                  <a:xfrm>
                    <a:off x="8395080" y="3436239"/>
                    <a:ext cx="234464" cy="539781"/>
                    <a:chOff x="8395080" y="3436239"/>
                    <a:chExt cx="234464" cy="539781"/>
                  </a:xfrm>
                  <a:solidFill>
                    <a:srgbClr val="8A5942"/>
                  </a:solidFill>
                </p:grpSpPr>
                <p:sp>
                  <p:nvSpPr>
                    <p:cNvPr id="133" name="Freihandform: Form 132">
                      <a:extLst>
                        <a:ext uri="{FF2B5EF4-FFF2-40B4-BE49-F238E27FC236}">
                          <a16:creationId xmlns:a16="http://schemas.microsoft.com/office/drawing/2014/main" id="{7084E740-C481-911C-7A96-6CDB4A77575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66681" y="3802691"/>
                      <a:ext cx="54546" cy="83127"/>
                    </a:xfrm>
                    <a:custGeom>
                      <a:avLst/>
                      <a:gdLst>
                        <a:gd name="connsiteX0" fmla="*/ 47557 w 54546"/>
                        <a:gd name="connsiteY0" fmla="*/ 83128 h 83127"/>
                        <a:gd name="connsiteX1" fmla="*/ 13648 w 54546"/>
                        <a:gd name="connsiteY1" fmla="*/ 55791 h 83127"/>
                        <a:gd name="connsiteX2" fmla="*/ 2885 w 54546"/>
                        <a:gd name="connsiteY2" fmla="*/ 9595 h 83127"/>
                        <a:gd name="connsiteX3" fmla="*/ 7838 w 54546"/>
                        <a:gd name="connsiteY3" fmla="*/ 70 h 83127"/>
                        <a:gd name="connsiteX4" fmla="*/ 43747 w 54546"/>
                        <a:gd name="connsiteY4" fmla="*/ 39694 h 83127"/>
                        <a:gd name="connsiteX5" fmla="*/ 47557 w 54546"/>
                        <a:gd name="connsiteY5" fmla="*/ 83128 h 83127"/>
                        <a:gd name="connsiteX6" fmla="*/ 47557 w 54546"/>
                        <a:gd name="connsiteY6" fmla="*/ 83128 h 831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54546" h="83127">
                          <a:moveTo>
                            <a:pt x="47557" y="83128"/>
                          </a:moveTo>
                          <a:lnTo>
                            <a:pt x="13648" y="55791"/>
                          </a:lnTo>
                          <a:cubicBezTo>
                            <a:pt x="979" y="45218"/>
                            <a:pt x="-3497" y="28264"/>
                            <a:pt x="2885" y="9595"/>
                          </a:cubicBezTo>
                          <a:cubicBezTo>
                            <a:pt x="4980" y="3594"/>
                            <a:pt x="6790" y="-597"/>
                            <a:pt x="7838" y="70"/>
                          </a:cubicBezTo>
                          <a:cubicBezTo>
                            <a:pt x="9743" y="1499"/>
                            <a:pt x="25173" y="18262"/>
                            <a:pt x="43747" y="39694"/>
                          </a:cubicBezTo>
                          <a:cubicBezTo>
                            <a:pt x="55463" y="53219"/>
                            <a:pt x="58987" y="64744"/>
                            <a:pt x="47557" y="83128"/>
                          </a:cubicBezTo>
                          <a:lnTo>
                            <a:pt x="47557" y="83128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4" name="Freihandform: Form 133">
                      <a:extLst>
                        <a:ext uri="{FF2B5EF4-FFF2-40B4-BE49-F238E27FC236}">
                          <a16:creationId xmlns:a16="http://schemas.microsoft.com/office/drawing/2014/main" id="{F7BDB574-4460-98DE-95DB-12095F3D45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19369" y="3769457"/>
                      <a:ext cx="73352" cy="89024"/>
                    </a:xfrm>
                    <a:custGeom>
                      <a:avLst/>
                      <a:gdLst>
                        <a:gd name="connsiteX0" fmla="*/ 60960 w 73352"/>
                        <a:gd name="connsiteY0" fmla="*/ 89025 h 89024"/>
                        <a:gd name="connsiteX1" fmla="*/ 9525 w 73352"/>
                        <a:gd name="connsiteY1" fmla="*/ 44448 h 89024"/>
                        <a:gd name="connsiteX2" fmla="*/ 0 w 73352"/>
                        <a:gd name="connsiteY2" fmla="*/ 31494 h 89024"/>
                        <a:gd name="connsiteX3" fmla="*/ 40291 w 73352"/>
                        <a:gd name="connsiteY3" fmla="*/ 537 h 89024"/>
                        <a:gd name="connsiteX4" fmla="*/ 66675 w 73352"/>
                        <a:gd name="connsiteY4" fmla="*/ 44829 h 89024"/>
                        <a:gd name="connsiteX5" fmla="*/ 60864 w 73352"/>
                        <a:gd name="connsiteY5" fmla="*/ 89025 h 89024"/>
                        <a:gd name="connsiteX6" fmla="*/ 60864 w 73352"/>
                        <a:gd name="connsiteY6" fmla="*/ 89025 h 8902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73352" h="89024">
                          <a:moveTo>
                            <a:pt x="60960" y="89025"/>
                          </a:moveTo>
                          <a:lnTo>
                            <a:pt x="9525" y="44448"/>
                          </a:lnTo>
                          <a:cubicBezTo>
                            <a:pt x="3334" y="38637"/>
                            <a:pt x="1524" y="34446"/>
                            <a:pt x="0" y="31494"/>
                          </a:cubicBezTo>
                          <a:cubicBezTo>
                            <a:pt x="1048" y="12063"/>
                            <a:pt x="25432" y="-3082"/>
                            <a:pt x="40291" y="537"/>
                          </a:cubicBezTo>
                          <a:lnTo>
                            <a:pt x="66675" y="44829"/>
                          </a:lnTo>
                          <a:cubicBezTo>
                            <a:pt x="78105" y="57307"/>
                            <a:pt x="74009" y="72261"/>
                            <a:pt x="60864" y="89025"/>
                          </a:cubicBezTo>
                          <a:lnTo>
                            <a:pt x="60864" y="89025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5" name="Freihandform: Form 134">
                      <a:extLst>
                        <a:ext uri="{FF2B5EF4-FFF2-40B4-BE49-F238E27FC236}">
                          <a16:creationId xmlns:a16="http://schemas.microsoft.com/office/drawing/2014/main" id="{AD5B7AA4-2FB0-32DC-2659-15DBD0AAB03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55898" y="3838165"/>
                      <a:ext cx="63906" cy="105660"/>
                    </a:xfrm>
                    <a:custGeom>
                      <a:avLst/>
                      <a:gdLst>
                        <a:gd name="connsiteX0" fmla="*/ 55673 w 63906"/>
                        <a:gd name="connsiteY0" fmla="*/ 105660 h 105660"/>
                        <a:gd name="connsiteX1" fmla="*/ 15954 w 63906"/>
                        <a:gd name="connsiteY1" fmla="*/ 67179 h 105660"/>
                        <a:gd name="connsiteX2" fmla="*/ 3476 w 63906"/>
                        <a:gd name="connsiteY2" fmla="*/ 10506 h 105660"/>
                        <a:gd name="connsiteX3" fmla="*/ 9287 w 63906"/>
                        <a:gd name="connsiteY3" fmla="*/ 123 h 105660"/>
                        <a:gd name="connsiteX4" fmla="*/ 51292 w 63906"/>
                        <a:gd name="connsiteY4" fmla="*/ 53559 h 105660"/>
                        <a:gd name="connsiteX5" fmla="*/ 55673 w 63906"/>
                        <a:gd name="connsiteY5" fmla="*/ 105565 h 105660"/>
                        <a:gd name="connsiteX6" fmla="*/ 55673 w 63906"/>
                        <a:gd name="connsiteY6" fmla="*/ 105565 h 10566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63906" h="105660">
                          <a:moveTo>
                            <a:pt x="55673" y="105660"/>
                          </a:moveTo>
                          <a:lnTo>
                            <a:pt x="15954" y="67179"/>
                          </a:lnTo>
                          <a:cubicBezTo>
                            <a:pt x="1095" y="52321"/>
                            <a:pt x="-4144" y="31556"/>
                            <a:pt x="3476" y="10506"/>
                          </a:cubicBezTo>
                          <a:cubicBezTo>
                            <a:pt x="5953" y="3838"/>
                            <a:pt x="8144" y="-829"/>
                            <a:pt x="9287" y="123"/>
                          </a:cubicBezTo>
                          <a:cubicBezTo>
                            <a:pt x="11573" y="2124"/>
                            <a:pt x="29575" y="24793"/>
                            <a:pt x="51292" y="53559"/>
                          </a:cubicBezTo>
                          <a:cubicBezTo>
                            <a:pt x="65008" y="71656"/>
                            <a:pt x="69103" y="85944"/>
                            <a:pt x="55673" y="105565"/>
                          </a:cubicBezTo>
                          <a:lnTo>
                            <a:pt x="55673" y="105565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6" name="Freihandform: Form 135">
                      <a:extLst>
                        <a:ext uri="{FF2B5EF4-FFF2-40B4-BE49-F238E27FC236}">
                          <a16:creationId xmlns:a16="http://schemas.microsoft.com/office/drawing/2014/main" id="{8A27D2F2-49B1-A7DB-C54D-DE2309C116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00115" y="3774757"/>
                      <a:ext cx="87440" cy="131349"/>
                    </a:xfrm>
                    <a:custGeom>
                      <a:avLst/>
                      <a:gdLst>
                        <a:gd name="connsiteX0" fmla="*/ 72689 w 87440"/>
                        <a:gd name="connsiteY0" fmla="*/ 131350 h 131349"/>
                        <a:gd name="connsiteX1" fmla="*/ 12205 w 87440"/>
                        <a:gd name="connsiteY1" fmla="*/ 71628 h 131349"/>
                        <a:gd name="connsiteX2" fmla="*/ 17349 w 87440"/>
                        <a:gd name="connsiteY2" fmla="*/ 4001 h 131349"/>
                        <a:gd name="connsiteX3" fmla="*/ 26112 w 87440"/>
                        <a:gd name="connsiteY3" fmla="*/ 0 h 131349"/>
                        <a:gd name="connsiteX4" fmla="*/ 79642 w 87440"/>
                        <a:gd name="connsiteY4" fmla="*/ 80010 h 131349"/>
                        <a:gd name="connsiteX5" fmla="*/ 72689 w 87440"/>
                        <a:gd name="connsiteY5" fmla="*/ 131254 h 131349"/>
                        <a:gd name="connsiteX6" fmla="*/ 72689 w 87440"/>
                        <a:gd name="connsiteY6" fmla="*/ 131254 h 1313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87440" h="131349">
                          <a:moveTo>
                            <a:pt x="72689" y="131350"/>
                          </a:moveTo>
                          <a:lnTo>
                            <a:pt x="12205" y="71628"/>
                          </a:lnTo>
                          <a:cubicBezTo>
                            <a:pt x="-5892" y="53340"/>
                            <a:pt x="-3606" y="22479"/>
                            <a:pt x="17349" y="4001"/>
                          </a:cubicBezTo>
                          <a:lnTo>
                            <a:pt x="26112" y="0"/>
                          </a:lnTo>
                          <a:lnTo>
                            <a:pt x="79642" y="80010"/>
                          </a:lnTo>
                          <a:cubicBezTo>
                            <a:pt x="93073" y="96869"/>
                            <a:pt x="88120" y="113729"/>
                            <a:pt x="72689" y="131254"/>
                          </a:cubicBezTo>
                          <a:lnTo>
                            <a:pt x="72689" y="131254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7" name="Freihandform: Form 136">
                      <a:extLst>
                        <a:ext uri="{FF2B5EF4-FFF2-40B4-BE49-F238E27FC236}">
                          <a16:creationId xmlns:a16="http://schemas.microsoft.com/office/drawing/2014/main" id="{3043CB75-638D-D048-1CC1-E4645B6398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95080" y="3720421"/>
                      <a:ext cx="62960" cy="111771"/>
                    </a:xfrm>
                    <a:custGeom>
                      <a:avLst/>
                      <a:gdLst>
                        <a:gd name="connsiteX0" fmla="*/ 0 w 62960"/>
                        <a:gd name="connsiteY0" fmla="*/ 9378 h 111771"/>
                        <a:gd name="connsiteX1" fmla="*/ 4191 w 62960"/>
                        <a:gd name="connsiteY1" fmla="*/ 100628 h 111771"/>
                        <a:gd name="connsiteX2" fmla="*/ 8287 w 62960"/>
                        <a:gd name="connsiteY2" fmla="*/ 111772 h 111771"/>
                        <a:gd name="connsiteX3" fmla="*/ 57150 w 62960"/>
                        <a:gd name="connsiteY3" fmla="*/ 67100 h 111771"/>
                        <a:gd name="connsiteX4" fmla="*/ 62961 w 62960"/>
                        <a:gd name="connsiteY4" fmla="*/ 18236 h 111771"/>
                        <a:gd name="connsiteX5" fmla="*/ 0 w 62960"/>
                        <a:gd name="connsiteY5" fmla="*/ 9378 h 1117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62960" h="111771">
                          <a:moveTo>
                            <a:pt x="0" y="9378"/>
                          </a:moveTo>
                          <a:cubicBezTo>
                            <a:pt x="477" y="28142"/>
                            <a:pt x="4191" y="100628"/>
                            <a:pt x="4191" y="100628"/>
                          </a:cubicBezTo>
                          <a:lnTo>
                            <a:pt x="8287" y="111772"/>
                          </a:lnTo>
                          <a:cubicBezTo>
                            <a:pt x="34957" y="111296"/>
                            <a:pt x="54674" y="91484"/>
                            <a:pt x="57150" y="67100"/>
                          </a:cubicBezTo>
                          <a:lnTo>
                            <a:pt x="62961" y="18236"/>
                          </a:lnTo>
                          <a:cubicBezTo>
                            <a:pt x="55436" y="1568"/>
                            <a:pt x="8192" y="-8338"/>
                            <a:pt x="0" y="9378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138" name="Grafik 23">
                      <a:extLst>
                        <a:ext uri="{FF2B5EF4-FFF2-40B4-BE49-F238E27FC236}">
                          <a16:creationId xmlns:a16="http://schemas.microsoft.com/office/drawing/2014/main" id="{AFD5768D-42F7-3C4F-6819-3AA542E55BC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415082" y="3708417"/>
                      <a:ext cx="91882" cy="267603"/>
                      <a:chOff x="8415082" y="3708417"/>
                      <a:chExt cx="91882" cy="267603"/>
                    </a:xfrm>
                    <a:solidFill>
                      <a:srgbClr val="8A5942"/>
                    </a:solidFill>
                  </p:grpSpPr>
                  <p:sp>
                    <p:nvSpPr>
                      <p:cNvPr id="139" name="Freihandform: Form 138">
                        <a:extLst>
                          <a:ext uri="{FF2B5EF4-FFF2-40B4-BE49-F238E27FC236}">
                            <a16:creationId xmlns:a16="http://schemas.microsoft.com/office/drawing/2014/main" id="{64489C81-027D-70D3-E0B3-2BBFE7984AB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56624" y="3848906"/>
                        <a:ext cx="50341" cy="127114"/>
                      </a:xfrm>
                      <a:custGeom>
                        <a:avLst/>
                        <a:gdLst>
                          <a:gd name="connsiteX0" fmla="*/ 30182 w 50341"/>
                          <a:gd name="connsiteY0" fmla="*/ 127114 h 127114"/>
                          <a:gd name="connsiteX1" fmla="*/ 5131 w 50341"/>
                          <a:gd name="connsiteY1" fmla="*/ 71584 h 127114"/>
                          <a:gd name="connsiteX2" fmla="*/ 15323 w 50341"/>
                          <a:gd name="connsiteY2" fmla="*/ 8528 h 127114"/>
                          <a:gd name="connsiteX3" fmla="*/ 25515 w 50341"/>
                          <a:gd name="connsiteY3" fmla="*/ 337 h 127114"/>
                          <a:gd name="connsiteX4" fmla="*/ 46851 w 50341"/>
                          <a:gd name="connsiteY4" fmla="*/ 72060 h 127114"/>
                          <a:gd name="connsiteX5" fmla="*/ 30182 w 50341"/>
                          <a:gd name="connsiteY5" fmla="*/ 127114 h 127114"/>
                          <a:gd name="connsiteX6" fmla="*/ 30182 w 50341"/>
                          <a:gd name="connsiteY6" fmla="*/ 127114 h 12711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0341" h="127114">
                            <a:moveTo>
                              <a:pt x="30182" y="127114"/>
                            </a:moveTo>
                            <a:lnTo>
                              <a:pt x="5131" y="71584"/>
                            </a:lnTo>
                            <a:cubicBezTo>
                              <a:pt x="-4108" y="50343"/>
                              <a:pt x="-964" y="26912"/>
                              <a:pt x="15323" y="8528"/>
                            </a:cubicBezTo>
                            <a:cubicBezTo>
                              <a:pt x="20562" y="2623"/>
                              <a:pt x="24658" y="-1187"/>
                              <a:pt x="25515" y="337"/>
                            </a:cubicBezTo>
                            <a:cubicBezTo>
                              <a:pt x="27039" y="3385"/>
                              <a:pt x="36278" y="33865"/>
                              <a:pt x="46851" y="72060"/>
                            </a:cubicBezTo>
                            <a:cubicBezTo>
                              <a:pt x="53518" y="96158"/>
                              <a:pt x="51995" y="112446"/>
                              <a:pt x="30182" y="127114"/>
                            </a:cubicBezTo>
                            <a:lnTo>
                              <a:pt x="30182" y="127114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0" name="Freihandform: Form 139">
                        <a:extLst>
                          <a:ext uri="{FF2B5EF4-FFF2-40B4-BE49-F238E27FC236}">
                            <a16:creationId xmlns:a16="http://schemas.microsoft.com/office/drawing/2014/main" id="{9CA1BE31-E09A-839D-6AD2-9A25B27FF1A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22907" y="3799998"/>
                        <a:ext cx="71113" cy="124396"/>
                      </a:xfrm>
                      <a:custGeom>
                        <a:avLst/>
                        <a:gdLst>
                          <a:gd name="connsiteX0" fmla="*/ 40563 w 71113"/>
                          <a:gd name="connsiteY0" fmla="*/ 124396 h 124396"/>
                          <a:gd name="connsiteX1" fmla="*/ 3415 w 71113"/>
                          <a:gd name="connsiteY1" fmla="*/ 38290 h 124396"/>
                          <a:gd name="connsiteX2" fmla="*/ 41135 w 71113"/>
                          <a:gd name="connsiteY2" fmla="*/ 2000 h 124396"/>
                          <a:gd name="connsiteX3" fmla="*/ 45325 w 71113"/>
                          <a:gd name="connsiteY3" fmla="*/ 0 h 124396"/>
                          <a:gd name="connsiteX4" fmla="*/ 69043 w 71113"/>
                          <a:gd name="connsiteY4" fmla="*/ 74295 h 124396"/>
                          <a:gd name="connsiteX5" fmla="*/ 42087 w 71113"/>
                          <a:gd name="connsiteY5" fmla="*/ 123634 h 124396"/>
                          <a:gd name="connsiteX6" fmla="*/ 40563 w 71113"/>
                          <a:gd name="connsiteY6" fmla="*/ 124396 h 12439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1113" h="124396">
                            <a:moveTo>
                              <a:pt x="40563" y="124396"/>
                            </a:moveTo>
                            <a:lnTo>
                              <a:pt x="3415" y="38290"/>
                            </a:lnTo>
                            <a:cubicBezTo>
                              <a:pt x="-7729" y="12192"/>
                              <a:pt x="9321" y="3238"/>
                              <a:pt x="41135" y="2000"/>
                            </a:cubicBezTo>
                            <a:lnTo>
                              <a:pt x="45325" y="0"/>
                            </a:lnTo>
                            <a:lnTo>
                              <a:pt x="69043" y="74295"/>
                            </a:lnTo>
                            <a:cubicBezTo>
                              <a:pt x="75996" y="97060"/>
                              <a:pt x="65042" y="112014"/>
                              <a:pt x="42087" y="123634"/>
                            </a:cubicBezTo>
                            <a:lnTo>
                              <a:pt x="40563" y="124396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1" name="Freihandform: Form 140">
                        <a:extLst>
                          <a:ext uri="{FF2B5EF4-FFF2-40B4-BE49-F238E27FC236}">
                            <a16:creationId xmlns:a16="http://schemas.microsoft.com/office/drawing/2014/main" id="{6232A221-A762-18A0-3488-CAE3294FEFC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15082" y="3708417"/>
                        <a:ext cx="63532" cy="120728"/>
                      </a:xfrm>
                      <a:custGeom>
                        <a:avLst/>
                        <a:gdLst>
                          <a:gd name="connsiteX0" fmla="*/ 1 w 63532"/>
                          <a:gd name="connsiteY0" fmla="*/ 12715 h 120728"/>
                          <a:gd name="connsiteX1" fmla="*/ 8573 w 63532"/>
                          <a:gd name="connsiteY1" fmla="*/ 120728 h 120728"/>
                          <a:gd name="connsiteX2" fmla="*/ 54674 w 63532"/>
                          <a:gd name="connsiteY2" fmla="*/ 92629 h 120728"/>
                          <a:gd name="connsiteX3" fmla="*/ 63532 w 63532"/>
                          <a:gd name="connsiteY3" fmla="*/ 16048 h 120728"/>
                          <a:gd name="connsiteX4" fmla="*/ 1 w 63532"/>
                          <a:gd name="connsiteY4" fmla="*/ 12619 h 12072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63532" h="120728">
                            <a:moveTo>
                              <a:pt x="1" y="12715"/>
                            </a:moveTo>
                            <a:cubicBezTo>
                              <a:pt x="-95" y="14715"/>
                              <a:pt x="8573" y="120728"/>
                              <a:pt x="8573" y="120728"/>
                            </a:cubicBezTo>
                            <a:cubicBezTo>
                              <a:pt x="37910" y="120347"/>
                              <a:pt x="51817" y="119585"/>
                              <a:pt x="54674" y="92629"/>
                            </a:cubicBezTo>
                            <a:lnTo>
                              <a:pt x="63532" y="16048"/>
                            </a:lnTo>
                            <a:cubicBezTo>
                              <a:pt x="55341" y="-2335"/>
                              <a:pt x="9144" y="-6812"/>
                              <a:pt x="1" y="12619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142" name="Freihandform: Form 141">
                      <a:extLst>
                        <a:ext uri="{FF2B5EF4-FFF2-40B4-BE49-F238E27FC236}">
                          <a16:creationId xmlns:a16="http://schemas.microsoft.com/office/drawing/2014/main" id="{3E9AAA7C-E82F-4398-76BD-E68050BC27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63914" y="3855038"/>
                      <a:ext cx="46483" cy="113934"/>
                    </a:xfrm>
                    <a:custGeom>
                      <a:avLst/>
                      <a:gdLst>
                        <a:gd name="connsiteX0" fmla="*/ 22320 w 46483"/>
                        <a:gd name="connsiteY0" fmla="*/ 113744 h 113934"/>
                        <a:gd name="connsiteX1" fmla="*/ 3366 w 46483"/>
                        <a:gd name="connsiteY1" fmla="*/ 60784 h 113934"/>
                        <a:gd name="connsiteX2" fmla="*/ 17844 w 46483"/>
                        <a:gd name="connsiteY2" fmla="*/ 6587 h 113934"/>
                        <a:gd name="connsiteX3" fmla="*/ 28893 w 46483"/>
                        <a:gd name="connsiteY3" fmla="*/ 396 h 113934"/>
                        <a:gd name="connsiteX4" fmla="*/ 44990 w 46483"/>
                        <a:gd name="connsiteY4" fmla="*/ 66214 h 113934"/>
                        <a:gd name="connsiteX5" fmla="*/ 22416 w 46483"/>
                        <a:gd name="connsiteY5" fmla="*/ 113934 h 113934"/>
                        <a:gd name="connsiteX6" fmla="*/ 22416 w 46483"/>
                        <a:gd name="connsiteY6" fmla="*/ 113934 h 1139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6483" h="113934">
                          <a:moveTo>
                            <a:pt x="22320" y="113744"/>
                          </a:moveTo>
                          <a:lnTo>
                            <a:pt x="3366" y="60784"/>
                          </a:lnTo>
                          <a:cubicBezTo>
                            <a:pt x="-3492" y="40591"/>
                            <a:pt x="-444" y="21161"/>
                            <a:pt x="17844" y="6587"/>
                          </a:cubicBezTo>
                          <a:cubicBezTo>
                            <a:pt x="23749" y="1920"/>
                            <a:pt x="28321" y="-1128"/>
                            <a:pt x="28893" y="396"/>
                          </a:cubicBezTo>
                          <a:cubicBezTo>
                            <a:pt x="30036" y="3254"/>
                            <a:pt x="38608" y="30495"/>
                            <a:pt x="44990" y="66214"/>
                          </a:cubicBezTo>
                          <a:cubicBezTo>
                            <a:pt x="49086" y="88788"/>
                            <a:pt x="45752" y="103171"/>
                            <a:pt x="22416" y="113934"/>
                          </a:cubicBezTo>
                          <a:lnTo>
                            <a:pt x="22416" y="113934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3" name="Freihandform: Form 142">
                      <a:extLst>
                        <a:ext uri="{FF2B5EF4-FFF2-40B4-BE49-F238E27FC236}">
                          <a16:creationId xmlns:a16="http://schemas.microsoft.com/office/drawing/2014/main" id="{C1E554D7-B79F-9601-06CB-E78D68ECFE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36560" y="3794759"/>
                      <a:ext cx="62340" cy="120967"/>
                    </a:xfrm>
                    <a:custGeom>
                      <a:avLst/>
                      <a:gdLst>
                        <a:gd name="connsiteX0" fmla="*/ 30624 w 62340"/>
                        <a:gd name="connsiteY0" fmla="*/ 120968 h 120967"/>
                        <a:gd name="connsiteX1" fmla="*/ 2335 w 62340"/>
                        <a:gd name="connsiteY1" fmla="*/ 39338 h 120967"/>
                        <a:gd name="connsiteX2" fmla="*/ 38244 w 62340"/>
                        <a:gd name="connsiteY2" fmla="*/ 0 h 120967"/>
                        <a:gd name="connsiteX3" fmla="*/ 43864 w 62340"/>
                        <a:gd name="connsiteY3" fmla="*/ 9335 h 120967"/>
                        <a:gd name="connsiteX4" fmla="*/ 61390 w 62340"/>
                        <a:gd name="connsiteY4" fmla="*/ 80867 h 120967"/>
                        <a:gd name="connsiteX5" fmla="*/ 30719 w 62340"/>
                        <a:gd name="connsiteY5" fmla="*/ 120968 h 120967"/>
                        <a:gd name="connsiteX6" fmla="*/ 30719 w 62340"/>
                        <a:gd name="connsiteY6" fmla="*/ 120968 h 12096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62340" h="120967">
                          <a:moveTo>
                            <a:pt x="30624" y="120968"/>
                          </a:moveTo>
                          <a:lnTo>
                            <a:pt x="2335" y="39338"/>
                          </a:lnTo>
                          <a:cubicBezTo>
                            <a:pt x="-5952" y="14573"/>
                            <a:pt x="8240" y="6001"/>
                            <a:pt x="38244" y="0"/>
                          </a:cubicBezTo>
                          <a:lnTo>
                            <a:pt x="43864" y="9335"/>
                          </a:lnTo>
                          <a:lnTo>
                            <a:pt x="61390" y="80867"/>
                          </a:lnTo>
                          <a:cubicBezTo>
                            <a:pt x="65771" y="102203"/>
                            <a:pt x="54912" y="113157"/>
                            <a:pt x="30719" y="120968"/>
                          </a:cubicBezTo>
                          <a:lnTo>
                            <a:pt x="30719" y="120968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4" name="Freihandform: Form 143">
                      <a:extLst>
                        <a:ext uri="{FF2B5EF4-FFF2-40B4-BE49-F238E27FC236}">
                          <a16:creationId xmlns:a16="http://schemas.microsoft.com/office/drawing/2014/main" id="{74237269-5DE5-6299-0F13-088F9948556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35054" y="3713098"/>
                      <a:ext cx="53751" cy="112434"/>
                    </a:xfrm>
                    <a:custGeom>
                      <a:avLst/>
                      <a:gdLst>
                        <a:gd name="connsiteX0" fmla="*/ 31 w 53751"/>
                        <a:gd name="connsiteY0" fmla="*/ 7176 h 112434"/>
                        <a:gd name="connsiteX1" fmla="*/ 1555 w 53751"/>
                        <a:gd name="connsiteY1" fmla="*/ 110046 h 112434"/>
                        <a:gd name="connsiteX2" fmla="*/ 44989 w 53751"/>
                        <a:gd name="connsiteY2" fmla="*/ 94806 h 112434"/>
                        <a:gd name="connsiteX3" fmla="*/ 53752 w 53751"/>
                        <a:gd name="connsiteY3" fmla="*/ 23654 h 112434"/>
                        <a:gd name="connsiteX4" fmla="*/ 31 w 53751"/>
                        <a:gd name="connsiteY4" fmla="*/ 7176 h 1124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3751" h="112434">
                          <a:moveTo>
                            <a:pt x="31" y="7176"/>
                          </a:moveTo>
                          <a:cubicBezTo>
                            <a:pt x="-255" y="8986"/>
                            <a:pt x="1555" y="110046"/>
                            <a:pt x="1555" y="110046"/>
                          </a:cubicBezTo>
                          <a:cubicBezTo>
                            <a:pt x="30987" y="111856"/>
                            <a:pt x="40512" y="119000"/>
                            <a:pt x="44989" y="94806"/>
                          </a:cubicBezTo>
                          <a:lnTo>
                            <a:pt x="53752" y="23654"/>
                          </a:lnTo>
                          <a:cubicBezTo>
                            <a:pt x="46703" y="6414"/>
                            <a:pt x="10318" y="-9778"/>
                            <a:pt x="31" y="7176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145" name="Grafik 23">
                      <a:extLst>
                        <a:ext uri="{FF2B5EF4-FFF2-40B4-BE49-F238E27FC236}">
                          <a16:creationId xmlns:a16="http://schemas.microsoft.com/office/drawing/2014/main" id="{29224C71-D6C2-1B58-C61F-31C107041F4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483816" y="3539440"/>
                      <a:ext cx="145001" cy="336662"/>
                      <a:chOff x="8483816" y="3539440"/>
                      <a:chExt cx="145001" cy="336662"/>
                    </a:xfrm>
                    <a:solidFill>
                      <a:srgbClr val="8A5942"/>
                    </a:solidFill>
                  </p:grpSpPr>
                  <p:sp>
                    <p:nvSpPr>
                      <p:cNvPr id="146" name="Freihandform: Form 145">
                        <a:extLst>
                          <a:ext uri="{FF2B5EF4-FFF2-40B4-BE49-F238E27FC236}">
                            <a16:creationId xmlns:a16="http://schemas.microsoft.com/office/drawing/2014/main" id="{5E8C416D-9517-8BCB-EEB9-A1CA11AD317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529038" y="3738176"/>
                        <a:ext cx="60495" cy="137927"/>
                      </a:xfrm>
                      <a:custGeom>
                        <a:avLst/>
                        <a:gdLst>
                          <a:gd name="connsiteX0" fmla="*/ 24158 w 60495"/>
                          <a:gd name="connsiteY0" fmla="*/ 137927 h 137927"/>
                          <a:gd name="connsiteX1" fmla="*/ 57685 w 60495"/>
                          <a:gd name="connsiteY1" fmla="*/ 75253 h 137927"/>
                          <a:gd name="connsiteX2" fmla="*/ 53304 w 60495"/>
                          <a:gd name="connsiteY2" fmla="*/ 5815 h 137927"/>
                          <a:gd name="connsiteX3" fmla="*/ 40350 w 60495"/>
                          <a:gd name="connsiteY3" fmla="*/ 958 h 137927"/>
                          <a:gd name="connsiteX4" fmla="*/ 4726 w 60495"/>
                          <a:gd name="connsiteY4" fmla="*/ 77824 h 137927"/>
                          <a:gd name="connsiteX5" fmla="*/ 24062 w 60495"/>
                          <a:gd name="connsiteY5" fmla="*/ 137832 h 137927"/>
                          <a:gd name="connsiteX6" fmla="*/ 24062 w 60495"/>
                          <a:gd name="connsiteY6" fmla="*/ 137832 h 1379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0495" h="137927">
                            <a:moveTo>
                              <a:pt x="24158" y="137927"/>
                            </a:moveTo>
                            <a:lnTo>
                              <a:pt x="57685" y="75253"/>
                            </a:lnTo>
                            <a:cubicBezTo>
                              <a:pt x="59876" y="52964"/>
                              <a:pt x="64448" y="18579"/>
                              <a:pt x="53304" y="5815"/>
                            </a:cubicBezTo>
                            <a:cubicBezTo>
                              <a:pt x="47017" y="-1424"/>
                              <a:pt x="41398" y="-376"/>
                              <a:pt x="40350" y="958"/>
                            </a:cubicBezTo>
                            <a:cubicBezTo>
                              <a:pt x="33111" y="11149"/>
                              <a:pt x="17204" y="44868"/>
                              <a:pt x="4726" y="77824"/>
                            </a:cubicBezTo>
                            <a:cubicBezTo>
                              <a:pt x="-3941" y="100780"/>
                              <a:pt x="-2417" y="117639"/>
                              <a:pt x="24062" y="137832"/>
                            </a:cubicBezTo>
                            <a:lnTo>
                              <a:pt x="24062" y="137832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7" name="Freihandform: Form 146">
                        <a:extLst>
                          <a:ext uri="{FF2B5EF4-FFF2-40B4-BE49-F238E27FC236}">
                            <a16:creationId xmlns:a16="http://schemas.microsoft.com/office/drawing/2014/main" id="{ABBDED4A-28A6-4635-1BF6-8D03689783B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548242" y="3697576"/>
                        <a:ext cx="80486" cy="117625"/>
                      </a:xfrm>
                      <a:custGeom>
                        <a:avLst/>
                        <a:gdLst>
                          <a:gd name="connsiteX0" fmla="*/ 80486 w 80486"/>
                          <a:gd name="connsiteY0" fmla="*/ 17269 h 117625"/>
                          <a:gd name="connsiteX1" fmla="*/ 0 w 80486"/>
                          <a:gd name="connsiteY1" fmla="*/ 10982 h 117625"/>
                          <a:gd name="connsiteX2" fmla="*/ 5810 w 80486"/>
                          <a:gd name="connsiteY2" fmla="*/ 70608 h 117625"/>
                          <a:gd name="connsiteX3" fmla="*/ 38481 w 80486"/>
                          <a:gd name="connsiteY3" fmla="*/ 115948 h 117625"/>
                          <a:gd name="connsiteX4" fmla="*/ 80486 w 80486"/>
                          <a:gd name="connsiteY4" fmla="*/ 17269 h 11762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80486" h="117625">
                            <a:moveTo>
                              <a:pt x="80486" y="17269"/>
                            </a:moveTo>
                            <a:cubicBezTo>
                              <a:pt x="61627" y="-17498"/>
                              <a:pt x="0" y="10982"/>
                              <a:pt x="0" y="10982"/>
                            </a:cubicBezTo>
                            <a:lnTo>
                              <a:pt x="5810" y="70608"/>
                            </a:lnTo>
                            <a:cubicBezTo>
                              <a:pt x="3429" y="95659"/>
                              <a:pt x="15907" y="124996"/>
                              <a:pt x="38481" y="115948"/>
                            </a:cubicBezTo>
                            <a:cubicBezTo>
                              <a:pt x="38481" y="115948"/>
                              <a:pt x="80582" y="16221"/>
                              <a:pt x="80486" y="17269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8" name="Freihandform: Form 147">
                        <a:extLst>
                          <a:ext uri="{FF2B5EF4-FFF2-40B4-BE49-F238E27FC236}">
                            <a16:creationId xmlns:a16="http://schemas.microsoft.com/office/drawing/2014/main" id="{AD80B3D3-8A54-E0B5-BFD7-25BC7E526D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83816" y="3539440"/>
                        <a:ext cx="145001" cy="187300"/>
                      </a:xfrm>
                      <a:custGeom>
                        <a:avLst/>
                        <a:gdLst>
                          <a:gd name="connsiteX0" fmla="*/ 142151 w 145001"/>
                          <a:gd name="connsiteY0" fmla="*/ 88632 h 187300"/>
                          <a:gd name="connsiteX1" fmla="*/ 144913 w 145001"/>
                          <a:gd name="connsiteY1" fmla="*/ 175405 h 187300"/>
                          <a:gd name="connsiteX2" fmla="*/ 144913 w 145001"/>
                          <a:gd name="connsiteY2" fmla="*/ 175405 h 187300"/>
                          <a:gd name="connsiteX3" fmla="*/ 64712 w 145001"/>
                          <a:gd name="connsiteY3" fmla="*/ 170642 h 187300"/>
                          <a:gd name="connsiteX4" fmla="*/ 9848 w 145001"/>
                          <a:gd name="connsiteY4" fmla="*/ 67486 h 187300"/>
                          <a:gd name="connsiteX5" fmla="*/ 104717 w 145001"/>
                          <a:gd name="connsiteY5" fmla="*/ 431 h 187300"/>
                          <a:gd name="connsiteX6" fmla="*/ 142151 w 145001"/>
                          <a:gd name="connsiteY6" fmla="*/ 88632 h 1873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145001" h="187300">
                            <a:moveTo>
                              <a:pt x="142151" y="88632"/>
                            </a:moveTo>
                            <a:cubicBezTo>
                              <a:pt x="145770" y="113302"/>
                              <a:pt x="144913" y="175405"/>
                              <a:pt x="144913" y="175405"/>
                            </a:cubicBezTo>
                            <a:lnTo>
                              <a:pt x="144913" y="175405"/>
                            </a:lnTo>
                            <a:cubicBezTo>
                              <a:pt x="107289" y="175214"/>
                              <a:pt x="108813" y="205218"/>
                              <a:pt x="64712" y="170642"/>
                            </a:cubicBezTo>
                            <a:cubicBezTo>
                              <a:pt x="64712" y="170642"/>
                              <a:pt x="53472" y="104253"/>
                              <a:pt x="9848" y="67486"/>
                            </a:cubicBezTo>
                            <a:cubicBezTo>
                              <a:pt x="-27871" y="35768"/>
                              <a:pt x="51186" y="-4618"/>
                              <a:pt x="104717" y="431"/>
                            </a:cubicBezTo>
                            <a:cubicBezTo>
                              <a:pt x="128815" y="38244"/>
                              <a:pt x="142151" y="88632"/>
                              <a:pt x="142151" y="88632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149" name="Freihandform: Form 148">
                      <a:extLst>
                        <a:ext uri="{FF2B5EF4-FFF2-40B4-BE49-F238E27FC236}">
                          <a16:creationId xmlns:a16="http://schemas.microsoft.com/office/drawing/2014/main" id="{839A98A6-CBDB-DA06-AA7A-2F96EA353C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95080" y="3494722"/>
                      <a:ext cx="234464" cy="282987"/>
                    </a:xfrm>
                    <a:custGeom>
                      <a:avLst/>
                      <a:gdLst>
                        <a:gd name="connsiteX0" fmla="*/ 4382 w 234464"/>
                        <a:gd name="connsiteY0" fmla="*/ 195644 h 282987"/>
                        <a:gd name="connsiteX1" fmla="*/ 59341 w 234464"/>
                        <a:gd name="connsiteY1" fmla="*/ 0 h 282987"/>
                        <a:gd name="connsiteX2" fmla="*/ 194977 w 234464"/>
                        <a:gd name="connsiteY2" fmla="*/ 11430 h 282987"/>
                        <a:gd name="connsiteX3" fmla="*/ 200787 w 234464"/>
                        <a:gd name="connsiteY3" fmla="*/ 47625 h 282987"/>
                        <a:gd name="connsiteX4" fmla="*/ 232601 w 234464"/>
                        <a:gd name="connsiteY4" fmla="*/ 177832 h 282987"/>
                        <a:gd name="connsiteX5" fmla="*/ 152877 w 234464"/>
                        <a:gd name="connsiteY5" fmla="*/ 204883 h 282987"/>
                        <a:gd name="connsiteX6" fmla="*/ 88678 w 234464"/>
                        <a:gd name="connsiteY6" fmla="*/ 282988 h 282987"/>
                        <a:gd name="connsiteX7" fmla="*/ 0 w 234464"/>
                        <a:gd name="connsiteY7" fmla="*/ 234982 h 282987"/>
                        <a:gd name="connsiteX8" fmla="*/ 4382 w 234464"/>
                        <a:gd name="connsiteY8" fmla="*/ 195548 h 28298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234464" h="282987">
                          <a:moveTo>
                            <a:pt x="4382" y="195644"/>
                          </a:moveTo>
                          <a:cubicBezTo>
                            <a:pt x="21431" y="145828"/>
                            <a:pt x="40958" y="87154"/>
                            <a:pt x="59341" y="0"/>
                          </a:cubicBezTo>
                          <a:lnTo>
                            <a:pt x="194977" y="11430"/>
                          </a:lnTo>
                          <a:cubicBezTo>
                            <a:pt x="194977" y="32099"/>
                            <a:pt x="197739" y="44005"/>
                            <a:pt x="200787" y="47625"/>
                          </a:cubicBezTo>
                          <a:cubicBezTo>
                            <a:pt x="246031" y="101727"/>
                            <a:pt x="232601" y="177832"/>
                            <a:pt x="232601" y="177832"/>
                          </a:cubicBezTo>
                          <a:cubicBezTo>
                            <a:pt x="230981" y="184976"/>
                            <a:pt x="183261" y="168688"/>
                            <a:pt x="152877" y="204883"/>
                          </a:cubicBezTo>
                          <a:cubicBezTo>
                            <a:pt x="144304" y="215075"/>
                            <a:pt x="102394" y="222885"/>
                            <a:pt x="88678" y="282988"/>
                          </a:cubicBezTo>
                          <a:cubicBezTo>
                            <a:pt x="33909" y="215837"/>
                            <a:pt x="3048" y="234125"/>
                            <a:pt x="0" y="234982"/>
                          </a:cubicBezTo>
                          <a:cubicBezTo>
                            <a:pt x="2572" y="219551"/>
                            <a:pt x="2667" y="206026"/>
                            <a:pt x="4382" y="195548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0" name="Freihandform: Form 149">
                      <a:extLst>
                        <a:ext uri="{FF2B5EF4-FFF2-40B4-BE49-F238E27FC236}">
                          <a16:creationId xmlns:a16="http://schemas.microsoft.com/office/drawing/2014/main" id="{8A5C9B05-F056-D1F4-A5B0-0402375B1DE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53659" y="3436239"/>
                      <a:ext cx="136397" cy="136398"/>
                    </a:xfrm>
                    <a:custGeom>
                      <a:avLst/>
                      <a:gdLst>
                        <a:gd name="connsiteX0" fmla="*/ 136398 w 136397"/>
                        <a:gd name="connsiteY0" fmla="*/ 68199 h 136398"/>
                        <a:gd name="connsiteX1" fmla="*/ 68199 w 136397"/>
                        <a:gd name="connsiteY1" fmla="*/ 136398 h 136398"/>
                        <a:gd name="connsiteX2" fmla="*/ 1 w 136397"/>
                        <a:gd name="connsiteY2" fmla="*/ 68199 h 136398"/>
                        <a:gd name="connsiteX3" fmla="*/ 68199 w 136397"/>
                        <a:gd name="connsiteY3" fmla="*/ 0 h 136398"/>
                        <a:gd name="connsiteX4" fmla="*/ 136398 w 136397"/>
                        <a:gd name="connsiteY4" fmla="*/ 68199 h 1363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36397" h="136398">
                          <a:moveTo>
                            <a:pt x="136398" y="68199"/>
                          </a:moveTo>
                          <a:cubicBezTo>
                            <a:pt x="136398" y="105864"/>
                            <a:pt x="105864" y="136398"/>
                            <a:pt x="68199" y="136398"/>
                          </a:cubicBezTo>
                          <a:cubicBezTo>
                            <a:pt x="30534" y="136398"/>
                            <a:pt x="1" y="105865"/>
                            <a:pt x="1" y="68199"/>
                          </a:cubicBezTo>
                          <a:cubicBezTo>
                            <a:pt x="1" y="30534"/>
                            <a:pt x="30534" y="0"/>
                            <a:pt x="68199" y="0"/>
                          </a:cubicBezTo>
                          <a:cubicBezTo>
                            <a:pt x="105864" y="0"/>
                            <a:pt x="136398" y="30534"/>
                            <a:pt x="136398" y="68199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sp>
              <p:nvSpPr>
                <p:cNvPr id="151" name="Freihandform: Form 150">
                  <a:extLst>
                    <a:ext uri="{FF2B5EF4-FFF2-40B4-BE49-F238E27FC236}">
                      <a16:creationId xmlns:a16="http://schemas.microsoft.com/office/drawing/2014/main" id="{985B5F64-D098-FC9F-8B69-1EB448DF1B1A}"/>
                    </a:ext>
                  </a:extLst>
                </p:cNvPr>
                <p:cNvSpPr/>
                <p:nvPr/>
              </p:nvSpPr>
              <p:spPr>
                <a:xfrm>
                  <a:off x="8688572" y="8112484"/>
                  <a:ext cx="1208416" cy="1222459"/>
                </a:xfrm>
                <a:custGeom>
                  <a:avLst/>
                  <a:gdLst>
                    <a:gd name="connsiteX0" fmla="*/ 1189550 w 1208416"/>
                    <a:gd name="connsiteY0" fmla="*/ 262626 h 1222459"/>
                    <a:gd name="connsiteX1" fmla="*/ 821695 w 1208416"/>
                    <a:gd name="connsiteY1" fmla="*/ 114131 h 1222459"/>
                    <a:gd name="connsiteX2" fmla="*/ 766641 w 1208416"/>
                    <a:gd name="connsiteY2" fmla="*/ 15071 h 1222459"/>
                    <a:gd name="connsiteX3" fmla="*/ 747971 w 1208416"/>
                    <a:gd name="connsiteY3" fmla="*/ 6879 h 1222459"/>
                    <a:gd name="connsiteX4" fmla="*/ 454506 w 1208416"/>
                    <a:gd name="connsiteY4" fmla="*/ 1164 h 1222459"/>
                    <a:gd name="connsiteX5" fmla="*/ 438885 w 1208416"/>
                    <a:gd name="connsiteY5" fmla="*/ 8975 h 1222459"/>
                    <a:gd name="connsiteX6" fmla="*/ 424026 w 1208416"/>
                    <a:gd name="connsiteY6" fmla="*/ 67744 h 1222459"/>
                    <a:gd name="connsiteX7" fmla="*/ 390879 w 1208416"/>
                    <a:gd name="connsiteY7" fmla="*/ 96986 h 1222459"/>
                    <a:gd name="connsiteX8" fmla="*/ 17594 w 1208416"/>
                    <a:gd name="connsiteY8" fmla="*/ 279771 h 1222459"/>
                    <a:gd name="connsiteX9" fmla="*/ 143896 w 1208416"/>
                    <a:gd name="connsiteY9" fmla="*/ 680868 h 1222459"/>
                    <a:gd name="connsiteX10" fmla="*/ 240384 w 1208416"/>
                    <a:gd name="connsiteY10" fmla="*/ 1222460 h 1222459"/>
                    <a:gd name="connsiteX11" fmla="*/ 955235 w 1208416"/>
                    <a:gd name="connsiteY11" fmla="*/ 1220364 h 1222459"/>
                    <a:gd name="connsiteX12" fmla="*/ 1093729 w 1208416"/>
                    <a:gd name="connsiteY12" fmla="*/ 696870 h 1222459"/>
                    <a:gd name="connsiteX13" fmla="*/ 1189455 w 1208416"/>
                    <a:gd name="connsiteY13" fmla="*/ 262530 h 1222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208416" h="1222459">
                      <a:moveTo>
                        <a:pt x="1189550" y="262626"/>
                      </a:moveTo>
                      <a:cubicBezTo>
                        <a:pt x="1103921" y="179663"/>
                        <a:pt x="966475" y="205666"/>
                        <a:pt x="821695" y="114131"/>
                      </a:cubicBezTo>
                      <a:cubicBezTo>
                        <a:pt x="785500" y="80793"/>
                        <a:pt x="771689" y="38597"/>
                        <a:pt x="766641" y="15071"/>
                      </a:cubicBezTo>
                      <a:cubicBezTo>
                        <a:pt x="764831" y="6689"/>
                        <a:pt x="755401" y="2593"/>
                        <a:pt x="747971" y="6879"/>
                      </a:cubicBezTo>
                      <a:cubicBezTo>
                        <a:pt x="655769" y="60791"/>
                        <a:pt x="553947" y="49837"/>
                        <a:pt x="454506" y="1164"/>
                      </a:cubicBezTo>
                      <a:cubicBezTo>
                        <a:pt x="447934" y="-2074"/>
                        <a:pt x="440123" y="1736"/>
                        <a:pt x="438885" y="8975"/>
                      </a:cubicBezTo>
                      <a:cubicBezTo>
                        <a:pt x="436504" y="22500"/>
                        <a:pt x="431932" y="44122"/>
                        <a:pt x="424026" y="67744"/>
                      </a:cubicBezTo>
                      <a:cubicBezTo>
                        <a:pt x="421073" y="74316"/>
                        <a:pt x="412501" y="88223"/>
                        <a:pt x="390879" y="96986"/>
                      </a:cubicBezTo>
                      <a:cubicBezTo>
                        <a:pt x="225049" y="164137"/>
                        <a:pt x="111987" y="195188"/>
                        <a:pt x="17594" y="279771"/>
                      </a:cubicBezTo>
                      <a:cubicBezTo>
                        <a:pt x="-59939" y="349303"/>
                        <a:pt x="143896" y="680868"/>
                        <a:pt x="143896" y="680868"/>
                      </a:cubicBezTo>
                      <a:lnTo>
                        <a:pt x="240384" y="1222460"/>
                      </a:lnTo>
                      <a:lnTo>
                        <a:pt x="955235" y="1220364"/>
                      </a:lnTo>
                      <a:lnTo>
                        <a:pt x="1093729" y="696870"/>
                      </a:lnTo>
                      <a:cubicBezTo>
                        <a:pt x="1093729" y="696870"/>
                        <a:pt x="1264227" y="335016"/>
                        <a:pt x="1189455" y="262530"/>
                      </a:cubicBezTo>
                      <a:close/>
                    </a:path>
                  </a:pathLst>
                </a:custGeom>
                <a:solidFill>
                  <a:srgbClr val="FFE98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2" name="Freihandform: Form 151">
                  <a:extLst>
                    <a:ext uri="{FF2B5EF4-FFF2-40B4-BE49-F238E27FC236}">
                      <a16:creationId xmlns:a16="http://schemas.microsoft.com/office/drawing/2014/main" id="{0225C28A-0ADB-46D7-A84D-CB7F75D56FC8}"/>
                    </a:ext>
                  </a:extLst>
                </p:cNvPr>
                <p:cNvSpPr/>
                <p:nvPr/>
              </p:nvSpPr>
              <p:spPr>
                <a:xfrm>
                  <a:off x="9209944" y="7953627"/>
                  <a:ext cx="147256" cy="49531"/>
                </a:xfrm>
                <a:custGeom>
                  <a:avLst/>
                  <a:gdLst>
                    <a:gd name="connsiteX0" fmla="*/ 0 w 147256"/>
                    <a:gd name="connsiteY0" fmla="*/ 5431 h 49531"/>
                    <a:gd name="connsiteX1" fmla="*/ 55721 w 147256"/>
                    <a:gd name="connsiteY1" fmla="*/ 573 h 49531"/>
                    <a:gd name="connsiteX2" fmla="*/ 70294 w 147256"/>
                    <a:gd name="connsiteY2" fmla="*/ 4002 h 49531"/>
                    <a:gd name="connsiteX3" fmla="*/ 84010 w 147256"/>
                    <a:gd name="connsiteY3" fmla="*/ 2 h 49531"/>
                    <a:gd name="connsiteX4" fmla="*/ 147256 w 147256"/>
                    <a:gd name="connsiteY4" fmla="*/ 5812 h 49531"/>
                    <a:gd name="connsiteX5" fmla="*/ 68389 w 147256"/>
                    <a:gd name="connsiteY5" fmla="*/ 49532 h 49531"/>
                    <a:gd name="connsiteX6" fmla="*/ 0 w 147256"/>
                    <a:gd name="connsiteY6" fmla="*/ 5431 h 49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7256" h="49531">
                      <a:moveTo>
                        <a:pt x="0" y="5431"/>
                      </a:moveTo>
                      <a:cubicBezTo>
                        <a:pt x="0" y="5431"/>
                        <a:pt x="19050" y="2859"/>
                        <a:pt x="55721" y="573"/>
                      </a:cubicBezTo>
                      <a:cubicBezTo>
                        <a:pt x="58578" y="383"/>
                        <a:pt x="61817" y="4193"/>
                        <a:pt x="70294" y="4002"/>
                      </a:cubicBezTo>
                      <a:cubicBezTo>
                        <a:pt x="80296" y="3812"/>
                        <a:pt x="80676" y="-94"/>
                        <a:pt x="84010" y="2"/>
                      </a:cubicBezTo>
                      <a:cubicBezTo>
                        <a:pt x="123539" y="1049"/>
                        <a:pt x="147256" y="5812"/>
                        <a:pt x="147256" y="5812"/>
                      </a:cubicBezTo>
                      <a:cubicBezTo>
                        <a:pt x="147256" y="5812"/>
                        <a:pt x="127635" y="49532"/>
                        <a:pt x="68389" y="49532"/>
                      </a:cubicBezTo>
                      <a:cubicBezTo>
                        <a:pt x="15049" y="49532"/>
                        <a:pt x="0" y="5431"/>
                        <a:pt x="0" y="5431"/>
                      </a:cubicBezTo>
                      <a:close/>
                    </a:path>
                  </a:pathLst>
                </a:custGeom>
                <a:solidFill>
                  <a:srgbClr val="4B2E1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3" name="Freihandform: Form 152">
                  <a:extLst>
                    <a:ext uri="{FF2B5EF4-FFF2-40B4-BE49-F238E27FC236}">
                      <a16:creationId xmlns:a16="http://schemas.microsoft.com/office/drawing/2014/main" id="{11498922-06B2-0A90-1733-3C1D8DFB854A}"/>
                    </a:ext>
                  </a:extLst>
                </p:cNvPr>
                <p:cNvSpPr/>
                <p:nvPr/>
              </p:nvSpPr>
              <p:spPr>
                <a:xfrm>
                  <a:off x="8620918" y="8339391"/>
                  <a:ext cx="314705" cy="314706"/>
                </a:xfrm>
                <a:custGeom>
                  <a:avLst/>
                  <a:gdLst>
                    <a:gd name="connsiteX0" fmla="*/ 314706 w 314705"/>
                    <a:gd name="connsiteY0" fmla="*/ 157353 h 314706"/>
                    <a:gd name="connsiteX1" fmla="*/ 157353 w 314705"/>
                    <a:gd name="connsiteY1" fmla="*/ 314706 h 314706"/>
                    <a:gd name="connsiteX2" fmla="*/ -1 w 314705"/>
                    <a:gd name="connsiteY2" fmla="*/ 157353 h 314706"/>
                    <a:gd name="connsiteX3" fmla="*/ 157353 w 314705"/>
                    <a:gd name="connsiteY3" fmla="*/ 0 h 314706"/>
                    <a:gd name="connsiteX4" fmla="*/ 314706 w 314705"/>
                    <a:gd name="connsiteY4" fmla="*/ 157353 h 314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4705" h="314706">
                      <a:moveTo>
                        <a:pt x="314706" y="157353"/>
                      </a:moveTo>
                      <a:cubicBezTo>
                        <a:pt x="314706" y="244257"/>
                        <a:pt x="244257" y="314706"/>
                        <a:pt x="157353" y="314706"/>
                      </a:cubicBezTo>
                      <a:cubicBezTo>
                        <a:pt x="70449" y="314706"/>
                        <a:pt x="-1" y="244257"/>
                        <a:pt x="-1" y="157353"/>
                      </a:cubicBezTo>
                      <a:cubicBezTo>
                        <a:pt x="-1" y="70449"/>
                        <a:pt x="70449" y="0"/>
                        <a:pt x="157353" y="0"/>
                      </a:cubicBezTo>
                      <a:cubicBezTo>
                        <a:pt x="244256" y="0"/>
                        <a:pt x="314706" y="70449"/>
                        <a:pt x="314706" y="15735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4" name="Freihandform: Form 153">
                  <a:extLst>
                    <a:ext uri="{FF2B5EF4-FFF2-40B4-BE49-F238E27FC236}">
                      <a16:creationId xmlns:a16="http://schemas.microsoft.com/office/drawing/2014/main" id="{187E0055-EE41-8421-7AE0-5ED8AD912C28}"/>
                    </a:ext>
                  </a:extLst>
                </p:cNvPr>
                <p:cNvSpPr/>
                <p:nvPr/>
              </p:nvSpPr>
              <p:spPr>
                <a:xfrm>
                  <a:off x="8398795" y="8394827"/>
                  <a:ext cx="523018" cy="989647"/>
                </a:xfrm>
                <a:custGeom>
                  <a:avLst/>
                  <a:gdLst>
                    <a:gd name="connsiteX0" fmla="*/ 0 w 523018"/>
                    <a:gd name="connsiteY0" fmla="*/ 947261 h 989647"/>
                    <a:gd name="connsiteX1" fmla="*/ 307467 w 523018"/>
                    <a:gd name="connsiteY1" fmla="*/ 989648 h 989647"/>
                    <a:gd name="connsiteX2" fmla="*/ 523018 w 523018"/>
                    <a:gd name="connsiteY2" fmla="*/ 167259 h 989647"/>
                    <a:gd name="connsiteX3" fmla="*/ 259747 w 523018"/>
                    <a:gd name="connsiteY3" fmla="*/ 0 h 989647"/>
                    <a:gd name="connsiteX4" fmla="*/ 0 w 523018"/>
                    <a:gd name="connsiteY4" fmla="*/ 947261 h 9896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3018" h="989647">
                      <a:moveTo>
                        <a:pt x="0" y="947261"/>
                      </a:moveTo>
                      <a:lnTo>
                        <a:pt x="307467" y="989648"/>
                      </a:lnTo>
                      <a:lnTo>
                        <a:pt x="523018" y="167259"/>
                      </a:lnTo>
                      <a:lnTo>
                        <a:pt x="259747" y="0"/>
                      </a:lnTo>
                      <a:cubicBezTo>
                        <a:pt x="171069" y="80486"/>
                        <a:pt x="0" y="947261"/>
                        <a:pt x="0" y="94726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5" name="Freihandform: Form 154">
                  <a:extLst>
                    <a:ext uri="{FF2B5EF4-FFF2-40B4-BE49-F238E27FC236}">
                      <a16:creationId xmlns:a16="http://schemas.microsoft.com/office/drawing/2014/main" id="{AC2D8300-597A-BCDC-C56D-1E149E70B5B9}"/>
                    </a:ext>
                  </a:extLst>
                </p:cNvPr>
                <p:cNvSpPr/>
                <p:nvPr/>
              </p:nvSpPr>
              <p:spPr>
                <a:xfrm>
                  <a:off x="8398128" y="9204071"/>
                  <a:ext cx="310133" cy="310134"/>
                </a:xfrm>
                <a:custGeom>
                  <a:avLst/>
                  <a:gdLst>
                    <a:gd name="connsiteX0" fmla="*/ 310134 w 310133"/>
                    <a:gd name="connsiteY0" fmla="*/ 155067 h 310134"/>
                    <a:gd name="connsiteX1" fmla="*/ 155067 w 310133"/>
                    <a:gd name="connsiteY1" fmla="*/ 310134 h 310134"/>
                    <a:gd name="connsiteX2" fmla="*/ -1 w 310133"/>
                    <a:gd name="connsiteY2" fmla="*/ 155067 h 310134"/>
                    <a:gd name="connsiteX3" fmla="*/ 155067 w 310133"/>
                    <a:gd name="connsiteY3" fmla="*/ 0 h 310134"/>
                    <a:gd name="connsiteX4" fmla="*/ 310134 w 310133"/>
                    <a:gd name="connsiteY4" fmla="*/ 155067 h 3101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0133" h="310134">
                      <a:moveTo>
                        <a:pt x="310134" y="155067"/>
                      </a:moveTo>
                      <a:cubicBezTo>
                        <a:pt x="310134" y="240708"/>
                        <a:pt x="240708" y="310134"/>
                        <a:pt x="155067" y="310134"/>
                      </a:cubicBezTo>
                      <a:cubicBezTo>
                        <a:pt x="69425" y="310134"/>
                        <a:pt x="-1" y="240708"/>
                        <a:pt x="-1" y="155067"/>
                      </a:cubicBezTo>
                      <a:cubicBezTo>
                        <a:pt x="-1" y="69426"/>
                        <a:pt x="69425" y="0"/>
                        <a:pt x="155067" y="0"/>
                      </a:cubicBezTo>
                      <a:cubicBezTo>
                        <a:pt x="240708" y="0"/>
                        <a:pt x="310134" y="69426"/>
                        <a:pt x="310134" y="15506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6" name="Freihandform: Form 155">
                  <a:extLst>
                    <a:ext uri="{FF2B5EF4-FFF2-40B4-BE49-F238E27FC236}">
                      <a16:creationId xmlns:a16="http://schemas.microsoft.com/office/drawing/2014/main" id="{5ED076B0-4F74-B6DA-C9C8-A4EAA0A2B706}"/>
                    </a:ext>
                  </a:extLst>
                </p:cNvPr>
                <p:cNvSpPr/>
                <p:nvPr/>
              </p:nvSpPr>
              <p:spPr>
                <a:xfrm>
                  <a:off x="8616251" y="8188610"/>
                  <a:ext cx="575214" cy="3144202"/>
                </a:xfrm>
                <a:custGeom>
                  <a:avLst/>
                  <a:gdLst>
                    <a:gd name="connsiteX0" fmla="*/ 197358 w 575214"/>
                    <a:gd name="connsiteY0" fmla="*/ 1136999 h 3144202"/>
                    <a:gd name="connsiteX1" fmla="*/ 0 w 575214"/>
                    <a:gd name="connsiteY1" fmla="*/ 3144203 h 3144202"/>
                    <a:gd name="connsiteX2" fmla="*/ 527590 w 575214"/>
                    <a:gd name="connsiteY2" fmla="*/ 3144203 h 3144202"/>
                    <a:gd name="connsiteX3" fmla="*/ 575215 w 575214"/>
                    <a:gd name="connsiteY3" fmla="*/ 576167 h 3144202"/>
                    <a:gd name="connsiteX4" fmla="*/ 467868 w 575214"/>
                    <a:gd name="connsiteY4" fmla="*/ 0 h 3144202"/>
                    <a:gd name="connsiteX5" fmla="*/ 28194 w 575214"/>
                    <a:gd name="connsiteY5" fmla="*/ 225647 h 3144202"/>
                    <a:gd name="connsiteX6" fmla="*/ 216312 w 575214"/>
                    <a:gd name="connsiteY6" fmla="*/ 604838 h 3144202"/>
                    <a:gd name="connsiteX7" fmla="*/ 197453 w 575214"/>
                    <a:gd name="connsiteY7" fmla="*/ 1137095 h 3144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75214" h="3144202">
                      <a:moveTo>
                        <a:pt x="197358" y="1136999"/>
                      </a:moveTo>
                      <a:cubicBezTo>
                        <a:pt x="-28861" y="1726597"/>
                        <a:pt x="51340" y="2820543"/>
                        <a:pt x="0" y="3144203"/>
                      </a:cubicBezTo>
                      <a:lnTo>
                        <a:pt x="527590" y="3144203"/>
                      </a:lnTo>
                      <a:lnTo>
                        <a:pt x="575215" y="576167"/>
                      </a:lnTo>
                      <a:lnTo>
                        <a:pt x="467868" y="0"/>
                      </a:lnTo>
                      <a:cubicBezTo>
                        <a:pt x="302037" y="67151"/>
                        <a:pt x="69437" y="144590"/>
                        <a:pt x="28194" y="225647"/>
                      </a:cubicBezTo>
                      <a:cubicBezTo>
                        <a:pt x="120682" y="378047"/>
                        <a:pt x="216312" y="604838"/>
                        <a:pt x="216312" y="604838"/>
                      </a:cubicBezTo>
                      <a:cubicBezTo>
                        <a:pt x="216312" y="604838"/>
                        <a:pt x="200406" y="745903"/>
                        <a:pt x="197453" y="113709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7" name="Freihandform: Form 156">
                  <a:extLst>
                    <a:ext uri="{FF2B5EF4-FFF2-40B4-BE49-F238E27FC236}">
                      <a16:creationId xmlns:a16="http://schemas.microsoft.com/office/drawing/2014/main" id="{428B9EF3-D082-6A9A-5217-A7DEF58B5FFC}"/>
                    </a:ext>
                  </a:extLst>
                </p:cNvPr>
                <p:cNvSpPr/>
                <p:nvPr/>
              </p:nvSpPr>
              <p:spPr>
                <a:xfrm>
                  <a:off x="8923527" y="8237759"/>
                  <a:ext cx="199834" cy="706945"/>
                </a:xfrm>
                <a:custGeom>
                  <a:avLst/>
                  <a:gdLst>
                    <a:gd name="connsiteX0" fmla="*/ 35528 w 199834"/>
                    <a:gd name="connsiteY0" fmla="*/ 0 h 706945"/>
                    <a:gd name="connsiteX1" fmla="*/ 0 w 199834"/>
                    <a:gd name="connsiteY1" fmla="*/ 13906 h 706945"/>
                    <a:gd name="connsiteX2" fmla="*/ 88106 w 199834"/>
                    <a:gd name="connsiteY2" fmla="*/ 352234 h 706945"/>
                    <a:gd name="connsiteX3" fmla="*/ 199834 w 199834"/>
                    <a:gd name="connsiteY3" fmla="*/ 706946 h 706945"/>
                    <a:gd name="connsiteX4" fmla="*/ 123539 w 199834"/>
                    <a:gd name="connsiteY4" fmla="*/ 352234 h 706945"/>
                    <a:gd name="connsiteX5" fmla="*/ 35623 w 199834"/>
                    <a:gd name="connsiteY5" fmla="*/ 0 h 706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99834" h="706945">
                      <a:moveTo>
                        <a:pt x="35528" y="0"/>
                      </a:moveTo>
                      <a:lnTo>
                        <a:pt x="0" y="13906"/>
                      </a:lnTo>
                      <a:cubicBezTo>
                        <a:pt x="0" y="13906"/>
                        <a:pt x="76009" y="206692"/>
                        <a:pt x="88106" y="352234"/>
                      </a:cubicBezTo>
                      <a:cubicBezTo>
                        <a:pt x="100108" y="497776"/>
                        <a:pt x="199834" y="706946"/>
                        <a:pt x="199834" y="706946"/>
                      </a:cubicBezTo>
                      <a:cubicBezTo>
                        <a:pt x="199834" y="706946"/>
                        <a:pt x="128968" y="398050"/>
                        <a:pt x="123539" y="352234"/>
                      </a:cubicBezTo>
                      <a:cubicBezTo>
                        <a:pt x="118110" y="306419"/>
                        <a:pt x="35623" y="0"/>
                        <a:pt x="35623" y="0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8" name="Freihandform: Form 157">
                  <a:extLst>
                    <a:ext uri="{FF2B5EF4-FFF2-40B4-BE49-F238E27FC236}">
                      <a16:creationId xmlns:a16="http://schemas.microsoft.com/office/drawing/2014/main" id="{18507769-A6D6-D035-0333-5AC014C97E8C}"/>
                    </a:ext>
                  </a:extLst>
                </p:cNvPr>
                <p:cNvSpPr/>
                <p:nvPr/>
              </p:nvSpPr>
              <p:spPr>
                <a:xfrm>
                  <a:off x="8664457" y="8777255"/>
                  <a:ext cx="159748" cy="575881"/>
                </a:xfrm>
                <a:custGeom>
                  <a:avLst/>
                  <a:gdLst>
                    <a:gd name="connsiteX0" fmla="*/ 132483 w 159748"/>
                    <a:gd name="connsiteY0" fmla="*/ 0 h 575881"/>
                    <a:gd name="connsiteX1" fmla="*/ 6753 w 159748"/>
                    <a:gd name="connsiteY1" fmla="*/ 303467 h 575881"/>
                    <a:gd name="connsiteX2" fmla="*/ 50568 w 159748"/>
                    <a:gd name="connsiteY2" fmla="*/ 575881 h 575881"/>
                    <a:gd name="connsiteX3" fmla="*/ 50568 w 159748"/>
                    <a:gd name="connsiteY3" fmla="*/ 575881 h 575881"/>
                    <a:gd name="connsiteX4" fmla="*/ 157343 w 159748"/>
                    <a:gd name="connsiteY4" fmla="*/ 197834 h 575881"/>
                    <a:gd name="connsiteX5" fmla="*/ 132387 w 159748"/>
                    <a:gd name="connsiteY5" fmla="*/ 0 h 575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59748" h="575881">
                      <a:moveTo>
                        <a:pt x="132483" y="0"/>
                      </a:moveTo>
                      <a:cubicBezTo>
                        <a:pt x="80191" y="30004"/>
                        <a:pt x="-28013" y="139351"/>
                        <a:pt x="6753" y="303467"/>
                      </a:cubicBezTo>
                      <a:cubicBezTo>
                        <a:pt x="41614" y="467582"/>
                        <a:pt x="50568" y="575881"/>
                        <a:pt x="50568" y="575881"/>
                      </a:cubicBezTo>
                      <a:lnTo>
                        <a:pt x="50568" y="575881"/>
                      </a:lnTo>
                      <a:lnTo>
                        <a:pt x="157343" y="197834"/>
                      </a:lnTo>
                      <a:cubicBezTo>
                        <a:pt x="160201" y="166592"/>
                        <a:pt x="166582" y="73057"/>
                        <a:pt x="132387" y="0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9" name="Freihandform: Form 158">
                  <a:extLst>
                    <a:ext uri="{FF2B5EF4-FFF2-40B4-BE49-F238E27FC236}">
                      <a16:creationId xmlns:a16="http://schemas.microsoft.com/office/drawing/2014/main" id="{9724B1A0-2EC5-CA8A-1856-A5CE13B9B99A}"/>
                    </a:ext>
                  </a:extLst>
                </p:cNvPr>
                <p:cNvSpPr/>
                <p:nvPr/>
              </p:nvSpPr>
              <p:spPr>
                <a:xfrm>
                  <a:off x="8695689" y="9943306"/>
                  <a:ext cx="330837" cy="409959"/>
                </a:xfrm>
                <a:custGeom>
                  <a:avLst/>
                  <a:gdLst>
                    <a:gd name="connsiteX0" fmla="*/ 49911 w 330837"/>
                    <a:gd name="connsiteY0" fmla="*/ 0 h 409959"/>
                    <a:gd name="connsiteX1" fmla="*/ 37338 w 330837"/>
                    <a:gd name="connsiteY1" fmla="*/ 351377 h 409959"/>
                    <a:gd name="connsiteX2" fmla="*/ 330804 w 330837"/>
                    <a:gd name="connsiteY2" fmla="*/ 359093 h 409959"/>
                    <a:gd name="connsiteX3" fmla="*/ 0 w 330837"/>
                    <a:gd name="connsiteY3" fmla="*/ 388715 h 409959"/>
                    <a:gd name="connsiteX4" fmla="*/ 25146 w 330837"/>
                    <a:gd name="connsiteY4" fmla="*/ 81724 h 409959"/>
                    <a:gd name="connsiteX5" fmla="*/ 49911 w 330837"/>
                    <a:gd name="connsiteY5" fmla="*/ 0 h 409959"/>
                    <a:gd name="connsiteX6" fmla="*/ 49911 w 330837"/>
                    <a:gd name="connsiteY6" fmla="*/ 0 h 409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30837" h="409959">
                      <a:moveTo>
                        <a:pt x="49911" y="0"/>
                      </a:moveTo>
                      <a:cubicBezTo>
                        <a:pt x="49911" y="0"/>
                        <a:pt x="33909" y="310229"/>
                        <a:pt x="37338" y="351377"/>
                      </a:cubicBezTo>
                      <a:cubicBezTo>
                        <a:pt x="43149" y="368713"/>
                        <a:pt x="307372" y="358616"/>
                        <a:pt x="330804" y="359093"/>
                      </a:cubicBezTo>
                      <a:cubicBezTo>
                        <a:pt x="334709" y="393859"/>
                        <a:pt x="0" y="436340"/>
                        <a:pt x="0" y="388715"/>
                      </a:cubicBezTo>
                      <a:cubicBezTo>
                        <a:pt x="0" y="341090"/>
                        <a:pt x="20193" y="122015"/>
                        <a:pt x="25146" y="81724"/>
                      </a:cubicBezTo>
                      <a:cubicBezTo>
                        <a:pt x="31909" y="25813"/>
                        <a:pt x="32861" y="8572"/>
                        <a:pt x="49911" y="0"/>
                      </a:cubicBezTo>
                      <a:lnTo>
                        <a:pt x="49911" y="0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0" name="Freihandform: Form 159">
                  <a:extLst>
                    <a:ext uri="{FF2B5EF4-FFF2-40B4-BE49-F238E27FC236}">
                      <a16:creationId xmlns:a16="http://schemas.microsoft.com/office/drawing/2014/main" id="{ECD1431D-A7A3-E30B-0D66-4FF18466F40D}"/>
                    </a:ext>
                  </a:extLst>
                </p:cNvPr>
                <p:cNvSpPr/>
                <p:nvPr/>
              </p:nvSpPr>
              <p:spPr>
                <a:xfrm>
                  <a:off x="9393395" y="8211756"/>
                  <a:ext cx="575977" cy="3121056"/>
                </a:xfrm>
                <a:custGeom>
                  <a:avLst/>
                  <a:gdLst>
                    <a:gd name="connsiteX0" fmla="*/ 575977 w 575977"/>
                    <a:gd name="connsiteY0" fmla="*/ 3121057 h 3121056"/>
                    <a:gd name="connsiteX1" fmla="*/ 377857 w 575977"/>
                    <a:gd name="connsiteY1" fmla="*/ 1113854 h 3121056"/>
                    <a:gd name="connsiteX2" fmla="*/ 358997 w 575977"/>
                    <a:gd name="connsiteY2" fmla="*/ 581597 h 3121056"/>
                    <a:gd name="connsiteX3" fmla="*/ 540925 w 575977"/>
                    <a:gd name="connsiteY3" fmla="*/ 220123 h 3121056"/>
                    <a:gd name="connsiteX4" fmla="*/ 102680 w 575977"/>
                    <a:gd name="connsiteY4" fmla="*/ 0 h 3121056"/>
                    <a:gd name="connsiteX5" fmla="*/ 0 w 575977"/>
                    <a:gd name="connsiteY5" fmla="*/ 552926 h 3121056"/>
                    <a:gd name="connsiteX6" fmla="*/ 47816 w 575977"/>
                    <a:gd name="connsiteY6" fmla="*/ 3120962 h 3121056"/>
                    <a:gd name="connsiteX7" fmla="*/ 575977 w 575977"/>
                    <a:gd name="connsiteY7" fmla="*/ 3120962 h 3121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75977" h="3121056">
                      <a:moveTo>
                        <a:pt x="575977" y="3121057"/>
                      </a:moveTo>
                      <a:cubicBezTo>
                        <a:pt x="522923" y="2803493"/>
                        <a:pt x="605219" y="1706594"/>
                        <a:pt x="377857" y="1113854"/>
                      </a:cubicBezTo>
                      <a:cubicBezTo>
                        <a:pt x="374904" y="722757"/>
                        <a:pt x="358997" y="581597"/>
                        <a:pt x="358997" y="581597"/>
                      </a:cubicBezTo>
                      <a:cubicBezTo>
                        <a:pt x="358997" y="581597"/>
                        <a:pt x="448437" y="372523"/>
                        <a:pt x="540925" y="220123"/>
                      </a:cubicBezTo>
                      <a:cubicBezTo>
                        <a:pt x="496729" y="112681"/>
                        <a:pt x="254889" y="58102"/>
                        <a:pt x="102680" y="0"/>
                      </a:cubicBezTo>
                      <a:lnTo>
                        <a:pt x="0" y="552926"/>
                      </a:lnTo>
                      <a:lnTo>
                        <a:pt x="47816" y="3120962"/>
                      </a:lnTo>
                      <a:lnTo>
                        <a:pt x="575977" y="312096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1" name="Freihandform: Form 160">
                  <a:extLst>
                    <a:ext uri="{FF2B5EF4-FFF2-40B4-BE49-F238E27FC236}">
                      <a16:creationId xmlns:a16="http://schemas.microsoft.com/office/drawing/2014/main" id="{E94B8753-FD2E-50BC-C29D-31EA77A7B3D5}"/>
                    </a:ext>
                  </a:extLst>
                </p:cNvPr>
                <p:cNvSpPr/>
                <p:nvPr/>
              </p:nvSpPr>
              <p:spPr>
                <a:xfrm>
                  <a:off x="9346962" y="8048069"/>
                  <a:ext cx="321998" cy="541925"/>
                </a:xfrm>
                <a:custGeom>
                  <a:avLst/>
                  <a:gdLst>
                    <a:gd name="connsiteX0" fmla="*/ 108251 w 321998"/>
                    <a:gd name="connsiteY0" fmla="*/ 79486 h 541925"/>
                    <a:gd name="connsiteX1" fmla="*/ 300084 w 321998"/>
                    <a:gd name="connsiteY1" fmla="*/ 216265 h 541925"/>
                    <a:gd name="connsiteX2" fmla="*/ 180641 w 321998"/>
                    <a:gd name="connsiteY2" fmla="*/ 354378 h 541925"/>
                    <a:gd name="connsiteX3" fmla="*/ 149113 w 321998"/>
                    <a:gd name="connsiteY3" fmla="*/ 541925 h 541925"/>
                    <a:gd name="connsiteX4" fmla="*/ 35289 w 321998"/>
                    <a:gd name="connsiteY4" fmla="*/ 264176 h 541925"/>
                    <a:gd name="connsiteX5" fmla="*/ 108251 w 321998"/>
                    <a:gd name="connsiteY5" fmla="*/ 79486 h 541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1998" h="541925">
                      <a:moveTo>
                        <a:pt x="108251" y="79486"/>
                      </a:moveTo>
                      <a:cubicBezTo>
                        <a:pt x="82534" y="-113585"/>
                        <a:pt x="407717" y="89964"/>
                        <a:pt x="300084" y="216265"/>
                      </a:cubicBezTo>
                      <a:cubicBezTo>
                        <a:pt x="300084" y="216265"/>
                        <a:pt x="221217" y="286750"/>
                        <a:pt x="180641" y="354378"/>
                      </a:cubicBezTo>
                      <a:cubicBezTo>
                        <a:pt x="140064" y="422005"/>
                        <a:pt x="146256" y="484870"/>
                        <a:pt x="149113" y="541925"/>
                      </a:cubicBezTo>
                      <a:cubicBezTo>
                        <a:pt x="-20336" y="527161"/>
                        <a:pt x="-25194" y="321612"/>
                        <a:pt x="35289" y="264176"/>
                      </a:cubicBezTo>
                      <a:cubicBezTo>
                        <a:pt x="133968" y="170450"/>
                        <a:pt x="123015" y="126635"/>
                        <a:pt x="108251" y="7948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2" name="Freihandform: Form 161">
                  <a:extLst>
                    <a:ext uri="{FF2B5EF4-FFF2-40B4-BE49-F238E27FC236}">
                      <a16:creationId xmlns:a16="http://schemas.microsoft.com/office/drawing/2014/main" id="{EF20A702-583F-A000-508D-7D09859DA7CB}"/>
                    </a:ext>
                  </a:extLst>
                </p:cNvPr>
                <p:cNvSpPr/>
                <p:nvPr/>
              </p:nvSpPr>
              <p:spPr>
                <a:xfrm>
                  <a:off x="8386350" y="9342088"/>
                  <a:ext cx="319816" cy="722471"/>
                </a:xfrm>
                <a:custGeom>
                  <a:avLst/>
                  <a:gdLst>
                    <a:gd name="connsiteX0" fmla="*/ 11778 w 319816"/>
                    <a:gd name="connsiteY0" fmla="*/ 722471 h 722471"/>
                    <a:gd name="connsiteX1" fmla="*/ 243998 w 319816"/>
                    <a:gd name="connsiteY1" fmla="*/ 722471 h 722471"/>
                    <a:gd name="connsiteX2" fmla="*/ 319817 w 319816"/>
                    <a:gd name="connsiteY2" fmla="*/ 42386 h 722471"/>
                    <a:gd name="connsiteX3" fmla="*/ 12350 w 319816"/>
                    <a:gd name="connsiteY3" fmla="*/ 0 h 722471"/>
                    <a:gd name="connsiteX4" fmla="*/ 11683 w 319816"/>
                    <a:gd name="connsiteY4" fmla="*/ 722471 h 7224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9816" h="722471">
                      <a:moveTo>
                        <a:pt x="11778" y="722471"/>
                      </a:moveTo>
                      <a:lnTo>
                        <a:pt x="243998" y="722471"/>
                      </a:lnTo>
                      <a:cubicBezTo>
                        <a:pt x="243998" y="722471"/>
                        <a:pt x="304100" y="215360"/>
                        <a:pt x="319817" y="42386"/>
                      </a:cubicBezTo>
                      <a:lnTo>
                        <a:pt x="12350" y="0"/>
                      </a:lnTo>
                      <a:cubicBezTo>
                        <a:pt x="12350" y="339566"/>
                        <a:pt x="-14987" y="531781"/>
                        <a:pt x="11683" y="72247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3" name="Freihandform: Form 162">
                  <a:extLst>
                    <a:ext uri="{FF2B5EF4-FFF2-40B4-BE49-F238E27FC236}">
                      <a16:creationId xmlns:a16="http://schemas.microsoft.com/office/drawing/2014/main" id="{A9858B92-41E1-D564-8C3B-907D068FCFBF}"/>
                    </a:ext>
                  </a:extLst>
                </p:cNvPr>
                <p:cNvSpPr/>
                <p:nvPr/>
              </p:nvSpPr>
              <p:spPr>
                <a:xfrm>
                  <a:off x="9633235" y="8339391"/>
                  <a:ext cx="314705" cy="314706"/>
                </a:xfrm>
                <a:custGeom>
                  <a:avLst/>
                  <a:gdLst>
                    <a:gd name="connsiteX0" fmla="*/ 314706 w 314705"/>
                    <a:gd name="connsiteY0" fmla="*/ 157353 h 314706"/>
                    <a:gd name="connsiteX1" fmla="*/ 157353 w 314705"/>
                    <a:gd name="connsiteY1" fmla="*/ 314706 h 314706"/>
                    <a:gd name="connsiteX2" fmla="*/ 0 w 314705"/>
                    <a:gd name="connsiteY2" fmla="*/ 157353 h 314706"/>
                    <a:gd name="connsiteX3" fmla="*/ 157353 w 314705"/>
                    <a:gd name="connsiteY3" fmla="*/ 0 h 314706"/>
                    <a:gd name="connsiteX4" fmla="*/ 314706 w 314705"/>
                    <a:gd name="connsiteY4" fmla="*/ 157353 h 314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4705" h="314706">
                      <a:moveTo>
                        <a:pt x="314706" y="157353"/>
                      </a:moveTo>
                      <a:cubicBezTo>
                        <a:pt x="314706" y="244257"/>
                        <a:pt x="244257" y="314706"/>
                        <a:pt x="157353" y="314706"/>
                      </a:cubicBezTo>
                      <a:cubicBezTo>
                        <a:pt x="70449" y="314706"/>
                        <a:pt x="0" y="244257"/>
                        <a:pt x="0" y="157353"/>
                      </a:cubicBezTo>
                      <a:cubicBezTo>
                        <a:pt x="0" y="70449"/>
                        <a:pt x="70449" y="0"/>
                        <a:pt x="157353" y="0"/>
                      </a:cubicBezTo>
                      <a:cubicBezTo>
                        <a:pt x="244256" y="0"/>
                        <a:pt x="314706" y="70449"/>
                        <a:pt x="314706" y="15735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4" name="Freihandform: Form 163">
                  <a:extLst>
                    <a:ext uri="{FF2B5EF4-FFF2-40B4-BE49-F238E27FC236}">
                      <a16:creationId xmlns:a16="http://schemas.microsoft.com/office/drawing/2014/main" id="{1BC5C391-05AC-9562-1452-E6FD39E1ED8C}"/>
                    </a:ext>
                  </a:extLst>
                </p:cNvPr>
                <p:cNvSpPr/>
                <p:nvPr/>
              </p:nvSpPr>
              <p:spPr>
                <a:xfrm>
                  <a:off x="9658000" y="8417591"/>
                  <a:ext cx="625982" cy="890015"/>
                </a:xfrm>
                <a:custGeom>
                  <a:avLst/>
                  <a:gdLst>
                    <a:gd name="connsiteX0" fmla="*/ 625888 w 625982"/>
                    <a:gd name="connsiteY0" fmla="*/ 774287 h 890015"/>
                    <a:gd name="connsiteX1" fmla="*/ 334518 w 625982"/>
                    <a:gd name="connsiteY1" fmla="*/ 890016 h 890015"/>
                    <a:gd name="connsiteX2" fmla="*/ 135064 w 625982"/>
                    <a:gd name="connsiteY2" fmla="*/ 426720 h 890015"/>
                    <a:gd name="connsiteX3" fmla="*/ 0 w 625982"/>
                    <a:gd name="connsiteY3" fmla="*/ 163163 h 890015"/>
                    <a:gd name="connsiteX4" fmla="*/ 268986 w 625982"/>
                    <a:gd name="connsiteY4" fmla="*/ 0 h 890015"/>
                    <a:gd name="connsiteX5" fmla="*/ 430339 w 625982"/>
                    <a:gd name="connsiteY5" fmla="*/ 315373 h 890015"/>
                    <a:gd name="connsiteX6" fmla="*/ 625983 w 625982"/>
                    <a:gd name="connsiteY6" fmla="*/ 774287 h 890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5982" h="890015">
                      <a:moveTo>
                        <a:pt x="625888" y="774287"/>
                      </a:moveTo>
                      <a:lnTo>
                        <a:pt x="334518" y="890016"/>
                      </a:lnTo>
                      <a:lnTo>
                        <a:pt x="135064" y="426720"/>
                      </a:lnTo>
                      <a:lnTo>
                        <a:pt x="0" y="163163"/>
                      </a:lnTo>
                      <a:lnTo>
                        <a:pt x="268986" y="0"/>
                      </a:lnTo>
                      <a:cubicBezTo>
                        <a:pt x="311182" y="74009"/>
                        <a:pt x="367665" y="187928"/>
                        <a:pt x="430339" y="315373"/>
                      </a:cubicBezTo>
                      <a:cubicBezTo>
                        <a:pt x="529780" y="517589"/>
                        <a:pt x="625983" y="774287"/>
                        <a:pt x="625983" y="77428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5" name="Freihandform: Form 164">
                  <a:extLst>
                    <a:ext uri="{FF2B5EF4-FFF2-40B4-BE49-F238E27FC236}">
                      <a16:creationId xmlns:a16="http://schemas.microsoft.com/office/drawing/2014/main" id="{FC2F2DBD-EF16-FDCF-5CD0-F1C7EADFA2F8}"/>
                    </a:ext>
                  </a:extLst>
                </p:cNvPr>
                <p:cNvSpPr/>
                <p:nvPr/>
              </p:nvSpPr>
              <p:spPr>
                <a:xfrm>
                  <a:off x="9381870" y="8729059"/>
                  <a:ext cx="596360" cy="785241"/>
                </a:xfrm>
                <a:custGeom>
                  <a:avLst/>
                  <a:gdLst>
                    <a:gd name="connsiteX0" fmla="*/ 572548 w 596360"/>
                    <a:gd name="connsiteY0" fmla="*/ 0 h 785241"/>
                    <a:gd name="connsiteX1" fmla="*/ 596360 w 596360"/>
                    <a:gd name="connsiteY1" fmla="*/ 23813 h 785241"/>
                    <a:gd name="connsiteX2" fmla="*/ 596360 w 596360"/>
                    <a:gd name="connsiteY2" fmla="*/ 761429 h 785241"/>
                    <a:gd name="connsiteX3" fmla="*/ 572548 w 596360"/>
                    <a:gd name="connsiteY3" fmla="*/ 785241 h 785241"/>
                    <a:gd name="connsiteX4" fmla="*/ 23813 w 596360"/>
                    <a:gd name="connsiteY4" fmla="*/ 785241 h 785241"/>
                    <a:gd name="connsiteX5" fmla="*/ 0 w 596360"/>
                    <a:gd name="connsiteY5" fmla="*/ 761429 h 785241"/>
                    <a:gd name="connsiteX6" fmla="*/ 0 w 596360"/>
                    <a:gd name="connsiteY6" fmla="*/ 23813 h 785241"/>
                    <a:gd name="connsiteX7" fmla="*/ 23813 w 596360"/>
                    <a:gd name="connsiteY7" fmla="*/ 0 h 785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96360" h="785241">
                      <a:moveTo>
                        <a:pt x="572548" y="0"/>
                      </a:moveTo>
                      <a:cubicBezTo>
                        <a:pt x="585699" y="0"/>
                        <a:pt x="596360" y="10661"/>
                        <a:pt x="596360" y="23813"/>
                      </a:cubicBezTo>
                      <a:lnTo>
                        <a:pt x="596360" y="761429"/>
                      </a:lnTo>
                      <a:cubicBezTo>
                        <a:pt x="596360" y="774580"/>
                        <a:pt x="585699" y="785241"/>
                        <a:pt x="572548" y="785241"/>
                      </a:cubicBezTo>
                      <a:lnTo>
                        <a:pt x="23813" y="785241"/>
                      </a:lnTo>
                      <a:cubicBezTo>
                        <a:pt x="10661" y="785241"/>
                        <a:pt x="0" y="774580"/>
                        <a:pt x="0" y="761429"/>
                      </a:cubicBezTo>
                      <a:lnTo>
                        <a:pt x="0" y="23813"/>
                      </a:lnTo>
                      <a:cubicBezTo>
                        <a:pt x="0" y="10661"/>
                        <a:pt x="10661" y="0"/>
                        <a:pt x="23813" y="0"/>
                      </a:cubicBezTo>
                      <a:close/>
                    </a:path>
                  </a:pathLst>
                </a:custGeom>
                <a:solidFill>
                  <a:srgbClr val="EDEDE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6" name="Freihandform: Form 165">
                  <a:extLst>
                    <a:ext uri="{FF2B5EF4-FFF2-40B4-BE49-F238E27FC236}">
                      <a16:creationId xmlns:a16="http://schemas.microsoft.com/office/drawing/2014/main" id="{74F51648-D0C5-7588-444D-05093F679C0E}"/>
                    </a:ext>
                  </a:extLst>
                </p:cNvPr>
                <p:cNvSpPr/>
                <p:nvPr/>
              </p:nvSpPr>
              <p:spPr>
                <a:xfrm>
                  <a:off x="9348914" y="8729059"/>
                  <a:ext cx="596360" cy="785241"/>
                </a:xfrm>
                <a:custGeom>
                  <a:avLst/>
                  <a:gdLst>
                    <a:gd name="connsiteX0" fmla="*/ 0 w 596360"/>
                    <a:gd name="connsiteY0" fmla="*/ 0 h 785241"/>
                    <a:gd name="connsiteX1" fmla="*/ 596360 w 596360"/>
                    <a:gd name="connsiteY1" fmla="*/ 0 h 785241"/>
                    <a:gd name="connsiteX2" fmla="*/ 596360 w 596360"/>
                    <a:gd name="connsiteY2" fmla="*/ 785241 h 785241"/>
                    <a:gd name="connsiteX3" fmla="*/ 0 w 596360"/>
                    <a:gd name="connsiteY3" fmla="*/ 785241 h 785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96360" h="785241">
                      <a:moveTo>
                        <a:pt x="0" y="0"/>
                      </a:moveTo>
                      <a:lnTo>
                        <a:pt x="596360" y="0"/>
                      </a:lnTo>
                      <a:lnTo>
                        <a:pt x="596360" y="785241"/>
                      </a:lnTo>
                      <a:lnTo>
                        <a:pt x="0" y="785241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7" name="Freihandform: Form 166">
                  <a:extLst>
                    <a:ext uri="{FF2B5EF4-FFF2-40B4-BE49-F238E27FC236}">
                      <a16:creationId xmlns:a16="http://schemas.microsoft.com/office/drawing/2014/main" id="{E6236043-A530-38BD-D818-F119299DE817}"/>
                    </a:ext>
                  </a:extLst>
                </p:cNvPr>
                <p:cNvSpPr/>
                <p:nvPr/>
              </p:nvSpPr>
              <p:spPr>
                <a:xfrm>
                  <a:off x="9578942" y="8850693"/>
                  <a:ext cx="123253" cy="123253"/>
                </a:xfrm>
                <a:custGeom>
                  <a:avLst/>
                  <a:gdLst>
                    <a:gd name="connsiteX0" fmla="*/ 123254 w 123253"/>
                    <a:gd name="connsiteY0" fmla="*/ 61627 h 123253"/>
                    <a:gd name="connsiteX1" fmla="*/ 61627 w 123253"/>
                    <a:gd name="connsiteY1" fmla="*/ 123253 h 123253"/>
                    <a:gd name="connsiteX2" fmla="*/ 1 w 123253"/>
                    <a:gd name="connsiteY2" fmla="*/ 61627 h 123253"/>
                    <a:gd name="connsiteX3" fmla="*/ 61627 w 123253"/>
                    <a:gd name="connsiteY3" fmla="*/ 0 h 123253"/>
                    <a:gd name="connsiteX4" fmla="*/ 123254 w 123253"/>
                    <a:gd name="connsiteY4" fmla="*/ 61627 h 1232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3253" h="123253">
                      <a:moveTo>
                        <a:pt x="123254" y="61627"/>
                      </a:moveTo>
                      <a:cubicBezTo>
                        <a:pt x="123254" y="95662"/>
                        <a:pt x="95662" y="123253"/>
                        <a:pt x="61627" y="123253"/>
                      </a:cubicBezTo>
                      <a:cubicBezTo>
                        <a:pt x="27592" y="123253"/>
                        <a:pt x="1" y="95662"/>
                        <a:pt x="1" y="61627"/>
                      </a:cubicBezTo>
                      <a:cubicBezTo>
                        <a:pt x="1" y="27591"/>
                        <a:pt x="27592" y="0"/>
                        <a:pt x="61627" y="0"/>
                      </a:cubicBezTo>
                      <a:cubicBezTo>
                        <a:pt x="95663" y="0"/>
                        <a:pt x="123254" y="27591"/>
                        <a:pt x="123254" y="61627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8" name="Freihandform: Form 167">
                  <a:extLst>
                    <a:ext uri="{FF2B5EF4-FFF2-40B4-BE49-F238E27FC236}">
                      <a16:creationId xmlns:a16="http://schemas.microsoft.com/office/drawing/2014/main" id="{8E3FA608-B7E8-8DD6-4AB6-F61DC357A081}"/>
                    </a:ext>
                  </a:extLst>
                </p:cNvPr>
                <p:cNvSpPr/>
                <p:nvPr/>
              </p:nvSpPr>
              <p:spPr>
                <a:xfrm>
                  <a:off x="9852024" y="8764778"/>
                  <a:ext cx="24955" cy="24955"/>
                </a:xfrm>
                <a:custGeom>
                  <a:avLst/>
                  <a:gdLst>
                    <a:gd name="connsiteX0" fmla="*/ 24955 w 24955"/>
                    <a:gd name="connsiteY0" fmla="*/ 12478 h 24955"/>
                    <a:gd name="connsiteX1" fmla="*/ 12478 w 24955"/>
                    <a:gd name="connsiteY1" fmla="*/ 24955 h 24955"/>
                    <a:gd name="connsiteX2" fmla="*/ 0 w 24955"/>
                    <a:gd name="connsiteY2" fmla="*/ 12478 h 24955"/>
                    <a:gd name="connsiteX3" fmla="*/ 12478 w 24955"/>
                    <a:gd name="connsiteY3" fmla="*/ 0 h 24955"/>
                    <a:gd name="connsiteX4" fmla="*/ 24955 w 24955"/>
                    <a:gd name="connsiteY4" fmla="*/ 12478 h 24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955" h="24955">
                      <a:moveTo>
                        <a:pt x="24955" y="12478"/>
                      </a:moveTo>
                      <a:cubicBezTo>
                        <a:pt x="24955" y="19369"/>
                        <a:pt x="19369" y="24955"/>
                        <a:pt x="12478" y="24955"/>
                      </a:cubicBezTo>
                      <a:cubicBezTo>
                        <a:pt x="5586" y="24955"/>
                        <a:pt x="0" y="19369"/>
                        <a:pt x="0" y="12478"/>
                      </a:cubicBezTo>
                      <a:cubicBezTo>
                        <a:pt x="0" y="5586"/>
                        <a:pt x="5586" y="0"/>
                        <a:pt x="12478" y="0"/>
                      </a:cubicBezTo>
                      <a:cubicBezTo>
                        <a:pt x="19369" y="0"/>
                        <a:pt x="24955" y="5586"/>
                        <a:pt x="24955" y="12478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9" name="Freihandform: Form 168">
                  <a:extLst>
                    <a:ext uri="{FF2B5EF4-FFF2-40B4-BE49-F238E27FC236}">
                      <a16:creationId xmlns:a16="http://schemas.microsoft.com/office/drawing/2014/main" id="{CB385690-8B69-8E62-847B-E8CA154DE699}"/>
                    </a:ext>
                  </a:extLst>
                </p:cNvPr>
                <p:cNvSpPr/>
                <p:nvPr/>
              </p:nvSpPr>
              <p:spPr>
                <a:xfrm>
                  <a:off x="9472929" y="9031097"/>
                  <a:ext cx="135255" cy="135254"/>
                </a:xfrm>
                <a:custGeom>
                  <a:avLst/>
                  <a:gdLst>
                    <a:gd name="connsiteX0" fmla="*/ 135255 w 135255"/>
                    <a:gd name="connsiteY0" fmla="*/ 67628 h 135254"/>
                    <a:gd name="connsiteX1" fmla="*/ 67628 w 135255"/>
                    <a:gd name="connsiteY1" fmla="*/ 135255 h 135254"/>
                    <a:gd name="connsiteX2" fmla="*/ 1 w 135255"/>
                    <a:gd name="connsiteY2" fmla="*/ 67628 h 135254"/>
                    <a:gd name="connsiteX3" fmla="*/ 67628 w 135255"/>
                    <a:gd name="connsiteY3" fmla="*/ 0 h 135254"/>
                    <a:gd name="connsiteX4" fmla="*/ 135255 w 135255"/>
                    <a:gd name="connsiteY4" fmla="*/ 67628 h 1352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255" h="135254">
                      <a:moveTo>
                        <a:pt x="135255" y="67628"/>
                      </a:moveTo>
                      <a:cubicBezTo>
                        <a:pt x="135255" y="104977"/>
                        <a:pt x="104977" y="135255"/>
                        <a:pt x="67628" y="135255"/>
                      </a:cubicBezTo>
                      <a:cubicBezTo>
                        <a:pt x="30279" y="135255"/>
                        <a:pt x="1" y="104977"/>
                        <a:pt x="1" y="67628"/>
                      </a:cubicBezTo>
                      <a:cubicBezTo>
                        <a:pt x="1" y="30278"/>
                        <a:pt x="30279" y="0"/>
                        <a:pt x="67628" y="0"/>
                      </a:cubicBezTo>
                      <a:cubicBezTo>
                        <a:pt x="104977" y="0"/>
                        <a:pt x="135255" y="30278"/>
                        <a:pt x="135255" y="6762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0" name="Freihandform: Form 169">
                  <a:extLst>
                    <a:ext uri="{FF2B5EF4-FFF2-40B4-BE49-F238E27FC236}">
                      <a16:creationId xmlns:a16="http://schemas.microsoft.com/office/drawing/2014/main" id="{9ACC2546-94E8-6ACA-417C-4F295F918A47}"/>
                    </a:ext>
                  </a:extLst>
                </p:cNvPr>
                <p:cNvSpPr/>
                <p:nvPr/>
              </p:nvSpPr>
              <p:spPr>
                <a:xfrm>
                  <a:off x="9261970" y="8864885"/>
                  <a:ext cx="308150" cy="265148"/>
                </a:xfrm>
                <a:custGeom>
                  <a:avLst/>
                  <a:gdLst>
                    <a:gd name="connsiteX0" fmla="*/ 167049 w 308150"/>
                    <a:gd name="connsiteY0" fmla="*/ 59246 h 265148"/>
                    <a:gd name="connsiteX1" fmla="*/ 245725 w 308150"/>
                    <a:gd name="connsiteY1" fmla="*/ 106299 h 265148"/>
                    <a:gd name="connsiteX2" fmla="*/ 306685 w 308150"/>
                    <a:gd name="connsiteY2" fmla="*/ 206788 h 265148"/>
                    <a:gd name="connsiteX3" fmla="*/ 197338 w 308150"/>
                    <a:gd name="connsiteY3" fmla="*/ 239173 h 265148"/>
                    <a:gd name="connsiteX4" fmla="*/ 131520 w 308150"/>
                    <a:gd name="connsiteY4" fmla="*/ 136588 h 265148"/>
                    <a:gd name="connsiteX5" fmla="*/ 67322 w 308150"/>
                    <a:gd name="connsiteY5" fmla="*/ 96012 h 265148"/>
                    <a:gd name="connsiteX6" fmla="*/ 67322 w 308150"/>
                    <a:gd name="connsiteY6" fmla="*/ 96012 h 265148"/>
                    <a:gd name="connsiteX7" fmla="*/ 22269 w 308150"/>
                    <a:gd name="connsiteY7" fmla="*/ 64579 h 265148"/>
                    <a:gd name="connsiteX8" fmla="*/ 5790 w 308150"/>
                    <a:gd name="connsiteY8" fmla="*/ 0 h 265148"/>
                    <a:gd name="connsiteX9" fmla="*/ 71036 w 308150"/>
                    <a:gd name="connsiteY9" fmla="*/ 37147 h 265148"/>
                    <a:gd name="connsiteX10" fmla="*/ 166000 w 308150"/>
                    <a:gd name="connsiteY10" fmla="*/ 58674 h 265148"/>
                    <a:gd name="connsiteX11" fmla="*/ 166572 w 308150"/>
                    <a:gd name="connsiteY11" fmla="*/ 59912 h 265148"/>
                    <a:gd name="connsiteX12" fmla="*/ 167049 w 308150"/>
                    <a:gd name="connsiteY12" fmla="*/ 59150 h 265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08150" h="265148">
                      <a:moveTo>
                        <a:pt x="167049" y="59246"/>
                      </a:moveTo>
                      <a:cubicBezTo>
                        <a:pt x="167049" y="59246"/>
                        <a:pt x="224770" y="90297"/>
                        <a:pt x="245725" y="106299"/>
                      </a:cubicBezTo>
                      <a:cubicBezTo>
                        <a:pt x="245725" y="106299"/>
                        <a:pt x="319353" y="177927"/>
                        <a:pt x="306685" y="206788"/>
                      </a:cubicBezTo>
                      <a:cubicBezTo>
                        <a:pt x="283920" y="258699"/>
                        <a:pt x="207244" y="290322"/>
                        <a:pt x="197338" y="239173"/>
                      </a:cubicBezTo>
                      <a:cubicBezTo>
                        <a:pt x="186765" y="184975"/>
                        <a:pt x="139331" y="143256"/>
                        <a:pt x="131520" y="136588"/>
                      </a:cubicBezTo>
                      <a:lnTo>
                        <a:pt x="67322" y="96012"/>
                      </a:lnTo>
                      <a:cubicBezTo>
                        <a:pt x="67322" y="96012"/>
                        <a:pt x="67322" y="96012"/>
                        <a:pt x="67322" y="96012"/>
                      </a:cubicBezTo>
                      <a:cubicBezTo>
                        <a:pt x="53606" y="87154"/>
                        <a:pt x="37508" y="76009"/>
                        <a:pt x="22269" y="64579"/>
                      </a:cubicBezTo>
                      <a:cubicBezTo>
                        <a:pt x="1599" y="48958"/>
                        <a:pt x="-6497" y="32957"/>
                        <a:pt x="5790" y="0"/>
                      </a:cubicBezTo>
                      <a:lnTo>
                        <a:pt x="71036" y="37147"/>
                      </a:lnTo>
                      <a:cubicBezTo>
                        <a:pt x="71036" y="37147"/>
                        <a:pt x="167049" y="59150"/>
                        <a:pt x="166000" y="58674"/>
                      </a:cubicBezTo>
                      <a:cubicBezTo>
                        <a:pt x="166286" y="59055"/>
                        <a:pt x="166382" y="59531"/>
                        <a:pt x="166572" y="59912"/>
                      </a:cubicBezTo>
                      <a:cubicBezTo>
                        <a:pt x="166763" y="59626"/>
                        <a:pt x="166858" y="59436"/>
                        <a:pt x="167049" y="59150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1" name="Freihandform: Form 170">
                  <a:extLst>
                    <a:ext uri="{FF2B5EF4-FFF2-40B4-BE49-F238E27FC236}">
                      <a16:creationId xmlns:a16="http://schemas.microsoft.com/office/drawing/2014/main" id="{79F30F25-5747-1D05-31B3-B0E840E7A98A}"/>
                    </a:ext>
                  </a:extLst>
                </p:cNvPr>
                <p:cNvSpPr/>
                <p:nvPr/>
              </p:nvSpPr>
              <p:spPr>
                <a:xfrm>
                  <a:off x="9265221" y="8967683"/>
                  <a:ext cx="295814" cy="221737"/>
                </a:xfrm>
                <a:custGeom>
                  <a:avLst/>
                  <a:gdLst>
                    <a:gd name="connsiteX0" fmla="*/ 209422 w 295814"/>
                    <a:gd name="connsiteY0" fmla="*/ 11026 h 221737"/>
                    <a:gd name="connsiteX1" fmla="*/ 68357 w 295814"/>
                    <a:gd name="connsiteY1" fmla="*/ 15598 h 221737"/>
                    <a:gd name="connsiteX2" fmla="*/ 6158 w 295814"/>
                    <a:gd name="connsiteY2" fmla="*/ 29790 h 221737"/>
                    <a:gd name="connsiteX3" fmla="*/ 63785 w 295814"/>
                    <a:gd name="connsiteY3" fmla="*/ 220290 h 221737"/>
                    <a:gd name="connsiteX4" fmla="*/ 268382 w 295814"/>
                    <a:gd name="connsiteY4" fmla="*/ 198573 h 221737"/>
                    <a:gd name="connsiteX5" fmla="*/ 295814 w 295814"/>
                    <a:gd name="connsiteY5" fmla="*/ 73034 h 221737"/>
                    <a:gd name="connsiteX6" fmla="*/ 209422 w 295814"/>
                    <a:gd name="connsiteY6" fmla="*/ 11026 h 2217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95814" h="221737">
                      <a:moveTo>
                        <a:pt x="209422" y="11026"/>
                      </a:moveTo>
                      <a:cubicBezTo>
                        <a:pt x="153224" y="-16216"/>
                        <a:pt x="68357" y="15598"/>
                        <a:pt x="68357" y="15598"/>
                      </a:cubicBezTo>
                      <a:lnTo>
                        <a:pt x="6158" y="29790"/>
                      </a:lnTo>
                      <a:cubicBezTo>
                        <a:pt x="-10986" y="83416"/>
                        <a:pt x="7492" y="164188"/>
                        <a:pt x="63785" y="220290"/>
                      </a:cubicBezTo>
                      <a:cubicBezTo>
                        <a:pt x="156559" y="228577"/>
                        <a:pt x="268382" y="198573"/>
                        <a:pt x="268382" y="198573"/>
                      </a:cubicBezTo>
                      <a:lnTo>
                        <a:pt x="295814" y="73034"/>
                      </a:lnTo>
                      <a:cubicBezTo>
                        <a:pt x="295814" y="73034"/>
                        <a:pt x="265620" y="38172"/>
                        <a:pt x="209422" y="1102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2" name="Freihandform: Form 171">
                  <a:extLst>
                    <a:ext uri="{FF2B5EF4-FFF2-40B4-BE49-F238E27FC236}">
                      <a16:creationId xmlns:a16="http://schemas.microsoft.com/office/drawing/2014/main" id="{6DED3D6A-92C1-77E7-FFB1-F1A5144D74CF}"/>
                    </a:ext>
                  </a:extLst>
                </p:cNvPr>
                <p:cNvSpPr/>
                <p:nvPr/>
              </p:nvSpPr>
              <p:spPr>
                <a:xfrm>
                  <a:off x="9533603" y="9032430"/>
                  <a:ext cx="239553" cy="198405"/>
                </a:xfrm>
                <a:custGeom>
                  <a:avLst/>
                  <a:gdLst>
                    <a:gd name="connsiteX0" fmla="*/ 0 w 239553"/>
                    <a:gd name="connsiteY0" fmla="*/ 133826 h 198405"/>
                    <a:gd name="connsiteX1" fmla="*/ 20478 w 239553"/>
                    <a:gd name="connsiteY1" fmla="*/ 0 h 198405"/>
                    <a:gd name="connsiteX2" fmla="*/ 239553 w 239553"/>
                    <a:gd name="connsiteY2" fmla="*/ 49721 h 198405"/>
                    <a:gd name="connsiteX3" fmla="*/ 200406 w 239553"/>
                    <a:gd name="connsiteY3" fmla="*/ 198406 h 198405"/>
                    <a:gd name="connsiteX4" fmla="*/ 0 w 239553"/>
                    <a:gd name="connsiteY4" fmla="*/ 133826 h 198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9553" h="198405">
                      <a:moveTo>
                        <a:pt x="0" y="133826"/>
                      </a:moveTo>
                      <a:lnTo>
                        <a:pt x="20478" y="0"/>
                      </a:lnTo>
                      <a:lnTo>
                        <a:pt x="239553" y="49721"/>
                      </a:lnTo>
                      <a:lnTo>
                        <a:pt x="200406" y="198406"/>
                      </a:lnTo>
                      <a:lnTo>
                        <a:pt x="0" y="133826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3" name="Freihandform: Form 172">
                  <a:extLst>
                    <a:ext uri="{FF2B5EF4-FFF2-40B4-BE49-F238E27FC236}">
                      <a16:creationId xmlns:a16="http://schemas.microsoft.com/office/drawing/2014/main" id="{A8B23441-EC8B-C244-F244-F1E9075E26B1}"/>
                    </a:ext>
                  </a:extLst>
                </p:cNvPr>
                <p:cNvSpPr/>
                <p:nvPr/>
              </p:nvSpPr>
              <p:spPr>
                <a:xfrm>
                  <a:off x="9549034" y="9025226"/>
                  <a:ext cx="631316" cy="372202"/>
                </a:xfrm>
                <a:custGeom>
                  <a:avLst/>
                  <a:gdLst>
                    <a:gd name="connsiteX0" fmla="*/ 0 w 631316"/>
                    <a:gd name="connsiteY0" fmla="*/ 261998 h 372202"/>
                    <a:gd name="connsiteX1" fmla="*/ 59912 w 631316"/>
                    <a:gd name="connsiteY1" fmla="*/ 5776 h 372202"/>
                    <a:gd name="connsiteX2" fmla="*/ 173831 w 631316"/>
                    <a:gd name="connsiteY2" fmla="*/ 1585 h 372202"/>
                    <a:gd name="connsiteX3" fmla="*/ 631317 w 631316"/>
                    <a:gd name="connsiteY3" fmla="*/ 68069 h 372202"/>
                    <a:gd name="connsiteX4" fmla="*/ 555403 w 631316"/>
                    <a:gd name="connsiteY4" fmla="*/ 372202 h 372202"/>
                    <a:gd name="connsiteX5" fmla="*/ 0 w 631316"/>
                    <a:gd name="connsiteY5" fmla="*/ 261998 h 372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31316" h="372202">
                      <a:moveTo>
                        <a:pt x="0" y="261998"/>
                      </a:moveTo>
                      <a:lnTo>
                        <a:pt x="59912" y="5776"/>
                      </a:lnTo>
                      <a:cubicBezTo>
                        <a:pt x="59912" y="5776"/>
                        <a:pt x="102203" y="-3654"/>
                        <a:pt x="173831" y="1585"/>
                      </a:cubicBezTo>
                      <a:cubicBezTo>
                        <a:pt x="414051" y="19015"/>
                        <a:pt x="495585" y="31588"/>
                        <a:pt x="631317" y="68069"/>
                      </a:cubicBezTo>
                      <a:lnTo>
                        <a:pt x="555403" y="372202"/>
                      </a:lnTo>
                      <a:cubicBezTo>
                        <a:pt x="227171" y="313719"/>
                        <a:pt x="191929" y="311623"/>
                        <a:pt x="0" y="26199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4" name="Freihandform: Form 173">
                  <a:extLst>
                    <a:ext uri="{FF2B5EF4-FFF2-40B4-BE49-F238E27FC236}">
                      <a16:creationId xmlns:a16="http://schemas.microsoft.com/office/drawing/2014/main" id="{0E2E43BA-5289-EF1E-083B-DE6063896678}"/>
                    </a:ext>
                  </a:extLst>
                </p:cNvPr>
                <p:cNvSpPr/>
                <p:nvPr/>
              </p:nvSpPr>
              <p:spPr>
                <a:xfrm>
                  <a:off x="9978992" y="9086913"/>
                  <a:ext cx="313753" cy="313753"/>
                </a:xfrm>
                <a:custGeom>
                  <a:avLst/>
                  <a:gdLst>
                    <a:gd name="connsiteX0" fmla="*/ 313754 w 313753"/>
                    <a:gd name="connsiteY0" fmla="*/ 156877 h 313753"/>
                    <a:gd name="connsiteX1" fmla="*/ 156877 w 313753"/>
                    <a:gd name="connsiteY1" fmla="*/ 313754 h 313753"/>
                    <a:gd name="connsiteX2" fmla="*/ 1 w 313753"/>
                    <a:gd name="connsiteY2" fmla="*/ 156877 h 313753"/>
                    <a:gd name="connsiteX3" fmla="*/ 156877 w 313753"/>
                    <a:gd name="connsiteY3" fmla="*/ 0 h 313753"/>
                    <a:gd name="connsiteX4" fmla="*/ 313754 w 313753"/>
                    <a:gd name="connsiteY4" fmla="*/ 156877 h 313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3753" h="313753">
                      <a:moveTo>
                        <a:pt x="313754" y="156877"/>
                      </a:moveTo>
                      <a:cubicBezTo>
                        <a:pt x="313754" y="243517"/>
                        <a:pt x="243518" y="313754"/>
                        <a:pt x="156877" y="313754"/>
                      </a:cubicBezTo>
                      <a:cubicBezTo>
                        <a:pt x="70237" y="313754"/>
                        <a:pt x="1" y="243517"/>
                        <a:pt x="1" y="156877"/>
                      </a:cubicBezTo>
                      <a:cubicBezTo>
                        <a:pt x="1" y="70236"/>
                        <a:pt x="70237" y="0"/>
                        <a:pt x="156877" y="0"/>
                      </a:cubicBezTo>
                      <a:cubicBezTo>
                        <a:pt x="243518" y="0"/>
                        <a:pt x="313754" y="70236"/>
                        <a:pt x="313754" y="15687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5" name="Freihandform: Form 174">
                  <a:extLst>
                    <a:ext uri="{FF2B5EF4-FFF2-40B4-BE49-F238E27FC236}">
                      <a16:creationId xmlns:a16="http://schemas.microsoft.com/office/drawing/2014/main" id="{10391BBF-40C9-C432-8C03-88B1CB11431E}"/>
                    </a:ext>
                  </a:extLst>
                </p:cNvPr>
                <p:cNvSpPr/>
                <p:nvPr/>
              </p:nvSpPr>
              <p:spPr>
                <a:xfrm>
                  <a:off x="9533603" y="9032430"/>
                  <a:ext cx="239553" cy="198405"/>
                </a:xfrm>
                <a:custGeom>
                  <a:avLst/>
                  <a:gdLst>
                    <a:gd name="connsiteX0" fmla="*/ 0 w 239553"/>
                    <a:gd name="connsiteY0" fmla="*/ 133826 h 198405"/>
                    <a:gd name="connsiteX1" fmla="*/ 20478 w 239553"/>
                    <a:gd name="connsiteY1" fmla="*/ 0 h 198405"/>
                    <a:gd name="connsiteX2" fmla="*/ 239553 w 239553"/>
                    <a:gd name="connsiteY2" fmla="*/ 49721 h 198405"/>
                    <a:gd name="connsiteX3" fmla="*/ 200406 w 239553"/>
                    <a:gd name="connsiteY3" fmla="*/ 198406 h 198405"/>
                    <a:gd name="connsiteX4" fmla="*/ 0 w 239553"/>
                    <a:gd name="connsiteY4" fmla="*/ 133826 h 198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9553" h="198405">
                      <a:moveTo>
                        <a:pt x="0" y="133826"/>
                      </a:moveTo>
                      <a:lnTo>
                        <a:pt x="20478" y="0"/>
                      </a:lnTo>
                      <a:lnTo>
                        <a:pt x="239553" y="49721"/>
                      </a:lnTo>
                      <a:lnTo>
                        <a:pt x="200406" y="198406"/>
                      </a:lnTo>
                      <a:lnTo>
                        <a:pt x="0" y="133826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6" name="Freihandform: Form 175">
                  <a:extLst>
                    <a:ext uri="{FF2B5EF4-FFF2-40B4-BE49-F238E27FC236}">
                      <a16:creationId xmlns:a16="http://schemas.microsoft.com/office/drawing/2014/main" id="{1F2D9368-7508-98D3-6A61-0BCE20E6C1E6}"/>
                    </a:ext>
                  </a:extLst>
                </p:cNvPr>
                <p:cNvSpPr/>
                <p:nvPr/>
              </p:nvSpPr>
              <p:spPr>
                <a:xfrm>
                  <a:off x="9549034" y="9025226"/>
                  <a:ext cx="631316" cy="372202"/>
                </a:xfrm>
                <a:custGeom>
                  <a:avLst/>
                  <a:gdLst>
                    <a:gd name="connsiteX0" fmla="*/ 0 w 631316"/>
                    <a:gd name="connsiteY0" fmla="*/ 261998 h 372202"/>
                    <a:gd name="connsiteX1" fmla="*/ 59912 w 631316"/>
                    <a:gd name="connsiteY1" fmla="*/ 5776 h 372202"/>
                    <a:gd name="connsiteX2" fmla="*/ 173831 w 631316"/>
                    <a:gd name="connsiteY2" fmla="*/ 1585 h 372202"/>
                    <a:gd name="connsiteX3" fmla="*/ 631317 w 631316"/>
                    <a:gd name="connsiteY3" fmla="*/ 68069 h 372202"/>
                    <a:gd name="connsiteX4" fmla="*/ 555403 w 631316"/>
                    <a:gd name="connsiteY4" fmla="*/ 372202 h 372202"/>
                    <a:gd name="connsiteX5" fmla="*/ 0 w 631316"/>
                    <a:gd name="connsiteY5" fmla="*/ 261998 h 372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31316" h="372202">
                      <a:moveTo>
                        <a:pt x="0" y="261998"/>
                      </a:moveTo>
                      <a:lnTo>
                        <a:pt x="59912" y="5776"/>
                      </a:lnTo>
                      <a:cubicBezTo>
                        <a:pt x="59912" y="5776"/>
                        <a:pt x="102203" y="-3654"/>
                        <a:pt x="173831" y="1585"/>
                      </a:cubicBezTo>
                      <a:cubicBezTo>
                        <a:pt x="414051" y="19015"/>
                        <a:pt x="495585" y="31588"/>
                        <a:pt x="631317" y="68069"/>
                      </a:cubicBezTo>
                      <a:lnTo>
                        <a:pt x="555403" y="372202"/>
                      </a:lnTo>
                      <a:cubicBezTo>
                        <a:pt x="227171" y="313719"/>
                        <a:pt x="191929" y="311623"/>
                        <a:pt x="0" y="26199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7" name="Freihandform: Form 176">
                  <a:extLst>
                    <a:ext uri="{FF2B5EF4-FFF2-40B4-BE49-F238E27FC236}">
                      <a16:creationId xmlns:a16="http://schemas.microsoft.com/office/drawing/2014/main" id="{8B73AB5C-DF66-3E55-A2CE-9C6C01490669}"/>
                    </a:ext>
                  </a:extLst>
                </p:cNvPr>
                <p:cNvSpPr/>
                <p:nvPr/>
              </p:nvSpPr>
              <p:spPr>
                <a:xfrm>
                  <a:off x="9978992" y="9086913"/>
                  <a:ext cx="313753" cy="313753"/>
                </a:xfrm>
                <a:custGeom>
                  <a:avLst/>
                  <a:gdLst>
                    <a:gd name="connsiteX0" fmla="*/ 313754 w 313753"/>
                    <a:gd name="connsiteY0" fmla="*/ 156877 h 313753"/>
                    <a:gd name="connsiteX1" fmla="*/ 156877 w 313753"/>
                    <a:gd name="connsiteY1" fmla="*/ 313754 h 313753"/>
                    <a:gd name="connsiteX2" fmla="*/ 1 w 313753"/>
                    <a:gd name="connsiteY2" fmla="*/ 156877 h 313753"/>
                    <a:gd name="connsiteX3" fmla="*/ 156877 w 313753"/>
                    <a:gd name="connsiteY3" fmla="*/ 0 h 313753"/>
                    <a:gd name="connsiteX4" fmla="*/ 313754 w 313753"/>
                    <a:gd name="connsiteY4" fmla="*/ 156877 h 313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3753" h="313753">
                      <a:moveTo>
                        <a:pt x="313754" y="156877"/>
                      </a:moveTo>
                      <a:cubicBezTo>
                        <a:pt x="313754" y="243517"/>
                        <a:pt x="243518" y="313754"/>
                        <a:pt x="156877" y="313754"/>
                      </a:cubicBezTo>
                      <a:cubicBezTo>
                        <a:pt x="70237" y="313754"/>
                        <a:pt x="1" y="243517"/>
                        <a:pt x="1" y="156877"/>
                      </a:cubicBezTo>
                      <a:cubicBezTo>
                        <a:pt x="1" y="70236"/>
                        <a:pt x="70237" y="0"/>
                        <a:pt x="156877" y="0"/>
                      </a:cubicBezTo>
                      <a:cubicBezTo>
                        <a:pt x="243518" y="0"/>
                        <a:pt x="313754" y="70236"/>
                        <a:pt x="313754" y="15687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78" name="Grafik 23">
                <a:extLst>
                  <a:ext uri="{FF2B5EF4-FFF2-40B4-BE49-F238E27FC236}">
                    <a16:creationId xmlns:a16="http://schemas.microsoft.com/office/drawing/2014/main" id="{27BF7DDB-6FC1-6901-7629-C1105CC8EB35}"/>
                  </a:ext>
                </a:extLst>
              </p:cNvPr>
              <p:cNvGrpSpPr/>
              <p:nvPr/>
            </p:nvGrpSpPr>
            <p:grpSpPr>
              <a:xfrm>
                <a:off x="9633988" y="1862812"/>
                <a:ext cx="257205" cy="824026"/>
                <a:chOff x="5217159" y="666564"/>
                <a:chExt cx="1715547" cy="5496224"/>
              </a:xfrm>
            </p:grpSpPr>
            <p:grpSp>
              <p:nvGrpSpPr>
                <p:cNvPr id="179" name="Grafik 23">
                  <a:extLst>
                    <a:ext uri="{FF2B5EF4-FFF2-40B4-BE49-F238E27FC236}">
                      <a16:creationId xmlns:a16="http://schemas.microsoft.com/office/drawing/2014/main" id="{728D4977-71F5-DBF6-11FE-06241AE61071}"/>
                    </a:ext>
                  </a:extLst>
                </p:cNvPr>
                <p:cNvGrpSpPr/>
                <p:nvPr/>
              </p:nvGrpSpPr>
              <p:grpSpPr>
                <a:xfrm>
                  <a:off x="5934296" y="1562671"/>
                  <a:ext cx="563308" cy="1157858"/>
                  <a:chOff x="5934296" y="1562671"/>
                  <a:chExt cx="563308" cy="1157858"/>
                </a:xfrm>
                <a:solidFill>
                  <a:srgbClr val="E6E6E6"/>
                </a:solidFill>
              </p:grpSpPr>
              <p:sp>
                <p:nvSpPr>
                  <p:cNvPr id="180" name="Freihandform: Form 179">
                    <a:extLst>
                      <a:ext uri="{FF2B5EF4-FFF2-40B4-BE49-F238E27FC236}">
                        <a16:creationId xmlns:a16="http://schemas.microsoft.com/office/drawing/2014/main" id="{BAD27138-BDD1-EEEE-E087-40217B9E3ACD}"/>
                      </a:ext>
                    </a:extLst>
                  </p:cNvPr>
                  <p:cNvSpPr/>
                  <p:nvPr/>
                </p:nvSpPr>
                <p:spPr>
                  <a:xfrm>
                    <a:off x="6100984" y="1562671"/>
                    <a:ext cx="396620" cy="396620"/>
                  </a:xfrm>
                  <a:custGeom>
                    <a:avLst/>
                    <a:gdLst>
                      <a:gd name="connsiteX0" fmla="*/ 396621 w 396620"/>
                      <a:gd name="connsiteY0" fmla="*/ 198310 h 396620"/>
                      <a:gd name="connsiteX1" fmla="*/ 198310 w 396620"/>
                      <a:gd name="connsiteY1" fmla="*/ 396621 h 396620"/>
                      <a:gd name="connsiteX2" fmla="*/ 0 w 396620"/>
                      <a:gd name="connsiteY2" fmla="*/ 198310 h 396620"/>
                      <a:gd name="connsiteX3" fmla="*/ 198310 w 396620"/>
                      <a:gd name="connsiteY3" fmla="*/ 0 h 396620"/>
                      <a:gd name="connsiteX4" fmla="*/ 396621 w 396620"/>
                      <a:gd name="connsiteY4" fmla="*/ 198310 h 396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6620" h="396620">
                        <a:moveTo>
                          <a:pt x="396621" y="198310"/>
                        </a:moveTo>
                        <a:cubicBezTo>
                          <a:pt x="396621" y="307834"/>
                          <a:pt x="307834" y="396621"/>
                          <a:pt x="198310" y="396621"/>
                        </a:cubicBezTo>
                        <a:cubicBezTo>
                          <a:pt x="88786" y="396621"/>
                          <a:pt x="0" y="307834"/>
                          <a:pt x="0" y="198310"/>
                        </a:cubicBezTo>
                        <a:cubicBezTo>
                          <a:pt x="0" y="88787"/>
                          <a:pt x="88786" y="0"/>
                          <a:pt x="198310" y="0"/>
                        </a:cubicBezTo>
                        <a:cubicBezTo>
                          <a:pt x="307834" y="0"/>
                          <a:pt x="396621" y="88787"/>
                          <a:pt x="396621" y="198310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1" name="Freihandform: Form 180">
                    <a:extLst>
                      <a:ext uri="{FF2B5EF4-FFF2-40B4-BE49-F238E27FC236}">
                        <a16:creationId xmlns:a16="http://schemas.microsoft.com/office/drawing/2014/main" id="{B341C712-A5FC-A016-DB6E-84BB657DD566}"/>
                      </a:ext>
                    </a:extLst>
                  </p:cNvPr>
                  <p:cNvSpPr/>
                  <p:nvPr/>
                </p:nvSpPr>
                <p:spPr>
                  <a:xfrm>
                    <a:off x="5934296" y="1725453"/>
                    <a:ext cx="558736" cy="995076"/>
                  </a:xfrm>
                  <a:custGeom>
                    <a:avLst/>
                    <a:gdLst>
                      <a:gd name="connsiteX0" fmla="*/ 339566 w 558736"/>
                      <a:gd name="connsiteY0" fmla="*/ 995077 h 995076"/>
                      <a:gd name="connsiteX1" fmla="*/ 0 w 558736"/>
                      <a:gd name="connsiteY1" fmla="*/ 930211 h 995076"/>
                      <a:gd name="connsiteX2" fmla="*/ 110204 w 558736"/>
                      <a:gd name="connsiteY2" fmla="*/ 327184 h 995076"/>
                      <a:gd name="connsiteX3" fmla="*/ 169926 w 558736"/>
                      <a:gd name="connsiteY3" fmla="*/ 0 h 995076"/>
                      <a:gd name="connsiteX4" fmla="*/ 558737 w 558736"/>
                      <a:gd name="connsiteY4" fmla="*/ 78010 h 995076"/>
                      <a:gd name="connsiteX5" fmla="*/ 478441 w 558736"/>
                      <a:gd name="connsiteY5" fmla="*/ 413194 h 995076"/>
                      <a:gd name="connsiteX6" fmla="*/ 339566 w 558736"/>
                      <a:gd name="connsiteY6" fmla="*/ 995077 h 9950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58736" h="995076">
                        <a:moveTo>
                          <a:pt x="339566" y="995077"/>
                        </a:moveTo>
                        <a:lnTo>
                          <a:pt x="0" y="930211"/>
                        </a:lnTo>
                        <a:lnTo>
                          <a:pt x="110204" y="327184"/>
                        </a:lnTo>
                        <a:lnTo>
                          <a:pt x="169926" y="0"/>
                        </a:lnTo>
                        <a:lnTo>
                          <a:pt x="558737" y="78010"/>
                        </a:lnTo>
                        <a:lnTo>
                          <a:pt x="478441" y="413194"/>
                        </a:lnTo>
                        <a:lnTo>
                          <a:pt x="339566" y="995077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82" name="Grafik 23">
                  <a:extLst>
                    <a:ext uri="{FF2B5EF4-FFF2-40B4-BE49-F238E27FC236}">
                      <a16:creationId xmlns:a16="http://schemas.microsoft.com/office/drawing/2014/main" id="{25E1B8E9-1EA3-88DB-94E1-5B2EB83A4877}"/>
                    </a:ext>
                  </a:extLst>
                </p:cNvPr>
                <p:cNvGrpSpPr/>
                <p:nvPr/>
              </p:nvGrpSpPr>
              <p:grpSpPr>
                <a:xfrm>
                  <a:off x="5435186" y="2434208"/>
                  <a:ext cx="841914" cy="425196"/>
                  <a:chOff x="5435186" y="2434208"/>
                  <a:chExt cx="841914" cy="425196"/>
                </a:xfrm>
                <a:solidFill>
                  <a:srgbClr val="E6E6E6"/>
                </a:solidFill>
              </p:grpSpPr>
              <p:sp>
                <p:nvSpPr>
                  <p:cNvPr id="183" name="Freihandform: Form 182">
                    <a:extLst>
                      <a:ext uri="{FF2B5EF4-FFF2-40B4-BE49-F238E27FC236}">
                        <a16:creationId xmlns:a16="http://schemas.microsoft.com/office/drawing/2014/main" id="{602B54DD-E88F-83A4-4438-F48DC09A16E2}"/>
                      </a:ext>
                    </a:extLst>
                  </p:cNvPr>
                  <p:cNvSpPr/>
                  <p:nvPr/>
                </p:nvSpPr>
                <p:spPr>
                  <a:xfrm>
                    <a:off x="5435186" y="2434208"/>
                    <a:ext cx="703611" cy="423481"/>
                  </a:xfrm>
                  <a:custGeom>
                    <a:avLst/>
                    <a:gdLst>
                      <a:gd name="connsiteX0" fmla="*/ 0 w 703611"/>
                      <a:gd name="connsiteY0" fmla="*/ 329946 h 423481"/>
                      <a:gd name="connsiteX1" fmla="*/ 52483 w 703611"/>
                      <a:gd name="connsiteY1" fmla="*/ 0 h 423481"/>
                      <a:gd name="connsiteX2" fmla="*/ 703612 w 703611"/>
                      <a:gd name="connsiteY2" fmla="*/ 83058 h 423481"/>
                      <a:gd name="connsiteX3" fmla="*/ 644462 w 703611"/>
                      <a:gd name="connsiteY3" fmla="*/ 423482 h 423481"/>
                      <a:gd name="connsiteX4" fmla="*/ 0 w 703611"/>
                      <a:gd name="connsiteY4" fmla="*/ 329946 h 4234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03611" h="423481">
                        <a:moveTo>
                          <a:pt x="0" y="329946"/>
                        </a:moveTo>
                        <a:lnTo>
                          <a:pt x="52483" y="0"/>
                        </a:lnTo>
                        <a:lnTo>
                          <a:pt x="703612" y="83058"/>
                        </a:lnTo>
                        <a:lnTo>
                          <a:pt x="644462" y="423482"/>
                        </a:lnTo>
                        <a:lnTo>
                          <a:pt x="0" y="329946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4" name="Freihandform: Form 183">
                    <a:extLst>
                      <a:ext uri="{FF2B5EF4-FFF2-40B4-BE49-F238E27FC236}">
                        <a16:creationId xmlns:a16="http://schemas.microsoft.com/office/drawing/2014/main" id="{BCAF9815-9411-6FCE-64F3-F4A707C6798E}"/>
                      </a:ext>
                    </a:extLst>
                  </p:cNvPr>
                  <p:cNvSpPr/>
                  <p:nvPr/>
                </p:nvSpPr>
                <p:spPr>
                  <a:xfrm>
                    <a:off x="5931534" y="2513838"/>
                    <a:ext cx="345566" cy="345566"/>
                  </a:xfrm>
                  <a:custGeom>
                    <a:avLst/>
                    <a:gdLst>
                      <a:gd name="connsiteX0" fmla="*/ 345567 w 345566"/>
                      <a:gd name="connsiteY0" fmla="*/ 172783 h 345566"/>
                      <a:gd name="connsiteX1" fmla="*/ 172783 w 345566"/>
                      <a:gd name="connsiteY1" fmla="*/ 345567 h 345566"/>
                      <a:gd name="connsiteX2" fmla="*/ 0 w 345566"/>
                      <a:gd name="connsiteY2" fmla="*/ 172783 h 345566"/>
                      <a:gd name="connsiteX3" fmla="*/ 172783 w 345566"/>
                      <a:gd name="connsiteY3" fmla="*/ 0 h 345566"/>
                      <a:gd name="connsiteX4" fmla="*/ 345567 w 345566"/>
                      <a:gd name="connsiteY4" fmla="*/ 172783 h 3455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45566" h="345566">
                        <a:moveTo>
                          <a:pt x="345567" y="172783"/>
                        </a:moveTo>
                        <a:cubicBezTo>
                          <a:pt x="345567" y="268209"/>
                          <a:pt x="268209" y="345567"/>
                          <a:pt x="172783" y="345567"/>
                        </a:cubicBezTo>
                        <a:cubicBezTo>
                          <a:pt x="77358" y="345567"/>
                          <a:pt x="0" y="268209"/>
                          <a:pt x="0" y="172783"/>
                        </a:cubicBezTo>
                        <a:cubicBezTo>
                          <a:pt x="0" y="77358"/>
                          <a:pt x="77357" y="0"/>
                          <a:pt x="172783" y="0"/>
                        </a:cubicBezTo>
                        <a:cubicBezTo>
                          <a:pt x="268209" y="0"/>
                          <a:pt x="345567" y="77358"/>
                          <a:pt x="345567" y="172783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85" name="Grafik 23">
                  <a:extLst>
                    <a:ext uri="{FF2B5EF4-FFF2-40B4-BE49-F238E27FC236}">
                      <a16:creationId xmlns:a16="http://schemas.microsoft.com/office/drawing/2014/main" id="{8F7FE62C-0461-5499-BF9F-21E0940619CC}"/>
                    </a:ext>
                  </a:extLst>
                </p:cNvPr>
                <p:cNvGrpSpPr/>
                <p:nvPr/>
              </p:nvGrpSpPr>
              <p:grpSpPr>
                <a:xfrm>
                  <a:off x="5217159" y="2156745"/>
                  <a:ext cx="790670" cy="894492"/>
                  <a:chOff x="5217159" y="2156745"/>
                  <a:chExt cx="790670" cy="894492"/>
                </a:xfrm>
              </p:grpSpPr>
              <p:grpSp>
                <p:nvGrpSpPr>
                  <p:cNvPr id="186" name="Grafik 23">
                    <a:extLst>
                      <a:ext uri="{FF2B5EF4-FFF2-40B4-BE49-F238E27FC236}">
                        <a16:creationId xmlns:a16="http://schemas.microsoft.com/office/drawing/2014/main" id="{5625795B-5773-71E4-AE07-BF8529E4CE3E}"/>
                      </a:ext>
                    </a:extLst>
                  </p:cNvPr>
                  <p:cNvGrpSpPr/>
                  <p:nvPr/>
                </p:nvGrpSpPr>
                <p:grpSpPr>
                  <a:xfrm>
                    <a:off x="5247163" y="2156745"/>
                    <a:ext cx="760666" cy="894492"/>
                    <a:chOff x="5247163" y="2156745"/>
                    <a:chExt cx="760666" cy="894492"/>
                  </a:xfrm>
                </p:grpSpPr>
                <p:sp>
                  <p:nvSpPr>
                    <p:cNvPr id="187" name="Freihandform: Form 186">
                      <a:extLst>
                        <a:ext uri="{FF2B5EF4-FFF2-40B4-BE49-F238E27FC236}">
                          <a16:creationId xmlns:a16="http://schemas.microsoft.com/office/drawing/2014/main" id="{C1903A77-BDCC-58AF-AC6A-48B0EF716B42}"/>
                        </a:ext>
                      </a:extLst>
                    </p:cNvPr>
                    <p:cNvSpPr/>
                    <p:nvPr/>
                  </p:nvSpPr>
                  <p:spPr>
                    <a:xfrm rot="-864001">
                      <a:off x="5348448" y="2231745"/>
                      <a:ext cx="558069" cy="743997"/>
                    </a:xfrm>
                    <a:custGeom>
                      <a:avLst/>
                      <a:gdLst>
                        <a:gd name="connsiteX0" fmla="*/ 0 w 558069"/>
                        <a:gd name="connsiteY0" fmla="*/ 0 h 743997"/>
                        <a:gd name="connsiteX1" fmla="*/ 558070 w 558069"/>
                        <a:gd name="connsiteY1" fmla="*/ 0 h 743997"/>
                        <a:gd name="connsiteX2" fmla="*/ 558070 w 558069"/>
                        <a:gd name="connsiteY2" fmla="*/ 743998 h 743997"/>
                        <a:gd name="connsiteX3" fmla="*/ 0 w 558069"/>
                        <a:gd name="connsiteY3" fmla="*/ 743998 h 7439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558069" h="743997">
                          <a:moveTo>
                            <a:pt x="0" y="0"/>
                          </a:moveTo>
                          <a:lnTo>
                            <a:pt x="558070" y="0"/>
                          </a:lnTo>
                          <a:lnTo>
                            <a:pt x="558070" y="743998"/>
                          </a:lnTo>
                          <a:lnTo>
                            <a:pt x="0" y="743998"/>
                          </a:lnTo>
                          <a:close/>
                        </a:path>
                      </a:pathLst>
                    </a:custGeom>
                    <a:solidFill>
                      <a:srgbClr val="EC660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88" name="Freihandform: Form 187">
                      <a:extLst>
                        <a:ext uri="{FF2B5EF4-FFF2-40B4-BE49-F238E27FC236}">
                          <a16:creationId xmlns:a16="http://schemas.microsoft.com/office/drawing/2014/main" id="{6D6CF672-CBF5-E9A5-2A6A-520BF9F4C6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47163" y="2156745"/>
                      <a:ext cx="760666" cy="894492"/>
                    </a:xfrm>
                    <a:custGeom>
                      <a:avLst/>
                      <a:gdLst>
                        <a:gd name="connsiteX0" fmla="*/ 547688 w 760666"/>
                        <a:gd name="connsiteY0" fmla="*/ 35147 h 894492"/>
                        <a:gd name="connsiteX1" fmla="*/ 725519 w 760666"/>
                        <a:gd name="connsiteY1" fmla="*/ 727805 h 894492"/>
                        <a:gd name="connsiteX2" fmla="*/ 212979 w 760666"/>
                        <a:gd name="connsiteY2" fmla="*/ 859346 h 894492"/>
                        <a:gd name="connsiteX3" fmla="*/ 35147 w 760666"/>
                        <a:gd name="connsiteY3" fmla="*/ 166688 h 894492"/>
                        <a:gd name="connsiteX4" fmla="*/ 547688 w 760666"/>
                        <a:gd name="connsiteY4" fmla="*/ 35147 h 894492"/>
                        <a:gd name="connsiteX5" fmla="*/ 568452 w 760666"/>
                        <a:gd name="connsiteY5" fmla="*/ 0 h 894492"/>
                        <a:gd name="connsiteX6" fmla="*/ 0 w 760666"/>
                        <a:gd name="connsiteY6" fmla="*/ 145923 h 894492"/>
                        <a:gd name="connsiteX7" fmla="*/ 192119 w 760666"/>
                        <a:gd name="connsiteY7" fmla="*/ 894493 h 894492"/>
                        <a:gd name="connsiteX8" fmla="*/ 760667 w 760666"/>
                        <a:gd name="connsiteY8" fmla="*/ 748570 h 894492"/>
                        <a:gd name="connsiteX9" fmla="*/ 568547 w 760666"/>
                        <a:gd name="connsiteY9" fmla="*/ 0 h 894492"/>
                        <a:gd name="connsiteX10" fmla="*/ 568547 w 760666"/>
                        <a:gd name="connsiteY10" fmla="*/ 0 h 8944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760666" h="894492">
                          <a:moveTo>
                            <a:pt x="547688" y="35147"/>
                          </a:moveTo>
                          <a:lnTo>
                            <a:pt x="725519" y="727805"/>
                          </a:lnTo>
                          <a:lnTo>
                            <a:pt x="212979" y="859346"/>
                          </a:lnTo>
                          <a:lnTo>
                            <a:pt x="35147" y="166688"/>
                          </a:lnTo>
                          <a:lnTo>
                            <a:pt x="547688" y="35147"/>
                          </a:lnTo>
                          <a:moveTo>
                            <a:pt x="568452" y="0"/>
                          </a:moveTo>
                          <a:lnTo>
                            <a:pt x="0" y="145923"/>
                          </a:lnTo>
                          <a:lnTo>
                            <a:pt x="192119" y="894493"/>
                          </a:lnTo>
                          <a:lnTo>
                            <a:pt x="760667" y="748570"/>
                          </a:lnTo>
                          <a:lnTo>
                            <a:pt x="568547" y="0"/>
                          </a:lnTo>
                          <a:lnTo>
                            <a:pt x="568547" y="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189" name="Freihandform: Form 188">
                    <a:extLst>
                      <a:ext uri="{FF2B5EF4-FFF2-40B4-BE49-F238E27FC236}">
                        <a16:creationId xmlns:a16="http://schemas.microsoft.com/office/drawing/2014/main" id="{6A578915-4D13-B0CF-55EC-2455E3DCCA62}"/>
                      </a:ext>
                    </a:extLst>
                  </p:cNvPr>
                  <p:cNvSpPr/>
                  <p:nvPr/>
                </p:nvSpPr>
                <p:spPr>
                  <a:xfrm>
                    <a:off x="5217159" y="2487929"/>
                    <a:ext cx="280518" cy="319373"/>
                  </a:xfrm>
                  <a:custGeom>
                    <a:avLst/>
                    <a:gdLst>
                      <a:gd name="connsiteX0" fmla="*/ 197168 w 280518"/>
                      <a:gd name="connsiteY0" fmla="*/ 99632 h 319373"/>
                      <a:gd name="connsiteX1" fmla="*/ 103727 w 280518"/>
                      <a:gd name="connsiteY1" fmla="*/ 102108 h 319373"/>
                      <a:gd name="connsiteX2" fmla="*/ 77534 w 280518"/>
                      <a:gd name="connsiteY2" fmla="*/ 0 h 319373"/>
                      <a:gd name="connsiteX3" fmla="*/ 0 w 280518"/>
                      <a:gd name="connsiteY3" fmla="*/ 109728 h 319373"/>
                      <a:gd name="connsiteX4" fmla="*/ 71152 w 280518"/>
                      <a:gd name="connsiteY4" fmla="*/ 315278 h 319373"/>
                      <a:gd name="connsiteX5" fmla="*/ 186785 w 280518"/>
                      <a:gd name="connsiteY5" fmla="*/ 319373 h 319373"/>
                      <a:gd name="connsiteX6" fmla="*/ 280226 w 280518"/>
                      <a:gd name="connsiteY6" fmla="*/ 239649 h 319373"/>
                      <a:gd name="connsiteX7" fmla="*/ 280511 w 280518"/>
                      <a:gd name="connsiteY7" fmla="*/ 130778 h 319373"/>
                      <a:gd name="connsiteX8" fmla="*/ 197263 w 280518"/>
                      <a:gd name="connsiteY8" fmla="*/ 99727 h 319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0518" h="319373">
                        <a:moveTo>
                          <a:pt x="197168" y="99632"/>
                        </a:moveTo>
                        <a:cubicBezTo>
                          <a:pt x="183547" y="102013"/>
                          <a:pt x="103727" y="102108"/>
                          <a:pt x="103727" y="102108"/>
                        </a:cubicBezTo>
                        <a:lnTo>
                          <a:pt x="77534" y="0"/>
                        </a:lnTo>
                        <a:lnTo>
                          <a:pt x="0" y="109728"/>
                        </a:lnTo>
                        <a:lnTo>
                          <a:pt x="71152" y="315278"/>
                        </a:lnTo>
                        <a:lnTo>
                          <a:pt x="186785" y="319373"/>
                        </a:lnTo>
                        <a:lnTo>
                          <a:pt x="280226" y="239649"/>
                        </a:lnTo>
                        <a:lnTo>
                          <a:pt x="280511" y="130778"/>
                        </a:lnTo>
                        <a:cubicBezTo>
                          <a:pt x="280511" y="130778"/>
                          <a:pt x="282988" y="84773"/>
                          <a:pt x="197263" y="99727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0" name="Freihandform: Form 189">
                    <a:extLst>
                      <a:ext uri="{FF2B5EF4-FFF2-40B4-BE49-F238E27FC236}">
                        <a16:creationId xmlns:a16="http://schemas.microsoft.com/office/drawing/2014/main" id="{F368E50A-3348-10D6-C01F-DB7D8A3C9534}"/>
                      </a:ext>
                    </a:extLst>
                  </p:cNvPr>
                  <p:cNvSpPr/>
                  <p:nvPr/>
                </p:nvSpPr>
                <p:spPr>
                  <a:xfrm rot="-326400">
                    <a:off x="5311589" y="2643866"/>
                    <a:ext cx="186594" cy="19240"/>
                  </a:xfrm>
                  <a:custGeom>
                    <a:avLst/>
                    <a:gdLst>
                      <a:gd name="connsiteX0" fmla="*/ 0 w 186594"/>
                      <a:gd name="connsiteY0" fmla="*/ 0 h 19240"/>
                      <a:gd name="connsiteX1" fmla="*/ 186595 w 186594"/>
                      <a:gd name="connsiteY1" fmla="*/ 0 h 19240"/>
                      <a:gd name="connsiteX2" fmla="*/ 186595 w 186594"/>
                      <a:gd name="connsiteY2" fmla="*/ 19241 h 19240"/>
                      <a:gd name="connsiteX3" fmla="*/ 0 w 186594"/>
                      <a:gd name="connsiteY3" fmla="*/ 19241 h 192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86594" h="19240">
                        <a:moveTo>
                          <a:pt x="0" y="0"/>
                        </a:moveTo>
                        <a:lnTo>
                          <a:pt x="186595" y="0"/>
                        </a:lnTo>
                        <a:lnTo>
                          <a:pt x="186595" y="19241"/>
                        </a:lnTo>
                        <a:lnTo>
                          <a:pt x="0" y="19241"/>
                        </a:lnTo>
                        <a:close/>
                      </a:path>
                    </a:pathLst>
                  </a:custGeom>
                  <a:solidFill>
                    <a:srgbClr val="F2BBB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91" name="Grafik 23">
                  <a:extLst>
                    <a:ext uri="{FF2B5EF4-FFF2-40B4-BE49-F238E27FC236}">
                      <a16:creationId xmlns:a16="http://schemas.microsoft.com/office/drawing/2014/main" id="{B7EB8C2F-4C94-CC7C-D993-30BE5B2D3483}"/>
                    </a:ext>
                  </a:extLst>
                </p:cNvPr>
                <p:cNvGrpSpPr/>
                <p:nvPr/>
              </p:nvGrpSpPr>
              <p:grpSpPr>
                <a:xfrm>
                  <a:off x="6113093" y="1063436"/>
                  <a:ext cx="443757" cy="556066"/>
                  <a:chOff x="6113093" y="1063436"/>
                  <a:chExt cx="443757" cy="556066"/>
                </a:xfrm>
              </p:grpSpPr>
              <p:sp>
                <p:nvSpPr>
                  <p:cNvPr id="192" name="Freihandform: Form 191">
                    <a:extLst>
                      <a:ext uri="{FF2B5EF4-FFF2-40B4-BE49-F238E27FC236}">
                        <a16:creationId xmlns:a16="http://schemas.microsoft.com/office/drawing/2014/main" id="{C9E9E3B8-62E6-E6AD-9014-7151807708FE}"/>
                      </a:ext>
                    </a:extLst>
                  </p:cNvPr>
                  <p:cNvSpPr/>
                  <p:nvPr/>
                </p:nvSpPr>
                <p:spPr>
                  <a:xfrm>
                    <a:off x="6113093" y="1063436"/>
                    <a:ext cx="443757" cy="556055"/>
                  </a:xfrm>
                  <a:custGeom>
                    <a:avLst/>
                    <a:gdLst>
                      <a:gd name="connsiteX0" fmla="*/ 443757 w 443757"/>
                      <a:gd name="connsiteY0" fmla="*/ 405604 h 556055"/>
                      <a:gd name="connsiteX1" fmla="*/ 129813 w 443757"/>
                      <a:gd name="connsiteY1" fmla="*/ 526953 h 556055"/>
                      <a:gd name="connsiteX2" fmla="*/ 1321 w 443757"/>
                      <a:gd name="connsiteY2" fmla="*/ 166717 h 556055"/>
                      <a:gd name="connsiteX3" fmla="*/ 315170 w 443757"/>
                      <a:gd name="connsiteY3" fmla="*/ 45369 h 556055"/>
                      <a:gd name="connsiteX4" fmla="*/ 443662 w 443757"/>
                      <a:gd name="connsiteY4" fmla="*/ 405604 h 5560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43757" h="556055">
                        <a:moveTo>
                          <a:pt x="443757" y="405604"/>
                        </a:moveTo>
                        <a:cubicBezTo>
                          <a:pt x="419373" y="524095"/>
                          <a:pt x="234779" y="600962"/>
                          <a:pt x="129813" y="526953"/>
                        </a:cubicBezTo>
                        <a:lnTo>
                          <a:pt x="1321" y="166717"/>
                        </a:lnTo>
                        <a:cubicBezTo>
                          <a:pt x="-21825" y="60323"/>
                          <a:pt x="266211" y="-70741"/>
                          <a:pt x="315170" y="45369"/>
                        </a:cubicBezTo>
                        <a:lnTo>
                          <a:pt x="443662" y="405604"/>
                        </a:ln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3" name="Freihandform: Form 192">
                    <a:extLst>
                      <a:ext uri="{FF2B5EF4-FFF2-40B4-BE49-F238E27FC236}">
                        <a16:creationId xmlns:a16="http://schemas.microsoft.com/office/drawing/2014/main" id="{44C073EF-D704-EC18-F678-2E19402D958B}"/>
                      </a:ext>
                    </a:extLst>
                  </p:cNvPr>
                  <p:cNvSpPr/>
                  <p:nvPr/>
                </p:nvSpPr>
                <p:spPr>
                  <a:xfrm>
                    <a:off x="6228307" y="1200626"/>
                    <a:ext cx="328542" cy="418877"/>
                  </a:xfrm>
                  <a:custGeom>
                    <a:avLst/>
                    <a:gdLst>
                      <a:gd name="connsiteX0" fmla="*/ 232817 w 328542"/>
                      <a:gd name="connsiteY0" fmla="*/ 95 h 418877"/>
                      <a:gd name="connsiteX1" fmla="*/ 328543 w 328542"/>
                      <a:gd name="connsiteY1" fmla="*/ 268415 h 418877"/>
                      <a:gd name="connsiteX2" fmla="*/ 14599 w 328542"/>
                      <a:gd name="connsiteY2" fmla="*/ 389763 h 418877"/>
                      <a:gd name="connsiteX3" fmla="*/ 44222 w 328542"/>
                      <a:gd name="connsiteY3" fmla="*/ 223647 h 418877"/>
                      <a:gd name="connsiteX4" fmla="*/ 232817 w 328542"/>
                      <a:gd name="connsiteY4" fmla="*/ 0 h 4188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8542" h="418877">
                        <a:moveTo>
                          <a:pt x="232817" y="95"/>
                        </a:moveTo>
                        <a:lnTo>
                          <a:pt x="328543" y="268415"/>
                        </a:lnTo>
                        <a:cubicBezTo>
                          <a:pt x="304445" y="389001"/>
                          <a:pt x="117850" y="463010"/>
                          <a:pt x="14599" y="389763"/>
                        </a:cubicBezTo>
                        <a:cubicBezTo>
                          <a:pt x="14599" y="389763"/>
                          <a:pt x="-33216" y="270605"/>
                          <a:pt x="44222" y="223647"/>
                        </a:cubicBezTo>
                        <a:cubicBezTo>
                          <a:pt x="235579" y="107728"/>
                          <a:pt x="232817" y="0"/>
                          <a:pt x="232817" y="0"/>
                        </a:cubicBezTo>
                        <a:close/>
                      </a:path>
                    </a:pathLst>
                  </a:custGeom>
                  <a:solidFill>
                    <a:srgbClr val="F2BBB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94" name="Grafik 23">
                  <a:extLst>
                    <a:ext uri="{FF2B5EF4-FFF2-40B4-BE49-F238E27FC236}">
                      <a16:creationId xmlns:a16="http://schemas.microsoft.com/office/drawing/2014/main" id="{B31EC07A-1292-DC1C-DEEF-A7CD02A91B33}"/>
                    </a:ext>
                  </a:extLst>
                </p:cNvPr>
                <p:cNvGrpSpPr/>
                <p:nvPr/>
              </p:nvGrpSpPr>
              <p:grpSpPr>
                <a:xfrm>
                  <a:off x="5641758" y="1283398"/>
                  <a:ext cx="1290948" cy="4879390"/>
                  <a:chOff x="5641758" y="1283398"/>
                  <a:chExt cx="1290948" cy="4879390"/>
                </a:xfrm>
              </p:grpSpPr>
              <p:grpSp>
                <p:nvGrpSpPr>
                  <p:cNvPr id="195" name="Grafik 23">
                    <a:extLst>
                      <a:ext uri="{FF2B5EF4-FFF2-40B4-BE49-F238E27FC236}">
                        <a16:creationId xmlns:a16="http://schemas.microsoft.com/office/drawing/2014/main" id="{160D356B-FC3E-D4CD-5422-253A1CE03580}"/>
                      </a:ext>
                    </a:extLst>
                  </p:cNvPr>
                  <p:cNvGrpSpPr/>
                  <p:nvPr/>
                </p:nvGrpSpPr>
                <p:grpSpPr>
                  <a:xfrm>
                    <a:off x="5641758" y="5790657"/>
                    <a:ext cx="867562" cy="295550"/>
                    <a:chOff x="5641758" y="5790657"/>
                    <a:chExt cx="867562" cy="295550"/>
                  </a:xfrm>
                </p:grpSpPr>
                <p:sp>
                  <p:nvSpPr>
                    <p:cNvPr id="196" name="Freihandform: Form 195">
                      <a:extLst>
                        <a:ext uri="{FF2B5EF4-FFF2-40B4-BE49-F238E27FC236}">
                          <a16:creationId xmlns:a16="http://schemas.microsoft.com/office/drawing/2014/main" id="{46C23275-8C8F-85BB-7E1A-D5188577DB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643447" y="5790657"/>
                      <a:ext cx="865764" cy="289407"/>
                    </a:xfrm>
                    <a:custGeom>
                      <a:avLst/>
                      <a:gdLst>
                        <a:gd name="connsiteX0" fmla="*/ 804913 w 865764"/>
                        <a:gd name="connsiteY0" fmla="*/ 28546 h 289407"/>
                        <a:gd name="connsiteX1" fmla="*/ 865683 w 865764"/>
                        <a:gd name="connsiteY1" fmla="*/ 170088 h 289407"/>
                        <a:gd name="connsiteX2" fmla="*/ 860063 w 865764"/>
                        <a:gd name="connsiteY2" fmla="*/ 253907 h 289407"/>
                        <a:gd name="connsiteX3" fmla="*/ 835393 w 865764"/>
                        <a:gd name="connsiteY3" fmla="*/ 276863 h 289407"/>
                        <a:gd name="connsiteX4" fmla="*/ 54629 w 865764"/>
                        <a:gd name="connsiteY4" fmla="*/ 249716 h 289407"/>
                        <a:gd name="connsiteX5" fmla="*/ 41865 w 865764"/>
                        <a:gd name="connsiteY5" fmla="*/ 132750 h 289407"/>
                        <a:gd name="connsiteX6" fmla="*/ 331140 w 865764"/>
                        <a:gd name="connsiteY6" fmla="*/ 83696 h 289407"/>
                        <a:gd name="connsiteX7" fmla="*/ 535927 w 865764"/>
                        <a:gd name="connsiteY7" fmla="*/ 829 h 289407"/>
                        <a:gd name="connsiteX8" fmla="*/ 592696 w 865764"/>
                        <a:gd name="connsiteY8" fmla="*/ 56931 h 289407"/>
                        <a:gd name="connsiteX9" fmla="*/ 725570 w 865764"/>
                        <a:gd name="connsiteY9" fmla="*/ 56931 h 289407"/>
                        <a:gd name="connsiteX10" fmla="*/ 805009 w 865764"/>
                        <a:gd name="connsiteY10" fmla="*/ 28546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804913" y="28546"/>
                          </a:moveTo>
                          <a:cubicBezTo>
                            <a:pt x="804913" y="28546"/>
                            <a:pt x="868350" y="92078"/>
                            <a:pt x="865683" y="170088"/>
                          </a:cubicBezTo>
                          <a:cubicBezTo>
                            <a:pt x="864254" y="210474"/>
                            <a:pt x="861968" y="237334"/>
                            <a:pt x="860063" y="253907"/>
                          </a:cubicBezTo>
                          <a:cubicBezTo>
                            <a:pt x="858634" y="266576"/>
                            <a:pt x="848157" y="276292"/>
                            <a:pt x="835393" y="276863"/>
                          </a:cubicBezTo>
                          <a:cubicBezTo>
                            <a:pt x="726808" y="281626"/>
                            <a:pt x="175025" y="314487"/>
                            <a:pt x="54629" y="249716"/>
                          </a:cubicBezTo>
                          <a:cubicBezTo>
                            <a:pt x="-60338" y="187899"/>
                            <a:pt x="41865" y="132750"/>
                            <a:pt x="41865" y="132750"/>
                          </a:cubicBezTo>
                          <a:cubicBezTo>
                            <a:pt x="41865" y="132750"/>
                            <a:pt x="216840" y="152752"/>
                            <a:pt x="331140" y="83696"/>
                          </a:cubicBezTo>
                          <a:cubicBezTo>
                            <a:pt x="432867" y="22260"/>
                            <a:pt x="517735" y="-5267"/>
                            <a:pt x="535927" y="829"/>
                          </a:cubicBezTo>
                          <a:cubicBezTo>
                            <a:pt x="554120" y="6924"/>
                            <a:pt x="560502" y="35499"/>
                            <a:pt x="592696" y="56931"/>
                          </a:cubicBezTo>
                          <a:cubicBezTo>
                            <a:pt x="624986" y="78457"/>
                            <a:pt x="663753" y="78457"/>
                            <a:pt x="725570" y="56931"/>
                          </a:cubicBezTo>
                          <a:cubicBezTo>
                            <a:pt x="787387" y="35404"/>
                            <a:pt x="786149" y="20450"/>
                            <a:pt x="805009" y="28546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97" name="Freihandform: Form 196">
                      <a:extLst>
                        <a:ext uri="{FF2B5EF4-FFF2-40B4-BE49-F238E27FC236}">
                          <a16:creationId xmlns:a16="http://schemas.microsoft.com/office/drawing/2014/main" id="{9608C06F-C79C-E690-F2FE-2CCDFAA32D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641758" y="5933027"/>
                      <a:ext cx="867562" cy="153180"/>
                    </a:xfrm>
                    <a:custGeom>
                      <a:avLst/>
                      <a:gdLst>
                        <a:gd name="connsiteX0" fmla="*/ 837463 w 867562"/>
                        <a:gd name="connsiteY0" fmla="*/ 153162 h 153180"/>
                        <a:gd name="connsiteX1" fmla="*/ 174904 w 867562"/>
                        <a:gd name="connsiteY1" fmla="*/ 152781 h 153180"/>
                        <a:gd name="connsiteX2" fmla="*/ 55746 w 867562"/>
                        <a:gd name="connsiteY2" fmla="*/ 116395 h 153180"/>
                        <a:gd name="connsiteX3" fmla="*/ 28600 w 867562"/>
                        <a:gd name="connsiteY3" fmla="*/ 0 h 153180"/>
                        <a:gd name="connsiteX4" fmla="*/ 68700 w 867562"/>
                        <a:gd name="connsiteY4" fmla="*/ 42291 h 153180"/>
                        <a:gd name="connsiteX5" fmla="*/ 867562 w 867562"/>
                        <a:gd name="connsiteY5" fmla="*/ 51245 h 153180"/>
                        <a:gd name="connsiteX6" fmla="*/ 862324 w 867562"/>
                        <a:gd name="connsiteY6" fmla="*/ 130016 h 153180"/>
                        <a:gd name="connsiteX7" fmla="*/ 837559 w 867562"/>
                        <a:gd name="connsiteY7" fmla="*/ 153162 h 15318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0">
                          <a:moveTo>
                            <a:pt x="837463" y="153162"/>
                          </a:moveTo>
                          <a:cubicBezTo>
                            <a:pt x="834987" y="153257"/>
                            <a:pt x="177000" y="152971"/>
                            <a:pt x="174904" y="152781"/>
                          </a:cubicBezTo>
                          <a:cubicBezTo>
                            <a:pt x="116325" y="147066"/>
                            <a:pt x="79750" y="129349"/>
                            <a:pt x="55746" y="116395"/>
                          </a:cubicBezTo>
                          <a:cubicBezTo>
                            <a:pt x="-30359" y="70104"/>
                            <a:pt x="2311" y="15907"/>
                            <a:pt x="28600" y="0"/>
                          </a:cubicBezTo>
                          <a:cubicBezTo>
                            <a:pt x="37173" y="9430"/>
                            <a:pt x="50032" y="32290"/>
                            <a:pt x="68700" y="42291"/>
                          </a:cubicBezTo>
                          <a:cubicBezTo>
                            <a:pt x="195859" y="110680"/>
                            <a:pt x="799173" y="56483"/>
                            <a:pt x="867562" y="51245"/>
                          </a:cubicBezTo>
                          <a:cubicBezTo>
                            <a:pt x="866134" y="85630"/>
                            <a:pt x="864133" y="114871"/>
                            <a:pt x="862324" y="130016"/>
                          </a:cubicBezTo>
                          <a:cubicBezTo>
                            <a:pt x="860895" y="142780"/>
                            <a:pt x="850417" y="152590"/>
                            <a:pt x="837559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198" name="Freihandform: Form 197">
                    <a:extLst>
                      <a:ext uri="{FF2B5EF4-FFF2-40B4-BE49-F238E27FC236}">
                        <a16:creationId xmlns:a16="http://schemas.microsoft.com/office/drawing/2014/main" id="{6C622877-0F49-7130-8374-D30C45826E32}"/>
                      </a:ext>
                    </a:extLst>
                  </p:cNvPr>
                  <p:cNvSpPr/>
                  <p:nvPr/>
                </p:nvSpPr>
                <p:spPr>
                  <a:xfrm>
                    <a:off x="5928417" y="2855975"/>
                    <a:ext cx="818567" cy="1866913"/>
                  </a:xfrm>
                  <a:custGeom>
                    <a:avLst/>
                    <a:gdLst>
                      <a:gd name="connsiteX0" fmla="*/ 781595 w 818567"/>
                      <a:gd name="connsiteY0" fmla="*/ 78581 h 1866913"/>
                      <a:gd name="connsiteX1" fmla="*/ 114750 w 818567"/>
                      <a:gd name="connsiteY1" fmla="*/ 0 h 1866913"/>
                      <a:gd name="connsiteX2" fmla="*/ 16166 w 818567"/>
                      <a:gd name="connsiteY2" fmla="*/ 936117 h 1866913"/>
                      <a:gd name="connsiteX3" fmla="*/ 9308 w 818567"/>
                      <a:gd name="connsiteY3" fmla="*/ 1796606 h 1866913"/>
                      <a:gd name="connsiteX4" fmla="*/ 521182 w 818567"/>
                      <a:gd name="connsiteY4" fmla="*/ 1815084 h 1866913"/>
                      <a:gd name="connsiteX5" fmla="*/ 781595 w 818567"/>
                      <a:gd name="connsiteY5" fmla="*/ 78486 h 18669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8567" h="1866913">
                        <a:moveTo>
                          <a:pt x="781595" y="78581"/>
                        </a:moveTo>
                        <a:cubicBezTo>
                          <a:pt x="772165" y="79820"/>
                          <a:pt x="114750" y="0"/>
                          <a:pt x="114750" y="0"/>
                        </a:cubicBezTo>
                        <a:cubicBezTo>
                          <a:pt x="114750" y="0"/>
                          <a:pt x="24453" y="770858"/>
                          <a:pt x="16166" y="936117"/>
                        </a:cubicBezTo>
                        <a:cubicBezTo>
                          <a:pt x="-15648" y="1569434"/>
                          <a:pt x="9308" y="1796606"/>
                          <a:pt x="9308" y="1796606"/>
                        </a:cubicBezTo>
                        <a:cubicBezTo>
                          <a:pt x="156184" y="1903952"/>
                          <a:pt x="356018" y="1870234"/>
                          <a:pt x="521182" y="1815084"/>
                        </a:cubicBezTo>
                        <a:cubicBezTo>
                          <a:pt x="633767" y="1093470"/>
                          <a:pt x="919898" y="808196"/>
                          <a:pt x="781595" y="78486"/>
                        </a:cubicBezTo>
                        <a:close/>
                      </a:path>
                    </a:pathLst>
                  </a:custGeom>
                  <a:solidFill>
                    <a:srgbClr val="004F4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9" name="Freihandform: Form 198">
                    <a:extLst>
                      <a:ext uri="{FF2B5EF4-FFF2-40B4-BE49-F238E27FC236}">
                        <a16:creationId xmlns:a16="http://schemas.microsoft.com/office/drawing/2014/main" id="{50F5741B-8D98-FA50-E772-A414D5220B6A}"/>
                      </a:ext>
                    </a:extLst>
                  </p:cNvPr>
                  <p:cNvSpPr/>
                  <p:nvPr/>
                </p:nvSpPr>
                <p:spPr>
                  <a:xfrm>
                    <a:off x="5936678" y="4541924"/>
                    <a:ext cx="619474" cy="1380816"/>
                  </a:xfrm>
                  <a:custGeom>
                    <a:avLst/>
                    <a:gdLst>
                      <a:gd name="connsiteX0" fmla="*/ 517588 w 619474"/>
                      <a:gd name="connsiteY0" fmla="*/ 67509 h 1380816"/>
                      <a:gd name="connsiteX1" fmla="*/ 599980 w 619474"/>
                      <a:gd name="connsiteY1" fmla="*/ 1058014 h 1380816"/>
                      <a:gd name="connsiteX2" fmla="*/ 567309 w 619474"/>
                      <a:gd name="connsiteY2" fmla="*/ 1380435 h 1380816"/>
                      <a:gd name="connsiteX3" fmla="*/ 263462 w 619474"/>
                      <a:gd name="connsiteY3" fmla="*/ 1347288 h 1380816"/>
                      <a:gd name="connsiteX4" fmla="*/ 50292 w 619474"/>
                      <a:gd name="connsiteY4" fmla="*/ 1324809 h 1380816"/>
                      <a:gd name="connsiteX5" fmla="*/ 62008 w 619474"/>
                      <a:gd name="connsiteY5" fmla="*/ 870086 h 1380816"/>
                      <a:gd name="connsiteX6" fmla="*/ 0 w 619474"/>
                      <a:gd name="connsiteY6" fmla="*/ 98275 h 1380816"/>
                      <a:gd name="connsiteX7" fmla="*/ 517588 w 619474"/>
                      <a:gd name="connsiteY7" fmla="*/ 67414 h 13808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19474" h="1380816">
                        <a:moveTo>
                          <a:pt x="517588" y="67509"/>
                        </a:moveTo>
                        <a:cubicBezTo>
                          <a:pt x="608171" y="426887"/>
                          <a:pt x="582644" y="878944"/>
                          <a:pt x="599980" y="1058014"/>
                        </a:cubicBezTo>
                        <a:cubicBezTo>
                          <a:pt x="610553" y="1167361"/>
                          <a:pt x="652081" y="1391293"/>
                          <a:pt x="567309" y="1380435"/>
                        </a:cubicBezTo>
                        <a:cubicBezTo>
                          <a:pt x="503491" y="1366910"/>
                          <a:pt x="391287" y="1357956"/>
                          <a:pt x="263462" y="1347288"/>
                        </a:cubicBezTo>
                        <a:cubicBezTo>
                          <a:pt x="135636" y="1336525"/>
                          <a:pt x="50292" y="1324809"/>
                          <a:pt x="50292" y="1324809"/>
                        </a:cubicBezTo>
                        <a:cubicBezTo>
                          <a:pt x="50292" y="1324809"/>
                          <a:pt x="63722" y="926093"/>
                          <a:pt x="62008" y="870086"/>
                        </a:cubicBezTo>
                        <a:cubicBezTo>
                          <a:pt x="60293" y="814079"/>
                          <a:pt x="0" y="98275"/>
                          <a:pt x="0" y="98275"/>
                        </a:cubicBezTo>
                        <a:cubicBezTo>
                          <a:pt x="154305" y="-12501"/>
                          <a:pt x="355473" y="-38980"/>
                          <a:pt x="517588" y="67414"/>
                        </a:cubicBezTo>
                        <a:close/>
                      </a:path>
                    </a:pathLst>
                  </a:custGeom>
                  <a:solidFill>
                    <a:srgbClr val="004F4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0" name="Freihandform: Form 199">
                    <a:extLst>
                      <a:ext uri="{FF2B5EF4-FFF2-40B4-BE49-F238E27FC236}">
                        <a16:creationId xmlns:a16="http://schemas.microsoft.com/office/drawing/2014/main" id="{A92774FD-46D8-8A77-39B5-FCC51236C74C}"/>
                      </a:ext>
                    </a:extLst>
                  </p:cNvPr>
                  <p:cNvSpPr/>
                  <p:nvPr/>
                </p:nvSpPr>
                <p:spPr>
                  <a:xfrm>
                    <a:off x="5935820" y="4361211"/>
                    <a:ext cx="518731" cy="518731"/>
                  </a:xfrm>
                  <a:custGeom>
                    <a:avLst/>
                    <a:gdLst>
                      <a:gd name="connsiteX0" fmla="*/ 518731 w 518731"/>
                      <a:gd name="connsiteY0" fmla="*/ 259366 h 518731"/>
                      <a:gd name="connsiteX1" fmla="*/ 259366 w 518731"/>
                      <a:gd name="connsiteY1" fmla="*/ 518732 h 518731"/>
                      <a:gd name="connsiteX2" fmla="*/ 0 w 518731"/>
                      <a:gd name="connsiteY2" fmla="*/ 259366 h 518731"/>
                      <a:gd name="connsiteX3" fmla="*/ 259366 w 518731"/>
                      <a:gd name="connsiteY3" fmla="*/ 0 h 518731"/>
                      <a:gd name="connsiteX4" fmla="*/ 518731 w 518731"/>
                      <a:gd name="connsiteY4" fmla="*/ 259366 h 5187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8731" h="518731">
                        <a:moveTo>
                          <a:pt x="518731" y="259366"/>
                        </a:moveTo>
                        <a:cubicBezTo>
                          <a:pt x="518731" y="402610"/>
                          <a:pt x="402610" y="518732"/>
                          <a:pt x="259366" y="518732"/>
                        </a:cubicBezTo>
                        <a:cubicBezTo>
                          <a:pt x="116122" y="518732"/>
                          <a:pt x="0" y="402610"/>
                          <a:pt x="0" y="259366"/>
                        </a:cubicBezTo>
                        <a:cubicBezTo>
                          <a:pt x="0" y="116122"/>
                          <a:pt x="116122" y="0"/>
                          <a:pt x="259366" y="0"/>
                        </a:cubicBezTo>
                        <a:cubicBezTo>
                          <a:pt x="402610" y="0"/>
                          <a:pt x="518731" y="116122"/>
                          <a:pt x="518731" y="259366"/>
                        </a:cubicBezTo>
                        <a:close/>
                      </a:path>
                    </a:pathLst>
                  </a:custGeom>
                  <a:solidFill>
                    <a:srgbClr val="004F4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1" name="Freihandform: Form 200">
                    <a:extLst>
                      <a:ext uri="{FF2B5EF4-FFF2-40B4-BE49-F238E27FC236}">
                        <a16:creationId xmlns:a16="http://schemas.microsoft.com/office/drawing/2014/main" id="{61229A6A-53CE-3946-D210-FFA7C0538B7D}"/>
                      </a:ext>
                    </a:extLst>
                  </p:cNvPr>
                  <p:cNvSpPr/>
                  <p:nvPr/>
                </p:nvSpPr>
                <p:spPr>
                  <a:xfrm>
                    <a:off x="5919437" y="2908934"/>
                    <a:ext cx="808810" cy="1901431"/>
                  </a:xfrm>
                  <a:custGeom>
                    <a:avLst/>
                    <a:gdLst>
                      <a:gd name="connsiteX0" fmla="*/ 669798 w 808810"/>
                      <a:gd name="connsiteY0" fmla="*/ 0 h 1901431"/>
                      <a:gd name="connsiteX1" fmla="*/ 0 w 808810"/>
                      <a:gd name="connsiteY1" fmla="*/ 48197 h 1901431"/>
                      <a:gd name="connsiteX2" fmla="*/ 79248 w 808810"/>
                      <a:gd name="connsiteY2" fmla="*/ 986219 h 1901431"/>
                      <a:gd name="connsiteX3" fmla="*/ 239078 w 808810"/>
                      <a:gd name="connsiteY3" fmla="*/ 1844231 h 1901431"/>
                      <a:gd name="connsiteX4" fmla="*/ 750094 w 808810"/>
                      <a:gd name="connsiteY4" fmla="*/ 1836325 h 1901431"/>
                      <a:gd name="connsiteX5" fmla="*/ 669798 w 808810"/>
                      <a:gd name="connsiteY5" fmla="*/ 0 h 19014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08810" h="1901431">
                        <a:moveTo>
                          <a:pt x="669798" y="0"/>
                        </a:moveTo>
                        <a:cubicBezTo>
                          <a:pt x="660749" y="3048"/>
                          <a:pt x="0" y="48197"/>
                          <a:pt x="0" y="48197"/>
                        </a:cubicBezTo>
                        <a:cubicBezTo>
                          <a:pt x="0" y="48197"/>
                          <a:pt x="56293" y="822293"/>
                          <a:pt x="79248" y="986219"/>
                        </a:cubicBezTo>
                        <a:cubicBezTo>
                          <a:pt x="167069" y="1614202"/>
                          <a:pt x="239078" y="1844231"/>
                          <a:pt x="239078" y="1844231"/>
                        </a:cubicBezTo>
                        <a:cubicBezTo>
                          <a:pt x="403574" y="1921955"/>
                          <a:pt x="598265" y="1921574"/>
                          <a:pt x="750094" y="1836325"/>
                        </a:cubicBezTo>
                        <a:cubicBezTo>
                          <a:pt x="724948" y="1106329"/>
                          <a:pt x="942880" y="690658"/>
                          <a:pt x="669798" y="0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202" name="Grafik 23">
                    <a:extLst>
                      <a:ext uri="{FF2B5EF4-FFF2-40B4-BE49-F238E27FC236}">
                        <a16:creationId xmlns:a16="http://schemas.microsoft.com/office/drawing/2014/main" id="{1AB08662-B0F6-E825-865A-C2D81F0E104F}"/>
                      </a:ext>
                    </a:extLst>
                  </p:cNvPr>
                  <p:cNvGrpSpPr/>
                  <p:nvPr/>
                </p:nvGrpSpPr>
                <p:grpSpPr>
                  <a:xfrm>
                    <a:off x="5802540" y="5867238"/>
                    <a:ext cx="867562" cy="295551"/>
                    <a:chOff x="5802540" y="5867238"/>
                    <a:chExt cx="867562" cy="295551"/>
                  </a:xfrm>
                </p:grpSpPr>
                <p:sp>
                  <p:nvSpPr>
                    <p:cNvPr id="203" name="Freihandform: Form 202">
                      <a:extLst>
                        <a:ext uri="{FF2B5EF4-FFF2-40B4-BE49-F238E27FC236}">
                          <a16:creationId xmlns:a16="http://schemas.microsoft.com/office/drawing/2014/main" id="{8CDBEED8-E9C5-46FC-E3BF-046E0498E1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04134" y="5867238"/>
                      <a:ext cx="865764" cy="289407"/>
                    </a:xfrm>
                    <a:custGeom>
                      <a:avLst/>
                      <a:gdLst>
                        <a:gd name="connsiteX0" fmla="*/ 804913 w 865764"/>
                        <a:gd name="connsiteY0" fmla="*/ 28546 h 289407"/>
                        <a:gd name="connsiteX1" fmla="*/ 865683 w 865764"/>
                        <a:gd name="connsiteY1" fmla="*/ 170088 h 289407"/>
                        <a:gd name="connsiteX2" fmla="*/ 860063 w 865764"/>
                        <a:gd name="connsiteY2" fmla="*/ 253908 h 289407"/>
                        <a:gd name="connsiteX3" fmla="*/ 835393 w 865764"/>
                        <a:gd name="connsiteY3" fmla="*/ 276863 h 289407"/>
                        <a:gd name="connsiteX4" fmla="*/ 54629 w 865764"/>
                        <a:gd name="connsiteY4" fmla="*/ 249717 h 289407"/>
                        <a:gd name="connsiteX5" fmla="*/ 41866 w 865764"/>
                        <a:gd name="connsiteY5" fmla="*/ 132750 h 289407"/>
                        <a:gd name="connsiteX6" fmla="*/ 331140 w 865764"/>
                        <a:gd name="connsiteY6" fmla="*/ 83696 h 289407"/>
                        <a:gd name="connsiteX7" fmla="*/ 535927 w 865764"/>
                        <a:gd name="connsiteY7" fmla="*/ 829 h 289407"/>
                        <a:gd name="connsiteX8" fmla="*/ 592696 w 865764"/>
                        <a:gd name="connsiteY8" fmla="*/ 56931 h 289407"/>
                        <a:gd name="connsiteX9" fmla="*/ 725570 w 865764"/>
                        <a:gd name="connsiteY9" fmla="*/ 56931 h 289407"/>
                        <a:gd name="connsiteX10" fmla="*/ 805009 w 865764"/>
                        <a:gd name="connsiteY10" fmla="*/ 28546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804913" y="28546"/>
                          </a:moveTo>
                          <a:cubicBezTo>
                            <a:pt x="804913" y="28546"/>
                            <a:pt x="868350" y="92078"/>
                            <a:pt x="865683" y="170088"/>
                          </a:cubicBezTo>
                          <a:cubicBezTo>
                            <a:pt x="864254" y="210474"/>
                            <a:pt x="861968" y="237335"/>
                            <a:pt x="860063" y="253908"/>
                          </a:cubicBezTo>
                          <a:cubicBezTo>
                            <a:pt x="858634" y="266576"/>
                            <a:pt x="848157" y="276292"/>
                            <a:pt x="835393" y="276863"/>
                          </a:cubicBezTo>
                          <a:cubicBezTo>
                            <a:pt x="726808" y="281626"/>
                            <a:pt x="175025" y="314487"/>
                            <a:pt x="54629" y="249717"/>
                          </a:cubicBezTo>
                          <a:cubicBezTo>
                            <a:pt x="-60338" y="187900"/>
                            <a:pt x="41866" y="132750"/>
                            <a:pt x="41866" y="132750"/>
                          </a:cubicBezTo>
                          <a:cubicBezTo>
                            <a:pt x="41866" y="132750"/>
                            <a:pt x="216840" y="152753"/>
                            <a:pt x="331140" y="83696"/>
                          </a:cubicBezTo>
                          <a:cubicBezTo>
                            <a:pt x="432867" y="22260"/>
                            <a:pt x="517735" y="-5267"/>
                            <a:pt x="535927" y="829"/>
                          </a:cubicBezTo>
                          <a:cubicBezTo>
                            <a:pt x="554120" y="6925"/>
                            <a:pt x="560502" y="35500"/>
                            <a:pt x="592696" y="56931"/>
                          </a:cubicBezTo>
                          <a:cubicBezTo>
                            <a:pt x="624986" y="78457"/>
                            <a:pt x="663753" y="78457"/>
                            <a:pt x="725570" y="56931"/>
                          </a:cubicBezTo>
                          <a:cubicBezTo>
                            <a:pt x="787387" y="35405"/>
                            <a:pt x="786149" y="20450"/>
                            <a:pt x="805009" y="28546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04" name="Freihandform: Form 203">
                      <a:extLst>
                        <a:ext uri="{FF2B5EF4-FFF2-40B4-BE49-F238E27FC236}">
                          <a16:creationId xmlns:a16="http://schemas.microsoft.com/office/drawing/2014/main" id="{D1D62F69-FE8B-4568-968A-A5E01448371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02540" y="6009608"/>
                      <a:ext cx="867562" cy="153181"/>
                    </a:xfrm>
                    <a:custGeom>
                      <a:avLst/>
                      <a:gdLst>
                        <a:gd name="connsiteX0" fmla="*/ 837463 w 867562"/>
                        <a:gd name="connsiteY0" fmla="*/ 153162 h 153181"/>
                        <a:gd name="connsiteX1" fmla="*/ 174904 w 867562"/>
                        <a:gd name="connsiteY1" fmla="*/ 152781 h 153181"/>
                        <a:gd name="connsiteX2" fmla="*/ 55746 w 867562"/>
                        <a:gd name="connsiteY2" fmla="*/ 116396 h 153181"/>
                        <a:gd name="connsiteX3" fmla="*/ 28600 w 867562"/>
                        <a:gd name="connsiteY3" fmla="*/ 0 h 153181"/>
                        <a:gd name="connsiteX4" fmla="*/ 68701 w 867562"/>
                        <a:gd name="connsiteY4" fmla="*/ 42291 h 153181"/>
                        <a:gd name="connsiteX5" fmla="*/ 867562 w 867562"/>
                        <a:gd name="connsiteY5" fmla="*/ 51245 h 153181"/>
                        <a:gd name="connsiteX6" fmla="*/ 862324 w 867562"/>
                        <a:gd name="connsiteY6" fmla="*/ 130016 h 153181"/>
                        <a:gd name="connsiteX7" fmla="*/ 837559 w 867562"/>
                        <a:gd name="connsiteY7" fmla="*/ 153162 h 1531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1">
                          <a:moveTo>
                            <a:pt x="837463" y="153162"/>
                          </a:moveTo>
                          <a:cubicBezTo>
                            <a:pt x="834987" y="153258"/>
                            <a:pt x="177000" y="152971"/>
                            <a:pt x="174904" y="152781"/>
                          </a:cubicBezTo>
                          <a:cubicBezTo>
                            <a:pt x="116326" y="147066"/>
                            <a:pt x="79750" y="129350"/>
                            <a:pt x="55746" y="116396"/>
                          </a:cubicBezTo>
                          <a:cubicBezTo>
                            <a:pt x="-30359" y="70104"/>
                            <a:pt x="2311" y="15907"/>
                            <a:pt x="28600" y="0"/>
                          </a:cubicBezTo>
                          <a:cubicBezTo>
                            <a:pt x="37173" y="9430"/>
                            <a:pt x="50031" y="32290"/>
                            <a:pt x="68701" y="42291"/>
                          </a:cubicBezTo>
                          <a:cubicBezTo>
                            <a:pt x="195859" y="110680"/>
                            <a:pt x="799173" y="56483"/>
                            <a:pt x="867562" y="51245"/>
                          </a:cubicBezTo>
                          <a:cubicBezTo>
                            <a:pt x="866134" y="85630"/>
                            <a:pt x="864133" y="114871"/>
                            <a:pt x="862324" y="130016"/>
                          </a:cubicBezTo>
                          <a:cubicBezTo>
                            <a:pt x="860895" y="142780"/>
                            <a:pt x="850417" y="152591"/>
                            <a:pt x="837559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205" name="Freihandform: Form 204">
                    <a:extLst>
                      <a:ext uri="{FF2B5EF4-FFF2-40B4-BE49-F238E27FC236}">
                        <a16:creationId xmlns:a16="http://schemas.microsoft.com/office/drawing/2014/main" id="{EEBAF1BA-B831-7F75-6C01-E9642E661F4A}"/>
                      </a:ext>
                    </a:extLst>
                  </p:cNvPr>
                  <p:cNvSpPr/>
                  <p:nvPr/>
                </p:nvSpPr>
                <p:spPr>
                  <a:xfrm>
                    <a:off x="6158610" y="4661673"/>
                    <a:ext cx="568148" cy="1321932"/>
                  </a:xfrm>
                  <a:custGeom>
                    <a:avLst/>
                    <a:gdLst>
                      <a:gd name="connsiteX0" fmla="*/ 503015 w 568148"/>
                      <a:gd name="connsiteY0" fmla="*/ 1321932 h 1321932"/>
                      <a:gd name="connsiteX1" fmla="*/ 12763 w 568148"/>
                      <a:gd name="connsiteY1" fmla="*/ 1268402 h 1321932"/>
                      <a:gd name="connsiteX2" fmla="*/ 0 w 568148"/>
                      <a:gd name="connsiteY2" fmla="*/ 91492 h 1321932"/>
                      <a:gd name="connsiteX3" fmla="*/ 510254 w 568148"/>
                      <a:gd name="connsiteY3" fmla="*/ 73109 h 1321932"/>
                      <a:gd name="connsiteX4" fmla="*/ 566547 w 568148"/>
                      <a:gd name="connsiteY4" fmla="*/ 1067710 h 1321932"/>
                      <a:gd name="connsiteX5" fmla="*/ 503015 w 568148"/>
                      <a:gd name="connsiteY5" fmla="*/ 1321932 h 13219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68148" h="1321932">
                        <a:moveTo>
                          <a:pt x="503015" y="1321932"/>
                        </a:moveTo>
                        <a:lnTo>
                          <a:pt x="12763" y="1268402"/>
                        </a:lnTo>
                        <a:cubicBezTo>
                          <a:pt x="13526" y="1249828"/>
                          <a:pt x="0" y="91492"/>
                          <a:pt x="0" y="91492"/>
                        </a:cubicBezTo>
                        <a:cubicBezTo>
                          <a:pt x="157544" y="-14616"/>
                          <a:pt x="351473" y="-38238"/>
                          <a:pt x="510254" y="73109"/>
                        </a:cubicBezTo>
                        <a:cubicBezTo>
                          <a:pt x="589884" y="435059"/>
                          <a:pt x="554641" y="888164"/>
                          <a:pt x="566547" y="1067710"/>
                        </a:cubicBezTo>
                        <a:cubicBezTo>
                          <a:pt x="573596" y="1174295"/>
                          <a:pt x="558260" y="1277069"/>
                          <a:pt x="503015" y="1321932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6" name="Freihandform: Form 205">
                    <a:extLst>
                      <a:ext uri="{FF2B5EF4-FFF2-40B4-BE49-F238E27FC236}">
                        <a16:creationId xmlns:a16="http://schemas.microsoft.com/office/drawing/2014/main" id="{933FD699-59DA-7A3A-9BFF-214620906185}"/>
                      </a:ext>
                    </a:extLst>
                  </p:cNvPr>
                  <p:cNvSpPr/>
                  <p:nvPr/>
                </p:nvSpPr>
                <p:spPr>
                  <a:xfrm>
                    <a:off x="5826187" y="1414081"/>
                    <a:ext cx="1017222" cy="2754820"/>
                  </a:xfrm>
                  <a:custGeom>
                    <a:avLst/>
                    <a:gdLst>
                      <a:gd name="connsiteX0" fmla="*/ 970979 w 1017222"/>
                      <a:gd name="connsiteY0" fmla="*/ 2051971 h 2754820"/>
                      <a:gd name="connsiteX1" fmla="*/ 920591 w 1017222"/>
                      <a:gd name="connsiteY1" fmla="*/ 1125093 h 2754820"/>
                      <a:gd name="connsiteX2" fmla="*/ 1016603 w 1017222"/>
                      <a:gd name="connsiteY2" fmla="*/ 413575 h 2754820"/>
                      <a:gd name="connsiteX3" fmla="*/ 730663 w 1017222"/>
                      <a:gd name="connsiteY3" fmla="*/ 0 h 2754820"/>
                      <a:gd name="connsiteX4" fmla="*/ 304990 w 1017222"/>
                      <a:gd name="connsiteY4" fmla="*/ 152210 h 2754820"/>
                      <a:gd name="connsiteX5" fmla="*/ 89821 w 1017222"/>
                      <a:gd name="connsiteY5" fmla="*/ 676370 h 2754820"/>
                      <a:gd name="connsiteX6" fmla="*/ 47149 w 1017222"/>
                      <a:gd name="connsiteY6" fmla="*/ 1569911 h 2754820"/>
                      <a:gd name="connsiteX7" fmla="*/ 0 w 1017222"/>
                      <a:gd name="connsiteY7" fmla="*/ 2754821 h 2754820"/>
                      <a:gd name="connsiteX8" fmla="*/ 971931 w 1017222"/>
                      <a:gd name="connsiteY8" fmla="*/ 2754821 h 2754820"/>
                      <a:gd name="connsiteX9" fmla="*/ 971074 w 1017222"/>
                      <a:gd name="connsiteY9" fmla="*/ 2051971 h 27548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17222" h="2754820">
                        <a:moveTo>
                          <a:pt x="970979" y="2051971"/>
                        </a:moveTo>
                        <a:cubicBezTo>
                          <a:pt x="955738" y="1788604"/>
                          <a:pt x="920591" y="1125093"/>
                          <a:pt x="920591" y="1125093"/>
                        </a:cubicBezTo>
                        <a:cubicBezTo>
                          <a:pt x="920591" y="1125093"/>
                          <a:pt x="1026224" y="587693"/>
                          <a:pt x="1016603" y="413575"/>
                        </a:cubicBezTo>
                        <a:cubicBezTo>
                          <a:pt x="1004792" y="198882"/>
                          <a:pt x="730663" y="0"/>
                          <a:pt x="730663" y="0"/>
                        </a:cubicBezTo>
                        <a:lnTo>
                          <a:pt x="304990" y="152210"/>
                        </a:lnTo>
                        <a:cubicBezTo>
                          <a:pt x="304990" y="152210"/>
                          <a:pt x="117920" y="422339"/>
                          <a:pt x="89821" y="676370"/>
                        </a:cubicBezTo>
                        <a:cubicBezTo>
                          <a:pt x="79438" y="770477"/>
                          <a:pt x="47149" y="1569911"/>
                          <a:pt x="47149" y="1569911"/>
                        </a:cubicBezTo>
                        <a:lnTo>
                          <a:pt x="0" y="2754821"/>
                        </a:lnTo>
                        <a:lnTo>
                          <a:pt x="971931" y="2754821"/>
                        </a:lnTo>
                        <a:cubicBezTo>
                          <a:pt x="974979" y="2647188"/>
                          <a:pt x="983933" y="2275332"/>
                          <a:pt x="971074" y="205197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7" name="Freihandform: Form 206">
                    <a:extLst>
                      <a:ext uri="{FF2B5EF4-FFF2-40B4-BE49-F238E27FC236}">
                        <a16:creationId xmlns:a16="http://schemas.microsoft.com/office/drawing/2014/main" id="{9463D9C9-2271-5A44-8CA0-F64EA8A62CE3}"/>
                      </a:ext>
                    </a:extLst>
                  </p:cNvPr>
                  <p:cNvSpPr/>
                  <p:nvPr/>
                </p:nvSpPr>
                <p:spPr>
                  <a:xfrm>
                    <a:off x="6305112" y="1691910"/>
                    <a:ext cx="526126" cy="1486891"/>
                  </a:xfrm>
                  <a:custGeom>
                    <a:avLst/>
                    <a:gdLst>
                      <a:gd name="connsiteX0" fmla="*/ 19614 w 526126"/>
                      <a:gd name="connsiteY0" fmla="*/ 1445148 h 1486891"/>
                      <a:gd name="connsiteX1" fmla="*/ 137248 w 526126"/>
                      <a:gd name="connsiteY1" fmla="*/ 933084 h 1486891"/>
                      <a:gd name="connsiteX2" fmla="*/ 138772 w 526126"/>
                      <a:gd name="connsiteY2" fmla="*/ 280431 h 1486891"/>
                      <a:gd name="connsiteX3" fmla="*/ 303745 w 526126"/>
                      <a:gd name="connsiteY3" fmla="*/ 2301 h 1486891"/>
                      <a:gd name="connsiteX4" fmla="*/ 495483 w 526126"/>
                      <a:gd name="connsiteY4" fmla="*/ 907081 h 1486891"/>
                      <a:gd name="connsiteX5" fmla="*/ 19709 w 526126"/>
                      <a:gd name="connsiteY5" fmla="*/ 1445148 h 14868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26126" h="1486891">
                        <a:moveTo>
                          <a:pt x="19614" y="1445148"/>
                        </a:moveTo>
                        <a:cubicBezTo>
                          <a:pt x="-18676" y="1405715"/>
                          <a:pt x="-11342" y="1230740"/>
                          <a:pt x="137248" y="933084"/>
                        </a:cubicBezTo>
                        <a:cubicBezTo>
                          <a:pt x="221640" y="764015"/>
                          <a:pt x="80479" y="592661"/>
                          <a:pt x="138772" y="280431"/>
                        </a:cubicBezTo>
                        <a:cubicBezTo>
                          <a:pt x="187921" y="17160"/>
                          <a:pt x="303745" y="2301"/>
                          <a:pt x="303745" y="2301"/>
                        </a:cubicBezTo>
                        <a:cubicBezTo>
                          <a:pt x="587971" y="-37609"/>
                          <a:pt x="532726" y="448738"/>
                          <a:pt x="495483" y="907081"/>
                        </a:cubicBezTo>
                        <a:cubicBezTo>
                          <a:pt x="458622" y="1164161"/>
                          <a:pt x="197446" y="1628409"/>
                          <a:pt x="19709" y="1445148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8" name="Freihandform: Form 207">
                    <a:extLst>
                      <a:ext uri="{FF2B5EF4-FFF2-40B4-BE49-F238E27FC236}">
                        <a16:creationId xmlns:a16="http://schemas.microsoft.com/office/drawing/2014/main" id="{26BA31B5-3CD1-FF51-008F-CCFDC7CA5CBE}"/>
                      </a:ext>
                    </a:extLst>
                  </p:cNvPr>
                  <p:cNvSpPr/>
                  <p:nvPr/>
                </p:nvSpPr>
                <p:spPr>
                  <a:xfrm>
                    <a:off x="5978873" y="3209639"/>
                    <a:ext cx="629697" cy="576707"/>
                  </a:xfrm>
                  <a:custGeom>
                    <a:avLst/>
                    <a:gdLst>
                      <a:gd name="connsiteX0" fmla="*/ 95 w 629697"/>
                      <a:gd name="connsiteY0" fmla="*/ 504635 h 576707"/>
                      <a:gd name="connsiteX1" fmla="*/ 629698 w 629697"/>
                      <a:gd name="connsiteY1" fmla="*/ 546068 h 576707"/>
                      <a:gd name="connsiteX2" fmla="*/ 581787 w 629697"/>
                      <a:gd name="connsiteY2" fmla="*/ 0 h 576707"/>
                      <a:gd name="connsiteX3" fmla="*/ 176784 w 629697"/>
                      <a:gd name="connsiteY3" fmla="*/ 3143 h 576707"/>
                      <a:gd name="connsiteX4" fmla="*/ 0 w 629697"/>
                      <a:gd name="connsiteY4" fmla="*/ 504635 h 5767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29697" h="576707">
                        <a:moveTo>
                          <a:pt x="95" y="504635"/>
                        </a:moveTo>
                        <a:cubicBezTo>
                          <a:pt x="33719" y="584645"/>
                          <a:pt x="487013" y="597408"/>
                          <a:pt x="629698" y="546068"/>
                        </a:cubicBezTo>
                        <a:lnTo>
                          <a:pt x="581787" y="0"/>
                        </a:lnTo>
                        <a:lnTo>
                          <a:pt x="176784" y="3143"/>
                        </a:lnTo>
                        <a:lnTo>
                          <a:pt x="0" y="504635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9" name="Freihandform: Form 208">
                    <a:extLst>
                      <a:ext uri="{FF2B5EF4-FFF2-40B4-BE49-F238E27FC236}">
                        <a16:creationId xmlns:a16="http://schemas.microsoft.com/office/drawing/2014/main" id="{94CF47DE-F024-36C1-CEA4-CD18F60B8D11}"/>
                      </a:ext>
                    </a:extLst>
                  </p:cNvPr>
                  <p:cNvSpPr/>
                  <p:nvPr/>
                </p:nvSpPr>
                <p:spPr>
                  <a:xfrm>
                    <a:off x="6099654" y="1283398"/>
                    <a:ext cx="466244" cy="530066"/>
                  </a:xfrm>
                  <a:custGeom>
                    <a:avLst/>
                    <a:gdLst>
                      <a:gd name="connsiteX0" fmla="*/ 466245 w 466244"/>
                      <a:gd name="connsiteY0" fmla="*/ 179546 h 530066"/>
                      <a:gd name="connsiteX1" fmla="*/ 449481 w 466244"/>
                      <a:gd name="connsiteY1" fmla="*/ 0 h 530066"/>
                      <a:gd name="connsiteX2" fmla="*/ 5711 w 466244"/>
                      <a:gd name="connsiteY2" fmla="*/ 288417 h 530066"/>
                      <a:gd name="connsiteX3" fmla="*/ 38096 w 466244"/>
                      <a:gd name="connsiteY3" fmla="*/ 530066 h 530066"/>
                      <a:gd name="connsiteX4" fmla="*/ 466245 w 466244"/>
                      <a:gd name="connsiteY4" fmla="*/ 179546 h 5300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66244" h="530066">
                        <a:moveTo>
                          <a:pt x="466245" y="179546"/>
                        </a:moveTo>
                        <a:lnTo>
                          <a:pt x="449481" y="0"/>
                        </a:lnTo>
                        <a:cubicBezTo>
                          <a:pt x="449481" y="0"/>
                          <a:pt x="94579" y="177165"/>
                          <a:pt x="5711" y="288417"/>
                        </a:cubicBezTo>
                        <a:cubicBezTo>
                          <a:pt x="-17625" y="317659"/>
                          <a:pt x="38096" y="530066"/>
                          <a:pt x="38096" y="530066"/>
                        </a:cubicBezTo>
                        <a:lnTo>
                          <a:pt x="466245" y="17954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0" name="Freihandform: Form 209">
                    <a:extLst>
                      <a:ext uri="{FF2B5EF4-FFF2-40B4-BE49-F238E27FC236}">
                        <a16:creationId xmlns:a16="http://schemas.microsoft.com/office/drawing/2014/main" id="{AD379041-4673-FC87-1112-0220EA49AAD3}"/>
                      </a:ext>
                    </a:extLst>
                  </p:cNvPr>
                  <p:cNvSpPr/>
                  <p:nvPr/>
                </p:nvSpPr>
                <p:spPr>
                  <a:xfrm>
                    <a:off x="6263099" y="2990564"/>
                    <a:ext cx="335184" cy="292893"/>
                  </a:xfrm>
                  <a:custGeom>
                    <a:avLst/>
                    <a:gdLst>
                      <a:gd name="connsiteX0" fmla="*/ 145447 w 335184"/>
                      <a:gd name="connsiteY0" fmla="*/ 0 h 292893"/>
                      <a:gd name="connsiteX1" fmla="*/ 0 w 335184"/>
                      <a:gd name="connsiteY1" fmla="*/ 284131 h 292893"/>
                      <a:gd name="connsiteX2" fmla="*/ 207169 w 335184"/>
                      <a:gd name="connsiteY2" fmla="*/ 292894 h 292893"/>
                      <a:gd name="connsiteX3" fmla="*/ 335185 w 335184"/>
                      <a:gd name="connsiteY3" fmla="*/ 101537 h 292893"/>
                      <a:gd name="connsiteX4" fmla="*/ 145447 w 335184"/>
                      <a:gd name="connsiteY4" fmla="*/ 0 h 2928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35184" h="292893">
                        <a:moveTo>
                          <a:pt x="145447" y="0"/>
                        </a:moveTo>
                        <a:lnTo>
                          <a:pt x="0" y="284131"/>
                        </a:lnTo>
                        <a:lnTo>
                          <a:pt x="207169" y="292894"/>
                        </a:lnTo>
                        <a:lnTo>
                          <a:pt x="335185" y="101537"/>
                        </a:lnTo>
                        <a:lnTo>
                          <a:pt x="145447" y="0"/>
                        </a:ln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211" name="Grafik 23">
                    <a:extLst>
                      <a:ext uri="{FF2B5EF4-FFF2-40B4-BE49-F238E27FC236}">
                        <a16:creationId xmlns:a16="http://schemas.microsoft.com/office/drawing/2014/main" id="{FA8ECCC4-457A-AFAD-9DF0-5904CC1084C4}"/>
                      </a:ext>
                    </a:extLst>
                  </p:cNvPr>
                  <p:cNvGrpSpPr/>
                  <p:nvPr/>
                </p:nvGrpSpPr>
                <p:grpSpPr>
                  <a:xfrm>
                    <a:off x="6324726" y="1764506"/>
                    <a:ext cx="607980" cy="1445133"/>
                    <a:chOff x="6324726" y="1764506"/>
                    <a:chExt cx="607980" cy="1445133"/>
                  </a:xfrm>
                  <a:solidFill>
                    <a:srgbClr val="FFFFFF"/>
                  </a:solidFill>
                </p:grpSpPr>
                <p:sp>
                  <p:nvSpPr>
                    <p:cNvPr id="212" name="Freihandform: Form 211">
                      <a:extLst>
                        <a:ext uri="{FF2B5EF4-FFF2-40B4-BE49-F238E27FC236}">
                          <a16:creationId xmlns:a16="http://schemas.microsoft.com/office/drawing/2014/main" id="{54AFB8F0-BD34-CEEC-922A-1EFD4CFA48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0361" y="1764506"/>
                      <a:ext cx="482346" cy="878681"/>
                    </a:xfrm>
                    <a:custGeom>
                      <a:avLst/>
                      <a:gdLst>
                        <a:gd name="connsiteX0" fmla="*/ 383667 w 482346"/>
                        <a:gd name="connsiteY0" fmla="*/ 0 h 878681"/>
                        <a:gd name="connsiteX1" fmla="*/ 482346 w 482346"/>
                        <a:gd name="connsiteY1" fmla="*/ 839438 h 878681"/>
                        <a:gd name="connsiteX2" fmla="*/ 141256 w 482346"/>
                        <a:gd name="connsiteY2" fmla="*/ 878681 h 878681"/>
                        <a:gd name="connsiteX3" fmla="*/ 0 w 482346"/>
                        <a:gd name="connsiteY3" fmla="*/ 85725 h 878681"/>
                        <a:gd name="connsiteX4" fmla="*/ 383667 w 482346"/>
                        <a:gd name="connsiteY4" fmla="*/ 0 h 8786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82346" h="878681">
                          <a:moveTo>
                            <a:pt x="383667" y="0"/>
                          </a:moveTo>
                          <a:cubicBezTo>
                            <a:pt x="451485" y="213170"/>
                            <a:pt x="482346" y="839438"/>
                            <a:pt x="482346" y="839438"/>
                          </a:cubicBezTo>
                          <a:lnTo>
                            <a:pt x="141256" y="878681"/>
                          </a:lnTo>
                          <a:cubicBezTo>
                            <a:pt x="29909" y="639128"/>
                            <a:pt x="0" y="85725"/>
                            <a:pt x="0" y="85725"/>
                          </a:cubicBezTo>
                          <a:lnTo>
                            <a:pt x="383667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3" name="Freihandform: Form 212">
                      <a:extLst>
                        <a:ext uri="{FF2B5EF4-FFF2-40B4-BE49-F238E27FC236}">
                          <a16:creationId xmlns:a16="http://schemas.microsoft.com/office/drawing/2014/main" id="{D0F4EE2B-31E1-F0CA-B4C3-DD2EEE8031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87140" y="2431161"/>
                      <a:ext cx="345566" cy="345566"/>
                    </a:xfrm>
                    <a:custGeom>
                      <a:avLst/>
                      <a:gdLst>
                        <a:gd name="connsiteX0" fmla="*/ 345567 w 345566"/>
                        <a:gd name="connsiteY0" fmla="*/ 172784 h 345566"/>
                        <a:gd name="connsiteX1" fmla="*/ 172783 w 345566"/>
                        <a:gd name="connsiteY1" fmla="*/ 345567 h 345566"/>
                        <a:gd name="connsiteX2" fmla="*/ 0 w 345566"/>
                        <a:gd name="connsiteY2" fmla="*/ 172784 h 345566"/>
                        <a:gd name="connsiteX3" fmla="*/ 172783 w 345566"/>
                        <a:gd name="connsiteY3" fmla="*/ 0 h 345566"/>
                        <a:gd name="connsiteX4" fmla="*/ 345567 w 345566"/>
                        <a:gd name="connsiteY4" fmla="*/ 172784 h 34556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45566" h="345566">
                          <a:moveTo>
                            <a:pt x="345567" y="172784"/>
                          </a:moveTo>
                          <a:cubicBezTo>
                            <a:pt x="345567" y="268209"/>
                            <a:pt x="268209" y="345567"/>
                            <a:pt x="172783" y="345567"/>
                          </a:cubicBezTo>
                          <a:cubicBezTo>
                            <a:pt x="77358" y="345567"/>
                            <a:pt x="0" y="268209"/>
                            <a:pt x="0" y="172784"/>
                          </a:cubicBezTo>
                          <a:cubicBezTo>
                            <a:pt x="0" y="77358"/>
                            <a:pt x="77358" y="0"/>
                            <a:pt x="172783" y="0"/>
                          </a:cubicBezTo>
                          <a:cubicBezTo>
                            <a:pt x="268209" y="0"/>
                            <a:pt x="345567" y="77358"/>
                            <a:pt x="345567" y="172784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4" name="Freihandform: Form 213">
                      <a:extLst>
                        <a:ext uri="{FF2B5EF4-FFF2-40B4-BE49-F238E27FC236}">
                          <a16:creationId xmlns:a16="http://schemas.microsoft.com/office/drawing/2014/main" id="{46D4C672-B67C-473B-E37B-86A8DFCD6C5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24726" y="2522886"/>
                      <a:ext cx="580739" cy="686752"/>
                    </a:xfrm>
                    <a:custGeom>
                      <a:avLst/>
                      <a:gdLst>
                        <a:gd name="connsiteX0" fmla="*/ 580740 w 580739"/>
                        <a:gd name="connsiteY0" fmla="*/ 174308 h 686752"/>
                        <a:gd name="connsiteX1" fmla="*/ 249269 w 580739"/>
                        <a:gd name="connsiteY1" fmla="*/ 686753 h 686752"/>
                        <a:gd name="connsiteX2" fmla="*/ 0 w 580739"/>
                        <a:gd name="connsiteY2" fmla="*/ 520637 h 686752"/>
                        <a:gd name="connsiteX3" fmla="*/ 282607 w 580739"/>
                        <a:gd name="connsiteY3" fmla="*/ 0 h 686752"/>
                        <a:gd name="connsiteX4" fmla="*/ 580740 w 580739"/>
                        <a:gd name="connsiteY4" fmla="*/ 174308 h 6867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80739" h="686752">
                          <a:moveTo>
                            <a:pt x="580740" y="174308"/>
                          </a:moveTo>
                          <a:lnTo>
                            <a:pt x="249269" y="686753"/>
                          </a:lnTo>
                          <a:lnTo>
                            <a:pt x="0" y="520637"/>
                          </a:lnTo>
                          <a:lnTo>
                            <a:pt x="282607" y="0"/>
                          </a:lnTo>
                          <a:lnTo>
                            <a:pt x="580740" y="174308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215" name="Freihandform: Form 214">
                    <a:extLst>
                      <a:ext uri="{FF2B5EF4-FFF2-40B4-BE49-F238E27FC236}">
                        <a16:creationId xmlns:a16="http://schemas.microsoft.com/office/drawing/2014/main" id="{411312AE-2BF3-7101-350F-61C04EE23C0F}"/>
                      </a:ext>
                    </a:extLst>
                  </p:cNvPr>
                  <p:cNvSpPr/>
                  <p:nvPr/>
                </p:nvSpPr>
                <p:spPr>
                  <a:xfrm>
                    <a:off x="6006686" y="2053970"/>
                    <a:ext cx="262032" cy="259856"/>
                  </a:xfrm>
                  <a:custGeom>
                    <a:avLst/>
                    <a:gdLst>
                      <a:gd name="connsiteX0" fmla="*/ 0 w 262032"/>
                      <a:gd name="connsiteY0" fmla="*/ 225266 h 259856"/>
                      <a:gd name="connsiteX1" fmla="*/ 262033 w 262032"/>
                      <a:gd name="connsiteY1" fmla="*/ 252032 h 259856"/>
                      <a:gd name="connsiteX2" fmla="*/ 236887 w 262032"/>
                      <a:gd name="connsiteY2" fmla="*/ 0 h 259856"/>
                      <a:gd name="connsiteX3" fmla="*/ 56483 w 262032"/>
                      <a:gd name="connsiteY3" fmla="*/ 1429 h 259856"/>
                      <a:gd name="connsiteX4" fmla="*/ 0 w 262032"/>
                      <a:gd name="connsiteY4" fmla="*/ 225266 h 2598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2032" h="259856">
                        <a:moveTo>
                          <a:pt x="0" y="225266"/>
                        </a:moveTo>
                        <a:cubicBezTo>
                          <a:pt x="22574" y="242030"/>
                          <a:pt x="198501" y="274892"/>
                          <a:pt x="262033" y="252032"/>
                        </a:cubicBezTo>
                        <a:lnTo>
                          <a:pt x="236887" y="0"/>
                        </a:lnTo>
                        <a:lnTo>
                          <a:pt x="56483" y="1429"/>
                        </a:lnTo>
                        <a:lnTo>
                          <a:pt x="0" y="225266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6" name="Freihandform: Form 215">
                    <a:extLst>
                      <a:ext uri="{FF2B5EF4-FFF2-40B4-BE49-F238E27FC236}">
                        <a16:creationId xmlns:a16="http://schemas.microsoft.com/office/drawing/2014/main" id="{A46C29BC-CE53-EC7A-B504-E6964E35C6D7}"/>
                      </a:ext>
                    </a:extLst>
                  </p:cNvPr>
                  <p:cNvSpPr/>
                  <p:nvPr/>
                </p:nvSpPr>
                <p:spPr>
                  <a:xfrm>
                    <a:off x="6006686" y="2053970"/>
                    <a:ext cx="230885" cy="229076"/>
                  </a:xfrm>
                  <a:custGeom>
                    <a:avLst/>
                    <a:gdLst>
                      <a:gd name="connsiteX0" fmla="*/ 4096 w 230885"/>
                      <a:gd name="connsiteY0" fmla="*/ 0 h 229076"/>
                      <a:gd name="connsiteX1" fmla="*/ 0 w 230885"/>
                      <a:gd name="connsiteY1" fmla="*/ 225266 h 229076"/>
                      <a:gd name="connsiteX2" fmla="*/ 230886 w 230885"/>
                      <a:gd name="connsiteY2" fmla="*/ 229076 h 229076"/>
                      <a:gd name="connsiteX3" fmla="*/ 230886 w 230885"/>
                      <a:gd name="connsiteY3" fmla="*/ 0 h 229076"/>
                      <a:gd name="connsiteX4" fmla="*/ 4096 w 230885"/>
                      <a:gd name="connsiteY4" fmla="*/ 0 h 2290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0885" h="229076">
                        <a:moveTo>
                          <a:pt x="4096" y="0"/>
                        </a:moveTo>
                        <a:lnTo>
                          <a:pt x="0" y="225266"/>
                        </a:lnTo>
                        <a:lnTo>
                          <a:pt x="230886" y="229076"/>
                        </a:lnTo>
                        <a:lnTo>
                          <a:pt x="230886" y="0"/>
                        </a:lnTo>
                        <a:lnTo>
                          <a:pt x="409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7" name="Freihandform: Form 216">
                    <a:extLst>
                      <a:ext uri="{FF2B5EF4-FFF2-40B4-BE49-F238E27FC236}">
                        <a16:creationId xmlns:a16="http://schemas.microsoft.com/office/drawing/2014/main" id="{2A7011E2-A0EA-0B90-9BD7-02B9FE9BA3D1}"/>
                      </a:ext>
                    </a:extLst>
                  </p:cNvPr>
                  <p:cNvSpPr/>
                  <p:nvPr/>
                </p:nvSpPr>
                <p:spPr>
                  <a:xfrm>
                    <a:off x="5978969" y="3209639"/>
                    <a:ext cx="568261" cy="539262"/>
                  </a:xfrm>
                  <a:custGeom>
                    <a:avLst/>
                    <a:gdLst>
                      <a:gd name="connsiteX0" fmla="*/ 59055 w 568261"/>
                      <a:gd name="connsiteY0" fmla="*/ 0 h 539262"/>
                      <a:gd name="connsiteX1" fmla="*/ 0 w 568261"/>
                      <a:gd name="connsiteY1" fmla="*/ 504635 h 539262"/>
                      <a:gd name="connsiteX2" fmla="*/ 568262 w 568261"/>
                      <a:gd name="connsiteY2" fmla="*/ 514064 h 539262"/>
                      <a:gd name="connsiteX3" fmla="*/ 568262 w 568261"/>
                      <a:gd name="connsiteY3" fmla="*/ 0 h 539262"/>
                      <a:gd name="connsiteX4" fmla="*/ 59150 w 568261"/>
                      <a:gd name="connsiteY4" fmla="*/ 0 h 5392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68261" h="539262">
                        <a:moveTo>
                          <a:pt x="59055" y="0"/>
                        </a:moveTo>
                        <a:cubicBezTo>
                          <a:pt x="59055" y="37624"/>
                          <a:pt x="0" y="504635"/>
                          <a:pt x="0" y="504635"/>
                        </a:cubicBezTo>
                        <a:cubicBezTo>
                          <a:pt x="174403" y="550545"/>
                          <a:pt x="365855" y="547783"/>
                          <a:pt x="568262" y="514064"/>
                        </a:cubicBezTo>
                        <a:lnTo>
                          <a:pt x="568262" y="0"/>
                        </a:lnTo>
                        <a:cubicBezTo>
                          <a:pt x="568262" y="0"/>
                          <a:pt x="59150" y="0"/>
                          <a:pt x="59150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8" name="Freihandform: Form 217">
                    <a:extLst>
                      <a:ext uri="{FF2B5EF4-FFF2-40B4-BE49-F238E27FC236}">
                        <a16:creationId xmlns:a16="http://schemas.microsoft.com/office/drawing/2014/main" id="{FDDB8D5A-7127-ECC6-87D7-774C766B7759}"/>
                      </a:ext>
                    </a:extLst>
                  </p:cNvPr>
                  <p:cNvSpPr/>
                  <p:nvPr/>
                </p:nvSpPr>
                <p:spPr>
                  <a:xfrm>
                    <a:off x="6158610" y="4503134"/>
                    <a:ext cx="511301" cy="511301"/>
                  </a:xfrm>
                  <a:custGeom>
                    <a:avLst/>
                    <a:gdLst>
                      <a:gd name="connsiteX0" fmla="*/ 511302 w 511301"/>
                      <a:gd name="connsiteY0" fmla="*/ 255651 h 511301"/>
                      <a:gd name="connsiteX1" fmla="*/ 255651 w 511301"/>
                      <a:gd name="connsiteY1" fmla="*/ 511302 h 511301"/>
                      <a:gd name="connsiteX2" fmla="*/ 0 w 511301"/>
                      <a:gd name="connsiteY2" fmla="*/ 255651 h 511301"/>
                      <a:gd name="connsiteX3" fmla="*/ 255651 w 511301"/>
                      <a:gd name="connsiteY3" fmla="*/ 0 h 511301"/>
                      <a:gd name="connsiteX4" fmla="*/ 511302 w 511301"/>
                      <a:gd name="connsiteY4" fmla="*/ 255651 h 5113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1301" h="511301">
                        <a:moveTo>
                          <a:pt x="511302" y="255651"/>
                        </a:moveTo>
                        <a:cubicBezTo>
                          <a:pt x="511302" y="396843"/>
                          <a:pt x="396843" y="511302"/>
                          <a:pt x="255651" y="511302"/>
                        </a:cubicBezTo>
                        <a:cubicBezTo>
                          <a:pt x="114459" y="511302"/>
                          <a:pt x="0" y="396843"/>
                          <a:pt x="0" y="255651"/>
                        </a:cubicBezTo>
                        <a:cubicBezTo>
                          <a:pt x="0" y="114459"/>
                          <a:pt x="114459" y="0"/>
                          <a:pt x="255651" y="0"/>
                        </a:cubicBezTo>
                        <a:cubicBezTo>
                          <a:pt x="396843" y="0"/>
                          <a:pt x="511302" y="114459"/>
                          <a:pt x="511302" y="255651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9" name="Freihandform: Form 218">
                    <a:extLst>
                      <a:ext uri="{FF2B5EF4-FFF2-40B4-BE49-F238E27FC236}">
                        <a16:creationId xmlns:a16="http://schemas.microsoft.com/office/drawing/2014/main" id="{87D73E35-8DEE-FF5D-247F-A529E777AF5D}"/>
                      </a:ext>
                    </a:extLst>
                  </p:cNvPr>
                  <p:cNvSpPr/>
                  <p:nvPr/>
                </p:nvSpPr>
                <p:spPr>
                  <a:xfrm>
                    <a:off x="6449504" y="1634490"/>
                    <a:ext cx="396621" cy="396621"/>
                  </a:xfrm>
                  <a:custGeom>
                    <a:avLst/>
                    <a:gdLst>
                      <a:gd name="connsiteX0" fmla="*/ 396621 w 396621"/>
                      <a:gd name="connsiteY0" fmla="*/ 198310 h 396621"/>
                      <a:gd name="connsiteX1" fmla="*/ 198310 w 396621"/>
                      <a:gd name="connsiteY1" fmla="*/ 396621 h 396621"/>
                      <a:gd name="connsiteX2" fmla="*/ 0 w 396621"/>
                      <a:gd name="connsiteY2" fmla="*/ 198311 h 396621"/>
                      <a:gd name="connsiteX3" fmla="*/ 198310 w 396621"/>
                      <a:gd name="connsiteY3" fmla="*/ 0 h 396621"/>
                      <a:gd name="connsiteX4" fmla="*/ 396621 w 396621"/>
                      <a:gd name="connsiteY4" fmla="*/ 198310 h 3966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6621" h="396621">
                        <a:moveTo>
                          <a:pt x="396621" y="198310"/>
                        </a:moveTo>
                        <a:cubicBezTo>
                          <a:pt x="396621" y="307834"/>
                          <a:pt x="307834" y="396621"/>
                          <a:pt x="198310" y="396621"/>
                        </a:cubicBezTo>
                        <a:cubicBezTo>
                          <a:pt x="88786" y="396621"/>
                          <a:pt x="0" y="307834"/>
                          <a:pt x="0" y="198311"/>
                        </a:cubicBezTo>
                        <a:cubicBezTo>
                          <a:pt x="0" y="88787"/>
                          <a:pt x="88786" y="0"/>
                          <a:pt x="198310" y="0"/>
                        </a:cubicBezTo>
                        <a:cubicBezTo>
                          <a:pt x="307834" y="0"/>
                          <a:pt x="396621" y="88787"/>
                          <a:pt x="396621" y="19831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20" name="Grafik 23">
                  <a:extLst>
                    <a:ext uri="{FF2B5EF4-FFF2-40B4-BE49-F238E27FC236}">
                      <a16:creationId xmlns:a16="http://schemas.microsoft.com/office/drawing/2014/main" id="{497B2EA9-1B02-D5BF-0402-5DC163C6DF5F}"/>
                    </a:ext>
                  </a:extLst>
                </p:cNvPr>
                <p:cNvGrpSpPr/>
                <p:nvPr/>
              </p:nvGrpSpPr>
              <p:grpSpPr>
                <a:xfrm>
                  <a:off x="5884415" y="666564"/>
                  <a:ext cx="678757" cy="747232"/>
                  <a:chOff x="5884415" y="666564"/>
                  <a:chExt cx="678757" cy="747232"/>
                </a:xfrm>
              </p:grpSpPr>
              <p:grpSp>
                <p:nvGrpSpPr>
                  <p:cNvPr id="221" name="Grafik 23">
                    <a:extLst>
                      <a:ext uri="{FF2B5EF4-FFF2-40B4-BE49-F238E27FC236}">
                        <a16:creationId xmlns:a16="http://schemas.microsoft.com/office/drawing/2014/main" id="{149305F3-1D13-37DC-9CC9-F80D34FABCD7}"/>
                      </a:ext>
                    </a:extLst>
                  </p:cNvPr>
                  <p:cNvGrpSpPr/>
                  <p:nvPr/>
                </p:nvGrpSpPr>
                <p:grpSpPr>
                  <a:xfrm>
                    <a:off x="5890916" y="666564"/>
                    <a:ext cx="672255" cy="747232"/>
                    <a:chOff x="5890916" y="666564"/>
                    <a:chExt cx="672255" cy="747232"/>
                  </a:xfrm>
                </p:grpSpPr>
                <p:sp>
                  <p:nvSpPr>
                    <p:cNvPr id="222" name="Freihandform: Form 221">
                      <a:extLst>
                        <a:ext uri="{FF2B5EF4-FFF2-40B4-BE49-F238E27FC236}">
                          <a16:creationId xmlns:a16="http://schemas.microsoft.com/office/drawing/2014/main" id="{01E3BC18-D797-DF12-2B62-A3D34741675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90916" y="928649"/>
                      <a:ext cx="397931" cy="485147"/>
                    </a:xfrm>
                    <a:custGeom>
                      <a:avLst/>
                      <a:gdLst>
                        <a:gd name="connsiteX0" fmla="*/ 391233 w 397931"/>
                        <a:gd name="connsiteY0" fmla="*/ 125006 h 485147"/>
                        <a:gd name="connsiteX1" fmla="*/ 110722 w 397931"/>
                        <a:gd name="connsiteY1" fmla="*/ 26041 h 485147"/>
                        <a:gd name="connsiteX2" fmla="*/ 63001 w 397931"/>
                        <a:gd name="connsiteY2" fmla="*/ 126339 h 485147"/>
                        <a:gd name="connsiteX3" fmla="*/ 2803 w 397931"/>
                        <a:gd name="connsiteY3" fmla="*/ 242639 h 485147"/>
                        <a:gd name="connsiteX4" fmla="*/ 53000 w 397931"/>
                        <a:gd name="connsiteY4" fmla="*/ 284359 h 485147"/>
                        <a:gd name="connsiteX5" fmla="*/ 63954 w 397931"/>
                        <a:gd name="connsiteY5" fmla="*/ 327888 h 485147"/>
                        <a:gd name="connsiteX6" fmla="*/ 84147 w 397931"/>
                        <a:gd name="connsiteY6" fmla="*/ 342557 h 485147"/>
                        <a:gd name="connsiteX7" fmla="*/ 84623 w 397931"/>
                        <a:gd name="connsiteY7" fmla="*/ 351986 h 485147"/>
                        <a:gd name="connsiteX8" fmla="*/ 81194 w 397931"/>
                        <a:gd name="connsiteY8" fmla="*/ 381323 h 485147"/>
                        <a:gd name="connsiteX9" fmla="*/ 93672 w 397931"/>
                        <a:gd name="connsiteY9" fmla="*/ 398564 h 485147"/>
                        <a:gd name="connsiteX10" fmla="*/ 100435 w 397931"/>
                        <a:gd name="connsiteY10" fmla="*/ 433235 h 485147"/>
                        <a:gd name="connsiteX11" fmla="*/ 150917 w 397931"/>
                        <a:gd name="connsiteY11" fmla="*/ 484955 h 485147"/>
                        <a:gd name="connsiteX12" fmla="*/ 297983 w 397931"/>
                        <a:gd name="connsiteY12" fmla="*/ 460571 h 485147"/>
                        <a:gd name="connsiteX13" fmla="*/ 395805 w 397931"/>
                        <a:gd name="connsiteY13" fmla="*/ 321602 h 485147"/>
                        <a:gd name="connsiteX14" fmla="*/ 391328 w 397931"/>
                        <a:gd name="connsiteY14" fmla="*/ 124815 h 48514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</a:cxnLst>
                      <a:rect l="l" t="t" r="r" b="b"/>
                      <a:pathLst>
                        <a:path w="397931" h="485147">
                          <a:moveTo>
                            <a:pt x="391233" y="125006"/>
                          </a:moveTo>
                          <a:cubicBezTo>
                            <a:pt x="328844" y="-46349"/>
                            <a:pt x="152251" y="-248"/>
                            <a:pt x="110722" y="26041"/>
                          </a:cubicBezTo>
                          <a:cubicBezTo>
                            <a:pt x="69193" y="52330"/>
                            <a:pt x="58143" y="85191"/>
                            <a:pt x="63001" y="126339"/>
                          </a:cubicBezTo>
                          <a:cubicBezTo>
                            <a:pt x="52333" y="145961"/>
                            <a:pt x="21853" y="195300"/>
                            <a:pt x="2803" y="242639"/>
                          </a:cubicBezTo>
                          <a:cubicBezTo>
                            <a:pt x="-10913" y="276644"/>
                            <a:pt x="28902" y="281406"/>
                            <a:pt x="53000" y="284359"/>
                          </a:cubicBezTo>
                          <a:cubicBezTo>
                            <a:pt x="74336" y="287026"/>
                            <a:pt x="58429" y="316268"/>
                            <a:pt x="63954" y="327888"/>
                          </a:cubicBezTo>
                          <a:cubicBezTo>
                            <a:pt x="68145" y="336556"/>
                            <a:pt x="75955" y="338842"/>
                            <a:pt x="84147" y="342557"/>
                          </a:cubicBezTo>
                          <a:cubicBezTo>
                            <a:pt x="84814" y="342842"/>
                            <a:pt x="85290" y="351701"/>
                            <a:pt x="84623" y="351986"/>
                          </a:cubicBezTo>
                          <a:cubicBezTo>
                            <a:pt x="67383" y="359892"/>
                            <a:pt x="68050" y="376751"/>
                            <a:pt x="81194" y="381323"/>
                          </a:cubicBezTo>
                          <a:cubicBezTo>
                            <a:pt x="91957" y="385133"/>
                            <a:pt x="93672" y="398564"/>
                            <a:pt x="93672" y="398564"/>
                          </a:cubicBezTo>
                          <a:cubicBezTo>
                            <a:pt x="93672" y="398564"/>
                            <a:pt x="98720" y="423900"/>
                            <a:pt x="100435" y="433235"/>
                          </a:cubicBezTo>
                          <a:cubicBezTo>
                            <a:pt x="110817" y="491147"/>
                            <a:pt x="150917" y="484955"/>
                            <a:pt x="150917" y="484955"/>
                          </a:cubicBezTo>
                          <a:cubicBezTo>
                            <a:pt x="150917" y="484955"/>
                            <a:pt x="245786" y="473240"/>
                            <a:pt x="297983" y="460571"/>
                          </a:cubicBezTo>
                          <a:cubicBezTo>
                            <a:pt x="358943" y="445617"/>
                            <a:pt x="392757" y="345986"/>
                            <a:pt x="395805" y="321602"/>
                          </a:cubicBezTo>
                          <a:cubicBezTo>
                            <a:pt x="402472" y="267785"/>
                            <a:pt x="391328" y="124815"/>
                            <a:pt x="391328" y="124815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23" name="Freihandform: Form 222">
                      <a:extLst>
                        <a:ext uri="{FF2B5EF4-FFF2-40B4-BE49-F238E27FC236}">
                          <a16:creationId xmlns:a16="http://schemas.microsoft.com/office/drawing/2014/main" id="{E3B81416-C2D8-AF37-AE27-7CCF93CD0F50}"/>
                        </a:ext>
                      </a:extLst>
                    </p:cNvPr>
                    <p:cNvSpPr/>
                    <p:nvPr/>
                  </p:nvSpPr>
                  <p:spPr>
                    <a:xfrm rot="-445201">
                      <a:off x="5939430" y="702581"/>
                      <a:ext cx="592073" cy="528827"/>
                    </a:xfrm>
                    <a:custGeom>
                      <a:avLst/>
                      <a:gdLst>
                        <a:gd name="connsiteX0" fmla="*/ 592074 w 592073"/>
                        <a:gd name="connsiteY0" fmla="*/ 264414 h 528827"/>
                        <a:gd name="connsiteX1" fmla="*/ 296037 w 592073"/>
                        <a:gd name="connsiteY1" fmla="*/ 528828 h 528827"/>
                        <a:gd name="connsiteX2" fmla="*/ 0 w 592073"/>
                        <a:gd name="connsiteY2" fmla="*/ 264414 h 528827"/>
                        <a:gd name="connsiteX3" fmla="*/ 296037 w 592073"/>
                        <a:gd name="connsiteY3" fmla="*/ 0 h 528827"/>
                        <a:gd name="connsiteX4" fmla="*/ 592074 w 592073"/>
                        <a:gd name="connsiteY4" fmla="*/ 264414 h 5288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92073" h="528827">
                          <a:moveTo>
                            <a:pt x="592074" y="264414"/>
                          </a:moveTo>
                          <a:cubicBezTo>
                            <a:pt x="592074" y="410446"/>
                            <a:pt x="459534" y="528828"/>
                            <a:pt x="296037" y="528828"/>
                          </a:cubicBezTo>
                          <a:cubicBezTo>
                            <a:pt x="132541" y="528828"/>
                            <a:pt x="0" y="410446"/>
                            <a:pt x="0" y="264414"/>
                          </a:cubicBezTo>
                          <a:cubicBezTo>
                            <a:pt x="0" y="118382"/>
                            <a:pt x="132541" y="0"/>
                            <a:pt x="296037" y="0"/>
                          </a:cubicBezTo>
                          <a:cubicBezTo>
                            <a:pt x="459534" y="0"/>
                            <a:pt x="592074" y="118382"/>
                            <a:pt x="592074" y="264414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24" name="Freihandform: Form 223">
                      <a:extLst>
                        <a:ext uri="{FF2B5EF4-FFF2-40B4-BE49-F238E27FC236}">
                          <a16:creationId xmlns:a16="http://schemas.microsoft.com/office/drawing/2014/main" id="{8EE51AEF-5B10-D563-2A6E-0167525233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75063" y="1260919"/>
                      <a:ext cx="37147" cy="19811"/>
                    </a:xfrm>
                    <a:custGeom>
                      <a:avLst/>
                      <a:gdLst>
                        <a:gd name="connsiteX0" fmla="*/ 476 w 37147"/>
                        <a:gd name="connsiteY0" fmla="*/ 19812 h 19811"/>
                        <a:gd name="connsiteX1" fmla="*/ 0 w 37147"/>
                        <a:gd name="connsiteY1" fmla="*/ 10382 h 19811"/>
                        <a:gd name="connsiteX2" fmla="*/ 32385 w 37147"/>
                        <a:gd name="connsiteY2" fmla="*/ 0 h 19811"/>
                        <a:gd name="connsiteX3" fmla="*/ 37147 w 37147"/>
                        <a:gd name="connsiteY3" fmla="*/ 8192 h 19811"/>
                        <a:gd name="connsiteX4" fmla="*/ 571 w 37147"/>
                        <a:gd name="connsiteY4" fmla="*/ 19812 h 1981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7147" h="19811">
                          <a:moveTo>
                            <a:pt x="476" y="19812"/>
                          </a:moveTo>
                          <a:lnTo>
                            <a:pt x="0" y="10382"/>
                          </a:lnTo>
                          <a:cubicBezTo>
                            <a:pt x="0" y="10382"/>
                            <a:pt x="16002" y="9430"/>
                            <a:pt x="32385" y="0"/>
                          </a:cubicBezTo>
                          <a:lnTo>
                            <a:pt x="37147" y="8192"/>
                          </a:lnTo>
                          <a:cubicBezTo>
                            <a:pt x="18764" y="18764"/>
                            <a:pt x="1238" y="19812"/>
                            <a:pt x="571" y="19812"/>
                          </a:cubicBezTo>
                          <a:close/>
                        </a:path>
                      </a:pathLst>
                    </a:custGeom>
                    <a:solidFill>
                      <a:srgbClr val="F2BBB3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25" name="Freihandform: Form 224">
                      <a:extLst>
                        <a:ext uri="{FF2B5EF4-FFF2-40B4-BE49-F238E27FC236}">
                          <a16:creationId xmlns:a16="http://schemas.microsoft.com/office/drawing/2014/main" id="{D7220E43-0923-C955-B9D5-BB8C0EC714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60067" y="1011264"/>
                      <a:ext cx="129553" cy="32025"/>
                    </a:xfrm>
                    <a:custGeom>
                      <a:avLst/>
                      <a:gdLst>
                        <a:gd name="connsiteX0" fmla="*/ 98911 w 129553"/>
                        <a:gd name="connsiteY0" fmla="*/ 2672 h 32025"/>
                        <a:gd name="connsiteX1" fmla="*/ 5947 w 129553"/>
                        <a:gd name="connsiteY1" fmla="*/ 10292 h 32025"/>
                        <a:gd name="connsiteX2" fmla="*/ 3090 w 129553"/>
                        <a:gd name="connsiteY2" fmla="*/ 12768 h 32025"/>
                        <a:gd name="connsiteX3" fmla="*/ 13853 w 129553"/>
                        <a:gd name="connsiteY3" fmla="*/ 31913 h 32025"/>
                        <a:gd name="connsiteX4" fmla="*/ 38332 w 129553"/>
                        <a:gd name="connsiteY4" fmla="*/ 27341 h 32025"/>
                        <a:gd name="connsiteX5" fmla="*/ 96720 w 129553"/>
                        <a:gd name="connsiteY5" fmla="*/ 24389 h 32025"/>
                        <a:gd name="connsiteX6" fmla="*/ 129106 w 129553"/>
                        <a:gd name="connsiteY6" fmla="*/ 31532 h 32025"/>
                        <a:gd name="connsiteX7" fmla="*/ 98816 w 129553"/>
                        <a:gd name="connsiteY7" fmla="*/ 2767 h 320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29553" h="32025">
                          <a:moveTo>
                            <a:pt x="98911" y="2672"/>
                          </a:moveTo>
                          <a:cubicBezTo>
                            <a:pt x="81099" y="-5329"/>
                            <a:pt x="10615" y="6863"/>
                            <a:pt x="5947" y="10292"/>
                          </a:cubicBezTo>
                          <a:cubicBezTo>
                            <a:pt x="4804" y="11149"/>
                            <a:pt x="3852" y="11911"/>
                            <a:pt x="3090" y="12768"/>
                          </a:cubicBezTo>
                          <a:cubicBezTo>
                            <a:pt x="-4435" y="20769"/>
                            <a:pt x="2804" y="33342"/>
                            <a:pt x="13853" y="31913"/>
                          </a:cubicBezTo>
                          <a:cubicBezTo>
                            <a:pt x="18901" y="31247"/>
                            <a:pt x="31284" y="28675"/>
                            <a:pt x="38332" y="27341"/>
                          </a:cubicBezTo>
                          <a:cubicBezTo>
                            <a:pt x="50715" y="24865"/>
                            <a:pt x="86338" y="22865"/>
                            <a:pt x="96720" y="24389"/>
                          </a:cubicBezTo>
                          <a:cubicBezTo>
                            <a:pt x="117104" y="27246"/>
                            <a:pt x="126439" y="33628"/>
                            <a:pt x="129106" y="31532"/>
                          </a:cubicBezTo>
                          <a:cubicBezTo>
                            <a:pt x="131773" y="29437"/>
                            <a:pt x="122628" y="13435"/>
                            <a:pt x="98816" y="2767"/>
                          </a:cubicBezTo>
                          <a:close/>
                        </a:path>
                      </a:pathLst>
                    </a:custGeom>
                    <a:solidFill>
                      <a:srgbClr val="4B2E1A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26" name="Freihandform: Form 225">
                      <a:extLst>
                        <a:ext uri="{FF2B5EF4-FFF2-40B4-BE49-F238E27FC236}">
                          <a16:creationId xmlns:a16="http://schemas.microsoft.com/office/drawing/2014/main" id="{166A2BE9-5CCB-9DDC-513C-6A4DED4F50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01638" y="1062418"/>
                      <a:ext cx="25336" cy="32003"/>
                    </a:xfrm>
                    <a:custGeom>
                      <a:avLst/>
                      <a:gdLst>
                        <a:gd name="connsiteX0" fmla="*/ 25337 w 25336"/>
                        <a:gd name="connsiteY0" fmla="*/ 16002 h 32003"/>
                        <a:gd name="connsiteX1" fmla="*/ 12669 w 25336"/>
                        <a:gd name="connsiteY1" fmla="*/ 32004 h 32003"/>
                        <a:gd name="connsiteX2" fmla="*/ 0 w 25336"/>
                        <a:gd name="connsiteY2" fmla="*/ 16002 h 32003"/>
                        <a:gd name="connsiteX3" fmla="*/ 12669 w 25336"/>
                        <a:gd name="connsiteY3" fmla="*/ 0 h 32003"/>
                        <a:gd name="connsiteX4" fmla="*/ 25337 w 25336"/>
                        <a:gd name="connsiteY4" fmla="*/ 16002 h 320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5336" h="32003">
                          <a:moveTo>
                            <a:pt x="25337" y="16002"/>
                          </a:moveTo>
                          <a:cubicBezTo>
                            <a:pt x="25337" y="24840"/>
                            <a:pt x="19665" y="32004"/>
                            <a:pt x="12669" y="32004"/>
                          </a:cubicBezTo>
                          <a:cubicBezTo>
                            <a:pt x="5672" y="32004"/>
                            <a:pt x="0" y="24840"/>
                            <a:pt x="0" y="16002"/>
                          </a:cubicBezTo>
                          <a:cubicBezTo>
                            <a:pt x="0" y="7164"/>
                            <a:pt x="5672" y="0"/>
                            <a:pt x="12669" y="0"/>
                          </a:cubicBezTo>
                          <a:cubicBezTo>
                            <a:pt x="19665" y="0"/>
                            <a:pt x="25337" y="7164"/>
                            <a:pt x="25337" y="16002"/>
                          </a:cubicBezTo>
                          <a:close/>
                        </a:path>
                      </a:pathLst>
                    </a:custGeom>
                    <a:solidFill>
                      <a:srgbClr val="4B2E1A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27" name="Freihandform: Form 226">
                      <a:extLst>
                        <a:ext uri="{FF2B5EF4-FFF2-40B4-BE49-F238E27FC236}">
                          <a16:creationId xmlns:a16="http://schemas.microsoft.com/office/drawing/2014/main" id="{7F13446F-DC7A-6C93-DCE9-8ABF7C4A07E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93256" y="1058562"/>
                      <a:ext cx="66606" cy="16779"/>
                    </a:xfrm>
                    <a:custGeom>
                      <a:avLst/>
                      <a:gdLst>
                        <a:gd name="connsiteX0" fmla="*/ 66104 w 66606"/>
                        <a:gd name="connsiteY0" fmla="*/ 12048 h 16779"/>
                        <a:gd name="connsiteX1" fmla="*/ 15336 w 66606"/>
                        <a:gd name="connsiteY1" fmla="*/ 427 h 16779"/>
                        <a:gd name="connsiteX2" fmla="*/ 4668 w 66606"/>
                        <a:gd name="connsiteY2" fmla="*/ 11857 h 16779"/>
                        <a:gd name="connsiteX3" fmla="*/ 54769 w 66606"/>
                        <a:gd name="connsiteY3" fmla="*/ 16048 h 16779"/>
                        <a:gd name="connsiteX4" fmla="*/ 66199 w 66606"/>
                        <a:gd name="connsiteY4" fmla="*/ 12048 h 167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66606" h="16779">
                          <a:moveTo>
                            <a:pt x="66104" y="12048"/>
                          </a:moveTo>
                          <a:cubicBezTo>
                            <a:pt x="64103" y="9095"/>
                            <a:pt x="36195" y="-2335"/>
                            <a:pt x="15336" y="427"/>
                          </a:cubicBezTo>
                          <a:cubicBezTo>
                            <a:pt x="1905" y="2142"/>
                            <a:pt x="-5334" y="14048"/>
                            <a:pt x="4668" y="11857"/>
                          </a:cubicBezTo>
                          <a:cubicBezTo>
                            <a:pt x="23051" y="7952"/>
                            <a:pt x="46959" y="13762"/>
                            <a:pt x="54769" y="16048"/>
                          </a:cubicBezTo>
                          <a:cubicBezTo>
                            <a:pt x="62580" y="18239"/>
                            <a:pt x="68199" y="15096"/>
                            <a:pt x="66199" y="12048"/>
                          </a:cubicBezTo>
                          <a:close/>
                        </a:path>
                      </a:pathLst>
                    </a:custGeom>
                    <a:solidFill>
                      <a:srgbClr val="4B2E1A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228" name="Freihandform: Form 227">
                    <a:extLst>
                      <a:ext uri="{FF2B5EF4-FFF2-40B4-BE49-F238E27FC236}">
                        <a16:creationId xmlns:a16="http://schemas.microsoft.com/office/drawing/2014/main" id="{DDDC1D7D-A186-BFB8-F15A-567FD3B93E86}"/>
                      </a:ext>
                    </a:extLst>
                  </p:cNvPr>
                  <p:cNvSpPr/>
                  <p:nvPr/>
                </p:nvSpPr>
                <p:spPr>
                  <a:xfrm>
                    <a:off x="5884415" y="693547"/>
                    <a:ext cx="678407" cy="560989"/>
                  </a:xfrm>
                  <a:custGeom>
                    <a:avLst/>
                    <a:gdLst>
                      <a:gd name="connsiteX0" fmla="*/ 92744 w 678407"/>
                      <a:gd name="connsiteY0" fmla="*/ 45116 h 560989"/>
                      <a:gd name="connsiteX1" fmla="*/ 370588 w 678407"/>
                      <a:gd name="connsiteY1" fmla="*/ 1301 h 560989"/>
                      <a:gd name="connsiteX2" fmla="*/ 671387 w 678407"/>
                      <a:gd name="connsiteY2" fmla="*/ 177894 h 560989"/>
                      <a:gd name="connsiteX3" fmla="*/ 605379 w 678407"/>
                      <a:gd name="connsiteY3" fmla="*/ 492315 h 560989"/>
                      <a:gd name="connsiteX4" fmla="*/ 595854 w 678407"/>
                      <a:gd name="connsiteY4" fmla="*/ 560990 h 560989"/>
                      <a:gd name="connsiteX5" fmla="*/ 534704 w 678407"/>
                      <a:gd name="connsiteY5" fmla="*/ 541083 h 560989"/>
                      <a:gd name="connsiteX6" fmla="*/ 471553 w 678407"/>
                      <a:gd name="connsiteY6" fmla="*/ 434688 h 560989"/>
                      <a:gd name="connsiteX7" fmla="*/ 359253 w 678407"/>
                      <a:gd name="connsiteY7" fmla="*/ 466692 h 560989"/>
                      <a:gd name="connsiteX8" fmla="*/ 324963 w 678407"/>
                      <a:gd name="connsiteY8" fmla="*/ 344106 h 560989"/>
                      <a:gd name="connsiteX9" fmla="*/ 229904 w 678407"/>
                      <a:gd name="connsiteY9" fmla="*/ 185229 h 560989"/>
                      <a:gd name="connsiteX10" fmla="*/ 53310 w 678407"/>
                      <a:gd name="connsiteY10" fmla="*/ 212375 h 560989"/>
                      <a:gd name="connsiteX11" fmla="*/ 92553 w 678407"/>
                      <a:gd name="connsiteY11" fmla="*/ 45306 h 5609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678407" h="560989">
                        <a:moveTo>
                          <a:pt x="92744" y="45116"/>
                        </a:moveTo>
                        <a:cubicBezTo>
                          <a:pt x="92744" y="45116"/>
                          <a:pt x="183993" y="-8986"/>
                          <a:pt x="370588" y="1301"/>
                        </a:cubicBezTo>
                        <a:cubicBezTo>
                          <a:pt x="461647" y="6349"/>
                          <a:pt x="643860" y="48450"/>
                          <a:pt x="671387" y="177894"/>
                        </a:cubicBezTo>
                        <a:cubicBezTo>
                          <a:pt x="705773" y="339915"/>
                          <a:pt x="602522" y="437832"/>
                          <a:pt x="605379" y="492315"/>
                        </a:cubicBezTo>
                        <a:cubicBezTo>
                          <a:pt x="608141" y="546798"/>
                          <a:pt x="595854" y="560990"/>
                          <a:pt x="595854" y="560990"/>
                        </a:cubicBezTo>
                        <a:cubicBezTo>
                          <a:pt x="595854" y="560990"/>
                          <a:pt x="556325" y="553275"/>
                          <a:pt x="534704" y="541083"/>
                        </a:cubicBezTo>
                        <a:cubicBezTo>
                          <a:pt x="506319" y="525081"/>
                          <a:pt x="470315" y="485361"/>
                          <a:pt x="471553" y="434688"/>
                        </a:cubicBezTo>
                        <a:cubicBezTo>
                          <a:pt x="472887" y="384015"/>
                          <a:pt x="359253" y="466692"/>
                          <a:pt x="359253" y="466692"/>
                        </a:cubicBezTo>
                        <a:cubicBezTo>
                          <a:pt x="359253" y="466692"/>
                          <a:pt x="274481" y="456405"/>
                          <a:pt x="324963" y="344106"/>
                        </a:cubicBezTo>
                        <a:cubicBezTo>
                          <a:pt x="353348" y="281050"/>
                          <a:pt x="356110" y="128555"/>
                          <a:pt x="229904" y="185229"/>
                        </a:cubicBezTo>
                        <a:cubicBezTo>
                          <a:pt x="132844" y="228758"/>
                          <a:pt x="86838" y="240950"/>
                          <a:pt x="53310" y="212375"/>
                        </a:cubicBezTo>
                        <a:cubicBezTo>
                          <a:pt x="-33177" y="107219"/>
                          <a:pt x="-10412" y="47021"/>
                          <a:pt x="92553" y="45306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9" name="Freihandform: Form 228">
                    <a:extLst>
                      <a:ext uri="{FF2B5EF4-FFF2-40B4-BE49-F238E27FC236}">
                        <a16:creationId xmlns:a16="http://schemas.microsoft.com/office/drawing/2014/main" id="{A34C1CAA-AE87-9F3B-3AEA-55D337694FDD}"/>
                      </a:ext>
                    </a:extLst>
                  </p:cNvPr>
                  <p:cNvSpPr/>
                  <p:nvPr/>
                </p:nvSpPr>
                <p:spPr>
                  <a:xfrm rot="-4891201">
                    <a:off x="6209424" y="1060687"/>
                    <a:ext cx="197357" cy="131254"/>
                  </a:xfrm>
                  <a:custGeom>
                    <a:avLst/>
                    <a:gdLst>
                      <a:gd name="connsiteX0" fmla="*/ 197358 w 197357"/>
                      <a:gd name="connsiteY0" fmla="*/ 65627 h 131254"/>
                      <a:gd name="connsiteX1" fmla="*/ 98679 w 197357"/>
                      <a:gd name="connsiteY1" fmla="*/ 131254 h 131254"/>
                      <a:gd name="connsiteX2" fmla="*/ 0 w 197357"/>
                      <a:gd name="connsiteY2" fmla="*/ 65627 h 131254"/>
                      <a:gd name="connsiteX3" fmla="*/ 98679 w 197357"/>
                      <a:gd name="connsiteY3" fmla="*/ 0 h 131254"/>
                      <a:gd name="connsiteX4" fmla="*/ 197358 w 197357"/>
                      <a:gd name="connsiteY4" fmla="*/ 65627 h 1312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7357" h="131254">
                        <a:moveTo>
                          <a:pt x="197358" y="65627"/>
                        </a:moveTo>
                        <a:cubicBezTo>
                          <a:pt x="197358" y="101872"/>
                          <a:pt x="153178" y="131254"/>
                          <a:pt x="98679" y="131254"/>
                        </a:cubicBezTo>
                        <a:cubicBezTo>
                          <a:pt x="44180" y="131254"/>
                          <a:pt x="0" y="101872"/>
                          <a:pt x="0" y="65627"/>
                        </a:cubicBezTo>
                        <a:cubicBezTo>
                          <a:pt x="0" y="29382"/>
                          <a:pt x="44180" y="0"/>
                          <a:pt x="98679" y="0"/>
                        </a:cubicBezTo>
                        <a:cubicBezTo>
                          <a:pt x="153178" y="0"/>
                          <a:pt x="197358" y="29382"/>
                          <a:pt x="197358" y="65627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230" name="Grafik 23">
                <a:extLst>
                  <a:ext uri="{FF2B5EF4-FFF2-40B4-BE49-F238E27FC236}">
                    <a16:creationId xmlns:a16="http://schemas.microsoft.com/office/drawing/2014/main" id="{39181F7A-9899-47D3-ECE5-CC45A2A5FA2F}"/>
                  </a:ext>
                </a:extLst>
              </p:cNvPr>
              <p:cNvGrpSpPr/>
              <p:nvPr/>
            </p:nvGrpSpPr>
            <p:grpSpPr>
              <a:xfrm>
                <a:off x="9291637" y="1854304"/>
                <a:ext cx="351095" cy="833562"/>
                <a:chOff x="1874837" y="609818"/>
                <a:chExt cx="2341791" cy="5559828"/>
              </a:xfrm>
            </p:grpSpPr>
            <p:grpSp>
              <p:nvGrpSpPr>
                <p:cNvPr id="231" name="Grafik 23">
                  <a:extLst>
                    <a:ext uri="{FF2B5EF4-FFF2-40B4-BE49-F238E27FC236}">
                      <a16:creationId xmlns:a16="http://schemas.microsoft.com/office/drawing/2014/main" id="{A4C4C557-F9AC-AE78-A0B0-8E297D8FCB8D}"/>
                    </a:ext>
                  </a:extLst>
                </p:cNvPr>
                <p:cNvGrpSpPr/>
                <p:nvPr/>
              </p:nvGrpSpPr>
              <p:grpSpPr>
                <a:xfrm>
                  <a:off x="3461130" y="1931860"/>
                  <a:ext cx="755497" cy="464438"/>
                  <a:chOff x="3461130" y="1931860"/>
                  <a:chExt cx="755497" cy="464438"/>
                </a:xfrm>
              </p:grpSpPr>
              <p:grpSp>
                <p:nvGrpSpPr>
                  <p:cNvPr id="232" name="Grafik 23">
                    <a:extLst>
                      <a:ext uri="{FF2B5EF4-FFF2-40B4-BE49-F238E27FC236}">
                        <a16:creationId xmlns:a16="http://schemas.microsoft.com/office/drawing/2014/main" id="{079BF024-3D9F-C663-2040-0055B72A0406}"/>
                      </a:ext>
                    </a:extLst>
                  </p:cNvPr>
                  <p:cNvGrpSpPr/>
                  <p:nvPr/>
                </p:nvGrpSpPr>
                <p:grpSpPr>
                  <a:xfrm>
                    <a:off x="3600659" y="1931860"/>
                    <a:ext cx="615968" cy="410541"/>
                    <a:chOff x="3600659" y="1931860"/>
                    <a:chExt cx="615968" cy="410541"/>
                  </a:xfrm>
                </p:grpSpPr>
                <p:sp>
                  <p:nvSpPr>
                    <p:cNvPr id="233" name="Freihandform: Form 232">
                      <a:extLst>
                        <a:ext uri="{FF2B5EF4-FFF2-40B4-BE49-F238E27FC236}">
                          <a16:creationId xmlns:a16="http://schemas.microsoft.com/office/drawing/2014/main" id="{10B3F673-A9EE-C754-A9C1-02C7ADF4377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600659" y="1931860"/>
                      <a:ext cx="613044" cy="410541"/>
                    </a:xfrm>
                    <a:custGeom>
                      <a:avLst/>
                      <a:gdLst>
                        <a:gd name="connsiteX0" fmla="*/ 1060 w 613044"/>
                        <a:gd name="connsiteY0" fmla="*/ 243173 h 410541"/>
                        <a:gd name="connsiteX1" fmla="*/ 99453 w 613044"/>
                        <a:gd name="connsiteY1" fmla="*/ 135445 h 410541"/>
                        <a:gd name="connsiteX2" fmla="*/ 267474 w 613044"/>
                        <a:gd name="connsiteY2" fmla="*/ 0 h 410541"/>
                        <a:gd name="connsiteX3" fmla="*/ 284143 w 613044"/>
                        <a:gd name="connsiteY3" fmla="*/ 69342 h 410541"/>
                        <a:gd name="connsiteX4" fmla="*/ 220516 w 613044"/>
                        <a:gd name="connsiteY4" fmla="*/ 151543 h 410541"/>
                        <a:gd name="connsiteX5" fmla="*/ 334244 w 613044"/>
                        <a:gd name="connsiteY5" fmla="*/ 194977 h 410541"/>
                        <a:gd name="connsiteX6" fmla="*/ 585133 w 613044"/>
                        <a:gd name="connsiteY6" fmla="*/ 201454 h 410541"/>
                        <a:gd name="connsiteX7" fmla="*/ 612470 w 613044"/>
                        <a:gd name="connsiteY7" fmla="*/ 240601 h 410541"/>
                        <a:gd name="connsiteX8" fmla="*/ 441877 w 613044"/>
                        <a:gd name="connsiteY8" fmla="*/ 266509 h 410541"/>
                        <a:gd name="connsiteX9" fmla="*/ 220421 w 613044"/>
                        <a:gd name="connsiteY9" fmla="*/ 407289 h 410541"/>
                        <a:gd name="connsiteX10" fmla="*/ 63353 w 613044"/>
                        <a:gd name="connsiteY10" fmla="*/ 406908 h 410541"/>
                        <a:gd name="connsiteX11" fmla="*/ 965 w 613044"/>
                        <a:gd name="connsiteY11" fmla="*/ 243173 h 41054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</a:cxnLst>
                      <a:rect l="l" t="t" r="r" b="b"/>
                      <a:pathLst>
                        <a:path w="613044" h="410541">
                          <a:moveTo>
                            <a:pt x="1060" y="243173"/>
                          </a:moveTo>
                          <a:cubicBezTo>
                            <a:pt x="1060" y="243173"/>
                            <a:pt x="28778" y="169259"/>
                            <a:pt x="99453" y="135445"/>
                          </a:cubicBezTo>
                          <a:cubicBezTo>
                            <a:pt x="138506" y="116776"/>
                            <a:pt x="236613" y="43720"/>
                            <a:pt x="267474" y="0"/>
                          </a:cubicBezTo>
                          <a:cubicBezTo>
                            <a:pt x="267474" y="0"/>
                            <a:pt x="310146" y="30861"/>
                            <a:pt x="284143" y="69342"/>
                          </a:cubicBezTo>
                          <a:cubicBezTo>
                            <a:pt x="256235" y="110490"/>
                            <a:pt x="220897" y="137446"/>
                            <a:pt x="220516" y="151543"/>
                          </a:cubicBezTo>
                          <a:cubicBezTo>
                            <a:pt x="220135" y="165640"/>
                            <a:pt x="261093" y="184309"/>
                            <a:pt x="334244" y="194977"/>
                          </a:cubicBezTo>
                          <a:cubicBezTo>
                            <a:pt x="407397" y="205645"/>
                            <a:pt x="568845" y="201073"/>
                            <a:pt x="585133" y="201454"/>
                          </a:cubicBezTo>
                          <a:cubicBezTo>
                            <a:pt x="611612" y="205168"/>
                            <a:pt x="614661" y="222599"/>
                            <a:pt x="612470" y="240601"/>
                          </a:cubicBezTo>
                          <a:cubicBezTo>
                            <a:pt x="605040" y="242792"/>
                            <a:pt x="500551" y="256032"/>
                            <a:pt x="441877" y="266509"/>
                          </a:cubicBezTo>
                          <a:cubicBezTo>
                            <a:pt x="441877" y="266509"/>
                            <a:pt x="247567" y="407956"/>
                            <a:pt x="220421" y="407289"/>
                          </a:cubicBezTo>
                          <a:cubicBezTo>
                            <a:pt x="193274" y="406622"/>
                            <a:pt x="98501" y="415195"/>
                            <a:pt x="63353" y="406908"/>
                          </a:cubicBezTo>
                          <a:cubicBezTo>
                            <a:pt x="63353" y="406908"/>
                            <a:pt x="-9132" y="354711"/>
                            <a:pt x="965" y="243173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34" name="Freihandform: Form 233">
                      <a:extLst>
                        <a:ext uri="{FF2B5EF4-FFF2-40B4-BE49-F238E27FC236}">
                          <a16:creationId xmlns:a16="http://schemas.microsoft.com/office/drawing/2014/main" id="{722B0245-49BA-C2B5-189B-9E018A58878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46131" y="2104548"/>
                      <a:ext cx="370497" cy="93725"/>
                    </a:xfrm>
                    <a:custGeom>
                      <a:avLst/>
                      <a:gdLst>
                        <a:gd name="connsiteX0" fmla="*/ 0 w 370497"/>
                        <a:gd name="connsiteY0" fmla="*/ 0 h 93725"/>
                        <a:gd name="connsiteX1" fmla="*/ 331946 w 370497"/>
                        <a:gd name="connsiteY1" fmla="*/ 28766 h 93725"/>
                        <a:gd name="connsiteX2" fmla="*/ 369665 w 370497"/>
                        <a:gd name="connsiteY2" fmla="*/ 67246 h 93725"/>
                        <a:gd name="connsiteX3" fmla="*/ 196405 w 370497"/>
                        <a:gd name="connsiteY3" fmla="*/ 93726 h 93725"/>
                        <a:gd name="connsiteX4" fmla="*/ 0 w 370497"/>
                        <a:gd name="connsiteY4" fmla="*/ 0 h 937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70497" h="93725">
                          <a:moveTo>
                            <a:pt x="0" y="0"/>
                          </a:moveTo>
                          <a:cubicBezTo>
                            <a:pt x="99631" y="41815"/>
                            <a:pt x="292798" y="27146"/>
                            <a:pt x="331946" y="28766"/>
                          </a:cubicBezTo>
                          <a:cubicBezTo>
                            <a:pt x="367951" y="27051"/>
                            <a:pt x="372904" y="52102"/>
                            <a:pt x="369665" y="67246"/>
                          </a:cubicBezTo>
                          <a:cubicBezTo>
                            <a:pt x="362236" y="69437"/>
                            <a:pt x="255079" y="83249"/>
                            <a:pt x="196405" y="93726"/>
                          </a:cubicBezTo>
                          <a:cubicBezTo>
                            <a:pt x="113538" y="82677"/>
                            <a:pt x="22669" y="33528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35" name="Freihandform: Form 234">
                      <a:extLst>
                        <a:ext uri="{FF2B5EF4-FFF2-40B4-BE49-F238E27FC236}">
                          <a16:creationId xmlns:a16="http://schemas.microsoft.com/office/drawing/2014/main" id="{FC747B1C-40CA-37A7-359F-333D02CC766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38012" y="2099981"/>
                      <a:ext cx="336064" cy="133901"/>
                    </a:xfrm>
                    <a:custGeom>
                      <a:avLst/>
                      <a:gdLst>
                        <a:gd name="connsiteX0" fmla="*/ 38503 w 336064"/>
                        <a:gd name="connsiteY0" fmla="*/ 53621 h 133901"/>
                        <a:gd name="connsiteX1" fmla="*/ 204143 w 336064"/>
                        <a:gd name="connsiteY1" fmla="*/ 33428 h 133901"/>
                        <a:gd name="connsiteX2" fmla="*/ 266151 w 336064"/>
                        <a:gd name="connsiteY2" fmla="*/ 8663 h 133901"/>
                        <a:gd name="connsiteX3" fmla="*/ 336064 w 336064"/>
                        <a:gd name="connsiteY3" fmla="*/ 25236 h 133901"/>
                        <a:gd name="connsiteX4" fmla="*/ 169186 w 336064"/>
                        <a:gd name="connsiteY4" fmla="*/ 118677 h 133901"/>
                        <a:gd name="connsiteX5" fmla="*/ 38503 w 336064"/>
                        <a:gd name="connsiteY5" fmla="*/ 53621 h 1339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336064" h="133901">
                          <a:moveTo>
                            <a:pt x="38503" y="53621"/>
                          </a:moveTo>
                          <a:cubicBezTo>
                            <a:pt x="130610" y="74195"/>
                            <a:pt x="204143" y="33428"/>
                            <a:pt x="204143" y="33428"/>
                          </a:cubicBezTo>
                          <a:cubicBezTo>
                            <a:pt x="204143" y="33428"/>
                            <a:pt x="251959" y="13140"/>
                            <a:pt x="266151" y="8663"/>
                          </a:cubicBezTo>
                          <a:cubicBezTo>
                            <a:pt x="280343" y="4186"/>
                            <a:pt x="318443" y="-15435"/>
                            <a:pt x="336064" y="25236"/>
                          </a:cubicBezTo>
                          <a:cubicBezTo>
                            <a:pt x="320539" y="35523"/>
                            <a:pt x="169186" y="118677"/>
                            <a:pt x="169186" y="118677"/>
                          </a:cubicBezTo>
                          <a:cubicBezTo>
                            <a:pt x="44790" y="180303"/>
                            <a:pt x="-58937" y="33618"/>
                            <a:pt x="38503" y="53621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236" name="Freihandform: Form 235">
                    <a:extLst>
                      <a:ext uri="{FF2B5EF4-FFF2-40B4-BE49-F238E27FC236}">
                        <a16:creationId xmlns:a16="http://schemas.microsoft.com/office/drawing/2014/main" id="{53204479-6EB8-56C5-CA8C-5BD38B49612D}"/>
                      </a:ext>
                    </a:extLst>
                  </p:cNvPr>
                  <p:cNvSpPr/>
                  <p:nvPr/>
                </p:nvSpPr>
                <p:spPr>
                  <a:xfrm rot="-4549200">
                    <a:off x="3542217" y="2170610"/>
                    <a:ext cx="175069" cy="175069"/>
                  </a:xfrm>
                  <a:custGeom>
                    <a:avLst/>
                    <a:gdLst>
                      <a:gd name="connsiteX0" fmla="*/ 175069 w 175069"/>
                      <a:gd name="connsiteY0" fmla="*/ 87535 h 175069"/>
                      <a:gd name="connsiteX1" fmla="*/ 87535 w 175069"/>
                      <a:gd name="connsiteY1" fmla="*/ 175070 h 175069"/>
                      <a:gd name="connsiteX2" fmla="*/ 0 w 175069"/>
                      <a:gd name="connsiteY2" fmla="*/ 87535 h 175069"/>
                      <a:gd name="connsiteX3" fmla="*/ 87535 w 175069"/>
                      <a:gd name="connsiteY3" fmla="*/ 0 h 175069"/>
                      <a:gd name="connsiteX4" fmla="*/ 175069 w 175069"/>
                      <a:gd name="connsiteY4" fmla="*/ 87535 h 1750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75069" h="175069">
                        <a:moveTo>
                          <a:pt x="175069" y="87535"/>
                        </a:moveTo>
                        <a:cubicBezTo>
                          <a:pt x="175069" y="135879"/>
                          <a:pt x="135879" y="175070"/>
                          <a:pt x="87535" y="175070"/>
                        </a:cubicBezTo>
                        <a:cubicBezTo>
                          <a:pt x="39191" y="175070"/>
                          <a:pt x="0" y="135879"/>
                          <a:pt x="0" y="87535"/>
                        </a:cubicBezTo>
                        <a:cubicBezTo>
                          <a:pt x="0" y="39191"/>
                          <a:pt x="39191" y="0"/>
                          <a:pt x="87535" y="0"/>
                        </a:cubicBezTo>
                        <a:cubicBezTo>
                          <a:pt x="135879" y="0"/>
                          <a:pt x="175069" y="39191"/>
                          <a:pt x="175069" y="87535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7" name="Freihandform: Form 236">
                    <a:extLst>
                      <a:ext uri="{FF2B5EF4-FFF2-40B4-BE49-F238E27FC236}">
                        <a16:creationId xmlns:a16="http://schemas.microsoft.com/office/drawing/2014/main" id="{14CB6F4B-EF55-2BF6-0D2F-DB246712A8B9}"/>
                      </a:ext>
                    </a:extLst>
                  </p:cNvPr>
                  <p:cNvSpPr/>
                  <p:nvPr/>
                </p:nvSpPr>
                <p:spPr>
                  <a:xfrm>
                    <a:off x="3461130" y="2175033"/>
                    <a:ext cx="202977" cy="221265"/>
                  </a:xfrm>
                  <a:custGeom>
                    <a:avLst/>
                    <a:gdLst>
                      <a:gd name="connsiteX0" fmla="*/ 202978 w 202977"/>
                      <a:gd name="connsiteY0" fmla="*/ 163735 h 221265"/>
                      <a:gd name="connsiteX1" fmla="*/ 140589 w 202977"/>
                      <a:gd name="connsiteY1" fmla="*/ 0 h 221265"/>
                      <a:gd name="connsiteX2" fmla="*/ 0 w 202977"/>
                      <a:gd name="connsiteY2" fmla="*/ 51435 h 221265"/>
                      <a:gd name="connsiteX3" fmla="*/ 60770 w 202977"/>
                      <a:gd name="connsiteY3" fmla="*/ 221266 h 221265"/>
                      <a:gd name="connsiteX4" fmla="*/ 202978 w 202977"/>
                      <a:gd name="connsiteY4" fmla="*/ 163735 h 2212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02977" h="221265">
                        <a:moveTo>
                          <a:pt x="202978" y="163735"/>
                        </a:moveTo>
                        <a:lnTo>
                          <a:pt x="140589" y="0"/>
                        </a:lnTo>
                        <a:lnTo>
                          <a:pt x="0" y="51435"/>
                        </a:lnTo>
                        <a:lnTo>
                          <a:pt x="60770" y="221266"/>
                        </a:lnTo>
                        <a:lnTo>
                          <a:pt x="202978" y="163735"/>
                        </a:ln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38" name="Grafik 23">
                  <a:extLst>
                    <a:ext uri="{FF2B5EF4-FFF2-40B4-BE49-F238E27FC236}">
                      <a16:creationId xmlns:a16="http://schemas.microsoft.com/office/drawing/2014/main" id="{A46D5C13-9B81-72B8-57F4-9CFBDA131D4E}"/>
                    </a:ext>
                  </a:extLst>
                </p:cNvPr>
                <p:cNvGrpSpPr/>
                <p:nvPr/>
              </p:nvGrpSpPr>
              <p:grpSpPr>
                <a:xfrm>
                  <a:off x="2901155" y="2174271"/>
                  <a:ext cx="790003" cy="520064"/>
                  <a:chOff x="2901155" y="2174271"/>
                  <a:chExt cx="790003" cy="520064"/>
                </a:xfrm>
                <a:solidFill>
                  <a:srgbClr val="FFFFFF"/>
                </a:solidFill>
              </p:grpSpPr>
              <p:sp>
                <p:nvSpPr>
                  <p:cNvPr id="239" name="Freihandform: Form 238">
                    <a:extLst>
                      <a:ext uri="{FF2B5EF4-FFF2-40B4-BE49-F238E27FC236}">
                        <a16:creationId xmlns:a16="http://schemas.microsoft.com/office/drawing/2014/main" id="{DFE1D280-C0F4-5030-B63F-067B3808495D}"/>
                      </a:ext>
                    </a:extLst>
                  </p:cNvPr>
                  <p:cNvSpPr/>
                  <p:nvPr/>
                </p:nvSpPr>
                <p:spPr>
                  <a:xfrm>
                    <a:off x="3013169" y="2174271"/>
                    <a:ext cx="677989" cy="511587"/>
                  </a:xfrm>
                  <a:custGeom>
                    <a:avLst/>
                    <a:gdLst>
                      <a:gd name="connsiteX0" fmla="*/ 677990 w 677989"/>
                      <a:gd name="connsiteY0" fmla="*/ 313277 h 511587"/>
                      <a:gd name="connsiteX1" fmla="*/ 561975 w 677989"/>
                      <a:gd name="connsiteY1" fmla="*/ 0 h 511587"/>
                      <a:gd name="connsiteX2" fmla="*/ 0 w 677989"/>
                      <a:gd name="connsiteY2" fmla="*/ 185547 h 511587"/>
                      <a:gd name="connsiteX3" fmla="*/ 114490 w 677989"/>
                      <a:gd name="connsiteY3" fmla="*/ 511588 h 511587"/>
                      <a:gd name="connsiteX4" fmla="*/ 677990 w 677989"/>
                      <a:gd name="connsiteY4" fmla="*/ 313277 h 5115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77989" h="511587">
                        <a:moveTo>
                          <a:pt x="677990" y="313277"/>
                        </a:moveTo>
                        <a:lnTo>
                          <a:pt x="561975" y="0"/>
                        </a:lnTo>
                        <a:lnTo>
                          <a:pt x="0" y="185547"/>
                        </a:lnTo>
                        <a:lnTo>
                          <a:pt x="114490" y="511588"/>
                        </a:lnTo>
                        <a:lnTo>
                          <a:pt x="677990" y="31327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0" name="Freihandform: Form 239">
                    <a:extLst>
                      <a:ext uri="{FF2B5EF4-FFF2-40B4-BE49-F238E27FC236}">
                        <a16:creationId xmlns:a16="http://schemas.microsoft.com/office/drawing/2014/main" id="{68C44A23-5165-881F-2192-6B3EB5EA1F0E}"/>
                      </a:ext>
                    </a:extLst>
                  </p:cNvPr>
                  <p:cNvSpPr/>
                  <p:nvPr/>
                </p:nvSpPr>
                <p:spPr>
                  <a:xfrm>
                    <a:off x="2901155" y="2348769"/>
                    <a:ext cx="345567" cy="345567"/>
                  </a:xfrm>
                  <a:custGeom>
                    <a:avLst/>
                    <a:gdLst>
                      <a:gd name="connsiteX0" fmla="*/ 345567 w 345567"/>
                      <a:gd name="connsiteY0" fmla="*/ 172783 h 345567"/>
                      <a:gd name="connsiteX1" fmla="*/ 172784 w 345567"/>
                      <a:gd name="connsiteY1" fmla="*/ 345567 h 345567"/>
                      <a:gd name="connsiteX2" fmla="*/ 0 w 345567"/>
                      <a:gd name="connsiteY2" fmla="*/ 172783 h 345567"/>
                      <a:gd name="connsiteX3" fmla="*/ 172784 w 345567"/>
                      <a:gd name="connsiteY3" fmla="*/ 0 h 345567"/>
                      <a:gd name="connsiteX4" fmla="*/ 345567 w 345567"/>
                      <a:gd name="connsiteY4" fmla="*/ 172783 h 3455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45567" h="345567">
                        <a:moveTo>
                          <a:pt x="345567" y="172783"/>
                        </a:moveTo>
                        <a:cubicBezTo>
                          <a:pt x="345567" y="268209"/>
                          <a:pt x="268209" y="345567"/>
                          <a:pt x="172784" y="345567"/>
                        </a:cubicBezTo>
                        <a:cubicBezTo>
                          <a:pt x="77358" y="345567"/>
                          <a:pt x="0" y="268209"/>
                          <a:pt x="0" y="172783"/>
                        </a:cubicBezTo>
                        <a:cubicBezTo>
                          <a:pt x="0" y="77358"/>
                          <a:pt x="77358" y="0"/>
                          <a:pt x="172784" y="0"/>
                        </a:cubicBezTo>
                        <a:cubicBezTo>
                          <a:pt x="268209" y="0"/>
                          <a:pt x="345567" y="77358"/>
                          <a:pt x="345567" y="17278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41" name="Grafik 23">
                  <a:extLst>
                    <a:ext uri="{FF2B5EF4-FFF2-40B4-BE49-F238E27FC236}">
                      <a16:creationId xmlns:a16="http://schemas.microsoft.com/office/drawing/2014/main" id="{B0747197-364A-2118-3A16-3E0DD8A8471B}"/>
                    </a:ext>
                  </a:extLst>
                </p:cNvPr>
                <p:cNvGrpSpPr/>
                <p:nvPr/>
              </p:nvGrpSpPr>
              <p:grpSpPr>
                <a:xfrm>
                  <a:off x="2358897" y="1530286"/>
                  <a:ext cx="861536" cy="1080516"/>
                  <a:chOff x="2358897" y="1530286"/>
                  <a:chExt cx="861536" cy="1080516"/>
                </a:xfrm>
                <a:solidFill>
                  <a:srgbClr val="FFFFFF"/>
                </a:solidFill>
              </p:grpSpPr>
              <p:sp>
                <p:nvSpPr>
                  <p:cNvPr id="242" name="Freihandform: Form 241">
                    <a:extLst>
                      <a:ext uri="{FF2B5EF4-FFF2-40B4-BE49-F238E27FC236}">
                        <a16:creationId xmlns:a16="http://schemas.microsoft.com/office/drawing/2014/main" id="{B6C3A6DC-A001-61CC-03BB-62B9141B3FC0}"/>
                      </a:ext>
                    </a:extLst>
                  </p:cNvPr>
                  <p:cNvSpPr/>
                  <p:nvPr/>
                </p:nvSpPr>
                <p:spPr>
                  <a:xfrm>
                    <a:off x="2358897" y="1530286"/>
                    <a:ext cx="396621" cy="396621"/>
                  </a:xfrm>
                  <a:custGeom>
                    <a:avLst/>
                    <a:gdLst>
                      <a:gd name="connsiteX0" fmla="*/ 396621 w 396621"/>
                      <a:gd name="connsiteY0" fmla="*/ 198311 h 396621"/>
                      <a:gd name="connsiteX1" fmla="*/ 198311 w 396621"/>
                      <a:gd name="connsiteY1" fmla="*/ 396621 h 396621"/>
                      <a:gd name="connsiteX2" fmla="*/ 0 w 396621"/>
                      <a:gd name="connsiteY2" fmla="*/ 198311 h 396621"/>
                      <a:gd name="connsiteX3" fmla="*/ 198311 w 396621"/>
                      <a:gd name="connsiteY3" fmla="*/ 0 h 396621"/>
                      <a:gd name="connsiteX4" fmla="*/ 396621 w 396621"/>
                      <a:gd name="connsiteY4" fmla="*/ 198311 h 3966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6621" h="396621">
                        <a:moveTo>
                          <a:pt x="396621" y="198311"/>
                        </a:moveTo>
                        <a:cubicBezTo>
                          <a:pt x="396621" y="307834"/>
                          <a:pt x="307834" y="396621"/>
                          <a:pt x="198311" y="396621"/>
                        </a:cubicBezTo>
                        <a:cubicBezTo>
                          <a:pt x="88787" y="396621"/>
                          <a:pt x="0" y="307834"/>
                          <a:pt x="0" y="198311"/>
                        </a:cubicBezTo>
                        <a:cubicBezTo>
                          <a:pt x="0" y="88787"/>
                          <a:pt x="88787" y="0"/>
                          <a:pt x="198311" y="0"/>
                        </a:cubicBezTo>
                        <a:cubicBezTo>
                          <a:pt x="307834" y="0"/>
                          <a:pt x="396621" y="88787"/>
                          <a:pt x="396621" y="19831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3" name="Freihandform: Form 242">
                    <a:extLst>
                      <a:ext uri="{FF2B5EF4-FFF2-40B4-BE49-F238E27FC236}">
                        <a16:creationId xmlns:a16="http://schemas.microsoft.com/office/drawing/2014/main" id="{AF79A5D9-1ED5-7465-86BF-B3C64C549031}"/>
                      </a:ext>
                    </a:extLst>
                  </p:cNvPr>
                  <p:cNvSpPr/>
                  <p:nvPr/>
                </p:nvSpPr>
                <p:spPr>
                  <a:xfrm>
                    <a:off x="2388139" y="1624869"/>
                    <a:ext cx="832294" cy="985932"/>
                  </a:xfrm>
                  <a:custGeom>
                    <a:avLst/>
                    <a:gdLst>
                      <a:gd name="connsiteX0" fmla="*/ 537591 w 832294"/>
                      <a:gd name="connsiteY0" fmla="*/ 985933 h 985932"/>
                      <a:gd name="connsiteX1" fmla="*/ 832295 w 832294"/>
                      <a:gd name="connsiteY1" fmla="*/ 805053 h 985932"/>
                      <a:gd name="connsiteX2" fmla="*/ 512064 w 832294"/>
                      <a:gd name="connsiteY2" fmla="*/ 283464 h 985932"/>
                      <a:gd name="connsiteX3" fmla="*/ 338042 w 832294"/>
                      <a:gd name="connsiteY3" fmla="*/ 0 h 985932"/>
                      <a:gd name="connsiteX4" fmla="*/ 0 w 832294"/>
                      <a:gd name="connsiteY4" fmla="*/ 207455 h 985932"/>
                      <a:gd name="connsiteX5" fmla="*/ 199835 w 832294"/>
                      <a:gd name="connsiteY5" fmla="*/ 496824 h 985932"/>
                      <a:gd name="connsiteX6" fmla="*/ 537591 w 832294"/>
                      <a:gd name="connsiteY6" fmla="*/ 985933 h 9859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32294" h="985932">
                        <a:moveTo>
                          <a:pt x="537591" y="985933"/>
                        </a:moveTo>
                        <a:lnTo>
                          <a:pt x="832295" y="805053"/>
                        </a:lnTo>
                        <a:lnTo>
                          <a:pt x="512064" y="283464"/>
                        </a:lnTo>
                        <a:lnTo>
                          <a:pt x="338042" y="0"/>
                        </a:lnTo>
                        <a:lnTo>
                          <a:pt x="0" y="207455"/>
                        </a:lnTo>
                        <a:lnTo>
                          <a:pt x="199835" y="496824"/>
                        </a:lnTo>
                        <a:lnTo>
                          <a:pt x="537591" y="98593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44" name="Grafik 23">
                  <a:extLst>
                    <a:ext uri="{FF2B5EF4-FFF2-40B4-BE49-F238E27FC236}">
                      <a16:creationId xmlns:a16="http://schemas.microsoft.com/office/drawing/2014/main" id="{94B37510-EED9-D111-9641-A71DBF118FB1}"/>
                    </a:ext>
                  </a:extLst>
                </p:cNvPr>
                <p:cNvGrpSpPr/>
                <p:nvPr/>
              </p:nvGrpSpPr>
              <p:grpSpPr>
                <a:xfrm>
                  <a:off x="2248407" y="995518"/>
                  <a:ext cx="483174" cy="622983"/>
                  <a:chOff x="2248407" y="995518"/>
                  <a:chExt cx="483174" cy="622983"/>
                </a:xfrm>
              </p:grpSpPr>
              <p:sp>
                <p:nvSpPr>
                  <p:cNvPr id="245" name="Freihandform: Form 244">
                    <a:extLst>
                      <a:ext uri="{FF2B5EF4-FFF2-40B4-BE49-F238E27FC236}">
                        <a16:creationId xmlns:a16="http://schemas.microsoft.com/office/drawing/2014/main" id="{72BD1A5C-082B-9034-16F4-9DB16CD2CCC3}"/>
                      </a:ext>
                    </a:extLst>
                  </p:cNvPr>
                  <p:cNvSpPr/>
                  <p:nvPr/>
                </p:nvSpPr>
                <p:spPr>
                  <a:xfrm>
                    <a:off x="2248407" y="995518"/>
                    <a:ext cx="483174" cy="622432"/>
                  </a:xfrm>
                  <a:custGeom>
                    <a:avLst/>
                    <a:gdLst>
                      <a:gd name="connsiteX0" fmla="*/ 0 w 483174"/>
                      <a:gd name="connsiteY0" fmla="*/ 470760 h 622432"/>
                      <a:gd name="connsiteX1" fmla="*/ 342995 w 483174"/>
                      <a:gd name="connsiteY1" fmla="*/ 593061 h 622432"/>
                      <a:gd name="connsiteX2" fmla="*/ 472535 w 483174"/>
                      <a:gd name="connsiteY2" fmla="*/ 229873 h 622432"/>
                      <a:gd name="connsiteX3" fmla="*/ 129540 w 483174"/>
                      <a:gd name="connsiteY3" fmla="*/ 107572 h 622432"/>
                      <a:gd name="connsiteX4" fmla="*/ 0 w 483174"/>
                      <a:gd name="connsiteY4" fmla="*/ 470760 h 6224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83174" h="622432">
                        <a:moveTo>
                          <a:pt x="0" y="470760"/>
                        </a:moveTo>
                        <a:cubicBezTo>
                          <a:pt x="24574" y="590203"/>
                          <a:pt x="237268" y="667737"/>
                          <a:pt x="342995" y="593061"/>
                        </a:cubicBezTo>
                        <a:lnTo>
                          <a:pt x="472535" y="229873"/>
                        </a:lnTo>
                        <a:cubicBezTo>
                          <a:pt x="547021" y="7083"/>
                          <a:pt x="208788" y="-91596"/>
                          <a:pt x="129540" y="107572"/>
                        </a:cubicBezTo>
                        <a:lnTo>
                          <a:pt x="0" y="470760"/>
                        </a:ln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6" name="Freihandform: Form 245">
                    <a:extLst>
                      <a:ext uri="{FF2B5EF4-FFF2-40B4-BE49-F238E27FC236}">
                        <a16:creationId xmlns:a16="http://schemas.microsoft.com/office/drawing/2014/main" id="{81C7F2C6-AC76-4F9E-B40C-6C45D7A352F2}"/>
                      </a:ext>
                    </a:extLst>
                  </p:cNvPr>
                  <p:cNvSpPr/>
                  <p:nvPr/>
                </p:nvSpPr>
                <p:spPr>
                  <a:xfrm>
                    <a:off x="2248407" y="1181100"/>
                    <a:ext cx="351219" cy="437402"/>
                  </a:xfrm>
                  <a:custGeom>
                    <a:avLst/>
                    <a:gdLst>
                      <a:gd name="connsiteX0" fmla="*/ 101727 w 351219"/>
                      <a:gd name="connsiteY0" fmla="*/ 0 h 437402"/>
                      <a:gd name="connsiteX1" fmla="*/ 0 w 351219"/>
                      <a:gd name="connsiteY1" fmla="*/ 285274 h 437402"/>
                      <a:gd name="connsiteX2" fmla="*/ 342995 w 351219"/>
                      <a:gd name="connsiteY2" fmla="*/ 407575 h 437402"/>
                      <a:gd name="connsiteX3" fmla="*/ 293942 w 351219"/>
                      <a:gd name="connsiteY3" fmla="*/ 224409 h 437402"/>
                      <a:gd name="connsiteX4" fmla="*/ 101822 w 351219"/>
                      <a:gd name="connsiteY4" fmla="*/ 95 h 4374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1219" h="437402">
                        <a:moveTo>
                          <a:pt x="101727" y="0"/>
                        </a:moveTo>
                        <a:lnTo>
                          <a:pt x="0" y="285274"/>
                        </a:lnTo>
                        <a:cubicBezTo>
                          <a:pt x="27432" y="400621"/>
                          <a:pt x="236220" y="484823"/>
                          <a:pt x="342995" y="407575"/>
                        </a:cubicBezTo>
                        <a:cubicBezTo>
                          <a:pt x="342995" y="407575"/>
                          <a:pt x="380905" y="277368"/>
                          <a:pt x="293942" y="224409"/>
                        </a:cubicBezTo>
                        <a:cubicBezTo>
                          <a:pt x="101346" y="107156"/>
                          <a:pt x="101822" y="95"/>
                          <a:pt x="101822" y="95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47" name="Grafik 23">
                  <a:extLst>
                    <a:ext uri="{FF2B5EF4-FFF2-40B4-BE49-F238E27FC236}">
                      <a16:creationId xmlns:a16="http://schemas.microsoft.com/office/drawing/2014/main" id="{3969AFC6-BE9A-C05A-B0A6-87AD09491FDC}"/>
                    </a:ext>
                  </a:extLst>
                </p:cNvPr>
                <p:cNvGrpSpPr/>
                <p:nvPr/>
              </p:nvGrpSpPr>
              <p:grpSpPr>
                <a:xfrm>
                  <a:off x="2228899" y="609818"/>
                  <a:ext cx="706899" cy="824398"/>
                  <a:chOff x="2228899" y="609818"/>
                  <a:chExt cx="706899" cy="824398"/>
                </a:xfrm>
              </p:grpSpPr>
              <p:sp>
                <p:nvSpPr>
                  <p:cNvPr id="248" name="Freihandform: Form 247">
                    <a:extLst>
                      <a:ext uri="{FF2B5EF4-FFF2-40B4-BE49-F238E27FC236}">
                        <a16:creationId xmlns:a16="http://schemas.microsoft.com/office/drawing/2014/main" id="{8C9B17FD-E1D9-901D-2CE7-462218C7D69F}"/>
                      </a:ext>
                    </a:extLst>
                  </p:cNvPr>
                  <p:cNvSpPr/>
                  <p:nvPr/>
                </p:nvSpPr>
                <p:spPr>
                  <a:xfrm rot="-4474199">
                    <a:off x="2319554" y="647266"/>
                    <a:ext cx="525589" cy="588263"/>
                  </a:xfrm>
                  <a:custGeom>
                    <a:avLst/>
                    <a:gdLst>
                      <a:gd name="connsiteX0" fmla="*/ 525589 w 525589"/>
                      <a:gd name="connsiteY0" fmla="*/ 294132 h 588263"/>
                      <a:gd name="connsiteX1" fmla="*/ 262795 w 525589"/>
                      <a:gd name="connsiteY1" fmla="*/ 588264 h 588263"/>
                      <a:gd name="connsiteX2" fmla="*/ 0 w 525589"/>
                      <a:gd name="connsiteY2" fmla="*/ 294132 h 588263"/>
                      <a:gd name="connsiteX3" fmla="*/ 262795 w 525589"/>
                      <a:gd name="connsiteY3" fmla="*/ 0 h 588263"/>
                      <a:gd name="connsiteX4" fmla="*/ 525589 w 525589"/>
                      <a:gd name="connsiteY4" fmla="*/ 294132 h 5882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25589" h="588263">
                        <a:moveTo>
                          <a:pt x="525589" y="294132"/>
                        </a:moveTo>
                        <a:cubicBezTo>
                          <a:pt x="525589" y="456577"/>
                          <a:pt x="407932" y="588264"/>
                          <a:pt x="262795" y="588264"/>
                        </a:cubicBezTo>
                        <a:cubicBezTo>
                          <a:pt x="117657" y="588264"/>
                          <a:pt x="0" y="456577"/>
                          <a:pt x="0" y="294132"/>
                        </a:cubicBezTo>
                        <a:cubicBezTo>
                          <a:pt x="0" y="131687"/>
                          <a:pt x="117657" y="0"/>
                          <a:pt x="262795" y="0"/>
                        </a:cubicBezTo>
                        <a:cubicBezTo>
                          <a:pt x="407932" y="0"/>
                          <a:pt x="525589" y="131687"/>
                          <a:pt x="525589" y="294132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9" name="Freihandform: Form 248">
                    <a:extLst>
                      <a:ext uri="{FF2B5EF4-FFF2-40B4-BE49-F238E27FC236}">
                        <a16:creationId xmlns:a16="http://schemas.microsoft.com/office/drawing/2014/main" id="{F45F46B3-9C1D-66EC-3480-E98E3ED6B93E}"/>
                      </a:ext>
                    </a:extLst>
                  </p:cNvPr>
                  <p:cNvSpPr/>
                  <p:nvPr/>
                </p:nvSpPr>
                <p:spPr>
                  <a:xfrm>
                    <a:off x="2498816" y="902159"/>
                    <a:ext cx="410138" cy="507459"/>
                  </a:xfrm>
                  <a:custGeom>
                    <a:avLst/>
                    <a:gdLst>
                      <a:gd name="connsiteX0" fmla="*/ 393672 w 410138"/>
                      <a:gd name="connsiteY0" fmla="*/ 224553 h 507459"/>
                      <a:gd name="connsiteX1" fmla="*/ 365573 w 410138"/>
                      <a:gd name="connsiteY1" fmla="*/ 125684 h 507459"/>
                      <a:gd name="connsiteX2" fmla="*/ 31722 w 410138"/>
                      <a:gd name="connsiteY2" fmla="*/ 119778 h 507459"/>
                      <a:gd name="connsiteX3" fmla="*/ 4 w 410138"/>
                      <a:gd name="connsiteY3" fmla="*/ 312755 h 507459"/>
                      <a:gd name="connsiteX4" fmla="*/ 87538 w 410138"/>
                      <a:gd name="connsiteY4" fmla="*/ 470489 h 507459"/>
                      <a:gd name="connsiteX5" fmla="*/ 218317 w 410138"/>
                      <a:gd name="connsiteY5" fmla="*/ 507350 h 507459"/>
                      <a:gd name="connsiteX6" fmla="*/ 280039 w 410138"/>
                      <a:gd name="connsiteY6" fmla="*/ 460297 h 507459"/>
                      <a:gd name="connsiteX7" fmla="*/ 288516 w 410138"/>
                      <a:gd name="connsiteY7" fmla="*/ 430579 h 507459"/>
                      <a:gd name="connsiteX8" fmla="*/ 288516 w 410138"/>
                      <a:gd name="connsiteY8" fmla="*/ 430865 h 507459"/>
                      <a:gd name="connsiteX9" fmla="*/ 300994 w 410138"/>
                      <a:gd name="connsiteY9" fmla="*/ 411243 h 507459"/>
                      <a:gd name="connsiteX10" fmla="*/ 302041 w 410138"/>
                      <a:gd name="connsiteY10" fmla="*/ 378953 h 507459"/>
                      <a:gd name="connsiteX11" fmla="*/ 302041 w 410138"/>
                      <a:gd name="connsiteY11" fmla="*/ 378953 h 507459"/>
                      <a:gd name="connsiteX12" fmla="*/ 321091 w 410138"/>
                      <a:gd name="connsiteY12" fmla="*/ 359427 h 507459"/>
                      <a:gd name="connsiteX13" fmla="*/ 332807 w 410138"/>
                      <a:gd name="connsiteY13" fmla="*/ 315326 h 507459"/>
                      <a:gd name="connsiteX14" fmla="*/ 409579 w 410138"/>
                      <a:gd name="connsiteY14" fmla="*/ 285894 h 507459"/>
                      <a:gd name="connsiteX15" fmla="*/ 393672 w 410138"/>
                      <a:gd name="connsiteY15" fmla="*/ 224648 h 5074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410138" h="507459">
                        <a:moveTo>
                          <a:pt x="393672" y="224553"/>
                        </a:moveTo>
                        <a:cubicBezTo>
                          <a:pt x="383956" y="191787"/>
                          <a:pt x="364144" y="163593"/>
                          <a:pt x="365573" y="125684"/>
                        </a:cubicBezTo>
                        <a:cubicBezTo>
                          <a:pt x="390624" y="-427"/>
                          <a:pt x="83538" y="-76342"/>
                          <a:pt x="31722" y="119778"/>
                        </a:cubicBezTo>
                        <a:cubicBezTo>
                          <a:pt x="31722" y="119778"/>
                          <a:pt x="861" y="258843"/>
                          <a:pt x="4" y="312755"/>
                        </a:cubicBezTo>
                        <a:cubicBezTo>
                          <a:pt x="-377" y="337139"/>
                          <a:pt x="29531" y="447343"/>
                          <a:pt x="87538" y="470489"/>
                        </a:cubicBezTo>
                        <a:cubicBezTo>
                          <a:pt x="137068" y="490205"/>
                          <a:pt x="218317" y="507350"/>
                          <a:pt x="218317" y="507350"/>
                        </a:cubicBezTo>
                        <a:cubicBezTo>
                          <a:pt x="218317" y="507350"/>
                          <a:pt x="261560" y="512018"/>
                          <a:pt x="280039" y="460297"/>
                        </a:cubicBezTo>
                        <a:cubicBezTo>
                          <a:pt x="281467" y="456296"/>
                          <a:pt x="284515" y="445628"/>
                          <a:pt x="288516" y="430579"/>
                        </a:cubicBezTo>
                        <a:lnTo>
                          <a:pt x="288516" y="430865"/>
                        </a:lnTo>
                        <a:cubicBezTo>
                          <a:pt x="288516" y="430865"/>
                          <a:pt x="291469" y="422292"/>
                          <a:pt x="300994" y="411243"/>
                        </a:cubicBezTo>
                        <a:cubicBezTo>
                          <a:pt x="312519" y="397718"/>
                          <a:pt x="318901" y="384287"/>
                          <a:pt x="302041" y="378953"/>
                        </a:cubicBezTo>
                        <a:lnTo>
                          <a:pt x="302041" y="378953"/>
                        </a:lnTo>
                        <a:cubicBezTo>
                          <a:pt x="314805" y="378287"/>
                          <a:pt x="321663" y="365523"/>
                          <a:pt x="321091" y="359427"/>
                        </a:cubicBezTo>
                        <a:cubicBezTo>
                          <a:pt x="319663" y="341806"/>
                          <a:pt x="327949" y="315041"/>
                          <a:pt x="332807" y="315326"/>
                        </a:cubicBezTo>
                        <a:cubicBezTo>
                          <a:pt x="351762" y="316565"/>
                          <a:pt x="416818" y="324185"/>
                          <a:pt x="409579" y="285894"/>
                        </a:cubicBezTo>
                        <a:cubicBezTo>
                          <a:pt x="403864" y="255224"/>
                          <a:pt x="402244" y="253509"/>
                          <a:pt x="393672" y="224648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0" name="Freihandform: Form 249">
                    <a:extLst>
                      <a:ext uri="{FF2B5EF4-FFF2-40B4-BE49-F238E27FC236}">
                        <a16:creationId xmlns:a16="http://schemas.microsoft.com/office/drawing/2014/main" id="{D43B8204-91BE-A0A2-E8B8-1F56D9100B24}"/>
                      </a:ext>
                    </a:extLst>
                  </p:cNvPr>
                  <p:cNvSpPr/>
                  <p:nvPr/>
                </p:nvSpPr>
                <p:spPr>
                  <a:xfrm>
                    <a:off x="2692166" y="978624"/>
                    <a:ext cx="158167" cy="48133"/>
                  </a:xfrm>
                  <a:custGeom>
                    <a:avLst/>
                    <a:gdLst>
                      <a:gd name="connsiteX0" fmla="*/ 140218 w 158167"/>
                      <a:gd name="connsiteY0" fmla="*/ 48075 h 48133"/>
                      <a:gd name="connsiteX1" fmla="*/ 79639 w 158167"/>
                      <a:gd name="connsiteY1" fmla="*/ 28549 h 48133"/>
                      <a:gd name="connsiteX2" fmla="*/ 4963 w 158167"/>
                      <a:gd name="connsiteY2" fmla="*/ 25501 h 48133"/>
                      <a:gd name="connsiteX3" fmla="*/ 1439 w 158167"/>
                      <a:gd name="connsiteY3" fmla="*/ 17405 h 48133"/>
                      <a:gd name="connsiteX4" fmla="*/ 71353 w 158167"/>
                      <a:gd name="connsiteY4" fmla="*/ 260 h 48133"/>
                      <a:gd name="connsiteX5" fmla="*/ 154792 w 158167"/>
                      <a:gd name="connsiteY5" fmla="*/ 19691 h 48133"/>
                      <a:gd name="connsiteX6" fmla="*/ 140218 w 158167"/>
                      <a:gd name="connsiteY6" fmla="*/ 48075 h 481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58167" h="48133">
                        <a:moveTo>
                          <a:pt x="140218" y="48075"/>
                        </a:moveTo>
                        <a:cubicBezTo>
                          <a:pt x="130693" y="46647"/>
                          <a:pt x="91831" y="30359"/>
                          <a:pt x="79639" y="28549"/>
                        </a:cubicBezTo>
                        <a:cubicBezTo>
                          <a:pt x="48207" y="23882"/>
                          <a:pt x="20013" y="25215"/>
                          <a:pt x="4963" y="25501"/>
                        </a:cubicBezTo>
                        <a:cubicBezTo>
                          <a:pt x="677" y="25501"/>
                          <a:pt x="-1704" y="20262"/>
                          <a:pt x="1439" y="17405"/>
                        </a:cubicBezTo>
                        <a:cubicBezTo>
                          <a:pt x="19251" y="1212"/>
                          <a:pt x="50398" y="-883"/>
                          <a:pt x="71353" y="260"/>
                        </a:cubicBezTo>
                        <a:cubicBezTo>
                          <a:pt x="104023" y="2070"/>
                          <a:pt x="144600" y="15309"/>
                          <a:pt x="154792" y="19691"/>
                        </a:cubicBezTo>
                        <a:cubicBezTo>
                          <a:pt x="164983" y="24072"/>
                          <a:pt x="149743" y="49504"/>
                          <a:pt x="140218" y="48075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1" name="Freihandform: Form 250">
                    <a:extLst>
                      <a:ext uri="{FF2B5EF4-FFF2-40B4-BE49-F238E27FC236}">
                        <a16:creationId xmlns:a16="http://schemas.microsoft.com/office/drawing/2014/main" id="{11D061AD-AB2B-BDE0-BE9C-2FD3C6694251}"/>
                      </a:ext>
                    </a:extLst>
                  </p:cNvPr>
                  <p:cNvSpPr/>
                  <p:nvPr/>
                </p:nvSpPr>
                <p:spPr>
                  <a:xfrm rot="-4837802">
                    <a:off x="2748201" y="1039521"/>
                    <a:ext cx="50673" cy="26860"/>
                  </a:xfrm>
                  <a:custGeom>
                    <a:avLst/>
                    <a:gdLst>
                      <a:gd name="connsiteX0" fmla="*/ 50673 w 50673"/>
                      <a:gd name="connsiteY0" fmla="*/ 13430 h 26860"/>
                      <a:gd name="connsiteX1" fmla="*/ 25336 w 50673"/>
                      <a:gd name="connsiteY1" fmla="*/ 26861 h 26860"/>
                      <a:gd name="connsiteX2" fmla="*/ 0 w 50673"/>
                      <a:gd name="connsiteY2" fmla="*/ 13430 h 26860"/>
                      <a:gd name="connsiteX3" fmla="*/ 25336 w 50673"/>
                      <a:gd name="connsiteY3" fmla="*/ 0 h 26860"/>
                      <a:gd name="connsiteX4" fmla="*/ 50673 w 50673"/>
                      <a:gd name="connsiteY4" fmla="*/ 13430 h 268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673" h="26860">
                        <a:moveTo>
                          <a:pt x="50673" y="13430"/>
                        </a:moveTo>
                        <a:cubicBezTo>
                          <a:pt x="50673" y="20848"/>
                          <a:pt x="39329" y="26861"/>
                          <a:pt x="25336" y="26861"/>
                        </a:cubicBezTo>
                        <a:cubicBezTo>
                          <a:pt x="11344" y="26861"/>
                          <a:pt x="0" y="20848"/>
                          <a:pt x="0" y="13430"/>
                        </a:cubicBezTo>
                        <a:cubicBezTo>
                          <a:pt x="0" y="6013"/>
                          <a:pt x="11344" y="0"/>
                          <a:pt x="25336" y="0"/>
                        </a:cubicBezTo>
                        <a:cubicBezTo>
                          <a:pt x="39329" y="0"/>
                          <a:pt x="50673" y="6013"/>
                          <a:pt x="50673" y="1343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2" name="Freihandform: Form 251">
                    <a:extLst>
                      <a:ext uri="{FF2B5EF4-FFF2-40B4-BE49-F238E27FC236}">
                        <a16:creationId xmlns:a16="http://schemas.microsoft.com/office/drawing/2014/main" id="{2516B40A-1AE5-CC94-2462-EA200534054E}"/>
                      </a:ext>
                    </a:extLst>
                  </p:cNvPr>
                  <p:cNvSpPr/>
                  <p:nvPr/>
                </p:nvSpPr>
                <p:spPr>
                  <a:xfrm>
                    <a:off x="2715592" y="1019859"/>
                    <a:ext cx="94079" cy="27890"/>
                  </a:xfrm>
                  <a:custGeom>
                    <a:avLst/>
                    <a:gdLst>
                      <a:gd name="connsiteX0" fmla="*/ 93552 w 94079"/>
                      <a:gd name="connsiteY0" fmla="*/ 27890 h 27890"/>
                      <a:gd name="connsiteX1" fmla="*/ 44022 w 94079"/>
                      <a:gd name="connsiteY1" fmla="*/ 14555 h 27890"/>
                      <a:gd name="connsiteX2" fmla="*/ 1636 w 94079"/>
                      <a:gd name="connsiteY2" fmla="*/ 13984 h 27890"/>
                      <a:gd name="connsiteX3" fmla="*/ 63072 w 94079"/>
                      <a:gd name="connsiteY3" fmla="*/ 1316 h 27890"/>
                      <a:gd name="connsiteX4" fmla="*/ 93552 w 94079"/>
                      <a:gd name="connsiteY4" fmla="*/ 27890 h 278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4079" h="27890">
                        <a:moveTo>
                          <a:pt x="93552" y="27890"/>
                        </a:moveTo>
                        <a:cubicBezTo>
                          <a:pt x="93552" y="27890"/>
                          <a:pt x="73550" y="11222"/>
                          <a:pt x="44022" y="14555"/>
                        </a:cubicBezTo>
                        <a:cubicBezTo>
                          <a:pt x="14399" y="17889"/>
                          <a:pt x="-6079" y="20651"/>
                          <a:pt x="1636" y="13984"/>
                        </a:cubicBezTo>
                        <a:cubicBezTo>
                          <a:pt x="9351" y="7316"/>
                          <a:pt x="31735" y="-3828"/>
                          <a:pt x="63072" y="1316"/>
                        </a:cubicBezTo>
                        <a:cubicBezTo>
                          <a:pt x="72788" y="2935"/>
                          <a:pt x="98029" y="9698"/>
                          <a:pt x="93552" y="2789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3" name="Freihandform: Form 252">
                    <a:extLst>
                      <a:ext uri="{FF2B5EF4-FFF2-40B4-BE49-F238E27FC236}">
                        <a16:creationId xmlns:a16="http://schemas.microsoft.com/office/drawing/2014/main" id="{26CCC20C-EBD4-6530-C86F-B4EB502DF340}"/>
                      </a:ext>
                    </a:extLst>
                  </p:cNvPr>
                  <p:cNvSpPr/>
                  <p:nvPr/>
                </p:nvSpPr>
                <p:spPr>
                  <a:xfrm>
                    <a:off x="2260681" y="819150"/>
                    <a:ext cx="573773" cy="615066"/>
                  </a:xfrm>
                  <a:custGeom>
                    <a:avLst/>
                    <a:gdLst>
                      <a:gd name="connsiteX0" fmla="*/ 571037 w 573773"/>
                      <a:gd name="connsiteY0" fmla="*/ 411480 h 615066"/>
                      <a:gd name="connsiteX1" fmla="*/ 488931 w 573773"/>
                      <a:gd name="connsiteY1" fmla="*/ 422814 h 615066"/>
                      <a:gd name="connsiteX2" fmla="*/ 407302 w 573773"/>
                      <a:gd name="connsiteY2" fmla="*/ 347853 h 615066"/>
                      <a:gd name="connsiteX3" fmla="*/ 286811 w 573773"/>
                      <a:gd name="connsiteY3" fmla="*/ 136398 h 615066"/>
                      <a:gd name="connsiteX4" fmla="*/ 54306 w 573773"/>
                      <a:gd name="connsiteY4" fmla="*/ 1809 h 615066"/>
                      <a:gd name="connsiteX5" fmla="*/ 10586 w 573773"/>
                      <a:gd name="connsiteY5" fmla="*/ 164687 h 615066"/>
                      <a:gd name="connsiteX6" fmla="*/ 89548 w 573773"/>
                      <a:gd name="connsiteY6" fmla="*/ 361950 h 615066"/>
                      <a:gd name="connsiteX7" fmla="*/ 172987 w 573773"/>
                      <a:gd name="connsiteY7" fmla="*/ 246888 h 615066"/>
                      <a:gd name="connsiteX8" fmla="*/ 287001 w 573773"/>
                      <a:gd name="connsiteY8" fmla="*/ 294417 h 615066"/>
                      <a:gd name="connsiteX9" fmla="*/ 325768 w 573773"/>
                      <a:gd name="connsiteY9" fmla="*/ 553402 h 615066"/>
                      <a:gd name="connsiteX10" fmla="*/ 417399 w 573773"/>
                      <a:gd name="connsiteY10" fmla="*/ 602075 h 615066"/>
                      <a:gd name="connsiteX11" fmla="*/ 524460 w 573773"/>
                      <a:gd name="connsiteY11" fmla="*/ 577119 h 615066"/>
                      <a:gd name="connsiteX12" fmla="*/ 526650 w 573773"/>
                      <a:gd name="connsiteY12" fmla="*/ 513588 h 615066"/>
                      <a:gd name="connsiteX13" fmla="*/ 526650 w 573773"/>
                      <a:gd name="connsiteY13" fmla="*/ 513873 h 615066"/>
                      <a:gd name="connsiteX14" fmla="*/ 539128 w 573773"/>
                      <a:gd name="connsiteY14" fmla="*/ 494252 h 615066"/>
                      <a:gd name="connsiteX15" fmla="*/ 540176 w 573773"/>
                      <a:gd name="connsiteY15" fmla="*/ 461962 h 615066"/>
                      <a:gd name="connsiteX16" fmla="*/ 571132 w 573773"/>
                      <a:gd name="connsiteY16" fmla="*/ 411480 h 6150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573773" h="615066">
                        <a:moveTo>
                          <a:pt x="571037" y="411480"/>
                        </a:moveTo>
                        <a:cubicBezTo>
                          <a:pt x="570275" y="402717"/>
                          <a:pt x="553130" y="387000"/>
                          <a:pt x="488931" y="422814"/>
                        </a:cubicBezTo>
                        <a:cubicBezTo>
                          <a:pt x="471120" y="432720"/>
                          <a:pt x="451593" y="369951"/>
                          <a:pt x="407302" y="347853"/>
                        </a:cubicBezTo>
                        <a:cubicBezTo>
                          <a:pt x="286620" y="287750"/>
                          <a:pt x="395205" y="216979"/>
                          <a:pt x="286811" y="136398"/>
                        </a:cubicBezTo>
                        <a:cubicBezTo>
                          <a:pt x="218040" y="85344"/>
                          <a:pt x="135078" y="110109"/>
                          <a:pt x="54306" y="1809"/>
                        </a:cubicBezTo>
                        <a:cubicBezTo>
                          <a:pt x="40875" y="-16098"/>
                          <a:pt x="-25419" y="103346"/>
                          <a:pt x="10586" y="164687"/>
                        </a:cubicBezTo>
                        <a:cubicBezTo>
                          <a:pt x="96501" y="311086"/>
                          <a:pt x="89548" y="361950"/>
                          <a:pt x="89548" y="361950"/>
                        </a:cubicBezTo>
                        <a:cubicBezTo>
                          <a:pt x="89548" y="361950"/>
                          <a:pt x="190608" y="336899"/>
                          <a:pt x="172987" y="246888"/>
                        </a:cubicBezTo>
                        <a:cubicBezTo>
                          <a:pt x="170987" y="170592"/>
                          <a:pt x="296622" y="190023"/>
                          <a:pt x="287001" y="294417"/>
                        </a:cubicBezTo>
                        <a:cubicBezTo>
                          <a:pt x="287001" y="318801"/>
                          <a:pt x="174702" y="503967"/>
                          <a:pt x="325768" y="553402"/>
                        </a:cubicBezTo>
                        <a:cubicBezTo>
                          <a:pt x="349485" y="561117"/>
                          <a:pt x="385585" y="581977"/>
                          <a:pt x="417399" y="602075"/>
                        </a:cubicBezTo>
                        <a:cubicBezTo>
                          <a:pt x="456832" y="626840"/>
                          <a:pt x="511220" y="614934"/>
                          <a:pt x="524460" y="577119"/>
                        </a:cubicBezTo>
                        <a:cubicBezTo>
                          <a:pt x="537699" y="539305"/>
                          <a:pt x="522650" y="528637"/>
                          <a:pt x="526650" y="513588"/>
                        </a:cubicBezTo>
                        <a:lnTo>
                          <a:pt x="526650" y="513873"/>
                        </a:lnTo>
                        <a:cubicBezTo>
                          <a:pt x="526650" y="513873"/>
                          <a:pt x="529603" y="505301"/>
                          <a:pt x="539128" y="494252"/>
                        </a:cubicBezTo>
                        <a:cubicBezTo>
                          <a:pt x="550653" y="480726"/>
                          <a:pt x="557035" y="467296"/>
                          <a:pt x="540176" y="461962"/>
                        </a:cubicBezTo>
                        <a:cubicBezTo>
                          <a:pt x="586467" y="461962"/>
                          <a:pt x="571608" y="417671"/>
                          <a:pt x="571132" y="41148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4" name="Freihandform: Form 253">
                    <a:extLst>
                      <a:ext uri="{FF2B5EF4-FFF2-40B4-BE49-F238E27FC236}">
                        <a16:creationId xmlns:a16="http://schemas.microsoft.com/office/drawing/2014/main" id="{F1A27229-4673-2357-12FB-11C9BBF622D6}"/>
                      </a:ext>
                    </a:extLst>
                  </p:cNvPr>
                  <p:cNvSpPr/>
                  <p:nvPr/>
                </p:nvSpPr>
                <p:spPr>
                  <a:xfrm rot="-571800">
                    <a:off x="2433554" y="969703"/>
                    <a:ext cx="118871" cy="184403"/>
                  </a:xfrm>
                  <a:custGeom>
                    <a:avLst/>
                    <a:gdLst>
                      <a:gd name="connsiteX0" fmla="*/ 118872 w 118871"/>
                      <a:gd name="connsiteY0" fmla="*/ 92202 h 184403"/>
                      <a:gd name="connsiteX1" fmla="*/ 59436 w 118871"/>
                      <a:gd name="connsiteY1" fmla="*/ 184404 h 184403"/>
                      <a:gd name="connsiteX2" fmla="*/ 0 w 118871"/>
                      <a:gd name="connsiteY2" fmla="*/ 92202 h 184403"/>
                      <a:gd name="connsiteX3" fmla="*/ 59436 w 118871"/>
                      <a:gd name="connsiteY3" fmla="*/ 0 h 184403"/>
                      <a:gd name="connsiteX4" fmla="*/ 118872 w 118871"/>
                      <a:gd name="connsiteY4" fmla="*/ 92202 h 1844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8871" h="184403">
                        <a:moveTo>
                          <a:pt x="118872" y="92202"/>
                        </a:moveTo>
                        <a:cubicBezTo>
                          <a:pt x="118872" y="143124"/>
                          <a:pt x="92262" y="184404"/>
                          <a:pt x="59436" y="184404"/>
                        </a:cubicBezTo>
                        <a:cubicBezTo>
                          <a:pt x="26610" y="184404"/>
                          <a:pt x="0" y="143124"/>
                          <a:pt x="0" y="92202"/>
                        </a:cubicBezTo>
                        <a:cubicBezTo>
                          <a:pt x="0" y="41280"/>
                          <a:pt x="26610" y="0"/>
                          <a:pt x="59436" y="0"/>
                        </a:cubicBezTo>
                        <a:cubicBezTo>
                          <a:pt x="92262" y="0"/>
                          <a:pt x="118872" y="41280"/>
                          <a:pt x="118872" y="92202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55" name="Grafik 23">
                  <a:extLst>
                    <a:ext uri="{FF2B5EF4-FFF2-40B4-BE49-F238E27FC236}">
                      <a16:creationId xmlns:a16="http://schemas.microsoft.com/office/drawing/2014/main" id="{F7FE7705-1064-EA28-F7F1-66782B31F3AF}"/>
                    </a:ext>
                  </a:extLst>
                </p:cNvPr>
                <p:cNvGrpSpPr/>
                <p:nvPr/>
              </p:nvGrpSpPr>
              <p:grpSpPr>
                <a:xfrm>
                  <a:off x="1967227" y="1280636"/>
                  <a:ext cx="1281425" cy="4889010"/>
                  <a:chOff x="1967227" y="1280636"/>
                  <a:chExt cx="1281425" cy="4889010"/>
                </a:xfrm>
              </p:grpSpPr>
              <p:grpSp>
                <p:nvGrpSpPr>
                  <p:cNvPr id="256" name="Grafik 23">
                    <a:extLst>
                      <a:ext uri="{FF2B5EF4-FFF2-40B4-BE49-F238E27FC236}">
                        <a16:creationId xmlns:a16="http://schemas.microsoft.com/office/drawing/2014/main" id="{6C63F765-CF1A-1318-1F3F-35056B27A344}"/>
                      </a:ext>
                    </a:extLst>
                  </p:cNvPr>
                  <p:cNvGrpSpPr/>
                  <p:nvPr/>
                </p:nvGrpSpPr>
                <p:grpSpPr>
                  <a:xfrm>
                    <a:off x="2381090" y="5797515"/>
                    <a:ext cx="867562" cy="295551"/>
                    <a:chOff x="2381090" y="5797515"/>
                    <a:chExt cx="867562" cy="295551"/>
                  </a:xfrm>
                </p:grpSpPr>
                <p:sp>
                  <p:nvSpPr>
                    <p:cNvPr id="257" name="Freihandform: Form 256">
                      <a:extLst>
                        <a:ext uri="{FF2B5EF4-FFF2-40B4-BE49-F238E27FC236}">
                          <a16:creationId xmlns:a16="http://schemas.microsoft.com/office/drawing/2014/main" id="{27A1098B-A7B3-FFE8-9E4B-274EE3DD1C5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81199" y="5797515"/>
                      <a:ext cx="865764" cy="289407"/>
                    </a:xfrm>
                    <a:custGeom>
                      <a:avLst/>
                      <a:gdLst>
                        <a:gd name="connsiteX0" fmla="*/ 60851 w 865764"/>
                        <a:gd name="connsiteY0" fmla="*/ 28546 h 289407"/>
                        <a:gd name="connsiteX1" fmla="*/ 82 w 865764"/>
                        <a:gd name="connsiteY1" fmla="*/ 170088 h 289407"/>
                        <a:gd name="connsiteX2" fmla="*/ 5702 w 865764"/>
                        <a:gd name="connsiteY2" fmla="*/ 253908 h 289407"/>
                        <a:gd name="connsiteX3" fmla="*/ 30371 w 865764"/>
                        <a:gd name="connsiteY3" fmla="*/ 276863 h 289407"/>
                        <a:gd name="connsiteX4" fmla="*/ 811136 w 865764"/>
                        <a:gd name="connsiteY4" fmla="*/ 249717 h 289407"/>
                        <a:gd name="connsiteX5" fmla="*/ 823899 w 865764"/>
                        <a:gd name="connsiteY5" fmla="*/ 132750 h 289407"/>
                        <a:gd name="connsiteX6" fmla="*/ 534625 w 865764"/>
                        <a:gd name="connsiteY6" fmla="*/ 83696 h 289407"/>
                        <a:gd name="connsiteX7" fmla="*/ 329837 w 865764"/>
                        <a:gd name="connsiteY7" fmla="*/ 829 h 289407"/>
                        <a:gd name="connsiteX8" fmla="*/ 273068 w 865764"/>
                        <a:gd name="connsiteY8" fmla="*/ 56931 h 289407"/>
                        <a:gd name="connsiteX9" fmla="*/ 140195 w 865764"/>
                        <a:gd name="connsiteY9" fmla="*/ 56931 h 289407"/>
                        <a:gd name="connsiteX10" fmla="*/ 60756 w 865764"/>
                        <a:gd name="connsiteY10" fmla="*/ 28546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60851" y="28546"/>
                          </a:moveTo>
                          <a:cubicBezTo>
                            <a:pt x="60851" y="28546"/>
                            <a:pt x="-2585" y="92078"/>
                            <a:pt x="82" y="170088"/>
                          </a:cubicBezTo>
                          <a:cubicBezTo>
                            <a:pt x="1511" y="210474"/>
                            <a:pt x="3797" y="237335"/>
                            <a:pt x="5702" y="253908"/>
                          </a:cubicBezTo>
                          <a:cubicBezTo>
                            <a:pt x="7130" y="266576"/>
                            <a:pt x="17608" y="276292"/>
                            <a:pt x="30371" y="276863"/>
                          </a:cubicBezTo>
                          <a:cubicBezTo>
                            <a:pt x="138956" y="281626"/>
                            <a:pt x="690740" y="314487"/>
                            <a:pt x="811136" y="249717"/>
                          </a:cubicBezTo>
                          <a:cubicBezTo>
                            <a:pt x="926102" y="187900"/>
                            <a:pt x="823899" y="132750"/>
                            <a:pt x="823899" y="132750"/>
                          </a:cubicBezTo>
                          <a:cubicBezTo>
                            <a:pt x="823899" y="132750"/>
                            <a:pt x="648925" y="152753"/>
                            <a:pt x="534625" y="83696"/>
                          </a:cubicBezTo>
                          <a:cubicBezTo>
                            <a:pt x="432898" y="22260"/>
                            <a:pt x="348030" y="-5267"/>
                            <a:pt x="329837" y="829"/>
                          </a:cubicBezTo>
                          <a:cubicBezTo>
                            <a:pt x="311645" y="6925"/>
                            <a:pt x="305263" y="35500"/>
                            <a:pt x="273068" y="56931"/>
                          </a:cubicBezTo>
                          <a:cubicBezTo>
                            <a:pt x="240779" y="78458"/>
                            <a:pt x="202012" y="78458"/>
                            <a:pt x="140195" y="56931"/>
                          </a:cubicBezTo>
                          <a:cubicBezTo>
                            <a:pt x="78377" y="35405"/>
                            <a:pt x="79616" y="20450"/>
                            <a:pt x="60756" y="28546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58" name="Freihandform: Form 257">
                      <a:extLst>
                        <a:ext uri="{FF2B5EF4-FFF2-40B4-BE49-F238E27FC236}">
                          <a16:creationId xmlns:a16="http://schemas.microsoft.com/office/drawing/2014/main" id="{F4E565F6-3A99-1D3C-3825-74D8658060E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81090" y="5939885"/>
                      <a:ext cx="867562" cy="153181"/>
                    </a:xfrm>
                    <a:custGeom>
                      <a:avLst/>
                      <a:gdLst>
                        <a:gd name="connsiteX0" fmla="*/ 30099 w 867562"/>
                        <a:gd name="connsiteY0" fmla="*/ 153162 h 153181"/>
                        <a:gd name="connsiteX1" fmla="*/ 692658 w 867562"/>
                        <a:gd name="connsiteY1" fmla="*/ 152781 h 153181"/>
                        <a:gd name="connsiteX2" fmla="*/ 811816 w 867562"/>
                        <a:gd name="connsiteY2" fmla="*/ 116396 h 153181"/>
                        <a:gd name="connsiteX3" fmla="*/ 838962 w 867562"/>
                        <a:gd name="connsiteY3" fmla="*/ 0 h 153181"/>
                        <a:gd name="connsiteX4" fmla="*/ 798862 w 867562"/>
                        <a:gd name="connsiteY4" fmla="*/ 42291 h 153181"/>
                        <a:gd name="connsiteX5" fmla="*/ 0 w 867562"/>
                        <a:gd name="connsiteY5" fmla="*/ 51245 h 153181"/>
                        <a:gd name="connsiteX6" fmla="*/ 5239 w 867562"/>
                        <a:gd name="connsiteY6" fmla="*/ 130016 h 153181"/>
                        <a:gd name="connsiteX7" fmla="*/ 30004 w 867562"/>
                        <a:gd name="connsiteY7" fmla="*/ 153162 h 1531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1">
                          <a:moveTo>
                            <a:pt x="30099" y="153162"/>
                          </a:moveTo>
                          <a:cubicBezTo>
                            <a:pt x="32575" y="153258"/>
                            <a:pt x="690563" y="152971"/>
                            <a:pt x="692658" y="152781"/>
                          </a:cubicBezTo>
                          <a:cubicBezTo>
                            <a:pt x="751237" y="147066"/>
                            <a:pt x="787813" y="129350"/>
                            <a:pt x="811816" y="116396"/>
                          </a:cubicBezTo>
                          <a:cubicBezTo>
                            <a:pt x="897922" y="70104"/>
                            <a:pt x="865251" y="15907"/>
                            <a:pt x="838962" y="0"/>
                          </a:cubicBezTo>
                          <a:cubicBezTo>
                            <a:pt x="830390" y="9430"/>
                            <a:pt x="817531" y="32290"/>
                            <a:pt x="798862" y="42291"/>
                          </a:cubicBezTo>
                          <a:cubicBezTo>
                            <a:pt x="671703" y="110680"/>
                            <a:pt x="68390" y="56483"/>
                            <a:pt x="0" y="51245"/>
                          </a:cubicBezTo>
                          <a:cubicBezTo>
                            <a:pt x="1429" y="85630"/>
                            <a:pt x="3429" y="114871"/>
                            <a:pt x="5239" y="130016"/>
                          </a:cubicBezTo>
                          <a:cubicBezTo>
                            <a:pt x="6667" y="142780"/>
                            <a:pt x="17145" y="152591"/>
                            <a:pt x="30004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259" name="Grafik 23">
                    <a:extLst>
                      <a:ext uri="{FF2B5EF4-FFF2-40B4-BE49-F238E27FC236}">
                        <a16:creationId xmlns:a16="http://schemas.microsoft.com/office/drawing/2014/main" id="{482C39C2-0757-555B-65E6-2D198C43F9CA}"/>
                      </a:ext>
                    </a:extLst>
                  </p:cNvPr>
                  <p:cNvGrpSpPr/>
                  <p:nvPr/>
                </p:nvGrpSpPr>
                <p:grpSpPr>
                  <a:xfrm>
                    <a:off x="2220308" y="5874095"/>
                    <a:ext cx="867562" cy="295551"/>
                    <a:chOff x="2220308" y="5874095"/>
                    <a:chExt cx="867562" cy="295551"/>
                  </a:xfrm>
                </p:grpSpPr>
                <p:sp>
                  <p:nvSpPr>
                    <p:cNvPr id="260" name="Freihandform: Form 259">
                      <a:extLst>
                        <a:ext uri="{FF2B5EF4-FFF2-40B4-BE49-F238E27FC236}">
                          <a16:creationId xmlns:a16="http://schemas.microsoft.com/office/drawing/2014/main" id="{92719891-5E70-F219-9BD4-0C93A783FB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20512" y="5874095"/>
                      <a:ext cx="865764" cy="289407"/>
                    </a:xfrm>
                    <a:custGeom>
                      <a:avLst/>
                      <a:gdLst>
                        <a:gd name="connsiteX0" fmla="*/ 60851 w 865764"/>
                        <a:gd name="connsiteY0" fmla="*/ 28547 h 289407"/>
                        <a:gd name="connsiteX1" fmla="*/ 82 w 865764"/>
                        <a:gd name="connsiteY1" fmla="*/ 170088 h 289407"/>
                        <a:gd name="connsiteX2" fmla="*/ 5702 w 865764"/>
                        <a:gd name="connsiteY2" fmla="*/ 253908 h 289407"/>
                        <a:gd name="connsiteX3" fmla="*/ 30371 w 865764"/>
                        <a:gd name="connsiteY3" fmla="*/ 276864 h 289407"/>
                        <a:gd name="connsiteX4" fmla="*/ 811136 w 865764"/>
                        <a:gd name="connsiteY4" fmla="*/ 249717 h 289407"/>
                        <a:gd name="connsiteX5" fmla="*/ 823899 w 865764"/>
                        <a:gd name="connsiteY5" fmla="*/ 132750 h 289407"/>
                        <a:gd name="connsiteX6" fmla="*/ 534625 w 865764"/>
                        <a:gd name="connsiteY6" fmla="*/ 83696 h 289407"/>
                        <a:gd name="connsiteX7" fmla="*/ 329837 w 865764"/>
                        <a:gd name="connsiteY7" fmla="*/ 829 h 289407"/>
                        <a:gd name="connsiteX8" fmla="*/ 273068 w 865764"/>
                        <a:gd name="connsiteY8" fmla="*/ 56931 h 289407"/>
                        <a:gd name="connsiteX9" fmla="*/ 140195 w 865764"/>
                        <a:gd name="connsiteY9" fmla="*/ 56931 h 289407"/>
                        <a:gd name="connsiteX10" fmla="*/ 60756 w 865764"/>
                        <a:gd name="connsiteY10" fmla="*/ 28547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60851" y="28547"/>
                          </a:moveTo>
                          <a:cubicBezTo>
                            <a:pt x="60851" y="28547"/>
                            <a:pt x="-2585" y="92078"/>
                            <a:pt x="82" y="170088"/>
                          </a:cubicBezTo>
                          <a:cubicBezTo>
                            <a:pt x="1511" y="210474"/>
                            <a:pt x="3797" y="237335"/>
                            <a:pt x="5702" y="253908"/>
                          </a:cubicBezTo>
                          <a:cubicBezTo>
                            <a:pt x="7130" y="266576"/>
                            <a:pt x="17608" y="276292"/>
                            <a:pt x="30371" y="276864"/>
                          </a:cubicBezTo>
                          <a:cubicBezTo>
                            <a:pt x="138956" y="281626"/>
                            <a:pt x="690740" y="314487"/>
                            <a:pt x="811136" y="249717"/>
                          </a:cubicBezTo>
                          <a:cubicBezTo>
                            <a:pt x="926102" y="187900"/>
                            <a:pt x="823899" y="132750"/>
                            <a:pt x="823899" y="132750"/>
                          </a:cubicBezTo>
                          <a:cubicBezTo>
                            <a:pt x="823899" y="132750"/>
                            <a:pt x="648925" y="152752"/>
                            <a:pt x="534625" y="83696"/>
                          </a:cubicBezTo>
                          <a:cubicBezTo>
                            <a:pt x="432898" y="22260"/>
                            <a:pt x="348030" y="-5267"/>
                            <a:pt x="329837" y="829"/>
                          </a:cubicBezTo>
                          <a:cubicBezTo>
                            <a:pt x="311645" y="6925"/>
                            <a:pt x="305263" y="35500"/>
                            <a:pt x="273068" y="56931"/>
                          </a:cubicBezTo>
                          <a:cubicBezTo>
                            <a:pt x="240779" y="78458"/>
                            <a:pt x="202012" y="78458"/>
                            <a:pt x="140195" y="56931"/>
                          </a:cubicBezTo>
                          <a:cubicBezTo>
                            <a:pt x="78377" y="35404"/>
                            <a:pt x="79616" y="20450"/>
                            <a:pt x="60756" y="28547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61" name="Freihandform: Form 260">
                      <a:extLst>
                        <a:ext uri="{FF2B5EF4-FFF2-40B4-BE49-F238E27FC236}">
                          <a16:creationId xmlns:a16="http://schemas.microsoft.com/office/drawing/2014/main" id="{93D2A8AB-0D21-E446-2E02-EE7201B84B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20308" y="6016466"/>
                      <a:ext cx="867562" cy="153180"/>
                    </a:xfrm>
                    <a:custGeom>
                      <a:avLst/>
                      <a:gdLst>
                        <a:gd name="connsiteX0" fmla="*/ 30099 w 867562"/>
                        <a:gd name="connsiteY0" fmla="*/ 153162 h 153180"/>
                        <a:gd name="connsiteX1" fmla="*/ 692658 w 867562"/>
                        <a:gd name="connsiteY1" fmla="*/ 152781 h 153180"/>
                        <a:gd name="connsiteX2" fmla="*/ 811816 w 867562"/>
                        <a:gd name="connsiteY2" fmla="*/ 116395 h 153180"/>
                        <a:gd name="connsiteX3" fmla="*/ 838962 w 867562"/>
                        <a:gd name="connsiteY3" fmla="*/ 0 h 153180"/>
                        <a:gd name="connsiteX4" fmla="*/ 798862 w 867562"/>
                        <a:gd name="connsiteY4" fmla="*/ 42291 h 153180"/>
                        <a:gd name="connsiteX5" fmla="*/ 0 w 867562"/>
                        <a:gd name="connsiteY5" fmla="*/ 51245 h 153180"/>
                        <a:gd name="connsiteX6" fmla="*/ 5239 w 867562"/>
                        <a:gd name="connsiteY6" fmla="*/ 130016 h 153180"/>
                        <a:gd name="connsiteX7" fmla="*/ 30004 w 867562"/>
                        <a:gd name="connsiteY7" fmla="*/ 153162 h 15318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0">
                          <a:moveTo>
                            <a:pt x="30099" y="153162"/>
                          </a:moveTo>
                          <a:cubicBezTo>
                            <a:pt x="32575" y="153257"/>
                            <a:pt x="690562" y="152971"/>
                            <a:pt x="692658" y="152781"/>
                          </a:cubicBezTo>
                          <a:cubicBezTo>
                            <a:pt x="751237" y="147066"/>
                            <a:pt x="787813" y="129349"/>
                            <a:pt x="811816" y="116395"/>
                          </a:cubicBezTo>
                          <a:cubicBezTo>
                            <a:pt x="897922" y="70104"/>
                            <a:pt x="865251" y="15907"/>
                            <a:pt x="838962" y="0"/>
                          </a:cubicBezTo>
                          <a:cubicBezTo>
                            <a:pt x="830389" y="9430"/>
                            <a:pt x="817531" y="32289"/>
                            <a:pt x="798862" y="42291"/>
                          </a:cubicBezTo>
                          <a:cubicBezTo>
                            <a:pt x="671703" y="110680"/>
                            <a:pt x="68390" y="56483"/>
                            <a:pt x="0" y="51245"/>
                          </a:cubicBezTo>
                          <a:cubicBezTo>
                            <a:pt x="1429" y="85630"/>
                            <a:pt x="3429" y="114871"/>
                            <a:pt x="5239" y="130016"/>
                          </a:cubicBezTo>
                          <a:cubicBezTo>
                            <a:pt x="6668" y="142780"/>
                            <a:pt x="17145" y="152590"/>
                            <a:pt x="30004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262" name="Freihandform: Form 261">
                    <a:extLst>
                      <a:ext uri="{FF2B5EF4-FFF2-40B4-BE49-F238E27FC236}">
                        <a16:creationId xmlns:a16="http://schemas.microsoft.com/office/drawing/2014/main" id="{04E6D737-F755-ADED-F060-4DE62DE3917B}"/>
                      </a:ext>
                    </a:extLst>
                  </p:cNvPr>
                  <p:cNvSpPr/>
                  <p:nvPr/>
                </p:nvSpPr>
                <p:spPr>
                  <a:xfrm>
                    <a:off x="2143233" y="2862833"/>
                    <a:ext cx="819357" cy="1885252"/>
                  </a:xfrm>
                  <a:custGeom>
                    <a:avLst/>
                    <a:gdLst>
                      <a:gd name="connsiteX0" fmla="*/ 37165 w 819357"/>
                      <a:gd name="connsiteY0" fmla="*/ 78581 h 1885252"/>
                      <a:gd name="connsiteX1" fmla="*/ 704010 w 819357"/>
                      <a:gd name="connsiteY1" fmla="*/ 0 h 1885252"/>
                      <a:gd name="connsiteX2" fmla="*/ 802594 w 819357"/>
                      <a:gd name="connsiteY2" fmla="*/ 936117 h 1885252"/>
                      <a:gd name="connsiteX3" fmla="*/ 811167 w 819357"/>
                      <a:gd name="connsiteY3" fmla="*/ 1804130 h 1885252"/>
                      <a:gd name="connsiteX4" fmla="*/ 296436 w 819357"/>
                      <a:gd name="connsiteY4" fmla="*/ 1843659 h 1885252"/>
                      <a:gd name="connsiteX5" fmla="*/ 37070 w 819357"/>
                      <a:gd name="connsiteY5" fmla="*/ 78677 h 1885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9357" h="1885252">
                        <a:moveTo>
                          <a:pt x="37165" y="78581"/>
                        </a:moveTo>
                        <a:cubicBezTo>
                          <a:pt x="46595" y="79820"/>
                          <a:pt x="704010" y="0"/>
                          <a:pt x="704010" y="0"/>
                        </a:cubicBezTo>
                        <a:cubicBezTo>
                          <a:pt x="704010" y="0"/>
                          <a:pt x="794307" y="770858"/>
                          <a:pt x="802594" y="936117"/>
                        </a:cubicBezTo>
                        <a:cubicBezTo>
                          <a:pt x="834408" y="1569434"/>
                          <a:pt x="811167" y="1804130"/>
                          <a:pt x="811167" y="1804130"/>
                        </a:cubicBezTo>
                        <a:cubicBezTo>
                          <a:pt x="664291" y="1911477"/>
                          <a:pt x="461599" y="1898809"/>
                          <a:pt x="296436" y="1843659"/>
                        </a:cubicBezTo>
                        <a:cubicBezTo>
                          <a:pt x="183850" y="1122045"/>
                          <a:pt x="-101233" y="808292"/>
                          <a:pt x="37070" y="78677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3" name="Freihandform: Form 262">
                    <a:extLst>
                      <a:ext uri="{FF2B5EF4-FFF2-40B4-BE49-F238E27FC236}">
                        <a16:creationId xmlns:a16="http://schemas.microsoft.com/office/drawing/2014/main" id="{782DA1B6-7ED7-3909-0ACF-1771ED776950}"/>
                      </a:ext>
                    </a:extLst>
                  </p:cNvPr>
                  <p:cNvSpPr/>
                  <p:nvPr/>
                </p:nvSpPr>
                <p:spPr>
                  <a:xfrm>
                    <a:off x="2334164" y="4557019"/>
                    <a:ext cx="619855" cy="1372578"/>
                  </a:xfrm>
                  <a:custGeom>
                    <a:avLst/>
                    <a:gdLst>
                      <a:gd name="connsiteX0" fmla="*/ 104648 w 619855"/>
                      <a:gd name="connsiteY0" fmla="*/ 57557 h 1372578"/>
                      <a:gd name="connsiteX1" fmla="*/ 19494 w 619855"/>
                      <a:gd name="connsiteY1" fmla="*/ 1049776 h 1372578"/>
                      <a:gd name="connsiteX2" fmla="*/ 52165 w 619855"/>
                      <a:gd name="connsiteY2" fmla="*/ 1372197 h 1372578"/>
                      <a:gd name="connsiteX3" fmla="*/ 356013 w 619855"/>
                      <a:gd name="connsiteY3" fmla="*/ 1339050 h 1372578"/>
                      <a:gd name="connsiteX4" fmla="*/ 569182 w 619855"/>
                      <a:gd name="connsiteY4" fmla="*/ 1316572 h 1372578"/>
                      <a:gd name="connsiteX5" fmla="*/ 557466 w 619855"/>
                      <a:gd name="connsiteY5" fmla="*/ 861848 h 1372578"/>
                      <a:gd name="connsiteX6" fmla="*/ 619855 w 619855"/>
                      <a:gd name="connsiteY6" fmla="*/ 115945 h 1372578"/>
                      <a:gd name="connsiteX7" fmla="*/ 104553 w 619855"/>
                      <a:gd name="connsiteY7" fmla="*/ 57461 h 13725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19855" h="1372578">
                        <a:moveTo>
                          <a:pt x="104648" y="57557"/>
                        </a:moveTo>
                        <a:cubicBezTo>
                          <a:pt x="14065" y="416935"/>
                          <a:pt x="36830" y="870706"/>
                          <a:pt x="19494" y="1049776"/>
                        </a:cubicBezTo>
                        <a:cubicBezTo>
                          <a:pt x="8922" y="1159123"/>
                          <a:pt x="-32607" y="1383056"/>
                          <a:pt x="52165" y="1372197"/>
                        </a:cubicBezTo>
                        <a:cubicBezTo>
                          <a:pt x="115983" y="1358672"/>
                          <a:pt x="228187" y="1349718"/>
                          <a:pt x="356013" y="1339050"/>
                        </a:cubicBezTo>
                        <a:cubicBezTo>
                          <a:pt x="483838" y="1328287"/>
                          <a:pt x="569182" y="1316572"/>
                          <a:pt x="569182" y="1316572"/>
                        </a:cubicBezTo>
                        <a:cubicBezTo>
                          <a:pt x="569182" y="1316572"/>
                          <a:pt x="555752" y="917855"/>
                          <a:pt x="557466" y="861848"/>
                        </a:cubicBezTo>
                        <a:cubicBezTo>
                          <a:pt x="559181" y="805841"/>
                          <a:pt x="619855" y="115945"/>
                          <a:pt x="619855" y="115945"/>
                        </a:cubicBezTo>
                        <a:cubicBezTo>
                          <a:pt x="465550" y="5169"/>
                          <a:pt x="266668" y="-48933"/>
                          <a:pt x="104553" y="57461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4" name="Freihandform: Form 263">
                    <a:extLst>
                      <a:ext uri="{FF2B5EF4-FFF2-40B4-BE49-F238E27FC236}">
                        <a16:creationId xmlns:a16="http://schemas.microsoft.com/office/drawing/2014/main" id="{C0548BFA-03A8-616F-D0E9-436261FB0DB1}"/>
                      </a:ext>
                    </a:extLst>
                  </p:cNvPr>
                  <p:cNvSpPr/>
                  <p:nvPr/>
                </p:nvSpPr>
                <p:spPr>
                  <a:xfrm>
                    <a:off x="2435192" y="4398359"/>
                    <a:ext cx="519303" cy="519302"/>
                  </a:xfrm>
                  <a:custGeom>
                    <a:avLst/>
                    <a:gdLst>
                      <a:gd name="connsiteX0" fmla="*/ 519303 w 519303"/>
                      <a:gd name="connsiteY0" fmla="*/ 259651 h 519302"/>
                      <a:gd name="connsiteX1" fmla="*/ 259651 w 519303"/>
                      <a:gd name="connsiteY1" fmla="*/ 519303 h 519302"/>
                      <a:gd name="connsiteX2" fmla="*/ 0 w 519303"/>
                      <a:gd name="connsiteY2" fmla="*/ 259651 h 519302"/>
                      <a:gd name="connsiteX3" fmla="*/ 259651 w 519303"/>
                      <a:gd name="connsiteY3" fmla="*/ 0 h 519302"/>
                      <a:gd name="connsiteX4" fmla="*/ 519303 w 519303"/>
                      <a:gd name="connsiteY4" fmla="*/ 259651 h 519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9303" h="519302">
                        <a:moveTo>
                          <a:pt x="519303" y="259651"/>
                        </a:moveTo>
                        <a:cubicBezTo>
                          <a:pt x="519303" y="403053"/>
                          <a:pt x="403053" y="519303"/>
                          <a:pt x="259651" y="519303"/>
                        </a:cubicBezTo>
                        <a:cubicBezTo>
                          <a:pt x="116250" y="519303"/>
                          <a:pt x="0" y="403053"/>
                          <a:pt x="0" y="259651"/>
                        </a:cubicBezTo>
                        <a:cubicBezTo>
                          <a:pt x="0" y="116250"/>
                          <a:pt x="116250" y="0"/>
                          <a:pt x="259651" y="0"/>
                        </a:cubicBezTo>
                        <a:cubicBezTo>
                          <a:pt x="403053" y="0"/>
                          <a:pt x="519303" y="116250"/>
                          <a:pt x="519303" y="259651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5" name="Freihandform: Form 264">
                    <a:extLst>
                      <a:ext uri="{FF2B5EF4-FFF2-40B4-BE49-F238E27FC236}">
                        <a16:creationId xmlns:a16="http://schemas.microsoft.com/office/drawing/2014/main" id="{18AAA699-06B5-66F8-B231-A687872C2DDB}"/>
                      </a:ext>
                    </a:extLst>
                  </p:cNvPr>
                  <p:cNvSpPr/>
                  <p:nvPr/>
                </p:nvSpPr>
                <p:spPr>
                  <a:xfrm>
                    <a:off x="2162261" y="2915792"/>
                    <a:ext cx="808712" cy="1916312"/>
                  </a:xfrm>
                  <a:custGeom>
                    <a:avLst/>
                    <a:gdLst>
                      <a:gd name="connsiteX0" fmla="*/ 138915 w 808712"/>
                      <a:gd name="connsiteY0" fmla="*/ 0 h 1916312"/>
                      <a:gd name="connsiteX1" fmla="*/ 808713 w 808712"/>
                      <a:gd name="connsiteY1" fmla="*/ 48196 h 1916312"/>
                      <a:gd name="connsiteX2" fmla="*/ 729465 w 808712"/>
                      <a:gd name="connsiteY2" fmla="*/ 986219 h 1916312"/>
                      <a:gd name="connsiteX3" fmla="*/ 567635 w 808712"/>
                      <a:gd name="connsiteY3" fmla="*/ 1871186 h 1916312"/>
                      <a:gd name="connsiteX4" fmla="*/ 58905 w 808712"/>
                      <a:gd name="connsiteY4" fmla="*/ 1834325 h 1916312"/>
                      <a:gd name="connsiteX5" fmla="*/ 138915 w 808712"/>
                      <a:gd name="connsiteY5" fmla="*/ 0 h 19163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08712" h="1916312">
                        <a:moveTo>
                          <a:pt x="138915" y="0"/>
                        </a:moveTo>
                        <a:cubicBezTo>
                          <a:pt x="147963" y="3048"/>
                          <a:pt x="808713" y="48196"/>
                          <a:pt x="808713" y="48196"/>
                        </a:cubicBezTo>
                        <a:cubicBezTo>
                          <a:pt x="808713" y="48196"/>
                          <a:pt x="752420" y="822293"/>
                          <a:pt x="729465" y="986219"/>
                        </a:cubicBezTo>
                        <a:cubicBezTo>
                          <a:pt x="641644" y="1614202"/>
                          <a:pt x="567635" y="1871186"/>
                          <a:pt x="567635" y="1871186"/>
                        </a:cubicBezTo>
                        <a:cubicBezTo>
                          <a:pt x="403138" y="1948910"/>
                          <a:pt x="210733" y="1919478"/>
                          <a:pt x="58905" y="1834325"/>
                        </a:cubicBezTo>
                        <a:cubicBezTo>
                          <a:pt x="84051" y="1104329"/>
                          <a:pt x="-134167" y="690658"/>
                          <a:pt x="138915" y="0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6" name="Freihandform: Form 265">
                    <a:extLst>
                      <a:ext uri="{FF2B5EF4-FFF2-40B4-BE49-F238E27FC236}">
                        <a16:creationId xmlns:a16="http://schemas.microsoft.com/office/drawing/2014/main" id="{E0C4D85F-380A-460E-2800-1BBD1AFDCA19}"/>
                      </a:ext>
                    </a:extLst>
                  </p:cNvPr>
                  <p:cNvSpPr/>
                  <p:nvPr/>
                </p:nvSpPr>
                <p:spPr>
                  <a:xfrm>
                    <a:off x="2163652" y="4675131"/>
                    <a:ext cx="566148" cy="1315331"/>
                  </a:xfrm>
                  <a:custGeom>
                    <a:avLst/>
                    <a:gdLst>
                      <a:gd name="connsiteX0" fmla="*/ 65134 w 566148"/>
                      <a:gd name="connsiteY0" fmla="*/ 1315332 h 1315331"/>
                      <a:gd name="connsiteX1" fmla="*/ 555385 w 566148"/>
                      <a:gd name="connsiteY1" fmla="*/ 1261801 h 1315331"/>
                      <a:gd name="connsiteX2" fmla="*/ 566149 w 566148"/>
                      <a:gd name="connsiteY2" fmla="*/ 104800 h 1315331"/>
                      <a:gd name="connsiteX3" fmla="*/ 59133 w 566148"/>
                      <a:gd name="connsiteY3" fmla="*/ 64414 h 1315331"/>
                      <a:gd name="connsiteX4" fmla="*/ 1602 w 566148"/>
                      <a:gd name="connsiteY4" fmla="*/ 1061014 h 1315331"/>
                      <a:gd name="connsiteX5" fmla="*/ 65134 w 566148"/>
                      <a:gd name="connsiteY5" fmla="*/ 1315236 h 13153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66148" h="1315331">
                        <a:moveTo>
                          <a:pt x="65134" y="1315332"/>
                        </a:moveTo>
                        <a:lnTo>
                          <a:pt x="555385" y="1261801"/>
                        </a:lnTo>
                        <a:cubicBezTo>
                          <a:pt x="554623" y="1243228"/>
                          <a:pt x="566149" y="104800"/>
                          <a:pt x="566149" y="104800"/>
                        </a:cubicBezTo>
                        <a:cubicBezTo>
                          <a:pt x="408605" y="-1309"/>
                          <a:pt x="217915" y="-46838"/>
                          <a:pt x="59133" y="64414"/>
                        </a:cubicBezTo>
                        <a:cubicBezTo>
                          <a:pt x="-20496" y="426364"/>
                          <a:pt x="13603" y="881468"/>
                          <a:pt x="1602" y="1061014"/>
                        </a:cubicBezTo>
                        <a:cubicBezTo>
                          <a:pt x="-5447" y="1167599"/>
                          <a:pt x="9889" y="1270374"/>
                          <a:pt x="65134" y="131523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7" name="Freihandform: Form 266">
                    <a:extLst>
                      <a:ext uri="{FF2B5EF4-FFF2-40B4-BE49-F238E27FC236}">
                        <a16:creationId xmlns:a16="http://schemas.microsoft.com/office/drawing/2014/main" id="{408F8DAD-9560-3A1F-6596-0AFAE6A24781}"/>
                      </a:ext>
                    </a:extLst>
                  </p:cNvPr>
                  <p:cNvSpPr/>
                  <p:nvPr/>
                </p:nvSpPr>
                <p:spPr>
                  <a:xfrm>
                    <a:off x="1967227" y="1412557"/>
                    <a:ext cx="1160432" cy="2831687"/>
                  </a:xfrm>
                  <a:custGeom>
                    <a:avLst/>
                    <a:gdLst>
                      <a:gd name="connsiteX0" fmla="*/ 66391 w 1160432"/>
                      <a:gd name="connsiteY0" fmla="*/ 2215706 h 2831687"/>
                      <a:gd name="connsiteX1" fmla="*/ 44102 w 1160432"/>
                      <a:gd name="connsiteY1" fmla="*/ 2831687 h 2831687"/>
                      <a:gd name="connsiteX2" fmla="*/ 1160432 w 1160432"/>
                      <a:gd name="connsiteY2" fmla="*/ 2831687 h 2831687"/>
                      <a:gd name="connsiteX3" fmla="*/ 1117189 w 1160432"/>
                      <a:gd name="connsiteY3" fmla="*/ 1805940 h 2831687"/>
                      <a:gd name="connsiteX4" fmla="*/ 988316 w 1160432"/>
                      <a:gd name="connsiteY4" fmla="*/ 539782 h 2831687"/>
                      <a:gd name="connsiteX5" fmla="*/ 717520 w 1160432"/>
                      <a:gd name="connsiteY5" fmla="*/ 135826 h 2831687"/>
                      <a:gd name="connsiteX6" fmla="*/ 256700 w 1160432"/>
                      <a:gd name="connsiteY6" fmla="*/ 0 h 2831687"/>
                      <a:gd name="connsiteX7" fmla="*/ 2 w 1160432"/>
                      <a:gd name="connsiteY7" fmla="*/ 399288 h 2831687"/>
                      <a:gd name="connsiteX8" fmla="*/ 99062 w 1160432"/>
                      <a:gd name="connsiteY8" fmla="*/ 1187863 h 2831687"/>
                      <a:gd name="connsiteX9" fmla="*/ 66296 w 1160432"/>
                      <a:gd name="connsiteY9" fmla="*/ 2215706 h 28316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160432" h="2831687">
                        <a:moveTo>
                          <a:pt x="66391" y="2215706"/>
                        </a:moveTo>
                        <a:cubicBezTo>
                          <a:pt x="54675" y="2418779"/>
                          <a:pt x="47055" y="2707386"/>
                          <a:pt x="44102" y="2831687"/>
                        </a:cubicBezTo>
                        <a:lnTo>
                          <a:pt x="1160432" y="2831687"/>
                        </a:lnTo>
                        <a:cubicBezTo>
                          <a:pt x="1152908" y="2688717"/>
                          <a:pt x="1132810" y="2286953"/>
                          <a:pt x="1117189" y="1805940"/>
                        </a:cubicBezTo>
                        <a:cubicBezTo>
                          <a:pt x="1097663" y="1202817"/>
                          <a:pt x="1001174" y="634460"/>
                          <a:pt x="988316" y="539782"/>
                        </a:cubicBezTo>
                        <a:cubicBezTo>
                          <a:pt x="970218" y="405860"/>
                          <a:pt x="717520" y="135826"/>
                          <a:pt x="717520" y="135826"/>
                        </a:cubicBezTo>
                        <a:lnTo>
                          <a:pt x="256700" y="0"/>
                        </a:lnTo>
                        <a:cubicBezTo>
                          <a:pt x="256700" y="0"/>
                          <a:pt x="-760" y="184499"/>
                          <a:pt x="2" y="399288"/>
                        </a:cubicBezTo>
                        <a:cubicBezTo>
                          <a:pt x="668" y="575119"/>
                          <a:pt x="99062" y="1187863"/>
                          <a:pt x="99062" y="1187863"/>
                        </a:cubicBezTo>
                        <a:cubicBezTo>
                          <a:pt x="99062" y="1187863"/>
                          <a:pt x="81631" y="1950244"/>
                          <a:pt x="66296" y="221570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8" name="Freihandform: Form 267">
                    <a:extLst>
                      <a:ext uri="{FF2B5EF4-FFF2-40B4-BE49-F238E27FC236}">
                        <a16:creationId xmlns:a16="http://schemas.microsoft.com/office/drawing/2014/main" id="{E3E2201C-3B47-4BC6-7553-2D806EE9F9D3}"/>
                      </a:ext>
                    </a:extLst>
                  </p:cNvPr>
                  <p:cNvSpPr/>
                  <p:nvPr/>
                </p:nvSpPr>
                <p:spPr>
                  <a:xfrm>
                    <a:off x="2203544" y="3205162"/>
                    <a:ext cx="634746" cy="581406"/>
                  </a:xfrm>
                  <a:custGeom>
                    <a:avLst/>
                    <a:gdLst>
                      <a:gd name="connsiteX0" fmla="*/ 634651 w 634746"/>
                      <a:gd name="connsiteY0" fmla="*/ 508730 h 581406"/>
                      <a:gd name="connsiteX1" fmla="*/ 0 w 634746"/>
                      <a:gd name="connsiteY1" fmla="*/ 550545 h 581406"/>
                      <a:gd name="connsiteX2" fmla="*/ 48292 w 634746"/>
                      <a:gd name="connsiteY2" fmla="*/ 0 h 581406"/>
                      <a:gd name="connsiteX3" fmla="*/ 456533 w 634746"/>
                      <a:gd name="connsiteY3" fmla="*/ 3143 h 581406"/>
                      <a:gd name="connsiteX4" fmla="*/ 634746 w 634746"/>
                      <a:gd name="connsiteY4" fmla="*/ 508730 h 5814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34746" h="581406">
                        <a:moveTo>
                          <a:pt x="634651" y="508730"/>
                        </a:moveTo>
                        <a:cubicBezTo>
                          <a:pt x="600742" y="589407"/>
                          <a:pt x="143828" y="602266"/>
                          <a:pt x="0" y="550545"/>
                        </a:cubicBezTo>
                        <a:lnTo>
                          <a:pt x="48292" y="0"/>
                        </a:lnTo>
                        <a:lnTo>
                          <a:pt x="456533" y="3143"/>
                        </a:lnTo>
                        <a:lnTo>
                          <a:pt x="634746" y="50873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9" name="Freihandform: Form 268">
                    <a:extLst>
                      <a:ext uri="{FF2B5EF4-FFF2-40B4-BE49-F238E27FC236}">
                        <a16:creationId xmlns:a16="http://schemas.microsoft.com/office/drawing/2014/main" id="{A3241696-2E1A-1194-F391-CF2118EE5430}"/>
                      </a:ext>
                    </a:extLst>
                  </p:cNvPr>
                  <p:cNvSpPr/>
                  <p:nvPr/>
                </p:nvSpPr>
                <p:spPr>
                  <a:xfrm>
                    <a:off x="2265362" y="3205162"/>
                    <a:ext cx="572833" cy="543657"/>
                  </a:xfrm>
                  <a:custGeom>
                    <a:avLst/>
                    <a:gdLst>
                      <a:gd name="connsiteX0" fmla="*/ 513302 w 572833"/>
                      <a:gd name="connsiteY0" fmla="*/ 0 h 543657"/>
                      <a:gd name="connsiteX1" fmla="*/ 572834 w 572833"/>
                      <a:gd name="connsiteY1" fmla="*/ 508730 h 543657"/>
                      <a:gd name="connsiteX2" fmla="*/ 0 w 572833"/>
                      <a:gd name="connsiteY2" fmla="*/ 518255 h 543657"/>
                      <a:gd name="connsiteX3" fmla="*/ 0 w 572833"/>
                      <a:gd name="connsiteY3" fmla="*/ 0 h 543657"/>
                      <a:gd name="connsiteX4" fmla="*/ 513302 w 572833"/>
                      <a:gd name="connsiteY4" fmla="*/ 0 h 5436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72833" h="543657">
                        <a:moveTo>
                          <a:pt x="513302" y="0"/>
                        </a:moveTo>
                        <a:cubicBezTo>
                          <a:pt x="513302" y="38005"/>
                          <a:pt x="572834" y="508730"/>
                          <a:pt x="572834" y="508730"/>
                        </a:cubicBezTo>
                        <a:cubicBezTo>
                          <a:pt x="397097" y="555022"/>
                          <a:pt x="204025" y="552260"/>
                          <a:pt x="0" y="518255"/>
                        </a:cubicBezTo>
                        <a:lnTo>
                          <a:pt x="0" y="0"/>
                        </a:lnTo>
                        <a:cubicBezTo>
                          <a:pt x="0" y="0"/>
                          <a:pt x="513302" y="0"/>
                          <a:pt x="513302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0" name="Freihandform: Form 269">
                    <a:extLst>
                      <a:ext uri="{FF2B5EF4-FFF2-40B4-BE49-F238E27FC236}">
                        <a16:creationId xmlns:a16="http://schemas.microsoft.com/office/drawing/2014/main" id="{C1624107-5BB4-1C8E-B299-E68F4B804CED}"/>
                      </a:ext>
                    </a:extLst>
                  </p:cNvPr>
                  <p:cNvSpPr/>
                  <p:nvPr/>
                </p:nvSpPr>
                <p:spPr>
                  <a:xfrm>
                    <a:off x="2049737" y="1674208"/>
                    <a:ext cx="709549" cy="1346632"/>
                  </a:xfrm>
                  <a:custGeom>
                    <a:avLst/>
                    <a:gdLst>
                      <a:gd name="connsiteX0" fmla="*/ 110944 w 709549"/>
                      <a:gd name="connsiteY0" fmla="*/ 1154241 h 1346632"/>
                      <a:gd name="connsiteX1" fmla="*/ 556048 w 709549"/>
                      <a:gd name="connsiteY1" fmla="*/ 1339883 h 1346632"/>
                      <a:gd name="connsiteX2" fmla="*/ 707686 w 709549"/>
                      <a:gd name="connsiteY2" fmla="*/ 1232727 h 1346632"/>
                      <a:gd name="connsiteX3" fmla="*/ 430413 w 709549"/>
                      <a:gd name="connsiteY3" fmla="*/ 837249 h 1346632"/>
                      <a:gd name="connsiteX4" fmla="*/ 319732 w 709549"/>
                      <a:gd name="connsiteY4" fmla="*/ 283560 h 1346632"/>
                      <a:gd name="connsiteX5" fmla="*/ 153426 w 709549"/>
                      <a:gd name="connsiteY5" fmla="*/ 3144 h 1346632"/>
                      <a:gd name="connsiteX6" fmla="*/ 110944 w 709549"/>
                      <a:gd name="connsiteY6" fmla="*/ 1154241 h 13466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09549" h="1346632">
                        <a:moveTo>
                          <a:pt x="110944" y="1154241"/>
                        </a:moveTo>
                        <a:cubicBezTo>
                          <a:pt x="110944" y="1154241"/>
                          <a:pt x="179143" y="1226154"/>
                          <a:pt x="556048" y="1339883"/>
                        </a:cubicBezTo>
                        <a:cubicBezTo>
                          <a:pt x="668633" y="1373887"/>
                          <a:pt x="702447" y="1270255"/>
                          <a:pt x="707686" y="1232727"/>
                        </a:cubicBezTo>
                        <a:cubicBezTo>
                          <a:pt x="724831" y="1108521"/>
                          <a:pt x="623008" y="983934"/>
                          <a:pt x="430413" y="837249"/>
                        </a:cubicBezTo>
                        <a:cubicBezTo>
                          <a:pt x="278870" y="721806"/>
                          <a:pt x="311541" y="523781"/>
                          <a:pt x="319732" y="283560"/>
                        </a:cubicBezTo>
                        <a:cubicBezTo>
                          <a:pt x="327924" y="43340"/>
                          <a:pt x="153426" y="3144"/>
                          <a:pt x="153426" y="3144"/>
                        </a:cubicBezTo>
                        <a:cubicBezTo>
                          <a:pt x="-28025" y="-65531"/>
                          <a:pt x="-56505" y="1012032"/>
                          <a:pt x="110944" y="1154241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1" name="Freihandform: Form 270">
                    <a:extLst>
                      <a:ext uri="{FF2B5EF4-FFF2-40B4-BE49-F238E27FC236}">
                        <a16:creationId xmlns:a16="http://schemas.microsoft.com/office/drawing/2014/main" id="{87AE6449-0601-791A-A571-B10FA4B12EFA}"/>
                      </a:ext>
                    </a:extLst>
                  </p:cNvPr>
                  <p:cNvSpPr/>
                  <p:nvPr/>
                </p:nvSpPr>
                <p:spPr>
                  <a:xfrm>
                    <a:off x="2542063" y="2036635"/>
                    <a:ext cx="268223" cy="262472"/>
                  </a:xfrm>
                  <a:custGeom>
                    <a:avLst/>
                    <a:gdLst>
                      <a:gd name="connsiteX0" fmla="*/ 268224 w 268223"/>
                      <a:gd name="connsiteY0" fmla="*/ 230600 h 262472"/>
                      <a:gd name="connsiteX1" fmla="*/ 0 w 268223"/>
                      <a:gd name="connsiteY1" fmla="*/ 253079 h 262472"/>
                      <a:gd name="connsiteX2" fmla="*/ 33909 w 268223"/>
                      <a:gd name="connsiteY2" fmla="*/ 0 h 262472"/>
                      <a:gd name="connsiteX3" fmla="*/ 215646 w 268223"/>
                      <a:gd name="connsiteY3" fmla="*/ 7525 h 262472"/>
                      <a:gd name="connsiteX4" fmla="*/ 268224 w 268223"/>
                      <a:gd name="connsiteY4" fmla="*/ 230600 h 2624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8223" h="262472">
                        <a:moveTo>
                          <a:pt x="268224" y="230600"/>
                        </a:moveTo>
                        <a:cubicBezTo>
                          <a:pt x="244888" y="246697"/>
                          <a:pt x="63246" y="278225"/>
                          <a:pt x="0" y="253079"/>
                        </a:cubicBezTo>
                        <a:lnTo>
                          <a:pt x="33909" y="0"/>
                        </a:lnTo>
                        <a:lnTo>
                          <a:pt x="215646" y="7525"/>
                        </a:lnTo>
                        <a:lnTo>
                          <a:pt x="268224" y="23060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2" name="Freihandform: Form 271">
                    <a:extLst>
                      <a:ext uri="{FF2B5EF4-FFF2-40B4-BE49-F238E27FC236}">
                        <a16:creationId xmlns:a16="http://schemas.microsoft.com/office/drawing/2014/main" id="{8DD76C84-BA69-842F-69DC-00470CC130B4}"/>
                      </a:ext>
                    </a:extLst>
                  </p:cNvPr>
                  <p:cNvSpPr/>
                  <p:nvPr/>
                </p:nvSpPr>
                <p:spPr>
                  <a:xfrm>
                    <a:off x="2577496" y="2040159"/>
                    <a:ext cx="232791" cy="230885"/>
                  </a:xfrm>
                  <a:custGeom>
                    <a:avLst/>
                    <a:gdLst>
                      <a:gd name="connsiteX0" fmla="*/ 228695 w 232791"/>
                      <a:gd name="connsiteY0" fmla="*/ 0 h 230885"/>
                      <a:gd name="connsiteX1" fmla="*/ 232791 w 232791"/>
                      <a:gd name="connsiteY1" fmla="*/ 227076 h 230885"/>
                      <a:gd name="connsiteX2" fmla="*/ 0 w 232791"/>
                      <a:gd name="connsiteY2" fmla="*/ 230886 h 230885"/>
                      <a:gd name="connsiteX3" fmla="*/ 0 w 232791"/>
                      <a:gd name="connsiteY3" fmla="*/ 0 h 230885"/>
                      <a:gd name="connsiteX4" fmla="*/ 228695 w 232791"/>
                      <a:gd name="connsiteY4" fmla="*/ 0 h 2308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2791" h="230885">
                        <a:moveTo>
                          <a:pt x="228695" y="0"/>
                        </a:moveTo>
                        <a:lnTo>
                          <a:pt x="232791" y="227076"/>
                        </a:lnTo>
                        <a:lnTo>
                          <a:pt x="0" y="230886"/>
                        </a:lnTo>
                        <a:lnTo>
                          <a:pt x="0" y="0"/>
                        </a:lnTo>
                        <a:lnTo>
                          <a:pt x="228695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3" name="Freihandform: Form 272">
                    <a:extLst>
                      <a:ext uri="{FF2B5EF4-FFF2-40B4-BE49-F238E27FC236}">
                        <a16:creationId xmlns:a16="http://schemas.microsoft.com/office/drawing/2014/main" id="{6A655F8E-669E-E2A8-8C2E-476B779A5A66}"/>
                      </a:ext>
                    </a:extLst>
                  </p:cNvPr>
                  <p:cNvSpPr/>
                  <p:nvPr/>
                </p:nvSpPr>
                <p:spPr>
                  <a:xfrm>
                    <a:off x="2207830" y="1280636"/>
                    <a:ext cx="532914" cy="439864"/>
                  </a:xfrm>
                  <a:custGeom>
                    <a:avLst/>
                    <a:gdLst>
                      <a:gd name="connsiteX0" fmla="*/ 0 w 532914"/>
                      <a:gd name="connsiteY0" fmla="*/ 164973 h 439864"/>
                      <a:gd name="connsiteX1" fmla="*/ 40481 w 532914"/>
                      <a:gd name="connsiteY1" fmla="*/ 0 h 439864"/>
                      <a:gd name="connsiteX2" fmla="*/ 528733 w 532914"/>
                      <a:gd name="connsiteY2" fmla="*/ 274415 h 439864"/>
                      <a:gd name="connsiteX3" fmla="*/ 513017 w 532914"/>
                      <a:gd name="connsiteY3" fmla="*/ 439864 h 439864"/>
                      <a:gd name="connsiteX4" fmla="*/ 0 w 532914"/>
                      <a:gd name="connsiteY4" fmla="*/ 165068 h 4398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32914" h="439864">
                        <a:moveTo>
                          <a:pt x="0" y="164973"/>
                        </a:moveTo>
                        <a:lnTo>
                          <a:pt x="40481" y="0"/>
                        </a:lnTo>
                        <a:cubicBezTo>
                          <a:pt x="40481" y="0"/>
                          <a:pt x="461772" y="175260"/>
                          <a:pt x="528733" y="274415"/>
                        </a:cubicBezTo>
                        <a:cubicBezTo>
                          <a:pt x="543878" y="296799"/>
                          <a:pt x="513017" y="439864"/>
                          <a:pt x="513017" y="439864"/>
                        </a:cubicBezTo>
                        <a:lnTo>
                          <a:pt x="0" y="16506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4" name="Freihandform: Form 273">
                    <a:extLst>
                      <a:ext uri="{FF2B5EF4-FFF2-40B4-BE49-F238E27FC236}">
                        <a16:creationId xmlns:a16="http://schemas.microsoft.com/office/drawing/2014/main" id="{29716C2D-77CD-CAD2-6F0C-BD60953776E9}"/>
                      </a:ext>
                    </a:extLst>
                  </p:cNvPr>
                  <p:cNvSpPr/>
                  <p:nvPr/>
                </p:nvSpPr>
                <p:spPr>
                  <a:xfrm>
                    <a:off x="2218784" y="4529518"/>
                    <a:ext cx="511111" cy="511111"/>
                  </a:xfrm>
                  <a:custGeom>
                    <a:avLst/>
                    <a:gdLst>
                      <a:gd name="connsiteX0" fmla="*/ 511111 w 511111"/>
                      <a:gd name="connsiteY0" fmla="*/ 255556 h 511111"/>
                      <a:gd name="connsiteX1" fmla="*/ 255556 w 511111"/>
                      <a:gd name="connsiteY1" fmla="*/ 511111 h 511111"/>
                      <a:gd name="connsiteX2" fmla="*/ 0 w 511111"/>
                      <a:gd name="connsiteY2" fmla="*/ 255556 h 511111"/>
                      <a:gd name="connsiteX3" fmla="*/ 255556 w 511111"/>
                      <a:gd name="connsiteY3" fmla="*/ 0 h 511111"/>
                      <a:gd name="connsiteX4" fmla="*/ 511111 w 511111"/>
                      <a:gd name="connsiteY4" fmla="*/ 255556 h 5111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1111" h="511111">
                        <a:moveTo>
                          <a:pt x="511111" y="255556"/>
                        </a:moveTo>
                        <a:cubicBezTo>
                          <a:pt x="511111" y="396695"/>
                          <a:pt x="396695" y="511111"/>
                          <a:pt x="255556" y="511111"/>
                        </a:cubicBezTo>
                        <a:cubicBezTo>
                          <a:pt x="114416" y="511111"/>
                          <a:pt x="0" y="396695"/>
                          <a:pt x="0" y="255556"/>
                        </a:cubicBezTo>
                        <a:cubicBezTo>
                          <a:pt x="0" y="114416"/>
                          <a:pt x="114416" y="0"/>
                          <a:pt x="255556" y="0"/>
                        </a:cubicBezTo>
                        <a:cubicBezTo>
                          <a:pt x="396695" y="0"/>
                          <a:pt x="511111" y="114416"/>
                          <a:pt x="511111" y="25555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75" name="Grafik 23">
                  <a:extLst>
                    <a:ext uri="{FF2B5EF4-FFF2-40B4-BE49-F238E27FC236}">
                      <a16:creationId xmlns:a16="http://schemas.microsoft.com/office/drawing/2014/main" id="{9EAD3F0E-A6BF-2EE3-5490-83607AB77C64}"/>
                    </a:ext>
                  </a:extLst>
                </p:cNvPr>
                <p:cNvGrpSpPr/>
                <p:nvPr/>
              </p:nvGrpSpPr>
              <p:grpSpPr>
                <a:xfrm>
                  <a:off x="2645951" y="2614089"/>
                  <a:ext cx="835086" cy="566403"/>
                  <a:chOff x="2645951" y="2614089"/>
                  <a:chExt cx="835086" cy="566403"/>
                </a:xfrm>
              </p:grpSpPr>
              <p:grpSp>
                <p:nvGrpSpPr>
                  <p:cNvPr id="276" name="Grafik 23">
                    <a:extLst>
                      <a:ext uri="{FF2B5EF4-FFF2-40B4-BE49-F238E27FC236}">
                        <a16:creationId xmlns:a16="http://schemas.microsoft.com/office/drawing/2014/main" id="{040EF8D3-7DA9-FF26-A05C-AF3D368B5385}"/>
                      </a:ext>
                    </a:extLst>
                  </p:cNvPr>
                  <p:cNvGrpSpPr/>
                  <p:nvPr/>
                </p:nvGrpSpPr>
                <p:grpSpPr>
                  <a:xfrm>
                    <a:off x="2748660" y="2614089"/>
                    <a:ext cx="732377" cy="566403"/>
                    <a:chOff x="2748660" y="2614089"/>
                    <a:chExt cx="732377" cy="566403"/>
                  </a:xfrm>
                </p:grpSpPr>
                <p:sp>
                  <p:nvSpPr>
                    <p:cNvPr id="277" name="Freihandform: Form 276">
                      <a:extLst>
                        <a:ext uri="{FF2B5EF4-FFF2-40B4-BE49-F238E27FC236}">
                          <a16:creationId xmlns:a16="http://schemas.microsoft.com/office/drawing/2014/main" id="{A4C60239-D0C9-BF03-B2A3-7BB6C21AF1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22288" y="2658189"/>
                      <a:ext cx="411099" cy="129236"/>
                    </a:xfrm>
                    <a:custGeom>
                      <a:avLst/>
                      <a:gdLst>
                        <a:gd name="connsiteX0" fmla="*/ 95 w 411099"/>
                        <a:gd name="connsiteY0" fmla="*/ 59483 h 129236"/>
                        <a:gd name="connsiteX1" fmla="*/ 130111 w 411099"/>
                        <a:gd name="connsiteY1" fmla="*/ 714 h 129236"/>
                        <a:gd name="connsiteX2" fmla="*/ 235172 w 411099"/>
                        <a:gd name="connsiteY2" fmla="*/ 7858 h 129236"/>
                        <a:gd name="connsiteX3" fmla="*/ 411099 w 411099"/>
                        <a:gd name="connsiteY3" fmla="*/ 41481 h 129236"/>
                        <a:gd name="connsiteX4" fmla="*/ 393668 w 411099"/>
                        <a:gd name="connsiteY4" fmla="*/ 70723 h 129236"/>
                        <a:gd name="connsiteX5" fmla="*/ 184023 w 411099"/>
                        <a:gd name="connsiteY5" fmla="*/ 83010 h 129236"/>
                        <a:gd name="connsiteX6" fmla="*/ 92678 w 411099"/>
                        <a:gd name="connsiteY6" fmla="*/ 128921 h 129236"/>
                        <a:gd name="connsiteX7" fmla="*/ 0 w 411099"/>
                        <a:gd name="connsiteY7" fmla="*/ 59483 h 12923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11099" h="129236">
                          <a:moveTo>
                            <a:pt x="95" y="59483"/>
                          </a:moveTo>
                          <a:cubicBezTo>
                            <a:pt x="5429" y="57674"/>
                            <a:pt x="90964" y="4238"/>
                            <a:pt x="130111" y="714"/>
                          </a:cubicBezTo>
                          <a:cubicBezTo>
                            <a:pt x="169259" y="-2810"/>
                            <a:pt x="235172" y="7858"/>
                            <a:pt x="235172" y="7858"/>
                          </a:cubicBezTo>
                          <a:lnTo>
                            <a:pt x="411099" y="41481"/>
                          </a:lnTo>
                          <a:cubicBezTo>
                            <a:pt x="411099" y="41481"/>
                            <a:pt x="406717" y="58817"/>
                            <a:pt x="393668" y="70723"/>
                          </a:cubicBezTo>
                          <a:cubicBezTo>
                            <a:pt x="361759" y="99869"/>
                            <a:pt x="194691" y="68818"/>
                            <a:pt x="184023" y="83010"/>
                          </a:cubicBezTo>
                          <a:cubicBezTo>
                            <a:pt x="168021" y="104346"/>
                            <a:pt x="146113" y="132540"/>
                            <a:pt x="92678" y="128921"/>
                          </a:cubicBezTo>
                          <a:cubicBezTo>
                            <a:pt x="39243" y="125396"/>
                            <a:pt x="0" y="59483"/>
                            <a:pt x="0" y="59483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78" name="Freihandform: Form 277">
                      <a:extLst>
                        <a:ext uri="{FF2B5EF4-FFF2-40B4-BE49-F238E27FC236}">
                          <a16:creationId xmlns:a16="http://schemas.microsoft.com/office/drawing/2014/main" id="{8C755A21-0D28-B556-B191-C96A575F51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91726" y="2614089"/>
                      <a:ext cx="589311" cy="566403"/>
                    </a:xfrm>
                    <a:custGeom>
                      <a:avLst/>
                      <a:gdLst>
                        <a:gd name="connsiteX0" fmla="*/ 162687 w 589311"/>
                        <a:gd name="connsiteY0" fmla="*/ 25193 h 566403"/>
                        <a:gd name="connsiteX1" fmla="*/ 155924 w 589311"/>
                        <a:gd name="connsiteY1" fmla="*/ 115775 h 566403"/>
                        <a:gd name="connsiteX2" fmla="*/ 952 w 589311"/>
                        <a:gd name="connsiteY2" fmla="*/ 472677 h 566403"/>
                        <a:gd name="connsiteX3" fmla="*/ 0 w 589311"/>
                        <a:gd name="connsiteY3" fmla="*/ 475630 h 566403"/>
                        <a:gd name="connsiteX4" fmla="*/ 232505 w 589311"/>
                        <a:gd name="connsiteY4" fmla="*/ 566403 h 566403"/>
                        <a:gd name="connsiteX5" fmla="*/ 185452 w 589311"/>
                        <a:gd name="connsiteY5" fmla="*/ 423623 h 566403"/>
                        <a:gd name="connsiteX6" fmla="*/ 258223 w 589311"/>
                        <a:gd name="connsiteY6" fmla="*/ 198548 h 566403"/>
                        <a:gd name="connsiteX7" fmla="*/ 555117 w 589311"/>
                        <a:gd name="connsiteY7" fmla="*/ 206453 h 566403"/>
                        <a:gd name="connsiteX8" fmla="*/ 589312 w 589311"/>
                        <a:gd name="connsiteY8" fmla="*/ 35765 h 566403"/>
                        <a:gd name="connsiteX9" fmla="*/ 162687 w 589311"/>
                        <a:gd name="connsiteY9" fmla="*/ 25193 h 5664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589311" h="566403">
                          <a:moveTo>
                            <a:pt x="162687" y="25193"/>
                          </a:moveTo>
                          <a:cubicBezTo>
                            <a:pt x="119063" y="80247"/>
                            <a:pt x="155924" y="115775"/>
                            <a:pt x="155924" y="115775"/>
                          </a:cubicBezTo>
                          <a:lnTo>
                            <a:pt x="952" y="472677"/>
                          </a:lnTo>
                          <a:cubicBezTo>
                            <a:pt x="571" y="473630"/>
                            <a:pt x="286" y="474677"/>
                            <a:pt x="0" y="475630"/>
                          </a:cubicBezTo>
                          <a:lnTo>
                            <a:pt x="232505" y="566403"/>
                          </a:lnTo>
                          <a:cubicBezTo>
                            <a:pt x="252603" y="528779"/>
                            <a:pt x="196405" y="487631"/>
                            <a:pt x="185452" y="423623"/>
                          </a:cubicBezTo>
                          <a:cubicBezTo>
                            <a:pt x="172879" y="350281"/>
                            <a:pt x="258223" y="198548"/>
                            <a:pt x="258223" y="198548"/>
                          </a:cubicBezTo>
                          <a:cubicBezTo>
                            <a:pt x="258223" y="198548"/>
                            <a:pt x="484632" y="210740"/>
                            <a:pt x="555117" y="206453"/>
                          </a:cubicBezTo>
                          <a:lnTo>
                            <a:pt x="589312" y="35765"/>
                          </a:lnTo>
                          <a:cubicBezTo>
                            <a:pt x="532352" y="10905"/>
                            <a:pt x="202406" y="-24814"/>
                            <a:pt x="162687" y="25193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79" name="Freihandform: Form 278">
                      <a:extLst>
                        <a:ext uri="{FF2B5EF4-FFF2-40B4-BE49-F238E27FC236}">
                          <a16:creationId xmlns:a16="http://schemas.microsoft.com/office/drawing/2014/main" id="{3F856690-FED4-BE83-7DD9-8E3FAC97A1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748660" y="2687954"/>
                      <a:ext cx="626027" cy="304133"/>
                    </a:xfrm>
                    <a:custGeom>
                      <a:avLst/>
                      <a:gdLst>
                        <a:gd name="connsiteX0" fmla="*/ 47244 w 626027"/>
                        <a:gd name="connsiteY0" fmla="*/ 0 h 304133"/>
                        <a:gd name="connsiteX1" fmla="*/ 244126 w 626027"/>
                        <a:gd name="connsiteY1" fmla="*/ 30956 h 304133"/>
                        <a:gd name="connsiteX2" fmla="*/ 438626 w 626027"/>
                        <a:gd name="connsiteY2" fmla="*/ 82106 h 304133"/>
                        <a:gd name="connsiteX3" fmla="*/ 527971 w 626027"/>
                        <a:gd name="connsiteY3" fmla="*/ 90202 h 304133"/>
                        <a:gd name="connsiteX4" fmla="*/ 624935 w 626027"/>
                        <a:gd name="connsiteY4" fmla="*/ 132874 h 304133"/>
                        <a:gd name="connsiteX5" fmla="*/ 542449 w 626027"/>
                        <a:gd name="connsiteY5" fmla="*/ 143542 h 304133"/>
                        <a:gd name="connsiteX6" fmla="*/ 490442 w 626027"/>
                        <a:gd name="connsiteY6" fmla="*/ 146399 h 304133"/>
                        <a:gd name="connsiteX7" fmla="*/ 488918 w 626027"/>
                        <a:gd name="connsiteY7" fmla="*/ 166021 h 304133"/>
                        <a:gd name="connsiteX8" fmla="*/ 467106 w 626027"/>
                        <a:gd name="connsiteY8" fmla="*/ 198120 h 304133"/>
                        <a:gd name="connsiteX9" fmla="*/ 417386 w 626027"/>
                        <a:gd name="connsiteY9" fmla="*/ 244221 h 304133"/>
                        <a:gd name="connsiteX10" fmla="*/ 366427 w 626027"/>
                        <a:gd name="connsiteY10" fmla="*/ 304133 h 304133"/>
                        <a:gd name="connsiteX11" fmla="*/ 231553 w 626027"/>
                        <a:gd name="connsiteY11" fmla="*/ 293370 h 304133"/>
                        <a:gd name="connsiteX12" fmla="*/ 0 w 626027"/>
                        <a:gd name="connsiteY12" fmla="*/ 168212 h 304133"/>
                        <a:gd name="connsiteX13" fmla="*/ 47339 w 626027"/>
                        <a:gd name="connsiteY13" fmla="*/ 0 h 3041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</a:cxnLst>
                      <a:rect l="l" t="t" r="r" b="b"/>
                      <a:pathLst>
                        <a:path w="626027" h="304133">
                          <a:moveTo>
                            <a:pt x="47244" y="0"/>
                          </a:moveTo>
                          <a:lnTo>
                            <a:pt x="244126" y="30956"/>
                          </a:lnTo>
                          <a:cubicBezTo>
                            <a:pt x="244126" y="30956"/>
                            <a:pt x="388430" y="66580"/>
                            <a:pt x="438626" y="82106"/>
                          </a:cubicBezTo>
                          <a:cubicBezTo>
                            <a:pt x="484823" y="86678"/>
                            <a:pt x="527971" y="90202"/>
                            <a:pt x="527971" y="90202"/>
                          </a:cubicBezTo>
                          <a:cubicBezTo>
                            <a:pt x="574167" y="84392"/>
                            <a:pt x="634936" y="97346"/>
                            <a:pt x="624935" y="132874"/>
                          </a:cubicBezTo>
                          <a:cubicBezTo>
                            <a:pt x="613315" y="135255"/>
                            <a:pt x="552736" y="142304"/>
                            <a:pt x="542449" y="143542"/>
                          </a:cubicBezTo>
                          <a:cubicBezTo>
                            <a:pt x="523685" y="145733"/>
                            <a:pt x="490442" y="146399"/>
                            <a:pt x="490442" y="146399"/>
                          </a:cubicBezTo>
                          <a:lnTo>
                            <a:pt x="488918" y="166021"/>
                          </a:lnTo>
                          <a:lnTo>
                            <a:pt x="467106" y="198120"/>
                          </a:lnTo>
                          <a:lnTo>
                            <a:pt x="417386" y="244221"/>
                          </a:lnTo>
                          <a:lnTo>
                            <a:pt x="366427" y="304133"/>
                          </a:lnTo>
                          <a:cubicBezTo>
                            <a:pt x="366427" y="304133"/>
                            <a:pt x="244697" y="292703"/>
                            <a:pt x="231553" y="293370"/>
                          </a:cubicBezTo>
                          <a:cubicBezTo>
                            <a:pt x="200787" y="294894"/>
                            <a:pt x="34100" y="193358"/>
                            <a:pt x="0" y="168212"/>
                          </a:cubicBezTo>
                          <a:cubicBezTo>
                            <a:pt x="6668" y="73533"/>
                            <a:pt x="47339" y="0"/>
                            <a:pt x="47339" y="0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80" name="Freihandform: Form 279">
                      <a:extLst>
                        <a:ext uri="{FF2B5EF4-FFF2-40B4-BE49-F238E27FC236}">
                          <a16:creationId xmlns:a16="http://schemas.microsoft.com/office/drawing/2014/main" id="{18504E2E-4F7E-2244-5A93-7F5B07DD0BC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78987" y="2815780"/>
                      <a:ext cx="160115" cy="36816"/>
                    </a:xfrm>
                    <a:custGeom>
                      <a:avLst/>
                      <a:gdLst>
                        <a:gd name="connsiteX0" fmla="*/ 160115 w 160115"/>
                        <a:gd name="connsiteY0" fmla="*/ 18669 h 36816"/>
                        <a:gd name="connsiteX1" fmla="*/ 55912 w 160115"/>
                        <a:gd name="connsiteY1" fmla="*/ 13335 h 36816"/>
                        <a:gd name="connsiteX2" fmla="*/ 0 w 160115"/>
                        <a:gd name="connsiteY2" fmla="*/ 0 h 36816"/>
                        <a:gd name="connsiteX3" fmla="*/ 79629 w 160115"/>
                        <a:gd name="connsiteY3" fmla="*/ 34671 h 36816"/>
                        <a:gd name="connsiteX4" fmla="*/ 158687 w 160115"/>
                        <a:gd name="connsiteY4" fmla="*/ 36576 h 36816"/>
                        <a:gd name="connsiteX5" fmla="*/ 160115 w 160115"/>
                        <a:gd name="connsiteY5" fmla="*/ 18669 h 3681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60115" h="36816">
                          <a:moveTo>
                            <a:pt x="160115" y="18669"/>
                          </a:moveTo>
                          <a:lnTo>
                            <a:pt x="55912" y="13335"/>
                          </a:lnTo>
                          <a:lnTo>
                            <a:pt x="0" y="0"/>
                          </a:lnTo>
                          <a:cubicBezTo>
                            <a:pt x="0" y="0"/>
                            <a:pt x="46958" y="31528"/>
                            <a:pt x="79629" y="34671"/>
                          </a:cubicBezTo>
                          <a:cubicBezTo>
                            <a:pt x="112300" y="37814"/>
                            <a:pt x="158687" y="36576"/>
                            <a:pt x="158687" y="36576"/>
                          </a:cubicBezTo>
                          <a:lnTo>
                            <a:pt x="160115" y="18669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281" name="Freihandform: Form 280">
                    <a:extLst>
                      <a:ext uri="{FF2B5EF4-FFF2-40B4-BE49-F238E27FC236}">
                        <a16:creationId xmlns:a16="http://schemas.microsoft.com/office/drawing/2014/main" id="{73C7FE32-657E-2484-A529-0FC327E30E10}"/>
                      </a:ext>
                    </a:extLst>
                  </p:cNvPr>
                  <p:cNvSpPr/>
                  <p:nvPr/>
                </p:nvSpPr>
                <p:spPr>
                  <a:xfrm rot="-2247599">
                    <a:off x="2681100" y="2683664"/>
                    <a:ext cx="174878" cy="174878"/>
                  </a:xfrm>
                  <a:custGeom>
                    <a:avLst/>
                    <a:gdLst>
                      <a:gd name="connsiteX0" fmla="*/ 174879 w 174878"/>
                      <a:gd name="connsiteY0" fmla="*/ 87439 h 174878"/>
                      <a:gd name="connsiteX1" fmla="*/ 87439 w 174878"/>
                      <a:gd name="connsiteY1" fmla="*/ 174879 h 174878"/>
                      <a:gd name="connsiteX2" fmla="*/ 0 w 174878"/>
                      <a:gd name="connsiteY2" fmla="*/ 87439 h 174878"/>
                      <a:gd name="connsiteX3" fmla="*/ 87439 w 174878"/>
                      <a:gd name="connsiteY3" fmla="*/ 0 h 174878"/>
                      <a:gd name="connsiteX4" fmla="*/ 174879 w 174878"/>
                      <a:gd name="connsiteY4" fmla="*/ 87439 h 174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74878" h="174878">
                        <a:moveTo>
                          <a:pt x="174879" y="87439"/>
                        </a:moveTo>
                        <a:cubicBezTo>
                          <a:pt x="174879" y="135731"/>
                          <a:pt x="135731" y="174879"/>
                          <a:pt x="87439" y="174879"/>
                        </a:cubicBezTo>
                        <a:cubicBezTo>
                          <a:pt x="39148" y="174879"/>
                          <a:pt x="0" y="135731"/>
                          <a:pt x="0" y="87439"/>
                        </a:cubicBezTo>
                        <a:cubicBezTo>
                          <a:pt x="0" y="39148"/>
                          <a:pt x="39148" y="0"/>
                          <a:pt x="87439" y="0"/>
                        </a:cubicBezTo>
                        <a:cubicBezTo>
                          <a:pt x="135731" y="0"/>
                          <a:pt x="174879" y="39148"/>
                          <a:pt x="174879" y="87439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82" name="Grafik 23">
                  <a:extLst>
                    <a:ext uri="{FF2B5EF4-FFF2-40B4-BE49-F238E27FC236}">
                      <a16:creationId xmlns:a16="http://schemas.microsoft.com/office/drawing/2014/main" id="{7734A28E-F96F-73DD-F935-5A41041B1F68}"/>
                    </a:ext>
                  </a:extLst>
                </p:cNvPr>
                <p:cNvGrpSpPr/>
                <p:nvPr/>
              </p:nvGrpSpPr>
              <p:grpSpPr>
                <a:xfrm>
                  <a:off x="1874837" y="2455926"/>
                  <a:ext cx="921353" cy="469868"/>
                  <a:chOff x="1874837" y="2455926"/>
                  <a:chExt cx="921353" cy="469868"/>
                </a:xfrm>
              </p:grpSpPr>
              <p:sp>
                <p:nvSpPr>
                  <p:cNvPr id="283" name="Freihandform: Form 282">
                    <a:extLst>
                      <a:ext uri="{FF2B5EF4-FFF2-40B4-BE49-F238E27FC236}">
                        <a16:creationId xmlns:a16="http://schemas.microsoft.com/office/drawing/2014/main" id="{165A9000-107B-243D-339A-2ADA8272A35F}"/>
                      </a:ext>
                    </a:extLst>
                  </p:cNvPr>
                  <p:cNvSpPr/>
                  <p:nvPr/>
                </p:nvSpPr>
                <p:spPr>
                  <a:xfrm>
                    <a:off x="2638551" y="2652045"/>
                    <a:ext cx="157352" cy="204120"/>
                  </a:xfrm>
                  <a:custGeom>
                    <a:avLst/>
                    <a:gdLst>
                      <a:gd name="connsiteX0" fmla="*/ 110014 w 157352"/>
                      <a:gd name="connsiteY0" fmla="*/ 204121 h 204120"/>
                      <a:gd name="connsiteX1" fmla="*/ 157353 w 157352"/>
                      <a:gd name="connsiteY1" fmla="*/ 35909 h 204120"/>
                      <a:gd name="connsiteX2" fmla="*/ 46387 w 157352"/>
                      <a:gd name="connsiteY2" fmla="*/ 0 h 204120"/>
                      <a:gd name="connsiteX3" fmla="*/ 0 w 157352"/>
                      <a:gd name="connsiteY3" fmla="*/ 187928 h 204120"/>
                      <a:gd name="connsiteX4" fmla="*/ 110014 w 157352"/>
                      <a:gd name="connsiteY4" fmla="*/ 204121 h 2041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7352" h="204120">
                        <a:moveTo>
                          <a:pt x="110014" y="204121"/>
                        </a:moveTo>
                        <a:lnTo>
                          <a:pt x="157353" y="35909"/>
                        </a:lnTo>
                        <a:lnTo>
                          <a:pt x="46387" y="0"/>
                        </a:lnTo>
                        <a:lnTo>
                          <a:pt x="0" y="187928"/>
                        </a:lnTo>
                        <a:lnTo>
                          <a:pt x="110014" y="204121"/>
                        </a:ln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4" name="Freihandform: Form 283">
                    <a:extLst>
                      <a:ext uri="{FF2B5EF4-FFF2-40B4-BE49-F238E27FC236}">
                        <a16:creationId xmlns:a16="http://schemas.microsoft.com/office/drawing/2014/main" id="{04B9EE4C-F2D8-73BC-8A49-BBEA9D400BC3}"/>
                      </a:ext>
                    </a:extLst>
                  </p:cNvPr>
                  <p:cNvSpPr/>
                  <p:nvPr/>
                </p:nvSpPr>
                <p:spPr>
                  <a:xfrm>
                    <a:off x="2012663" y="2463641"/>
                    <a:ext cx="783526" cy="462153"/>
                  </a:xfrm>
                  <a:custGeom>
                    <a:avLst/>
                    <a:gdLst>
                      <a:gd name="connsiteX0" fmla="*/ 0 w 783526"/>
                      <a:gd name="connsiteY0" fmla="*/ 334423 h 462153"/>
                      <a:gd name="connsiteX1" fmla="*/ 742188 w 783526"/>
                      <a:gd name="connsiteY1" fmla="*/ 462153 h 462153"/>
                      <a:gd name="connsiteX2" fmla="*/ 783527 w 783526"/>
                      <a:gd name="connsiteY2" fmla="*/ 163259 h 462153"/>
                      <a:gd name="connsiteX3" fmla="*/ 86201 w 783526"/>
                      <a:gd name="connsiteY3" fmla="*/ 0 h 462153"/>
                      <a:gd name="connsiteX4" fmla="*/ 0 w 783526"/>
                      <a:gd name="connsiteY4" fmla="*/ 334423 h 4621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83526" h="462153">
                        <a:moveTo>
                          <a:pt x="0" y="334423"/>
                        </a:moveTo>
                        <a:lnTo>
                          <a:pt x="742188" y="462153"/>
                        </a:lnTo>
                        <a:lnTo>
                          <a:pt x="783527" y="163259"/>
                        </a:lnTo>
                        <a:lnTo>
                          <a:pt x="86201" y="0"/>
                        </a:lnTo>
                        <a:lnTo>
                          <a:pt x="0" y="33442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5" name="Freihandform: Form 284">
                    <a:extLst>
                      <a:ext uri="{FF2B5EF4-FFF2-40B4-BE49-F238E27FC236}">
                        <a16:creationId xmlns:a16="http://schemas.microsoft.com/office/drawing/2014/main" id="{36B3AEFF-26BD-470B-42F7-3FF8E429964D}"/>
                      </a:ext>
                    </a:extLst>
                  </p:cNvPr>
                  <p:cNvSpPr/>
                  <p:nvPr/>
                </p:nvSpPr>
                <p:spPr>
                  <a:xfrm>
                    <a:off x="1874837" y="2455926"/>
                    <a:ext cx="345567" cy="345567"/>
                  </a:xfrm>
                  <a:custGeom>
                    <a:avLst/>
                    <a:gdLst>
                      <a:gd name="connsiteX0" fmla="*/ 345567 w 345567"/>
                      <a:gd name="connsiteY0" fmla="*/ 172783 h 345567"/>
                      <a:gd name="connsiteX1" fmla="*/ 172784 w 345567"/>
                      <a:gd name="connsiteY1" fmla="*/ 345567 h 345567"/>
                      <a:gd name="connsiteX2" fmla="*/ 0 w 345567"/>
                      <a:gd name="connsiteY2" fmla="*/ 172783 h 345567"/>
                      <a:gd name="connsiteX3" fmla="*/ 172784 w 345567"/>
                      <a:gd name="connsiteY3" fmla="*/ 0 h 345567"/>
                      <a:gd name="connsiteX4" fmla="*/ 345567 w 345567"/>
                      <a:gd name="connsiteY4" fmla="*/ 172783 h 3455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45567" h="345567">
                        <a:moveTo>
                          <a:pt x="345567" y="172783"/>
                        </a:moveTo>
                        <a:cubicBezTo>
                          <a:pt x="345567" y="268209"/>
                          <a:pt x="268209" y="345567"/>
                          <a:pt x="172784" y="345567"/>
                        </a:cubicBezTo>
                        <a:cubicBezTo>
                          <a:pt x="77358" y="345567"/>
                          <a:pt x="0" y="268209"/>
                          <a:pt x="0" y="172783"/>
                        </a:cubicBezTo>
                        <a:cubicBezTo>
                          <a:pt x="0" y="77358"/>
                          <a:pt x="77358" y="0"/>
                          <a:pt x="172784" y="0"/>
                        </a:cubicBezTo>
                        <a:cubicBezTo>
                          <a:pt x="268209" y="0"/>
                          <a:pt x="345567" y="77358"/>
                          <a:pt x="345567" y="17278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86" name="Grafik 23">
                  <a:extLst>
                    <a:ext uri="{FF2B5EF4-FFF2-40B4-BE49-F238E27FC236}">
                      <a16:creationId xmlns:a16="http://schemas.microsoft.com/office/drawing/2014/main" id="{6EC3C075-169A-CDAC-969E-9CE4C45B167A}"/>
                    </a:ext>
                  </a:extLst>
                </p:cNvPr>
                <p:cNvGrpSpPr/>
                <p:nvPr/>
              </p:nvGrpSpPr>
              <p:grpSpPr>
                <a:xfrm>
                  <a:off x="1875789" y="1478509"/>
                  <a:ext cx="599222" cy="1188109"/>
                  <a:chOff x="1875789" y="1478509"/>
                  <a:chExt cx="599222" cy="1188109"/>
                </a:xfrm>
                <a:solidFill>
                  <a:srgbClr val="FFFFFF"/>
                </a:solidFill>
              </p:grpSpPr>
              <p:sp>
                <p:nvSpPr>
                  <p:cNvPr id="287" name="Freihandform: Form 286">
                    <a:extLst>
                      <a:ext uri="{FF2B5EF4-FFF2-40B4-BE49-F238E27FC236}">
                        <a16:creationId xmlns:a16="http://schemas.microsoft.com/office/drawing/2014/main" id="{1912B5F1-7E86-36B7-2430-768DF05FDAA6}"/>
                      </a:ext>
                    </a:extLst>
                  </p:cNvPr>
                  <p:cNvSpPr/>
                  <p:nvPr/>
                </p:nvSpPr>
                <p:spPr>
                  <a:xfrm>
                    <a:off x="1875789" y="1699831"/>
                    <a:ext cx="512349" cy="966787"/>
                  </a:xfrm>
                  <a:custGeom>
                    <a:avLst/>
                    <a:gdLst>
                      <a:gd name="connsiteX0" fmla="*/ 115062 w 512349"/>
                      <a:gd name="connsiteY0" fmla="*/ 0 h 966787"/>
                      <a:gd name="connsiteX1" fmla="*/ 0 w 512349"/>
                      <a:gd name="connsiteY1" fmla="*/ 910971 h 966787"/>
                      <a:gd name="connsiteX2" fmla="*/ 340424 w 512349"/>
                      <a:gd name="connsiteY2" fmla="*/ 966788 h 966787"/>
                      <a:gd name="connsiteX3" fmla="*/ 512350 w 512349"/>
                      <a:gd name="connsiteY3" fmla="*/ 108204 h 966787"/>
                      <a:gd name="connsiteX4" fmla="*/ 115062 w 512349"/>
                      <a:gd name="connsiteY4" fmla="*/ 0 h 9667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2349" h="966787">
                        <a:moveTo>
                          <a:pt x="115062" y="0"/>
                        </a:moveTo>
                        <a:cubicBezTo>
                          <a:pt x="46673" y="214884"/>
                          <a:pt x="0" y="910971"/>
                          <a:pt x="0" y="910971"/>
                        </a:cubicBezTo>
                        <a:cubicBezTo>
                          <a:pt x="148495" y="945070"/>
                          <a:pt x="190024" y="966788"/>
                          <a:pt x="340424" y="966788"/>
                        </a:cubicBezTo>
                        <a:cubicBezTo>
                          <a:pt x="447485" y="721614"/>
                          <a:pt x="512350" y="108204"/>
                          <a:pt x="512350" y="108204"/>
                        </a:cubicBezTo>
                        <a:cubicBezTo>
                          <a:pt x="364046" y="68008"/>
                          <a:pt x="315373" y="50768"/>
                          <a:pt x="115062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8" name="Freihandform: Form 287">
                    <a:extLst>
                      <a:ext uri="{FF2B5EF4-FFF2-40B4-BE49-F238E27FC236}">
                        <a16:creationId xmlns:a16="http://schemas.microsoft.com/office/drawing/2014/main" id="{FA023EFF-A332-CA6A-E594-F53F2C85B2EE}"/>
                      </a:ext>
                    </a:extLst>
                  </p:cNvPr>
                  <p:cNvSpPr/>
                  <p:nvPr/>
                </p:nvSpPr>
                <p:spPr>
                  <a:xfrm rot="-2247599">
                    <a:off x="1979225" y="1561481"/>
                    <a:ext cx="412813" cy="412813"/>
                  </a:xfrm>
                  <a:custGeom>
                    <a:avLst/>
                    <a:gdLst>
                      <a:gd name="connsiteX0" fmla="*/ 412813 w 412813"/>
                      <a:gd name="connsiteY0" fmla="*/ 206407 h 412813"/>
                      <a:gd name="connsiteX1" fmla="*/ 206407 w 412813"/>
                      <a:gd name="connsiteY1" fmla="*/ 412813 h 412813"/>
                      <a:gd name="connsiteX2" fmla="*/ 0 w 412813"/>
                      <a:gd name="connsiteY2" fmla="*/ 206407 h 412813"/>
                      <a:gd name="connsiteX3" fmla="*/ 206407 w 412813"/>
                      <a:gd name="connsiteY3" fmla="*/ 0 h 412813"/>
                      <a:gd name="connsiteX4" fmla="*/ 412813 w 412813"/>
                      <a:gd name="connsiteY4" fmla="*/ 206407 h 4128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2813" h="412813">
                        <a:moveTo>
                          <a:pt x="412813" y="206407"/>
                        </a:moveTo>
                        <a:cubicBezTo>
                          <a:pt x="412813" y="320402"/>
                          <a:pt x="320402" y="412813"/>
                          <a:pt x="206407" y="412813"/>
                        </a:cubicBezTo>
                        <a:cubicBezTo>
                          <a:pt x="92411" y="412813"/>
                          <a:pt x="0" y="320402"/>
                          <a:pt x="0" y="206407"/>
                        </a:cubicBezTo>
                        <a:cubicBezTo>
                          <a:pt x="0" y="92411"/>
                          <a:pt x="92411" y="0"/>
                          <a:pt x="206407" y="0"/>
                        </a:cubicBezTo>
                        <a:cubicBezTo>
                          <a:pt x="320402" y="0"/>
                          <a:pt x="412813" y="92411"/>
                          <a:pt x="412813" y="20640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</p:grpSp>
        <p:sp>
          <p:nvSpPr>
            <p:cNvPr id="514" name="Rechteck 513">
              <a:extLst>
                <a:ext uri="{FF2B5EF4-FFF2-40B4-BE49-F238E27FC236}">
                  <a16:creationId xmlns:a16="http://schemas.microsoft.com/office/drawing/2014/main" id="{6D850EFC-F546-0601-E184-5F30A6BDA963}"/>
                </a:ext>
              </a:extLst>
            </p:cNvPr>
            <p:cNvSpPr>
              <a:spLocks/>
            </p:cNvSpPr>
            <p:nvPr/>
          </p:nvSpPr>
          <p:spPr>
            <a:xfrm>
              <a:off x="9210675" y="1826246"/>
              <a:ext cx="53975" cy="906229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l"/>
              <a:endParaRPr lang="en-US" sz="1000" b="1">
                <a:solidFill>
                  <a:schemeClr val="tx1"/>
                </a:solidFill>
              </a:endParaRPr>
            </a:p>
          </p:txBody>
        </p:sp>
      </p:grpSp>
      <p:grpSp>
        <p:nvGrpSpPr>
          <p:cNvPr id="560" name="Gruppieren 559">
            <a:extLst>
              <a:ext uri="{FF2B5EF4-FFF2-40B4-BE49-F238E27FC236}">
                <a16:creationId xmlns:a16="http://schemas.microsoft.com/office/drawing/2014/main" id="{C04F1BB9-662C-6891-6566-8A35C36CB13D}"/>
              </a:ext>
            </a:extLst>
          </p:cNvPr>
          <p:cNvGrpSpPr>
            <a:grpSpLocks/>
          </p:cNvGrpSpPr>
          <p:nvPr/>
        </p:nvGrpSpPr>
        <p:grpSpPr>
          <a:xfrm>
            <a:off x="9210675" y="2912475"/>
            <a:ext cx="2201842" cy="906229"/>
            <a:chOff x="9210675" y="2912475"/>
            <a:chExt cx="2201842" cy="906229"/>
          </a:xfrm>
        </p:grpSpPr>
        <p:sp>
          <p:nvSpPr>
            <p:cNvPr id="513" name="Rechteck 512">
              <a:extLst>
                <a:ext uri="{FF2B5EF4-FFF2-40B4-BE49-F238E27FC236}">
                  <a16:creationId xmlns:a16="http://schemas.microsoft.com/office/drawing/2014/main" id="{1243F522-6128-5650-BC63-577EE5FCBFCB}"/>
                </a:ext>
              </a:extLst>
            </p:cNvPr>
            <p:cNvSpPr>
              <a:spLocks/>
            </p:cNvSpPr>
            <p:nvPr/>
          </p:nvSpPr>
          <p:spPr>
            <a:xfrm>
              <a:off x="9210675" y="2912475"/>
              <a:ext cx="2201842" cy="90622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tlCol="0" anchor="t"/>
            <a:lstStyle/>
            <a:p>
              <a:pPr algn="l"/>
              <a:r>
                <a:rPr lang="en-US" sz="1200" b="1" err="1">
                  <a:solidFill>
                    <a:schemeClr val="tx1"/>
                  </a:solidFill>
                </a:rPr>
                <a:t>Anwender</a:t>
              </a:r>
              <a:r>
                <a:rPr lang="en-US" sz="1200" b="1">
                  <a:solidFill>
                    <a:schemeClr val="tx1"/>
                  </a:solidFill>
                </a:rPr>
                <a:t>*</a:t>
              </a:r>
              <a:r>
                <a:rPr lang="en-US" sz="1200" b="1" err="1">
                  <a:solidFill>
                    <a:schemeClr val="tx1"/>
                  </a:solidFill>
                </a:rPr>
                <a:t>innen</a:t>
              </a:r>
              <a:endParaRPr lang="en-US" sz="1200" b="1">
                <a:solidFill>
                  <a:schemeClr val="tx1"/>
                </a:solidFill>
              </a:endParaRPr>
            </a:p>
          </p:txBody>
        </p:sp>
        <p:grpSp>
          <p:nvGrpSpPr>
            <p:cNvPr id="504" name="Gruppieren 503">
              <a:extLst>
                <a:ext uri="{FF2B5EF4-FFF2-40B4-BE49-F238E27FC236}">
                  <a16:creationId xmlns:a16="http://schemas.microsoft.com/office/drawing/2014/main" id="{FA1D84E1-ABCD-7B8E-9F51-F516C4766F97}"/>
                </a:ext>
              </a:extLst>
            </p:cNvPr>
            <p:cNvGrpSpPr>
              <a:grpSpLocks/>
            </p:cNvGrpSpPr>
            <p:nvPr/>
          </p:nvGrpSpPr>
          <p:grpSpPr>
            <a:xfrm flipH="1">
              <a:off x="10699750" y="3003018"/>
              <a:ext cx="516340" cy="708249"/>
              <a:chOff x="9590362" y="1659724"/>
              <a:chExt cx="2578928" cy="3537443"/>
            </a:xfrm>
          </p:grpSpPr>
          <p:grpSp>
            <p:nvGrpSpPr>
              <p:cNvPr id="300" name="Grafik 297">
                <a:extLst>
                  <a:ext uri="{FF2B5EF4-FFF2-40B4-BE49-F238E27FC236}">
                    <a16:creationId xmlns:a16="http://schemas.microsoft.com/office/drawing/2014/main" id="{3B76EAE2-ED55-B521-2209-420484A1C451}"/>
                  </a:ext>
                </a:extLst>
              </p:cNvPr>
              <p:cNvGrpSpPr/>
              <p:nvPr/>
            </p:nvGrpSpPr>
            <p:grpSpPr>
              <a:xfrm>
                <a:off x="11138852" y="1928127"/>
                <a:ext cx="1030438" cy="3268937"/>
                <a:chOff x="11138852" y="1928127"/>
                <a:chExt cx="1030438" cy="3268937"/>
              </a:xfrm>
            </p:grpSpPr>
            <p:grpSp>
              <p:nvGrpSpPr>
                <p:cNvPr id="301" name="Grafik 297">
                  <a:extLst>
                    <a:ext uri="{FF2B5EF4-FFF2-40B4-BE49-F238E27FC236}">
                      <a16:creationId xmlns:a16="http://schemas.microsoft.com/office/drawing/2014/main" id="{E97B5F6D-3CF1-FCAB-C1E8-D13FC3CEC591}"/>
                    </a:ext>
                  </a:extLst>
                </p:cNvPr>
                <p:cNvGrpSpPr/>
                <p:nvPr/>
              </p:nvGrpSpPr>
              <p:grpSpPr>
                <a:xfrm>
                  <a:off x="11876781" y="2514754"/>
                  <a:ext cx="292510" cy="1386761"/>
                  <a:chOff x="11876781" y="2514754"/>
                  <a:chExt cx="292510" cy="1386761"/>
                </a:xfrm>
              </p:grpSpPr>
              <p:grpSp>
                <p:nvGrpSpPr>
                  <p:cNvPr id="302" name="Grafik 297">
                    <a:extLst>
                      <a:ext uri="{FF2B5EF4-FFF2-40B4-BE49-F238E27FC236}">
                        <a16:creationId xmlns:a16="http://schemas.microsoft.com/office/drawing/2014/main" id="{03E2DCC8-309D-4243-10BD-3323E7D7FDC7}"/>
                      </a:ext>
                    </a:extLst>
                  </p:cNvPr>
                  <p:cNvGrpSpPr/>
                  <p:nvPr/>
                </p:nvGrpSpPr>
                <p:grpSpPr>
                  <a:xfrm>
                    <a:off x="11972799" y="3056405"/>
                    <a:ext cx="164676" cy="555321"/>
                    <a:chOff x="11972799" y="3056405"/>
                    <a:chExt cx="164676" cy="555321"/>
                  </a:xfrm>
                </p:grpSpPr>
                <p:sp>
                  <p:nvSpPr>
                    <p:cNvPr id="303" name="Freihandform: Form 302">
                      <a:extLst>
                        <a:ext uri="{FF2B5EF4-FFF2-40B4-BE49-F238E27FC236}">
                          <a16:creationId xmlns:a16="http://schemas.microsoft.com/office/drawing/2014/main" id="{43674BC9-E866-8D28-A254-4A73E1311BD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72799" y="3137396"/>
                      <a:ext cx="164494" cy="474330"/>
                    </a:xfrm>
                    <a:custGeom>
                      <a:avLst/>
                      <a:gdLst>
                        <a:gd name="connsiteX0" fmla="*/ 108364 w 164494"/>
                        <a:gd name="connsiteY0" fmla="*/ 474331 h 474330"/>
                        <a:gd name="connsiteX1" fmla="*/ 24047 w 164494"/>
                        <a:gd name="connsiteY1" fmla="*/ 463686 h 474330"/>
                        <a:gd name="connsiteX2" fmla="*/ 1001 w 164494"/>
                        <a:gd name="connsiteY2" fmla="*/ 0 h 474330"/>
                        <a:gd name="connsiteX3" fmla="*/ 164495 w 164494"/>
                        <a:gd name="connsiteY3" fmla="*/ 9012 h 474330"/>
                        <a:gd name="connsiteX4" fmla="*/ 108364 w 164494"/>
                        <a:gd name="connsiteY4" fmla="*/ 474331 h 4743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64494" h="474330">
                          <a:moveTo>
                            <a:pt x="108364" y="474331"/>
                          </a:moveTo>
                          <a:lnTo>
                            <a:pt x="24047" y="463686"/>
                          </a:lnTo>
                          <a:cubicBezTo>
                            <a:pt x="24047" y="463686"/>
                            <a:pt x="-5773" y="46574"/>
                            <a:pt x="1001" y="0"/>
                          </a:cubicBezTo>
                          <a:lnTo>
                            <a:pt x="164495" y="9012"/>
                          </a:lnTo>
                          <a:cubicBezTo>
                            <a:pt x="144353" y="220350"/>
                            <a:pt x="121792" y="349911"/>
                            <a:pt x="108364" y="474331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04" name="Freihandform: Form 303">
                      <a:extLst>
                        <a:ext uri="{FF2B5EF4-FFF2-40B4-BE49-F238E27FC236}">
                          <a16:creationId xmlns:a16="http://schemas.microsoft.com/office/drawing/2014/main" id="{1CCB67D5-CAF0-4FB2-0F7D-E6F3F0C6693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74042" y="3056405"/>
                      <a:ext cx="163433" cy="163433"/>
                    </a:xfrm>
                    <a:custGeom>
                      <a:avLst/>
                      <a:gdLst>
                        <a:gd name="connsiteX0" fmla="*/ 163433 w 163433"/>
                        <a:gd name="connsiteY0" fmla="*/ 81717 h 163433"/>
                        <a:gd name="connsiteX1" fmla="*/ 81717 w 163433"/>
                        <a:gd name="connsiteY1" fmla="*/ 163433 h 163433"/>
                        <a:gd name="connsiteX2" fmla="*/ 0 w 163433"/>
                        <a:gd name="connsiteY2" fmla="*/ 81717 h 163433"/>
                        <a:gd name="connsiteX3" fmla="*/ 81717 w 163433"/>
                        <a:gd name="connsiteY3" fmla="*/ 0 h 163433"/>
                        <a:gd name="connsiteX4" fmla="*/ 163433 w 163433"/>
                        <a:gd name="connsiteY4" fmla="*/ 81717 h 1634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63433" h="163433">
                          <a:moveTo>
                            <a:pt x="163433" y="81717"/>
                          </a:moveTo>
                          <a:cubicBezTo>
                            <a:pt x="163433" y="126847"/>
                            <a:pt x="126848" y="163433"/>
                            <a:pt x="81717" y="163433"/>
                          </a:cubicBezTo>
                          <a:cubicBezTo>
                            <a:pt x="36586" y="163433"/>
                            <a:pt x="0" y="126847"/>
                            <a:pt x="0" y="81717"/>
                          </a:cubicBezTo>
                          <a:cubicBezTo>
                            <a:pt x="0" y="36586"/>
                            <a:pt x="36586" y="0"/>
                            <a:pt x="81717" y="0"/>
                          </a:cubicBezTo>
                          <a:cubicBezTo>
                            <a:pt x="126848" y="0"/>
                            <a:pt x="163433" y="36586"/>
                            <a:pt x="163433" y="81717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05" name="Freihandform: Form 304">
                      <a:extLst>
                        <a:ext uri="{FF2B5EF4-FFF2-40B4-BE49-F238E27FC236}">
                          <a16:creationId xmlns:a16="http://schemas.microsoft.com/office/drawing/2014/main" id="{18ABD3BD-9389-D813-05F9-69AEC7F8718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92974" y="3544769"/>
                      <a:ext cx="94962" cy="66957"/>
                    </a:xfrm>
                    <a:custGeom>
                      <a:avLst/>
                      <a:gdLst>
                        <a:gd name="connsiteX0" fmla="*/ 0 w 94962"/>
                        <a:gd name="connsiteY0" fmla="*/ 0 h 66957"/>
                        <a:gd name="connsiteX1" fmla="*/ 3932 w 94962"/>
                        <a:gd name="connsiteY1" fmla="*/ 56312 h 66957"/>
                        <a:gd name="connsiteX2" fmla="*/ 88249 w 94962"/>
                        <a:gd name="connsiteY2" fmla="*/ 66958 h 66957"/>
                        <a:gd name="connsiteX3" fmla="*/ 94963 w 94962"/>
                        <a:gd name="connsiteY3" fmla="*/ 9617 h 66957"/>
                        <a:gd name="connsiteX4" fmla="*/ 0 w 94962"/>
                        <a:gd name="connsiteY4" fmla="*/ 0 h 66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94962" h="66957">
                          <a:moveTo>
                            <a:pt x="0" y="0"/>
                          </a:moveTo>
                          <a:cubicBezTo>
                            <a:pt x="2359" y="34356"/>
                            <a:pt x="3932" y="56312"/>
                            <a:pt x="3932" y="56312"/>
                          </a:cubicBezTo>
                          <a:lnTo>
                            <a:pt x="88249" y="66958"/>
                          </a:lnTo>
                          <a:cubicBezTo>
                            <a:pt x="90305" y="48026"/>
                            <a:pt x="92543" y="29033"/>
                            <a:pt x="94963" y="9617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306" name="Freihandform: Form 305">
                    <a:extLst>
                      <a:ext uri="{FF2B5EF4-FFF2-40B4-BE49-F238E27FC236}">
                        <a16:creationId xmlns:a16="http://schemas.microsoft.com/office/drawing/2014/main" id="{14EC80C2-DB2B-CBA8-8973-6E23BDDF8B7A}"/>
                      </a:ext>
                    </a:extLst>
                  </p:cNvPr>
                  <p:cNvSpPr/>
                  <p:nvPr/>
                </p:nvSpPr>
                <p:spPr>
                  <a:xfrm>
                    <a:off x="11916157" y="2526609"/>
                    <a:ext cx="253134" cy="668188"/>
                  </a:xfrm>
                  <a:custGeom>
                    <a:avLst/>
                    <a:gdLst>
                      <a:gd name="connsiteX0" fmla="*/ 114258 w 253134"/>
                      <a:gd name="connsiteY0" fmla="*/ 0 h 668188"/>
                      <a:gd name="connsiteX1" fmla="*/ 194644 w 253134"/>
                      <a:gd name="connsiteY1" fmla="*/ 160409 h 668188"/>
                      <a:gd name="connsiteX2" fmla="*/ 253134 w 253134"/>
                      <a:gd name="connsiteY2" fmla="*/ 666434 h 668188"/>
                      <a:gd name="connsiteX3" fmla="*/ 41312 w 253134"/>
                      <a:gd name="connsiteY3" fmla="*/ 668189 h 668188"/>
                      <a:gd name="connsiteX4" fmla="*/ 0 w 253134"/>
                      <a:gd name="connsiteY4" fmla="*/ 175167 h 668188"/>
                      <a:gd name="connsiteX5" fmla="*/ 114198 w 253134"/>
                      <a:gd name="connsiteY5" fmla="*/ 0 h 6681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53134" h="668188">
                        <a:moveTo>
                          <a:pt x="114258" y="0"/>
                        </a:moveTo>
                        <a:cubicBezTo>
                          <a:pt x="114258" y="0"/>
                          <a:pt x="178192" y="18993"/>
                          <a:pt x="194644" y="160409"/>
                        </a:cubicBezTo>
                        <a:cubicBezTo>
                          <a:pt x="211096" y="301825"/>
                          <a:pt x="253134" y="666434"/>
                          <a:pt x="253134" y="666434"/>
                        </a:cubicBezTo>
                        <a:lnTo>
                          <a:pt x="41312" y="668189"/>
                        </a:lnTo>
                        <a:lnTo>
                          <a:pt x="0" y="175167"/>
                        </a:lnTo>
                        <a:lnTo>
                          <a:pt x="114198" y="0"/>
                        </a:ln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07" name="Freihandform: Form 306">
                    <a:extLst>
                      <a:ext uri="{FF2B5EF4-FFF2-40B4-BE49-F238E27FC236}">
                        <a16:creationId xmlns:a16="http://schemas.microsoft.com/office/drawing/2014/main" id="{5CDEBDE1-690D-EE27-10B8-922B2A961742}"/>
                      </a:ext>
                    </a:extLst>
                  </p:cNvPr>
                  <p:cNvSpPr/>
                  <p:nvPr/>
                </p:nvSpPr>
                <p:spPr>
                  <a:xfrm>
                    <a:off x="11876781" y="2514754"/>
                    <a:ext cx="210128" cy="210128"/>
                  </a:xfrm>
                  <a:custGeom>
                    <a:avLst/>
                    <a:gdLst>
                      <a:gd name="connsiteX0" fmla="*/ 210129 w 210128"/>
                      <a:gd name="connsiteY0" fmla="*/ 105064 h 210128"/>
                      <a:gd name="connsiteX1" fmla="*/ 105064 w 210128"/>
                      <a:gd name="connsiteY1" fmla="*/ 210128 h 210128"/>
                      <a:gd name="connsiteX2" fmla="*/ 0 w 210128"/>
                      <a:gd name="connsiteY2" fmla="*/ 105064 h 210128"/>
                      <a:gd name="connsiteX3" fmla="*/ 105064 w 210128"/>
                      <a:gd name="connsiteY3" fmla="*/ 0 h 210128"/>
                      <a:gd name="connsiteX4" fmla="*/ 210129 w 210128"/>
                      <a:gd name="connsiteY4" fmla="*/ 105064 h 2101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0128" h="210128">
                        <a:moveTo>
                          <a:pt x="210129" y="105064"/>
                        </a:moveTo>
                        <a:cubicBezTo>
                          <a:pt x="210129" y="163089"/>
                          <a:pt x="163089" y="210128"/>
                          <a:pt x="105064" y="210128"/>
                        </a:cubicBezTo>
                        <a:cubicBezTo>
                          <a:pt x="47039" y="210128"/>
                          <a:pt x="0" y="163089"/>
                          <a:pt x="0" y="105064"/>
                        </a:cubicBezTo>
                        <a:cubicBezTo>
                          <a:pt x="0" y="47039"/>
                          <a:pt x="47039" y="0"/>
                          <a:pt x="105064" y="0"/>
                        </a:cubicBezTo>
                        <a:cubicBezTo>
                          <a:pt x="163089" y="0"/>
                          <a:pt x="210129" y="47039"/>
                          <a:pt x="210129" y="105064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308" name="Grafik 297">
                    <a:extLst>
                      <a:ext uri="{FF2B5EF4-FFF2-40B4-BE49-F238E27FC236}">
                        <a16:creationId xmlns:a16="http://schemas.microsoft.com/office/drawing/2014/main" id="{4F86260C-4504-EB81-6616-835DCB9F06FC}"/>
                      </a:ext>
                    </a:extLst>
                  </p:cNvPr>
                  <p:cNvGrpSpPr/>
                  <p:nvPr/>
                </p:nvGrpSpPr>
                <p:grpSpPr>
                  <a:xfrm>
                    <a:off x="11946098" y="3566242"/>
                    <a:ext cx="143230" cy="335273"/>
                    <a:chOff x="11946098" y="3566242"/>
                    <a:chExt cx="143230" cy="335273"/>
                  </a:xfrm>
                  <a:solidFill>
                    <a:srgbClr val="02787D"/>
                  </a:solidFill>
                </p:grpSpPr>
                <p:grpSp>
                  <p:nvGrpSpPr>
                    <p:cNvPr id="309" name="Grafik 297">
                      <a:extLst>
                        <a:ext uri="{FF2B5EF4-FFF2-40B4-BE49-F238E27FC236}">
                          <a16:creationId xmlns:a16="http://schemas.microsoft.com/office/drawing/2014/main" id="{ED436F3D-517A-36B9-5267-57D320273D8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91897" y="3779147"/>
                      <a:ext cx="71060" cy="63636"/>
                      <a:chOff x="11991897" y="3779147"/>
                      <a:chExt cx="71060" cy="63636"/>
                    </a:xfrm>
                    <a:solidFill>
                      <a:srgbClr val="02787D"/>
                    </a:solidFill>
                  </p:grpSpPr>
                  <p:sp>
                    <p:nvSpPr>
                      <p:cNvPr id="310" name="Freihandform: Form 309">
                        <a:extLst>
                          <a:ext uri="{FF2B5EF4-FFF2-40B4-BE49-F238E27FC236}">
                            <a16:creationId xmlns:a16="http://schemas.microsoft.com/office/drawing/2014/main" id="{D1E10D74-FFAD-0C29-2D28-92138CAB591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91897" y="3797206"/>
                        <a:ext cx="39028" cy="45577"/>
                      </a:xfrm>
                      <a:custGeom>
                        <a:avLst/>
                        <a:gdLst>
                          <a:gd name="connsiteX0" fmla="*/ 1924 w 39028"/>
                          <a:gd name="connsiteY0" fmla="*/ 45577 h 45577"/>
                          <a:gd name="connsiteX1" fmla="*/ 26179 w 39028"/>
                          <a:gd name="connsiteY1" fmla="*/ 33298 h 45577"/>
                          <a:gd name="connsiteX2" fmla="*/ 38759 w 39028"/>
                          <a:gd name="connsiteY2" fmla="*/ 6443 h 45577"/>
                          <a:gd name="connsiteX3" fmla="*/ 37005 w 39028"/>
                          <a:gd name="connsiteY3" fmla="*/ 31 h 45577"/>
                          <a:gd name="connsiteX4" fmla="*/ 9968 w 39028"/>
                          <a:gd name="connsiteY4" fmla="*/ 19568 h 45577"/>
                          <a:gd name="connsiteX5" fmla="*/ 1984 w 39028"/>
                          <a:gd name="connsiteY5" fmla="*/ 45577 h 45577"/>
                          <a:gd name="connsiteX6" fmla="*/ 1984 w 39028"/>
                          <a:gd name="connsiteY6" fmla="*/ 45577 h 455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9028" h="45577">
                            <a:moveTo>
                              <a:pt x="1924" y="45577"/>
                            </a:moveTo>
                            <a:lnTo>
                              <a:pt x="26179" y="33298"/>
                            </a:lnTo>
                            <a:cubicBezTo>
                              <a:pt x="35312" y="28460"/>
                              <a:pt x="40272" y="18721"/>
                              <a:pt x="38759" y="6443"/>
                            </a:cubicBezTo>
                            <a:cubicBezTo>
                              <a:pt x="38276" y="2511"/>
                              <a:pt x="37670" y="-332"/>
                              <a:pt x="37005" y="31"/>
                            </a:cubicBezTo>
                            <a:cubicBezTo>
                              <a:pt x="35614" y="636"/>
                              <a:pt x="24061" y="8923"/>
                              <a:pt x="9968" y="19568"/>
                            </a:cubicBezTo>
                            <a:cubicBezTo>
                              <a:pt x="1077" y="26343"/>
                              <a:pt x="-2613" y="32875"/>
                              <a:pt x="1984" y="45577"/>
                            </a:cubicBezTo>
                            <a:lnTo>
                              <a:pt x="1984" y="4557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11" name="Freihandform: Form 310">
                        <a:extLst>
                          <a:ext uri="{FF2B5EF4-FFF2-40B4-BE49-F238E27FC236}">
                            <a16:creationId xmlns:a16="http://schemas.microsoft.com/office/drawing/2014/main" id="{FE294465-0C94-2496-FBBC-2CA084C3F4B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13756" y="3779147"/>
                        <a:ext cx="49201" cy="51418"/>
                      </a:xfrm>
                      <a:custGeom>
                        <a:avLst/>
                        <a:gdLst>
                          <a:gd name="connsiteX0" fmla="*/ 4320 w 49201"/>
                          <a:gd name="connsiteY0" fmla="*/ 51358 h 51418"/>
                          <a:gd name="connsiteX1" fmla="*/ 41518 w 49201"/>
                          <a:gd name="connsiteY1" fmla="*/ 30793 h 51418"/>
                          <a:gd name="connsiteX2" fmla="*/ 49019 w 49201"/>
                          <a:gd name="connsiteY2" fmla="*/ 24139 h 51418"/>
                          <a:gd name="connsiteX3" fmla="*/ 28454 w 49201"/>
                          <a:gd name="connsiteY3" fmla="*/ 5 h 51418"/>
                          <a:gd name="connsiteX4" fmla="*/ 6558 w 49201"/>
                          <a:gd name="connsiteY4" fmla="*/ 23655 h 51418"/>
                          <a:gd name="connsiteX5" fmla="*/ 4320 w 49201"/>
                          <a:gd name="connsiteY5" fmla="*/ 51418 h 51418"/>
                          <a:gd name="connsiteX6" fmla="*/ 4320 w 49201"/>
                          <a:gd name="connsiteY6" fmla="*/ 51418 h 514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9201" h="51418">
                            <a:moveTo>
                              <a:pt x="4320" y="51358"/>
                            </a:moveTo>
                            <a:lnTo>
                              <a:pt x="41518" y="30793"/>
                            </a:lnTo>
                            <a:cubicBezTo>
                              <a:pt x="46055" y="28071"/>
                              <a:pt x="47748" y="25712"/>
                              <a:pt x="49019" y="24139"/>
                            </a:cubicBezTo>
                            <a:cubicBezTo>
                              <a:pt x="50894" y="12163"/>
                              <a:pt x="37950" y="-297"/>
                              <a:pt x="28454" y="5"/>
                            </a:cubicBezTo>
                            <a:lnTo>
                              <a:pt x="6558" y="23655"/>
                            </a:lnTo>
                            <a:cubicBezTo>
                              <a:pt x="-2092" y="29825"/>
                              <a:pt x="-1487" y="39442"/>
                              <a:pt x="4320" y="51418"/>
                            </a:cubicBezTo>
                            <a:lnTo>
                              <a:pt x="4320" y="51418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312" name="Grafik 297">
                      <a:extLst>
                        <a:ext uri="{FF2B5EF4-FFF2-40B4-BE49-F238E27FC236}">
                          <a16:creationId xmlns:a16="http://schemas.microsoft.com/office/drawing/2014/main" id="{ED34ECF0-54F8-2E4E-3EE1-62F6E586BA0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85158" y="3753599"/>
                      <a:ext cx="101447" cy="124931"/>
                      <a:chOff x="11985158" y="3753599"/>
                      <a:chExt cx="101447" cy="124931"/>
                    </a:xfrm>
                    <a:solidFill>
                      <a:srgbClr val="02787D"/>
                    </a:solidFill>
                  </p:grpSpPr>
                  <p:sp>
                    <p:nvSpPr>
                      <p:cNvPr id="313" name="Freihandform: Form 312">
                        <a:extLst>
                          <a:ext uri="{FF2B5EF4-FFF2-40B4-BE49-F238E27FC236}">
                            <a16:creationId xmlns:a16="http://schemas.microsoft.com/office/drawing/2014/main" id="{2B690837-479E-7652-0CD1-2E24327308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85158" y="3820113"/>
                        <a:ext cx="47131" cy="58418"/>
                      </a:xfrm>
                      <a:custGeom>
                        <a:avLst/>
                        <a:gdLst>
                          <a:gd name="connsiteX0" fmla="*/ 2493 w 47131"/>
                          <a:gd name="connsiteY0" fmla="*/ 58418 h 58418"/>
                          <a:gd name="connsiteX1" fmla="*/ 31768 w 47131"/>
                          <a:gd name="connsiteY1" fmla="*/ 40091 h 58418"/>
                          <a:gd name="connsiteX2" fmla="*/ 46768 w 47131"/>
                          <a:gd name="connsiteY2" fmla="*/ 7126 h 58418"/>
                          <a:gd name="connsiteX3" fmla="*/ 44530 w 47131"/>
                          <a:gd name="connsiteY3" fmla="*/ 49 h 58418"/>
                          <a:gd name="connsiteX4" fmla="*/ 11928 w 47131"/>
                          <a:gd name="connsiteY4" fmla="*/ 27207 h 58418"/>
                          <a:gd name="connsiteX5" fmla="*/ 2493 w 47131"/>
                          <a:gd name="connsiteY5" fmla="*/ 58418 h 58418"/>
                          <a:gd name="connsiteX6" fmla="*/ 2493 w 47131"/>
                          <a:gd name="connsiteY6" fmla="*/ 58418 h 584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7131" h="58418">
                            <a:moveTo>
                              <a:pt x="2493" y="58418"/>
                            </a:moveTo>
                            <a:lnTo>
                              <a:pt x="31768" y="40091"/>
                            </a:lnTo>
                            <a:cubicBezTo>
                              <a:pt x="42777" y="32953"/>
                              <a:pt x="48704" y="20917"/>
                              <a:pt x="46768" y="7126"/>
                            </a:cubicBezTo>
                            <a:cubicBezTo>
                              <a:pt x="46164" y="2710"/>
                              <a:pt x="45377" y="-435"/>
                              <a:pt x="44530" y="49"/>
                            </a:cubicBezTo>
                            <a:cubicBezTo>
                              <a:pt x="42897" y="1017"/>
                              <a:pt x="28925" y="12509"/>
                              <a:pt x="11928" y="27207"/>
                            </a:cubicBezTo>
                            <a:cubicBezTo>
                              <a:pt x="1223" y="36522"/>
                              <a:pt x="-3193" y="44627"/>
                              <a:pt x="2493" y="58418"/>
                            </a:cubicBezTo>
                            <a:lnTo>
                              <a:pt x="2493" y="58418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14" name="Freihandform: Form 313">
                        <a:extLst>
                          <a:ext uri="{FF2B5EF4-FFF2-40B4-BE49-F238E27FC236}">
                            <a16:creationId xmlns:a16="http://schemas.microsoft.com/office/drawing/2014/main" id="{D5C1333C-E6E2-AE62-B5CE-9EE721DA3C6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10819" y="3786350"/>
                        <a:ext cx="62106" cy="74155"/>
                      </a:xfrm>
                      <a:custGeom>
                        <a:avLst/>
                        <a:gdLst>
                          <a:gd name="connsiteX0" fmla="*/ 5381 w 62106"/>
                          <a:gd name="connsiteY0" fmla="*/ 74156 h 74155"/>
                          <a:gd name="connsiteX1" fmla="*/ 50080 w 62106"/>
                          <a:gd name="connsiteY1" fmla="*/ 45546 h 74155"/>
                          <a:gd name="connsiteX2" fmla="*/ 55766 w 62106"/>
                          <a:gd name="connsiteY2" fmla="*/ 3569 h 74155"/>
                          <a:gd name="connsiteX3" fmla="*/ 50927 w 62106"/>
                          <a:gd name="connsiteY3" fmla="*/ 0 h 74155"/>
                          <a:gd name="connsiteX4" fmla="*/ 7801 w 62106"/>
                          <a:gd name="connsiteY4" fmla="*/ 41917 h 74155"/>
                          <a:gd name="connsiteX5" fmla="*/ 5381 w 62106"/>
                          <a:gd name="connsiteY5" fmla="*/ 74095 h 74155"/>
                          <a:gd name="connsiteX6" fmla="*/ 5381 w 62106"/>
                          <a:gd name="connsiteY6" fmla="*/ 74095 h 7415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2106" h="74155">
                            <a:moveTo>
                              <a:pt x="5381" y="74156"/>
                            </a:moveTo>
                            <a:lnTo>
                              <a:pt x="50080" y="45546"/>
                            </a:lnTo>
                            <a:cubicBezTo>
                              <a:pt x="63508" y="36776"/>
                              <a:pt x="66109" y="17601"/>
                              <a:pt x="55766" y="3569"/>
                            </a:cubicBezTo>
                            <a:lnTo>
                              <a:pt x="50927" y="0"/>
                            </a:lnTo>
                            <a:lnTo>
                              <a:pt x="7801" y="41917"/>
                            </a:lnTo>
                            <a:cubicBezTo>
                              <a:pt x="-2603" y="50506"/>
                              <a:pt x="-1756" y="61393"/>
                              <a:pt x="5381" y="74095"/>
                            </a:cubicBezTo>
                            <a:lnTo>
                              <a:pt x="5381" y="7409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15" name="Freihandform: Form 314">
                        <a:extLst>
                          <a:ext uri="{FF2B5EF4-FFF2-40B4-BE49-F238E27FC236}">
                            <a16:creationId xmlns:a16="http://schemas.microsoft.com/office/drawing/2014/main" id="{4B273918-4317-2EE6-43B5-43F7E8152A7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44011" y="3753599"/>
                        <a:ext cx="42594" cy="70796"/>
                      </a:xfrm>
                      <a:custGeom>
                        <a:avLst/>
                        <a:gdLst>
                          <a:gd name="connsiteX0" fmla="*/ 42595 w 42594"/>
                          <a:gd name="connsiteY0" fmla="*/ 9343 h 70796"/>
                          <a:gd name="connsiteX1" fmla="*/ 28139 w 42594"/>
                          <a:gd name="connsiteY1" fmla="*/ 64506 h 70796"/>
                          <a:gd name="connsiteX2" fmla="*/ 24207 w 42594"/>
                          <a:gd name="connsiteY2" fmla="*/ 70797 h 70796"/>
                          <a:gd name="connsiteX3" fmla="*/ 194 w 42594"/>
                          <a:gd name="connsiteY3" fmla="*/ 37167 h 70796"/>
                          <a:gd name="connsiteX4" fmla="*/ 2976 w 42594"/>
                          <a:gd name="connsiteY4" fmla="*/ 6561 h 70796"/>
                          <a:gd name="connsiteX5" fmla="*/ 42595 w 42594"/>
                          <a:gd name="connsiteY5" fmla="*/ 9343 h 7079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42594" h="70796">
                            <a:moveTo>
                              <a:pt x="42595" y="9343"/>
                            </a:moveTo>
                            <a:cubicBezTo>
                              <a:pt x="39813" y="20775"/>
                              <a:pt x="28139" y="64506"/>
                              <a:pt x="28139" y="64506"/>
                            </a:cubicBezTo>
                            <a:lnTo>
                              <a:pt x="24207" y="70797"/>
                            </a:lnTo>
                            <a:cubicBezTo>
                              <a:pt x="7997" y="67047"/>
                              <a:pt x="-1500" y="52409"/>
                              <a:pt x="194" y="37167"/>
                            </a:cubicBezTo>
                            <a:lnTo>
                              <a:pt x="2976" y="6561"/>
                            </a:lnTo>
                            <a:cubicBezTo>
                              <a:pt x="9751" y="-2633"/>
                              <a:pt x="39873" y="-2573"/>
                              <a:pt x="42595" y="9343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316" name="Grafik 297">
                      <a:extLst>
                        <a:ext uri="{FF2B5EF4-FFF2-40B4-BE49-F238E27FC236}">
                          <a16:creationId xmlns:a16="http://schemas.microsoft.com/office/drawing/2014/main" id="{5AD94133-9E06-DF49-EA1D-D96DA22169F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90326" y="3742989"/>
                      <a:ext cx="85513" cy="158526"/>
                      <a:chOff x="11990326" y="3742989"/>
                      <a:chExt cx="85513" cy="158526"/>
                    </a:xfrm>
                    <a:solidFill>
                      <a:srgbClr val="02787D"/>
                    </a:solidFill>
                  </p:grpSpPr>
                  <p:sp>
                    <p:nvSpPr>
                      <p:cNvPr id="317" name="Freihandform: Form 316">
                        <a:extLst>
                          <a:ext uri="{FF2B5EF4-FFF2-40B4-BE49-F238E27FC236}">
                            <a16:creationId xmlns:a16="http://schemas.microsoft.com/office/drawing/2014/main" id="{32B3E9C1-4530-E7DC-8D1B-1ED852E5EE7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90326" y="3824551"/>
                        <a:ext cx="38110" cy="76964"/>
                      </a:xfrm>
                      <a:custGeom>
                        <a:avLst/>
                        <a:gdLst>
                          <a:gd name="connsiteX0" fmla="*/ 8575 w 38110"/>
                          <a:gd name="connsiteY0" fmla="*/ 76904 h 76964"/>
                          <a:gd name="connsiteX1" fmla="*/ 31076 w 38110"/>
                          <a:gd name="connsiteY1" fmla="*/ 46298 h 76964"/>
                          <a:gd name="connsiteX2" fmla="*/ 33012 w 38110"/>
                          <a:gd name="connsiteY2" fmla="*/ 6498 h 76964"/>
                          <a:gd name="connsiteX3" fmla="*/ 27870 w 38110"/>
                          <a:gd name="connsiteY3" fmla="*/ 147 h 76964"/>
                          <a:gd name="connsiteX4" fmla="*/ 5491 w 38110"/>
                          <a:gd name="connsiteY4" fmla="*/ 41157 h 76964"/>
                          <a:gd name="connsiteX5" fmla="*/ 8515 w 38110"/>
                          <a:gd name="connsiteY5" fmla="*/ 76964 h 76964"/>
                          <a:gd name="connsiteX6" fmla="*/ 8515 w 38110"/>
                          <a:gd name="connsiteY6" fmla="*/ 76964 h 769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8110" h="76964">
                            <a:moveTo>
                              <a:pt x="8575" y="76904"/>
                            </a:moveTo>
                            <a:lnTo>
                              <a:pt x="31076" y="46298"/>
                            </a:lnTo>
                            <a:cubicBezTo>
                              <a:pt x="39484" y="34563"/>
                              <a:pt x="40633" y="19805"/>
                              <a:pt x="33012" y="6498"/>
                            </a:cubicBezTo>
                            <a:cubicBezTo>
                              <a:pt x="30592" y="2204"/>
                              <a:pt x="28536" y="-700"/>
                              <a:pt x="27870" y="147"/>
                            </a:cubicBezTo>
                            <a:cubicBezTo>
                              <a:pt x="26540" y="1780"/>
                              <a:pt x="16922" y="19200"/>
                              <a:pt x="5491" y="41157"/>
                            </a:cubicBezTo>
                            <a:cubicBezTo>
                              <a:pt x="-1707" y="55008"/>
                              <a:pt x="-2917" y="65109"/>
                              <a:pt x="8515" y="76964"/>
                            </a:cubicBezTo>
                            <a:lnTo>
                              <a:pt x="8515" y="76964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18" name="Freihandform: Form 317">
                        <a:extLst>
                          <a:ext uri="{FF2B5EF4-FFF2-40B4-BE49-F238E27FC236}">
                            <a16:creationId xmlns:a16="http://schemas.microsoft.com/office/drawing/2014/main" id="{4D530E5C-51AC-8157-7103-93A1F8DD211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05558" y="3796330"/>
                        <a:ext cx="52356" cy="76575"/>
                      </a:xfrm>
                      <a:custGeom>
                        <a:avLst/>
                        <a:gdLst>
                          <a:gd name="connsiteX0" fmla="*/ 14271 w 52356"/>
                          <a:gd name="connsiteY0" fmla="*/ 76575 h 76575"/>
                          <a:gd name="connsiteX1" fmla="*/ 48144 w 52356"/>
                          <a:gd name="connsiteY1" fmla="*/ 28852 h 76575"/>
                          <a:gd name="connsiteX2" fmla="*/ 29817 w 52356"/>
                          <a:gd name="connsiteY2" fmla="*/ 1815 h 76575"/>
                          <a:gd name="connsiteX3" fmla="*/ 27518 w 52356"/>
                          <a:gd name="connsiteY3" fmla="*/ 0 h 76575"/>
                          <a:gd name="connsiteX4" fmla="*/ 3384 w 52356"/>
                          <a:gd name="connsiteY4" fmla="*/ 42280 h 76575"/>
                          <a:gd name="connsiteX5" fmla="*/ 13425 w 52356"/>
                          <a:gd name="connsiteY5" fmla="*/ 75910 h 76575"/>
                          <a:gd name="connsiteX6" fmla="*/ 14271 w 52356"/>
                          <a:gd name="connsiteY6" fmla="*/ 76575 h 7657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2356" h="76575">
                            <a:moveTo>
                              <a:pt x="14271" y="76575"/>
                            </a:moveTo>
                            <a:lnTo>
                              <a:pt x="48144" y="28852"/>
                            </a:lnTo>
                            <a:cubicBezTo>
                              <a:pt x="58366" y="14396"/>
                              <a:pt x="49111" y="6714"/>
                              <a:pt x="29817" y="1815"/>
                            </a:cubicBezTo>
                            <a:lnTo>
                              <a:pt x="27518" y="0"/>
                            </a:lnTo>
                            <a:lnTo>
                              <a:pt x="3384" y="42280"/>
                            </a:lnTo>
                            <a:cubicBezTo>
                              <a:pt x="-3814" y="55284"/>
                              <a:pt x="904" y="65809"/>
                              <a:pt x="13425" y="75910"/>
                            </a:cubicBezTo>
                            <a:lnTo>
                              <a:pt x="14271" y="7657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19" name="Freihandform: Form 318">
                        <a:extLst>
                          <a:ext uri="{FF2B5EF4-FFF2-40B4-BE49-F238E27FC236}">
                            <a16:creationId xmlns:a16="http://schemas.microsoft.com/office/drawing/2014/main" id="{ED7820B9-B354-240C-B995-54889BD0912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31820" y="3742989"/>
                        <a:ext cx="44019" cy="76991"/>
                      </a:xfrm>
                      <a:custGeom>
                        <a:avLst/>
                        <a:gdLst>
                          <a:gd name="connsiteX0" fmla="*/ 43959 w 44019"/>
                          <a:gd name="connsiteY0" fmla="*/ 12090 h 76991"/>
                          <a:gd name="connsiteX1" fmla="*/ 24725 w 44019"/>
                          <a:gd name="connsiteY1" fmla="*/ 76991 h 76991"/>
                          <a:gd name="connsiteX2" fmla="*/ 228 w 44019"/>
                          <a:gd name="connsiteY2" fmla="*/ 53886 h 76991"/>
                          <a:gd name="connsiteX3" fmla="*/ 4764 w 44019"/>
                          <a:gd name="connsiteY3" fmla="*/ 5981 h 76991"/>
                          <a:gd name="connsiteX4" fmla="*/ 44019 w 44019"/>
                          <a:gd name="connsiteY4" fmla="*/ 12150 h 7699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44019" h="76991">
                            <a:moveTo>
                              <a:pt x="43959" y="12090"/>
                            </a:moveTo>
                            <a:cubicBezTo>
                              <a:pt x="43778" y="13300"/>
                              <a:pt x="24725" y="76991"/>
                              <a:pt x="24725" y="76991"/>
                            </a:cubicBezTo>
                            <a:cubicBezTo>
                              <a:pt x="6881" y="72939"/>
                              <a:pt x="-1527" y="70640"/>
                              <a:pt x="228" y="53886"/>
                            </a:cubicBezTo>
                            <a:lnTo>
                              <a:pt x="4764" y="5981"/>
                            </a:lnTo>
                            <a:cubicBezTo>
                              <a:pt x="12143" y="-4181"/>
                              <a:pt x="40935" y="-915"/>
                              <a:pt x="44019" y="12150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320" name="Grafik 297">
                      <a:extLst>
                        <a:ext uri="{FF2B5EF4-FFF2-40B4-BE49-F238E27FC236}">
                          <a16:creationId xmlns:a16="http://schemas.microsoft.com/office/drawing/2014/main" id="{4AAE05CD-0CB7-E1C3-3476-4128428E962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87985" y="3749196"/>
                      <a:ext cx="74487" cy="151835"/>
                      <a:chOff x="11987985" y="3749196"/>
                      <a:chExt cx="74487" cy="151835"/>
                    </a:xfrm>
                    <a:solidFill>
                      <a:srgbClr val="02787D"/>
                    </a:solidFill>
                  </p:grpSpPr>
                  <p:sp>
                    <p:nvSpPr>
                      <p:cNvPr id="321" name="Freihandform: Form 320">
                        <a:extLst>
                          <a:ext uri="{FF2B5EF4-FFF2-40B4-BE49-F238E27FC236}">
                            <a16:creationId xmlns:a16="http://schemas.microsoft.com/office/drawing/2014/main" id="{209EF6B3-A9D8-93E3-9EDB-B735EB274F6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87985" y="3830759"/>
                        <a:ext cx="34589" cy="70272"/>
                      </a:xfrm>
                      <a:custGeom>
                        <a:avLst/>
                        <a:gdLst>
                          <a:gd name="connsiteX0" fmla="*/ 10917 w 34589"/>
                          <a:gd name="connsiteY0" fmla="*/ 70273 h 70272"/>
                          <a:gd name="connsiteX1" fmla="*/ 29426 w 34589"/>
                          <a:gd name="connsiteY1" fmla="*/ 40393 h 70272"/>
                          <a:gd name="connsiteX2" fmla="*/ 27672 w 34589"/>
                          <a:gd name="connsiteY2" fmla="*/ 5371 h 70272"/>
                          <a:gd name="connsiteX3" fmla="*/ 21744 w 34589"/>
                          <a:gd name="connsiteY3" fmla="*/ 169 h 70272"/>
                          <a:gd name="connsiteX4" fmla="*/ 3356 w 34589"/>
                          <a:gd name="connsiteY4" fmla="*/ 38215 h 70272"/>
                          <a:gd name="connsiteX5" fmla="*/ 10978 w 34589"/>
                          <a:gd name="connsiteY5" fmla="*/ 70273 h 70272"/>
                          <a:gd name="connsiteX6" fmla="*/ 10978 w 34589"/>
                          <a:gd name="connsiteY6" fmla="*/ 70273 h 7027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4589" h="70272">
                            <a:moveTo>
                              <a:pt x="10917" y="70273"/>
                            </a:moveTo>
                            <a:lnTo>
                              <a:pt x="29426" y="40393"/>
                            </a:lnTo>
                            <a:cubicBezTo>
                              <a:pt x="36260" y="28961"/>
                              <a:pt x="36926" y="16743"/>
                              <a:pt x="27672" y="5371"/>
                            </a:cubicBezTo>
                            <a:cubicBezTo>
                              <a:pt x="24708" y="1742"/>
                              <a:pt x="22288" y="-677"/>
                              <a:pt x="21744" y="169"/>
                            </a:cubicBezTo>
                            <a:cubicBezTo>
                              <a:pt x="20655" y="1803"/>
                              <a:pt x="11885" y="17287"/>
                              <a:pt x="3356" y="38215"/>
                            </a:cubicBezTo>
                            <a:cubicBezTo>
                              <a:pt x="-2027" y="51461"/>
                              <a:pt x="-1906" y="60716"/>
                              <a:pt x="10978" y="70273"/>
                            </a:cubicBezTo>
                            <a:lnTo>
                              <a:pt x="10978" y="70273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22" name="Freihandform: Form 321">
                        <a:extLst>
                          <a:ext uri="{FF2B5EF4-FFF2-40B4-BE49-F238E27FC236}">
                            <a16:creationId xmlns:a16="http://schemas.microsoft.com/office/drawing/2014/main" id="{D727BE33-3200-DB74-C4A5-7C53FC98CE1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01678" y="3796330"/>
                        <a:ext cx="46919" cy="74881"/>
                      </a:xfrm>
                      <a:custGeom>
                        <a:avLst/>
                        <a:gdLst>
                          <a:gd name="connsiteX0" fmla="*/ 15672 w 46919"/>
                          <a:gd name="connsiteY0" fmla="*/ 74821 h 74881"/>
                          <a:gd name="connsiteX1" fmla="*/ 43556 w 46919"/>
                          <a:gd name="connsiteY1" fmla="*/ 28670 h 74881"/>
                          <a:gd name="connsiteX2" fmla="*/ 26741 w 46919"/>
                          <a:gd name="connsiteY2" fmla="*/ 0 h 74881"/>
                          <a:gd name="connsiteX3" fmla="*/ 22084 w 46919"/>
                          <a:gd name="connsiteY3" fmla="*/ 4960 h 74881"/>
                          <a:gd name="connsiteX4" fmla="*/ 2124 w 46919"/>
                          <a:gd name="connsiteY4" fmla="*/ 46393 h 74881"/>
                          <a:gd name="connsiteX5" fmla="*/ 15672 w 46919"/>
                          <a:gd name="connsiteY5" fmla="*/ 74881 h 74881"/>
                          <a:gd name="connsiteX6" fmla="*/ 15672 w 46919"/>
                          <a:gd name="connsiteY6" fmla="*/ 74881 h 74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6919" h="74881">
                            <a:moveTo>
                              <a:pt x="15672" y="74821"/>
                            </a:moveTo>
                            <a:lnTo>
                              <a:pt x="43556" y="28670"/>
                            </a:lnTo>
                            <a:cubicBezTo>
                              <a:pt x="51843" y="14577"/>
                              <a:pt x="44282" y="7561"/>
                              <a:pt x="26741" y="0"/>
                            </a:cubicBezTo>
                            <a:lnTo>
                              <a:pt x="22084" y="4960"/>
                            </a:lnTo>
                            <a:lnTo>
                              <a:pt x="2124" y="46393"/>
                            </a:lnTo>
                            <a:cubicBezTo>
                              <a:pt x="-3320" y="58853"/>
                              <a:pt x="1881" y="66958"/>
                              <a:pt x="15672" y="74881"/>
                            </a:cubicBezTo>
                            <a:lnTo>
                              <a:pt x="15672" y="74881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23" name="Freihandform: Form 322">
                        <a:extLst>
                          <a:ext uri="{FF2B5EF4-FFF2-40B4-BE49-F238E27FC236}">
                            <a16:creationId xmlns:a16="http://schemas.microsoft.com/office/drawing/2014/main" id="{A1F7D5EB-2D29-1462-BE0F-2991CE819C5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23561" y="3749196"/>
                        <a:ext cx="38911" cy="69332"/>
                      </a:xfrm>
                      <a:custGeom>
                        <a:avLst/>
                        <a:gdLst>
                          <a:gd name="connsiteX0" fmla="*/ 38851 w 38911"/>
                          <a:gd name="connsiteY0" fmla="*/ 6729 h 69332"/>
                          <a:gd name="connsiteX1" fmla="*/ 24576 w 38911"/>
                          <a:gd name="connsiteY1" fmla="*/ 69332 h 69332"/>
                          <a:gd name="connsiteX2" fmla="*/ 19 w 38911"/>
                          <a:gd name="connsiteY2" fmla="*/ 54392 h 69332"/>
                          <a:gd name="connsiteX3" fmla="*/ 3950 w 38911"/>
                          <a:gd name="connsiteY3" fmla="*/ 9814 h 69332"/>
                          <a:gd name="connsiteX4" fmla="*/ 38911 w 38911"/>
                          <a:gd name="connsiteY4" fmla="*/ 6729 h 6933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38911" h="69332">
                            <a:moveTo>
                              <a:pt x="38851" y="6729"/>
                            </a:moveTo>
                            <a:cubicBezTo>
                              <a:pt x="38790" y="7818"/>
                              <a:pt x="24576" y="69332"/>
                              <a:pt x="24576" y="69332"/>
                            </a:cubicBezTo>
                            <a:cubicBezTo>
                              <a:pt x="6370" y="66611"/>
                              <a:pt x="-405" y="69756"/>
                              <a:pt x="19" y="54392"/>
                            </a:cubicBezTo>
                            <a:lnTo>
                              <a:pt x="3950" y="9814"/>
                            </a:lnTo>
                            <a:cubicBezTo>
                              <a:pt x="10543" y="197"/>
                              <a:pt x="34798" y="-4944"/>
                              <a:pt x="38911" y="6729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324" name="Grafik 297">
                      <a:extLst>
                        <a:ext uri="{FF2B5EF4-FFF2-40B4-BE49-F238E27FC236}">
                          <a16:creationId xmlns:a16="http://schemas.microsoft.com/office/drawing/2014/main" id="{EA59B917-8F56-3759-2E95-638010CF2FA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46098" y="3618585"/>
                      <a:ext cx="105739" cy="213190"/>
                      <a:chOff x="11946098" y="3618585"/>
                      <a:chExt cx="105739" cy="213190"/>
                    </a:xfrm>
                    <a:solidFill>
                      <a:srgbClr val="02787D"/>
                    </a:solidFill>
                  </p:grpSpPr>
                  <p:sp>
                    <p:nvSpPr>
                      <p:cNvPr id="325" name="Freihandform: Form 324">
                        <a:extLst>
                          <a:ext uri="{FF2B5EF4-FFF2-40B4-BE49-F238E27FC236}">
                            <a16:creationId xmlns:a16="http://schemas.microsoft.com/office/drawing/2014/main" id="{F825FD72-9942-FE15-57E3-09E481B40BD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58921" y="3744917"/>
                        <a:ext cx="32671" cy="86858"/>
                      </a:xfrm>
                      <a:custGeom>
                        <a:avLst/>
                        <a:gdLst>
                          <a:gd name="connsiteX0" fmla="*/ 12339 w 32671"/>
                          <a:gd name="connsiteY0" fmla="*/ 86858 h 86858"/>
                          <a:gd name="connsiteX1" fmla="*/ 0 w 32671"/>
                          <a:gd name="connsiteY1" fmla="*/ 44216 h 86858"/>
                          <a:gd name="connsiteX2" fmla="*/ 11673 w 32671"/>
                          <a:gd name="connsiteY2" fmla="*/ 2359 h 86858"/>
                          <a:gd name="connsiteX3" fmla="*/ 20202 w 32671"/>
                          <a:gd name="connsiteY3" fmla="*/ 1089 h 86858"/>
                          <a:gd name="connsiteX4" fmla="*/ 31997 w 32671"/>
                          <a:gd name="connsiteY4" fmla="*/ 52684 h 86858"/>
                          <a:gd name="connsiteX5" fmla="*/ 12399 w 32671"/>
                          <a:gd name="connsiteY5" fmla="*/ 86858 h 86858"/>
                          <a:gd name="connsiteX6" fmla="*/ 12399 w 32671"/>
                          <a:gd name="connsiteY6" fmla="*/ 86858 h 868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2671" h="86858">
                            <a:moveTo>
                              <a:pt x="12339" y="86858"/>
                            </a:moveTo>
                            <a:lnTo>
                              <a:pt x="0" y="44216"/>
                            </a:lnTo>
                            <a:cubicBezTo>
                              <a:pt x="1573" y="30304"/>
                              <a:pt x="3206" y="8771"/>
                              <a:pt x="11673" y="2359"/>
                            </a:cubicBezTo>
                            <a:cubicBezTo>
                              <a:pt x="16452" y="-1270"/>
                              <a:pt x="19779" y="121"/>
                              <a:pt x="20202" y="1089"/>
                            </a:cubicBezTo>
                            <a:cubicBezTo>
                              <a:pt x="23347" y="8226"/>
                              <a:pt x="28610" y="30909"/>
                              <a:pt x="31997" y="52684"/>
                            </a:cubicBezTo>
                            <a:cubicBezTo>
                              <a:pt x="34356" y="67805"/>
                              <a:pt x="31150" y="77906"/>
                              <a:pt x="12399" y="86858"/>
                            </a:cubicBezTo>
                            <a:lnTo>
                              <a:pt x="12399" y="86858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26" name="Freihandform: Form 325">
                        <a:extLst>
                          <a:ext uri="{FF2B5EF4-FFF2-40B4-BE49-F238E27FC236}">
                            <a16:creationId xmlns:a16="http://schemas.microsoft.com/office/drawing/2014/main" id="{22D0EA89-1B05-4DB2-ADBB-27EEDDFFB5E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46098" y="3716544"/>
                        <a:ext cx="49961" cy="74915"/>
                      </a:xfrm>
                      <a:custGeom>
                        <a:avLst/>
                        <a:gdLst>
                          <a:gd name="connsiteX0" fmla="*/ 0 w 49961"/>
                          <a:gd name="connsiteY0" fmla="*/ 6901 h 74915"/>
                          <a:gd name="connsiteX1" fmla="*/ 49961 w 49961"/>
                          <a:gd name="connsiteY1" fmla="*/ 13554 h 74915"/>
                          <a:gd name="connsiteX2" fmla="*/ 38651 w 49961"/>
                          <a:gd name="connsiteY2" fmla="*/ 49180 h 74915"/>
                          <a:gd name="connsiteX3" fmla="*/ 12823 w 49961"/>
                          <a:gd name="connsiteY3" fmla="*/ 72588 h 74915"/>
                          <a:gd name="connsiteX4" fmla="*/ 0 w 49961"/>
                          <a:gd name="connsiteY4" fmla="*/ 6901 h 7491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49961" h="74915">
                            <a:moveTo>
                              <a:pt x="0" y="6901"/>
                            </a:moveTo>
                            <a:cubicBezTo>
                              <a:pt x="16029" y="-11850"/>
                              <a:pt x="49961" y="13554"/>
                              <a:pt x="49961" y="13554"/>
                            </a:cubicBezTo>
                            <a:lnTo>
                              <a:pt x="38651" y="49180"/>
                            </a:lnTo>
                            <a:cubicBezTo>
                              <a:pt x="36836" y="64846"/>
                              <a:pt x="25404" y="81056"/>
                              <a:pt x="12823" y="72588"/>
                            </a:cubicBezTo>
                            <a:cubicBezTo>
                              <a:pt x="12823" y="72588"/>
                              <a:pt x="61" y="6175"/>
                              <a:pt x="0" y="6901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27" name="Freihandform: Form 326">
                        <a:extLst>
                          <a:ext uri="{FF2B5EF4-FFF2-40B4-BE49-F238E27FC236}">
                            <a16:creationId xmlns:a16="http://schemas.microsoft.com/office/drawing/2014/main" id="{7423FC1F-B614-D738-43D9-567CF21A8A0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46098" y="3618585"/>
                        <a:ext cx="105739" cy="122980"/>
                      </a:xfrm>
                      <a:custGeom>
                        <a:avLst/>
                        <a:gdLst>
                          <a:gd name="connsiteX0" fmla="*/ 13005 w 105739"/>
                          <a:gd name="connsiteY0" fmla="*/ 52237 h 122980"/>
                          <a:gd name="connsiteX1" fmla="*/ 0 w 105739"/>
                          <a:gd name="connsiteY1" fmla="*/ 104860 h 122980"/>
                          <a:gd name="connsiteX2" fmla="*/ 0 w 105739"/>
                          <a:gd name="connsiteY2" fmla="*/ 104860 h 122980"/>
                          <a:gd name="connsiteX3" fmla="*/ 49598 w 105739"/>
                          <a:gd name="connsiteY3" fmla="*/ 112360 h 122980"/>
                          <a:gd name="connsiteX4" fmla="*/ 96475 w 105739"/>
                          <a:gd name="connsiteY4" fmla="*/ 56532 h 122980"/>
                          <a:gd name="connsiteX5" fmla="*/ 47300 w 105739"/>
                          <a:gd name="connsiteY5" fmla="*/ 3244 h 122980"/>
                          <a:gd name="connsiteX6" fmla="*/ 12944 w 105739"/>
                          <a:gd name="connsiteY6" fmla="*/ 52237 h 12298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105739" h="122980">
                            <a:moveTo>
                              <a:pt x="13005" y="52237"/>
                            </a:moveTo>
                            <a:cubicBezTo>
                              <a:pt x="7561" y="66875"/>
                              <a:pt x="0" y="104860"/>
                              <a:pt x="0" y="104860"/>
                            </a:cubicBezTo>
                            <a:lnTo>
                              <a:pt x="0" y="104860"/>
                            </a:lnTo>
                            <a:cubicBezTo>
                              <a:pt x="5685" y="123853"/>
                              <a:pt x="34114" y="130385"/>
                              <a:pt x="49598" y="112360"/>
                            </a:cubicBezTo>
                            <a:cubicBezTo>
                              <a:pt x="49598" y="112360"/>
                              <a:pt x="65083" y="73286"/>
                              <a:pt x="96475" y="56532"/>
                            </a:cubicBezTo>
                            <a:cubicBezTo>
                              <a:pt x="123633" y="42015"/>
                              <a:pt x="86192" y="-13934"/>
                              <a:pt x="47300" y="3244"/>
                            </a:cubicBezTo>
                            <a:cubicBezTo>
                              <a:pt x="27642" y="23204"/>
                              <a:pt x="12944" y="52237"/>
                              <a:pt x="12944" y="52237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328" name="Freihandform: Form 327">
                      <a:extLst>
                        <a:ext uri="{FF2B5EF4-FFF2-40B4-BE49-F238E27FC236}">
                          <a16:creationId xmlns:a16="http://schemas.microsoft.com/office/drawing/2014/main" id="{B76100AE-BE60-0D2B-F8FF-C78749A06E7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52267" y="3601082"/>
                      <a:ext cx="137060" cy="179703"/>
                    </a:xfrm>
                    <a:custGeom>
                      <a:avLst/>
                      <a:gdLst>
                        <a:gd name="connsiteX0" fmla="*/ 137061 w 137060"/>
                        <a:gd name="connsiteY0" fmla="*/ 137243 h 179703"/>
                        <a:gd name="connsiteX1" fmla="*/ 128895 w 137060"/>
                        <a:gd name="connsiteY1" fmla="*/ 10645 h 179703"/>
                        <a:gd name="connsiteX2" fmla="*/ 44578 w 137060"/>
                        <a:gd name="connsiteY2" fmla="*/ 0 h 179703"/>
                        <a:gd name="connsiteX3" fmla="*/ 36352 w 137060"/>
                        <a:gd name="connsiteY3" fmla="*/ 21352 h 179703"/>
                        <a:gd name="connsiteX4" fmla="*/ 0 w 137060"/>
                        <a:gd name="connsiteY4" fmla="*/ 96778 h 179703"/>
                        <a:gd name="connsiteX5" fmla="*/ 45183 w 137060"/>
                        <a:gd name="connsiteY5" fmla="*/ 123633 h 179703"/>
                        <a:gd name="connsiteX6" fmla="*/ 74216 w 137060"/>
                        <a:gd name="connsiteY6" fmla="*/ 179704 h 179703"/>
                        <a:gd name="connsiteX7" fmla="*/ 134339 w 137060"/>
                        <a:gd name="connsiteY7" fmla="*/ 161921 h 179703"/>
                        <a:gd name="connsiteX8" fmla="*/ 137061 w 137060"/>
                        <a:gd name="connsiteY8" fmla="*/ 137303 h 1797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37060" h="179703">
                          <a:moveTo>
                            <a:pt x="137061" y="137243"/>
                          </a:moveTo>
                          <a:cubicBezTo>
                            <a:pt x="133130" y="104580"/>
                            <a:pt x="128774" y="66232"/>
                            <a:pt x="128895" y="10645"/>
                          </a:cubicBezTo>
                          <a:lnTo>
                            <a:pt x="44578" y="0"/>
                          </a:lnTo>
                          <a:cubicBezTo>
                            <a:pt x="42219" y="13972"/>
                            <a:pt x="38651" y="19537"/>
                            <a:pt x="36352" y="21352"/>
                          </a:cubicBezTo>
                          <a:cubicBezTo>
                            <a:pt x="1693" y="48510"/>
                            <a:pt x="0" y="96778"/>
                            <a:pt x="0" y="96778"/>
                          </a:cubicBezTo>
                          <a:cubicBezTo>
                            <a:pt x="61" y="101374"/>
                            <a:pt x="31331" y="97624"/>
                            <a:pt x="45183" y="123633"/>
                          </a:cubicBezTo>
                          <a:cubicBezTo>
                            <a:pt x="49115" y="131012"/>
                            <a:pt x="73671" y="141174"/>
                            <a:pt x="74216" y="179704"/>
                          </a:cubicBezTo>
                          <a:cubicBezTo>
                            <a:pt x="116435" y="145832"/>
                            <a:pt x="132585" y="160953"/>
                            <a:pt x="134339" y="161921"/>
                          </a:cubicBezTo>
                          <a:cubicBezTo>
                            <a:pt x="134823" y="152183"/>
                            <a:pt x="136759" y="143957"/>
                            <a:pt x="137061" y="137303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29" name="Freihandform: Form 328">
                      <a:extLst>
                        <a:ext uri="{FF2B5EF4-FFF2-40B4-BE49-F238E27FC236}">
                          <a16:creationId xmlns:a16="http://schemas.microsoft.com/office/drawing/2014/main" id="{E5032B0E-6D7E-9028-5C46-11A01DA64D6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96180" y="3566242"/>
                      <a:ext cx="85164" cy="85164"/>
                    </a:xfrm>
                    <a:custGeom>
                      <a:avLst/>
                      <a:gdLst>
                        <a:gd name="connsiteX0" fmla="*/ 85164 w 85164"/>
                        <a:gd name="connsiteY0" fmla="*/ 42582 h 85164"/>
                        <a:gd name="connsiteX1" fmla="*/ 42582 w 85164"/>
                        <a:gd name="connsiteY1" fmla="*/ 85164 h 85164"/>
                        <a:gd name="connsiteX2" fmla="*/ 0 w 85164"/>
                        <a:gd name="connsiteY2" fmla="*/ 42582 h 85164"/>
                        <a:gd name="connsiteX3" fmla="*/ 42582 w 85164"/>
                        <a:gd name="connsiteY3" fmla="*/ 0 h 85164"/>
                        <a:gd name="connsiteX4" fmla="*/ 85164 w 85164"/>
                        <a:gd name="connsiteY4" fmla="*/ 42582 h 851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5164" h="85164">
                          <a:moveTo>
                            <a:pt x="85164" y="42582"/>
                          </a:moveTo>
                          <a:cubicBezTo>
                            <a:pt x="85164" y="66100"/>
                            <a:pt x="66100" y="85164"/>
                            <a:pt x="42582" y="85164"/>
                          </a:cubicBezTo>
                          <a:cubicBezTo>
                            <a:pt x="19065" y="85164"/>
                            <a:pt x="0" y="66100"/>
                            <a:pt x="0" y="42582"/>
                          </a:cubicBezTo>
                          <a:cubicBezTo>
                            <a:pt x="0" y="19065"/>
                            <a:pt x="19064" y="0"/>
                            <a:pt x="42582" y="0"/>
                          </a:cubicBezTo>
                          <a:cubicBezTo>
                            <a:pt x="66099" y="0"/>
                            <a:pt x="85164" y="19065"/>
                            <a:pt x="85164" y="42582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sp>
              <p:nvSpPr>
                <p:cNvPr id="330" name="Freihandform: Form 329">
                  <a:extLst>
                    <a:ext uri="{FF2B5EF4-FFF2-40B4-BE49-F238E27FC236}">
                      <a16:creationId xmlns:a16="http://schemas.microsoft.com/office/drawing/2014/main" id="{D80F530E-9F07-EBD1-2532-B0B8BB5E27FD}"/>
                    </a:ext>
                  </a:extLst>
                </p:cNvPr>
                <p:cNvSpPr/>
                <p:nvPr/>
              </p:nvSpPr>
              <p:spPr>
                <a:xfrm>
                  <a:off x="11321277" y="3386780"/>
                  <a:ext cx="363036" cy="363036"/>
                </a:xfrm>
                <a:custGeom>
                  <a:avLst/>
                  <a:gdLst>
                    <a:gd name="connsiteX0" fmla="*/ 363037 w 363036"/>
                    <a:gd name="connsiteY0" fmla="*/ 181518 h 363036"/>
                    <a:gd name="connsiteX1" fmla="*/ 181518 w 363036"/>
                    <a:gd name="connsiteY1" fmla="*/ 363037 h 363036"/>
                    <a:gd name="connsiteX2" fmla="*/ 0 w 363036"/>
                    <a:gd name="connsiteY2" fmla="*/ 181518 h 363036"/>
                    <a:gd name="connsiteX3" fmla="*/ 181518 w 363036"/>
                    <a:gd name="connsiteY3" fmla="*/ 0 h 363036"/>
                    <a:gd name="connsiteX4" fmla="*/ 363037 w 363036"/>
                    <a:gd name="connsiteY4" fmla="*/ 181518 h 3630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3036" h="363036">
                      <a:moveTo>
                        <a:pt x="363037" y="181518"/>
                      </a:moveTo>
                      <a:cubicBezTo>
                        <a:pt x="363037" y="281768"/>
                        <a:pt x="281768" y="363037"/>
                        <a:pt x="181518" y="363037"/>
                      </a:cubicBezTo>
                      <a:cubicBezTo>
                        <a:pt x="81268" y="363037"/>
                        <a:pt x="0" y="281768"/>
                        <a:pt x="0" y="181518"/>
                      </a:cubicBezTo>
                      <a:cubicBezTo>
                        <a:pt x="0" y="81269"/>
                        <a:pt x="81268" y="0"/>
                        <a:pt x="181518" y="0"/>
                      </a:cubicBezTo>
                      <a:cubicBezTo>
                        <a:pt x="281768" y="0"/>
                        <a:pt x="363037" y="81269"/>
                        <a:pt x="363037" y="181518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1" name="Freihandform: Form 330">
                  <a:extLst>
                    <a:ext uri="{FF2B5EF4-FFF2-40B4-BE49-F238E27FC236}">
                      <a16:creationId xmlns:a16="http://schemas.microsoft.com/office/drawing/2014/main" id="{88BD23F6-2969-2DA8-BE3B-E8481DF27AB8}"/>
                    </a:ext>
                  </a:extLst>
                </p:cNvPr>
                <p:cNvSpPr/>
                <p:nvPr/>
              </p:nvSpPr>
              <p:spPr>
                <a:xfrm>
                  <a:off x="11686068" y="3386780"/>
                  <a:ext cx="366302" cy="366303"/>
                </a:xfrm>
                <a:custGeom>
                  <a:avLst/>
                  <a:gdLst>
                    <a:gd name="connsiteX0" fmla="*/ 366303 w 366302"/>
                    <a:gd name="connsiteY0" fmla="*/ 183151 h 366303"/>
                    <a:gd name="connsiteX1" fmla="*/ 183151 w 366302"/>
                    <a:gd name="connsiteY1" fmla="*/ 366303 h 366303"/>
                    <a:gd name="connsiteX2" fmla="*/ -1 w 366302"/>
                    <a:gd name="connsiteY2" fmla="*/ 183151 h 366303"/>
                    <a:gd name="connsiteX3" fmla="*/ 183151 w 366302"/>
                    <a:gd name="connsiteY3" fmla="*/ 0 h 366303"/>
                    <a:gd name="connsiteX4" fmla="*/ 366303 w 366302"/>
                    <a:gd name="connsiteY4" fmla="*/ 183151 h 3663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6302" h="366303">
                      <a:moveTo>
                        <a:pt x="366303" y="183151"/>
                      </a:moveTo>
                      <a:cubicBezTo>
                        <a:pt x="366303" y="284303"/>
                        <a:pt x="284303" y="366303"/>
                        <a:pt x="183151" y="366303"/>
                      </a:cubicBezTo>
                      <a:cubicBezTo>
                        <a:pt x="82000" y="366303"/>
                        <a:pt x="-1" y="284303"/>
                        <a:pt x="-1" y="183151"/>
                      </a:cubicBezTo>
                      <a:cubicBezTo>
                        <a:pt x="-1" y="82000"/>
                        <a:pt x="81999" y="0"/>
                        <a:pt x="183151" y="0"/>
                      </a:cubicBezTo>
                      <a:cubicBezTo>
                        <a:pt x="284303" y="0"/>
                        <a:pt x="366303" y="82000"/>
                        <a:pt x="366303" y="183151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2" name="Freihandform: Form 331">
                  <a:extLst>
                    <a:ext uri="{FF2B5EF4-FFF2-40B4-BE49-F238E27FC236}">
                      <a16:creationId xmlns:a16="http://schemas.microsoft.com/office/drawing/2014/main" id="{46631212-16CE-DC13-E1C0-948CF7BEA391}"/>
                    </a:ext>
                  </a:extLst>
                </p:cNvPr>
                <p:cNvSpPr/>
                <p:nvPr/>
              </p:nvSpPr>
              <p:spPr>
                <a:xfrm>
                  <a:off x="11431967" y="2413137"/>
                  <a:ext cx="543949" cy="331530"/>
                </a:xfrm>
                <a:custGeom>
                  <a:avLst/>
                  <a:gdLst>
                    <a:gd name="connsiteX0" fmla="*/ 255129 w 543949"/>
                    <a:gd name="connsiteY0" fmla="*/ 331524 h 331530"/>
                    <a:gd name="connsiteX1" fmla="*/ 543950 w 543949"/>
                    <a:gd name="connsiteY1" fmla="*/ 92544 h 331530"/>
                    <a:gd name="connsiteX2" fmla="*/ 374045 w 543949"/>
                    <a:gd name="connsiteY2" fmla="*/ 35929 h 331530"/>
                    <a:gd name="connsiteX3" fmla="*/ 254706 w 543949"/>
                    <a:gd name="connsiteY3" fmla="*/ 0 h 331530"/>
                    <a:gd name="connsiteX4" fmla="*/ 126960 w 543949"/>
                    <a:gd name="connsiteY4" fmla="*/ 37743 h 331530"/>
                    <a:gd name="connsiteX5" fmla="*/ 0 w 543949"/>
                    <a:gd name="connsiteY5" fmla="*/ 79720 h 331530"/>
                    <a:gd name="connsiteX6" fmla="*/ 255129 w 543949"/>
                    <a:gd name="connsiteY6" fmla="*/ 331524 h 331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43949" h="331530">
                      <a:moveTo>
                        <a:pt x="255129" y="331524"/>
                      </a:moveTo>
                      <a:cubicBezTo>
                        <a:pt x="466710" y="332975"/>
                        <a:pt x="543950" y="92544"/>
                        <a:pt x="543950" y="92544"/>
                      </a:cubicBezTo>
                      <a:lnTo>
                        <a:pt x="374045" y="35929"/>
                      </a:lnTo>
                      <a:lnTo>
                        <a:pt x="254706" y="0"/>
                      </a:lnTo>
                      <a:lnTo>
                        <a:pt x="126960" y="37743"/>
                      </a:lnTo>
                      <a:lnTo>
                        <a:pt x="0" y="79720"/>
                      </a:lnTo>
                      <a:cubicBezTo>
                        <a:pt x="0" y="79720"/>
                        <a:pt x="43610" y="330072"/>
                        <a:pt x="255129" y="331524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3" name="Freihandform: Form 332">
                  <a:extLst>
                    <a:ext uri="{FF2B5EF4-FFF2-40B4-BE49-F238E27FC236}">
                      <a16:creationId xmlns:a16="http://schemas.microsoft.com/office/drawing/2014/main" id="{5B668DBE-4B03-7C3D-FBC7-F4DE748B1E4C}"/>
                    </a:ext>
                  </a:extLst>
                </p:cNvPr>
                <p:cNvSpPr/>
                <p:nvPr/>
              </p:nvSpPr>
              <p:spPr>
                <a:xfrm>
                  <a:off x="11358295" y="2428077"/>
                  <a:ext cx="321746" cy="175911"/>
                </a:xfrm>
                <a:custGeom>
                  <a:avLst/>
                  <a:gdLst>
                    <a:gd name="connsiteX0" fmla="*/ 317370 w 321746"/>
                    <a:gd name="connsiteY0" fmla="*/ 148554 h 175911"/>
                    <a:gd name="connsiteX1" fmla="*/ 275514 w 321746"/>
                    <a:gd name="connsiteY1" fmla="*/ 15122 h 175911"/>
                    <a:gd name="connsiteX2" fmla="*/ 277752 w 321746"/>
                    <a:gd name="connsiteY2" fmla="*/ 0 h 175911"/>
                    <a:gd name="connsiteX3" fmla="*/ 200572 w 321746"/>
                    <a:gd name="connsiteY3" fmla="*/ 22803 h 175911"/>
                    <a:gd name="connsiteX4" fmla="*/ 0 w 321746"/>
                    <a:gd name="connsiteY4" fmla="*/ 89156 h 175911"/>
                    <a:gd name="connsiteX5" fmla="*/ 317310 w 321746"/>
                    <a:gd name="connsiteY5" fmla="*/ 148554 h 1759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1746" h="175911">
                      <a:moveTo>
                        <a:pt x="317370" y="148554"/>
                      </a:moveTo>
                      <a:cubicBezTo>
                        <a:pt x="338721" y="126113"/>
                        <a:pt x="274970" y="91757"/>
                        <a:pt x="275514" y="15122"/>
                      </a:cubicBezTo>
                      <a:cubicBezTo>
                        <a:pt x="275514" y="9496"/>
                        <a:pt x="276482" y="4597"/>
                        <a:pt x="277752" y="0"/>
                      </a:cubicBezTo>
                      <a:lnTo>
                        <a:pt x="200572" y="22803"/>
                      </a:lnTo>
                      <a:lnTo>
                        <a:pt x="0" y="89156"/>
                      </a:lnTo>
                      <a:cubicBezTo>
                        <a:pt x="21110" y="129682"/>
                        <a:pt x="138574" y="221621"/>
                        <a:pt x="317310" y="148554"/>
                      </a:cubicBez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4" name="Freihandform: Form 333">
                  <a:extLst>
                    <a:ext uri="{FF2B5EF4-FFF2-40B4-BE49-F238E27FC236}">
                      <a16:creationId xmlns:a16="http://schemas.microsoft.com/office/drawing/2014/main" id="{F1C0D228-50EC-6FFA-28E6-E9D9B28DE9C0}"/>
                    </a:ext>
                  </a:extLst>
                </p:cNvPr>
                <p:cNvSpPr/>
                <p:nvPr/>
              </p:nvSpPr>
              <p:spPr>
                <a:xfrm>
                  <a:off x="11594311" y="4818059"/>
                  <a:ext cx="146013" cy="183695"/>
                </a:xfrm>
                <a:custGeom>
                  <a:avLst/>
                  <a:gdLst>
                    <a:gd name="connsiteX0" fmla="*/ 0 w 146013"/>
                    <a:gd name="connsiteY0" fmla="*/ 18146 h 183695"/>
                    <a:gd name="connsiteX1" fmla="*/ 54558 w 146013"/>
                    <a:gd name="connsiteY1" fmla="*/ 183696 h 183695"/>
                    <a:gd name="connsiteX2" fmla="*/ 146013 w 146013"/>
                    <a:gd name="connsiteY2" fmla="*/ 170691 h 183695"/>
                    <a:gd name="connsiteX3" fmla="*/ 127807 w 146013"/>
                    <a:gd name="connsiteY3" fmla="*/ 0 h 183695"/>
                    <a:gd name="connsiteX4" fmla="*/ 0 w 146013"/>
                    <a:gd name="connsiteY4" fmla="*/ 18206 h 183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013" h="183695">
                      <a:moveTo>
                        <a:pt x="0" y="18146"/>
                      </a:moveTo>
                      <a:cubicBezTo>
                        <a:pt x="22501" y="79176"/>
                        <a:pt x="43308" y="138876"/>
                        <a:pt x="54558" y="183696"/>
                      </a:cubicBezTo>
                      <a:lnTo>
                        <a:pt x="146013" y="170691"/>
                      </a:lnTo>
                      <a:cubicBezTo>
                        <a:pt x="146013" y="170691"/>
                        <a:pt x="137484" y="91999"/>
                        <a:pt x="127807" y="0"/>
                      </a:cubicBezTo>
                      <a:lnTo>
                        <a:pt x="0" y="18206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5" name="Freihandform: Form 334">
                  <a:extLst>
                    <a:ext uri="{FF2B5EF4-FFF2-40B4-BE49-F238E27FC236}">
                      <a16:creationId xmlns:a16="http://schemas.microsoft.com/office/drawing/2014/main" id="{4B5B6BBC-346C-1027-3210-F2F3DC5BB00C}"/>
                    </a:ext>
                  </a:extLst>
                </p:cNvPr>
                <p:cNvSpPr/>
                <p:nvPr/>
              </p:nvSpPr>
              <p:spPr>
                <a:xfrm>
                  <a:off x="11581075" y="4991110"/>
                  <a:ext cx="189371" cy="147888"/>
                </a:xfrm>
                <a:custGeom>
                  <a:avLst/>
                  <a:gdLst>
                    <a:gd name="connsiteX0" fmla="*/ 67492 w 189371"/>
                    <a:gd name="connsiteY0" fmla="*/ 8287 h 147888"/>
                    <a:gd name="connsiteX1" fmla="*/ 51 w 189371"/>
                    <a:gd name="connsiteY1" fmla="*/ 147888 h 147888"/>
                    <a:gd name="connsiteX2" fmla="*/ 189371 w 189371"/>
                    <a:gd name="connsiteY2" fmla="*/ 130892 h 147888"/>
                    <a:gd name="connsiteX3" fmla="*/ 159492 w 189371"/>
                    <a:gd name="connsiteY3" fmla="*/ 0 h 147888"/>
                    <a:gd name="connsiteX4" fmla="*/ 67492 w 189371"/>
                    <a:gd name="connsiteY4" fmla="*/ 8287 h 147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9371" h="147888">
                      <a:moveTo>
                        <a:pt x="67492" y="8287"/>
                      </a:moveTo>
                      <a:cubicBezTo>
                        <a:pt x="62775" y="101072"/>
                        <a:pt x="-2067" y="123815"/>
                        <a:pt x="51" y="147888"/>
                      </a:cubicBezTo>
                      <a:lnTo>
                        <a:pt x="189371" y="130892"/>
                      </a:lnTo>
                      <a:cubicBezTo>
                        <a:pt x="173766" y="80023"/>
                        <a:pt x="167899" y="41675"/>
                        <a:pt x="159492" y="0"/>
                      </a:cubicBezTo>
                      <a:lnTo>
                        <a:pt x="67492" y="8287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6" name="Freihandform: Form 335">
                  <a:extLst>
                    <a:ext uri="{FF2B5EF4-FFF2-40B4-BE49-F238E27FC236}">
                      <a16:creationId xmlns:a16="http://schemas.microsoft.com/office/drawing/2014/main" id="{46E1A059-08C2-6BB4-A7CC-ABBB5EAD30BE}"/>
                    </a:ext>
                  </a:extLst>
                </p:cNvPr>
                <p:cNvSpPr/>
                <p:nvPr/>
              </p:nvSpPr>
              <p:spPr>
                <a:xfrm>
                  <a:off x="11320709" y="3561947"/>
                  <a:ext cx="366367" cy="731577"/>
                </a:xfrm>
                <a:custGeom>
                  <a:avLst/>
                  <a:gdLst>
                    <a:gd name="connsiteX0" fmla="*/ 342557 w 366367"/>
                    <a:gd name="connsiteY0" fmla="*/ 731517 h 731577"/>
                    <a:gd name="connsiteX1" fmla="*/ 128799 w 366367"/>
                    <a:gd name="connsiteY1" fmla="*/ 731517 h 731577"/>
                    <a:gd name="connsiteX2" fmla="*/ 72124 w 366367"/>
                    <a:gd name="connsiteY2" fmla="*/ 522659 h 731577"/>
                    <a:gd name="connsiteX3" fmla="*/ 14481 w 366367"/>
                    <a:gd name="connsiteY3" fmla="*/ 210612 h 731577"/>
                    <a:gd name="connsiteX4" fmla="*/ 387 w 366367"/>
                    <a:gd name="connsiteY4" fmla="*/ 8589 h 731577"/>
                    <a:gd name="connsiteX5" fmla="*/ 363484 w 366367"/>
                    <a:gd name="connsiteY5" fmla="*/ 0 h 731577"/>
                    <a:gd name="connsiteX6" fmla="*/ 342557 w 366367"/>
                    <a:gd name="connsiteY6" fmla="*/ 731578 h 7315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66367" h="731577">
                      <a:moveTo>
                        <a:pt x="342557" y="731517"/>
                      </a:moveTo>
                      <a:lnTo>
                        <a:pt x="128799" y="731517"/>
                      </a:lnTo>
                      <a:cubicBezTo>
                        <a:pt x="128799" y="731517"/>
                        <a:pt x="93778" y="595303"/>
                        <a:pt x="72124" y="522659"/>
                      </a:cubicBezTo>
                      <a:cubicBezTo>
                        <a:pt x="50470" y="450016"/>
                        <a:pt x="25489" y="306361"/>
                        <a:pt x="14481" y="210612"/>
                      </a:cubicBezTo>
                      <a:cubicBezTo>
                        <a:pt x="6436" y="140932"/>
                        <a:pt x="-1911" y="69377"/>
                        <a:pt x="387" y="8589"/>
                      </a:cubicBezTo>
                      <a:cubicBezTo>
                        <a:pt x="68011" y="8589"/>
                        <a:pt x="363484" y="0"/>
                        <a:pt x="363484" y="0"/>
                      </a:cubicBezTo>
                      <a:cubicBezTo>
                        <a:pt x="372981" y="258215"/>
                        <a:pt x="357194" y="476327"/>
                        <a:pt x="342557" y="731578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7" name="Freihandform: Form 336">
                  <a:extLst>
                    <a:ext uri="{FF2B5EF4-FFF2-40B4-BE49-F238E27FC236}">
                      <a16:creationId xmlns:a16="http://schemas.microsoft.com/office/drawing/2014/main" id="{6F9B5FE6-A8E1-CD14-59C9-C8F2818F16B9}"/>
                    </a:ext>
                  </a:extLst>
                </p:cNvPr>
                <p:cNvSpPr/>
                <p:nvPr/>
              </p:nvSpPr>
              <p:spPr>
                <a:xfrm>
                  <a:off x="11450391" y="4277496"/>
                  <a:ext cx="296163" cy="619860"/>
                </a:xfrm>
                <a:custGeom>
                  <a:avLst/>
                  <a:gdLst>
                    <a:gd name="connsiteX0" fmla="*/ 296103 w 296163"/>
                    <a:gd name="connsiteY0" fmla="*/ 592399 h 619860"/>
                    <a:gd name="connsiteX1" fmla="*/ 103152 w 296163"/>
                    <a:gd name="connsiteY1" fmla="*/ 619860 h 619860"/>
                    <a:gd name="connsiteX2" fmla="*/ 265 w 296163"/>
                    <a:gd name="connsiteY2" fmla="*/ 30122 h 619860"/>
                    <a:gd name="connsiteX3" fmla="*/ 211906 w 296163"/>
                    <a:gd name="connsiteY3" fmla="*/ 0 h 619860"/>
                    <a:gd name="connsiteX4" fmla="*/ 263017 w 296163"/>
                    <a:gd name="connsiteY4" fmla="*/ 265594 h 619860"/>
                    <a:gd name="connsiteX5" fmla="*/ 296163 w 296163"/>
                    <a:gd name="connsiteY5" fmla="*/ 592399 h 6198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96163" h="619860">
                      <a:moveTo>
                        <a:pt x="296103" y="592399"/>
                      </a:moveTo>
                      <a:lnTo>
                        <a:pt x="103152" y="619860"/>
                      </a:lnTo>
                      <a:cubicBezTo>
                        <a:pt x="-10380" y="409853"/>
                        <a:pt x="265" y="30122"/>
                        <a:pt x="265" y="30122"/>
                      </a:cubicBezTo>
                      <a:lnTo>
                        <a:pt x="211906" y="0"/>
                      </a:lnTo>
                      <a:cubicBezTo>
                        <a:pt x="211906" y="0"/>
                        <a:pt x="257452" y="182547"/>
                        <a:pt x="263017" y="265594"/>
                      </a:cubicBezTo>
                      <a:cubicBezTo>
                        <a:pt x="268521" y="348641"/>
                        <a:pt x="296163" y="592399"/>
                        <a:pt x="296163" y="592399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8" name="Freihandform: Form 337">
                  <a:extLst>
                    <a:ext uri="{FF2B5EF4-FFF2-40B4-BE49-F238E27FC236}">
                      <a16:creationId xmlns:a16="http://schemas.microsoft.com/office/drawing/2014/main" id="{72FE9A34-A333-6248-8E26-CCF875D77BA9}"/>
                    </a:ext>
                  </a:extLst>
                </p:cNvPr>
                <p:cNvSpPr/>
                <p:nvPr/>
              </p:nvSpPr>
              <p:spPr>
                <a:xfrm>
                  <a:off x="11449508" y="4184348"/>
                  <a:ext cx="213757" cy="213757"/>
                </a:xfrm>
                <a:custGeom>
                  <a:avLst/>
                  <a:gdLst>
                    <a:gd name="connsiteX0" fmla="*/ 213757 w 213757"/>
                    <a:gd name="connsiteY0" fmla="*/ 106879 h 213757"/>
                    <a:gd name="connsiteX1" fmla="*/ 106878 w 213757"/>
                    <a:gd name="connsiteY1" fmla="*/ 213757 h 213757"/>
                    <a:gd name="connsiteX2" fmla="*/ 0 w 213757"/>
                    <a:gd name="connsiteY2" fmla="*/ 106879 h 213757"/>
                    <a:gd name="connsiteX3" fmla="*/ 106878 w 213757"/>
                    <a:gd name="connsiteY3" fmla="*/ 0 h 213757"/>
                    <a:gd name="connsiteX4" fmla="*/ 213757 w 213757"/>
                    <a:gd name="connsiteY4" fmla="*/ 106879 h 2137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3757" h="213757">
                      <a:moveTo>
                        <a:pt x="213757" y="106879"/>
                      </a:moveTo>
                      <a:cubicBezTo>
                        <a:pt x="213757" y="165906"/>
                        <a:pt x="165906" y="213757"/>
                        <a:pt x="106878" y="213757"/>
                      </a:cubicBezTo>
                      <a:cubicBezTo>
                        <a:pt x="47851" y="213757"/>
                        <a:pt x="0" y="165906"/>
                        <a:pt x="0" y="106879"/>
                      </a:cubicBezTo>
                      <a:cubicBezTo>
                        <a:pt x="0" y="47851"/>
                        <a:pt x="47851" y="0"/>
                        <a:pt x="106878" y="0"/>
                      </a:cubicBezTo>
                      <a:cubicBezTo>
                        <a:pt x="165906" y="0"/>
                        <a:pt x="213757" y="47851"/>
                        <a:pt x="213757" y="106879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9" name="Freihandform: Form 338">
                  <a:extLst>
                    <a:ext uri="{FF2B5EF4-FFF2-40B4-BE49-F238E27FC236}">
                      <a16:creationId xmlns:a16="http://schemas.microsoft.com/office/drawing/2014/main" id="{8DCA6FF5-365B-B45B-949C-4F19E9F58E07}"/>
                    </a:ext>
                  </a:extLst>
                </p:cNvPr>
                <p:cNvSpPr/>
                <p:nvPr/>
              </p:nvSpPr>
              <p:spPr>
                <a:xfrm>
                  <a:off x="11648386" y="4949556"/>
                  <a:ext cx="91454" cy="91454"/>
                </a:xfrm>
                <a:custGeom>
                  <a:avLst/>
                  <a:gdLst>
                    <a:gd name="connsiteX0" fmla="*/ 91455 w 91454"/>
                    <a:gd name="connsiteY0" fmla="*/ 45727 h 91454"/>
                    <a:gd name="connsiteX1" fmla="*/ 45727 w 91454"/>
                    <a:gd name="connsiteY1" fmla="*/ 91455 h 91454"/>
                    <a:gd name="connsiteX2" fmla="*/ 0 w 91454"/>
                    <a:gd name="connsiteY2" fmla="*/ 45727 h 91454"/>
                    <a:gd name="connsiteX3" fmla="*/ 45727 w 91454"/>
                    <a:gd name="connsiteY3" fmla="*/ 0 h 91454"/>
                    <a:gd name="connsiteX4" fmla="*/ 91455 w 91454"/>
                    <a:gd name="connsiteY4" fmla="*/ 45727 h 91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1454" h="91454">
                      <a:moveTo>
                        <a:pt x="91455" y="45727"/>
                      </a:moveTo>
                      <a:cubicBezTo>
                        <a:pt x="91455" y="70982"/>
                        <a:pt x="70982" y="91455"/>
                        <a:pt x="45727" y="91455"/>
                      </a:cubicBezTo>
                      <a:cubicBezTo>
                        <a:pt x="20473" y="91455"/>
                        <a:pt x="0" y="70982"/>
                        <a:pt x="0" y="45727"/>
                      </a:cubicBezTo>
                      <a:cubicBezTo>
                        <a:pt x="0" y="20473"/>
                        <a:pt x="20473" y="0"/>
                        <a:pt x="45727" y="0"/>
                      </a:cubicBezTo>
                      <a:cubicBezTo>
                        <a:pt x="70982" y="0"/>
                        <a:pt x="91455" y="20473"/>
                        <a:pt x="91455" y="45727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0" name="Freihandform: Form 339">
                  <a:extLst>
                    <a:ext uri="{FF2B5EF4-FFF2-40B4-BE49-F238E27FC236}">
                      <a16:creationId xmlns:a16="http://schemas.microsoft.com/office/drawing/2014/main" id="{E1026ADE-FFA7-D3D8-4C16-77AFA14C3351}"/>
                    </a:ext>
                  </a:extLst>
                </p:cNvPr>
                <p:cNvSpPr/>
                <p:nvPr/>
              </p:nvSpPr>
              <p:spPr>
                <a:xfrm>
                  <a:off x="11556024" y="5109420"/>
                  <a:ext cx="230361" cy="86010"/>
                </a:xfrm>
                <a:custGeom>
                  <a:avLst/>
                  <a:gdLst>
                    <a:gd name="connsiteX0" fmla="*/ 0 w 230361"/>
                    <a:gd name="connsiteY0" fmla="*/ 20323 h 86010"/>
                    <a:gd name="connsiteX1" fmla="*/ 4476 w 230361"/>
                    <a:gd name="connsiteY1" fmla="*/ 69922 h 86010"/>
                    <a:gd name="connsiteX2" fmla="*/ 16573 w 230361"/>
                    <a:gd name="connsiteY2" fmla="*/ 86011 h 86010"/>
                    <a:gd name="connsiteX3" fmla="*/ 221621 w 230361"/>
                    <a:gd name="connsiteY3" fmla="*/ 67563 h 86010"/>
                    <a:gd name="connsiteX4" fmla="*/ 230270 w 230361"/>
                    <a:gd name="connsiteY4" fmla="*/ 49719 h 86010"/>
                    <a:gd name="connsiteX5" fmla="*/ 225794 w 230361"/>
                    <a:gd name="connsiteY5" fmla="*/ 0 h 86010"/>
                    <a:gd name="connsiteX6" fmla="*/ 0 w 230361"/>
                    <a:gd name="connsiteY6" fmla="*/ 20323 h 860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0361" h="86010">
                      <a:moveTo>
                        <a:pt x="0" y="20323"/>
                      </a:moveTo>
                      <a:lnTo>
                        <a:pt x="4476" y="69922"/>
                      </a:lnTo>
                      <a:cubicBezTo>
                        <a:pt x="5202" y="77906"/>
                        <a:pt x="10222" y="84378"/>
                        <a:pt x="16573" y="86011"/>
                      </a:cubicBezTo>
                      <a:lnTo>
                        <a:pt x="221621" y="67563"/>
                      </a:lnTo>
                      <a:cubicBezTo>
                        <a:pt x="227367" y="64660"/>
                        <a:pt x="230996" y="57522"/>
                        <a:pt x="230270" y="49719"/>
                      </a:cubicBezTo>
                      <a:lnTo>
                        <a:pt x="225794" y="0"/>
                      </a:lnTo>
                      <a:lnTo>
                        <a:pt x="0" y="20323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1" name="Freihandform: Form 340">
                  <a:extLst>
                    <a:ext uri="{FF2B5EF4-FFF2-40B4-BE49-F238E27FC236}">
                      <a16:creationId xmlns:a16="http://schemas.microsoft.com/office/drawing/2014/main" id="{E159B55B-15A9-5985-8F7C-779C41A0DE6C}"/>
                    </a:ext>
                  </a:extLst>
                </p:cNvPr>
                <p:cNvSpPr/>
                <p:nvPr/>
              </p:nvSpPr>
              <p:spPr>
                <a:xfrm>
                  <a:off x="11556024" y="5028991"/>
                  <a:ext cx="225793" cy="104076"/>
                </a:xfrm>
                <a:custGeom>
                  <a:avLst/>
                  <a:gdLst>
                    <a:gd name="connsiteX0" fmla="*/ 225794 w 225793"/>
                    <a:gd name="connsiteY0" fmla="*/ 80429 h 104076"/>
                    <a:gd name="connsiteX1" fmla="*/ 192527 w 225793"/>
                    <a:gd name="connsiteY1" fmla="*/ 3068 h 104076"/>
                    <a:gd name="connsiteX2" fmla="*/ 181397 w 225793"/>
                    <a:gd name="connsiteY2" fmla="*/ 29197 h 104076"/>
                    <a:gd name="connsiteX3" fmla="*/ 61151 w 225793"/>
                    <a:gd name="connsiteY3" fmla="*/ 26959 h 104076"/>
                    <a:gd name="connsiteX4" fmla="*/ 0 w 225793"/>
                    <a:gd name="connsiteY4" fmla="*/ 100752 h 104076"/>
                    <a:gd name="connsiteX5" fmla="*/ 225794 w 225793"/>
                    <a:gd name="connsiteY5" fmla="*/ 80429 h 1040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25793" h="104076">
                      <a:moveTo>
                        <a:pt x="225794" y="80429"/>
                      </a:moveTo>
                      <a:cubicBezTo>
                        <a:pt x="223193" y="41537"/>
                        <a:pt x="217386" y="12382"/>
                        <a:pt x="192527" y="3068"/>
                      </a:cubicBezTo>
                      <a:lnTo>
                        <a:pt x="181397" y="29197"/>
                      </a:lnTo>
                      <a:cubicBezTo>
                        <a:pt x="181397" y="29197"/>
                        <a:pt x="88370" y="-34978"/>
                        <a:pt x="61151" y="26959"/>
                      </a:cubicBezTo>
                      <a:cubicBezTo>
                        <a:pt x="38045" y="79522"/>
                        <a:pt x="6956" y="63130"/>
                        <a:pt x="0" y="100752"/>
                      </a:cubicBezTo>
                      <a:cubicBezTo>
                        <a:pt x="25102" y="110067"/>
                        <a:pt x="198454" y="98696"/>
                        <a:pt x="225794" y="80429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2" name="Freihandform: Form 341">
                  <a:extLst>
                    <a:ext uri="{FF2B5EF4-FFF2-40B4-BE49-F238E27FC236}">
                      <a16:creationId xmlns:a16="http://schemas.microsoft.com/office/drawing/2014/main" id="{624F2709-EA44-03A4-CC4D-1D3679BF17EB}"/>
                    </a:ext>
                  </a:extLst>
                </p:cNvPr>
                <p:cNvSpPr/>
                <p:nvPr/>
              </p:nvSpPr>
              <p:spPr>
                <a:xfrm>
                  <a:off x="11727198" y="4837112"/>
                  <a:ext cx="129077" cy="171538"/>
                </a:xfrm>
                <a:custGeom>
                  <a:avLst/>
                  <a:gdLst>
                    <a:gd name="connsiteX0" fmla="*/ 0 w 129077"/>
                    <a:gd name="connsiteY0" fmla="*/ 0 h 171538"/>
                    <a:gd name="connsiteX1" fmla="*/ 6049 w 129077"/>
                    <a:gd name="connsiteY1" fmla="*/ 171538 h 171538"/>
                    <a:gd name="connsiteX2" fmla="*/ 98411 w 129077"/>
                    <a:gd name="connsiteY2" fmla="*/ 171538 h 171538"/>
                    <a:gd name="connsiteX3" fmla="*/ 129078 w 129077"/>
                    <a:gd name="connsiteY3" fmla="*/ 0 h 171538"/>
                    <a:gd name="connsiteX4" fmla="*/ 0 w 129077"/>
                    <a:gd name="connsiteY4" fmla="*/ 0 h 171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9077" h="171538">
                      <a:moveTo>
                        <a:pt x="0" y="0"/>
                      </a:moveTo>
                      <a:cubicBezTo>
                        <a:pt x="3448" y="92423"/>
                        <a:pt x="6049" y="171538"/>
                        <a:pt x="6049" y="171538"/>
                      </a:cubicBezTo>
                      <a:lnTo>
                        <a:pt x="98411" y="171538"/>
                      </a:lnTo>
                      <a:cubicBezTo>
                        <a:pt x="103250" y="125629"/>
                        <a:pt x="115408" y="63571"/>
                        <a:pt x="1290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3" name="Freihandform: Form 342">
                  <a:extLst>
                    <a:ext uri="{FF2B5EF4-FFF2-40B4-BE49-F238E27FC236}">
                      <a16:creationId xmlns:a16="http://schemas.microsoft.com/office/drawing/2014/main" id="{7538EA21-3680-1D55-46A0-20325CE268E7}"/>
                    </a:ext>
                  </a:extLst>
                </p:cNvPr>
                <p:cNvSpPr/>
                <p:nvPr/>
              </p:nvSpPr>
              <p:spPr>
                <a:xfrm>
                  <a:off x="11715162" y="5008650"/>
                  <a:ext cx="190107" cy="133008"/>
                </a:xfrm>
                <a:custGeom>
                  <a:avLst/>
                  <a:gdLst>
                    <a:gd name="connsiteX0" fmla="*/ 110447 w 190107"/>
                    <a:gd name="connsiteY0" fmla="*/ 0 h 133008"/>
                    <a:gd name="connsiteX1" fmla="*/ 190108 w 190107"/>
                    <a:gd name="connsiteY1" fmla="*/ 133009 h 133008"/>
                    <a:gd name="connsiteX2" fmla="*/ 0 w 190107"/>
                    <a:gd name="connsiteY2" fmla="*/ 133009 h 133008"/>
                    <a:gd name="connsiteX3" fmla="*/ 18085 w 190107"/>
                    <a:gd name="connsiteY3" fmla="*/ 0 h 133008"/>
                    <a:gd name="connsiteX4" fmla="*/ 110447 w 190107"/>
                    <a:gd name="connsiteY4" fmla="*/ 0 h 133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0107" h="133008">
                      <a:moveTo>
                        <a:pt x="110447" y="0"/>
                      </a:moveTo>
                      <a:cubicBezTo>
                        <a:pt x="123452" y="91999"/>
                        <a:pt x="190108" y="108875"/>
                        <a:pt x="190108" y="133009"/>
                      </a:cubicBezTo>
                      <a:lnTo>
                        <a:pt x="0" y="133009"/>
                      </a:lnTo>
                      <a:cubicBezTo>
                        <a:pt x="11009" y="80930"/>
                        <a:pt x="13428" y="42219"/>
                        <a:pt x="18085" y="0"/>
                      </a:cubicBezTo>
                      <a:lnTo>
                        <a:pt x="110447" y="0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4" name="Freihandform: Form 343">
                  <a:extLst>
                    <a:ext uri="{FF2B5EF4-FFF2-40B4-BE49-F238E27FC236}">
                      <a16:creationId xmlns:a16="http://schemas.microsoft.com/office/drawing/2014/main" id="{EE6CDDDF-29BA-5AA7-261F-794152411745}"/>
                    </a:ext>
                  </a:extLst>
                </p:cNvPr>
                <p:cNvSpPr/>
                <p:nvPr/>
              </p:nvSpPr>
              <p:spPr>
                <a:xfrm>
                  <a:off x="11683757" y="3561887"/>
                  <a:ext cx="368614" cy="731577"/>
                </a:xfrm>
                <a:custGeom>
                  <a:avLst/>
                  <a:gdLst>
                    <a:gd name="connsiteX0" fmla="*/ 26627 w 368614"/>
                    <a:gd name="connsiteY0" fmla="*/ 731578 h 731577"/>
                    <a:gd name="connsiteX1" fmla="*/ 240385 w 368614"/>
                    <a:gd name="connsiteY1" fmla="*/ 731578 h 731577"/>
                    <a:gd name="connsiteX2" fmla="*/ 297060 w 368614"/>
                    <a:gd name="connsiteY2" fmla="*/ 522720 h 731577"/>
                    <a:gd name="connsiteX3" fmla="*/ 354703 w 368614"/>
                    <a:gd name="connsiteY3" fmla="*/ 210673 h 731577"/>
                    <a:gd name="connsiteX4" fmla="*/ 368615 w 368614"/>
                    <a:gd name="connsiteY4" fmla="*/ 12279 h 731577"/>
                    <a:gd name="connsiteX5" fmla="*/ 2553 w 368614"/>
                    <a:gd name="connsiteY5" fmla="*/ 0 h 731577"/>
                    <a:gd name="connsiteX6" fmla="*/ 26688 w 368614"/>
                    <a:gd name="connsiteY6" fmla="*/ 731578 h 7315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68614" h="731577">
                      <a:moveTo>
                        <a:pt x="26627" y="731578"/>
                      </a:moveTo>
                      <a:lnTo>
                        <a:pt x="240385" y="731578"/>
                      </a:lnTo>
                      <a:cubicBezTo>
                        <a:pt x="240385" y="731578"/>
                        <a:pt x="275406" y="595363"/>
                        <a:pt x="297060" y="522720"/>
                      </a:cubicBezTo>
                      <a:cubicBezTo>
                        <a:pt x="318714" y="450076"/>
                        <a:pt x="343694" y="306422"/>
                        <a:pt x="354703" y="210673"/>
                      </a:cubicBezTo>
                      <a:cubicBezTo>
                        <a:pt x="361175" y="154723"/>
                        <a:pt x="366377" y="69861"/>
                        <a:pt x="368615" y="12279"/>
                      </a:cubicBezTo>
                      <a:cubicBezTo>
                        <a:pt x="233126" y="9254"/>
                        <a:pt x="2553" y="0"/>
                        <a:pt x="2553" y="0"/>
                      </a:cubicBezTo>
                      <a:cubicBezTo>
                        <a:pt x="-6943" y="258215"/>
                        <a:pt x="12050" y="476327"/>
                        <a:pt x="26688" y="731578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5" name="Freihandform: Form 344">
                  <a:extLst>
                    <a:ext uri="{FF2B5EF4-FFF2-40B4-BE49-F238E27FC236}">
                      <a16:creationId xmlns:a16="http://schemas.microsoft.com/office/drawing/2014/main" id="{772DA2D6-0AA6-81D0-2F96-484A855C6FC9}"/>
                    </a:ext>
                  </a:extLst>
                </p:cNvPr>
                <p:cNvSpPr/>
                <p:nvPr/>
              </p:nvSpPr>
              <p:spPr>
                <a:xfrm>
                  <a:off x="11695905" y="4293465"/>
                  <a:ext cx="251767" cy="598387"/>
                </a:xfrm>
                <a:custGeom>
                  <a:avLst/>
                  <a:gdLst>
                    <a:gd name="connsiteX0" fmla="*/ 14479 w 251767"/>
                    <a:gd name="connsiteY0" fmla="*/ 598387 h 598387"/>
                    <a:gd name="connsiteX1" fmla="*/ 209365 w 251767"/>
                    <a:gd name="connsiteY1" fmla="*/ 598387 h 598387"/>
                    <a:gd name="connsiteX2" fmla="*/ 228176 w 251767"/>
                    <a:gd name="connsiteY2" fmla="*/ 0 h 598387"/>
                    <a:gd name="connsiteX3" fmla="*/ 14419 w 251767"/>
                    <a:gd name="connsiteY3" fmla="*/ 0 h 598387"/>
                    <a:gd name="connsiteX4" fmla="*/ 1233 w 251767"/>
                    <a:gd name="connsiteY4" fmla="*/ 270130 h 598387"/>
                    <a:gd name="connsiteX5" fmla="*/ 14419 w 251767"/>
                    <a:gd name="connsiteY5" fmla="*/ 598387 h 598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51767" h="598387">
                      <a:moveTo>
                        <a:pt x="14479" y="598387"/>
                      </a:moveTo>
                      <a:lnTo>
                        <a:pt x="209365" y="598387"/>
                      </a:lnTo>
                      <a:cubicBezTo>
                        <a:pt x="292170" y="374529"/>
                        <a:pt x="228176" y="0"/>
                        <a:pt x="228176" y="0"/>
                      </a:cubicBezTo>
                      <a:lnTo>
                        <a:pt x="14419" y="0"/>
                      </a:lnTo>
                      <a:cubicBezTo>
                        <a:pt x="14419" y="0"/>
                        <a:pt x="-4998" y="187143"/>
                        <a:pt x="1233" y="270130"/>
                      </a:cubicBezTo>
                      <a:cubicBezTo>
                        <a:pt x="7463" y="353177"/>
                        <a:pt x="14419" y="598387"/>
                        <a:pt x="14419" y="598387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6" name="Freihandform: Form 345">
                  <a:extLst>
                    <a:ext uri="{FF2B5EF4-FFF2-40B4-BE49-F238E27FC236}">
                      <a16:creationId xmlns:a16="http://schemas.microsoft.com/office/drawing/2014/main" id="{1DD980DD-CE3E-9082-6B5C-515E68E30E29}"/>
                    </a:ext>
                  </a:extLst>
                </p:cNvPr>
                <p:cNvSpPr/>
                <p:nvPr/>
              </p:nvSpPr>
              <p:spPr>
                <a:xfrm>
                  <a:off x="11734215" y="4962923"/>
                  <a:ext cx="91454" cy="91454"/>
                </a:xfrm>
                <a:custGeom>
                  <a:avLst/>
                  <a:gdLst>
                    <a:gd name="connsiteX0" fmla="*/ 91455 w 91454"/>
                    <a:gd name="connsiteY0" fmla="*/ 45727 h 91454"/>
                    <a:gd name="connsiteX1" fmla="*/ 45727 w 91454"/>
                    <a:gd name="connsiteY1" fmla="*/ 91455 h 91454"/>
                    <a:gd name="connsiteX2" fmla="*/ -1 w 91454"/>
                    <a:gd name="connsiteY2" fmla="*/ 45727 h 91454"/>
                    <a:gd name="connsiteX3" fmla="*/ 45727 w 91454"/>
                    <a:gd name="connsiteY3" fmla="*/ 0 h 91454"/>
                    <a:gd name="connsiteX4" fmla="*/ 91455 w 91454"/>
                    <a:gd name="connsiteY4" fmla="*/ 45727 h 91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1454" h="91454">
                      <a:moveTo>
                        <a:pt x="91455" y="45727"/>
                      </a:moveTo>
                      <a:cubicBezTo>
                        <a:pt x="91455" y="70982"/>
                        <a:pt x="70982" y="91455"/>
                        <a:pt x="45727" y="91455"/>
                      </a:cubicBezTo>
                      <a:cubicBezTo>
                        <a:pt x="20472" y="91455"/>
                        <a:pt x="-1" y="70982"/>
                        <a:pt x="-1" y="45727"/>
                      </a:cubicBezTo>
                      <a:cubicBezTo>
                        <a:pt x="-1" y="20473"/>
                        <a:pt x="20472" y="0"/>
                        <a:pt x="45727" y="0"/>
                      </a:cubicBezTo>
                      <a:cubicBezTo>
                        <a:pt x="70982" y="0"/>
                        <a:pt x="91455" y="20473"/>
                        <a:pt x="91455" y="45727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7" name="Freihandform: Form 346">
                  <a:extLst>
                    <a:ext uri="{FF2B5EF4-FFF2-40B4-BE49-F238E27FC236}">
                      <a16:creationId xmlns:a16="http://schemas.microsoft.com/office/drawing/2014/main" id="{9DAEA7AD-64F6-415C-92F9-15537ED3D2C8}"/>
                    </a:ext>
                  </a:extLst>
                </p:cNvPr>
                <p:cNvSpPr/>
                <p:nvPr/>
              </p:nvSpPr>
              <p:spPr>
                <a:xfrm>
                  <a:off x="11702823" y="5130167"/>
                  <a:ext cx="226701" cy="66897"/>
                </a:xfrm>
                <a:custGeom>
                  <a:avLst/>
                  <a:gdLst>
                    <a:gd name="connsiteX0" fmla="*/ 226641 w 226701"/>
                    <a:gd name="connsiteY0" fmla="*/ 0 h 66897"/>
                    <a:gd name="connsiteX1" fmla="*/ 226641 w 226701"/>
                    <a:gd name="connsiteY1" fmla="*/ 49780 h 66897"/>
                    <a:gd name="connsiteX2" fmla="*/ 216056 w 226701"/>
                    <a:gd name="connsiteY2" fmla="*/ 66897 h 66897"/>
                    <a:gd name="connsiteX3" fmla="*/ 10222 w 226701"/>
                    <a:gd name="connsiteY3" fmla="*/ 66897 h 66897"/>
                    <a:gd name="connsiteX4" fmla="*/ 0 w 226701"/>
                    <a:gd name="connsiteY4" fmla="*/ 49901 h 66897"/>
                    <a:gd name="connsiteX5" fmla="*/ 0 w 226701"/>
                    <a:gd name="connsiteY5" fmla="*/ 0 h 66897"/>
                    <a:gd name="connsiteX6" fmla="*/ 226701 w 226701"/>
                    <a:gd name="connsiteY6" fmla="*/ 0 h 668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26701" h="66897">
                      <a:moveTo>
                        <a:pt x="226641" y="0"/>
                      </a:moveTo>
                      <a:lnTo>
                        <a:pt x="226641" y="49780"/>
                      </a:lnTo>
                      <a:cubicBezTo>
                        <a:pt x="226641" y="57764"/>
                        <a:pt x="222225" y="64660"/>
                        <a:pt x="216056" y="66897"/>
                      </a:cubicBezTo>
                      <a:lnTo>
                        <a:pt x="10222" y="66897"/>
                      </a:lnTo>
                      <a:cubicBezTo>
                        <a:pt x="4234" y="64538"/>
                        <a:pt x="0" y="57703"/>
                        <a:pt x="0" y="49901"/>
                      </a:cubicBezTo>
                      <a:lnTo>
                        <a:pt x="0" y="0"/>
                      </a:lnTo>
                      <a:lnTo>
                        <a:pt x="226701" y="0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8" name="Freihandform: Form 347">
                  <a:extLst>
                    <a:ext uri="{FF2B5EF4-FFF2-40B4-BE49-F238E27FC236}">
                      <a16:creationId xmlns:a16="http://schemas.microsoft.com/office/drawing/2014/main" id="{7DBC1B30-050C-BF4E-AA5A-94B9E40F4F2D}"/>
                    </a:ext>
                  </a:extLst>
                </p:cNvPr>
                <p:cNvSpPr/>
                <p:nvPr/>
              </p:nvSpPr>
              <p:spPr>
                <a:xfrm>
                  <a:off x="11702690" y="5038831"/>
                  <a:ext cx="226834" cy="101604"/>
                </a:xfrm>
                <a:custGeom>
                  <a:avLst/>
                  <a:gdLst>
                    <a:gd name="connsiteX0" fmla="*/ 133 w 226834"/>
                    <a:gd name="connsiteY0" fmla="*/ 91336 h 101604"/>
                    <a:gd name="connsiteX1" fmla="*/ 26323 w 226834"/>
                    <a:gd name="connsiteY1" fmla="*/ 11313 h 101604"/>
                    <a:gd name="connsiteX2" fmla="*/ 39751 w 226834"/>
                    <a:gd name="connsiteY2" fmla="*/ 36354 h 101604"/>
                    <a:gd name="connsiteX3" fmla="*/ 159332 w 226834"/>
                    <a:gd name="connsiteY3" fmla="*/ 23350 h 101604"/>
                    <a:gd name="connsiteX4" fmla="*/ 226834 w 226834"/>
                    <a:gd name="connsiteY4" fmla="*/ 91336 h 101604"/>
                    <a:gd name="connsiteX5" fmla="*/ 133 w 226834"/>
                    <a:gd name="connsiteY5" fmla="*/ 91336 h 1016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26834" h="101604">
                      <a:moveTo>
                        <a:pt x="133" y="91336"/>
                      </a:moveTo>
                      <a:cubicBezTo>
                        <a:pt x="-774" y="52383"/>
                        <a:pt x="2432" y="22806"/>
                        <a:pt x="26323" y="11313"/>
                      </a:cubicBezTo>
                      <a:lnTo>
                        <a:pt x="39751" y="36354"/>
                      </a:lnTo>
                      <a:cubicBezTo>
                        <a:pt x="39751" y="36354"/>
                        <a:pt x="126669" y="-35926"/>
                        <a:pt x="159332" y="23350"/>
                      </a:cubicBezTo>
                      <a:cubicBezTo>
                        <a:pt x="187034" y="73614"/>
                        <a:pt x="216551" y="54500"/>
                        <a:pt x="226834" y="91336"/>
                      </a:cubicBezTo>
                      <a:cubicBezTo>
                        <a:pt x="202640" y="102829"/>
                        <a:pt x="29045" y="107062"/>
                        <a:pt x="133" y="91336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9" name="Freihandform: Form 348">
                  <a:extLst>
                    <a:ext uri="{FF2B5EF4-FFF2-40B4-BE49-F238E27FC236}">
                      <a16:creationId xmlns:a16="http://schemas.microsoft.com/office/drawing/2014/main" id="{2C958EC5-1C4F-DF2B-9854-9E200C7BA53D}"/>
                    </a:ext>
                  </a:extLst>
                </p:cNvPr>
                <p:cNvSpPr/>
                <p:nvPr/>
              </p:nvSpPr>
              <p:spPr>
                <a:xfrm>
                  <a:off x="11684193" y="3561887"/>
                  <a:ext cx="367936" cy="83591"/>
                </a:xfrm>
                <a:custGeom>
                  <a:avLst/>
                  <a:gdLst>
                    <a:gd name="connsiteX0" fmla="*/ 0 w 367936"/>
                    <a:gd name="connsiteY0" fmla="*/ 83592 h 83591"/>
                    <a:gd name="connsiteX1" fmla="*/ 365758 w 367936"/>
                    <a:gd name="connsiteY1" fmla="*/ 62784 h 83591"/>
                    <a:gd name="connsiteX2" fmla="*/ 365758 w 367936"/>
                    <a:gd name="connsiteY2" fmla="*/ 62784 h 83591"/>
                    <a:gd name="connsiteX3" fmla="*/ 367937 w 367936"/>
                    <a:gd name="connsiteY3" fmla="*/ 12279 h 83591"/>
                    <a:gd name="connsiteX4" fmla="*/ 2057 w 367936"/>
                    <a:gd name="connsiteY4" fmla="*/ 0 h 83591"/>
                    <a:gd name="connsiteX5" fmla="*/ 0 w 367936"/>
                    <a:gd name="connsiteY5" fmla="*/ 83592 h 835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67936" h="83591">
                      <a:moveTo>
                        <a:pt x="0" y="83592"/>
                      </a:moveTo>
                      <a:cubicBezTo>
                        <a:pt x="107786" y="70527"/>
                        <a:pt x="252892" y="50506"/>
                        <a:pt x="365758" y="62784"/>
                      </a:cubicBezTo>
                      <a:lnTo>
                        <a:pt x="365758" y="62784"/>
                      </a:lnTo>
                      <a:cubicBezTo>
                        <a:pt x="366666" y="45606"/>
                        <a:pt x="367392" y="27158"/>
                        <a:pt x="367937" y="12279"/>
                      </a:cubicBezTo>
                      <a:cubicBezTo>
                        <a:pt x="232448" y="9254"/>
                        <a:pt x="2057" y="0"/>
                        <a:pt x="2057" y="0"/>
                      </a:cubicBezTo>
                      <a:cubicBezTo>
                        <a:pt x="1029" y="28368"/>
                        <a:pt x="363" y="56131"/>
                        <a:pt x="0" y="83592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0" name="Freihandform: Form 349">
                  <a:extLst>
                    <a:ext uri="{FF2B5EF4-FFF2-40B4-BE49-F238E27FC236}">
                      <a16:creationId xmlns:a16="http://schemas.microsoft.com/office/drawing/2014/main" id="{607F19D0-2352-8BED-9FD3-71252EAFA952}"/>
                    </a:ext>
                  </a:extLst>
                </p:cNvPr>
                <p:cNvSpPr/>
                <p:nvPr/>
              </p:nvSpPr>
              <p:spPr>
                <a:xfrm>
                  <a:off x="11320727" y="3561826"/>
                  <a:ext cx="365643" cy="143049"/>
                </a:xfrm>
                <a:custGeom>
                  <a:avLst/>
                  <a:gdLst>
                    <a:gd name="connsiteX0" fmla="*/ 363466 w 365643"/>
                    <a:gd name="connsiteY0" fmla="*/ 61 h 143049"/>
                    <a:gd name="connsiteX1" fmla="*/ 368 w 365643"/>
                    <a:gd name="connsiteY1" fmla="*/ 8650 h 143049"/>
                    <a:gd name="connsiteX2" fmla="*/ 7022 w 365643"/>
                    <a:gd name="connsiteY2" fmla="*/ 143049 h 143049"/>
                    <a:gd name="connsiteX3" fmla="*/ 365643 w 365643"/>
                    <a:gd name="connsiteY3" fmla="*/ 83592 h 143049"/>
                    <a:gd name="connsiteX4" fmla="*/ 363466 w 365643"/>
                    <a:gd name="connsiteY4" fmla="*/ 0 h 143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5643" h="143049">
                      <a:moveTo>
                        <a:pt x="363466" y="61"/>
                      </a:moveTo>
                      <a:cubicBezTo>
                        <a:pt x="363466" y="61"/>
                        <a:pt x="68052" y="8650"/>
                        <a:pt x="368" y="8650"/>
                      </a:cubicBezTo>
                      <a:cubicBezTo>
                        <a:pt x="-1144" y="49841"/>
                        <a:pt x="2183" y="95931"/>
                        <a:pt x="7022" y="143049"/>
                      </a:cubicBezTo>
                      <a:cubicBezTo>
                        <a:pt x="89222" y="125387"/>
                        <a:pt x="233602" y="100104"/>
                        <a:pt x="365643" y="83592"/>
                      </a:cubicBezTo>
                      <a:cubicBezTo>
                        <a:pt x="365159" y="56131"/>
                        <a:pt x="364494" y="28368"/>
                        <a:pt x="363466" y="0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1" name="Freihandform: Form 350">
                  <a:extLst>
                    <a:ext uri="{FF2B5EF4-FFF2-40B4-BE49-F238E27FC236}">
                      <a16:creationId xmlns:a16="http://schemas.microsoft.com/office/drawing/2014/main" id="{A0913F5E-3131-9E9F-B4DF-4C43A0755A27}"/>
                    </a:ext>
                  </a:extLst>
                </p:cNvPr>
                <p:cNvSpPr/>
                <p:nvPr/>
              </p:nvSpPr>
              <p:spPr>
                <a:xfrm>
                  <a:off x="11710384" y="4184348"/>
                  <a:ext cx="213757" cy="213757"/>
                </a:xfrm>
                <a:custGeom>
                  <a:avLst/>
                  <a:gdLst>
                    <a:gd name="connsiteX0" fmla="*/ 213757 w 213757"/>
                    <a:gd name="connsiteY0" fmla="*/ 106879 h 213757"/>
                    <a:gd name="connsiteX1" fmla="*/ 106879 w 213757"/>
                    <a:gd name="connsiteY1" fmla="*/ 213757 h 213757"/>
                    <a:gd name="connsiteX2" fmla="*/ 0 w 213757"/>
                    <a:gd name="connsiteY2" fmla="*/ 106879 h 213757"/>
                    <a:gd name="connsiteX3" fmla="*/ 106879 w 213757"/>
                    <a:gd name="connsiteY3" fmla="*/ 0 h 213757"/>
                    <a:gd name="connsiteX4" fmla="*/ 213757 w 213757"/>
                    <a:gd name="connsiteY4" fmla="*/ 106879 h 2137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3757" h="213757">
                      <a:moveTo>
                        <a:pt x="213757" y="106879"/>
                      </a:moveTo>
                      <a:cubicBezTo>
                        <a:pt x="213757" y="165906"/>
                        <a:pt x="165906" y="213757"/>
                        <a:pt x="106879" y="213757"/>
                      </a:cubicBezTo>
                      <a:cubicBezTo>
                        <a:pt x="47851" y="213757"/>
                        <a:pt x="0" y="165906"/>
                        <a:pt x="0" y="106879"/>
                      </a:cubicBezTo>
                      <a:cubicBezTo>
                        <a:pt x="0" y="47851"/>
                        <a:pt x="47851" y="0"/>
                        <a:pt x="106879" y="0"/>
                      </a:cubicBezTo>
                      <a:cubicBezTo>
                        <a:pt x="165906" y="0"/>
                        <a:pt x="213757" y="47851"/>
                        <a:pt x="213757" y="106879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352" name="Grafik 297">
                  <a:extLst>
                    <a:ext uri="{FF2B5EF4-FFF2-40B4-BE49-F238E27FC236}">
                      <a16:creationId xmlns:a16="http://schemas.microsoft.com/office/drawing/2014/main" id="{82987580-8866-7B3F-C491-819A1C715787}"/>
                    </a:ext>
                  </a:extLst>
                </p:cNvPr>
                <p:cNvGrpSpPr/>
                <p:nvPr/>
              </p:nvGrpSpPr>
              <p:grpSpPr>
                <a:xfrm>
                  <a:off x="11174966" y="3045397"/>
                  <a:ext cx="164094" cy="552660"/>
                  <a:chOff x="11174966" y="3045397"/>
                  <a:chExt cx="164094" cy="552660"/>
                </a:xfrm>
              </p:grpSpPr>
              <p:sp>
                <p:nvSpPr>
                  <p:cNvPr id="353" name="Freihandform: Form 352">
                    <a:extLst>
                      <a:ext uri="{FF2B5EF4-FFF2-40B4-BE49-F238E27FC236}">
                        <a16:creationId xmlns:a16="http://schemas.microsoft.com/office/drawing/2014/main" id="{756BF7D5-AEEF-DCE4-32DA-4BA87C74D53B}"/>
                      </a:ext>
                    </a:extLst>
                  </p:cNvPr>
                  <p:cNvSpPr/>
                  <p:nvPr/>
                </p:nvSpPr>
                <p:spPr>
                  <a:xfrm>
                    <a:off x="11174966" y="3125964"/>
                    <a:ext cx="163973" cy="472093"/>
                  </a:xfrm>
                  <a:custGeom>
                    <a:avLst/>
                    <a:gdLst>
                      <a:gd name="connsiteX0" fmla="*/ 9130 w 163973"/>
                      <a:gd name="connsiteY0" fmla="*/ 472093 h 472093"/>
                      <a:gd name="connsiteX1" fmla="*/ 94294 w 163973"/>
                      <a:gd name="connsiteY1" fmla="*/ 468161 h 472093"/>
                      <a:gd name="connsiteX2" fmla="*/ 163974 w 163973"/>
                      <a:gd name="connsiteY2" fmla="*/ 9133 h 472093"/>
                      <a:gd name="connsiteX3" fmla="*/ 118 w 163973"/>
                      <a:gd name="connsiteY3" fmla="*/ 0 h 472093"/>
                      <a:gd name="connsiteX4" fmla="*/ 9130 w 163973"/>
                      <a:gd name="connsiteY4" fmla="*/ 472093 h 4720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3973" h="472093">
                        <a:moveTo>
                          <a:pt x="9130" y="472093"/>
                        </a:moveTo>
                        <a:lnTo>
                          <a:pt x="94294" y="468161"/>
                        </a:lnTo>
                        <a:cubicBezTo>
                          <a:pt x="94294" y="468161"/>
                          <a:pt x="161071" y="61151"/>
                          <a:pt x="163974" y="9133"/>
                        </a:cubicBezTo>
                        <a:lnTo>
                          <a:pt x="118" y="0"/>
                        </a:lnTo>
                        <a:cubicBezTo>
                          <a:pt x="-1153" y="212306"/>
                          <a:pt x="8283" y="346887"/>
                          <a:pt x="9130" y="472093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4" name="Freihandform: Form 353">
                    <a:extLst>
                      <a:ext uri="{FF2B5EF4-FFF2-40B4-BE49-F238E27FC236}">
                        <a16:creationId xmlns:a16="http://schemas.microsoft.com/office/drawing/2014/main" id="{FD283375-F158-A9A9-D27B-9DB56A4490A8}"/>
                      </a:ext>
                    </a:extLst>
                  </p:cNvPr>
                  <p:cNvSpPr/>
                  <p:nvPr/>
                </p:nvSpPr>
                <p:spPr>
                  <a:xfrm>
                    <a:off x="11175143" y="3045397"/>
                    <a:ext cx="163916" cy="163916"/>
                  </a:xfrm>
                  <a:custGeom>
                    <a:avLst/>
                    <a:gdLst>
                      <a:gd name="connsiteX0" fmla="*/ 163917 w 163916"/>
                      <a:gd name="connsiteY0" fmla="*/ 81959 h 163916"/>
                      <a:gd name="connsiteX1" fmla="*/ 81958 w 163916"/>
                      <a:gd name="connsiteY1" fmla="*/ 163917 h 163916"/>
                      <a:gd name="connsiteX2" fmla="*/ 0 w 163916"/>
                      <a:gd name="connsiteY2" fmla="*/ 81958 h 163916"/>
                      <a:gd name="connsiteX3" fmla="*/ 81958 w 163916"/>
                      <a:gd name="connsiteY3" fmla="*/ 0 h 163916"/>
                      <a:gd name="connsiteX4" fmla="*/ 163917 w 163916"/>
                      <a:gd name="connsiteY4" fmla="*/ 81959 h 1639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3916" h="163916">
                        <a:moveTo>
                          <a:pt x="163917" y="81959"/>
                        </a:moveTo>
                        <a:cubicBezTo>
                          <a:pt x="163917" y="127223"/>
                          <a:pt x="127223" y="163917"/>
                          <a:pt x="81958" y="163917"/>
                        </a:cubicBezTo>
                        <a:cubicBezTo>
                          <a:pt x="36694" y="163917"/>
                          <a:pt x="0" y="127223"/>
                          <a:pt x="0" y="81958"/>
                        </a:cubicBezTo>
                        <a:cubicBezTo>
                          <a:pt x="0" y="36694"/>
                          <a:pt x="36694" y="0"/>
                          <a:pt x="81958" y="0"/>
                        </a:cubicBezTo>
                        <a:cubicBezTo>
                          <a:pt x="127222" y="0"/>
                          <a:pt x="163917" y="36694"/>
                          <a:pt x="163917" y="81959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5" name="Freihandform: Form 354">
                    <a:extLst>
                      <a:ext uri="{FF2B5EF4-FFF2-40B4-BE49-F238E27FC236}">
                        <a16:creationId xmlns:a16="http://schemas.microsoft.com/office/drawing/2014/main" id="{59BC9CA9-174D-B8A3-292D-3E9AD6B1C9A2}"/>
                      </a:ext>
                    </a:extLst>
                  </p:cNvPr>
                  <p:cNvSpPr/>
                  <p:nvPr/>
                </p:nvSpPr>
                <p:spPr>
                  <a:xfrm>
                    <a:off x="11183128" y="3538055"/>
                    <a:ext cx="95265" cy="60002"/>
                  </a:xfrm>
                  <a:custGeom>
                    <a:avLst/>
                    <a:gdLst>
                      <a:gd name="connsiteX0" fmla="*/ 0 w 95265"/>
                      <a:gd name="connsiteY0" fmla="*/ 61 h 60002"/>
                      <a:gd name="connsiteX1" fmla="*/ 968 w 95265"/>
                      <a:gd name="connsiteY1" fmla="*/ 60002 h 60002"/>
                      <a:gd name="connsiteX2" fmla="*/ 86132 w 95265"/>
                      <a:gd name="connsiteY2" fmla="*/ 56070 h 60002"/>
                      <a:gd name="connsiteX3" fmla="*/ 95265 w 95265"/>
                      <a:gd name="connsiteY3" fmla="*/ 0 h 60002"/>
                      <a:gd name="connsiteX4" fmla="*/ 61 w 95265"/>
                      <a:gd name="connsiteY4" fmla="*/ 0 h 600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5265" h="60002">
                        <a:moveTo>
                          <a:pt x="0" y="61"/>
                        </a:moveTo>
                        <a:cubicBezTo>
                          <a:pt x="484" y="20444"/>
                          <a:pt x="847" y="40344"/>
                          <a:pt x="968" y="60002"/>
                        </a:cubicBezTo>
                        <a:lnTo>
                          <a:pt x="86132" y="56070"/>
                        </a:lnTo>
                        <a:cubicBezTo>
                          <a:pt x="86132" y="56070"/>
                          <a:pt x="89700" y="34235"/>
                          <a:pt x="95265" y="0"/>
                        </a:cubicBezTo>
                        <a:lnTo>
                          <a:pt x="61" y="0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56" name="Grafik 297">
                  <a:extLst>
                    <a:ext uri="{FF2B5EF4-FFF2-40B4-BE49-F238E27FC236}">
                      <a16:creationId xmlns:a16="http://schemas.microsoft.com/office/drawing/2014/main" id="{371CA25E-28FC-E9D2-99B4-C64F024EF7E0}"/>
                    </a:ext>
                  </a:extLst>
                </p:cNvPr>
                <p:cNvGrpSpPr/>
                <p:nvPr/>
              </p:nvGrpSpPr>
              <p:grpSpPr>
                <a:xfrm>
                  <a:off x="11138852" y="2513423"/>
                  <a:ext cx="352330" cy="680527"/>
                  <a:chOff x="11138852" y="2513423"/>
                  <a:chExt cx="352330" cy="680527"/>
                </a:xfrm>
              </p:grpSpPr>
              <p:sp>
                <p:nvSpPr>
                  <p:cNvPr id="357" name="Freihandform: Form 356">
                    <a:extLst>
                      <a:ext uri="{FF2B5EF4-FFF2-40B4-BE49-F238E27FC236}">
                        <a16:creationId xmlns:a16="http://schemas.microsoft.com/office/drawing/2014/main" id="{C06F496B-122B-C2DC-2B37-015BC35E9E0C}"/>
                      </a:ext>
                    </a:extLst>
                  </p:cNvPr>
                  <p:cNvSpPr/>
                  <p:nvPr/>
                </p:nvSpPr>
                <p:spPr>
                  <a:xfrm>
                    <a:off x="11279482" y="2513423"/>
                    <a:ext cx="211700" cy="211700"/>
                  </a:xfrm>
                  <a:custGeom>
                    <a:avLst/>
                    <a:gdLst>
                      <a:gd name="connsiteX0" fmla="*/ 211701 w 211700"/>
                      <a:gd name="connsiteY0" fmla="*/ 105850 h 211700"/>
                      <a:gd name="connsiteX1" fmla="*/ 105851 w 211700"/>
                      <a:gd name="connsiteY1" fmla="*/ 211701 h 211700"/>
                      <a:gd name="connsiteX2" fmla="*/ 0 w 211700"/>
                      <a:gd name="connsiteY2" fmla="*/ 105850 h 211700"/>
                      <a:gd name="connsiteX3" fmla="*/ 105851 w 211700"/>
                      <a:gd name="connsiteY3" fmla="*/ 0 h 211700"/>
                      <a:gd name="connsiteX4" fmla="*/ 211701 w 211700"/>
                      <a:gd name="connsiteY4" fmla="*/ 105850 h 2117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1700" h="211700">
                        <a:moveTo>
                          <a:pt x="211701" y="105850"/>
                        </a:moveTo>
                        <a:cubicBezTo>
                          <a:pt x="211701" y="164310"/>
                          <a:pt x="164311" y="211701"/>
                          <a:pt x="105851" y="211701"/>
                        </a:cubicBezTo>
                        <a:cubicBezTo>
                          <a:pt x="47391" y="211701"/>
                          <a:pt x="0" y="164310"/>
                          <a:pt x="0" y="105850"/>
                        </a:cubicBezTo>
                        <a:cubicBezTo>
                          <a:pt x="0" y="47391"/>
                          <a:pt x="47391" y="0"/>
                          <a:pt x="105851" y="0"/>
                        </a:cubicBezTo>
                        <a:cubicBezTo>
                          <a:pt x="164311" y="0"/>
                          <a:pt x="211701" y="47391"/>
                          <a:pt x="211701" y="105850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8" name="Freihandform: Form 357">
                    <a:extLst>
                      <a:ext uri="{FF2B5EF4-FFF2-40B4-BE49-F238E27FC236}">
                        <a16:creationId xmlns:a16="http://schemas.microsoft.com/office/drawing/2014/main" id="{367E8486-85A3-DDF3-5E7F-59EB4389B348}"/>
                      </a:ext>
                    </a:extLst>
                  </p:cNvPr>
                  <p:cNvSpPr/>
                  <p:nvPr/>
                </p:nvSpPr>
                <p:spPr>
                  <a:xfrm>
                    <a:off x="11138852" y="2521286"/>
                    <a:ext cx="309748" cy="672604"/>
                  </a:xfrm>
                  <a:custGeom>
                    <a:avLst/>
                    <a:gdLst>
                      <a:gd name="connsiteX0" fmla="*/ 206196 w 309748"/>
                      <a:gd name="connsiteY0" fmla="*/ 61 h 672604"/>
                      <a:gd name="connsiteX1" fmla="*/ 109237 w 309748"/>
                      <a:gd name="connsiteY1" fmla="*/ 151941 h 672604"/>
                      <a:gd name="connsiteX2" fmla="*/ 0 w 309748"/>
                      <a:gd name="connsiteY2" fmla="*/ 649498 h 672604"/>
                      <a:gd name="connsiteX3" fmla="*/ 210551 w 309748"/>
                      <a:gd name="connsiteY3" fmla="*/ 672604 h 672604"/>
                      <a:gd name="connsiteX4" fmla="*/ 309748 w 309748"/>
                      <a:gd name="connsiteY4" fmla="*/ 182668 h 672604"/>
                      <a:gd name="connsiteX5" fmla="*/ 206196 w 309748"/>
                      <a:gd name="connsiteY5" fmla="*/ 0 h 6726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748" h="672604">
                        <a:moveTo>
                          <a:pt x="206196" y="61"/>
                        </a:moveTo>
                        <a:cubicBezTo>
                          <a:pt x="206196" y="61"/>
                          <a:pt x="139541" y="14880"/>
                          <a:pt x="109237" y="151941"/>
                        </a:cubicBezTo>
                        <a:cubicBezTo>
                          <a:pt x="78511" y="290938"/>
                          <a:pt x="0" y="649498"/>
                          <a:pt x="0" y="649498"/>
                        </a:cubicBezTo>
                        <a:lnTo>
                          <a:pt x="210551" y="672604"/>
                        </a:lnTo>
                        <a:lnTo>
                          <a:pt x="309748" y="182668"/>
                        </a:lnTo>
                        <a:lnTo>
                          <a:pt x="206196" y="0"/>
                        </a:ln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9" name="Freihandform: Form 358">
                    <a:extLst>
                      <a:ext uri="{FF2B5EF4-FFF2-40B4-BE49-F238E27FC236}">
                        <a16:creationId xmlns:a16="http://schemas.microsoft.com/office/drawing/2014/main" id="{8E4B4840-7EB4-1879-1B0E-DEF160F9C1E3}"/>
                      </a:ext>
                    </a:extLst>
                  </p:cNvPr>
                  <p:cNvSpPr/>
                  <p:nvPr/>
                </p:nvSpPr>
                <p:spPr>
                  <a:xfrm>
                    <a:off x="11220790" y="2704014"/>
                    <a:ext cx="227870" cy="489936"/>
                  </a:xfrm>
                  <a:custGeom>
                    <a:avLst/>
                    <a:gdLst>
                      <a:gd name="connsiteX0" fmla="*/ 68853 w 227870"/>
                      <a:gd name="connsiteY0" fmla="*/ 234202 h 489936"/>
                      <a:gd name="connsiteX1" fmla="*/ 46050 w 227870"/>
                      <a:gd name="connsiteY1" fmla="*/ 411426 h 489936"/>
                      <a:gd name="connsiteX2" fmla="*/ 1290 w 227870"/>
                      <a:gd name="connsiteY2" fmla="*/ 475964 h 489936"/>
                      <a:gd name="connsiteX3" fmla="*/ 128674 w 227870"/>
                      <a:gd name="connsiteY3" fmla="*/ 489936 h 489936"/>
                      <a:gd name="connsiteX4" fmla="*/ 227871 w 227870"/>
                      <a:gd name="connsiteY4" fmla="*/ 0 h 489936"/>
                      <a:gd name="connsiteX5" fmla="*/ 68913 w 227870"/>
                      <a:gd name="connsiteY5" fmla="*/ 234202 h 4899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27870" h="489936">
                        <a:moveTo>
                          <a:pt x="68853" y="234202"/>
                        </a:moveTo>
                        <a:cubicBezTo>
                          <a:pt x="96495" y="346403"/>
                          <a:pt x="103996" y="388804"/>
                          <a:pt x="46050" y="411426"/>
                        </a:cubicBezTo>
                        <a:cubicBezTo>
                          <a:pt x="-11896" y="434047"/>
                          <a:pt x="1290" y="475964"/>
                          <a:pt x="1290" y="475964"/>
                        </a:cubicBezTo>
                        <a:lnTo>
                          <a:pt x="128674" y="489936"/>
                        </a:lnTo>
                        <a:lnTo>
                          <a:pt x="227871" y="0"/>
                        </a:lnTo>
                        <a:cubicBezTo>
                          <a:pt x="227871" y="0"/>
                          <a:pt x="43207" y="129742"/>
                          <a:pt x="68913" y="234202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360" name="Freihandform: Form 359">
                  <a:extLst>
                    <a:ext uri="{FF2B5EF4-FFF2-40B4-BE49-F238E27FC236}">
                      <a16:creationId xmlns:a16="http://schemas.microsoft.com/office/drawing/2014/main" id="{8620DAE6-4653-039F-1B33-7E44C34048F2}"/>
                    </a:ext>
                  </a:extLst>
                </p:cNvPr>
                <p:cNvSpPr/>
                <p:nvPr/>
              </p:nvSpPr>
              <p:spPr>
                <a:xfrm>
                  <a:off x="11592799" y="2187522"/>
                  <a:ext cx="184482" cy="347094"/>
                </a:xfrm>
                <a:custGeom>
                  <a:avLst/>
                  <a:gdLst>
                    <a:gd name="connsiteX0" fmla="*/ 0 w 184482"/>
                    <a:gd name="connsiteY0" fmla="*/ 298440 h 347094"/>
                    <a:gd name="connsiteX1" fmla="*/ 184482 w 184482"/>
                    <a:gd name="connsiteY1" fmla="*/ 298440 h 347094"/>
                    <a:gd name="connsiteX2" fmla="*/ 184482 w 184482"/>
                    <a:gd name="connsiteY2" fmla="*/ 60307 h 347094"/>
                    <a:gd name="connsiteX3" fmla="*/ 0 w 184482"/>
                    <a:gd name="connsiteY3" fmla="*/ 60307 h 347094"/>
                    <a:gd name="connsiteX4" fmla="*/ 0 w 184482"/>
                    <a:gd name="connsiteY4" fmla="*/ 298440 h 3470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4482" h="347094">
                      <a:moveTo>
                        <a:pt x="0" y="298440"/>
                      </a:moveTo>
                      <a:cubicBezTo>
                        <a:pt x="32058" y="362858"/>
                        <a:pt x="146739" y="363765"/>
                        <a:pt x="184482" y="298440"/>
                      </a:cubicBezTo>
                      <a:lnTo>
                        <a:pt x="184482" y="60307"/>
                      </a:lnTo>
                      <a:cubicBezTo>
                        <a:pt x="151820" y="-29091"/>
                        <a:pt x="13488" y="-10583"/>
                        <a:pt x="0" y="60307"/>
                      </a:cubicBezTo>
                      <a:lnTo>
                        <a:pt x="0" y="298440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1" name="Freihandform: Form 360">
                  <a:extLst>
                    <a:ext uri="{FF2B5EF4-FFF2-40B4-BE49-F238E27FC236}">
                      <a16:creationId xmlns:a16="http://schemas.microsoft.com/office/drawing/2014/main" id="{CAA0DC40-E6B6-638B-1F78-3CAFB5BDE067}"/>
                    </a:ext>
                  </a:extLst>
                </p:cNvPr>
                <p:cNvSpPr/>
                <p:nvPr/>
              </p:nvSpPr>
              <p:spPr>
                <a:xfrm>
                  <a:off x="11592799" y="2187522"/>
                  <a:ext cx="184482" cy="345619"/>
                </a:xfrm>
                <a:custGeom>
                  <a:avLst/>
                  <a:gdLst>
                    <a:gd name="connsiteX0" fmla="*/ 184482 w 184482"/>
                    <a:gd name="connsiteY0" fmla="*/ 60307 h 345619"/>
                    <a:gd name="connsiteX1" fmla="*/ 0 w 184482"/>
                    <a:gd name="connsiteY1" fmla="*/ 60307 h 345619"/>
                    <a:gd name="connsiteX2" fmla="*/ 0 w 184482"/>
                    <a:gd name="connsiteY2" fmla="*/ 298440 h 345619"/>
                    <a:gd name="connsiteX3" fmla="*/ 0 w 184482"/>
                    <a:gd name="connsiteY3" fmla="*/ 298440 h 345619"/>
                    <a:gd name="connsiteX4" fmla="*/ 5141 w 184482"/>
                    <a:gd name="connsiteY4" fmla="*/ 307090 h 345619"/>
                    <a:gd name="connsiteX5" fmla="*/ 6109 w 184482"/>
                    <a:gd name="connsiteY5" fmla="*/ 308541 h 345619"/>
                    <a:gd name="connsiteX6" fmla="*/ 12097 w 184482"/>
                    <a:gd name="connsiteY6" fmla="*/ 315981 h 345619"/>
                    <a:gd name="connsiteX7" fmla="*/ 13247 w 184482"/>
                    <a:gd name="connsiteY7" fmla="*/ 317191 h 345619"/>
                    <a:gd name="connsiteX8" fmla="*/ 28852 w 184482"/>
                    <a:gd name="connsiteY8" fmla="*/ 330014 h 345619"/>
                    <a:gd name="connsiteX9" fmla="*/ 29759 w 184482"/>
                    <a:gd name="connsiteY9" fmla="*/ 330619 h 345619"/>
                    <a:gd name="connsiteX10" fmla="*/ 38832 w 184482"/>
                    <a:gd name="connsiteY10" fmla="*/ 335639 h 345619"/>
                    <a:gd name="connsiteX11" fmla="*/ 39498 w 184482"/>
                    <a:gd name="connsiteY11" fmla="*/ 335941 h 345619"/>
                    <a:gd name="connsiteX12" fmla="*/ 60304 w 184482"/>
                    <a:gd name="connsiteY12" fmla="*/ 343381 h 345619"/>
                    <a:gd name="connsiteX13" fmla="*/ 60365 w 184482"/>
                    <a:gd name="connsiteY13" fmla="*/ 343381 h 345619"/>
                    <a:gd name="connsiteX14" fmla="*/ 71615 w 184482"/>
                    <a:gd name="connsiteY14" fmla="*/ 345619 h 345619"/>
                    <a:gd name="connsiteX15" fmla="*/ 71615 w 184482"/>
                    <a:gd name="connsiteY15" fmla="*/ 345619 h 345619"/>
                    <a:gd name="connsiteX16" fmla="*/ 41010 w 184482"/>
                    <a:gd name="connsiteY16" fmla="*/ 255556 h 345619"/>
                    <a:gd name="connsiteX17" fmla="*/ 91273 w 184482"/>
                    <a:gd name="connsiteY17" fmla="*/ 220474 h 345619"/>
                    <a:gd name="connsiteX18" fmla="*/ 184422 w 184482"/>
                    <a:gd name="connsiteY18" fmla="*/ 110329 h 345619"/>
                    <a:gd name="connsiteX19" fmla="*/ 184422 w 184482"/>
                    <a:gd name="connsiteY19" fmla="*/ 60246 h 3456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84482" h="345619">
                      <a:moveTo>
                        <a:pt x="184482" y="60307"/>
                      </a:moveTo>
                      <a:cubicBezTo>
                        <a:pt x="151820" y="-29091"/>
                        <a:pt x="13488" y="-10583"/>
                        <a:pt x="0" y="60307"/>
                      </a:cubicBezTo>
                      <a:lnTo>
                        <a:pt x="0" y="298440"/>
                      </a:lnTo>
                      <a:cubicBezTo>
                        <a:pt x="0" y="298440"/>
                        <a:pt x="0" y="298440"/>
                        <a:pt x="0" y="298440"/>
                      </a:cubicBezTo>
                      <a:cubicBezTo>
                        <a:pt x="1512" y="301465"/>
                        <a:pt x="3266" y="304307"/>
                        <a:pt x="5141" y="307090"/>
                      </a:cubicBezTo>
                      <a:cubicBezTo>
                        <a:pt x="5444" y="307574"/>
                        <a:pt x="5806" y="308057"/>
                        <a:pt x="6109" y="308541"/>
                      </a:cubicBezTo>
                      <a:cubicBezTo>
                        <a:pt x="7985" y="311142"/>
                        <a:pt x="9980" y="313622"/>
                        <a:pt x="12097" y="315981"/>
                      </a:cubicBezTo>
                      <a:cubicBezTo>
                        <a:pt x="12460" y="316405"/>
                        <a:pt x="12823" y="316767"/>
                        <a:pt x="13247" y="317191"/>
                      </a:cubicBezTo>
                      <a:cubicBezTo>
                        <a:pt x="17904" y="322030"/>
                        <a:pt x="23106" y="326324"/>
                        <a:pt x="28852" y="330014"/>
                      </a:cubicBezTo>
                      <a:cubicBezTo>
                        <a:pt x="29155" y="330195"/>
                        <a:pt x="29457" y="330437"/>
                        <a:pt x="29759" y="330619"/>
                      </a:cubicBezTo>
                      <a:cubicBezTo>
                        <a:pt x="32663" y="332433"/>
                        <a:pt x="35687" y="334127"/>
                        <a:pt x="38832" y="335639"/>
                      </a:cubicBezTo>
                      <a:cubicBezTo>
                        <a:pt x="39074" y="335760"/>
                        <a:pt x="39316" y="335881"/>
                        <a:pt x="39498" y="335941"/>
                      </a:cubicBezTo>
                      <a:cubicBezTo>
                        <a:pt x="46090" y="339087"/>
                        <a:pt x="53046" y="341567"/>
                        <a:pt x="60304" y="343381"/>
                      </a:cubicBezTo>
                      <a:cubicBezTo>
                        <a:pt x="60304" y="343381"/>
                        <a:pt x="60304" y="343381"/>
                        <a:pt x="60365" y="343381"/>
                      </a:cubicBezTo>
                      <a:cubicBezTo>
                        <a:pt x="64054" y="344289"/>
                        <a:pt x="67805" y="345075"/>
                        <a:pt x="71615" y="345619"/>
                      </a:cubicBezTo>
                      <a:cubicBezTo>
                        <a:pt x="71615" y="345619"/>
                        <a:pt x="71615" y="345619"/>
                        <a:pt x="71615" y="345619"/>
                      </a:cubicBezTo>
                      <a:cubicBezTo>
                        <a:pt x="58066" y="324328"/>
                        <a:pt x="40707" y="295779"/>
                        <a:pt x="41010" y="255556"/>
                      </a:cubicBezTo>
                      <a:cubicBezTo>
                        <a:pt x="41191" y="236079"/>
                        <a:pt x="55345" y="222349"/>
                        <a:pt x="91273" y="220474"/>
                      </a:cubicBezTo>
                      <a:cubicBezTo>
                        <a:pt x="151397" y="217389"/>
                        <a:pt x="179038" y="128535"/>
                        <a:pt x="184422" y="110329"/>
                      </a:cubicBezTo>
                      <a:lnTo>
                        <a:pt x="184422" y="60246"/>
                      </a:ln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2" name="Freihandform: Form 361">
                  <a:extLst>
                    <a:ext uri="{FF2B5EF4-FFF2-40B4-BE49-F238E27FC236}">
                      <a16:creationId xmlns:a16="http://schemas.microsoft.com/office/drawing/2014/main" id="{570300FB-C59D-149A-A64A-EE941167C757}"/>
                    </a:ext>
                  </a:extLst>
                </p:cNvPr>
                <p:cNvSpPr/>
                <p:nvPr/>
              </p:nvSpPr>
              <p:spPr>
                <a:xfrm>
                  <a:off x="11554257" y="2045063"/>
                  <a:ext cx="261685" cy="343154"/>
                </a:xfrm>
                <a:custGeom>
                  <a:avLst/>
                  <a:gdLst>
                    <a:gd name="connsiteX0" fmla="*/ 260888 w 261685"/>
                    <a:gd name="connsiteY0" fmla="*/ 115908 h 343154"/>
                    <a:gd name="connsiteX1" fmla="*/ 226713 w 261685"/>
                    <a:gd name="connsiteY1" fmla="*/ 30200 h 343154"/>
                    <a:gd name="connsiteX2" fmla="*/ 130843 w 261685"/>
                    <a:gd name="connsiteY2" fmla="*/ 17 h 343154"/>
                    <a:gd name="connsiteX3" fmla="*/ 34973 w 261685"/>
                    <a:gd name="connsiteY3" fmla="*/ 30200 h 343154"/>
                    <a:gd name="connsiteX4" fmla="*/ 798 w 261685"/>
                    <a:gd name="connsiteY4" fmla="*/ 115908 h 343154"/>
                    <a:gd name="connsiteX5" fmla="*/ 1342 w 261685"/>
                    <a:gd name="connsiteY5" fmla="*/ 197806 h 343154"/>
                    <a:gd name="connsiteX6" fmla="*/ 40235 w 261685"/>
                    <a:gd name="connsiteY6" fmla="*/ 289080 h 343154"/>
                    <a:gd name="connsiteX7" fmla="*/ 130843 w 261685"/>
                    <a:gd name="connsiteY7" fmla="*/ 343154 h 343154"/>
                    <a:gd name="connsiteX8" fmla="*/ 221451 w 261685"/>
                    <a:gd name="connsiteY8" fmla="*/ 289080 h 343154"/>
                    <a:gd name="connsiteX9" fmla="*/ 260344 w 261685"/>
                    <a:gd name="connsiteY9" fmla="*/ 197806 h 343154"/>
                    <a:gd name="connsiteX10" fmla="*/ 260888 w 261685"/>
                    <a:gd name="connsiteY10" fmla="*/ 115908 h 343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61685" h="343154">
                      <a:moveTo>
                        <a:pt x="260888" y="115908"/>
                      </a:moveTo>
                      <a:cubicBezTo>
                        <a:pt x="260888" y="115908"/>
                        <a:pt x="257803" y="64798"/>
                        <a:pt x="226713" y="30200"/>
                      </a:cubicBezTo>
                      <a:cubicBezTo>
                        <a:pt x="201067" y="1711"/>
                        <a:pt x="148566" y="-225"/>
                        <a:pt x="130843" y="17"/>
                      </a:cubicBezTo>
                      <a:cubicBezTo>
                        <a:pt x="113120" y="-164"/>
                        <a:pt x="60558" y="1711"/>
                        <a:pt x="34973" y="30200"/>
                      </a:cubicBezTo>
                      <a:cubicBezTo>
                        <a:pt x="3883" y="64798"/>
                        <a:pt x="798" y="115908"/>
                        <a:pt x="798" y="115908"/>
                      </a:cubicBezTo>
                      <a:cubicBezTo>
                        <a:pt x="798" y="115908"/>
                        <a:pt x="-1319" y="174943"/>
                        <a:pt x="1342" y="197806"/>
                      </a:cubicBezTo>
                      <a:cubicBezTo>
                        <a:pt x="4004" y="220610"/>
                        <a:pt x="1221" y="251941"/>
                        <a:pt x="40235" y="289080"/>
                      </a:cubicBezTo>
                      <a:cubicBezTo>
                        <a:pt x="78341" y="325371"/>
                        <a:pt x="104411" y="342307"/>
                        <a:pt x="130843" y="343154"/>
                      </a:cubicBezTo>
                      <a:cubicBezTo>
                        <a:pt x="157275" y="342368"/>
                        <a:pt x="183345" y="325371"/>
                        <a:pt x="221451" y="289080"/>
                      </a:cubicBezTo>
                      <a:cubicBezTo>
                        <a:pt x="260465" y="251881"/>
                        <a:pt x="257742" y="220610"/>
                        <a:pt x="260344" y="197806"/>
                      </a:cubicBezTo>
                      <a:cubicBezTo>
                        <a:pt x="263005" y="175003"/>
                        <a:pt x="260888" y="115908"/>
                        <a:pt x="260888" y="115908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3" name="Freihandform: Form 362">
                  <a:extLst>
                    <a:ext uri="{FF2B5EF4-FFF2-40B4-BE49-F238E27FC236}">
                      <a16:creationId xmlns:a16="http://schemas.microsoft.com/office/drawing/2014/main" id="{BCA06138-07B9-DDC4-A671-17E477433BDE}"/>
                    </a:ext>
                  </a:extLst>
                </p:cNvPr>
                <p:cNvSpPr/>
                <p:nvPr/>
              </p:nvSpPr>
              <p:spPr>
                <a:xfrm rot="-3871802">
                  <a:off x="11747236" y="2163336"/>
                  <a:ext cx="128714" cy="86011"/>
                </a:xfrm>
                <a:custGeom>
                  <a:avLst/>
                  <a:gdLst>
                    <a:gd name="connsiteX0" fmla="*/ 128714 w 128714"/>
                    <a:gd name="connsiteY0" fmla="*/ 43006 h 86011"/>
                    <a:gd name="connsiteX1" fmla="*/ 64357 w 128714"/>
                    <a:gd name="connsiteY1" fmla="*/ 86011 h 86011"/>
                    <a:gd name="connsiteX2" fmla="*/ 0 w 128714"/>
                    <a:gd name="connsiteY2" fmla="*/ 43006 h 86011"/>
                    <a:gd name="connsiteX3" fmla="*/ 64357 w 128714"/>
                    <a:gd name="connsiteY3" fmla="*/ 0 h 86011"/>
                    <a:gd name="connsiteX4" fmla="*/ 128714 w 128714"/>
                    <a:gd name="connsiteY4" fmla="*/ 43006 h 860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8714" h="86011">
                      <a:moveTo>
                        <a:pt x="128714" y="43006"/>
                      </a:moveTo>
                      <a:cubicBezTo>
                        <a:pt x="128714" y="66757"/>
                        <a:pt x="99900" y="86011"/>
                        <a:pt x="64357" y="86011"/>
                      </a:cubicBezTo>
                      <a:cubicBezTo>
                        <a:pt x="28813" y="86011"/>
                        <a:pt x="0" y="66757"/>
                        <a:pt x="0" y="43006"/>
                      </a:cubicBezTo>
                      <a:cubicBezTo>
                        <a:pt x="0" y="19254"/>
                        <a:pt x="28813" y="0"/>
                        <a:pt x="64357" y="0"/>
                      </a:cubicBezTo>
                      <a:cubicBezTo>
                        <a:pt x="99900" y="0"/>
                        <a:pt x="128714" y="19254"/>
                        <a:pt x="128714" y="43006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4" name="Freihandform: Form 363">
                  <a:extLst>
                    <a:ext uri="{FF2B5EF4-FFF2-40B4-BE49-F238E27FC236}">
                      <a16:creationId xmlns:a16="http://schemas.microsoft.com/office/drawing/2014/main" id="{6AFD1CD0-FF7F-F59A-ADFC-C6D21E262FF5}"/>
                    </a:ext>
                  </a:extLst>
                </p:cNvPr>
                <p:cNvSpPr/>
                <p:nvPr/>
              </p:nvSpPr>
              <p:spPr>
                <a:xfrm rot="-1168199">
                  <a:off x="11511939" y="2141862"/>
                  <a:ext cx="86252" cy="128230"/>
                </a:xfrm>
                <a:custGeom>
                  <a:avLst/>
                  <a:gdLst>
                    <a:gd name="connsiteX0" fmla="*/ 86253 w 86252"/>
                    <a:gd name="connsiteY0" fmla="*/ 64115 h 128230"/>
                    <a:gd name="connsiteX1" fmla="*/ 43127 w 86252"/>
                    <a:gd name="connsiteY1" fmla="*/ 128230 h 128230"/>
                    <a:gd name="connsiteX2" fmla="*/ 0 w 86252"/>
                    <a:gd name="connsiteY2" fmla="*/ 64115 h 128230"/>
                    <a:gd name="connsiteX3" fmla="*/ 43127 w 86252"/>
                    <a:gd name="connsiteY3" fmla="*/ 0 h 128230"/>
                    <a:gd name="connsiteX4" fmla="*/ 86253 w 86252"/>
                    <a:gd name="connsiteY4" fmla="*/ 64115 h 128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6252" h="128230">
                      <a:moveTo>
                        <a:pt x="86253" y="64115"/>
                      </a:moveTo>
                      <a:cubicBezTo>
                        <a:pt x="86253" y="99525"/>
                        <a:pt x="66944" y="128230"/>
                        <a:pt x="43127" y="128230"/>
                      </a:cubicBezTo>
                      <a:cubicBezTo>
                        <a:pt x="19309" y="128230"/>
                        <a:pt x="0" y="99525"/>
                        <a:pt x="0" y="64115"/>
                      </a:cubicBezTo>
                      <a:cubicBezTo>
                        <a:pt x="0" y="28705"/>
                        <a:pt x="19309" y="0"/>
                        <a:pt x="43127" y="0"/>
                      </a:cubicBezTo>
                      <a:cubicBezTo>
                        <a:pt x="66944" y="0"/>
                        <a:pt x="86253" y="28705"/>
                        <a:pt x="86253" y="64115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5" name="Freihandform: Form 364">
                  <a:extLst>
                    <a:ext uri="{FF2B5EF4-FFF2-40B4-BE49-F238E27FC236}">
                      <a16:creationId xmlns:a16="http://schemas.microsoft.com/office/drawing/2014/main" id="{7A31F45A-38D8-84FB-AC04-96F0E0A6D8CF}"/>
                    </a:ext>
                  </a:extLst>
                </p:cNvPr>
                <p:cNvSpPr/>
                <p:nvPr/>
              </p:nvSpPr>
              <p:spPr>
                <a:xfrm>
                  <a:off x="11518704" y="1942617"/>
                  <a:ext cx="332793" cy="347915"/>
                </a:xfrm>
                <a:custGeom>
                  <a:avLst/>
                  <a:gdLst>
                    <a:gd name="connsiteX0" fmla="*/ 332794 w 332793"/>
                    <a:gd name="connsiteY0" fmla="*/ 173958 h 347915"/>
                    <a:gd name="connsiteX1" fmla="*/ 166397 w 332793"/>
                    <a:gd name="connsiteY1" fmla="*/ 347915 h 347915"/>
                    <a:gd name="connsiteX2" fmla="*/ 0 w 332793"/>
                    <a:gd name="connsiteY2" fmla="*/ 173958 h 347915"/>
                    <a:gd name="connsiteX3" fmla="*/ 166397 w 332793"/>
                    <a:gd name="connsiteY3" fmla="*/ 0 h 347915"/>
                    <a:gd name="connsiteX4" fmla="*/ 332794 w 332793"/>
                    <a:gd name="connsiteY4" fmla="*/ 173958 h 347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793" h="347915">
                      <a:moveTo>
                        <a:pt x="332794" y="173958"/>
                      </a:moveTo>
                      <a:cubicBezTo>
                        <a:pt x="332794" y="270032"/>
                        <a:pt x="258295" y="347915"/>
                        <a:pt x="166397" y="347915"/>
                      </a:cubicBezTo>
                      <a:cubicBezTo>
                        <a:pt x="74498" y="347915"/>
                        <a:pt x="0" y="270032"/>
                        <a:pt x="0" y="173958"/>
                      </a:cubicBezTo>
                      <a:cubicBezTo>
                        <a:pt x="0" y="77883"/>
                        <a:pt x="74498" y="0"/>
                        <a:pt x="166397" y="0"/>
                      </a:cubicBezTo>
                      <a:cubicBezTo>
                        <a:pt x="258295" y="0"/>
                        <a:pt x="332794" y="77883"/>
                        <a:pt x="332794" y="173958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6" name="Freihandform: Form 365">
                  <a:extLst>
                    <a:ext uri="{FF2B5EF4-FFF2-40B4-BE49-F238E27FC236}">
                      <a16:creationId xmlns:a16="http://schemas.microsoft.com/office/drawing/2014/main" id="{8206DBAA-572D-640E-0A3C-DCE009645D2A}"/>
                    </a:ext>
                  </a:extLst>
                </p:cNvPr>
                <p:cNvSpPr/>
                <p:nvPr/>
              </p:nvSpPr>
              <p:spPr>
                <a:xfrm>
                  <a:off x="11511370" y="1945641"/>
                  <a:ext cx="328272" cy="250230"/>
                </a:xfrm>
                <a:custGeom>
                  <a:avLst/>
                  <a:gdLst>
                    <a:gd name="connsiteX0" fmla="*/ 165625 w 328272"/>
                    <a:gd name="connsiteY0" fmla="*/ 78874 h 250230"/>
                    <a:gd name="connsiteX1" fmla="*/ 304198 w 328272"/>
                    <a:gd name="connsiteY1" fmla="*/ 250230 h 250230"/>
                    <a:gd name="connsiteX2" fmla="*/ 328272 w 328272"/>
                    <a:gd name="connsiteY2" fmla="*/ 173958 h 250230"/>
                    <a:gd name="connsiteX3" fmla="*/ 164839 w 328272"/>
                    <a:gd name="connsiteY3" fmla="*/ 0 h 250230"/>
                    <a:gd name="connsiteX4" fmla="*/ 54331 w 328272"/>
                    <a:gd name="connsiteY4" fmla="*/ 45788 h 250230"/>
                    <a:gd name="connsiteX5" fmla="*/ 20277 w 328272"/>
                    <a:gd name="connsiteY5" fmla="*/ 236561 h 250230"/>
                    <a:gd name="connsiteX6" fmla="*/ 165625 w 328272"/>
                    <a:gd name="connsiteY6" fmla="*/ 78874 h 250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8272" h="250230">
                      <a:moveTo>
                        <a:pt x="165625" y="78874"/>
                      </a:moveTo>
                      <a:cubicBezTo>
                        <a:pt x="284057" y="86374"/>
                        <a:pt x="269540" y="183756"/>
                        <a:pt x="304198" y="250230"/>
                      </a:cubicBezTo>
                      <a:cubicBezTo>
                        <a:pt x="310731" y="231419"/>
                        <a:pt x="328272" y="195188"/>
                        <a:pt x="328272" y="173958"/>
                      </a:cubicBezTo>
                      <a:cubicBezTo>
                        <a:pt x="328272" y="77845"/>
                        <a:pt x="255083" y="0"/>
                        <a:pt x="164839" y="0"/>
                      </a:cubicBezTo>
                      <a:cubicBezTo>
                        <a:pt x="122257" y="0"/>
                        <a:pt x="83424" y="17359"/>
                        <a:pt x="54331" y="45788"/>
                      </a:cubicBezTo>
                      <a:cubicBezTo>
                        <a:pt x="10841" y="66958"/>
                        <a:pt x="-23454" y="158655"/>
                        <a:pt x="20277" y="236561"/>
                      </a:cubicBezTo>
                      <a:cubicBezTo>
                        <a:pt x="62860" y="195007"/>
                        <a:pt x="58988" y="72160"/>
                        <a:pt x="165625" y="78874"/>
                      </a:cubicBezTo>
                      <a:close/>
                    </a:path>
                  </a:pathLst>
                </a:custGeom>
                <a:solidFill>
                  <a:srgbClr val="C09066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7" name="Freihandform: Form 366">
                  <a:extLst>
                    <a:ext uri="{FF2B5EF4-FFF2-40B4-BE49-F238E27FC236}">
                      <a16:creationId xmlns:a16="http://schemas.microsoft.com/office/drawing/2014/main" id="{F0588B6E-CC08-9117-9890-9FB0F8682F9A}"/>
                    </a:ext>
                  </a:extLst>
                </p:cNvPr>
                <p:cNvSpPr/>
                <p:nvPr/>
              </p:nvSpPr>
              <p:spPr>
                <a:xfrm>
                  <a:off x="11653285" y="2232163"/>
                  <a:ext cx="48738" cy="19839"/>
                </a:xfrm>
                <a:custGeom>
                  <a:avLst/>
                  <a:gdLst>
                    <a:gd name="connsiteX0" fmla="*/ 665 w 48738"/>
                    <a:gd name="connsiteY0" fmla="*/ 0 h 19839"/>
                    <a:gd name="connsiteX1" fmla="*/ 22138 w 48738"/>
                    <a:gd name="connsiteY1" fmla="*/ 6532 h 19839"/>
                    <a:gd name="connsiteX2" fmla="*/ 48147 w 48738"/>
                    <a:gd name="connsiteY2" fmla="*/ 0 h 19839"/>
                    <a:gd name="connsiteX3" fmla="*/ 48147 w 48738"/>
                    <a:gd name="connsiteY3" fmla="*/ 5686 h 19839"/>
                    <a:gd name="connsiteX4" fmla="*/ 22985 w 48738"/>
                    <a:gd name="connsiteY4" fmla="*/ 19839 h 19839"/>
                    <a:gd name="connsiteX5" fmla="*/ 726 w 48738"/>
                    <a:gd name="connsiteY5" fmla="*/ 6291 h 19839"/>
                    <a:gd name="connsiteX6" fmla="*/ 726 w 48738"/>
                    <a:gd name="connsiteY6" fmla="*/ 0 h 198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8738" h="19839">
                      <a:moveTo>
                        <a:pt x="665" y="0"/>
                      </a:moveTo>
                      <a:cubicBezTo>
                        <a:pt x="665" y="0"/>
                        <a:pt x="6835" y="6532"/>
                        <a:pt x="22138" y="6532"/>
                      </a:cubicBezTo>
                      <a:cubicBezTo>
                        <a:pt x="41493" y="6532"/>
                        <a:pt x="48147" y="0"/>
                        <a:pt x="48147" y="0"/>
                      </a:cubicBezTo>
                      <a:cubicBezTo>
                        <a:pt x="48147" y="0"/>
                        <a:pt x="49478" y="1936"/>
                        <a:pt x="48147" y="5686"/>
                      </a:cubicBezTo>
                      <a:cubicBezTo>
                        <a:pt x="47179" y="8347"/>
                        <a:pt x="38772" y="19839"/>
                        <a:pt x="22985" y="19839"/>
                      </a:cubicBezTo>
                      <a:cubicBezTo>
                        <a:pt x="10646" y="19839"/>
                        <a:pt x="2359" y="10162"/>
                        <a:pt x="726" y="6291"/>
                      </a:cubicBezTo>
                      <a:cubicBezTo>
                        <a:pt x="-907" y="2419"/>
                        <a:pt x="726" y="0"/>
                        <a:pt x="726" y="0"/>
                      </a:cubicBez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8" name="Freihandform: Form 367">
                  <a:extLst>
                    <a:ext uri="{FF2B5EF4-FFF2-40B4-BE49-F238E27FC236}">
                      <a16:creationId xmlns:a16="http://schemas.microsoft.com/office/drawing/2014/main" id="{A11EDB4B-768A-883B-A006-2DE202371D19}"/>
                    </a:ext>
                  </a:extLst>
                </p:cNvPr>
                <p:cNvSpPr/>
                <p:nvPr/>
              </p:nvSpPr>
              <p:spPr>
                <a:xfrm>
                  <a:off x="11697217" y="2129414"/>
                  <a:ext cx="86717" cy="29137"/>
                </a:xfrm>
                <a:custGeom>
                  <a:avLst/>
                  <a:gdLst>
                    <a:gd name="connsiteX0" fmla="*/ 67725 w 86717"/>
                    <a:gd name="connsiteY0" fmla="*/ 10931 h 29137"/>
                    <a:gd name="connsiteX1" fmla="*/ 34518 w 86717"/>
                    <a:gd name="connsiteY1" fmla="*/ 467 h 29137"/>
                    <a:gd name="connsiteX2" fmla="*/ 34518 w 86717"/>
                    <a:gd name="connsiteY2" fmla="*/ 467 h 29137"/>
                    <a:gd name="connsiteX3" fmla="*/ 4760 w 86717"/>
                    <a:gd name="connsiteY3" fmla="*/ 3854 h 29137"/>
                    <a:gd name="connsiteX4" fmla="*/ 2643 w 86717"/>
                    <a:gd name="connsiteY4" fmla="*/ 5487 h 29137"/>
                    <a:gd name="connsiteX5" fmla="*/ 8631 w 86717"/>
                    <a:gd name="connsiteY5" fmla="*/ 20609 h 29137"/>
                    <a:gd name="connsiteX6" fmla="*/ 25567 w 86717"/>
                    <a:gd name="connsiteY6" fmla="*/ 19036 h 29137"/>
                    <a:gd name="connsiteX7" fmla="*/ 65306 w 86717"/>
                    <a:gd name="connsiteY7" fmla="*/ 21335 h 29137"/>
                    <a:gd name="connsiteX8" fmla="*/ 86718 w 86717"/>
                    <a:gd name="connsiteY8" fmla="*/ 29137 h 29137"/>
                    <a:gd name="connsiteX9" fmla="*/ 67665 w 86717"/>
                    <a:gd name="connsiteY9" fmla="*/ 10991 h 29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6717" h="29137">
                      <a:moveTo>
                        <a:pt x="67725" y="10931"/>
                      </a:moveTo>
                      <a:cubicBezTo>
                        <a:pt x="56233" y="3612"/>
                        <a:pt x="43773" y="830"/>
                        <a:pt x="34518" y="467"/>
                      </a:cubicBezTo>
                      <a:lnTo>
                        <a:pt x="34518" y="467"/>
                      </a:lnTo>
                      <a:cubicBezTo>
                        <a:pt x="18671" y="-1106"/>
                        <a:pt x="8207" y="1616"/>
                        <a:pt x="4760" y="3854"/>
                      </a:cubicBezTo>
                      <a:cubicBezTo>
                        <a:pt x="3973" y="4399"/>
                        <a:pt x="3248" y="4943"/>
                        <a:pt x="2643" y="5487"/>
                      </a:cubicBezTo>
                      <a:cubicBezTo>
                        <a:pt x="-2983" y="10871"/>
                        <a:pt x="1010" y="20790"/>
                        <a:pt x="8631" y="20609"/>
                      </a:cubicBezTo>
                      <a:cubicBezTo>
                        <a:pt x="12139" y="20548"/>
                        <a:pt x="20668" y="19580"/>
                        <a:pt x="25567" y="19036"/>
                      </a:cubicBezTo>
                      <a:cubicBezTo>
                        <a:pt x="34095" y="18129"/>
                        <a:pt x="58350" y="19399"/>
                        <a:pt x="65306" y="21335"/>
                      </a:cubicBezTo>
                      <a:cubicBezTo>
                        <a:pt x="78916" y="25024"/>
                        <a:pt x="86718" y="29137"/>
                        <a:pt x="86718" y="29137"/>
                      </a:cubicBezTo>
                      <a:cubicBezTo>
                        <a:pt x="86718" y="29137"/>
                        <a:pt x="83028" y="20790"/>
                        <a:pt x="67665" y="10991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9" name="Freihandform: Form 368">
                  <a:extLst>
                    <a:ext uri="{FF2B5EF4-FFF2-40B4-BE49-F238E27FC236}">
                      <a16:creationId xmlns:a16="http://schemas.microsoft.com/office/drawing/2014/main" id="{220D00EC-33A9-4EBF-4D62-71E0C2AA6E8D}"/>
                    </a:ext>
                  </a:extLst>
                </p:cNvPr>
                <p:cNvSpPr/>
                <p:nvPr/>
              </p:nvSpPr>
              <p:spPr>
                <a:xfrm>
                  <a:off x="11633687" y="2269845"/>
                  <a:ext cx="95568" cy="44941"/>
                </a:xfrm>
                <a:custGeom>
                  <a:avLst/>
                  <a:gdLst>
                    <a:gd name="connsiteX0" fmla="*/ 0 w 95568"/>
                    <a:gd name="connsiteY0" fmla="*/ 4961 h 44941"/>
                    <a:gd name="connsiteX1" fmla="*/ 36170 w 95568"/>
                    <a:gd name="connsiteY1" fmla="*/ 545 h 44941"/>
                    <a:gd name="connsiteX2" fmla="*/ 45607 w 95568"/>
                    <a:gd name="connsiteY2" fmla="*/ 3630 h 44941"/>
                    <a:gd name="connsiteX3" fmla="*/ 54498 w 95568"/>
                    <a:gd name="connsiteY3" fmla="*/ 1 h 44941"/>
                    <a:gd name="connsiteX4" fmla="*/ 95568 w 95568"/>
                    <a:gd name="connsiteY4" fmla="*/ 5263 h 44941"/>
                    <a:gd name="connsiteX5" fmla="*/ 44396 w 95568"/>
                    <a:gd name="connsiteY5" fmla="*/ 44942 h 44941"/>
                    <a:gd name="connsiteX6" fmla="*/ 61 w 95568"/>
                    <a:gd name="connsiteY6" fmla="*/ 4900 h 449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5568" h="44941">
                      <a:moveTo>
                        <a:pt x="0" y="4961"/>
                      </a:moveTo>
                      <a:cubicBezTo>
                        <a:pt x="0" y="4961"/>
                        <a:pt x="12339" y="2602"/>
                        <a:pt x="36170" y="545"/>
                      </a:cubicBezTo>
                      <a:cubicBezTo>
                        <a:pt x="38046" y="364"/>
                        <a:pt x="40163" y="3811"/>
                        <a:pt x="45607" y="3630"/>
                      </a:cubicBezTo>
                      <a:cubicBezTo>
                        <a:pt x="52139" y="3448"/>
                        <a:pt x="52381" y="-60"/>
                        <a:pt x="54498" y="1"/>
                      </a:cubicBezTo>
                      <a:cubicBezTo>
                        <a:pt x="80144" y="908"/>
                        <a:pt x="95568" y="5263"/>
                        <a:pt x="95568" y="5263"/>
                      </a:cubicBezTo>
                      <a:cubicBezTo>
                        <a:pt x="95568" y="5263"/>
                        <a:pt x="82865" y="44942"/>
                        <a:pt x="44396" y="44942"/>
                      </a:cubicBezTo>
                      <a:cubicBezTo>
                        <a:pt x="9799" y="44942"/>
                        <a:pt x="61" y="4900"/>
                        <a:pt x="61" y="4900"/>
                      </a:cubicBez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0" name="Freihandform: Form 369">
                  <a:extLst>
                    <a:ext uri="{FF2B5EF4-FFF2-40B4-BE49-F238E27FC236}">
                      <a16:creationId xmlns:a16="http://schemas.microsoft.com/office/drawing/2014/main" id="{AF125A6C-528C-8F39-4B2C-4A385E335909}"/>
                    </a:ext>
                  </a:extLst>
                </p:cNvPr>
                <p:cNvSpPr/>
                <p:nvPr/>
              </p:nvSpPr>
              <p:spPr>
                <a:xfrm rot="-5166000">
                  <a:off x="11600716" y="2174957"/>
                  <a:ext cx="24920" cy="23468"/>
                </a:xfrm>
                <a:custGeom>
                  <a:avLst/>
                  <a:gdLst>
                    <a:gd name="connsiteX0" fmla="*/ 24920 w 24920"/>
                    <a:gd name="connsiteY0" fmla="*/ 11734 h 23468"/>
                    <a:gd name="connsiteX1" fmla="*/ 12459 w 24920"/>
                    <a:gd name="connsiteY1" fmla="*/ 23469 h 23468"/>
                    <a:gd name="connsiteX2" fmla="*/ -1 w 24920"/>
                    <a:gd name="connsiteY2" fmla="*/ 11734 h 23468"/>
                    <a:gd name="connsiteX3" fmla="*/ 12459 w 24920"/>
                    <a:gd name="connsiteY3" fmla="*/ 0 h 23468"/>
                    <a:gd name="connsiteX4" fmla="*/ 24920 w 24920"/>
                    <a:gd name="connsiteY4" fmla="*/ 11734 h 234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920" h="23468">
                      <a:moveTo>
                        <a:pt x="24920" y="11734"/>
                      </a:moveTo>
                      <a:cubicBezTo>
                        <a:pt x="24920" y="18215"/>
                        <a:pt x="19342" y="23469"/>
                        <a:pt x="12459" y="23469"/>
                      </a:cubicBezTo>
                      <a:cubicBezTo>
                        <a:pt x="5578" y="23469"/>
                        <a:pt x="-1" y="18215"/>
                        <a:pt x="-1" y="11734"/>
                      </a:cubicBezTo>
                      <a:cubicBezTo>
                        <a:pt x="-1" y="5254"/>
                        <a:pt x="5577" y="0"/>
                        <a:pt x="12459" y="0"/>
                      </a:cubicBezTo>
                      <a:cubicBezTo>
                        <a:pt x="19341" y="0"/>
                        <a:pt x="24920" y="5254"/>
                        <a:pt x="24920" y="11734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1" name="Freihandform: Form 370">
                  <a:extLst>
                    <a:ext uri="{FF2B5EF4-FFF2-40B4-BE49-F238E27FC236}">
                      <a16:creationId xmlns:a16="http://schemas.microsoft.com/office/drawing/2014/main" id="{FFFDEBDF-9851-B988-025C-F2790F767C40}"/>
                    </a:ext>
                  </a:extLst>
                </p:cNvPr>
                <p:cNvSpPr/>
                <p:nvPr/>
              </p:nvSpPr>
              <p:spPr>
                <a:xfrm>
                  <a:off x="11570056" y="2130443"/>
                  <a:ext cx="86657" cy="29137"/>
                </a:xfrm>
                <a:custGeom>
                  <a:avLst/>
                  <a:gdLst>
                    <a:gd name="connsiteX0" fmla="*/ 19053 w 86657"/>
                    <a:gd name="connsiteY0" fmla="*/ 10931 h 29137"/>
                    <a:gd name="connsiteX1" fmla="*/ 52199 w 86657"/>
                    <a:gd name="connsiteY1" fmla="*/ 467 h 29137"/>
                    <a:gd name="connsiteX2" fmla="*/ 52199 w 86657"/>
                    <a:gd name="connsiteY2" fmla="*/ 467 h 29137"/>
                    <a:gd name="connsiteX3" fmla="*/ 81898 w 86657"/>
                    <a:gd name="connsiteY3" fmla="*/ 3854 h 29137"/>
                    <a:gd name="connsiteX4" fmla="*/ 84015 w 86657"/>
                    <a:gd name="connsiteY4" fmla="*/ 5487 h 29137"/>
                    <a:gd name="connsiteX5" fmla="*/ 78027 w 86657"/>
                    <a:gd name="connsiteY5" fmla="*/ 20609 h 29137"/>
                    <a:gd name="connsiteX6" fmla="*/ 61151 w 86657"/>
                    <a:gd name="connsiteY6" fmla="*/ 19036 h 29137"/>
                    <a:gd name="connsiteX7" fmla="*/ 21412 w 86657"/>
                    <a:gd name="connsiteY7" fmla="*/ 21335 h 29137"/>
                    <a:gd name="connsiteX8" fmla="*/ 0 w 86657"/>
                    <a:gd name="connsiteY8" fmla="*/ 29137 h 29137"/>
                    <a:gd name="connsiteX9" fmla="*/ 18993 w 86657"/>
                    <a:gd name="connsiteY9" fmla="*/ 10991 h 29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6657" h="29137">
                      <a:moveTo>
                        <a:pt x="19053" y="10931"/>
                      </a:moveTo>
                      <a:cubicBezTo>
                        <a:pt x="30546" y="3612"/>
                        <a:pt x="43005" y="830"/>
                        <a:pt x="52199" y="467"/>
                      </a:cubicBezTo>
                      <a:lnTo>
                        <a:pt x="52199" y="467"/>
                      </a:lnTo>
                      <a:cubicBezTo>
                        <a:pt x="67986" y="-1106"/>
                        <a:pt x="78511" y="1616"/>
                        <a:pt x="81898" y="3854"/>
                      </a:cubicBezTo>
                      <a:cubicBezTo>
                        <a:pt x="82685" y="4399"/>
                        <a:pt x="83410" y="4943"/>
                        <a:pt x="84015" y="5487"/>
                      </a:cubicBezTo>
                      <a:cubicBezTo>
                        <a:pt x="89641" y="10871"/>
                        <a:pt x="85648" y="20790"/>
                        <a:pt x="78027" y="20609"/>
                      </a:cubicBezTo>
                      <a:cubicBezTo>
                        <a:pt x="74519" y="20548"/>
                        <a:pt x="65990" y="19581"/>
                        <a:pt x="61151" y="19036"/>
                      </a:cubicBezTo>
                      <a:cubicBezTo>
                        <a:pt x="52623" y="18129"/>
                        <a:pt x="28368" y="19399"/>
                        <a:pt x="21412" y="21335"/>
                      </a:cubicBezTo>
                      <a:cubicBezTo>
                        <a:pt x="7803" y="25024"/>
                        <a:pt x="0" y="29137"/>
                        <a:pt x="0" y="29137"/>
                      </a:cubicBezTo>
                      <a:cubicBezTo>
                        <a:pt x="0" y="29137"/>
                        <a:pt x="3690" y="20790"/>
                        <a:pt x="18993" y="10991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2" name="Freihandform: Form 371">
                  <a:extLst>
                    <a:ext uri="{FF2B5EF4-FFF2-40B4-BE49-F238E27FC236}">
                      <a16:creationId xmlns:a16="http://schemas.microsoft.com/office/drawing/2014/main" id="{3B5FF6F3-0B30-FF98-16E9-7F9E101083E5}"/>
                    </a:ext>
                  </a:extLst>
                </p:cNvPr>
                <p:cNvSpPr/>
                <p:nvPr/>
              </p:nvSpPr>
              <p:spPr>
                <a:xfrm>
                  <a:off x="11580553" y="2168491"/>
                  <a:ext cx="64100" cy="16950"/>
                </a:xfrm>
                <a:custGeom>
                  <a:avLst/>
                  <a:gdLst>
                    <a:gd name="connsiteX0" fmla="*/ 2085 w 64100"/>
                    <a:gd name="connsiteY0" fmla="*/ 10989 h 16950"/>
                    <a:gd name="connsiteX1" fmla="*/ 28637 w 64100"/>
                    <a:gd name="connsiteY1" fmla="*/ 101 h 16950"/>
                    <a:gd name="connsiteX2" fmla="*/ 62631 w 64100"/>
                    <a:gd name="connsiteY2" fmla="*/ 10807 h 16950"/>
                    <a:gd name="connsiteX3" fmla="*/ 60574 w 64100"/>
                    <a:gd name="connsiteY3" fmla="*/ 16614 h 16950"/>
                    <a:gd name="connsiteX4" fmla="*/ 33598 w 64100"/>
                    <a:gd name="connsiteY4" fmla="*/ 7178 h 16950"/>
                    <a:gd name="connsiteX5" fmla="*/ 6742 w 64100"/>
                    <a:gd name="connsiteY5" fmla="*/ 13166 h 16950"/>
                    <a:gd name="connsiteX6" fmla="*/ 814 w 64100"/>
                    <a:gd name="connsiteY6" fmla="*/ 15767 h 16950"/>
                    <a:gd name="connsiteX7" fmla="*/ 2085 w 64100"/>
                    <a:gd name="connsiteY7" fmla="*/ 10928 h 16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4100" h="16950">
                      <a:moveTo>
                        <a:pt x="2085" y="10989"/>
                      </a:moveTo>
                      <a:cubicBezTo>
                        <a:pt x="5049" y="7965"/>
                        <a:pt x="14847" y="888"/>
                        <a:pt x="28637" y="101"/>
                      </a:cubicBezTo>
                      <a:cubicBezTo>
                        <a:pt x="47449" y="-927"/>
                        <a:pt x="58215" y="6090"/>
                        <a:pt x="62631" y="10807"/>
                      </a:cubicBezTo>
                      <a:cubicBezTo>
                        <a:pt x="65837" y="14255"/>
                        <a:pt x="63175" y="18126"/>
                        <a:pt x="60574" y="16614"/>
                      </a:cubicBezTo>
                      <a:cubicBezTo>
                        <a:pt x="53800" y="12743"/>
                        <a:pt x="50171" y="9174"/>
                        <a:pt x="33598" y="7178"/>
                      </a:cubicBezTo>
                      <a:cubicBezTo>
                        <a:pt x="21984" y="5787"/>
                        <a:pt x="10976" y="10807"/>
                        <a:pt x="6742" y="13166"/>
                      </a:cubicBezTo>
                      <a:cubicBezTo>
                        <a:pt x="3476" y="14981"/>
                        <a:pt x="1843" y="16493"/>
                        <a:pt x="814" y="15767"/>
                      </a:cubicBezTo>
                      <a:cubicBezTo>
                        <a:pt x="-1000" y="14437"/>
                        <a:pt x="573" y="12501"/>
                        <a:pt x="2085" y="1092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3" name="Freihandform: Form 372">
                  <a:extLst>
                    <a:ext uri="{FF2B5EF4-FFF2-40B4-BE49-F238E27FC236}">
                      <a16:creationId xmlns:a16="http://schemas.microsoft.com/office/drawing/2014/main" id="{EDF27732-ACE5-031C-7149-8236B55CCA7C}"/>
                    </a:ext>
                  </a:extLst>
                </p:cNvPr>
                <p:cNvSpPr/>
                <p:nvPr/>
              </p:nvSpPr>
              <p:spPr>
                <a:xfrm rot="-234000">
                  <a:off x="11725754" y="2174535"/>
                  <a:ext cx="23468" cy="24920"/>
                </a:xfrm>
                <a:custGeom>
                  <a:avLst/>
                  <a:gdLst>
                    <a:gd name="connsiteX0" fmla="*/ 23468 w 23468"/>
                    <a:gd name="connsiteY0" fmla="*/ 12460 h 24920"/>
                    <a:gd name="connsiteX1" fmla="*/ 11734 w 23468"/>
                    <a:gd name="connsiteY1" fmla="*/ 24920 h 24920"/>
                    <a:gd name="connsiteX2" fmla="*/ 1 w 23468"/>
                    <a:gd name="connsiteY2" fmla="*/ 12460 h 24920"/>
                    <a:gd name="connsiteX3" fmla="*/ 11734 w 23468"/>
                    <a:gd name="connsiteY3" fmla="*/ 0 h 24920"/>
                    <a:gd name="connsiteX4" fmla="*/ 23468 w 23468"/>
                    <a:gd name="connsiteY4" fmla="*/ 12460 h 249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468" h="24920">
                      <a:moveTo>
                        <a:pt x="23468" y="12460"/>
                      </a:moveTo>
                      <a:cubicBezTo>
                        <a:pt x="23468" y="19342"/>
                        <a:pt x="18215" y="24920"/>
                        <a:pt x="11734" y="24920"/>
                      </a:cubicBezTo>
                      <a:cubicBezTo>
                        <a:pt x="5254" y="24920"/>
                        <a:pt x="1" y="19342"/>
                        <a:pt x="1" y="12460"/>
                      </a:cubicBezTo>
                      <a:cubicBezTo>
                        <a:pt x="1" y="5579"/>
                        <a:pt x="5254" y="0"/>
                        <a:pt x="11734" y="0"/>
                      </a:cubicBezTo>
                      <a:cubicBezTo>
                        <a:pt x="18215" y="0"/>
                        <a:pt x="23468" y="5579"/>
                        <a:pt x="23468" y="12460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4" name="Freihandform: Form 373">
                  <a:extLst>
                    <a:ext uri="{FF2B5EF4-FFF2-40B4-BE49-F238E27FC236}">
                      <a16:creationId xmlns:a16="http://schemas.microsoft.com/office/drawing/2014/main" id="{929624FA-0535-15D4-C59A-F1A38A3D152F}"/>
                    </a:ext>
                  </a:extLst>
                </p:cNvPr>
                <p:cNvSpPr/>
                <p:nvPr/>
              </p:nvSpPr>
              <p:spPr>
                <a:xfrm>
                  <a:off x="11706252" y="2168491"/>
                  <a:ext cx="64101" cy="16950"/>
                </a:xfrm>
                <a:custGeom>
                  <a:avLst/>
                  <a:gdLst>
                    <a:gd name="connsiteX0" fmla="*/ 62017 w 64101"/>
                    <a:gd name="connsiteY0" fmla="*/ 10989 h 16950"/>
                    <a:gd name="connsiteX1" fmla="*/ 35463 w 64101"/>
                    <a:gd name="connsiteY1" fmla="*/ 101 h 16950"/>
                    <a:gd name="connsiteX2" fmla="*/ 1470 w 64101"/>
                    <a:gd name="connsiteY2" fmla="*/ 10807 h 16950"/>
                    <a:gd name="connsiteX3" fmla="*/ 3526 w 64101"/>
                    <a:gd name="connsiteY3" fmla="*/ 16614 h 16950"/>
                    <a:gd name="connsiteX4" fmla="*/ 30504 w 64101"/>
                    <a:gd name="connsiteY4" fmla="*/ 7178 h 16950"/>
                    <a:gd name="connsiteX5" fmla="*/ 57359 w 64101"/>
                    <a:gd name="connsiteY5" fmla="*/ 13166 h 16950"/>
                    <a:gd name="connsiteX6" fmla="*/ 63287 w 64101"/>
                    <a:gd name="connsiteY6" fmla="*/ 15767 h 16950"/>
                    <a:gd name="connsiteX7" fmla="*/ 62017 w 64101"/>
                    <a:gd name="connsiteY7" fmla="*/ 10928 h 16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4101" h="16950">
                      <a:moveTo>
                        <a:pt x="62017" y="10989"/>
                      </a:moveTo>
                      <a:cubicBezTo>
                        <a:pt x="59053" y="7965"/>
                        <a:pt x="49254" y="888"/>
                        <a:pt x="35463" y="101"/>
                      </a:cubicBezTo>
                      <a:cubicBezTo>
                        <a:pt x="16652" y="-927"/>
                        <a:pt x="5885" y="6090"/>
                        <a:pt x="1470" y="10807"/>
                      </a:cubicBezTo>
                      <a:cubicBezTo>
                        <a:pt x="-1736" y="14255"/>
                        <a:pt x="926" y="18126"/>
                        <a:pt x="3526" y="16614"/>
                      </a:cubicBezTo>
                      <a:cubicBezTo>
                        <a:pt x="10301" y="12743"/>
                        <a:pt x="13931" y="9174"/>
                        <a:pt x="30504" y="7178"/>
                      </a:cubicBezTo>
                      <a:cubicBezTo>
                        <a:pt x="42116" y="5787"/>
                        <a:pt x="53125" y="10807"/>
                        <a:pt x="57359" y="13166"/>
                      </a:cubicBezTo>
                      <a:cubicBezTo>
                        <a:pt x="60625" y="14981"/>
                        <a:pt x="62259" y="16493"/>
                        <a:pt x="63287" y="15767"/>
                      </a:cubicBezTo>
                      <a:cubicBezTo>
                        <a:pt x="65101" y="14437"/>
                        <a:pt x="63529" y="12501"/>
                        <a:pt x="62017" y="1092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5" name="Freihandform: Form 374">
                  <a:extLst>
                    <a:ext uri="{FF2B5EF4-FFF2-40B4-BE49-F238E27FC236}">
                      <a16:creationId xmlns:a16="http://schemas.microsoft.com/office/drawing/2014/main" id="{A6E5C98A-4095-D7C8-22F5-519651820B9A}"/>
                    </a:ext>
                  </a:extLst>
                </p:cNvPr>
                <p:cNvSpPr/>
                <p:nvPr/>
              </p:nvSpPr>
              <p:spPr>
                <a:xfrm>
                  <a:off x="11643728" y="2279947"/>
                  <a:ext cx="75425" cy="18026"/>
                </a:xfrm>
                <a:custGeom>
                  <a:avLst/>
                  <a:gdLst>
                    <a:gd name="connsiteX0" fmla="*/ 61 w 75425"/>
                    <a:gd name="connsiteY0" fmla="*/ 0 h 18026"/>
                    <a:gd name="connsiteX1" fmla="*/ 75426 w 75425"/>
                    <a:gd name="connsiteY1" fmla="*/ 0 h 18026"/>
                    <a:gd name="connsiteX2" fmla="*/ 36533 w 75425"/>
                    <a:gd name="connsiteY2" fmla="*/ 18025 h 18026"/>
                    <a:gd name="connsiteX3" fmla="*/ 0 w 75425"/>
                    <a:gd name="connsiteY3" fmla="*/ 0 h 18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5425" h="18026">
                      <a:moveTo>
                        <a:pt x="61" y="0"/>
                      </a:moveTo>
                      <a:cubicBezTo>
                        <a:pt x="28731" y="3266"/>
                        <a:pt x="42340" y="3145"/>
                        <a:pt x="75426" y="0"/>
                      </a:cubicBezTo>
                      <a:cubicBezTo>
                        <a:pt x="75426" y="0"/>
                        <a:pt x="64054" y="17843"/>
                        <a:pt x="36533" y="18025"/>
                      </a:cubicBezTo>
                      <a:cubicBezTo>
                        <a:pt x="19355" y="18146"/>
                        <a:pt x="9012" y="10646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6" name="Freihandform: Form 375">
                  <a:extLst>
                    <a:ext uri="{FF2B5EF4-FFF2-40B4-BE49-F238E27FC236}">
                      <a16:creationId xmlns:a16="http://schemas.microsoft.com/office/drawing/2014/main" id="{EEF9E963-4D4E-9497-8D82-1C091EBCB542}"/>
                    </a:ext>
                  </a:extLst>
                </p:cNvPr>
                <p:cNvSpPr/>
                <p:nvPr/>
              </p:nvSpPr>
              <p:spPr>
                <a:xfrm>
                  <a:off x="11573867" y="1928127"/>
                  <a:ext cx="300796" cy="234231"/>
                </a:xfrm>
                <a:custGeom>
                  <a:avLst/>
                  <a:gdLst>
                    <a:gd name="connsiteX0" fmla="*/ 61 w 300796"/>
                    <a:gd name="connsiteY0" fmla="*/ 61185 h 234231"/>
                    <a:gd name="connsiteX1" fmla="*/ 196458 w 300796"/>
                    <a:gd name="connsiteY1" fmla="*/ 219417 h 234231"/>
                    <a:gd name="connsiteX2" fmla="*/ 300797 w 300796"/>
                    <a:gd name="connsiteY2" fmla="*/ 230123 h 234231"/>
                    <a:gd name="connsiteX3" fmla="*/ 275090 w 300796"/>
                    <a:gd name="connsiteY3" fmla="*/ 135220 h 234231"/>
                    <a:gd name="connsiteX4" fmla="*/ 0 w 300796"/>
                    <a:gd name="connsiteY4" fmla="*/ 61185 h 2342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0796" h="234231">
                      <a:moveTo>
                        <a:pt x="61" y="61185"/>
                      </a:moveTo>
                      <a:cubicBezTo>
                        <a:pt x="-2843" y="129172"/>
                        <a:pt x="103250" y="194254"/>
                        <a:pt x="196458" y="219417"/>
                      </a:cubicBezTo>
                      <a:cubicBezTo>
                        <a:pt x="289667" y="244518"/>
                        <a:pt x="300797" y="230123"/>
                        <a:pt x="300797" y="230123"/>
                      </a:cubicBezTo>
                      <a:cubicBezTo>
                        <a:pt x="300797" y="230123"/>
                        <a:pt x="277812" y="221836"/>
                        <a:pt x="275090" y="135220"/>
                      </a:cubicBezTo>
                      <a:cubicBezTo>
                        <a:pt x="272005" y="37354"/>
                        <a:pt x="118129" y="-70735"/>
                        <a:pt x="0" y="61185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7" name="Freihandform: Form 376">
                  <a:extLst>
                    <a:ext uri="{FF2B5EF4-FFF2-40B4-BE49-F238E27FC236}">
                      <a16:creationId xmlns:a16="http://schemas.microsoft.com/office/drawing/2014/main" id="{683D65E0-E42B-24A5-A68A-C352E75AA11A}"/>
                    </a:ext>
                  </a:extLst>
                </p:cNvPr>
                <p:cNvSpPr/>
                <p:nvPr/>
              </p:nvSpPr>
              <p:spPr>
                <a:xfrm>
                  <a:off x="11301257" y="2440900"/>
                  <a:ext cx="766961" cy="1169315"/>
                </a:xfrm>
                <a:custGeom>
                  <a:avLst/>
                  <a:gdLst>
                    <a:gd name="connsiteX0" fmla="*/ 110749 w 766961"/>
                    <a:gd name="connsiteY0" fmla="*/ 634680 h 1169315"/>
                    <a:gd name="connsiteX1" fmla="*/ 0 w 766961"/>
                    <a:gd name="connsiteY1" fmla="*/ 1169315 h 1169315"/>
                    <a:gd name="connsiteX2" fmla="*/ 766962 w 766961"/>
                    <a:gd name="connsiteY2" fmla="*/ 1169315 h 1169315"/>
                    <a:gd name="connsiteX3" fmla="*/ 659962 w 766961"/>
                    <a:gd name="connsiteY3" fmla="*/ 653794 h 1169315"/>
                    <a:gd name="connsiteX4" fmla="*/ 722565 w 766961"/>
                    <a:gd name="connsiteY4" fmla="*/ 82625 h 1169315"/>
                    <a:gd name="connsiteX5" fmla="*/ 508929 w 766961"/>
                    <a:gd name="connsiteY5" fmla="*/ 908 h 1169315"/>
                    <a:gd name="connsiteX6" fmla="*/ 494594 w 766961"/>
                    <a:gd name="connsiteY6" fmla="*/ 5384 h 1169315"/>
                    <a:gd name="connsiteX7" fmla="*/ 380094 w 766961"/>
                    <a:gd name="connsiteY7" fmla="*/ 133130 h 1169315"/>
                    <a:gd name="connsiteX8" fmla="*/ 272368 w 766961"/>
                    <a:gd name="connsiteY8" fmla="*/ 5082 h 1169315"/>
                    <a:gd name="connsiteX9" fmla="*/ 261360 w 766961"/>
                    <a:gd name="connsiteY9" fmla="*/ 1452 h 1169315"/>
                    <a:gd name="connsiteX10" fmla="*/ 45909 w 766961"/>
                    <a:gd name="connsiteY10" fmla="*/ 79721 h 1169315"/>
                    <a:gd name="connsiteX11" fmla="*/ 110871 w 766961"/>
                    <a:gd name="connsiteY11" fmla="*/ 634801 h 1169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766961" h="1169315">
                      <a:moveTo>
                        <a:pt x="110749" y="634680"/>
                      </a:moveTo>
                      <a:cubicBezTo>
                        <a:pt x="21351" y="876745"/>
                        <a:pt x="3145" y="1117539"/>
                        <a:pt x="0" y="1169315"/>
                      </a:cubicBezTo>
                      <a:lnTo>
                        <a:pt x="766962" y="1169315"/>
                      </a:lnTo>
                      <a:cubicBezTo>
                        <a:pt x="762849" y="1116995"/>
                        <a:pt x="736597" y="804464"/>
                        <a:pt x="659962" y="653794"/>
                      </a:cubicBezTo>
                      <a:cubicBezTo>
                        <a:pt x="619436" y="574134"/>
                        <a:pt x="722565" y="82625"/>
                        <a:pt x="722565" y="82625"/>
                      </a:cubicBezTo>
                      <a:cubicBezTo>
                        <a:pt x="640788" y="50023"/>
                        <a:pt x="609517" y="37381"/>
                        <a:pt x="508929" y="908"/>
                      </a:cubicBezTo>
                      <a:cubicBezTo>
                        <a:pt x="503425" y="-1088"/>
                        <a:pt x="497497" y="122"/>
                        <a:pt x="494594" y="5384"/>
                      </a:cubicBezTo>
                      <a:cubicBezTo>
                        <a:pt x="476568" y="38409"/>
                        <a:pt x="414450" y="134884"/>
                        <a:pt x="380094" y="133130"/>
                      </a:cubicBezTo>
                      <a:cubicBezTo>
                        <a:pt x="339870" y="131013"/>
                        <a:pt x="286461" y="35748"/>
                        <a:pt x="272368" y="5082"/>
                      </a:cubicBezTo>
                      <a:cubicBezTo>
                        <a:pt x="270372" y="727"/>
                        <a:pt x="265714" y="-181"/>
                        <a:pt x="261360" y="1452"/>
                      </a:cubicBezTo>
                      <a:cubicBezTo>
                        <a:pt x="177829" y="32240"/>
                        <a:pt x="141537" y="44700"/>
                        <a:pt x="45909" y="79721"/>
                      </a:cubicBezTo>
                      <a:cubicBezTo>
                        <a:pt x="45909" y="79721"/>
                        <a:pt x="113532" y="475420"/>
                        <a:pt x="110871" y="634801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8" name="Freihandform: Form 377">
                  <a:extLst>
                    <a:ext uri="{FF2B5EF4-FFF2-40B4-BE49-F238E27FC236}">
                      <a16:creationId xmlns:a16="http://schemas.microsoft.com/office/drawing/2014/main" id="{32714B26-9E41-FC22-4DA1-C8695C34F510}"/>
                    </a:ext>
                  </a:extLst>
                </p:cNvPr>
                <p:cNvSpPr/>
                <p:nvPr/>
              </p:nvSpPr>
              <p:spPr>
                <a:xfrm>
                  <a:off x="11815932" y="2760992"/>
                  <a:ext cx="126173" cy="70405"/>
                </a:xfrm>
                <a:custGeom>
                  <a:avLst/>
                  <a:gdLst>
                    <a:gd name="connsiteX0" fmla="*/ 0 w 126173"/>
                    <a:gd name="connsiteY0" fmla="*/ 0 h 70405"/>
                    <a:gd name="connsiteX1" fmla="*/ 126174 w 126173"/>
                    <a:gd name="connsiteY1" fmla="*/ 0 h 70405"/>
                    <a:gd name="connsiteX2" fmla="*/ 126174 w 126173"/>
                    <a:gd name="connsiteY2" fmla="*/ 70406 h 70405"/>
                    <a:gd name="connsiteX3" fmla="*/ 0 w 126173"/>
                    <a:gd name="connsiteY3" fmla="*/ 70406 h 70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6173" h="70405">
                      <a:moveTo>
                        <a:pt x="0" y="0"/>
                      </a:moveTo>
                      <a:lnTo>
                        <a:pt x="126174" y="0"/>
                      </a:lnTo>
                      <a:lnTo>
                        <a:pt x="126174" y="70406"/>
                      </a:lnTo>
                      <a:lnTo>
                        <a:pt x="0" y="7040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9" name="Freihandform: Form 378">
                  <a:extLst>
                    <a:ext uri="{FF2B5EF4-FFF2-40B4-BE49-F238E27FC236}">
                      <a16:creationId xmlns:a16="http://schemas.microsoft.com/office/drawing/2014/main" id="{5F02B349-B0CE-8A37-7D40-B8EFCEFF9FF6}"/>
                    </a:ext>
                  </a:extLst>
                </p:cNvPr>
                <p:cNvSpPr/>
                <p:nvPr/>
              </p:nvSpPr>
              <p:spPr>
                <a:xfrm>
                  <a:off x="11765212" y="2760932"/>
                  <a:ext cx="162195" cy="183574"/>
                </a:xfrm>
                <a:custGeom>
                  <a:avLst/>
                  <a:gdLst>
                    <a:gd name="connsiteX0" fmla="*/ 16183 w 162195"/>
                    <a:gd name="connsiteY0" fmla="*/ 60 h 183574"/>
                    <a:gd name="connsiteX1" fmla="*/ 16848 w 162195"/>
                    <a:gd name="connsiteY1" fmla="*/ 136517 h 183574"/>
                    <a:gd name="connsiteX2" fmla="*/ 95601 w 162195"/>
                    <a:gd name="connsiteY2" fmla="*/ 176075 h 183574"/>
                    <a:gd name="connsiteX3" fmla="*/ 162196 w 162195"/>
                    <a:gd name="connsiteY3" fmla="*/ 171538 h 183574"/>
                    <a:gd name="connsiteX4" fmla="*/ 162196 w 162195"/>
                    <a:gd name="connsiteY4" fmla="*/ 171538 h 183574"/>
                    <a:gd name="connsiteX5" fmla="*/ 94936 w 162195"/>
                    <a:gd name="connsiteY5" fmla="*/ 183575 h 183574"/>
                    <a:gd name="connsiteX6" fmla="*/ 7472 w 162195"/>
                    <a:gd name="connsiteY6" fmla="*/ 143836 h 183574"/>
                    <a:gd name="connsiteX7" fmla="*/ 577 w 162195"/>
                    <a:gd name="connsiteY7" fmla="*/ 6170 h 183574"/>
                    <a:gd name="connsiteX8" fmla="*/ 16183 w 162195"/>
                    <a:gd name="connsiteY8" fmla="*/ 0 h 1835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2195" h="183574">
                      <a:moveTo>
                        <a:pt x="16183" y="60"/>
                      </a:moveTo>
                      <a:lnTo>
                        <a:pt x="16848" y="136517"/>
                      </a:lnTo>
                      <a:lnTo>
                        <a:pt x="95601" y="176075"/>
                      </a:lnTo>
                      <a:lnTo>
                        <a:pt x="162196" y="171538"/>
                      </a:lnTo>
                      <a:lnTo>
                        <a:pt x="162196" y="171538"/>
                      </a:lnTo>
                      <a:lnTo>
                        <a:pt x="94936" y="183575"/>
                      </a:lnTo>
                      <a:cubicBezTo>
                        <a:pt x="94936" y="183575"/>
                        <a:pt x="12191" y="148795"/>
                        <a:pt x="7472" y="143836"/>
                      </a:cubicBezTo>
                      <a:cubicBezTo>
                        <a:pt x="2754" y="138876"/>
                        <a:pt x="-1600" y="10404"/>
                        <a:pt x="577" y="6170"/>
                      </a:cubicBezTo>
                      <a:cubicBezTo>
                        <a:pt x="2754" y="1936"/>
                        <a:pt x="16183" y="0"/>
                        <a:pt x="16183" y="0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0" name="Freihandform: Form 379">
                  <a:extLst>
                    <a:ext uri="{FF2B5EF4-FFF2-40B4-BE49-F238E27FC236}">
                      <a16:creationId xmlns:a16="http://schemas.microsoft.com/office/drawing/2014/main" id="{D218713D-AD01-2505-F198-718128AA77C4}"/>
                    </a:ext>
                  </a:extLst>
                </p:cNvPr>
                <p:cNvSpPr/>
                <p:nvPr/>
              </p:nvSpPr>
              <p:spPr>
                <a:xfrm>
                  <a:off x="11431785" y="2402008"/>
                  <a:ext cx="233899" cy="653611"/>
                </a:xfrm>
                <a:custGeom>
                  <a:avLst/>
                  <a:gdLst>
                    <a:gd name="connsiteX0" fmla="*/ 217266 w 233899"/>
                    <a:gd name="connsiteY0" fmla="*/ 603287 h 653611"/>
                    <a:gd name="connsiteX1" fmla="*/ 217266 w 233899"/>
                    <a:gd name="connsiteY1" fmla="*/ 493082 h 653611"/>
                    <a:gd name="connsiteX2" fmla="*/ 124661 w 233899"/>
                    <a:gd name="connsiteY2" fmla="*/ 304607 h 653611"/>
                    <a:gd name="connsiteX3" fmla="*/ 80870 w 233899"/>
                    <a:gd name="connsiteY3" fmla="*/ 163191 h 653611"/>
                    <a:gd name="connsiteX4" fmla="*/ 56615 w 233899"/>
                    <a:gd name="connsiteY4" fmla="*/ 111778 h 653611"/>
                    <a:gd name="connsiteX5" fmla="*/ 74639 w 233899"/>
                    <a:gd name="connsiteY5" fmla="*/ 45848 h 653611"/>
                    <a:gd name="connsiteX6" fmla="*/ 160953 w 233899"/>
                    <a:gd name="connsiteY6" fmla="*/ 12097 h 653611"/>
                    <a:gd name="connsiteX7" fmla="*/ 160953 w 233899"/>
                    <a:gd name="connsiteY7" fmla="*/ 0 h 653611"/>
                    <a:gd name="connsiteX8" fmla="*/ 65627 w 233899"/>
                    <a:gd name="connsiteY8" fmla="*/ 37743 h 653611"/>
                    <a:gd name="connsiteX9" fmla="*/ 44518 w 233899"/>
                    <a:gd name="connsiteY9" fmla="*/ 113048 h 653611"/>
                    <a:gd name="connsiteX10" fmla="*/ 71192 w 233899"/>
                    <a:gd name="connsiteY10" fmla="*/ 170570 h 653611"/>
                    <a:gd name="connsiteX11" fmla="*/ 112443 w 233899"/>
                    <a:gd name="connsiteY11" fmla="*/ 304668 h 653611"/>
                    <a:gd name="connsiteX12" fmla="*/ 20021 w 233899"/>
                    <a:gd name="connsiteY12" fmla="*/ 493082 h 653611"/>
                    <a:gd name="connsiteX13" fmla="*/ 20021 w 233899"/>
                    <a:gd name="connsiteY13" fmla="*/ 602259 h 653611"/>
                    <a:gd name="connsiteX14" fmla="*/ 0 w 233899"/>
                    <a:gd name="connsiteY14" fmla="*/ 627542 h 653611"/>
                    <a:gd name="connsiteX15" fmla="*/ 26070 w 233899"/>
                    <a:gd name="connsiteY15" fmla="*/ 653611 h 653611"/>
                    <a:gd name="connsiteX16" fmla="*/ 52139 w 233899"/>
                    <a:gd name="connsiteY16" fmla="*/ 627542 h 653611"/>
                    <a:gd name="connsiteX17" fmla="*/ 32118 w 233899"/>
                    <a:gd name="connsiteY17" fmla="*/ 602259 h 653611"/>
                    <a:gd name="connsiteX18" fmla="*/ 32118 w 233899"/>
                    <a:gd name="connsiteY18" fmla="*/ 493082 h 653611"/>
                    <a:gd name="connsiteX19" fmla="*/ 118552 w 233899"/>
                    <a:gd name="connsiteY19" fmla="*/ 406647 h 653611"/>
                    <a:gd name="connsiteX20" fmla="*/ 204987 w 233899"/>
                    <a:gd name="connsiteY20" fmla="*/ 493082 h 653611"/>
                    <a:gd name="connsiteX21" fmla="*/ 204987 w 233899"/>
                    <a:gd name="connsiteY21" fmla="*/ 601775 h 653611"/>
                    <a:gd name="connsiteX22" fmla="*/ 181761 w 233899"/>
                    <a:gd name="connsiteY22" fmla="*/ 627542 h 653611"/>
                    <a:gd name="connsiteX23" fmla="*/ 207830 w 233899"/>
                    <a:gd name="connsiteY23" fmla="*/ 653611 h 653611"/>
                    <a:gd name="connsiteX24" fmla="*/ 233899 w 233899"/>
                    <a:gd name="connsiteY24" fmla="*/ 627542 h 653611"/>
                    <a:gd name="connsiteX25" fmla="*/ 217145 w 233899"/>
                    <a:gd name="connsiteY25" fmla="*/ 603287 h 653611"/>
                    <a:gd name="connsiteX26" fmla="*/ 118734 w 233899"/>
                    <a:gd name="connsiteY26" fmla="*/ 394550 h 653611"/>
                    <a:gd name="connsiteX27" fmla="*/ 43308 w 233899"/>
                    <a:gd name="connsiteY27" fmla="*/ 429813 h 653611"/>
                    <a:gd name="connsiteX28" fmla="*/ 118734 w 233899"/>
                    <a:gd name="connsiteY28" fmla="*/ 316221 h 653611"/>
                    <a:gd name="connsiteX29" fmla="*/ 194160 w 233899"/>
                    <a:gd name="connsiteY29" fmla="*/ 429813 h 653611"/>
                    <a:gd name="connsiteX30" fmla="*/ 118734 w 233899"/>
                    <a:gd name="connsiteY30" fmla="*/ 394550 h 6536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233899" h="653611">
                      <a:moveTo>
                        <a:pt x="217266" y="603287"/>
                      </a:moveTo>
                      <a:lnTo>
                        <a:pt x="217266" y="493082"/>
                      </a:lnTo>
                      <a:cubicBezTo>
                        <a:pt x="217266" y="447596"/>
                        <a:pt x="180127" y="313741"/>
                        <a:pt x="124661" y="304607"/>
                      </a:cubicBezTo>
                      <a:cubicBezTo>
                        <a:pt x="123634" y="218838"/>
                        <a:pt x="99983" y="187990"/>
                        <a:pt x="80870" y="163191"/>
                      </a:cubicBezTo>
                      <a:cubicBezTo>
                        <a:pt x="68712" y="147404"/>
                        <a:pt x="59095" y="134944"/>
                        <a:pt x="56615" y="111778"/>
                      </a:cubicBezTo>
                      <a:cubicBezTo>
                        <a:pt x="53712" y="84559"/>
                        <a:pt x="59821" y="62422"/>
                        <a:pt x="74639" y="45848"/>
                      </a:cubicBezTo>
                      <a:cubicBezTo>
                        <a:pt x="104459" y="12581"/>
                        <a:pt x="160409" y="12097"/>
                        <a:pt x="160953" y="12097"/>
                      </a:cubicBezTo>
                      <a:lnTo>
                        <a:pt x="160953" y="0"/>
                      </a:lnTo>
                      <a:cubicBezTo>
                        <a:pt x="158413" y="0"/>
                        <a:pt x="99137" y="484"/>
                        <a:pt x="65627" y="37743"/>
                      </a:cubicBezTo>
                      <a:cubicBezTo>
                        <a:pt x="48389" y="56978"/>
                        <a:pt x="41252" y="82321"/>
                        <a:pt x="44518" y="113048"/>
                      </a:cubicBezTo>
                      <a:cubicBezTo>
                        <a:pt x="47360" y="139662"/>
                        <a:pt x="58913" y="154663"/>
                        <a:pt x="71192" y="170570"/>
                      </a:cubicBezTo>
                      <a:cubicBezTo>
                        <a:pt x="90124" y="195128"/>
                        <a:pt x="111536" y="223072"/>
                        <a:pt x="112443" y="304668"/>
                      </a:cubicBezTo>
                      <a:cubicBezTo>
                        <a:pt x="57099" y="314043"/>
                        <a:pt x="20021" y="447657"/>
                        <a:pt x="20021" y="493082"/>
                      </a:cubicBezTo>
                      <a:lnTo>
                        <a:pt x="20021" y="602259"/>
                      </a:lnTo>
                      <a:cubicBezTo>
                        <a:pt x="8589" y="604981"/>
                        <a:pt x="0" y="615263"/>
                        <a:pt x="0" y="627542"/>
                      </a:cubicBezTo>
                      <a:cubicBezTo>
                        <a:pt x="0" y="641938"/>
                        <a:pt x="11674" y="653611"/>
                        <a:pt x="26070" y="653611"/>
                      </a:cubicBezTo>
                      <a:cubicBezTo>
                        <a:pt x="40465" y="653611"/>
                        <a:pt x="52139" y="641938"/>
                        <a:pt x="52139" y="627542"/>
                      </a:cubicBezTo>
                      <a:cubicBezTo>
                        <a:pt x="52139" y="615263"/>
                        <a:pt x="43610" y="604981"/>
                        <a:pt x="32118" y="602259"/>
                      </a:cubicBezTo>
                      <a:lnTo>
                        <a:pt x="32118" y="493082"/>
                      </a:lnTo>
                      <a:cubicBezTo>
                        <a:pt x="32118" y="445419"/>
                        <a:pt x="70889" y="406647"/>
                        <a:pt x="118552" y="406647"/>
                      </a:cubicBezTo>
                      <a:cubicBezTo>
                        <a:pt x="166215" y="406647"/>
                        <a:pt x="204987" y="445419"/>
                        <a:pt x="204987" y="493082"/>
                      </a:cubicBezTo>
                      <a:lnTo>
                        <a:pt x="204987" y="601775"/>
                      </a:lnTo>
                      <a:cubicBezTo>
                        <a:pt x="191922" y="603166"/>
                        <a:pt x="181761" y="614114"/>
                        <a:pt x="181761" y="627542"/>
                      </a:cubicBezTo>
                      <a:cubicBezTo>
                        <a:pt x="181761" y="641938"/>
                        <a:pt x="193434" y="653611"/>
                        <a:pt x="207830" y="653611"/>
                      </a:cubicBezTo>
                      <a:cubicBezTo>
                        <a:pt x="222225" y="653611"/>
                        <a:pt x="233899" y="641938"/>
                        <a:pt x="233899" y="627542"/>
                      </a:cubicBezTo>
                      <a:cubicBezTo>
                        <a:pt x="233899" y="616412"/>
                        <a:pt x="226943" y="607037"/>
                        <a:pt x="217145" y="603287"/>
                      </a:cubicBezTo>
                      <a:close/>
                      <a:moveTo>
                        <a:pt x="118734" y="394550"/>
                      </a:moveTo>
                      <a:cubicBezTo>
                        <a:pt x="88491" y="394550"/>
                        <a:pt x="61393" y="408280"/>
                        <a:pt x="43308" y="429813"/>
                      </a:cubicBezTo>
                      <a:cubicBezTo>
                        <a:pt x="58490" y="376162"/>
                        <a:pt x="87644" y="316221"/>
                        <a:pt x="118734" y="316221"/>
                      </a:cubicBezTo>
                      <a:cubicBezTo>
                        <a:pt x="149824" y="316221"/>
                        <a:pt x="178978" y="376223"/>
                        <a:pt x="194160" y="429813"/>
                      </a:cubicBezTo>
                      <a:cubicBezTo>
                        <a:pt x="176075" y="408280"/>
                        <a:pt x="148977" y="394550"/>
                        <a:pt x="118734" y="394550"/>
                      </a:cubicBezTo>
                      <a:close/>
                    </a:path>
                  </a:pathLst>
                </a:custGeom>
                <a:solidFill>
                  <a:srgbClr val="F19E6A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1" name="Freihandform: Form 380">
                  <a:extLst>
                    <a:ext uri="{FF2B5EF4-FFF2-40B4-BE49-F238E27FC236}">
                      <a16:creationId xmlns:a16="http://schemas.microsoft.com/office/drawing/2014/main" id="{1F84D538-B7EF-065C-87EB-6F3B096FD5D2}"/>
                    </a:ext>
                  </a:extLst>
                </p:cNvPr>
                <p:cNvSpPr/>
                <p:nvPr/>
              </p:nvSpPr>
              <p:spPr>
                <a:xfrm>
                  <a:off x="11738570" y="2401947"/>
                  <a:ext cx="135445" cy="330434"/>
                </a:xfrm>
                <a:custGeom>
                  <a:avLst/>
                  <a:gdLst>
                    <a:gd name="connsiteX0" fmla="*/ 135428 w 135445"/>
                    <a:gd name="connsiteY0" fmla="*/ 85830 h 330434"/>
                    <a:gd name="connsiteX1" fmla="*/ 113653 w 135445"/>
                    <a:gd name="connsiteY1" fmla="*/ 27158 h 330434"/>
                    <a:gd name="connsiteX2" fmla="*/ 38651 w 135445"/>
                    <a:gd name="connsiteY2" fmla="*/ 0 h 330434"/>
                    <a:gd name="connsiteX3" fmla="*/ 38651 w 135445"/>
                    <a:gd name="connsiteY3" fmla="*/ 12097 h 330434"/>
                    <a:gd name="connsiteX4" fmla="*/ 105004 w 135445"/>
                    <a:gd name="connsiteY4" fmla="*/ 35626 h 330434"/>
                    <a:gd name="connsiteX5" fmla="*/ 123270 w 135445"/>
                    <a:gd name="connsiteY5" fmla="*/ 85588 h 330434"/>
                    <a:gd name="connsiteX6" fmla="*/ 87463 w 135445"/>
                    <a:gd name="connsiteY6" fmla="*/ 150671 h 330434"/>
                    <a:gd name="connsiteX7" fmla="*/ 37623 w 135445"/>
                    <a:gd name="connsiteY7" fmla="*/ 252045 h 330434"/>
                    <a:gd name="connsiteX8" fmla="*/ 0 w 135445"/>
                    <a:gd name="connsiteY8" fmla="*/ 291179 h 330434"/>
                    <a:gd name="connsiteX9" fmla="*/ 39255 w 135445"/>
                    <a:gd name="connsiteY9" fmla="*/ 330435 h 330434"/>
                    <a:gd name="connsiteX10" fmla="*/ 78511 w 135445"/>
                    <a:gd name="connsiteY10" fmla="*/ 291179 h 330434"/>
                    <a:gd name="connsiteX11" fmla="*/ 49720 w 135445"/>
                    <a:gd name="connsiteY11" fmla="*/ 253376 h 330434"/>
                    <a:gd name="connsiteX12" fmla="*/ 96173 w 135445"/>
                    <a:gd name="connsiteY12" fmla="*/ 159078 h 330434"/>
                    <a:gd name="connsiteX13" fmla="*/ 135428 w 135445"/>
                    <a:gd name="connsiteY13" fmla="*/ 85769 h 330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35445" h="330434">
                      <a:moveTo>
                        <a:pt x="135428" y="85830"/>
                      </a:moveTo>
                      <a:cubicBezTo>
                        <a:pt x="135852" y="62422"/>
                        <a:pt x="128352" y="42098"/>
                        <a:pt x="113653" y="27158"/>
                      </a:cubicBezTo>
                      <a:cubicBezTo>
                        <a:pt x="96476" y="9617"/>
                        <a:pt x="69862" y="0"/>
                        <a:pt x="38651" y="0"/>
                      </a:cubicBezTo>
                      <a:lnTo>
                        <a:pt x="38651" y="12097"/>
                      </a:lnTo>
                      <a:cubicBezTo>
                        <a:pt x="66535" y="12097"/>
                        <a:pt x="90124" y="20444"/>
                        <a:pt x="105004" y="35626"/>
                      </a:cubicBezTo>
                      <a:cubicBezTo>
                        <a:pt x="117525" y="48389"/>
                        <a:pt x="123694" y="65204"/>
                        <a:pt x="123270" y="85588"/>
                      </a:cubicBezTo>
                      <a:cubicBezTo>
                        <a:pt x="122726" y="114500"/>
                        <a:pt x="106395" y="131255"/>
                        <a:pt x="87463" y="150671"/>
                      </a:cubicBezTo>
                      <a:cubicBezTo>
                        <a:pt x="64720" y="174079"/>
                        <a:pt x="39376" y="200209"/>
                        <a:pt x="37623" y="252045"/>
                      </a:cubicBezTo>
                      <a:cubicBezTo>
                        <a:pt x="16694" y="252892"/>
                        <a:pt x="0" y="270070"/>
                        <a:pt x="0" y="291179"/>
                      </a:cubicBezTo>
                      <a:cubicBezTo>
                        <a:pt x="0" y="312289"/>
                        <a:pt x="17541" y="330435"/>
                        <a:pt x="39255" y="330435"/>
                      </a:cubicBezTo>
                      <a:cubicBezTo>
                        <a:pt x="60970" y="330435"/>
                        <a:pt x="78511" y="312894"/>
                        <a:pt x="78511" y="291179"/>
                      </a:cubicBezTo>
                      <a:cubicBezTo>
                        <a:pt x="78511" y="273155"/>
                        <a:pt x="66293" y="257973"/>
                        <a:pt x="49720" y="253376"/>
                      </a:cubicBezTo>
                      <a:cubicBezTo>
                        <a:pt x="51051" y="205531"/>
                        <a:pt x="73914" y="181942"/>
                        <a:pt x="96173" y="159078"/>
                      </a:cubicBezTo>
                      <a:cubicBezTo>
                        <a:pt x="116012" y="138694"/>
                        <a:pt x="134763" y="119460"/>
                        <a:pt x="135428" y="85769"/>
                      </a:cubicBezTo>
                      <a:close/>
                    </a:path>
                  </a:pathLst>
                </a:custGeom>
                <a:solidFill>
                  <a:srgbClr val="F19E6A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382" name="Grafik 297">
                  <a:extLst>
                    <a:ext uri="{FF2B5EF4-FFF2-40B4-BE49-F238E27FC236}">
                      <a16:creationId xmlns:a16="http://schemas.microsoft.com/office/drawing/2014/main" id="{E24B9011-1E06-73EB-4362-F5C6A731AB05}"/>
                    </a:ext>
                  </a:extLst>
                </p:cNvPr>
                <p:cNvGrpSpPr/>
                <p:nvPr/>
              </p:nvGrpSpPr>
              <p:grpSpPr>
                <a:xfrm>
                  <a:off x="11163281" y="3555052"/>
                  <a:ext cx="144145" cy="337753"/>
                  <a:chOff x="11163281" y="3555052"/>
                  <a:chExt cx="144145" cy="337753"/>
                </a:xfrm>
                <a:solidFill>
                  <a:srgbClr val="02787D"/>
                </a:solidFill>
              </p:grpSpPr>
              <p:grpSp>
                <p:nvGrpSpPr>
                  <p:cNvPr id="383" name="Grafik 297">
                    <a:extLst>
                      <a:ext uri="{FF2B5EF4-FFF2-40B4-BE49-F238E27FC236}">
                        <a16:creationId xmlns:a16="http://schemas.microsoft.com/office/drawing/2014/main" id="{949BB993-C474-118C-242F-1F10AF94CCF8}"/>
                      </a:ext>
                    </a:extLst>
                  </p:cNvPr>
                  <p:cNvGrpSpPr/>
                  <p:nvPr/>
                </p:nvGrpSpPr>
                <p:grpSpPr>
                  <a:xfrm>
                    <a:off x="11183347" y="3766601"/>
                    <a:ext cx="67615" cy="68318"/>
                    <a:chOff x="11183347" y="3766601"/>
                    <a:chExt cx="67615" cy="68318"/>
                  </a:xfrm>
                  <a:solidFill>
                    <a:srgbClr val="02787D"/>
                  </a:solidFill>
                </p:grpSpPr>
                <p:sp>
                  <p:nvSpPr>
                    <p:cNvPr id="384" name="Freihandform: Form 383">
                      <a:extLst>
                        <a:ext uri="{FF2B5EF4-FFF2-40B4-BE49-F238E27FC236}">
                          <a16:creationId xmlns:a16="http://schemas.microsoft.com/office/drawing/2014/main" id="{8F95C7A7-FC6E-8AFA-979E-5C68F7F7945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4392" y="3786015"/>
                      <a:ext cx="36570" cy="48905"/>
                    </a:xfrm>
                    <a:custGeom>
                      <a:avLst/>
                      <a:gdLst>
                        <a:gd name="connsiteX0" fmla="*/ 33515 w 36570"/>
                        <a:gd name="connsiteY0" fmla="*/ 48845 h 48905"/>
                        <a:gd name="connsiteX1" fmla="*/ 10652 w 36570"/>
                        <a:gd name="connsiteY1" fmla="*/ 34207 h 48905"/>
                        <a:gd name="connsiteX2" fmla="*/ 853 w 36570"/>
                        <a:gd name="connsiteY2" fmla="*/ 6262 h 48905"/>
                        <a:gd name="connsiteX3" fmla="*/ 3272 w 36570"/>
                        <a:gd name="connsiteY3" fmla="*/ 32 h 48905"/>
                        <a:gd name="connsiteX4" fmla="*/ 28193 w 36570"/>
                        <a:gd name="connsiteY4" fmla="*/ 22231 h 48905"/>
                        <a:gd name="connsiteX5" fmla="*/ 33515 w 36570"/>
                        <a:gd name="connsiteY5" fmla="*/ 48905 h 48905"/>
                        <a:gd name="connsiteX6" fmla="*/ 33515 w 36570"/>
                        <a:gd name="connsiteY6" fmla="*/ 48905 h 4890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6570" h="48905">
                          <a:moveTo>
                            <a:pt x="33515" y="48845"/>
                          </a:moveTo>
                          <a:lnTo>
                            <a:pt x="10652" y="34207"/>
                          </a:lnTo>
                          <a:cubicBezTo>
                            <a:pt x="2063" y="28521"/>
                            <a:pt x="-1869" y="18299"/>
                            <a:pt x="853" y="6262"/>
                          </a:cubicBezTo>
                          <a:cubicBezTo>
                            <a:pt x="1700" y="2391"/>
                            <a:pt x="2607" y="-330"/>
                            <a:pt x="3272" y="32"/>
                          </a:cubicBezTo>
                          <a:cubicBezTo>
                            <a:pt x="4604" y="758"/>
                            <a:pt x="15249" y="10194"/>
                            <a:pt x="28193" y="22231"/>
                          </a:cubicBezTo>
                          <a:cubicBezTo>
                            <a:pt x="36359" y="29852"/>
                            <a:pt x="39383" y="36747"/>
                            <a:pt x="33515" y="48905"/>
                          </a:cubicBezTo>
                          <a:lnTo>
                            <a:pt x="33515" y="48905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5" name="Freihandform: Form 384">
                      <a:extLst>
                        <a:ext uri="{FF2B5EF4-FFF2-40B4-BE49-F238E27FC236}">
                          <a16:creationId xmlns:a16="http://schemas.microsoft.com/office/drawing/2014/main" id="{9BCAB8A0-B051-A487-A47F-9E98F8164B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83347" y="3766601"/>
                      <a:ext cx="47654" cy="53620"/>
                    </a:xfrm>
                    <a:custGeom>
                      <a:avLst/>
                      <a:gdLst>
                        <a:gd name="connsiteX0" fmla="*/ 41698 w 47654"/>
                        <a:gd name="connsiteY0" fmla="*/ 53621 h 53620"/>
                        <a:gd name="connsiteX1" fmla="*/ 6797 w 47654"/>
                        <a:gd name="connsiteY1" fmla="*/ 29426 h 53620"/>
                        <a:gd name="connsiteX2" fmla="*/ 23 w 47654"/>
                        <a:gd name="connsiteY2" fmla="*/ 22047 h 53620"/>
                        <a:gd name="connsiteX3" fmla="*/ 22946 w 47654"/>
                        <a:gd name="connsiteY3" fmla="*/ 91 h 53620"/>
                        <a:gd name="connsiteX4" fmla="*/ 42302 w 47654"/>
                        <a:gd name="connsiteY4" fmla="*/ 25797 h 53620"/>
                        <a:gd name="connsiteX5" fmla="*/ 41698 w 47654"/>
                        <a:gd name="connsiteY5" fmla="*/ 53621 h 53620"/>
                        <a:gd name="connsiteX6" fmla="*/ 41698 w 47654"/>
                        <a:gd name="connsiteY6" fmla="*/ 53621 h 536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7654" h="53620">
                          <a:moveTo>
                            <a:pt x="41698" y="53621"/>
                          </a:moveTo>
                          <a:lnTo>
                            <a:pt x="6797" y="29426"/>
                          </a:lnTo>
                          <a:cubicBezTo>
                            <a:pt x="2563" y="26221"/>
                            <a:pt x="1111" y="23741"/>
                            <a:pt x="23" y="22047"/>
                          </a:cubicBezTo>
                          <a:cubicBezTo>
                            <a:pt x="-643" y="9950"/>
                            <a:pt x="13511" y="-1119"/>
                            <a:pt x="22946" y="91"/>
                          </a:cubicBezTo>
                          <a:lnTo>
                            <a:pt x="42302" y="25797"/>
                          </a:lnTo>
                          <a:cubicBezTo>
                            <a:pt x="50286" y="32814"/>
                            <a:pt x="48713" y="42310"/>
                            <a:pt x="41698" y="53621"/>
                          </a:cubicBezTo>
                          <a:lnTo>
                            <a:pt x="41698" y="53621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386" name="Grafik 297">
                    <a:extLst>
                      <a:ext uri="{FF2B5EF4-FFF2-40B4-BE49-F238E27FC236}">
                        <a16:creationId xmlns:a16="http://schemas.microsoft.com/office/drawing/2014/main" id="{85869E3B-BC14-F485-A352-B531AA9E4850}"/>
                      </a:ext>
                    </a:extLst>
                  </p:cNvPr>
                  <p:cNvGrpSpPr/>
                  <p:nvPr/>
                </p:nvGrpSpPr>
                <p:grpSpPr>
                  <a:xfrm>
                    <a:off x="11163288" y="3738619"/>
                    <a:ext cx="90846" cy="132471"/>
                    <a:chOff x="11163288" y="3738619"/>
                    <a:chExt cx="90846" cy="132471"/>
                  </a:xfrm>
                  <a:solidFill>
                    <a:srgbClr val="02787D"/>
                  </a:solidFill>
                </p:grpSpPr>
                <p:sp>
                  <p:nvSpPr>
                    <p:cNvPr id="387" name="Freihandform: Form 386">
                      <a:extLst>
                        <a:ext uri="{FF2B5EF4-FFF2-40B4-BE49-F238E27FC236}">
                          <a16:creationId xmlns:a16="http://schemas.microsoft.com/office/drawing/2014/main" id="{D6ADD04E-939E-1B28-A0D7-F97E333041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0554" y="3808727"/>
                      <a:ext cx="43580" cy="62363"/>
                    </a:xfrm>
                    <a:custGeom>
                      <a:avLst/>
                      <a:gdLst>
                        <a:gd name="connsiteX0" fmla="*/ 39895 w 43580"/>
                        <a:gd name="connsiteY0" fmla="*/ 62364 h 62363"/>
                        <a:gd name="connsiteX1" fmla="*/ 12615 w 43580"/>
                        <a:gd name="connsiteY1" fmla="*/ 41194 h 62363"/>
                        <a:gd name="connsiteX2" fmla="*/ 1062 w 43580"/>
                        <a:gd name="connsiteY2" fmla="*/ 6898 h 62363"/>
                        <a:gd name="connsiteX3" fmla="*/ 3966 w 43580"/>
                        <a:gd name="connsiteY3" fmla="*/ 63 h 62363"/>
                        <a:gd name="connsiteX4" fmla="*/ 33664 w 43580"/>
                        <a:gd name="connsiteY4" fmla="*/ 30367 h 62363"/>
                        <a:gd name="connsiteX5" fmla="*/ 39895 w 43580"/>
                        <a:gd name="connsiteY5" fmla="*/ 62364 h 62363"/>
                        <a:gd name="connsiteX6" fmla="*/ 39895 w 43580"/>
                        <a:gd name="connsiteY6" fmla="*/ 62364 h 6236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3580" h="62363">
                          <a:moveTo>
                            <a:pt x="39895" y="62364"/>
                          </a:moveTo>
                          <a:lnTo>
                            <a:pt x="12615" y="41194"/>
                          </a:lnTo>
                          <a:cubicBezTo>
                            <a:pt x="2394" y="32968"/>
                            <a:pt x="-2264" y="20447"/>
                            <a:pt x="1062" y="6898"/>
                          </a:cubicBezTo>
                          <a:cubicBezTo>
                            <a:pt x="2151" y="2543"/>
                            <a:pt x="3179" y="-481"/>
                            <a:pt x="3966" y="63"/>
                          </a:cubicBezTo>
                          <a:cubicBezTo>
                            <a:pt x="5538" y="1152"/>
                            <a:pt x="18241" y="14036"/>
                            <a:pt x="33664" y="30367"/>
                          </a:cubicBezTo>
                          <a:cubicBezTo>
                            <a:pt x="43403" y="40710"/>
                            <a:pt x="46911" y="49238"/>
                            <a:pt x="39895" y="62364"/>
                          </a:cubicBezTo>
                          <a:lnTo>
                            <a:pt x="39895" y="62364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8" name="Freihandform: Form 387">
                      <a:extLst>
                        <a:ext uri="{FF2B5EF4-FFF2-40B4-BE49-F238E27FC236}">
                          <a16:creationId xmlns:a16="http://schemas.microsoft.com/office/drawing/2014/main" id="{DA6422EE-E5C8-F6DE-E089-3DB1D29B89F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72474" y="3771894"/>
                      <a:ext cx="58537" cy="78389"/>
                    </a:xfrm>
                    <a:custGeom>
                      <a:avLst/>
                      <a:gdLst>
                        <a:gd name="connsiteX0" fmla="*/ 51360 w 58537"/>
                        <a:gd name="connsiteY0" fmla="*/ 78390 h 78389"/>
                        <a:gd name="connsiteX1" fmla="*/ 9807 w 58537"/>
                        <a:gd name="connsiteY1" fmla="*/ 45425 h 78389"/>
                        <a:gd name="connsiteX2" fmla="*/ 8415 w 58537"/>
                        <a:gd name="connsiteY2" fmla="*/ 3085 h 78389"/>
                        <a:gd name="connsiteX3" fmla="*/ 13557 w 58537"/>
                        <a:gd name="connsiteY3" fmla="*/ 0 h 78389"/>
                        <a:gd name="connsiteX4" fmla="*/ 52207 w 58537"/>
                        <a:gd name="connsiteY4" fmla="*/ 46030 h 78389"/>
                        <a:gd name="connsiteX5" fmla="*/ 51360 w 58537"/>
                        <a:gd name="connsiteY5" fmla="*/ 78329 h 78389"/>
                        <a:gd name="connsiteX6" fmla="*/ 51360 w 58537"/>
                        <a:gd name="connsiteY6" fmla="*/ 78329 h 7838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58537" h="78389">
                          <a:moveTo>
                            <a:pt x="51360" y="78390"/>
                          </a:moveTo>
                          <a:lnTo>
                            <a:pt x="9807" y="45425"/>
                          </a:lnTo>
                          <a:cubicBezTo>
                            <a:pt x="-2714" y="35324"/>
                            <a:pt x="-3319" y="15968"/>
                            <a:pt x="8415" y="3085"/>
                          </a:cubicBezTo>
                          <a:lnTo>
                            <a:pt x="13557" y="0"/>
                          </a:lnTo>
                          <a:lnTo>
                            <a:pt x="52207" y="46030"/>
                          </a:lnTo>
                          <a:cubicBezTo>
                            <a:pt x="61703" y="55587"/>
                            <a:pt x="59768" y="66414"/>
                            <a:pt x="51360" y="78329"/>
                          </a:cubicBezTo>
                          <a:lnTo>
                            <a:pt x="51360" y="78329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9" name="Freihandform: Form 388">
                      <a:extLst>
                        <a:ext uri="{FF2B5EF4-FFF2-40B4-BE49-F238E27FC236}">
                          <a16:creationId xmlns:a16="http://schemas.microsoft.com/office/drawing/2014/main" id="{2E7D34B8-A241-B499-4A1F-606EE74880D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63288" y="3738619"/>
                      <a:ext cx="39981" cy="70534"/>
                    </a:xfrm>
                    <a:custGeom>
                      <a:avLst/>
                      <a:gdLst>
                        <a:gd name="connsiteX0" fmla="*/ 61 w 39981"/>
                        <a:gd name="connsiteY0" fmla="*/ 7508 h 70534"/>
                        <a:gd name="connsiteX1" fmla="*/ 9133 w 39981"/>
                        <a:gd name="connsiteY1" fmla="*/ 63881 h 70534"/>
                        <a:gd name="connsiteX2" fmla="*/ 12400 w 39981"/>
                        <a:gd name="connsiteY2" fmla="*/ 70534 h 70534"/>
                        <a:gd name="connsiteX3" fmla="*/ 39679 w 39981"/>
                        <a:gd name="connsiteY3" fmla="*/ 39444 h 70534"/>
                        <a:gd name="connsiteX4" fmla="*/ 39981 w 39981"/>
                        <a:gd name="connsiteY4" fmla="*/ 8718 h 70534"/>
                        <a:gd name="connsiteX5" fmla="*/ 0 w 39981"/>
                        <a:gd name="connsiteY5" fmla="*/ 7447 h 705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39981" h="70534">
                          <a:moveTo>
                            <a:pt x="61" y="7508"/>
                          </a:moveTo>
                          <a:cubicBezTo>
                            <a:pt x="1633" y="19121"/>
                            <a:pt x="9133" y="63881"/>
                            <a:pt x="9133" y="63881"/>
                          </a:cubicBezTo>
                          <a:lnTo>
                            <a:pt x="12400" y="70534"/>
                          </a:lnTo>
                          <a:cubicBezTo>
                            <a:pt x="28912" y="68417"/>
                            <a:pt x="39860" y="54808"/>
                            <a:pt x="39679" y="39444"/>
                          </a:cubicBezTo>
                          <a:lnTo>
                            <a:pt x="39981" y="8718"/>
                          </a:lnTo>
                          <a:cubicBezTo>
                            <a:pt x="34175" y="-1142"/>
                            <a:pt x="3871" y="-4045"/>
                            <a:pt x="0" y="7447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390" name="Grafik 297">
                    <a:extLst>
                      <a:ext uri="{FF2B5EF4-FFF2-40B4-BE49-F238E27FC236}">
                        <a16:creationId xmlns:a16="http://schemas.microsoft.com/office/drawing/2014/main" id="{8E7C9462-4069-2F43-80E7-C996721EF8CA}"/>
                      </a:ext>
                    </a:extLst>
                  </p:cNvPr>
                  <p:cNvGrpSpPr/>
                  <p:nvPr/>
                </p:nvGrpSpPr>
                <p:grpSpPr>
                  <a:xfrm>
                    <a:off x="11175204" y="3729413"/>
                    <a:ext cx="72144" cy="163391"/>
                    <a:chOff x="11175204" y="3729413"/>
                    <a:chExt cx="72144" cy="163391"/>
                  </a:xfrm>
                  <a:solidFill>
                    <a:srgbClr val="02787D"/>
                  </a:solidFill>
                </p:grpSpPr>
                <p:sp>
                  <p:nvSpPr>
                    <p:cNvPr id="391" name="Freihandform: Form 390">
                      <a:extLst>
                        <a:ext uri="{FF2B5EF4-FFF2-40B4-BE49-F238E27FC236}">
                          <a16:creationId xmlns:a16="http://schemas.microsoft.com/office/drawing/2014/main" id="{BE813FF5-AFD8-334E-2F2C-7858B9A3C1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2650" y="3814241"/>
                      <a:ext cx="34698" cy="78564"/>
                    </a:xfrm>
                    <a:custGeom>
                      <a:avLst/>
                      <a:gdLst>
                        <a:gd name="connsiteX0" fmla="*/ 24310 w 34698"/>
                        <a:gd name="connsiteY0" fmla="*/ 78504 h 78564"/>
                        <a:gd name="connsiteX1" fmla="*/ 5015 w 34698"/>
                        <a:gd name="connsiteY1" fmla="*/ 45781 h 78564"/>
                        <a:gd name="connsiteX2" fmla="*/ 7072 w 34698"/>
                        <a:gd name="connsiteY2" fmla="*/ 5982 h 78564"/>
                        <a:gd name="connsiteX3" fmla="*/ 12818 w 34698"/>
                        <a:gd name="connsiteY3" fmla="*/ 175 h 78564"/>
                        <a:gd name="connsiteX4" fmla="*/ 30903 w 34698"/>
                        <a:gd name="connsiteY4" fmla="*/ 43241 h 78564"/>
                        <a:gd name="connsiteX5" fmla="*/ 24310 w 34698"/>
                        <a:gd name="connsiteY5" fmla="*/ 78565 h 78564"/>
                        <a:gd name="connsiteX6" fmla="*/ 24310 w 34698"/>
                        <a:gd name="connsiteY6" fmla="*/ 78565 h 785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4698" h="78564">
                          <a:moveTo>
                            <a:pt x="24310" y="78504"/>
                          </a:moveTo>
                          <a:lnTo>
                            <a:pt x="5015" y="45781"/>
                          </a:lnTo>
                          <a:cubicBezTo>
                            <a:pt x="-2122" y="33261"/>
                            <a:pt x="-1820" y="18502"/>
                            <a:pt x="7072" y="5982"/>
                          </a:cubicBezTo>
                          <a:cubicBezTo>
                            <a:pt x="9915" y="1990"/>
                            <a:pt x="12213" y="-732"/>
                            <a:pt x="12818" y="175"/>
                          </a:cubicBezTo>
                          <a:cubicBezTo>
                            <a:pt x="13967" y="1929"/>
                            <a:pt x="21770" y="20256"/>
                            <a:pt x="30903" y="43241"/>
                          </a:cubicBezTo>
                          <a:cubicBezTo>
                            <a:pt x="36710" y="57758"/>
                            <a:pt x="36831" y="67919"/>
                            <a:pt x="24310" y="78565"/>
                          </a:cubicBezTo>
                          <a:lnTo>
                            <a:pt x="24310" y="78565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92" name="Freihandform: Form 391">
                      <a:extLst>
                        <a:ext uri="{FF2B5EF4-FFF2-40B4-BE49-F238E27FC236}">
                          <a16:creationId xmlns:a16="http://schemas.microsoft.com/office/drawing/2014/main" id="{AD238B6D-DC67-C8DD-ED23-55CA3FC2044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86914" y="3784717"/>
                      <a:ext cx="48550" cy="77543"/>
                    </a:xfrm>
                    <a:custGeom>
                      <a:avLst/>
                      <a:gdLst>
                        <a:gd name="connsiteX0" fmla="*/ 32082 w 48550"/>
                        <a:gd name="connsiteY0" fmla="*/ 77543 h 77543"/>
                        <a:gd name="connsiteX1" fmla="*/ 3169 w 48550"/>
                        <a:gd name="connsiteY1" fmla="*/ 26614 h 77543"/>
                        <a:gd name="connsiteX2" fmla="*/ 24097 w 48550"/>
                        <a:gd name="connsiteY2" fmla="*/ 1573 h 77543"/>
                        <a:gd name="connsiteX3" fmla="*/ 26577 w 48550"/>
                        <a:gd name="connsiteY3" fmla="*/ 0 h 77543"/>
                        <a:gd name="connsiteX4" fmla="*/ 46296 w 48550"/>
                        <a:gd name="connsiteY4" fmla="*/ 44457 h 77543"/>
                        <a:gd name="connsiteX5" fmla="*/ 32928 w 48550"/>
                        <a:gd name="connsiteY5" fmla="*/ 76938 h 77543"/>
                        <a:gd name="connsiteX6" fmla="*/ 32021 w 48550"/>
                        <a:gd name="connsiteY6" fmla="*/ 77543 h 7754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8550" h="77543">
                          <a:moveTo>
                            <a:pt x="32082" y="77543"/>
                          </a:moveTo>
                          <a:lnTo>
                            <a:pt x="3169" y="26614"/>
                          </a:lnTo>
                          <a:cubicBezTo>
                            <a:pt x="-5541" y="11190"/>
                            <a:pt x="4439" y="4476"/>
                            <a:pt x="24097" y="1573"/>
                          </a:cubicBezTo>
                          <a:lnTo>
                            <a:pt x="26577" y="0"/>
                          </a:lnTo>
                          <a:lnTo>
                            <a:pt x="46296" y="44457"/>
                          </a:lnTo>
                          <a:cubicBezTo>
                            <a:pt x="52102" y="58127"/>
                            <a:pt x="46356" y="68107"/>
                            <a:pt x="32928" y="76938"/>
                          </a:cubicBezTo>
                          <a:lnTo>
                            <a:pt x="32021" y="77543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93" name="Freihandform: Form 392">
                      <a:extLst>
                        <a:ext uri="{FF2B5EF4-FFF2-40B4-BE49-F238E27FC236}">
                          <a16:creationId xmlns:a16="http://schemas.microsoft.com/office/drawing/2014/main" id="{A3DAE052-1E03-8EB4-2CC0-E4F22E1C3CD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75204" y="3729413"/>
                      <a:ext cx="39679" cy="76473"/>
                    </a:xfrm>
                    <a:custGeom>
                      <a:avLst/>
                      <a:gdLst>
                        <a:gd name="connsiteX0" fmla="*/ 0 w 39679"/>
                        <a:gd name="connsiteY0" fmla="*/ 10000 h 76473"/>
                        <a:gd name="connsiteX1" fmla="*/ 12642 w 39679"/>
                        <a:gd name="connsiteY1" fmla="*/ 76474 h 76473"/>
                        <a:gd name="connsiteX2" fmla="*/ 39376 w 39679"/>
                        <a:gd name="connsiteY2" fmla="*/ 55908 h 76473"/>
                        <a:gd name="connsiteX3" fmla="*/ 39679 w 39679"/>
                        <a:gd name="connsiteY3" fmla="*/ 7762 h 76473"/>
                        <a:gd name="connsiteX4" fmla="*/ 0 w 39679"/>
                        <a:gd name="connsiteY4" fmla="*/ 9939 h 764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9679" h="76473">
                          <a:moveTo>
                            <a:pt x="0" y="10000"/>
                          </a:moveTo>
                          <a:cubicBezTo>
                            <a:pt x="0" y="11209"/>
                            <a:pt x="12642" y="76474"/>
                            <a:pt x="12642" y="76474"/>
                          </a:cubicBezTo>
                          <a:cubicBezTo>
                            <a:pt x="30848" y="74236"/>
                            <a:pt x="39376" y="72844"/>
                            <a:pt x="39376" y="55908"/>
                          </a:cubicBezTo>
                          <a:lnTo>
                            <a:pt x="39679" y="7762"/>
                          </a:lnTo>
                          <a:cubicBezTo>
                            <a:pt x="33388" y="-3126"/>
                            <a:pt x="4356" y="-2702"/>
                            <a:pt x="0" y="9939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394" name="Grafik 297">
                    <a:extLst>
                      <a:ext uri="{FF2B5EF4-FFF2-40B4-BE49-F238E27FC236}">
                        <a16:creationId xmlns:a16="http://schemas.microsoft.com/office/drawing/2014/main" id="{B189E286-C055-C728-1160-CC2F98FB753E}"/>
                      </a:ext>
                    </a:extLst>
                  </p:cNvPr>
                  <p:cNvGrpSpPr/>
                  <p:nvPr/>
                </p:nvGrpSpPr>
                <p:grpSpPr>
                  <a:xfrm>
                    <a:off x="11188390" y="3736015"/>
                    <a:ext cx="61520" cy="156366"/>
                    <a:chOff x="11188390" y="3736015"/>
                    <a:chExt cx="61520" cy="156366"/>
                  </a:xfrm>
                  <a:solidFill>
                    <a:srgbClr val="02787D"/>
                  </a:solidFill>
                </p:grpSpPr>
                <p:sp>
                  <p:nvSpPr>
                    <p:cNvPr id="395" name="Freihandform: Form 394">
                      <a:extLst>
                        <a:ext uri="{FF2B5EF4-FFF2-40B4-BE49-F238E27FC236}">
                          <a16:creationId xmlns:a16="http://schemas.microsoft.com/office/drawing/2014/main" id="{B886DB75-5241-81E7-82D9-8A7363526A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8103" y="3821286"/>
                      <a:ext cx="31807" cy="71096"/>
                    </a:xfrm>
                    <a:custGeom>
                      <a:avLst/>
                      <a:gdLst>
                        <a:gd name="connsiteX0" fmla="*/ 18917 w 31807"/>
                        <a:gd name="connsiteY0" fmla="*/ 71096 h 71096"/>
                        <a:gd name="connsiteX1" fmla="*/ 3554 w 31807"/>
                        <a:gd name="connsiteY1" fmla="*/ 39462 h 71096"/>
                        <a:gd name="connsiteX2" fmla="*/ 8877 w 31807"/>
                        <a:gd name="connsiteY2" fmla="*/ 4804 h 71096"/>
                        <a:gd name="connsiteX3" fmla="*/ 15288 w 31807"/>
                        <a:gd name="connsiteY3" fmla="*/ 207 h 71096"/>
                        <a:gd name="connsiteX4" fmla="*/ 29744 w 31807"/>
                        <a:gd name="connsiteY4" fmla="*/ 39946 h 71096"/>
                        <a:gd name="connsiteX5" fmla="*/ 18917 w 31807"/>
                        <a:gd name="connsiteY5" fmla="*/ 71096 h 71096"/>
                        <a:gd name="connsiteX6" fmla="*/ 18917 w 31807"/>
                        <a:gd name="connsiteY6" fmla="*/ 71096 h 7109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1807" h="71096">
                          <a:moveTo>
                            <a:pt x="18917" y="71096"/>
                          </a:moveTo>
                          <a:lnTo>
                            <a:pt x="3554" y="39462"/>
                          </a:lnTo>
                          <a:cubicBezTo>
                            <a:pt x="-2072" y="27365"/>
                            <a:pt x="-1527" y="15147"/>
                            <a:pt x="8877" y="4804"/>
                          </a:cubicBezTo>
                          <a:cubicBezTo>
                            <a:pt x="12204" y="1477"/>
                            <a:pt x="14804" y="-701"/>
                            <a:pt x="15288" y="207"/>
                          </a:cubicBezTo>
                          <a:cubicBezTo>
                            <a:pt x="16195" y="1900"/>
                            <a:pt x="23333" y="18232"/>
                            <a:pt x="29744" y="39946"/>
                          </a:cubicBezTo>
                          <a:cubicBezTo>
                            <a:pt x="33797" y="53676"/>
                            <a:pt x="32708" y="62870"/>
                            <a:pt x="18917" y="71096"/>
                          </a:cubicBezTo>
                          <a:lnTo>
                            <a:pt x="18917" y="71096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96" name="Freihandform: Form 395">
                      <a:extLst>
                        <a:ext uri="{FF2B5EF4-FFF2-40B4-BE49-F238E27FC236}">
                          <a16:creationId xmlns:a16="http://schemas.microsoft.com/office/drawing/2014/main" id="{30FB23E6-3402-D93C-AA95-2515CFD9B80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96102" y="3785140"/>
                      <a:ext cx="43119" cy="75607"/>
                    </a:xfrm>
                    <a:custGeom>
                      <a:avLst/>
                      <a:gdLst>
                        <a:gd name="connsiteX0" fmla="*/ 25495 w 43119"/>
                        <a:gd name="connsiteY0" fmla="*/ 75607 h 75607"/>
                        <a:gd name="connsiteX1" fmla="*/ 2389 w 43119"/>
                        <a:gd name="connsiteY1" fmla="*/ 26856 h 75607"/>
                        <a:gd name="connsiteX2" fmla="*/ 21987 w 43119"/>
                        <a:gd name="connsiteY2" fmla="*/ 0 h 75607"/>
                        <a:gd name="connsiteX3" fmla="*/ 26099 w 43119"/>
                        <a:gd name="connsiteY3" fmla="*/ 5444 h 75607"/>
                        <a:gd name="connsiteX4" fmla="*/ 41826 w 43119"/>
                        <a:gd name="connsiteY4" fmla="*/ 48631 h 75607"/>
                        <a:gd name="connsiteX5" fmla="*/ 25495 w 43119"/>
                        <a:gd name="connsiteY5" fmla="*/ 75607 h 75607"/>
                        <a:gd name="connsiteX6" fmla="*/ 25495 w 43119"/>
                        <a:gd name="connsiteY6" fmla="*/ 75607 h 756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3119" h="75607">
                          <a:moveTo>
                            <a:pt x="25495" y="75607"/>
                          </a:moveTo>
                          <a:lnTo>
                            <a:pt x="2389" y="26856"/>
                          </a:lnTo>
                          <a:cubicBezTo>
                            <a:pt x="-4446" y="12037"/>
                            <a:pt x="3780" y="5746"/>
                            <a:pt x="21987" y="0"/>
                          </a:cubicBezTo>
                          <a:lnTo>
                            <a:pt x="26099" y="5444"/>
                          </a:lnTo>
                          <a:lnTo>
                            <a:pt x="41826" y="48631"/>
                          </a:lnTo>
                          <a:cubicBezTo>
                            <a:pt x="46000" y="61575"/>
                            <a:pt x="39951" y="69075"/>
                            <a:pt x="25495" y="75607"/>
                          </a:cubicBezTo>
                          <a:lnTo>
                            <a:pt x="25495" y="75607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97" name="Freihandform: Form 396">
                      <a:extLst>
                        <a:ext uri="{FF2B5EF4-FFF2-40B4-BE49-F238E27FC236}">
                          <a16:creationId xmlns:a16="http://schemas.microsoft.com/office/drawing/2014/main" id="{BC7402CD-75C1-0E35-DD64-2E1F953D6CD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88390" y="3736015"/>
                      <a:ext cx="34476" cy="69266"/>
                    </a:xfrm>
                    <a:custGeom>
                      <a:avLst/>
                      <a:gdLst>
                        <a:gd name="connsiteX0" fmla="*/ 0 w 34476"/>
                        <a:gd name="connsiteY0" fmla="*/ 5575 h 69266"/>
                        <a:gd name="connsiteX1" fmla="*/ 7924 w 34476"/>
                        <a:gd name="connsiteY1" fmla="*/ 69267 h 69266"/>
                        <a:gd name="connsiteX2" fmla="*/ 33872 w 34476"/>
                        <a:gd name="connsiteY2" fmla="*/ 56867 h 69266"/>
                        <a:gd name="connsiteX3" fmla="*/ 34477 w 34476"/>
                        <a:gd name="connsiteY3" fmla="*/ 12168 h 69266"/>
                        <a:gd name="connsiteX4" fmla="*/ 0 w 34476"/>
                        <a:gd name="connsiteY4" fmla="*/ 5575 h 6926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4476" h="69266">
                          <a:moveTo>
                            <a:pt x="0" y="5575"/>
                          </a:moveTo>
                          <a:cubicBezTo>
                            <a:pt x="0" y="6724"/>
                            <a:pt x="7924" y="69267"/>
                            <a:pt x="7924" y="69267"/>
                          </a:cubicBezTo>
                          <a:cubicBezTo>
                            <a:pt x="26311" y="68420"/>
                            <a:pt x="32723" y="72170"/>
                            <a:pt x="33872" y="56867"/>
                          </a:cubicBezTo>
                          <a:lnTo>
                            <a:pt x="34477" y="12168"/>
                          </a:lnTo>
                          <a:cubicBezTo>
                            <a:pt x="28912" y="1946"/>
                            <a:pt x="5262" y="-5675"/>
                            <a:pt x="0" y="557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398" name="Grafik 297">
                    <a:extLst>
                      <a:ext uri="{FF2B5EF4-FFF2-40B4-BE49-F238E27FC236}">
                        <a16:creationId xmlns:a16="http://schemas.microsoft.com/office/drawing/2014/main" id="{1AED2AE7-A47A-6F19-9EB3-9B47070AC0BF}"/>
                      </a:ext>
                    </a:extLst>
                  </p:cNvPr>
                  <p:cNvGrpSpPr/>
                  <p:nvPr/>
                </p:nvGrpSpPr>
                <p:grpSpPr>
                  <a:xfrm>
                    <a:off x="11208616" y="3610134"/>
                    <a:ext cx="98810" cy="216076"/>
                    <a:chOff x="11208616" y="3610134"/>
                    <a:chExt cx="98810" cy="216076"/>
                  </a:xfrm>
                  <a:solidFill>
                    <a:srgbClr val="02787D"/>
                  </a:solidFill>
                </p:grpSpPr>
                <p:sp>
                  <p:nvSpPr>
                    <p:cNvPr id="399" name="Freihandform: Form 398">
                      <a:extLst>
                        <a:ext uri="{FF2B5EF4-FFF2-40B4-BE49-F238E27FC236}">
                          <a16:creationId xmlns:a16="http://schemas.microsoft.com/office/drawing/2014/main" id="{73A4382B-4FD3-0421-0BA4-553E147B324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53713" y="3739314"/>
                      <a:ext cx="34296" cy="86896"/>
                    </a:xfrm>
                    <a:custGeom>
                      <a:avLst/>
                      <a:gdLst>
                        <a:gd name="connsiteX0" fmla="*/ 17724 w 34296"/>
                        <a:gd name="connsiteY0" fmla="*/ 86896 h 86896"/>
                        <a:gd name="connsiteX1" fmla="*/ 34297 w 34296"/>
                        <a:gd name="connsiteY1" fmla="*/ 45766 h 86896"/>
                        <a:gd name="connsiteX2" fmla="*/ 26918 w 34296"/>
                        <a:gd name="connsiteY2" fmla="*/ 2942 h 86896"/>
                        <a:gd name="connsiteX3" fmla="*/ 18571 w 34296"/>
                        <a:gd name="connsiteY3" fmla="*/ 825 h 86896"/>
                        <a:gd name="connsiteX4" fmla="*/ 1634 w 34296"/>
                        <a:gd name="connsiteY4" fmla="*/ 50968 h 86896"/>
                        <a:gd name="connsiteX5" fmla="*/ 17724 w 34296"/>
                        <a:gd name="connsiteY5" fmla="*/ 86896 h 86896"/>
                        <a:gd name="connsiteX6" fmla="*/ 17724 w 34296"/>
                        <a:gd name="connsiteY6" fmla="*/ 86896 h 8689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4296" h="86896">
                          <a:moveTo>
                            <a:pt x="17724" y="86896"/>
                          </a:moveTo>
                          <a:lnTo>
                            <a:pt x="34297" y="45766"/>
                          </a:lnTo>
                          <a:cubicBezTo>
                            <a:pt x="34176" y="31794"/>
                            <a:pt x="34660" y="10140"/>
                            <a:pt x="26918" y="2942"/>
                          </a:cubicBezTo>
                          <a:cubicBezTo>
                            <a:pt x="22503" y="-1111"/>
                            <a:pt x="19115" y="-82"/>
                            <a:pt x="18571" y="825"/>
                          </a:cubicBezTo>
                          <a:cubicBezTo>
                            <a:pt x="14760" y="7599"/>
                            <a:pt x="7199" y="29616"/>
                            <a:pt x="1634" y="50968"/>
                          </a:cubicBezTo>
                          <a:cubicBezTo>
                            <a:pt x="-2236" y="65787"/>
                            <a:pt x="-119" y="76190"/>
                            <a:pt x="17724" y="86896"/>
                          </a:cubicBezTo>
                          <a:lnTo>
                            <a:pt x="17724" y="86896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00" name="Freihandform: Form 399">
                      <a:extLst>
                        <a:ext uri="{FF2B5EF4-FFF2-40B4-BE49-F238E27FC236}">
                          <a16:creationId xmlns:a16="http://schemas.microsoft.com/office/drawing/2014/main" id="{FCD495F1-C29F-6677-618D-EFC4DE1A9E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57041" y="3712410"/>
                      <a:ext cx="50385" cy="74325"/>
                    </a:xfrm>
                    <a:custGeom>
                      <a:avLst/>
                      <a:gdLst>
                        <a:gd name="connsiteX0" fmla="*/ 50385 w 50385"/>
                        <a:gd name="connsiteY0" fmla="*/ 8615 h 74325"/>
                        <a:gd name="connsiteX1" fmla="*/ 0 w 50385"/>
                        <a:gd name="connsiteY1" fmla="*/ 10188 h 74325"/>
                        <a:gd name="connsiteX2" fmla="*/ 7682 w 50385"/>
                        <a:gd name="connsiteY2" fmla="*/ 46782 h 74325"/>
                        <a:gd name="connsiteX3" fmla="*/ 31029 w 50385"/>
                        <a:gd name="connsiteY3" fmla="*/ 72670 h 74325"/>
                        <a:gd name="connsiteX4" fmla="*/ 50385 w 50385"/>
                        <a:gd name="connsiteY4" fmla="*/ 8615 h 743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0385" h="74325">
                          <a:moveTo>
                            <a:pt x="50385" y="8615"/>
                          </a:moveTo>
                          <a:cubicBezTo>
                            <a:pt x="36352" y="-11648"/>
                            <a:pt x="0" y="10188"/>
                            <a:pt x="0" y="10188"/>
                          </a:cubicBezTo>
                          <a:lnTo>
                            <a:pt x="7682" y="46782"/>
                          </a:lnTo>
                          <a:cubicBezTo>
                            <a:pt x="7924" y="62508"/>
                            <a:pt x="17602" y="79807"/>
                            <a:pt x="31029" y="72670"/>
                          </a:cubicBezTo>
                          <a:cubicBezTo>
                            <a:pt x="31029" y="72670"/>
                            <a:pt x="50385" y="7890"/>
                            <a:pt x="50385" y="861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01" name="Freihandform: Form 400">
                      <a:extLst>
                        <a:ext uri="{FF2B5EF4-FFF2-40B4-BE49-F238E27FC236}">
                          <a16:creationId xmlns:a16="http://schemas.microsoft.com/office/drawing/2014/main" id="{EC7F333F-AC27-C194-ECB6-1699EB6812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08616" y="3610134"/>
                      <a:ext cx="98810" cy="121421"/>
                    </a:xfrm>
                    <a:custGeom>
                      <a:avLst/>
                      <a:gdLst>
                        <a:gd name="connsiteX0" fmla="*/ 91190 w 98810"/>
                        <a:gd name="connsiteY0" fmla="*/ 57180 h 121421"/>
                        <a:gd name="connsiteX1" fmla="*/ 98811 w 98810"/>
                        <a:gd name="connsiteY1" fmla="*/ 110831 h 121421"/>
                        <a:gd name="connsiteX2" fmla="*/ 98811 w 98810"/>
                        <a:gd name="connsiteY2" fmla="*/ 110831 h 121421"/>
                        <a:gd name="connsiteX3" fmla="*/ 48728 w 98810"/>
                        <a:gd name="connsiteY3" fmla="*/ 113311 h 121421"/>
                        <a:gd name="connsiteX4" fmla="*/ 7719 w 98810"/>
                        <a:gd name="connsiteY4" fmla="*/ 53006 h 121421"/>
                        <a:gd name="connsiteX5" fmla="*/ 62035 w 98810"/>
                        <a:gd name="connsiteY5" fmla="*/ 4920 h 121421"/>
                        <a:gd name="connsiteX6" fmla="*/ 91250 w 98810"/>
                        <a:gd name="connsiteY6" fmla="*/ 57119 h 1214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98810" h="121421">
                          <a:moveTo>
                            <a:pt x="91190" y="57180"/>
                          </a:moveTo>
                          <a:cubicBezTo>
                            <a:pt x="95121" y="72241"/>
                            <a:pt x="98811" y="110831"/>
                            <a:pt x="98811" y="110831"/>
                          </a:cubicBezTo>
                          <a:lnTo>
                            <a:pt x="98811" y="110831"/>
                          </a:lnTo>
                          <a:cubicBezTo>
                            <a:pt x="75463" y="113311"/>
                            <a:pt x="78427" y="131759"/>
                            <a:pt x="48728" y="113311"/>
                          </a:cubicBezTo>
                          <a:cubicBezTo>
                            <a:pt x="48728" y="113311"/>
                            <a:pt x="37296" y="72906"/>
                            <a:pt x="7719" y="53006"/>
                          </a:cubicBezTo>
                          <a:cubicBezTo>
                            <a:pt x="-17806" y="35828"/>
                            <a:pt x="25078" y="-16069"/>
                            <a:pt x="62035" y="4920"/>
                          </a:cubicBezTo>
                          <a:cubicBezTo>
                            <a:pt x="79576" y="26755"/>
                            <a:pt x="91250" y="57119"/>
                            <a:pt x="91250" y="57119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402" name="Freihandform: Form 401">
                    <a:extLst>
                      <a:ext uri="{FF2B5EF4-FFF2-40B4-BE49-F238E27FC236}">
                        <a16:creationId xmlns:a16="http://schemas.microsoft.com/office/drawing/2014/main" id="{09DA4B66-DB8A-4D6F-7A71-6C442002533F}"/>
                      </a:ext>
                    </a:extLst>
                  </p:cNvPr>
                  <p:cNvSpPr/>
                  <p:nvPr/>
                </p:nvSpPr>
                <p:spPr>
                  <a:xfrm>
                    <a:off x="11163281" y="3594186"/>
                    <a:ext cx="140662" cy="175772"/>
                  </a:xfrm>
                  <a:custGeom>
                    <a:avLst/>
                    <a:gdLst>
                      <a:gd name="connsiteX0" fmla="*/ 128 w 140662"/>
                      <a:gd name="connsiteY0" fmla="*/ 127202 h 175772"/>
                      <a:gd name="connsiteX1" fmla="*/ 20995 w 140662"/>
                      <a:gd name="connsiteY1" fmla="*/ 2057 h 175772"/>
                      <a:gd name="connsiteX2" fmla="*/ 105978 w 140662"/>
                      <a:gd name="connsiteY2" fmla="*/ 0 h 175772"/>
                      <a:gd name="connsiteX3" fmla="*/ 112027 w 140662"/>
                      <a:gd name="connsiteY3" fmla="*/ 22077 h 175772"/>
                      <a:gd name="connsiteX4" fmla="*/ 140576 w 140662"/>
                      <a:gd name="connsiteY4" fmla="*/ 100770 h 175772"/>
                      <a:gd name="connsiteX5" fmla="*/ 92913 w 140662"/>
                      <a:gd name="connsiteY5" fmla="*/ 122968 h 175772"/>
                      <a:gd name="connsiteX6" fmla="*/ 58376 w 140662"/>
                      <a:gd name="connsiteY6" fmla="*/ 175772 h 175772"/>
                      <a:gd name="connsiteX7" fmla="*/ 67 w 140662"/>
                      <a:gd name="connsiteY7" fmla="*/ 152001 h 175772"/>
                      <a:gd name="connsiteX8" fmla="*/ 67 w 140662"/>
                      <a:gd name="connsiteY8" fmla="*/ 127263 h 1757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40662" h="175772">
                        <a:moveTo>
                          <a:pt x="128" y="127202"/>
                        </a:moveTo>
                        <a:cubicBezTo>
                          <a:pt x="7326" y="95144"/>
                          <a:pt x="15491" y="57341"/>
                          <a:pt x="20995" y="2057"/>
                        </a:cubicBezTo>
                        <a:lnTo>
                          <a:pt x="105978" y="0"/>
                        </a:lnTo>
                        <a:cubicBezTo>
                          <a:pt x="106160" y="16089"/>
                          <a:pt x="109910" y="20021"/>
                          <a:pt x="112027" y="22077"/>
                        </a:cubicBezTo>
                        <a:cubicBezTo>
                          <a:pt x="143721" y="52562"/>
                          <a:pt x="140576" y="100770"/>
                          <a:pt x="140576" y="100770"/>
                        </a:cubicBezTo>
                        <a:cubicBezTo>
                          <a:pt x="140032" y="105306"/>
                          <a:pt x="109366" y="98411"/>
                          <a:pt x="92913" y="122968"/>
                        </a:cubicBezTo>
                        <a:cubicBezTo>
                          <a:pt x="88255" y="129863"/>
                          <a:pt x="62791" y="137545"/>
                          <a:pt x="58376" y="175772"/>
                        </a:cubicBezTo>
                        <a:cubicBezTo>
                          <a:pt x="19786" y="137848"/>
                          <a:pt x="1943" y="151215"/>
                          <a:pt x="67" y="152001"/>
                        </a:cubicBezTo>
                        <a:cubicBezTo>
                          <a:pt x="611" y="142263"/>
                          <a:pt x="-235" y="133855"/>
                          <a:pt x="67" y="127263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03" name="Freihandform: Form 402">
                    <a:extLst>
                      <a:ext uri="{FF2B5EF4-FFF2-40B4-BE49-F238E27FC236}">
                        <a16:creationId xmlns:a16="http://schemas.microsoft.com/office/drawing/2014/main" id="{641B8E1F-29F0-3DE6-320E-43D40E965D7A}"/>
                      </a:ext>
                    </a:extLst>
                  </p:cNvPr>
                  <p:cNvSpPr/>
                  <p:nvPr/>
                </p:nvSpPr>
                <p:spPr>
                  <a:xfrm>
                    <a:off x="11184216" y="3555052"/>
                    <a:ext cx="85164" cy="85164"/>
                  </a:xfrm>
                  <a:custGeom>
                    <a:avLst/>
                    <a:gdLst>
                      <a:gd name="connsiteX0" fmla="*/ 85164 w 85164"/>
                      <a:gd name="connsiteY0" fmla="*/ 42582 h 85164"/>
                      <a:gd name="connsiteX1" fmla="*/ 42582 w 85164"/>
                      <a:gd name="connsiteY1" fmla="*/ 85164 h 85164"/>
                      <a:gd name="connsiteX2" fmla="*/ 0 w 85164"/>
                      <a:gd name="connsiteY2" fmla="*/ 42582 h 85164"/>
                      <a:gd name="connsiteX3" fmla="*/ 42582 w 85164"/>
                      <a:gd name="connsiteY3" fmla="*/ 0 h 85164"/>
                      <a:gd name="connsiteX4" fmla="*/ 85164 w 85164"/>
                      <a:gd name="connsiteY4" fmla="*/ 42582 h 85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5164" h="85164">
                        <a:moveTo>
                          <a:pt x="85164" y="42582"/>
                        </a:moveTo>
                        <a:cubicBezTo>
                          <a:pt x="85164" y="66100"/>
                          <a:pt x="66100" y="85164"/>
                          <a:pt x="42582" y="85164"/>
                        </a:cubicBezTo>
                        <a:cubicBezTo>
                          <a:pt x="19065" y="85164"/>
                          <a:pt x="0" y="66100"/>
                          <a:pt x="0" y="42582"/>
                        </a:cubicBezTo>
                        <a:cubicBezTo>
                          <a:pt x="0" y="19065"/>
                          <a:pt x="19064" y="0"/>
                          <a:pt x="42582" y="0"/>
                        </a:cubicBezTo>
                        <a:cubicBezTo>
                          <a:pt x="66099" y="0"/>
                          <a:pt x="85164" y="19065"/>
                          <a:pt x="85164" y="42582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404" name="Freihandform: Form 403">
                  <a:extLst>
                    <a:ext uri="{FF2B5EF4-FFF2-40B4-BE49-F238E27FC236}">
                      <a16:creationId xmlns:a16="http://schemas.microsoft.com/office/drawing/2014/main" id="{0F017A4C-E966-4F4D-247B-87D042F362C9}"/>
                    </a:ext>
                  </a:extLst>
                </p:cNvPr>
                <p:cNvSpPr/>
                <p:nvPr/>
              </p:nvSpPr>
              <p:spPr>
                <a:xfrm>
                  <a:off x="11554269" y="2207424"/>
                  <a:ext cx="268013" cy="182791"/>
                </a:xfrm>
                <a:custGeom>
                  <a:avLst/>
                  <a:gdLst>
                    <a:gd name="connsiteX0" fmla="*/ 0 w 268013"/>
                    <a:gd name="connsiteY0" fmla="*/ 0 h 182791"/>
                    <a:gd name="connsiteX1" fmla="*/ 9133 w 268013"/>
                    <a:gd name="connsiteY1" fmla="*/ 120125 h 182791"/>
                    <a:gd name="connsiteX2" fmla="*/ 135186 w 268013"/>
                    <a:gd name="connsiteY2" fmla="*/ 182789 h 182791"/>
                    <a:gd name="connsiteX3" fmla="*/ 259606 w 268013"/>
                    <a:gd name="connsiteY3" fmla="*/ 101374 h 182791"/>
                    <a:gd name="connsiteX4" fmla="*/ 268014 w 268013"/>
                    <a:gd name="connsiteY4" fmla="*/ 7440 h 182791"/>
                    <a:gd name="connsiteX5" fmla="*/ 0 w 268013"/>
                    <a:gd name="connsiteY5" fmla="*/ 121 h 182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68013" h="182791">
                      <a:moveTo>
                        <a:pt x="0" y="0"/>
                      </a:moveTo>
                      <a:cubicBezTo>
                        <a:pt x="1694" y="2903"/>
                        <a:pt x="9133" y="120125"/>
                        <a:pt x="9133" y="120125"/>
                      </a:cubicBezTo>
                      <a:cubicBezTo>
                        <a:pt x="9133" y="120125"/>
                        <a:pt x="13670" y="182244"/>
                        <a:pt x="135186" y="182789"/>
                      </a:cubicBezTo>
                      <a:cubicBezTo>
                        <a:pt x="268014" y="183333"/>
                        <a:pt x="259606" y="101374"/>
                        <a:pt x="259606" y="101374"/>
                      </a:cubicBezTo>
                      <a:lnTo>
                        <a:pt x="268014" y="7440"/>
                      </a:lnTo>
                      <a:cubicBezTo>
                        <a:pt x="182547" y="25646"/>
                        <a:pt x="96838" y="27219"/>
                        <a:pt x="0" y="121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05" name="Grafik 297">
                <a:extLst>
                  <a:ext uri="{FF2B5EF4-FFF2-40B4-BE49-F238E27FC236}">
                    <a16:creationId xmlns:a16="http://schemas.microsoft.com/office/drawing/2014/main" id="{8D8C3F3B-6853-BAB3-0E8A-81B39A0FF7EC}"/>
                  </a:ext>
                </a:extLst>
              </p:cNvPr>
              <p:cNvGrpSpPr/>
              <p:nvPr/>
            </p:nvGrpSpPr>
            <p:grpSpPr>
              <a:xfrm>
                <a:off x="9590362" y="1659724"/>
                <a:ext cx="1540851" cy="3537443"/>
                <a:chOff x="48" y="1659724"/>
                <a:chExt cx="1540851" cy="3537443"/>
              </a:xfrm>
            </p:grpSpPr>
            <p:grpSp>
              <p:nvGrpSpPr>
                <p:cNvPr id="406" name="Grafik 297">
                  <a:extLst>
                    <a:ext uri="{FF2B5EF4-FFF2-40B4-BE49-F238E27FC236}">
                      <a16:creationId xmlns:a16="http://schemas.microsoft.com/office/drawing/2014/main" id="{9267AD3B-3978-93CF-2F04-0391F2212197}"/>
                    </a:ext>
                  </a:extLst>
                </p:cNvPr>
                <p:cNvGrpSpPr/>
                <p:nvPr/>
              </p:nvGrpSpPr>
              <p:grpSpPr>
                <a:xfrm>
                  <a:off x="134278" y="3425249"/>
                  <a:ext cx="206694" cy="389892"/>
                  <a:chOff x="134278" y="3425249"/>
                  <a:chExt cx="206694" cy="389892"/>
                </a:xfrm>
                <a:solidFill>
                  <a:srgbClr val="02787D"/>
                </a:solidFill>
              </p:grpSpPr>
              <p:sp>
                <p:nvSpPr>
                  <p:cNvPr id="407" name="Freihandform: Form 406">
                    <a:extLst>
                      <a:ext uri="{FF2B5EF4-FFF2-40B4-BE49-F238E27FC236}">
                        <a16:creationId xmlns:a16="http://schemas.microsoft.com/office/drawing/2014/main" id="{F1EFB7FA-9645-1CCA-D76A-2B04286F0456}"/>
                      </a:ext>
                    </a:extLst>
                  </p:cNvPr>
                  <p:cNvSpPr/>
                  <p:nvPr/>
                </p:nvSpPr>
                <p:spPr>
                  <a:xfrm>
                    <a:off x="194341" y="3425249"/>
                    <a:ext cx="116254" cy="116254"/>
                  </a:xfrm>
                  <a:custGeom>
                    <a:avLst/>
                    <a:gdLst>
                      <a:gd name="connsiteX0" fmla="*/ 116254 w 116254"/>
                      <a:gd name="connsiteY0" fmla="*/ 58127 h 116254"/>
                      <a:gd name="connsiteX1" fmla="*/ 58127 w 116254"/>
                      <a:gd name="connsiteY1" fmla="*/ 116254 h 116254"/>
                      <a:gd name="connsiteX2" fmla="*/ 0 w 116254"/>
                      <a:gd name="connsiteY2" fmla="*/ 58127 h 116254"/>
                      <a:gd name="connsiteX3" fmla="*/ 58127 w 116254"/>
                      <a:gd name="connsiteY3" fmla="*/ 0 h 116254"/>
                      <a:gd name="connsiteX4" fmla="*/ 116254 w 116254"/>
                      <a:gd name="connsiteY4" fmla="*/ 58127 h 1162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6254" h="116254">
                        <a:moveTo>
                          <a:pt x="116254" y="58127"/>
                        </a:moveTo>
                        <a:cubicBezTo>
                          <a:pt x="116254" y="90230"/>
                          <a:pt x="90230" y="116254"/>
                          <a:pt x="58127" y="116254"/>
                        </a:cubicBezTo>
                        <a:cubicBezTo>
                          <a:pt x="26024" y="116254"/>
                          <a:pt x="0" y="90229"/>
                          <a:pt x="0" y="58127"/>
                        </a:cubicBezTo>
                        <a:cubicBezTo>
                          <a:pt x="0" y="26024"/>
                          <a:pt x="26024" y="0"/>
                          <a:pt x="58127" y="0"/>
                        </a:cubicBezTo>
                        <a:cubicBezTo>
                          <a:pt x="90230" y="0"/>
                          <a:pt x="116254" y="26024"/>
                          <a:pt x="116254" y="58127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408" name="Grafik 297">
                    <a:extLst>
                      <a:ext uri="{FF2B5EF4-FFF2-40B4-BE49-F238E27FC236}">
                        <a16:creationId xmlns:a16="http://schemas.microsoft.com/office/drawing/2014/main" id="{96E041D4-6E70-C70C-392E-C213804505E7}"/>
                      </a:ext>
                    </a:extLst>
                  </p:cNvPr>
                  <p:cNvGrpSpPr/>
                  <p:nvPr/>
                </p:nvGrpSpPr>
                <p:grpSpPr>
                  <a:xfrm>
                    <a:off x="134278" y="3462369"/>
                    <a:ext cx="206694" cy="352772"/>
                    <a:chOff x="134278" y="3462369"/>
                    <a:chExt cx="206694" cy="352772"/>
                  </a:xfrm>
                  <a:solidFill>
                    <a:srgbClr val="02787D"/>
                  </a:solidFill>
                </p:grpSpPr>
                <p:grpSp>
                  <p:nvGrpSpPr>
                    <p:cNvPr id="409" name="Grafik 297">
                      <a:extLst>
                        <a:ext uri="{FF2B5EF4-FFF2-40B4-BE49-F238E27FC236}">
                          <a16:creationId xmlns:a16="http://schemas.microsoft.com/office/drawing/2014/main" id="{BEF07FCA-6CC6-0364-5F87-3FC7BBF9F58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17870" y="3649645"/>
                      <a:ext cx="45684" cy="153097"/>
                      <a:chOff x="217870" y="3649645"/>
                      <a:chExt cx="45684" cy="153097"/>
                    </a:xfrm>
                    <a:solidFill>
                      <a:srgbClr val="02787D"/>
                    </a:solidFill>
                  </p:grpSpPr>
                  <p:sp>
                    <p:nvSpPr>
                      <p:cNvPr id="410" name="Freihandform: Form 409">
                        <a:extLst>
                          <a:ext uri="{FF2B5EF4-FFF2-40B4-BE49-F238E27FC236}">
                            <a16:creationId xmlns:a16="http://schemas.microsoft.com/office/drawing/2014/main" id="{106B5EC0-B51C-26F2-FCAF-3488F8B337C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17870" y="3649645"/>
                        <a:ext cx="45684" cy="70664"/>
                      </a:xfrm>
                      <a:custGeom>
                        <a:avLst/>
                        <a:gdLst>
                          <a:gd name="connsiteX0" fmla="*/ 0 w 45684"/>
                          <a:gd name="connsiteY0" fmla="*/ 57227 h 70664"/>
                          <a:gd name="connsiteX1" fmla="*/ 18388 w 45684"/>
                          <a:gd name="connsiteY1" fmla="*/ 70655 h 70664"/>
                          <a:gd name="connsiteX2" fmla="*/ 36050 w 45684"/>
                          <a:gd name="connsiteY2" fmla="*/ 55594 h 70664"/>
                          <a:gd name="connsiteX3" fmla="*/ 45485 w 45684"/>
                          <a:gd name="connsiteY3" fmla="*/ 18818 h 70664"/>
                          <a:gd name="connsiteX4" fmla="*/ 32300 w 45684"/>
                          <a:gd name="connsiteY4" fmla="*/ 914 h 70664"/>
                          <a:gd name="connsiteX5" fmla="*/ 9073 w 45684"/>
                          <a:gd name="connsiteY5" fmla="*/ 13435 h 70664"/>
                          <a:gd name="connsiteX6" fmla="*/ 0 w 45684"/>
                          <a:gd name="connsiteY6" fmla="*/ 57227 h 706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5684" h="70664">
                            <a:moveTo>
                              <a:pt x="0" y="57227"/>
                            </a:moveTo>
                            <a:cubicBezTo>
                              <a:pt x="0" y="57227"/>
                              <a:pt x="5262" y="71078"/>
                              <a:pt x="18388" y="70655"/>
                            </a:cubicBezTo>
                            <a:cubicBezTo>
                              <a:pt x="32179" y="70231"/>
                              <a:pt x="36050" y="55594"/>
                              <a:pt x="36050" y="55594"/>
                            </a:cubicBezTo>
                            <a:lnTo>
                              <a:pt x="45485" y="18818"/>
                            </a:lnTo>
                            <a:cubicBezTo>
                              <a:pt x="46816" y="7568"/>
                              <a:pt x="41372" y="2971"/>
                              <a:pt x="32300" y="914"/>
                            </a:cubicBezTo>
                            <a:cubicBezTo>
                              <a:pt x="23287" y="-1566"/>
                              <a:pt x="12339" y="491"/>
                              <a:pt x="9073" y="13435"/>
                            </a:cubicBezTo>
                            <a:lnTo>
                              <a:pt x="0" y="5722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11" name="Freihandform: Form 410">
                        <a:extLst>
                          <a:ext uri="{FF2B5EF4-FFF2-40B4-BE49-F238E27FC236}">
                            <a16:creationId xmlns:a16="http://schemas.microsoft.com/office/drawing/2014/main" id="{0DD2EC8F-8D60-3009-5B1B-9F669EAB25A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17870" y="3693202"/>
                        <a:ext cx="36856" cy="56556"/>
                      </a:xfrm>
                      <a:custGeom>
                        <a:avLst/>
                        <a:gdLst>
                          <a:gd name="connsiteX0" fmla="*/ 7016 w 36856"/>
                          <a:gd name="connsiteY0" fmla="*/ 49175 h 56556"/>
                          <a:gd name="connsiteX1" fmla="*/ 22985 w 36856"/>
                          <a:gd name="connsiteY1" fmla="*/ 56554 h 56556"/>
                          <a:gd name="connsiteX2" fmla="*/ 36775 w 36856"/>
                          <a:gd name="connsiteY2" fmla="*/ 43187 h 56556"/>
                          <a:gd name="connsiteX3" fmla="*/ 36110 w 36856"/>
                          <a:gd name="connsiteY3" fmla="*/ 12037 h 56556"/>
                          <a:gd name="connsiteX4" fmla="*/ 19356 w 36856"/>
                          <a:gd name="connsiteY4" fmla="*/ 0 h 56556"/>
                          <a:gd name="connsiteX5" fmla="*/ 0 w 36856"/>
                          <a:gd name="connsiteY5" fmla="*/ 13670 h 56556"/>
                          <a:gd name="connsiteX6" fmla="*/ 6956 w 36856"/>
                          <a:gd name="connsiteY6" fmla="*/ 49175 h 5655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6856" h="56556">
                            <a:moveTo>
                              <a:pt x="7016" y="49175"/>
                            </a:moveTo>
                            <a:cubicBezTo>
                              <a:pt x="7016" y="49175"/>
                              <a:pt x="7198" y="56192"/>
                              <a:pt x="22985" y="56554"/>
                            </a:cubicBezTo>
                            <a:cubicBezTo>
                              <a:pt x="38772" y="56736"/>
                              <a:pt x="36775" y="43187"/>
                              <a:pt x="36775" y="43187"/>
                            </a:cubicBezTo>
                            <a:lnTo>
                              <a:pt x="36110" y="12037"/>
                            </a:lnTo>
                            <a:cubicBezTo>
                              <a:pt x="32179" y="4899"/>
                              <a:pt x="31392" y="0"/>
                              <a:pt x="19356" y="0"/>
                            </a:cubicBezTo>
                            <a:cubicBezTo>
                              <a:pt x="8649" y="665"/>
                              <a:pt x="4234" y="6653"/>
                              <a:pt x="0" y="13670"/>
                            </a:cubicBezTo>
                            <a:lnTo>
                              <a:pt x="6956" y="4917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12" name="Freihandform: Form 411">
                        <a:extLst>
                          <a:ext uri="{FF2B5EF4-FFF2-40B4-BE49-F238E27FC236}">
                            <a16:creationId xmlns:a16="http://schemas.microsoft.com/office/drawing/2014/main" id="{A214FEDE-85F4-3140-8438-9F452A726FF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24826" y="3726462"/>
                        <a:ext cx="35970" cy="76279"/>
                      </a:xfrm>
                      <a:custGeom>
                        <a:avLst/>
                        <a:gdLst>
                          <a:gd name="connsiteX0" fmla="*/ 10404 w 35970"/>
                          <a:gd name="connsiteY0" fmla="*/ 52086 h 76279"/>
                          <a:gd name="connsiteX1" fmla="*/ 18146 w 35970"/>
                          <a:gd name="connsiteY1" fmla="*/ 76280 h 76279"/>
                          <a:gd name="connsiteX2" fmla="*/ 35747 w 35970"/>
                          <a:gd name="connsiteY2" fmla="*/ 41319 h 76279"/>
                          <a:gd name="connsiteX3" fmla="*/ 30062 w 35970"/>
                          <a:gd name="connsiteY3" fmla="*/ 10713 h 76279"/>
                          <a:gd name="connsiteX4" fmla="*/ 11795 w 35970"/>
                          <a:gd name="connsiteY4" fmla="*/ 854 h 76279"/>
                          <a:gd name="connsiteX5" fmla="*/ 0 w 35970"/>
                          <a:gd name="connsiteY5" fmla="*/ 15915 h 76279"/>
                          <a:gd name="connsiteX6" fmla="*/ 10343 w 35970"/>
                          <a:gd name="connsiteY6" fmla="*/ 52146 h 7627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5970" h="76279">
                            <a:moveTo>
                              <a:pt x="10404" y="52086"/>
                            </a:moveTo>
                            <a:lnTo>
                              <a:pt x="18146" y="76280"/>
                            </a:lnTo>
                            <a:cubicBezTo>
                              <a:pt x="33993" y="72106"/>
                              <a:pt x="36896" y="53779"/>
                              <a:pt x="35747" y="41319"/>
                            </a:cubicBezTo>
                            <a:cubicBezTo>
                              <a:pt x="34598" y="28859"/>
                              <a:pt x="30062" y="10713"/>
                              <a:pt x="30062" y="10713"/>
                            </a:cubicBezTo>
                            <a:cubicBezTo>
                              <a:pt x="26372" y="-477"/>
                              <a:pt x="17420" y="-1082"/>
                              <a:pt x="11795" y="854"/>
                            </a:cubicBezTo>
                            <a:cubicBezTo>
                              <a:pt x="5625" y="2971"/>
                              <a:pt x="0" y="6963"/>
                              <a:pt x="0" y="15915"/>
                            </a:cubicBezTo>
                            <a:lnTo>
                              <a:pt x="10343" y="52146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13" name="Grafik 297">
                      <a:extLst>
                        <a:ext uri="{FF2B5EF4-FFF2-40B4-BE49-F238E27FC236}">
                          <a16:creationId xmlns:a16="http://schemas.microsoft.com/office/drawing/2014/main" id="{CFFBB6AC-1003-FEFA-D1D7-A44023C75CE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85994" y="3644681"/>
                      <a:ext cx="53203" cy="170460"/>
                      <a:chOff x="185994" y="3644681"/>
                      <a:chExt cx="53203" cy="170460"/>
                    </a:xfrm>
                    <a:solidFill>
                      <a:srgbClr val="02787D"/>
                    </a:solidFill>
                  </p:grpSpPr>
                  <p:sp>
                    <p:nvSpPr>
                      <p:cNvPr id="414" name="Freihandform: Form 413">
                        <a:extLst>
                          <a:ext uri="{FF2B5EF4-FFF2-40B4-BE49-F238E27FC236}">
                            <a16:creationId xmlns:a16="http://schemas.microsoft.com/office/drawing/2014/main" id="{FD2882AD-6F0E-E7D8-3D73-B00A51C07F1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85994" y="3644681"/>
                        <a:ext cx="50168" cy="77084"/>
                      </a:xfrm>
                      <a:custGeom>
                        <a:avLst/>
                        <a:gdLst>
                          <a:gd name="connsiteX0" fmla="*/ 0 w 50168"/>
                          <a:gd name="connsiteY0" fmla="*/ 63098 h 77084"/>
                          <a:gd name="connsiteX1" fmla="*/ 18932 w 50168"/>
                          <a:gd name="connsiteY1" fmla="*/ 77070 h 77084"/>
                          <a:gd name="connsiteX2" fmla="*/ 38892 w 50168"/>
                          <a:gd name="connsiteY2" fmla="*/ 63702 h 77084"/>
                          <a:gd name="connsiteX3" fmla="*/ 49840 w 50168"/>
                          <a:gd name="connsiteY3" fmla="*/ 20999 h 77084"/>
                          <a:gd name="connsiteX4" fmla="*/ 38106 w 50168"/>
                          <a:gd name="connsiteY4" fmla="*/ 918 h 77084"/>
                          <a:gd name="connsiteX5" fmla="*/ 10041 w 50168"/>
                          <a:gd name="connsiteY5" fmla="*/ 15072 h 77084"/>
                          <a:gd name="connsiteX6" fmla="*/ 60 w 50168"/>
                          <a:gd name="connsiteY6" fmla="*/ 63037 h 7708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0168" h="77084">
                            <a:moveTo>
                              <a:pt x="0" y="63098"/>
                            </a:moveTo>
                            <a:cubicBezTo>
                              <a:pt x="0" y="63098"/>
                              <a:pt x="3932" y="77614"/>
                              <a:pt x="18932" y="77070"/>
                            </a:cubicBezTo>
                            <a:cubicBezTo>
                              <a:pt x="34054" y="76525"/>
                              <a:pt x="38892" y="63702"/>
                              <a:pt x="38892" y="63702"/>
                            </a:cubicBezTo>
                            <a:lnTo>
                              <a:pt x="49840" y="20999"/>
                            </a:lnTo>
                            <a:cubicBezTo>
                              <a:pt x="51292" y="8721"/>
                              <a:pt x="48026" y="3156"/>
                              <a:pt x="38106" y="918"/>
                            </a:cubicBezTo>
                            <a:cubicBezTo>
                              <a:pt x="28247" y="-1743"/>
                              <a:pt x="13549" y="918"/>
                              <a:pt x="10041" y="15072"/>
                            </a:cubicBezTo>
                            <a:lnTo>
                              <a:pt x="60" y="6303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15" name="Freihandform: Form 414">
                        <a:extLst>
                          <a:ext uri="{FF2B5EF4-FFF2-40B4-BE49-F238E27FC236}">
                            <a16:creationId xmlns:a16="http://schemas.microsoft.com/office/drawing/2014/main" id="{310DD638-5EFB-DC20-5C8F-F33CD3C34B3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86054" y="3694653"/>
                        <a:ext cx="41227" cy="66339"/>
                      </a:xfrm>
                      <a:custGeom>
                        <a:avLst/>
                        <a:gdLst>
                          <a:gd name="connsiteX0" fmla="*/ 6291 w 41227"/>
                          <a:gd name="connsiteY0" fmla="*/ 58248 h 66339"/>
                          <a:gd name="connsiteX1" fmla="*/ 29699 w 41227"/>
                          <a:gd name="connsiteY1" fmla="*/ 64478 h 66339"/>
                          <a:gd name="connsiteX2" fmla="*/ 40284 w 41227"/>
                          <a:gd name="connsiteY2" fmla="*/ 45485 h 66339"/>
                          <a:gd name="connsiteX3" fmla="*/ 38832 w 41227"/>
                          <a:gd name="connsiteY3" fmla="*/ 13730 h 66339"/>
                          <a:gd name="connsiteX4" fmla="*/ 21533 w 41227"/>
                          <a:gd name="connsiteY4" fmla="*/ 0 h 66339"/>
                          <a:gd name="connsiteX5" fmla="*/ 0 w 41227"/>
                          <a:gd name="connsiteY5" fmla="*/ 13065 h 66339"/>
                          <a:gd name="connsiteX6" fmla="*/ 6351 w 41227"/>
                          <a:gd name="connsiteY6" fmla="*/ 58187 h 6633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1227" h="66339">
                            <a:moveTo>
                              <a:pt x="6291" y="58248"/>
                            </a:moveTo>
                            <a:cubicBezTo>
                              <a:pt x="6291" y="58248"/>
                              <a:pt x="12279" y="71010"/>
                              <a:pt x="29699" y="64478"/>
                            </a:cubicBezTo>
                            <a:cubicBezTo>
                              <a:pt x="45909" y="58429"/>
                              <a:pt x="40284" y="45485"/>
                              <a:pt x="40284" y="45485"/>
                            </a:cubicBezTo>
                            <a:lnTo>
                              <a:pt x="38832" y="13730"/>
                            </a:lnTo>
                            <a:cubicBezTo>
                              <a:pt x="36957" y="5323"/>
                              <a:pt x="31392" y="0"/>
                              <a:pt x="21533" y="0"/>
                            </a:cubicBezTo>
                            <a:cubicBezTo>
                              <a:pt x="7258" y="0"/>
                              <a:pt x="2964" y="4657"/>
                              <a:pt x="0" y="13065"/>
                            </a:cubicBezTo>
                            <a:lnTo>
                              <a:pt x="6351" y="5818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16" name="Freihandform: Form 415">
                        <a:extLst>
                          <a:ext uri="{FF2B5EF4-FFF2-40B4-BE49-F238E27FC236}">
                            <a16:creationId xmlns:a16="http://schemas.microsoft.com/office/drawing/2014/main" id="{FF2C60BF-0FD1-8F48-AF87-F6B1AB3B4A8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92405" y="3728005"/>
                        <a:ext cx="46792" cy="87136"/>
                      </a:xfrm>
                      <a:custGeom>
                        <a:avLst/>
                        <a:gdLst>
                          <a:gd name="connsiteX0" fmla="*/ 19356 w 46792"/>
                          <a:gd name="connsiteY0" fmla="*/ 61974 h 87136"/>
                          <a:gd name="connsiteX1" fmla="*/ 31271 w 46792"/>
                          <a:gd name="connsiteY1" fmla="*/ 87136 h 87136"/>
                          <a:gd name="connsiteX2" fmla="*/ 45364 w 46792"/>
                          <a:gd name="connsiteY2" fmla="*/ 46671 h 87136"/>
                          <a:gd name="connsiteX3" fmla="*/ 32783 w 46792"/>
                          <a:gd name="connsiteY3" fmla="*/ 9351 h 87136"/>
                          <a:gd name="connsiteX4" fmla="*/ 7682 w 46792"/>
                          <a:gd name="connsiteY4" fmla="*/ 702 h 87136"/>
                          <a:gd name="connsiteX5" fmla="*/ 0 w 46792"/>
                          <a:gd name="connsiteY5" fmla="*/ 25017 h 87136"/>
                          <a:gd name="connsiteX6" fmla="*/ 19416 w 46792"/>
                          <a:gd name="connsiteY6" fmla="*/ 62035 h 8713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6792" h="87136">
                            <a:moveTo>
                              <a:pt x="19356" y="61974"/>
                            </a:moveTo>
                            <a:lnTo>
                              <a:pt x="31271" y="87136"/>
                            </a:lnTo>
                            <a:cubicBezTo>
                              <a:pt x="47844" y="80362"/>
                              <a:pt x="48389" y="59978"/>
                              <a:pt x="45364" y="46671"/>
                            </a:cubicBezTo>
                            <a:cubicBezTo>
                              <a:pt x="42340" y="33304"/>
                              <a:pt x="32783" y="9351"/>
                              <a:pt x="32783" y="9351"/>
                            </a:cubicBezTo>
                            <a:cubicBezTo>
                              <a:pt x="26130" y="3666"/>
                              <a:pt x="14275" y="-2020"/>
                              <a:pt x="7682" y="702"/>
                            </a:cubicBezTo>
                            <a:cubicBezTo>
                              <a:pt x="1089" y="3363"/>
                              <a:pt x="726" y="16307"/>
                              <a:pt x="0" y="25017"/>
                            </a:cubicBezTo>
                            <a:lnTo>
                              <a:pt x="19416" y="6203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17" name="Grafik 297">
                      <a:extLst>
                        <a:ext uri="{FF2B5EF4-FFF2-40B4-BE49-F238E27FC236}">
                          <a16:creationId xmlns:a16="http://schemas.microsoft.com/office/drawing/2014/main" id="{7FF42A81-F4E3-4D64-ADC8-E812AA5C602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1880" y="3632666"/>
                      <a:ext cx="59919" cy="164209"/>
                      <a:chOff x="151880" y="3632666"/>
                      <a:chExt cx="59919" cy="164209"/>
                    </a:xfrm>
                    <a:solidFill>
                      <a:srgbClr val="02787D"/>
                    </a:solidFill>
                  </p:grpSpPr>
                  <p:sp>
                    <p:nvSpPr>
                      <p:cNvPr id="418" name="Freihandform: Form 417">
                        <a:extLst>
                          <a:ext uri="{FF2B5EF4-FFF2-40B4-BE49-F238E27FC236}">
                            <a16:creationId xmlns:a16="http://schemas.microsoft.com/office/drawing/2014/main" id="{9145AB4A-E206-3BFB-E542-8C1C1008E4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880" y="3632666"/>
                        <a:ext cx="47698" cy="76503"/>
                      </a:xfrm>
                      <a:custGeom>
                        <a:avLst/>
                        <a:gdLst>
                          <a:gd name="connsiteX0" fmla="*/ 0 w 47698"/>
                          <a:gd name="connsiteY0" fmla="*/ 67492 h 76503"/>
                          <a:gd name="connsiteX1" fmla="*/ 20505 w 47698"/>
                          <a:gd name="connsiteY1" fmla="*/ 76202 h 76503"/>
                          <a:gd name="connsiteX2" fmla="*/ 37562 w 47698"/>
                          <a:gd name="connsiteY2" fmla="*/ 60355 h 76503"/>
                          <a:gd name="connsiteX3" fmla="*/ 47542 w 47698"/>
                          <a:gd name="connsiteY3" fmla="*/ 21160 h 76503"/>
                          <a:gd name="connsiteX4" fmla="*/ 36231 w 47698"/>
                          <a:gd name="connsiteY4" fmla="*/ 897 h 76503"/>
                          <a:gd name="connsiteX5" fmla="*/ 8770 w 47698"/>
                          <a:gd name="connsiteY5" fmla="*/ 14748 h 76503"/>
                          <a:gd name="connsiteX6" fmla="*/ 0 w 47698"/>
                          <a:gd name="connsiteY6" fmla="*/ 67492 h 7650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7698" h="76503">
                            <a:moveTo>
                              <a:pt x="0" y="67492"/>
                            </a:moveTo>
                            <a:cubicBezTo>
                              <a:pt x="0" y="67492"/>
                              <a:pt x="4960" y="78440"/>
                              <a:pt x="20505" y="76202"/>
                            </a:cubicBezTo>
                            <a:cubicBezTo>
                              <a:pt x="35142" y="74085"/>
                              <a:pt x="37562" y="60355"/>
                              <a:pt x="37562" y="60355"/>
                            </a:cubicBezTo>
                            <a:lnTo>
                              <a:pt x="47542" y="21160"/>
                            </a:lnTo>
                            <a:cubicBezTo>
                              <a:pt x="48389" y="11361"/>
                              <a:pt x="45969" y="3074"/>
                              <a:pt x="36231" y="897"/>
                            </a:cubicBezTo>
                            <a:cubicBezTo>
                              <a:pt x="26614" y="-1704"/>
                              <a:pt x="12218" y="897"/>
                              <a:pt x="8770" y="14748"/>
                            </a:cubicBezTo>
                            <a:lnTo>
                              <a:pt x="0" y="67492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19" name="Freihandform: Form 418">
                        <a:extLst>
                          <a:ext uri="{FF2B5EF4-FFF2-40B4-BE49-F238E27FC236}">
                            <a16:creationId xmlns:a16="http://schemas.microsoft.com/office/drawing/2014/main" id="{3BB86A11-311D-D0FD-C00A-D8AE416DFE9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880" y="3683991"/>
                        <a:ext cx="48902" cy="63864"/>
                      </a:xfrm>
                      <a:custGeom>
                        <a:avLst/>
                        <a:gdLst>
                          <a:gd name="connsiteX0" fmla="*/ 18267 w 48902"/>
                          <a:gd name="connsiteY0" fmla="*/ 55603 h 63864"/>
                          <a:gd name="connsiteX1" fmla="*/ 38772 w 48902"/>
                          <a:gd name="connsiteY1" fmla="*/ 62801 h 63864"/>
                          <a:gd name="connsiteX2" fmla="*/ 46877 w 48902"/>
                          <a:gd name="connsiteY2" fmla="*/ 37276 h 63864"/>
                          <a:gd name="connsiteX3" fmla="*/ 37562 w 48902"/>
                          <a:gd name="connsiteY3" fmla="*/ 9089 h 63864"/>
                          <a:gd name="connsiteX4" fmla="*/ 19295 w 48902"/>
                          <a:gd name="connsiteY4" fmla="*/ 319 h 63864"/>
                          <a:gd name="connsiteX5" fmla="*/ 0 w 48902"/>
                          <a:gd name="connsiteY5" fmla="*/ 16227 h 63864"/>
                          <a:gd name="connsiteX6" fmla="*/ 18267 w 48902"/>
                          <a:gd name="connsiteY6" fmla="*/ 55603 h 638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8902" h="63864">
                            <a:moveTo>
                              <a:pt x="18267" y="55603"/>
                            </a:moveTo>
                            <a:cubicBezTo>
                              <a:pt x="18267" y="55603"/>
                              <a:pt x="22561" y="67398"/>
                              <a:pt x="38772" y="62801"/>
                            </a:cubicBezTo>
                            <a:cubicBezTo>
                              <a:pt x="54982" y="58083"/>
                              <a:pt x="46877" y="37276"/>
                              <a:pt x="46877" y="37276"/>
                            </a:cubicBezTo>
                            <a:lnTo>
                              <a:pt x="37562" y="9089"/>
                            </a:lnTo>
                            <a:cubicBezTo>
                              <a:pt x="35324" y="137"/>
                              <a:pt x="28065" y="-649"/>
                              <a:pt x="19295" y="319"/>
                            </a:cubicBezTo>
                            <a:cubicBezTo>
                              <a:pt x="10525" y="1287"/>
                              <a:pt x="2117" y="7759"/>
                              <a:pt x="0" y="16227"/>
                            </a:cubicBezTo>
                            <a:lnTo>
                              <a:pt x="18267" y="55603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20" name="Freihandform: Form 419">
                        <a:extLst>
                          <a:ext uri="{FF2B5EF4-FFF2-40B4-BE49-F238E27FC236}">
                            <a16:creationId xmlns:a16="http://schemas.microsoft.com/office/drawing/2014/main" id="{881CA624-3D6E-3DD5-C79E-E6878E2C50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68150" y="3716396"/>
                        <a:ext cx="43649" cy="80478"/>
                      </a:xfrm>
                      <a:custGeom>
                        <a:avLst/>
                        <a:gdLst>
                          <a:gd name="connsiteX0" fmla="*/ 16815 w 43649"/>
                          <a:gd name="connsiteY0" fmla="*/ 55800 h 80478"/>
                          <a:gd name="connsiteX1" fmla="*/ 28307 w 43649"/>
                          <a:gd name="connsiteY1" fmla="*/ 80479 h 80478"/>
                          <a:gd name="connsiteX2" fmla="*/ 42340 w 43649"/>
                          <a:gd name="connsiteY2" fmla="*/ 40981 h 80478"/>
                          <a:gd name="connsiteX3" fmla="*/ 30606 w 43649"/>
                          <a:gd name="connsiteY3" fmla="*/ 4871 h 80478"/>
                          <a:gd name="connsiteX4" fmla="*/ 10162 w 43649"/>
                          <a:gd name="connsiteY4" fmla="*/ 1605 h 80478"/>
                          <a:gd name="connsiteX5" fmla="*/ 0 w 43649"/>
                          <a:gd name="connsiteY5" fmla="*/ 18722 h 80478"/>
                          <a:gd name="connsiteX6" fmla="*/ 16876 w 43649"/>
                          <a:gd name="connsiteY6" fmla="*/ 55861 h 8047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3649" h="80478">
                            <a:moveTo>
                              <a:pt x="16815" y="55800"/>
                            </a:moveTo>
                            <a:lnTo>
                              <a:pt x="28307" y="80479"/>
                            </a:lnTo>
                            <a:cubicBezTo>
                              <a:pt x="44578" y="73946"/>
                              <a:pt x="45183" y="54046"/>
                              <a:pt x="42340" y="40981"/>
                            </a:cubicBezTo>
                            <a:cubicBezTo>
                              <a:pt x="39497" y="27916"/>
                              <a:pt x="30606" y="4871"/>
                              <a:pt x="30606" y="4871"/>
                            </a:cubicBezTo>
                            <a:cubicBezTo>
                              <a:pt x="24134" y="-694"/>
                              <a:pt x="16634" y="-1057"/>
                              <a:pt x="10162" y="1605"/>
                            </a:cubicBezTo>
                            <a:cubicBezTo>
                              <a:pt x="3690" y="4206"/>
                              <a:pt x="786" y="10194"/>
                              <a:pt x="0" y="18722"/>
                            </a:cubicBezTo>
                            <a:lnTo>
                              <a:pt x="16876" y="55861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21" name="Grafik 297">
                      <a:extLst>
                        <a:ext uri="{FF2B5EF4-FFF2-40B4-BE49-F238E27FC236}">
                          <a16:creationId xmlns:a16="http://schemas.microsoft.com/office/drawing/2014/main" id="{E8FAD5B3-0B89-ED00-88F5-67869CFF5A3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278" y="3599477"/>
                      <a:ext cx="56322" cy="153424"/>
                      <a:chOff x="134278" y="3599477"/>
                      <a:chExt cx="56322" cy="153424"/>
                    </a:xfrm>
                    <a:solidFill>
                      <a:srgbClr val="02787D"/>
                    </a:solidFill>
                  </p:grpSpPr>
                  <p:sp>
                    <p:nvSpPr>
                      <p:cNvPr id="422" name="Freihandform: Form 421">
                        <a:extLst>
                          <a:ext uri="{FF2B5EF4-FFF2-40B4-BE49-F238E27FC236}">
                            <a16:creationId xmlns:a16="http://schemas.microsoft.com/office/drawing/2014/main" id="{4E881F46-C9F0-F5E9-CF2C-A6C31BAB5AC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278" y="3599477"/>
                        <a:ext cx="44676" cy="72318"/>
                      </a:xfrm>
                      <a:custGeom>
                        <a:avLst/>
                        <a:gdLst>
                          <a:gd name="connsiteX0" fmla="*/ 0 w 44676"/>
                          <a:gd name="connsiteY0" fmla="*/ 63301 h 72318"/>
                          <a:gd name="connsiteX1" fmla="*/ 19537 w 44676"/>
                          <a:gd name="connsiteY1" fmla="*/ 72071 h 72318"/>
                          <a:gd name="connsiteX2" fmla="*/ 34719 w 44676"/>
                          <a:gd name="connsiteY2" fmla="*/ 55256 h 72318"/>
                          <a:gd name="connsiteX3" fmla="*/ 44397 w 44676"/>
                          <a:gd name="connsiteY3" fmla="*/ 19085 h 72318"/>
                          <a:gd name="connsiteX4" fmla="*/ 33570 w 44676"/>
                          <a:gd name="connsiteY4" fmla="*/ 819 h 72318"/>
                          <a:gd name="connsiteX5" fmla="*/ 7984 w 44676"/>
                          <a:gd name="connsiteY5" fmla="*/ 13884 h 72318"/>
                          <a:gd name="connsiteX6" fmla="*/ 60 w 44676"/>
                          <a:gd name="connsiteY6" fmla="*/ 63301 h 723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4676" h="72318">
                            <a:moveTo>
                              <a:pt x="0" y="63301"/>
                            </a:moveTo>
                            <a:cubicBezTo>
                              <a:pt x="0" y="63301"/>
                              <a:pt x="5867" y="74067"/>
                              <a:pt x="19537" y="72071"/>
                            </a:cubicBezTo>
                            <a:cubicBezTo>
                              <a:pt x="32904" y="70075"/>
                              <a:pt x="34719" y="55256"/>
                              <a:pt x="34719" y="55256"/>
                            </a:cubicBezTo>
                            <a:lnTo>
                              <a:pt x="44397" y="19085"/>
                            </a:lnTo>
                            <a:cubicBezTo>
                              <a:pt x="45667" y="7835"/>
                              <a:pt x="42703" y="2815"/>
                              <a:pt x="33570" y="819"/>
                            </a:cubicBezTo>
                            <a:cubicBezTo>
                              <a:pt x="24557" y="-1601"/>
                              <a:pt x="11129" y="940"/>
                              <a:pt x="7984" y="13884"/>
                            </a:cubicBezTo>
                            <a:lnTo>
                              <a:pt x="60" y="63301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23" name="Freihandform: Form 422">
                        <a:extLst>
                          <a:ext uri="{FF2B5EF4-FFF2-40B4-BE49-F238E27FC236}">
                            <a16:creationId xmlns:a16="http://schemas.microsoft.com/office/drawing/2014/main" id="{4C41643D-B859-8C82-353C-9320CB6432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339" y="3644143"/>
                        <a:ext cx="45538" cy="61600"/>
                      </a:xfrm>
                      <a:custGeom>
                        <a:avLst/>
                        <a:gdLst>
                          <a:gd name="connsiteX0" fmla="*/ 17239 w 45538"/>
                          <a:gd name="connsiteY0" fmla="*/ 55349 h 61600"/>
                          <a:gd name="connsiteX1" fmla="*/ 35808 w 45538"/>
                          <a:gd name="connsiteY1" fmla="*/ 60430 h 61600"/>
                          <a:gd name="connsiteX2" fmla="*/ 43913 w 45538"/>
                          <a:gd name="connsiteY2" fmla="*/ 39562 h 61600"/>
                          <a:gd name="connsiteX3" fmla="*/ 34719 w 45538"/>
                          <a:gd name="connsiteY3" fmla="*/ 10590 h 61600"/>
                          <a:gd name="connsiteX4" fmla="*/ 13972 w 45538"/>
                          <a:gd name="connsiteY4" fmla="*/ 1033 h 61600"/>
                          <a:gd name="connsiteX5" fmla="*/ 0 w 45538"/>
                          <a:gd name="connsiteY5" fmla="*/ 18634 h 61600"/>
                          <a:gd name="connsiteX6" fmla="*/ 17239 w 45538"/>
                          <a:gd name="connsiteY6" fmla="*/ 55349 h 616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5538" h="61600">
                            <a:moveTo>
                              <a:pt x="17239" y="55349"/>
                            </a:moveTo>
                            <a:cubicBezTo>
                              <a:pt x="17239" y="55349"/>
                              <a:pt x="20686" y="64846"/>
                              <a:pt x="35808" y="60430"/>
                            </a:cubicBezTo>
                            <a:cubicBezTo>
                              <a:pt x="50929" y="55894"/>
                              <a:pt x="43913" y="39562"/>
                              <a:pt x="43913" y="39562"/>
                            </a:cubicBezTo>
                            <a:lnTo>
                              <a:pt x="34719" y="10590"/>
                            </a:lnTo>
                            <a:cubicBezTo>
                              <a:pt x="31029" y="3513"/>
                              <a:pt x="24920" y="-2475"/>
                              <a:pt x="13972" y="1033"/>
                            </a:cubicBezTo>
                            <a:cubicBezTo>
                              <a:pt x="3932" y="4843"/>
                              <a:pt x="1936" y="10711"/>
                              <a:pt x="0" y="18634"/>
                            </a:cubicBezTo>
                            <a:lnTo>
                              <a:pt x="17239" y="55349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24" name="Freihandform: Form 423">
                        <a:extLst>
                          <a:ext uri="{FF2B5EF4-FFF2-40B4-BE49-F238E27FC236}">
                            <a16:creationId xmlns:a16="http://schemas.microsoft.com/office/drawing/2014/main" id="{54F5F9D4-DAF9-8652-7832-285BF4EF8CC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581" y="3678059"/>
                        <a:ext cx="41019" cy="74842"/>
                      </a:xfrm>
                      <a:custGeom>
                        <a:avLst/>
                        <a:gdLst>
                          <a:gd name="connsiteX0" fmla="*/ 15968 w 41019"/>
                          <a:gd name="connsiteY0" fmla="*/ 51858 h 74842"/>
                          <a:gd name="connsiteX1" fmla="*/ 26795 w 41019"/>
                          <a:gd name="connsiteY1" fmla="*/ 74842 h 74842"/>
                          <a:gd name="connsiteX2" fmla="*/ 39739 w 41019"/>
                          <a:gd name="connsiteY2" fmla="*/ 37825 h 74842"/>
                          <a:gd name="connsiteX3" fmla="*/ 28610 w 41019"/>
                          <a:gd name="connsiteY3" fmla="*/ 5586 h 74842"/>
                          <a:gd name="connsiteX4" fmla="*/ 9436 w 41019"/>
                          <a:gd name="connsiteY4" fmla="*/ 1110 h 74842"/>
                          <a:gd name="connsiteX5" fmla="*/ 0 w 41019"/>
                          <a:gd name="connsiteY5" fmla="*/ 17139 h 74842"/>
                          <a:gd name="connsiteX6" fmla="*/ 15968 w 41019"/>
                          <a:gd name="connsiteY6" fmla="*/ 51797 h 7484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1019" h="74842">
                            <a:moveTo>
                              <a:pt x="15968" y="51858"/>
                            </a:moveTo>
                            <a:lnTo>
                              <a:pt x="26795" y="74842"/>
                            </a:lnTo>
                            <a:cubicBezTo>
                              <a:pt x="41977" y="68673"/>
                              <a:pt x="42461" y="50043"/>
                              <a:pt x="39739" y="37825"/>
                            </a:cubicBezTo>
                            <a:cubicBezTo>
                              <a:pt x="37017" y="25607"/>
                              <a:pt x="28610" y="5586"/>
                              <a:pt x="28610" y="5586"/>
                            </a:cubicBezTo>
                            <a:cubicBezTo>
                              <a:pt x="22561" y="384"/>
                              <a:pt x="15484" y="-1370"/>
                              <a:pt x="9436" y="1110"/>
                            </a:cubicBezTo>
                            <a:cubicBezTo>
                              <a:pt x="3387" y="3530"/>
                              <a:pt x="726" y="9155"/>
                              <a:pt x="0" y="17139"/>
                            </a:cubicBezTo>
                            <a:lnTo>
                              <a:pt x="15968" y="5179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425" name="Freihandform: Form 424">
                      <a:extLst>
                        <a:ext uri="{FF2B5EF4-FFF2-40B4-BE49-F238E27FC236}">
                          <a16:creationId xmlns:a16="http://schemas.microsoft.com/office/drawing/2014/main" id="{D357EBCB-CC64-D119-FEFE-7D5C4F34F9C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537" y="3462369"/>
                      <a:ext cx="174817" cy="206099"/>
                    </a:xfrm>
                    <a:custGeom>
                      <a:avLst/>
                      <a:gdLst>
                        <a:gd name="connsiteX0" fmla="*/ 52804 w 174817"/>
                        <a:gd name="connsiteY0" fmla="*/ 17257 h 206099"/>
                        <a:gd name="connsiteX1" fmla="*/ 23831 w 174817"/>
                        <a:gd name="connsiteY1" fmla="*/ 59174 h 206099"/>
                        <a:gd name="connsiteX2" fmla="*/ 0 w 174817"/>
                        <a:gd name="connsiteY2" fmla="*/ 154742 h 206099"/>
                        <a:gd name="connsiteX3" fmla="*/ 121879 w 174817"/>
                        <a:gd name="connsiteY3" fmla="*/ 206034 h 206099"/>
                        <a:gd name="connsiteX4" fmla="*/ 137787 w 174817"/>
                        <a:gd name="connsiteY4" fmla="*/ 181174 h 206099"/>
                        <a:gd name="connsiteX5" fmla="*/ 174623 w 174817"/>
                        <a:gd name="connsiteY5" fmla="*/ 68670 h 206099"/>
                        <a:gd name="connsiteX6" fmla="*/ 168332 w 174817"/>
                        <a:gd name="connsiteY6" fmla="*/ 27721 h 206099"/>
                        <a:gd name="connsiteX7" fmla="*/ 52804 w 174817"/>
                        <a:gd name="connsiteY7" fmla="*/ 17257 h 2060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74817" h="206099">
                          <a:moveTo>
                            <a:pt x="52804" y="17257"/>
                          </a:moveTo>
                          <a:cubicBezTo>
                            <a:pt x="38892" y="30201"/>
                            <a:pt x="35021" y="36068"/>
                            <a:pt x="23831" y="59174"/>
                          </a:cubicBezTo>
                          <a:cubicBezTo>
                            <a:pt x="3327" y="112462"/>
                            <a:pt x="302" y="153472"/>
                            <a:pt x="0" y="154742"/>
                          </a:cubicBezTo>
                          <a:cubicBezTo>
                            <a:pt x="1210" y="158129"/>
                            <a:pt x="24920" y="208151"/>
                            <a:pt x="121879" y="206034"/>
                          </a:cubicBezTo>
                          <a:cubicBezTo>
                            <a:pt x="127988" y="172585"/>
                            <a:pt x="137666" y="181235"/>
                            <a:pt x="137787" y="181174"/>
                          </a:cubicBezTo>
                          <a:cubicBezTo>
                            <a:pt x="137787" y="181174"/>
                            <a:pt x="167667" y="127886"/>
                            <a:pt x="174623" y="68670"/>
                          </a:cubicBezTo>
                          <a:cubicBezTo>
                            <a:pt x="176135" y="55847"/>
                            <a:pt x="168332" y="27721"/>
                            <a:pt x="168332" y="27721"/>
                          </a:cubicBezTo>
                          <a:cubicBezTo>
                            <a:pt x="164038" y="-5667"/>
                            <a:pt x="76152" y="-8570"/>
                            <a:pt x="52804" y="17257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26" name="Freihandform: Form 425">
                      <a:extLst>
                        <a:ext uri="{FF2B5EF4-FFF2-40B4-BE49-F238E27FC236}">
                          <a16:creationId xmlns:a16="http://schemas.microsoft.com/office/drawing/2014/main" id="{C44C81AD-A4BA-B470-4011-A7FB3670E7F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3920" y="3485840"/>
                      <a:ext cx="87053" cy="155308"/>
                    </a:xfrm>
                    <a:custGeom>
                      <a:avLst/>
                      <a:gdLst>
                        <a:gd name="connsiteX0" fmla="*/ 55950 w 87053"/>
                        <a:gd name="connsiteY0" fmla="*/ 4250 h 155308"/>
                        <a:gd name="connsiteX1" fmla="*/ 85043 w 87053"/>
                        <a:gd name="connsiteY1" fmla="*/ 131331 h 155308"/>
                        <a:gd name="connsiteX2" fmla="*/ 21835 w 87053"/>
                        <a:gd name="connsiteY2" fmla="*/ 146150 h 155308"/>
                        <a:gd name="connsiteX3" fmla="*/ 0 w 87053"/>
                        <a:gd name="connsiteY3" fmla="*/ 76107 h 155308"/>
                        <a:gd name="connsiteX4" fmla="*/ 55950 w 87053"/>
                        <a:gd name="connsiteY4" fmla="*/ 4190 h 15530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7053" h="155308">
                          <a:moveTo>
                            <a:pt x="55950" y="4250"/>
                          </a:moveTo>
                          <a:cubicBezTo>
                            <a:pt x="77120" y="30682"/>
                            <a:pt x="92785" y="95644"/>
                            <a:pt x="85043" y="131331"/>
                          </a:cubicBezTo>
                          <a:cubicBezTo>
                            <a:pt x="80507" y="158368"/>
                            <a:pt x="26916" y="161392"/>
                            <a:pt x="21835" y="146150"/>
                          </a:cubicBezTo>
                          <a:cubicBezTo>
                            <a:pt x="21835" y="146150"/>
                            <a:pt x="0" y="101028"/>
                            <a:pt x="0" y="76107"/>
                          </a:cubicBezTo>
                          <a:cubicBezTo>
                            <a:pt x="0" y="30924"/>
                            <a:pt x="41312" y="-14138"/>
                            <a:pt x="55950" y="4190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27" name="Freihandform: Form 426">
                      <a:extLst>
                        <a:ext uri="{FF2B5EF4-FFF2-40B4-BE49-F238E27FC236}">
                          <a16:creationId xmlns:a16="http://schemas.microsoft.com/office/drawing/2014/main" id="{3F73E6A5-8A52-DEE0-F606-2468C1C373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67523" y="3590194"/>
                      <a:ext cx="71027" cy="149944"/>
                    </a:xfrm>
                    <a:custGeom>
                      <a:avLst/>
                      <a:gdLst>
                        <a:gd name="connsiteX0" fmla="*/ 70956 w 71027"/>
                        <a:gd name="connsiteY0" fmla="*/ 29336 h 149944"/>
                        <a:gd name="connsiteX1" fmla="*/ 51722 w 71027"/>
                        <a:gd name="connsiteY1" fmla="*/ 90910 h 149944"/>
                        <a:gd name="connsiteX2" fmla="*/ 14704 w 71027"/>
                        <a:gd name="connsiteY2" fmla="*/ 149945 h 149944"/>
                        <a:gd name="connsiteX3" fmla="*/ 6 w 71027"/>
                        <a:gd name="connsiteY3" fmla="*/ 123996 h 149944"/>
                        <a:gd name="connsiteX4" fmla="*/ 16035 w 71027"/>
                        <a:gd name="connsiteY4" fmla="*/ 85346 h 149944"/>
                        <a:gd name="connsiteX5" fmla="*/ 8293 w 71027"/>
                        <a:gd name="connsiteY5" fmla="*/ 41796 h 149944"/>
                        <a:gd name="connsiteX6" fmla="*/ 34725 w 71027"/>
                        <a:gd name="connsiteY6" fmla="*/ 423 h 149944"/>
                        <a:gd name="connsiteX7" fmla="*/ 71017 w 71027"/>
                        <a:gd name="connsiteY7" fmla="*/ 29275 h 14994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71027" h="149944">
                          <a:moveTo>
                            <a:pt x="70956" y="29336"/>
                          </a:moveTo>
                          <a:lnTo>
                            <a:pt x="51722" y="90910"/>
                          </a:lnTo>
                          <a:lnTo>
                            <a:pt x="14704" y="149945"/>
                          </a:lnTo>
                          <a:cubicBezTo>
                            <a:pt x="14704" y="149945"/>
                            <a:pt x="974" y="147646"/>
                            <a:pt x="6" y="123996"/>
                          </a:cubicBezTo>
                          <a:cubicBezTo>
                            <a:pt x="-296" y="117040"/>
                            <a:pt x="10349" y="98108"/>
                            <a:pt x="16035" y="85346"/>
                          </a:cubicBezTo>
                          <a:cubicBezTo>
                            <a:pt x="16398" y="62664"/>
                            <a:pt x="8293" y="41796"/>
                            <a:pt x="8293" y="41796"/>
                          </a:cubicBezTo>
                          <a:cubicBezTo>
                            <a:pt x="8293" y="41796"/>
                            <a:pt x="10652" y="4416"/>
                            <a:pt x="34725" y="423"/>
                          </a:cubicBezTo>
                          <a:cubicBezTo>
                            <a:pt x="55895" y="-3085"/>
                            <a:pt x="71501" y="15968"/>
                            <a:pt x="71017" y="2927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28" name="Freihandform: Form 427">
                      <a:extLst>
                        <a:ext uri="{FF2B5EF4-FFF2-40B4-BE49-F238E27FC236}">
                          <a16:creationId xmlns:a16="http://schemas.microsoft.com/office/drawing/2014/main" id="{E2895B75-2F18-59DC-BD69-5D8C32CA58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78856" y="3541362"/>
                      <a:ext cx="93208" cy="118390"/>
                    </a:xfrm>
                    <a:custGeom>
                      <a:avLst/>
                      <a:gdLst>
                        <a:gd name="connsiteX0" fmla="*/ 66837 w 93208"/>
                        <a:gd name="connsiteY0" fmla="*/ 23609 h 118390"/>
                        <a:gd name="connsiteX1" fmla="*/ 37078 w 93208"/>
                        <a:gd name="connsiteY1" fmla="*/ 17198 h 118390"/>
                        <a:gd name="connsiteX2" fmla="*/ 0 w 93208"/>
                        <a:gd name="connsiteY2" fmla="*/ 74478 h 118390"/>
                        <a:gd name="connsiteX3" fmla="*/ 86374 w 93208"/>
                        <a:gd name="connsiteY3" fmla="*/ 118391 h 118390"/>
                        <a:gd name="connsiteX4" fmla="*/ 93209 w 93208"/>
                        <a:gd name="connsiteY4" fmla="*/ 103390 h 118390"/>
                        <a:gd name="connsiteX5" fmla="*/ 66837 w 93208"/>
                        <a:gd name="connsiteY5" fmla="*/ 23609 h 11839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93208" h="118390">
                          <a:moveTo>
                            <a:pt x="66837" y="23609"/>
                          </a:moveTo>
                          <a:cubicBezTo>
                            <a:pt x="69861" y="-2400"/>
                            <a:pt x="47844" y="-10263"/>
                            <a:pt x="37078" y="17198"/>
                          </a:cubicBezTo>
                          <a:cubicBezTo>
                            <a:pt x="29941" y="35344"/>
                            <a:pt x="32904" y="48711"/>
                            <a:pt x="0" y="74478"/>
                          </a:cubicBezTo>
                          <a:cubicBezTo>
                            <a:pt x="35445" y="68792"/>
                            <a:pt x="57401" y="83490"/>
                            <a:pt x="86374" y="118391"/>
                          </a:cubicBezTo>
                          <a:cubicBezTo>
                            <a:pt x="90547" y="107080"/>
                            <a:pt x="93148" y="103390"/>
                            <a:pt x="93209" y="103390"/>
                          </a:cubicBezTo>
                          <a:cubicBezTo>
                            <a:pt x="79600" y="95345"/>
                            <a:pt x="62059" y="64619"/>
                            <a:pt x="66837" y="23609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grpSp>
              <p:nvGrpSpPr>
                <p:cNvPr id="429" name="Grafik 297">
                  <a:extLst>
                    <a:ext uri="{FF2B5EF4-FFF2-40B4-BE49-F238E27FC236}">
                      <a16:creationId xmlns:a16="http://schemas.microsoft.com/office/drawing/2014/main" id="{34675A6E-D9C7-D8AC-0EE5-27AE7AE89CFD}"/>
                    </a:ext>
                  </a:extLst>
                </p:cNvPr>
                <p:cNvGrpSpPr/>
                <p:nvPr/>
              </p:nvGrpSpPr>
              <p:grpSpPr>
                <a:xfrm>
                  <a:off x="194280" y="2857225"/>
                  <a:ext cx="247629" cy="636603"/>
                  <a:chOff x="194280" y="2857225"/>
                  <a:chExt cx="247629" cy="636603"/>
                </a:xfrm>
              </p:grpSpPr>
              <p:sp>
                <p:nvSpPr>
                  <p:cNvPr id="430" name="Freihandform: Form 429">
                    <a:extLst>
                      <a:ext uri="{FF2B5EF4-FFF2-40B4-BE49-F238E27FC236}">
                        <a16:creationId xmlns:a16="http://schemas.microsoft.com/office/drawing/2014/main" id="{0FC2DA7E-7E70-61B5-37C6-DC536A77B913}"/>
                      </a:ext>
                    </a:extLst>
                  </p:cNvPr>
                  <p:cNvSpPr/>
                  <p:nvPr/>
                </p:nvSpPr>
                <p:spPr>
                  <a:xfrm>
                    <a:off x="194280" y="2955333"/>
                    <a:ext cx="244484" cy="537175"/>
                  </a:xfrm>
                  <a:custGeom>
                    <a:avLst/>
                    <a:gdLst>
                      <a:gd name="connsiteX0" fmla="*/ 0 w 244484"/>
                      <a:gd name="connsiteY0" fmla="*/ 526712 h 537175"/>
                      <a:gd name="connsiteX1" fmla="*/ 115589 w 244484"/>
                      <a:gd name="connsiteY1" fmla="*/ 537176 h 537175"/>
                      <a:gd name="connsiteX2" fmla="*/ 244484 w 244484"/>
                      <a:gd name="connsiteY2" fmla="*/ 34356 h 537175"/>
                      <a:gd name="connsiteX3" fmla="*/ 34114 w 244484"/>
                      <a:gd name="connsiteY3" fmla="*/ 0 h 537175"/>
                      <a:gd name="connsiteX4" fmla="*/ 0 w 244484"/>
                      <a:gd name="connsiteY4" fmla="*/ 526712 h 537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4484" h="537175">
                        <a:moveTo>
                          <a:pt x="0" y="526712"/>
                        </a:moveTo>
                        <a:lnTo>
                          <a:pt x="115589" y="537176"/>
                        </a:lnTo>
                        <a:lnTo>
                          <a:pt x="244484" y="34356"/>
                        </a:lnTo>
                        <a:lnTo>
                          <a:pt x="34114" y="0"/>
                        </a:lnTo>
                        <a:lnTo>
                          <a:pt x="0" y="526712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1" name="Freihandform: Form 430">
                    <a:extLst>
                      <a:ext uri="{FF2B5EF4-FFF2-40B4-BE49-F238E27FC236}">
                        <a16:creationId xmlns:a16="http://schemas.microsoft.com/office/drawing/2014/main" id="{7946848D-7B34-E8D7-BDF3-A920E41851C5}"/>
                      </a:ext>
                    </a:extLst>
                  </p:cNvPr>
                  <p:cNvSpPr/>
                  <p:nvPr/>
                </p:nvSpPr>
                <p:spPr>
                  <a:xfrm>
                    <a:off x="228032" y="2857225"/>
                    <a:ext cx="213878" cy="213878"/>
                  </a:xfrm>
                  <a:custGeom>
                    <a:avLst/>
                    <a:gdLst>
                      <a:gd name="connsiteX0" fmla="*/ 213878 w 213878"/>
                      <a:gd name="connsiteY0" fmla="*/ 106939 h 213878"/>
                      <a:gd name="connsiteX1" fmla="*/ 106939 w 213878"/>
                      <a:gd name="connsiteY1" fmla="*/ 213878 h 213878"/>
                      <a:gd name="connsiteX2" fmla="*/ 0 w 213878"/>
                      <a:gd name="connsiteY2" fmla="*/ 106939 h 213878"/>
                      <a:gd name="connsiteX3" fmla="*/ 106939 w 213878"/>
                      <a:gd name="connsiteY3" fmla="*/ 0 h 213878"/>
                      <a:gd name="connsiteX4" fmla="*/ 213878 w 213878"/>
                      <a:gd name="connsiteY4" fmla="*/ 106939 h 21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3878" h="213878">
                        <a:moveTo>
                          <a:pt x="213878" y="106939"/>
                        </a:moveTo>
                        <a:cubicBezTo>
                          <a:pt x="213878" y="166000"/>
                          <a:pt x="166000" y="213878"/>
                          <a:pt x="106939" y="213878"/>
                        </a:cubicBezTo>
                        <a:cubicBezTo>
                          <a:pt x="47878" y="213878"/>
                          <a:pt x="0" y="166000"/>
                          <a:pt x="0" y="106939"/>
                        </a:cubicBezTo>
                        <a:cubicBezTo>
                          <a:pt x="0" y="47878"/>
                          <a:pt x="47878" y="0"/>
                          <a:pt x="106939" y="0"/>
                        </a:cubicBezTo>
                        <a:cubicBezTo>
                          <a:pt x="166000" y="0"/>
                          <a:pt x="213878" y="47878"/>
                          <a:pt x="213878" y="106939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2" name="Freihandform: Form 431">
                    <a:extLst>
                      <a:ext uri="{FF2B5EF4-FFF2-40B4-BE49-F238E27FC236}">
                        <a16:creationId xmlns:a16="http://schemas.microsoft.com/office/drawing/2014/main" id="{34014B00-1BCC-908E-A72C-11134A04F520}"/>
                      </a:ext>
                    </a:extLst>
                  </p:cNvPr>
                  <p:cNvSpPr/>
                  <p:nvPr/>
                </p:nvSpPr>
                <p:spPr>
                  <a:xfrm>
                    <a:off x="194280" y="3406377"/>
                    <a:ext cx="134944" cy="87451"/>
                  </a:xfrm>
                  <a:custGeom>
                    <a:avLst/>
                    <a:gdLst>
                      <a:gd name="connsiteX0" fmla="*/ 4899 w 134944"/>
                      <a:gd name="connsiteY0" fmla="*/ 0 h 87451"/>
                      <a:gd name="connsiteX1" fmla="*/ 0 w 134944"/>
                      <a:gd name="connsiteY1" fmla="*/ 75607 h 87451"/>
                      <a:gd name="connsiteX2" fmla="*/ 115528 w 134944"/>
                      <a:gd name="connsiteY2" fmla="*/ 86071 h 87451"/>
                      <a:gd name="connsiteX3" fmla="*/ 134944 w 134944"/>
                      <a:gd name="connsiteY3" fmla="*/ 10283 h 87451"/>
                      <a:gd name="connsiteX4" fmla="*/ 4839 w 134944"/>
                      <a:gd name="connsiteY4" fmla="*/ 0 h 874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4944" h="87451">
                        <a:moveTo>
                          <a:pt x="4899" y="0"/>
                        </a:moveTo>
                        <a:lnTo>
                          <a:pt x="0" y="75607"/>
                        </a:lnTo>
                        <a:cubicBezTo>
                          <a:pt x="36655" y="86676"/>
                          <a:pt x="75305" y="89519"/>
                          <a:pt x="115528" y="86071"/>
                        </a:cubicBezTo>
                        <a:lnTo>
                          <a:pt x="134944" y="10283"/>
                        </a:lnTo>
                        <a:lnTo>
                          <a:pt x="4839" y="0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33" name="Grafik 297">
                  <a:extLst>
                    <a:ext uri="{FF2B5EF4-FFF2-40B4-BE49-F238E27FC236}">
                      <a16:creationId xmlns:a16="http://schemas.microsoft.com/office/drawing/2014/main" id="{9C0B225F-D16E-1184-465F-D45B0308871A}"/>
                    </a:ext>
                  </a:extLst>
                </p:cNvPr>
                <p:cNvGrpSpPr/>
                <p:nvPr/>
              </p:nvGrpSpPr>
              <p:grpSpPr>
                <a:xfrm>
                  <a:off x="228455" y="2290411"/>
                  <a:ext cx="494351" cy="698612"/>
                  <a:chOff x="228455" y="2290411"/>
                  <a:chExt cx="494351" cy="698612"/>
                </a:xfrm>
              </p:grpSpPr>
              <p:sp>
                <p:nvSpPr>
                  <p:cNvPr id="434" name="Freihandform: Form 433">
                    <a:extLst>
                      <a:ext uri="{FF2B5EF4-FFF2-40B4-BE49-F238E27FC236}">
                        <a16:creationId xmlns:a16="http://schemas.microsoft.com/office/drawing/2014/main" id="{6AC75045-2628-3103-5DAA-2D44DAA1D762}"/>
                      </a:ext>
                    </a:extLst>
                  </p:cNvPr>
                  <p:cNvSpPr/>
                  <p:nvPr/>
                </p:nvSpPr>
                <p:spPr>
                  <a:xfrm>
                    <a:off x="237467" y="2772000"/>
                    <a:ext cx="265472" cy="217023"/>
                  </a:xfrm>
                  <a:custGeom>
                    <a:avLst/>
                    <a:gdLst>
                      <a:gd name="connsiteX0" fmla="*/ 0 w 265472"/>
                      <a:gd name="connsiteY0" fmla="*/ 148191 h 217023"/>
                      <a:gd name="connsiteX1" fmla="*/ 201297 w 265472"/>
                      <a:gd name="connsiteY1" fmla="*/ 217024 h 217023"/>
                      <a:gd name="connsiteX2" fmla="*/ 265473 w 265472"/>
                      <a:gd name="connsiteY2" fmla="*/ 95084 h 217023"/>
                      <a:gd name="connsiteX3" fmla="*/ 65567 w 265472"/>
                      <a:gd name="connsiteY3" fmla="*/ 0 h 217023"/>
                      <a:gd name="connsiteX4" fmla="*/ 0 w 265472"/>
                      <a:gd name="connsiteY4" fmla="*/ 148191 h 2170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5472" h="217023">
                        <a:moveTo>
                          <a:pt x="0" y="148191"/>
                        </a:moveTo>
                        <a:lnTo>
                          <a:pt x="201297" y="217024"/>
                        </a:lnTo>
                        <a:lnTo>
                          <a:pt x="265473" y="95084"/>
                        </a:lnTo>
                        <a:lnTo>
                          <a:pt x="65567" y="0"/>
                        </a:lnTo>
                        <a:lnTo>
                          <a:pt x="0" y="148191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5" name="Freihandform: Form 434">
                    <a:extLst>
                      <a:ext uri="{FF2B5EF4-FFF2-40B4-BE49-F238E27FC236}">
                        <a16:creationId xmlns:a16="http://schemas.microsoft.com/office/drawing/2014/main" id="{E484419E-9962-F876-2832-8C1D11CCE5F0}"/>
                      </a:ext>
                    </a:extLst>
                  </p:cNvPr>
                  <p:cNvSpPr/>
                  <p:nvPr/>
                </p:nvSpPr>
                <p:spPr>
                  <a:xfrm>
                    <a:off x="228455" y="2356643"/>
                    <a:ext cx="479532" cy="616231"/>
                  </a:xfrm>
                  <a:custGeom>
                    <a:avLst/>
                    <a:gdLst>
                      <a:gd name="connsiteX0" fmla="*/ 213576 w 479532"/>
                      <a:gd name="connsiteY0" fmla="*/ 60 h 616231"/>
                      <a:gd name="connsiteX1" fmla="*/ 0 w 479532"/>
                      <a:gd name="connsiteY1" fmla="*/ 525321 h 616231"/>
                      <a:gd name="connsiteX2" fmla="*/ 252347 w 479532"/>
                      <a:gd name="connsiteY2" fmla="*/ 616231 h 616231"/>
                      <a:gd name="connsiteX3" fmla="*/ 479533 w 479532"/>
                      <a:gd name="connsiteY3" fmla="*/ 153574 h 616231"/>
                      <a:gd name="connsiteX4" fmla="*/ 213515 w 479532"/>
                      <a:gd name="connsiteY4" fmla="*/ 0 h 6162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79532" h="616231">
                        <a:moveTo>
                          <a:pt x="213576" y="60"/>
                        </a:moveTo>
                        <a:cubicBezTo>
                          <a:pt x="130650" y="109963"/>
                          <a:pt x="0" y="525321"/>
                          <a:pt x="0" y="525321"/>
                        </a:cubicBezTo>
                        <a:lnTo>
                          <a:pt x="252347" y="616231"/>
                        </a:lnTo>
                        <a:lnTo>
                          <a:pt x="479533" y="153574"/>
                        </a:lnTo>
                        <a:cubicBezTo>
                          <a:pt x="397272" y="103854"/>
                          <a:pt x="353359" y="77785"/>
                          <a:pt x="213515" y="0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6" name="Freihandform: Form 435">
                    <a:extLst>
                      <a:ext uri="{FF2B5EF4-FFF2-40B4-BE49-F238E27FC236}">
                        <a16:creationId xmlns:a16="http://schemas.microsoft.com/office/drawing/2014/main" id="{15F28F44-AB44-F59F-E144-8414F2D692F5}"/>
                      </a:ext>
                    </a:extLst>
                  </p:cNvPr>
                  <p:cNvSpPr/>
                  <p:nvPr/>
                </p:nvSpPr>
                <p:spPr>
                  <a:xfrm>
                    <a:off x="414570" y="2290411"/>
                    <a:ext cx="308236" cy="308236"/>
                  </a:xfrm>
                  <a:custGeom>
                    <a:avLst/>
                    <a:gdLst>
                      <a:gd name="connsiteX0" fmla="*/ 308236 w 308236"/>
                      <a:gd name="connsiteY0" fmla="*/ 154118 h 308236"/>
                      <a:gd name="connsiteX1" fmla="*/ 154118 w 308236"/>
                      <a:gd name="connsiteY1" fmla="*/ 308237 h 308236"/>
                      <a:gd name="connsiteX2" fmla="*/ 0 w 308236"/>
                      <a:gd name="connsiteY2" fmla="*/ 154118 h 308236"/>
                      <a:gd name="connsiteX3" fmla="*/ 154118 w 308236"/>
                      <a:gd name="connsiteY3" fmla="*/ 0 h 308236"/>
                      <a:gd name="connsiteX4" fmla="*/ 308236 w 308236"/>
                      <a:gd name="connsiteY4" fmla="*/ 154118 h 3082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8236" h="308236">
                        <a:moveTo>
                          <a:pt x="308236" y="154118"/>
                        </a:moveTo>
                        <a:cubicBezTo>
                          <a:pt x="308236" y="239235"/>
                          <a:pt x="239235" y="308237"/>
                          <a:pt x="154118" y="308237"/>
                        </a:cubicBezTo>
                        <a:cubicBezTo>
                          <a:pt x="69001" y="308237"/>
                          <a:pt x="0" y="239235"/>
                          <a:pt x="0" y="154118"/>
                        </a:cubicBezTo>
                        <a:cubicBezTo>
                          <a:pt x="0" y="69001"/>
                          <a:pt x="69001" y="0"/>
                          <a:pt x="154118" y="0"/>
                        </a:cubicBezTo>
                        <a:cubicBezTo>
                          <a:pt x="239235" y="0"/>
                          <a:pt x="308236" y="69001"/>
                          <a:pt x="308236" y="15411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37" name="Grafik 297">
                  <a:extLst>
                    <a:ext uri="{FF2B5EF4-FFF2-40B4-BE49-F238E27FC236}">
                      <a16:creationId xmlns:a16="http://schemas.microsoft.com/office/drawing/2014/main" id="{350E551F-2075-A471-9F9C-DA200AC653B4}"/>
                    </a:ext>
                  </a:extLst>
                </p:cNvPr>
                <p:cNvGrpSpPr/>
                <p:nvPr/>
              </p:nvGrpSpPr>
              <p:grpSpPr>
                <a:xfrm>
                  <a:off x="1011981" y="4899413"/>
                  <a:ext cx="528917" cy="254497"/>
                  <a:chOff x="1011981" y="4899413"/>
                  <a:chExt cx="528917" cy="254497"/>
                </a:xfrm>
              </p:grpSpPr>
              <p:sp>
                <p:nvSpPr>
                  <p:cNvPr id="438" name="Freihandform: Form 437">
                    <a:extLst>
                      <a:ext uri="{FF2B5EF4-FFF2-40B4-BE49-F238E27FC236}">
                        <a16:creationId xmlns:a16="http://schemas.microsoft.com/office/drawing/2014/main" id="{AC218323-0BCF-3C67-2B26-E0282E13A7E7}"/>
                      </a:ext>
                    </a:extLst>
                  </p:cNvPr>
                  <p:cNvSpPr/>
                  <p:nvPr/>
                </p:nvSpPr>
                <p:spPr>
                  <a:xfrm>
                    <a:off x="1011981" y="4899413"/>
                    <a:ext cx="527136" cy="243225"/>
                  </a:xfrm>
                  <a:custGeom>
                    <a:avLst/>
                    <a:gdLst>
                      <a:gd name="connsiteX0" fmla="*/ 14162 w 527136"/>
                      <a:gd name="connsiteY0" fmla="*/ 88430 h 243225"/>
                      <a:gd name="connsiteX1" fmla="*/ 5876 w 527136"/>
                      <a:gd name="connsiteY1" fmla="*/ 184845 h 243225"/>
                      <a:gd name="connsiteX2" fmla="*/ 25776 w 527136"/>
                      <a:gd name="connsiteY2" fmla="*/ 233778 h 243225"/>
                      <a:gd name="connsiteX3" fmla="*/ 45071 w 527136"/>
                      <a:gd name="connsiteY3" fmla="*/ 242609 h 243225"/>
                      <a:gd name="connsiteX4" fmla="*/ 505550 w 527136"/>
                      <a:gd name="connsiteY4" fmla="*/ 72281 h 243225"/>
                      <a:gd name="connsiteX5" fmla="*/ 490066 w 527136"/>
                      <a:gd name="connsiteY5" fmla="*/ 0 h 243225"/>
                      <a:gd name="connsiteX6" fmla="*/ 307822 w 527136"/>
                      <a:gd name="connsiteY6" fmla="*/ 27824 h 243225"/>
                      <a:gd name="connsiteX7" fmla="*/ 169309 w 527136"/>
                      <a:gd name="connsiteY7" fmla="*/ 18811 h 243225"/>
                      <a:gd name="connsiteX8" fmla="*/ 146506 w 527136"/>
                      <a:gd name="connsiteY8" fmla="*/ 63510 h 243225"/>
                      <a:gd name="connsiteX9" fmla="*/ 14223 w 527136"/>
                      <a:gd name="connsiteY9" fmla="*/ 88491 h 2432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527136" h="243225">
                        <a:moveTo>
                          <a:pt x="14162" y="88430"/>
                        </a:moveTo>
                        <a:cubicBezTo>
                          <a:pt x="14162" y="88430"/>
                          <a:pt x="-11121" y="138876"/>
                          <a:pt x="5876" y="184845"/>
                        </a:cubicBezTo>
                        <a:cubicBezTo>
                          <a:pt x="14646" y="208616"/>
                          <a:pt x="21360" y="224222"/>
                          <a:pt x="25776" y="233778"/>
                        </a:cubicBezTo>
                        <a:cubicBezTo>
                          <a:pt x="29163" y="241037"/>
                          <a:pt x="37329" y="244787"/>
                          <a:pt x="45071" y="242609"/>
                        </a:cubicBezTo>
                        <a:cubicBezTo>
                          <a:pt x="110819" y="223980"/>
                          <a:pt x="446516" y="134702"/>
                          <a:pt x="505550" y="72281"/>
                        </a:cubicBezTo>
                        <a:cubicBezTo>
                          <a:pt x="561923" y="12702"/>
                          <a:pt x="490066" y="0"/>
                          <a:pt x="490066" y="0"/>
                        </a:cubicBezTo>
                        <a:cubicBezTo>
                          <a:pt x="490066" y="0"/>
                          <a:pt x="389599" y="46454"/>
                          <a:pt x="307822" y="27824"/>
                        </a:cubicBezTo>
                        <a:cubicBezTo>
                          <a:pt x="234997" y="11251"/>
                          <a:pt x="178926" y="11614"/>
                          <a:pt x="169309" y="18811"/>
                        </a:cubicBezTo>
                        <a:cubicBezTo>
                          <a:pt x="159692" y="26009"/>
                          <a:pt x="161506" y="44336"/>
                          <a:pt x="146506" y="63510"/>
                        </a:cubicBezTo>
                        <a:cubicBezTo>
                          <a:pt x="131505" y="82685"/>
                          <a:pt x="23840" y="79963"/>
                          <a:pt x="14223" y="88491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9" name="Freihandform: Form 438">
                    <a:extLst>
                      <a:ext uri="{FF2B5EF4-FFF2-40B4-BE49-F238E27FC236}">
                        <a16:creationId xmlns:a16="http://schemas.microsoft.com/office/drawing/2014/main" id="{DAFD54A2-D098-ECCA-3B3B-C138E65B8743}"/>
                      </a:ext>
                    </a:extLst>
                  </p:cNvPr>
                  <p:cNvSpPr/>
                  <p:nvPr/>
                </p:nvSpPr>
                <p:spPr>
                  <a:xfrm>
                    <a:off x="1023059" y="4902195"/>
                    <a:ext cx="517840" cy="251715"/>
                  </a:xfrm>
                  <a:custGeom>
                    <a:avLst/>
                    <a:gdLst>
                      <a:gd name="connsiteX0" fmla="*/ 37380 w 517840"/>
                      <a:gd name="connsiteY0" fmla="*/ 251077 h 251715"/>
                      <a:gd name="connsiteX1" fmla="*/ 432596 w 517840"/>
                      <a:gd name="connsiteY1" fmla="*/ 120004 h 251715"/>
                      <a:gd name="connsiteX2" fmla="*/ 496469 w 517840"/>
                      <a:gd name="connsiteY2" fmla="*/ 74761 h 251715"/>
                      <a:gd name="connsiteX3" fmla="*/ 489694 w 517840"/>
                      <a:gd name="connsiteY3" fmla="*/ 0 h 251715"/>
                      <a:gd name="connsiteX4" fmla="*/ 474149 w 517840"/>
                      <a:gd name="connsiteY4" fmla="*/ 33146 h 251715"/>
                      <a:gd name="connsiteX5" fmla="*/ 0 w 517840"/>
                      <a:gd name="connsiteY5" fmla="*/ 196035 h 251715"/>
                      <a:gd name="connsiteX6" fmla="*/ 17964 w 517840"/>
                      <a:gd name="connsiteY6" fmla="*/ 242186 h 251715"/>
                      <a:gd name="connsiteX7" fmla="*/ 37320 w 517840"/>
                      <a:gd name="connsiteY7" fmla="*/ 251077 h 2517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17840" h="251715">
                        <a:moveTo>
                          <a:pt x="37380" y="251077"/>
                        </a:moveTo>
                        <a:cubicBezTo>
                          <a:pt x="38832" y="250654"/>
                          <a:pt x="431386" y="120609"/>
                          <a:pt x="432596" y="120004"/>
                        </a:cubicBezTo>
                        <a:cubicBezTo>
                          <a:pt x="466407" y="105004"/>
                          <a:pt x="484734" y="87221"/>
                          <a:pt x="496469" y="74761"/>
                        </a:cubicBezTo>
                        <a:cubicBezTo>
                          <a:pt x="538688" y="30122"/>
                          <a:pt x="508506" y="4234"/>
                          <a:pt x="489694" y="0"/>
                        </a:cubicBezTo>
                        <a:cubicBezTo>
                          <a:pt x="486428" y="7319"/>
                          <a:pt x="483283" y="23469"/>
                          <a:pt x="474149" y="33146"/>
                        </a:cubicBezTo>
                        <a:cubicBezTo>
                          <a:pt x="411788" y="99076"/>
                          <a:pt x="41856" y="185631"/>
                          <a:pt x="0" y="196035"/>
                        </a:cubicBezTo>
                        <a:cubicBezTo>
                          <a:pt x="7621" y="216298"/>
                          <a:pt x="13972" y="233476"/>
                          <a:pt x="17964" y="242186"/>
                        </a:cubicBezTo>
                        <a:cubicBezTo>
                          <a:pt x="21352" y="249505"/>
                          <a:pt x="29517" y="253315"/>
                          <a:pt x="37320" y="251077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40" name="Grafik 297">
                  <a:extLst>
                    <a:ext uri="{FF2B5EF4-FFF2-40B4-BE49-F238E27FC236}">
                      <a16:creationId xmlns:a16="http://schemas.microsoft.com/office/drawing/2014/main" id="{18743901-C8B4-CA59-1F5C-C158022821E7}"/>
                    </a:ext>
                  </a:extLst>
                </p:cNvPr>
                <p:cNvGrpSpPr/>
                <p:nvPr/>
              </p:nvGrpSpPr>
              <p:grpSpPr>
                <a:xfrm>
                  <a:off x="741194" y="4087994"/>
                  <a:ext cx="551329" cy="969001"/>
                  <a:chOff x="741194" y="4087994"/>
                  <a:chExt cx="551329" cy="969001"/>
                </a:xfrm>
                <a:solidFill>
                  <a:srgbClr val="02787D"/>
                </a:solidFill>
              </p:grpSpPr>
              <p:sp>
                <p:nvSpPr>
                  <p:cNvPr id="441" name="Freihandform: Form 440">
                    <a:extLst>
                      <a:ext uri="{FF2B5EF4-FFF2-40B4-BE49-F238E27FC236}">
                        <a16:creationId xmlns:a16="http://schemas.microsoft.com/office/drawing/2014/main" id="{EDD8BBA0-D9F3-780E-7AB4-2B3BFC3F9537}"/>
                      </a:ext>
                    </a:extLst>
                  </p:cNvPr>
                  <p:cNvSpPr/>
                  <p:nvPr/>
                </p:nvSpPr>
                <p:spPr>
                  <a:xfrm>
                    <a:off x="753352" y="4197221"/>
                    <a:ext cx="539171" cy="859774"/>
                  </a:xfrm>
                  <a:custGeom>
                    <a:avLst/>
                    <a:gdLst>
                      <a:gd name="connsiteX0" fmla="*/ 258638 w 539171"/>
                      <a:gd name="connsiteY0" fmla="*/ 859637 h 859774"/>
                      <a:gd name="connsiteX1" fmla="*/ 539172 w 539171"/>
                      <a:gd name="connsiteY1" fmla="*/ 728141 h 859774"/>
                      <a:gd name="connsiteX2" fmla="*/ 437253 w 539171"/>
                      <a:gd name="connsiteY2" fmla="*/ 484685 h 859774"/>
                      <a:gd name="connsiteX3" fmla="*/ 309930 w 539171"/>
                      <a:gd name="connsiteY3" fmla="*/ 10535 h 859774"/>
                      <a:gd name="connsiteX4" fmla="*/ 0 w 539171"/>
                      <a:gd name="connsiteY4" fmla="*/ 117172 h 859774"/>
                      <a:gd name="connsiteX5" fmla="*/ 169905 w 539171"/>
                      <a:gd name="connsiteY5" fmla="*/ 715257 h 859774"/>
                      <a:gd name="connsiteX6" fmla="*/ 258638 w 539171"/>
                      <a:gd name="connsiteY6" fmla="*/ 859637 h 8597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39171" h="859774">
                        <a:moveTo>
                          <a:pt x="258638" y="859637"/>
                        </a:moveTo>
                        <a:lnTo>
                          <a:pt x="539172" y="728141"/>
                        </a:lnTo>
                        <a:cubicBezTo>
                          <a:pt x="539172" y="728141"/>
                          <a:pt x="448685" y="518133"/>
                          <a:pt x="437253" y="484685"/>
                        </a:cubicBezTo>
                        <a:cubicBezTo>
                          <a:pt x="425821" y="451236"/>
                          <a:pt x="309930" y="10535"/>
                          <a:pt x="309930" y="10535"/>
                        </a:cubicBezTo>
                        <a:cubicBezTo>
                          <a:pt x="194099" y="-20676"/>
                          <a:pt x="72160" y="18217"/>
                          <a:pt x="0" y="117172"/>
                        </a:cubicBezTo>
                        <a:cubicBezTo>
                          <a:pt x="26372" y="349740"/>
                          <a:pt x="140327" y="605535"/>
                          <a:pt x="169905" y="715257"/>
                        </a:cubicBezTo>
                        <a:cubicBezTo>
                          <a:pt x="187930" y="782276"/>
                          <a:pt x="222407" y="863569"/>
                          <a:pt x="258638" y="859637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2" name="Freihandform: Form 441">
                    <a:extLst>
                      <a:ext uri="{FF2B5EF4-FFF2-40B4-BE49-F238E27FC236}">
                        <a16:creationId xmlns:a16="http://schemas.microsoft.com/office/drawing/2014/main" id="{691B106E-B2F2-4620-A188-DBEC1AF28681}"/>
                      </a:ext>
                    </a:extLst>
                  </p:cNvPr>
                  <p:cNvSpPr/>
                  <p:nvPr/>
                </p:nvSpPr>
                <p:spPr>
                  <a:xfrm>
                    <a:off x="741194" y="4087994"/>
                    <a:ext cx="328196" cy="328196"/>
                  </a:xfrm>
                  <a:custGeom>
                    <a:avLst/>
                    <a:gdLst>
                      <a:gd name="connsiteX0" fmla="*/ 328197 w 328196"/>
                      <a:gd name="connsiteY0" fmla="*/ 164098 h 328196"/>
                      <a:gd name="connsiteX1" fmla="*/ 164098 w 328196"/>
                      <a:gd name="connsiteY1" fmla="*/ 328197 h 328196"/>
                      <a:gd name="connsiteX2" fmla="*/ 0 w 328196"/>
                      <a:gd name="connsiteY2" fmla="*/ 164098 h 328196"/>
                      <a:gd name="connsiteX3" fmla="*/ 164098 w 328196"/>
                      <a:gd name="connsiteY3" fmla="*/ 0 h 328196"/>
                      <a:gd name="connsiteX4" fmla="*/ 328197 w 328196"/>
                      <a:gd name="connsiteY4" fmla="*/ 164098 h 3281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8196" h="328196">
                        <a:moveTo>
                          <a:pt x="328197" y="164098"/>
                        </a:moveTo>
                        <a:cubicBezTo>
                          <a:pt x="328197" y="254727"/>
                          <a:pt x="254727" y="328197"/>
                          <a:pt x="164098" y="328197"/>
                        </a:cubicBezTo>
                        <a:cubicBezTo>
                          <a:pt x="73469" y="328197"/>
                          <a:pt x="0" y="254727"/>
                          <a:pt x="0" y="164098"/>
                        </a:cubicBezTo>
                        <a:cubicBezTo>
                          <a:pt x="0" y="73469"/>
                          <a:pt x="73469" y="0"/>
                          <a:pt x="164098" y="0"/>
                        </a:cubicBezTo>
                        <a:cubicBezTo>
                          <a:pt x="254727" y="0"/>
                          <a:pt x="328197" y="73469"/>
                          <a:pt x="328197" y="16409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43" name="Grafik 297">
                  <a:extLst>
                    <a:ext uri="{FF2B5EF4-FFF2-40B4-BE49-F238E27FC236}">
                      <a16:creationId xmlns:a16="http://schemas.microsoft.com/office/drawing/2014/main" id="{7F182C8F-B976-6A77-380B-3E0A6BAA7389}"/>
                    </a:ext>
                  </a:extLst>
                </p:cNvPr>
                <p:cNvGrpSpPr/>
                <p:nvPr/>
              </p:nvGrpSpPr>
              <p:grpSpPr>
                <a:xfrm>
                  <a:off x="415417" y="3058220"/>
                  <a:ext cx="647865" cy="1260991"/>
                  <a:chOff x="415417" y="3058220"/>
                  <a:chExt cx="647865" cy="1260991"/>
                </a:xfrm>
                <a:solidFill>
                  <a:srgbClr val="02787D"/>
                </a:solidFill>
              </p:grpSpPr>
              <p:sp>
                <p:nvSpPr>
                  <p:cNvPr id="444" name="Freihandform: Form 443">
                    <a:extLst>
                      <a:ext uri="{FF2B5EF4-FFF2-40B4-BE49-F238E27FC236}">
                        <a16:creationId xmlns:a16="http://schemas.microsoft.com/office/drawing/2014/main" id="{EB0DE10F-920D-C1D0-C328-3B039D26F312}"/>
                      </a:ext>
                    </a:extLst>
                  </p:cNvPr>
                  <p:cNvSpPr/>
                  <p:nvPr/>
                </p:nvSpPr>
                <p:spPr>
                  <a:xfrm>
                    <a:off x="422857" y="3262239"/>
                    <a:ext cx="640425" cy="1056972"/>
                  </a:xfrm>
                  <a:custGeom>
                    <a:avLst/>
                    <a:gdLst>
                      <a:gd name="connsiteX0" fmla="*/ 60 w 640425"/>
                      <a:gd name="connsiteY0" fmla="*/ 100588 h 1056972"/>
                      <a:gd name="connsiteX1" fmla="*/ 478021 w 640425"/>
                      <a:gd name="connsiteY1" fmla="*/ 0 h 1056972"/>
                      <a:gd name="connsiteX2" fmla="*/ 559616 w 640425"/>
                      <a:gd name="connsiteY2" fmla="*/ 405861 h 1056972"/>
                      <a:gd name="connsiteX3" fmla="*/ 640425 w 640425"/>
                      <a:gd name="connsiteY3" fmla="*/ 945517 h 1056972"/>
                      <a:gd name="connsiteX4" fmla="*/ 330616 w 640425"/>
                      <a:gd name="connsiteY4" fmla="*/ 1052396 h 1056972"/>
                      <a:gd name="connsiteX5" fmla="*/ 0 w 640425"/>
                      <a:gd name="connsiteY5" fmla="*/ 100588 h 10569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40425" h="1056972">
                        <a:moveTo>
                          <a:pt x="60" y="100588"/>
                        </a:moveTo>
                        <a:cubicBezTo>
                          <a:pt x="6049" y="100588"/>
                          <a:pt x="478021" y="0"/>
                          <a:pt x="478021" y="0"/>
                        </a:cubicBezTo>
                        <a:cubicBezTo>
                          <a:pt x="478021" y="0"/>
                          <a:pt x="539837" y="303216"/>
                          <a:pt x="559616" y="405861"/>
                        </a:cubicBezTo>
                        <a:cubicBezTo>
                          <a:pt x="635466" y="799141"/>
                          <a:pt x="640425" y="945517"/>
                          <a:pt x="640425" y="945517"/>
                        </a:cubicBezTo>
                        <a:cubicBezTo>
                          <a:pt x="558043" y="1025600"/>
                          <a:pt x="438765" y="1072295"/>
                          <a:pt x="330616" y="1052396"/>
                        </a:cubicBezTo>
                        <a:cubicBezTo>
                          <a:pt x="265654" y="932149"/>
                          <a:pt x="64055" y="315555"/>
                          <a:pt x="0" y="10058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5" name="Freihandform: Form 444">
                    <a:extLst>
                      <a:ext uri="{FF2B5EF4-FFF2-40B4-BE49-F238E27FC236}">
                        <a16:creationId xmlns:a16="http://schemas.microsoft.com/office/drawing/2014/main" id="{DDAC25BC-8211-019E-7578-D3B500E8CE3A}"/>
                      </a:ext>
                    </a:extLst>
                  </p:cNvPr>
                  <p:cNvSpPr/>
                  <p:nvPr/>
                </p:nvSpPr>
                <p:spPr>
                  <a:xfrm>
                    <a:off x="415417" y="3058220"/>
                    <a:ext cx="488847" cy="488847"/>
                  </a:xfrm>
                  <a:custGeom>
                    <a:avLst/>
                    <a:gdLst>
                      <a:gd name="connsiteX0" fmla="*/ 488848 w 488847"/>
                      <a:gd name="connsiteY0" fmla="*/ 244424 h 488847"/>
                      <a:gd name="connsiteX1" fmla="*/ 244424 w 488847"/>
                      <a:gd name="connsiteY1" fmla="*/ 488848 h 488847"/>
                      <a:gd name="connsiteX2" fmla="*/ 0 w 488847"/>
                      <a:gd name="connsiteY2" fmla="*/ 244424 h 488847"/>
                      <a:gd name="connsiteX3" fmla="*/ 244424 w 488847"/>
                      <a:gd name="connsiteY3" fmla="*/ 0 h 488847"/>
                      <a:gd name="connsiteX4" fmla="*/ 488848 w 488847"/>
                      <a:gd name="connsiteY4" fmla="*/ 244424 h 4888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88847" h="488847">
                        <a:moveTo>
                          <a:pt x="488848" y="244424"/>
                        </a:moveTo>
                        <a:cubicBezTo>
                          <a:pt x="488848" y="379415"/>
                          <a:pt x="379415" y="488848"/>
                          <a:pt x="244424" y="488848"/>
                        </a:cubicBezTo>
                        <a:cubicBezTo>
                          <a:pt x="109432" y="488848"/>
                          <a:pt x="0" y="379415"/>
                          <a:pt x="0" y="244424"/>
                        </a:cubicBezTo>
                        <a:cubicBezTo>
                          <a:pt x="0" y="109432"/>
                          <a:pt x="109432" y="0"/>
                          <a:pt x="244424" y="0"/>
                        </a:cubicBezTo>
                        <a:cubicBezTo>
                          <a:pt x="379415" y="0"/>
                          <a:pt x="488848" y="109432"/>
                          <a:pt x="488848" y="244424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46" name="Grafik 297">
                  <a:extLst>
                    <a:ext uri="{FF2B5EF4-FFF2-40B4-BE49-F238E27FC236}">
                      <a16:creationId xmlns:a16="http://schemas.microsoft.com/office/drawing/2014/main" id="{85BF5121-1219-0FC2-7ED8-15976E2A0E1C}"/>
                    </a:ext>
                  </a:extLst>
                </p:cNvPr>
                <p:cNvGrpSpPr/>
                <p:nvPr/>
              </p:nvGrpSpPr>
              <p:grpSpPr>
                <a:xfrm>
                  <a:off x="48" y="4970823"/>
                  <a:ext cx="543691" cy="226344"/>
                  <a:chOff x="48" y="4970823"/>
                  <a:chExt cx="543691" cy="226344"/>
                </a:xfrm>
              </p:grpSpPr>
              <p:sp>
                <p:nvSpPr>
                  <p:cNvPr id="447" name="Freihandform: Form 446">
                    <a:extLst>
                      <a:ext uri="{FF2B5EF4-FFF2-40B4-BE49-F238E27FC236}">
                        <a16:creationId xmlns:a16="http://schemas.microsoft.com/office/drawing/2014/main" id="{95E220C9-A200-AF2C-3BB6-222A2991B0DB}"/>
                      </a:ext>
                    </a:extLst>
                  </p:cNvPr>
                  <p:cNvSpPr/>
                  <p:nvPr/>
                </p:nvSpPr>
                <p:spPr>
                  <a:xfrm>
                    <a:off x="2105" y="4970823"/>
                    <a:ext cx="540897" cy="215866"/>
                  </a:xfrm>
                  <a:custGeom>
                    <a:avLst/>
                    <a:gdLst>
                      <a:gd name="connsiteX0" fmla="*/ 55780 w 540897"/>
                      <a:gd name="connsiteY0" fmla="*/ 23 h 215866"/>
                      <a:gd name="connsiteX1" fmla="*/ 4548 w 540897"/>
                      <a:gd name="connsiteY1" fmla="*/ 82163 h 215866"/>
                      <a:gd name="connsiteX2" fmla="*/ 12 w 540897"/>
                      <a:gd name="connsiteY2" fmla="*/ 134786 h 215866"/>
                      <a:gd name="connsiteX3" fmla="*/ 13198 w 540897"/>
                      <a:gd name="connsiteY3" fmla="*/ 151420 h 215866"/>
                      <a:gd name="connsiteX4" fmla="*/ 500775 w 540897"/>
                      <a:gd name="connsiteY4" fmla="*/ 209244 h 215866"/>
                      <a:gd name="connsiteX5" fmla="*/ 519889 w 540897"/>
                      <a:gd name="connsiteY5" fmla="*/ 137810 h 215866"/>
                      <a:gd name="connsiteX6" fmla="*/ 344903 w 540897"/>
                      <a:gd name="connsiteY6" fmla="*/ 79683 h 215866"/>
                      <a:gd name="connsiteX7" fmla="*/ 225685 w 540897"/>
                      <a:gd name="connsiteY7" fmla="*/ 8612 h 215866"/>
                      <a:gd name="connsiteX8" fmla="*/ 185038 w 540897"/>
                      <a:gd name="connsiteY8" fmla="*/ 38069 h 215866"/>
                      <a:gd name="connsiteX9" fmla="*/ 55901 w 540897"/>
                      <a:gd name="connsiteY9" fmla="*/ 144 h 2158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540897" h="215866">
                        <a:moveTo>
                          <a:pt x="55780" y="23"/>
                        </a:moveTo>
                        <a:cubicBezTo>
                          <a:pt x="55780" y="23"/>
                          <a:pt x="10294" y="33472"/>
                          <a:pt x="4548" y="82163"/>
                        </a:cubicBezTo>
                        <a:cubicBezTo>
                          <a:pt x="1524" y="107386"/>
                          <a:pt x="435" y="124322"/>
                          <a:pt x="12" y="134786"/>
                        </a:cubicBezTo>
                        <a:cubicBezTo>
                          <a:pt x="-291" y="142831"/>
                          <a:pt x="5274" y="149847"/>
                          <a:pt x="13198" y="151420"/>
                        </a:cubicBezTo>
                        <a:cubicBezTo>
                          <a:pt x="80216" y="164727"/>
                          <a:pt x="419784" y="237975"/>
                          <a:pt x="500775" y="209244"/>
                        </a:cubicBezTo>
                        <a:cubicBezTo>
                          <a:pt x="578076" y="181844"/>
                          <a:pt x="519889" y="137810"/>
                          <a:pt x="519889" y="137810"/>
                        </a:cubicBezTo>
                        <a:cubicBezTo>
                          <a:pt x="519889" y="137810"/>
                          <a:pt x="409260" y="133455"/>
                          <a:pt x="344903" y="79683"/>
                        </a:cubicBezTo>
                        <a:cubicBezTo>
                          <a:pt x="287623" y="31778"/>
                          <a:pt x="237480" y="6616"/>
                          <a:pt x="225685" y="8612"/>
                        </a:cubicBezTo>
                        <a:cubicBezTo>
                          <a:pt x="213830" y="10608"/>
                          <a:pt x="207116" y="27786"/>
                          <a:pt x="185038" y="38069"/>
                        </a:cubicBezTo>
                        <a:cubicBezTo>
                          <a:pt x="162961" y="48352"/>
                          <a:pt x="68361" y="-3061"/>
                          <a:pt x="55901" y="144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8" name="Freihandform: Form 447">
                    <a:extLst>
                      <a:ext uri="{FF2B5EF4-FFF2-40B4-BE49-F238E27FC236}">
                        <a16:creationId xmlns:a16="http://schemas.microsoft.com/office/drawing/2014/main" id="{01D95072-F151-5EFE-80A1-7E55AFDA9254}"/>
                      </a:ext>
                    </a:extLst>
                  </p:cNvPr>
                  <p:cNvSpPr/>
                  <p:nvPr/>
                </p:nvSpPr>
                <p:spPr>
                  <a:xfrm>
                    <a:off x="48" y="5067745"/>
                    <a:ext cx="543691" cy="129422"/>
                  </a:xfrm>
                  <a:custGeom>
                    <a:avLst/>
                    <a:gdLst>
                      <a:gd name="connsiteX0" fmla="*/ 13137 w 543691"/>
                      <a:gd name="connsiteY0" fmla="*/ 65990 h 129422"/>
                      <a:gd name="connsiteX1" fmla="*/ 424744 w 543691"/>
                      <a:gd name="connsiteY1" fmla="*/ 129077 h 129422"/>
                      <a:gd name="connsiteX2" fmla="*/ 502227 w 543691"/>
                      <a:gd name="connsiteY2" fmla="*/ 117887 h 129422"/>
                      <a:gd name="connsiteX3" fmla="*/ 530232 w 543691"/>
                      <a:gd name="connsiteY3" fmla="*/ 48208 h 129422"/>
                      <a:gd name="connsiteX4" fmla="*/ 501319 w 543691"/>
                      <a:gd name="connsiteY4" fmla="*/ 70648 h 129422"/>
                      <a:gd name="connsiteX5" fmla="*/ 4972 w 543691"/>
                      <a:gd name="connsiteY5" fmla="*/ 0 h 129422"/>
                      <a:gd name="connsiteX6" fmla="*/ 12 w 543691"/>
                      <a:gd name="connsiteY6" fmla="*/ 49236 h 129422"/>
                      <a:gd name="connsiteX7" fmla="*/ 13198 w 543691"/>
                      <a:gd name="connsiteY7" fmla="*/ 65930 h 129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43691" h="129422">
                        <a:moveTo>
                          <a:pt x="13137" y="65990"/>
                        </a:moveTo>
                        <a:cubicBezTo>
                          <a:pt x="14649" y="66293"/>
                          <a:pt x="423353" y="129017"/>
                          <a:pt x="424744" y="129077"/>
                        </a:cubicBezTo>
                        <a:cubicBezTo>
                          <a:pt x="461701" y="131134"/>
                          <a:pt x="486077" y="123573"/>
                          <a:pt x="502227" y="117887"/>
                        </a:cubicBezTo>
                        <a:cubicBezTo>
                          <a:pt x="560112" y="97322"/>
                          <a:pt x="544990" y="60547"/>
                          <a:pt x="530232" y="48208"/>
                        </a:cubicBezTo>
                        <a:cubicBezTo>
                          <a:pt x="524002" y="53228"/>
                          <a:pt x="513840" y="66232"/>
                          <a:pt x="501319" y="70648"/>
                        </a:cubicBezTo>
                        <a:cubicBezTo>
                          <a:pt x="415792" y="101012"/>
                          <a:pt x="46949" y="9799"/>
                          <a:pt x="4972" y="0"/>
                        </a:cubicBezTo>
                        <a:cubicBezTo>
                          <a:pt x="2552" y="21533"/>
                          <a:pt x="375" y="39679"/>
                          <a:pt x="12" y="49236"/>
                        </a:cubicBezTo>
                        <a:cubicBezTo>
                          <a:pt x="-291" y="57280"/>
                          <a:pt x="5274" y="64357"/>
                          <a:pt x="13198" y="65930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49" name="Grafik 297">
                  <a:extLst>
                    <a:ext uri="{FF2B5EF4-FFF2-40B4-BE49-F238E27FC236}">
                      <a16:creationId xmlns:a16="http://schemas.microsoft.com/office/drawing/2014/main" id="{5F0F7808-B71B-9E72-7695-B30E90208A80}"/>
                    </a:ext>
                  </a:extLst>
                </p:cNvPr>
                <p:cNvGrpSpPr/>
                <p:nvPr/>
              </p:nvGrpSpPr>
              <p:grpSpPr>
                <a:xfrm>
                  <a:off x="16751" y="4091502"/>
                  <a:ext cx="531069" cy="960275"/>
                  <a:chOff x="16751" y="4091502"/>
                  <a:chExt cx="531069" cy="960275"/>
                </a:xfrm>
                <a:solidFill>
                  <a:srgbClr val="009999"/>
                </a:solidFill>
              </p:grpSpPr>
              <p:sp>
                <p:nvSpPr>
                  <p:cNvPr id="450" name="Freihandform: Form 449">
                    <a:extLst>
                      <a:ext uri="{FF2B5EF4-FFF2-40B4-BE49-F238E27FC236}">
                        <a16:creationId xmlns:a16="http://schemas.microsoft.com/office/drawing/2014/main" id="{68E79449-6B33-494D-9AA3-ABA12D527170}"/>
                      </a:ext>
                    </a:extLst>
                  </p:cNvPr>
                  <p:cNvSpPr/>
                  <p:nvPr/>
                </p:nvSpPr>
                <p:spPr>
                  <a:xfrm>
                    <a:off x="16751" y="4199963"/>
                    <a:ext cx="525868" cy="851813"/>
                  </a:xfrm>
                  <a:custGeom>
                    <a:avLst/>
                    <a:gdLst>
                      <a:gd name="connsiteX0" fmla="*/ 206926 w 525868"/>
                      <a:gd name="connsiteY0" fmla="*/ 20132 h 851813"/>
                      <a:gd name="connsiteX1" fmla="*/ 29944 w 525868"/>
                      <a:gd name="connsiteY1" fmla="*/ 616221 h 851813"/>
                      <a:gd name="connsiteX2" fmla="*/ 9802 w 525868"/>
                      <a:gd name="connsiteY2" fmla="*/ 803788 h 851813"/>
                      <a:gd name="connsiteX3" fmla="*/ 331406 w 525868"/>
                      <a:gd name="connsiteY3" fmla="*/ 851814 h 851813"/>
                      <a:gd name="connsiteX4" fmla="*/ 384634 w 525868"/>
                      <a:gd name="connsiteY4" fmla="*/ 568498 h 851813"/>
                      <a:gd name="connsiteX5" fmla="*/ 525868 w 525868"/>
                      <a:gd name="connsiteY5" fmla="*/ 96042 h 851813"/>
                      <a:gd name="connsiteX6" fmla="*/ 206926 w 525868"/>
                      <a:gd name="connsiteY6" fmla="*/ 20071 h 8518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25868" h="851813">
                        <a:moveTo>
                          <a:pt x="206926" y="20132"/>
                        </a:moveTo>
                        <a:cubicBezTo>
                          <a:pt x="104463" y="230623"/>
                          <a:pt x="63816" y="507770"/>
                          <a:pt x="29944" y="616221"/>
                        </a:cubicBezTo>
                        <a:cubicBezTo>
                          <a:pt x="9258" y="682453"/>
                          <a:pt x="-13425" y="774271"/>
                          <a:pt x="9802" y="803788"/>
                        </a:cubicBezTo>
                        <a:lnTo>
                          <a:pt x="331406" y="851814"/>
                        </a:lnTo>
                        <a:cubicBezTo>
                          <a:pt x="331406" y="851814"/>
                          <a:pt x="365762" y="636605"/>
                          <a:pt x="384634" y="568498"/>
                        </a:cubicBezTo>
                        <a:cubicBezTo>
                          <a:pt x="394069" y="534383"/>
                          <a:pt x="525868" y="96042"/>
                          <a:pt x="525868" y="96042"/>
                        </a:cubicBezTo>
                        <a:cubicBezTo>
                          <a:pt x="444817" y="7611"/>
                          <a:pt x="320881" y="-24749"/>
                          <a:pt x="206926" y="20071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1" name="Freihandform: Form 450">
                    <a:extLst>
                      <a:ext uri="{FF2B5EF4-FFF2-40B4-BE49-F238E27FC236}">
                        <a16:creationId xmlns:a16="http://schemas.microsoft.com/office/drawing/2014/main" id="{AB53CBC1-70F3-D340-4B31-2F7100F6B540}"/>
                      </a:ext>
                    </a:extLst>
                  </p:cNvPr>
                  <p:cNvSpPr/>
                  <p:nvPr/>
                </p:nvSpPr>
                <p:spPr>
                  <a:xfrm>
                    <a:off x="220350" y="4091502"/>
                    <a:ext cx="327470" cy="327471"/>
                  </a:xfrm>
                  <a:custGeom>
                    <a:avLst/>
                    <a:gdLst>
                      <a:gd name="connsiteX0" fmla="*/ 327471 w 327470"/>
                      <a:gd name="connsiteY0" fmla="*/ 163736 h 327471"/>
                      <a:gd name="connsiteX1" fmla="*/ 163735 w 327470"/>
                      <a:gd name="connsiteY1" fmla="*/ 327471 h 327471"/>
                      <a:gd name="connsiteX2" fmla="*/ 0 w 327470"/>
                      <a:gd name="connsiteY2" fmla="*/ 163736 h 327471"/>
                      <a:gd name="connsiteX3" fmla="*/ 163735 w 327470"/>
                      <a:gd name="connsiteY3" fmla="*/ 0 h 327471"/>
                      <a:gd name="connsiteX4" fmla="*/ 327471 w 327470"/>
                      <a:gd name="connsiteY4" fmla="*/ 163736 h 3274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7470" h="327471">
                        <a:moveTo>
                          <a:pt x="327471" y="163736"/>
                        </a:moveTo>
                        <a:cubicBezTo>
                          <a:pt x="327471" y="254164"/>
                          <a:pt x="254164" y="327471"/>
                          <a:pt x="163735" y="327471"/>
                        </a:cubicBezTo>
                        <a:cubicBezTo>
                          <a:pt x="73307" y="327471"/>
                          <a:pt x="0" y="254164"/>
                          <a:pt x="0" y="163736"/>
                        </a:cubicBezTo>
                        <a:cubicBezTo>
                          <a:pt x="0" y="73307"/>
                          <a:pt x="73307" y="0"/>
                          <a:pt x="163735" y="0"/>
                        </a:cubicBezTo>
                        <a:cubicBezTo>
                          <a:pt x="254164" y="0"/>
                          <a:pt x="327471" y="73307"/>
                          <a:pt x="327471" y="16373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52" name="Grafik 297">
                  <a:extLst>
                    <a:ext uri="{FF2B5EF4-FFF2-40B4-BE49-F238E27FC236}">
                      <a16:creationId xmlns:a16="http://schemas.microsoft.com/office/drawing/2014/main" id="{0A337FE6-24E1-C424-CAF3-EF8A0CCBBCCE}"/>
                    </a:ext>
                  </a:extLst>
                </p:cNvPr>
                <p:cNvGrpSpPr/>
                <p:nvPr/>
              </p:nvGrpSpPr>
              <p:grpSpPr>
                <a:xfrm>
                  <a:off x="223798" y="3058220"/>
                  <a:ext cx="680467" cy="1246379"/>
                  <a:chOff x="223798" y="3058220"/>
                  <a:chExt cx="680467" cy="1246379"/>
                </a:xfrm>
              </p:grpSpPr>
              <p:sp>
                <p:nvSpPr>
                  <p:cNvPr id="453" name="Freihandform: Form 452">
                    <a:extLst>
                      <a:ext uri="{FF2B5EF4-FFF2-40B4-BE49-F238E27FC236}">
                        <a16:creationId xmlns:a16="http://schemas.microsoft.com/office/drawing/2014/main" id="{04445AE5-9D29-2DCC-AF0C-C737E4A478A8}"/>
                      </a:ext>
                    </a:extLst>
                  </p:cNvPr>
                  <p:cNvSpPr/>
                  <p:nvPr/>
                </p:nvSpPr>
                <p:spPr>
                  <a:xfrm>
                    <a:off x="415417" y="3058220"/>
                    <a:ext cx="488847" cy="488847"/>
                  </a:xfrm>
                  <a:custGeom>
                    <a:avLst/>
                    <a:gdLst>
                      <a:gd name="connsiteX0" fmla="*/ 488848 w 488847"/>
                      <a:gd name="connsiteY0" fmla="*/ 244424 h 488847"/>
                      <a:gd name="connsiteX1" fmla="*/ 244424 w 488847"/>
                      <a:gd name="connsiteY1" fmla="*/ 488848 h 488847"/>
                      <a:gd name="connsiteX2" fmla="*/ 0 w 488847"/>
                      <a:gd name="connsiteY2" fmla="*/ 244424 h 488847"/>
                      <a:gd name="connsiteX3" fmla="*/ 244424 w 488847"/>
                      <a:gd name="connsiteY3" fmla="*/ 0 h 488847"/>
                      <a:gd name="connsiteX4" fmla="*/ 488848 w 488847"/>
                      <a:gd name="connsiteY4" fmla="*/ 244424 h 4888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88847" h="488847">
                        <a:moveTo>
                          <a:pt x="488848" y="244424"/>
                        </a:moveTo>
                        <a:cubicBezTo>
                          <a:pt x="488848" y="379415"/>
                          <a:pt x="379415" y="488848"/>
                          <a:pt x="244424" y="488848"/>
                        </a:cubicBezTo>
                        <a:cubicBezTo>
                          <a:pt x="109432" y="488848"/>
                          <a:pt x="0" y="379415"/>
                          <a:pt x="0" y="244424"/>
                        </a:cubicBezTo>
                        <a:cubicBezTo>
                          <a:pt x="0" y="109432"/>
                          <a:pt x="109432" y="0"/>
                          <a:pt x="244424" y="0"/>
                        </a:cubicBezTo>
                        <a:cubicBezTo>
                          <a:pt x="379415" y="0"/>
                          <a:pt x="488848" y="109432"/>
                          <a:pt x="488848" y="244424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4" name="Freihandform: Form 453">
                    <a:extLst>
                      <a:ext uri="{FF2B5EF4-FFF2-40B4-BE49-F238E27FC236}">
                        <a16:creationId xmlns:a16="http://schemas.microsoft.com/office/drawing/2014/main" id="{E416457E-0D19-CA88-F0B3-F2F8E8340A4D}"/>
                      </a:ext>
                    </a:extLst>
                  </p:cNvPr>
                  <p:cNvSpPr/>
                  <p:nvPr/>
                </p:nvSpPr>
                <p:spPr>
                  <a:xfrm>
                    <a:off x="223798" y="3286434"/>
                    <a:ext cx="674539" cy="1018166"/>
                  </a:xfrm>
                  <a:custGeom>
                    <a:avLst/>
                    <a:gdLst>
                      <a:gd name="connsiteX0" fmla="*/ 192164 w 674539"/>
                      <a:gd name="connsiteY0" fmla="*/ 0 h 1018166"/>
                      <a:gd name="connsiteX1" fmla="*/ 674539 w 674539"/>
                      <a:gd name="connsiteY1" fmla="*/ 69740 h 1018166"/>
                      <a:gd name="connsiteX2" fmla="*/ 540321 w 674539"/>
                      <a:gd name="connsiteY2" fmla="*/ 510865 h 1018166"/>
                      <a:gd name="connsiteX3" fmla="*/ 318942 w 674539"/>
                      <a:gd name="connsiteY3" fmla="*/ 1009632 h 1018166"/>
                      <a:gd name="connsiteX4" fmla="*/ 0 w 674539"/>
                      <a:gd name="connsiteY4" fmla="*/ 933661 h 1018166"/>
                      <a:gd name="connsiteX5" fmla="*/ 192164 w 674539"/>
                      <a:gd name="connsiteY5" fmla="*/ 0 h 1018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4539" h="1018166">
                        <a:moveTo>
                          <a:pt x="192164" y="0"/>
                        </a:moveTo>
                        <a:cubicBezTo>
                          <a:pt x="197245" y="3206"/>
                          <a:pt x="674539" y="69740"/>
                          <a:pt x="674539" y="69740"/>
                        </a:cubicBezTo>
                        <a:cubicBezTo>
                          <a:pt x="674539" y="69740"/>
                          <a:pt x="578609" y="413603"/>
                          <a:pt x="540321" y="510865"/>
                        </a:cubicBezTo>
                        <a:cubicBezTo>
                          <a:pt x="393522" y="883519"/>
                          <a:pt x="318942" y="1009632"/>
                          <a:pt x="318942" y="1009632"/>
                        </a:cubicBezTo>
                        <a:cubicBezTo>
                          <a:pt x="206439" y="1033040"/>
                          <a:pt x="80567" y="1008483"/>
                          <a:pt x="0" y="933661"/>
                        </a:cubicBezTo>
                        <a:cubicBezTo>
                          <a:pt x="9617" y="797326"/>
                          <a:pt x="136577" y="272429"/>
                          <a:pt x="192164" y="0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5" name="Freihandform: Form 454">
                    <a:extLst>
                      <a:ext uri="{FF2B5EF4-FFF2-40B4-BE49-F238E27FC236}">
                        <a16:creationId xmlns:a16="http://schemas.microsoft.com/office/drawing/2014/main" id="{DAC89785-F42E-51B3-CBBE-A676C62F1F69}"/>
                      </a:ext>
                    </a:extLst>
                  </p:cNvPr>
                  <p:cNvSpPr/>
                  <p:nvPr/>
                </p:nvSpPr>
                <p:spPr>
                  <a:xfrm>
                    <a:off x="378884" y="3286434"/>
                    <a:ext cx="519392" cy="173110"/>
                  </a:xfrm>
                  <a:custGeom>
                    <a:avLst/>
                    <a:gdLst>
                      <a:gd name="connsiteX0" fmla="*/ 490239 w 519392"/>
                      <a:gd name="connsiteY0" fmla="*/ 172566 h 173110"/>
                      <a:gd name="connsiteX1" fmla="*/ 519393 w 519392"/>
                      <a:gd name="connsiteY1" fmla="*/ 69740 h 173110"/>
                      <a:gd name="connsiteX2" fmla="*/ 37017 w 519392"/>
                      <a:gd name="connsiteY2" fmla="*/ 0 h 173110"/>
                      <a:gd name="connsiteX3" fmla="*/ 0 w 519392"/>
                      <a:gd name="connsiteY3" fmla="*/ 173111 h 173110"/>
                      <a:gd name="connsiteX4" fmla="*/ 490178 w 519392"/>
                      <a:gd name="connsiteY4" fmla="*/ 172566 h 1731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9392" h="173110">
                        <a:moveTo>
                          <a:pt x="490239" y="172566"/>
                        </a:moveTo>
                        <a:cubicBezTo>
                          <a:pt x="507417" y="112685"/>
                          <a:pt x="519393" y="69740"/>
                          <a:pt x="519393" y="69740"/>
                        </a:cubicBezTo>
                        <a:cubicBezTo>
                          <a:pt x="519393" y="69740"/>
                          <a:pt x="42098" y="3206"/>
                          <a:pt x="37017" y="0"/>
                        </a:cubicBezTo>
                        <a:cubicBezTo>
                          <a:pt x="26735" y="50385"/>
                          <a:pt x="13972" y="109480"/>
                          <a:pt x="0" y="173111"/>
                        </a:cubicBezTo>
                        <a:cubicBezTo>
                          <a:pt x="109963" y="109782"/>
                          <a:pt x="360012" y="115468"/>
                          <a:pt x="490178" y="172566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56" name="Grafik 297">
                  <a:extLst>
                    <a:ext uri="{FF2B5EF4-FFF2-40B4-BE49-F238E27FC236}">
                      <a16:creationId xmlns:a16="http://schemas.microsoft.com/office/drawing/2014/main" id="{ABD05A6F-E92E-61F0-023B-E2B4796413F8}"/>
                    </a:ext>
                  </a:extLst>
                </p:cNvPr>
                <p:cNvGrpSpPr/>
                <p:nvPr/>
              </p:nvGrpSpPr>
              <p:grpSpPr>
                <a:xfrm>
                  <a:off x="477899" y="1918236"/>
                  <a:ext cx="322234" cy="429852"/>
                  <a:chOff x="477899" y="1918236"/>
                  <a:chExt cx="322234" cy="429852"/>
                </a:xfrm>
              </p:grpSpPr>
              <p:sp>
                <p:nvSpPr>
                  <p:cNvPr id="457" name="Freihandform: Form 456">
                    <a:extLst>
                      <a:ext uri="{FF2B5EF4-FFF2-40B4-BE49-F238E27FC236}">
                        <a16:creationId xmlns:a16="http://schemas.microsoft.com/office/drawing/2014/main" id="{AF9293BB-6702-4A40-6D50-72E5A0AB4709}"/>
                      </a:ext>
                    </a:extLst>
                  </p:cNvPr>
                  <p:cNvSpPr/>
                  <p:nvPr/>
                </p:nvSpPr>
                <p:spPr>
                  <a:xfrm>
                    <a:off x="477899" y="1918236"/>
                    <a:ext cx="322234" cy="429852"/>
                  </a:xfrm>
                  <a:custGeom>
                    <a:avLst/>
                    <a:gdLst>
                      <a:gd name="connsiteX0" fmla="*/ 0 w 322234"/>
                      <a:gd name="connsiteY0" fmla="*/ 329049 h 429852"/>
                      <a:gd name="connsiteX1" fmla="*/ 227972 w 322234"/>
                      <a:gd name="connsiteY1" fmla="*/ 410342 h 429852"/>
                      <a:gd name="connsiteX2" fmla="*/ 314043 w 322234"/>
                      <a:gd name="connsiteY2" fmla="*/ 168943 h 429852"/>
                      <a:gd name="connsiteX3" fmla="*/ 86071 w 322234"/>
                      <a:gd name="connsiteY3" fmla="*/ 87649 h 429852"/>
                      <a:gd name="connsiteX4" fmla="*/ 0 w 322234"/>
                      <a:gd name="connsiteY4" fmla="*/ 329049 h 4298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2234" h="429852">
                        <a:moveTo>
                          <a:pt x="0" y="329049"/>
                        </a:moveTo>
                        <a:cubicBezTo>
                          <a:pt x="16331" y="408467"/>
                          <a:pt x="157687" y="459941"/>
                          <a:pt x="227972" y="410342"/>
                        </a:cubicBezTo>
                        <a:lnTo>
                          <a:pt x="314043" y="168943"/>
                        </a:lnTo>
                        <a:cubicBezTo>
                          <a:pt x="366968" y="-5076"/>
                          <a:pt x="148493" y="-65441"/>
                          <a:pt x="86071" y="87649"/>
                        </a:cubicBezTo>
                        <a:lnTo>
                          <a:pt x="0" y="329049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8" name="Freihandform: Form 457">
                    <a:extLst>
                      <a:ext uri="{FF2B5EF4-FFF2-40B4-BE49-F238E27FC236}">
                        <a16:creationId xmlns:a16="http://schemas.microsoft.com/office/drawing/2014/main" id="{78859A30-7E72-8C42-D436-F91A3E108856}"/>
                      </a:ext>
                    </a:extLst>
                  </p:cNvPr>
                  <p:cNvSpPr/>
                  <p:nvPr/>
                </p:nvSpPr>
                <p:spPr>
                  <a:xfrm>
                    <a:off x="663707" y="2057624"/>
                    <a:ext cx="118237" cy="209535"/>
                  </a:xfrm>
                  <a:custGeom>
                    <a:avLst/>
                    <a:gdLst>
                      <a:gd name="connsiteX0" fmla="*/ 64060 w 118237"/>
                      <a:gd name="connsiteY0" fmla="*/ 209500 h 209535"/>
                      <a:gd name="connsiteX1" fmla="*/ 114505 w 118237"/>
                      <a:gd name="connsiteY1" fmla="*/ 68567 h 209535"/>
                      <a:gd name="connsiteX2" fmla="*/ 10772 w 118237"/>
                      <a:gd name="connsiteY2" fmla="*/ 97903 h 209535"/>
                      <a:gd name="connsiteX3" fmla="*/ 21599 w 118237"/>
                      <a:gd name="connsiteY3" fmla="*/ 160325 h 209535"/>
                      <a:gd name="connsiteX4" fmla="*/ 64060 w 118237"/>
                      <a:gd name="connsiteY4" fmla="*/ 209500 h 2095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8237" h="209535">
                        <a:moveTo>
                          <a:pt x="64060" y="209500"/>
                        </a:moveTo>
                        <a:lnTo>
                          <a:pt x="114505" y="68567"/>
                        </a:lnTo>
                        <a:cubicBezTo>
                          <a:pt x="147168" y="-43816"/>
                          <a:pt x="-46871" y="-6677"/>
                          <a:pt x="10772" y="97903"/>
                        </a:cubicBezTo>
                        <a:cubicBezTo>
                          <a:pt x="22990" y="118226"/>
                          <a:pt x="26256" y="127360"/>
                          <a:pt x="21599" y="160325"/>
                        </a:cubicBezTo>
                        <a:cubicBezTo>
                          <a:pt x="14159" y="212645"/>
                          <a:pt x="64060" y="209500"/>
                          <a:pt x="64060" y="20950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59" name="Grafik 297">
                  <a:extLst>
                    <a:ext uri="{FF2B5EF4-FFF2-40B4-BE49-F238E27FC236}">
                      <a16:creationId xmlns:a16="http://schemas.microsoft.com/office/drawing/2014/main" id="{318177A8-49CC-20B6-3865-A234305CAAD4}"/>
                    </a:ext>
                  </a:extLst>
                </p:cNvPr>
                <p:cNvGrpSpPr/>
                <p:nvPr/>
              </p:nvGrpSpPr>
              <p:grpSpPr>
                <a:xfrm>
                  <a:off x="443945" y="1659724"/>
                  <a:ext cx="481759" cy="506110"/>
                  <a:chOff x="443945" y="1659724"/>
                  <a:chExt cx="481759" cy="506110"/>
                </a:xfrm>
              </p:grpSpPr>
              <p:sp>
                <p:nvSpPr>
                  <p:cNvPr id="460" name="Freihandform: Form 459">
                    <a:extLst>
                      <a:ext uri="{FF2B5EF4-FFF2-40B4-BE49-F238E27FC236}">
                        <a16:creationId xmlns:a16="http://schemas.microsoft.com/office/drawing/2014/main" id="{EA5A0E55-3BE9-C6B7-11F8-91A8BEB81D5C}"/>
                      </a:ext>
                    </a:extLst>
                  </p:cNvPr>
                  <p:cNvSpPr/>
                  <p:nvPr/>
                </p:nvSpPr>
                <p:spPr>
                  <a:xfrm rot="-274200">
                    <a:off x="468855" y="1719942"/>
                    <a:ext cx="390981" cy="349246"/>
                  </a:xfrm>
                  <a:custGeom>
                    <a:avLst/>
                    <a:gdLst>
                      <a:gd name="connsiteX0" fmla="*/ 390981 w 390981"/>
                      <a:gd name="connsiteY0" fmla="*/ 174623 h 349246"/>
                      <a:gd name="connsiteX1" fmla="*/ 195491 w 390981"/>
                      <a:gd name="connsiteY1" fmla="*/ 349246 h 349246"/>
                      <a:gd name="connsiteX2" fmla="*/ 0 w 390981"/>
                      <a:gd name="connsiteY2" fmla="*/ 174623 h 349246"/>
                      <a:gd name="connsiteX3" fmla="*/ 195491 w 390981"/>
                      <a:gd name="connsiteY3" fmla="*/ 0 h 349246"/>
                      <a:gd name="connsiteX4" fmla="*/ 390981 w 390981"/>
                      <a:gd name="connsiteY4" fmla="*/ 174623 h 3492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0981" h="349246">
                        <a:moveTo>
                          <a:pt x="390981" y="174623"/>
                        </a:moveTo>
                        <a:cubicBezTo>
                          <a:pt x="390981" y="271065"/>
                          <a:pt x="303457" y="349246"/>
                          <a:pt x="195491" y="349246"/>
                        </a:cubicBezTo>
                        <a:cubicBezTo>
                          <a:pt x="87524" y="349246"/>
                          <a:pt x="0" y="271065"/>
                          <a:pt x="0" y="174623"/>
                        </a:cubicBezTo>
                        <a:cubicBezTo>
                          <a:pt x="0" y="78181"/>
                          <a:pt x="87524" y="0"/>
                          <a:pt x="195491" y="0"/>
                        </a:cubicBezTo>
                        <a:cubicBezTo>
                          <a:pt x="303457" y="0"/>
                          <a:pt x="390981" y="78181"/>
                          <a:pt x="390981" y="174623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1" name="Freihandform: Form 460">
                    <a:extLst>
                      <a:ext uri="{FF2B5EF4-FFF2-40B4-BE49-F238E27FC236}">
                        <a16:creationId xmlns:a16="http://schemas.microsoft.com/office/drawing/2014/main" id="{D67AC327-3DD1-5AFE-1261-FE9B7E10F015}"/>
                      </a:ext>
                    </a:extLst>
                  </p:cNvPr>
                  <p:cNvSpPr/>
                  <p:nvPr/>
                </p:nvSpPr>
                <p:spPr>
                  <a:xfrm>
                    <a:off x="650224" y="1870436"/>
                    <a:ext cx="272366" cy="292635"/>
                  </a:xfrm>
                  <a:custGeom>
                    <a:avLst/>
                    <a:gdLst>
                      <a:gd name="connsiteX0" fmla="*/ 232448 w 272366"/>
                      <a:gd name="connsiteY0" fmla="*/ 139925 h 292635"/>
                      <a:gd name="connsiteX1" fmla="*/ 268255 w 272366"/>
                      <a:gd name="connsiteY1" fmla="*/ 105629 h 292635"/>
                      <a:gd name="connsiteX2" fmla="*/ 209221 w 272366"/>
                      <a:gd name="connsiteY2" fmla="*/ 13570 h 292635"/>
                      <a:gd name="connsiteX3" fmla="*/ 0 w 272366"/>
                      <a:gd name="connsiteY3" fmla="*/ 86153 h 292635"/>
                      <a:gd name="connsiteX4" fmla="*/ 24073 w 272366"/>
                      <a:gd name="connsiteY4" fmla="*/ 213899 h 292635"/>
                      <a:gd name="connsiteX5" fmla="*/ 114560 w 272366"/>
                      <a:gd name="connsiteY5" fmla="*/ 292531 h 292635"/>
                      <a:gd name="connsiteX6" fmla="*/ 204624 w 272366"/>
                      <a:gd name="connsiteY6" fmla="*/ 285878 h 292635"/>
                      <a:gd name="connsiteX7" fmla="*/ 232448 w 272366"/>
                      <a:gd name="connsiteY7" fmla="*/ 242509 h 292635"/>
                      <a:gd name="connsiteX8" fmla="*/ 230996 w 272366"/>
                      <a:gd name="connsiteY8" fmla="*/ 222004 h 292635"/>
                      <a:gd name="connsiteX9" fmla="*/ 230996 w 272366"/>
                      <a:gd name="connsiteY9" fmla="*/ 222186 h 292635"/>
                      <a:gd name="connsiteX10" fmla="*/ 234383 w 272366"/>
                      <a:gd name="connsiteY10" fmla="*/ 207125 h 292635"/>
                      <a:gd name="connsiteX11" fmla="*/ 227730 w 272366"/>
                      <a:gd name="connsiteY11" fmla="*/ 186681 h 292635"/>
                      <a:gd name="connsiteX12" fmla="*/ 227730 w 272366"/>
                      <a:gd name="connsiteY12" fmla="*/ 186681 h 292635"/>
                      <a:gd name="connsiteX13" fmla="*/ 235230 w 272366"/>
                      <a:gd name="connsiteY13" fmla="*/ 170107 h 292635"/>
                      <a:gd name="connsiteX14" fmla="*/ 232508 w 272366"/>
                      <a:gd name="connsiteY14" fmla="*/ 139925 h 2926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72366" h="292635">
                        <a:moveTo>
                          <a:pt x="232448" y="139925"/>
                        </a:moveTo>
                        <a:cubicBezTo>
                          <a:pt x="244545" y="136356"/>
                          <a:pt x="285312" y="122868"/>
                          <a:pt x="268255" y="105629"/>
                        </a:cubicBezTo>
                        <a:cubicBezTo>
                          <a:pt x="239282" y="76415"/>
                          <a:pt x="213697" y="23792"/>
                          <a:pt x="209221" y="13570"/>
                        </a:cubicBezTo>
                        <a:cubicBezTo>
                          <a:pt x="208072" y="2682"/>
                          <a:pt x="16815" y="-33125"/>
                          <a:pt x="0" y="86153"/>
                        </a:cubicBezTo>
                        <a:cubicBezTo>
                          <a:pt x="0" y="86153"/>
                          <a:pt x="0" y="150691"/>
                          <a:pt x="24073" y="213899"/>
                        </a:cubicBezTo>
                        <a:cubicBezTo>
                          <a:pt x="29820" y="229021"/>
                          <a:pt x="73128" y="291261"/>
                          <a:pt x="114560" y="292531"/>
                        </a:cubicBezTo>
                        <a:cubicBezTo>
                          <a:pt x="150005" y="293620"/>
                          <a:pt x="204624" y="285878"/>
                          <a:pt x="204624" y="285878"/>
                        </a:cubicBezTo>
                        <a:cubicBezTo>
                          <a:pt x="204624" y="285878"/>
                          <a:pt x="232690" y="278982"/>
                          <a:pt x="232448" y="242509"/>
                        </a:cubicBezTo>
                        <a:cubicBezTo>
                          <a:pt x="232448" y="239666"/>
                          <a:pt x="231903" y="232347"/>
                          <a:pt x="230996" y="222004"/>
                        </a:cubicBezTo>
                        <a:lnTo>
                          <a:pt x="230996" y="222186"/>
                        </a:lnTo>
                        <a:cubicBezTo>
                          <a:pt x="230996" y="222186"/>
                          <a:pt x="230996" y="216137"/>
                          <a:pt x="234383" y="207125"/>
                        </a:cubicBezTo>
                        <a:cubicBezTo>
                          <a:pt x="238496" y="196056"/>
                          <a:pt x="239403" y="186197"/>
                          <a:pt x="227730" y="186681"/>
                        </a:cubicBezTo>
                        <a:lnTo>
                          <a:pt x="227730" y="186681"/>
                        </a:lnTo>
                        <a:cubicBezTo>
                          <a:pt x="236077" y="184382"/>
                          <a:pt x="236923" y="173858"/>
                          <a:pt x="235230" y="170107"/>
                        </a:cubicBezTo>
                        <a:cubicBezTo>
                          <a:pt x="230331" y="159401"/>
                          <a:pt x="229423" y="140832"/>
                          <a:pt x="232508" y="139925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2" name="Freihandform: Form 461">
                    <a:extLst>
                      <a:ext uri="{FF2B5EF4-FFF2-40B4-BE49-F238E27FC236}">
                        <a16:creationId xmlns:a16="http://schemas.microsoft.com/office/drawing/2014/main" id="{EF2E4258-E22C-291E-49DE-89DAC9DC4133}"/>
                      </a:ext>
                    </a:extLst>
                  </p:cNvPr>
                  <p:cNvSpPr/>
                  <p:nvPr/>
                </p:nvSpPr>
                <p:spPr>
                  <a:xfrm>
                    <a:off x="837065" y="1919511"/>
                    <a:ext cx="21653" cy="31694"/>
                  </a:xfrm>
                  <a:custGeom>
                    <a:avLst/>
                    <a:gdLst>
                      <a:gd name="connsiteX0" fmla="*/ 21654 w 21653"/>
                      <a:gd name="connsiteY0" fmla="*/ 15847 h 31694"/>
                      <a:gd name="connsiteX1" fmla="*/ 10827 w 21653"/>
                      <a:gd name="connsiteY1" fmla="*/ 31695 h 31694"/>
                      <a:gd name="connsiteX2" fmla="*/ 0 w 21653"/>
                      <a:gd name="connsiteY2" fmla="*/ 15847 h 31694"/>
                      <a:gd name="connsiteX3" fmla="*/ 10827 w 21653"/>
                      <a:gd name="connsiteY3" fmla="*/ 0 h 31694"/>
                      <a:gd name="connsiteX4" fmla="*/ 21654 w 21653"/>
                      <a:gd name="connsiteY4" fmla="*/ 15847 h 316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653" h="31694">
                        <a:moveTo>
                          <a:pt x="21654" y="15847"/>
                        </a:moveTo>
                        <a:cubicBezTo>
                          <a:pt x="21654" y="24600"/>
                          <a:pt x="16807" y="31695"/>
                          <a:pt x="10827" y="31695"/>
                        </a:cubicBezTo>
                        <a:cubicBezTo>
                          <a:pt x="4847" y="31695"/>
                          <a:pt x="0" y="24600"/>
                          <a:pt x="0" y="15847"/>
                        </a:cubicBezTo>
                        <a:cubicBezTo>
                          <a:pt x="0" y="7095"/>
                          <a:pt x="4847" y="0"/>
                          <a:pt x="10827" y="0"/>
                        </a:cubicBezTo>
                        <a:cubicBezTo>
                          <a:pt x="16807" y="0"/>
                          <a:pt x="21654" y="7095"/>
                          <a:pt x="21654" y="15847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3" name="Freihandform: Form 462">
                    <a:extLst>
                      <a:ext uri="{FF2B5EF4-FFF2-40B4-BE49-F238E27FC236}">
                        <a16:creationId xmlns:a16="http://schemas.microsoft.com/office/drawing/2014/main" id="{2A48A769-A14C-828C-FEAF-7410EBADFD16}"/>
                      </a:ext>
                    </a:extLst>
                  </p:cNvPr>
                  <p:cNvSpPr/>
                  <p:nvPr/>
                </p:nvSpPr>
                <p:spPr>
                  <a:xfrm>
                    <a:off x="767336" y="1853119"/>
                    <a:ext cx="83261" cy="40843"/>
                  </a:xfrm>
                  <a:custGeom>
                    <a:avLst/>
                    <a:gdLst>
                      <a:gd name="connsiteX0" fmla="*/ 16139 w 83261"/>
                      <a:gd name="connsiteY0" fmla="*/ 19455 h 40843"/>
                      <a:gd name="connsiteX1" fmla="*/ 47047 w 83261"/>
                      <a:gd name="connsiteY1" fmla="*/ 3245 h 40843"/>
                      <a:gd name="connsiteX2" fmla="*/ 47047 w 83261"/>
                      <a:gd name="connsiteY2" fmla="*/ 3245 h 40843"/>
                      <a:gd name="connsiteX3" fmla="*/ 77048 w 83261"/>
                      <a:gd name="connsiteY3" fmla="*/ 1249 h 40843"/>
                      <a:gd name="connsiteX4" fmla="*/ 79407 w 83261"/>
                      <a:gd name="connsiteY4" fmla="*/ 2519 h 40843"/>
                      <a:gd name="connsiteX5" fmla="*/ 76201 w 83261"/>
                      <a:gd name="connsiteY5" fmla="*/ 18427 h 40843"/>
                      <a:gd name="connsiteX6" fmla="*/ 59205 w 83261"/>
                      <a:gd name="connsiteY6" fmla="*/ 19939 h 40843"/>
                      <a:gd name="connsiteX7" fmla="*/ 20312 w 83261"/>
                      <a:gd name="connsiteY7" fmla="*/ 29254 h 40843"/>
                      <a:gd name="connsiteX8" fmla="*/ 533 w 83261"/>
                      <a:gd name="connsiteY8" fmla="*/ 40746 h 40843"/>
                      <a:gd name="connsiteX9" fmla="*/ 16139 w 83261"/>
                      <a:gd name="connsiteY9" fmla="*/ 19515 h 408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83261" h="40843">
                        <a:moveTo>
                          <a:pt x="16139" y="19455"/>
                        </a:moveTo>
                        <a:cubicBezTo>
                          <a:pt x="26179" y="10201"/>
                          <a:pt x="38034" y="5241"/>
                          <a:pt x="47047" y="3245"/>
                        </a:cubicBezTo>
                        <a:lnTo>
                          <a:pt x="47047" y="3245"/>
                        </a:lnTo>
                        <a:cubicBezTo>
                          <a:pt x="62410" y="-1110"/>
                          <a:pt x="73237" y="-324"/>
                          <a:pt x="77048" y="1249"/>
                        </a:cubicBezTo>
                        <a:cubicBezTo>
                          <a:pt x="77955" y="1612"/>
                          <a:pt x="78742" y="2035"/>
                          <a:pt x="79407" y="2519"/>
                        </a:cubicBezTo>
                        <a:cubicBezTo>
                          <a:pt x="85939" y="6813"/>
                          <a:pt x="83701" y="17277"/>
                          <a:pt x="76201" y="18427"/>
                        </a:cubicBezTo>
                        <a:cubicBezTo>
                          <a:pt x="72753" y="18971"/>
                          <a:pt x="64104" y="19576"/>
                          <a:pt x="59205" y="19939"/>
                        </a:cubicBezTo>
                        <a:cubicBezTo>
                          <a:pt x="50616" y="20604"/>
                          <a:pt x="26845" y="26169"/>
                          <a:pt x="20312" y="29254"/>
                        </a:cubicBezTo>
                        <a:cubicBezTo>
                          <a:pt x="7489" y="35302"/>
                          <a:pt x="2711" y="41714"/>
                          <a:pt x="533" y="40746"/>
                        </a:cubicBezTo>
                        <a:cubicBezTo>
                          <a:pt x="-1644" y="39778"/>
                          <a:pt x="2711" y="31854"/>
                          <a:pt x="16139" y="1951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4" name="Freihandform: Form 463">
                    <a:extLst>
                      <a:ext uri="{FF2B5EF4-FFF2-40B4-BE49-F238E27FC236}">
                        <a16:creationId xmlns:a16="http://schemas.microsoft.com/office/drawing/2014/main" id="{39212651-155C-EBF7-CA4F-15E7EC97A141}"/>
                      </a:ext>
                    </a:extLst>
                  </p:cNvPr>
                  <p:cNvSpPr/>
                  <p:nvPr/>
                </p:nvSpPr>
                <p:spPr>
                  <a:xfrm>
                    <a:off x="806812" y="1909914"/>
                    <a:ext cx="51859" cy="18055"/>
                  </a:xfrm>
                  <a:custGeom>
                    <a:avLst/>
                    <a:gdLst>
                      <a:gd name="connsiteX0" fmla="*/ 312 w 51859"/>
                      <a:gd name="connsiteY0" fmla="*/ 14496 h 18055"/>
                      <a:gd name="connsiteX1" fmla="*/ 38176 w 51859"/>
                      <a:gd name="connsiteY1" fmla="*/ 40 h 18055"/>
                      <a:gd name="connsiteX2" fmla="*/ 45192 w 51859"/>
                      <a:gd name="connsiteY2" fmla="*/ 10625 h 18055"/>
                      <a:gd name="connsiteX3" fmla="*/ 8840 w 51859"/>
                      <a:gd name="connsiteY3" fmla="*/ 17520 h 18055"/>
                      <a:gd name="connsiteX4" fmla="*/ 312 w 51859"/>
                      <a:gd name="connsiteY4" fmla="*/ 14496 h 180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859" h="18055">
                        <a:moveTo>
                          <a:pt x="312" y="14496"/>
                        </a:moveTo>
                        <a:cubicBezTo>
                          <a:pt x="1824" y="12258"/>
                          <a:pt x="20454" y="887"/>
                          <a:pt x="38176" y="40"/>
                        </a:cubicBezTo>
                        <a:cubicBezTo>
                          <a:pt x="52935" y="-686"/>
                          <a:pt x="56503" y="8689"/>
                          <a:pt x="45192" y="10625"/>
                        </a:cubicBezTo>
                        <a:cubicBezTo>
                          <a:pt x="31281" y="12984"/>
                          <a:pt x="14707" y="15887"/>
                          <a:pt x="8840" y="17520"/>
                        </a:cubicBezTo>
                        <a:cubicBezTo>
                          <a:pt x="2973" y="19154"/>
                          <a:pt x="-1200" y="16734"/>
                          <a:pt x="312" y="1449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5" name="Freihandform: Form 464">
                    <a:extLst>
                      <a:ext uri="{FF2B5EF4-FFF2-40B4-BE49-F238E27FC236}">
                        <a16:creationId xmlns:a16="http://schemas.microsoft.com/office/drawing/2014/main" id="{2FB705D3-0F02-0153-FFA2-D0AF5E08D3A3}"/>
                      </a:ext>
                    </a:extLst>
                  </p:cNvPr>
                  <p:cNvSpPr/>
                  <p:nvPr/>
                </p:nvSpPr>
                <p:spPr>
                  <a:xfrm>
                    <a:off x="701939" y="1951595"/>
                    <a:ext cx="223765" cy="214238"/>
                  </a:xfrm>
                  <a:custGeom>
                    <a:avLst/>
                    <a:gdLst>
                      <a:gd name="connsiteX0" fmla="*/ 15303 w 223765"/>
                      <a:gd name="connsiteY0" fmla="*/ 20962 h 214238"/>
                      <a:gd name="connsiteX1" fmla="*/ 0 w 223765"/>
                      <a:gd name="connsiteY1" fmla="*/ 121490 h 214238"/>
                      <a:gd name="connsiteX2" fmla="*/ 62784 w 223765"/>
                      <a:gd name="connsiteY2" fmla="*/ 211432 h 214238"/>
                      <a:gd name="connsiteX3" fmla="*/ 191378 w 223765"/>
                      <a:gd name="connsiteY3" fmla="*/ 203690 h 214238"/>
                      <a:gd name="connsiteX4" fmla="*/ 211459 w 223765"/>
                      <a:gd name="connsiteY4" fmla="*/ 3300 h 214238"/>
                      <a:gd name="connsiteX5" fmla="*/ 15242 w 223765"/>
                      <a:gd name="connsiteY5" fmla="*/ 20962 h 2142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23765" h="214238">
                        <a:moveTo>
                          <a:pt x="15303" y="20962"/>
                        </a:moveTo>
                        <a:lnTo>
                          <a:pt x="0" y="121490"/>
                        </a:lnTo>
                        <a:cubicBezTo>
                          <a:pt x="0" y="121490"/>
                          <a:pt x="9617" y="172358"/>
                          <a:pt x="62784" y="211432"/>
                        </a:cubicBezTo>
                        <a:cubicBezTo>
                          <a:pt x="117403" y="220808"/>
                          <a:pt x="191378" y="203690"/>
                          <a:pt x="191378" y="203690"/>
                        </a:cubicBezTo>
                        <a:cubicBezTo>
                          <a:pt x="191378" y="203690"/>
                          <a:pt x="248053" y="74492"/>
                          <a:pt x="211459" y="3300"/>
                        </a:cubicBezTo>
                        <a:cubicBezTo>
                          <a:pt x="205713" y="-9946"/>
                          <a:pt x="15242" y="20962"/>
                          <a:pt x="15242" y="20962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6" name="Freihandform: Form 465">
                    <a:extLst>
                      <a:ext uri="{FF2B5EF4-FFF2-40B4-BE49-F238E27FC236}">
                        <a16:creationId xmlns:a16="http://schemas.microsoft.com/office/drawing/2014/main" id="{E6A57E3B-5962-F4D0-DF06-DB46BF061C35}"/>
                      </a:ext>
                    </a:extLst>
                  </p:cNvPr>
                  <p:cNvSpPr/>
                  <p:nvPr/>
                </p:nvSpPr>
                <p:spPr>
                  <a:xfrm>
                    <a:off x="601944" y="1942055"/>
                    <a:ext cx="146387" cy="143187"/>
                  </a:xfrm>
                  <a:custGeom>
                    <a:avLst/>
                    <a:gdLst>
                      <a:gd name="connsiteX0" fmla="*/ 108282 w 146387"/>
                      <a:gd name="connsiteY0" fmla="*/ 143127 h 143187"/>
                      <a:gd name="connsiteX1" fmla="*/ 28259 w 146387"/>
                      <a:gd name="connsiteY1" fmla="*/ 110586 h 143187"/>
                      <a:gd name="connsiteX2" fmla="*/ 133 w 146387"/>
                      <a:gd name="connsiteY2" fmla="*/ 68185 h 143187"/>
                      <a:gd name="connsiteX3" fmla="*/ 30134 w 146387"/>
                      <a:gd name="connsiteY3" fmla="*/ 8304 h 143187"/>
                      <a:gd name="connsiteX4" fmla="*/ 120500 w 146387"/>
                      <a:gd name="connsiteY4" fmla="*/ 31893 h 143187"/>
                      <a:gd name="connsiteX5" fmla="*/ 146388 w 146387"/>
                      <a:gd name="connsiteY5" fmla="*/ 49555 h 143187"/>
                      <a:gd name="connsiteX6" fmla="*/ 108282 w 146387"/>
                      <a:gd name="connsiteY6" fmla="*/ 143188 h 143187"/>
                      <a:gd name="connsiteX7" fmla="*/ 55417 w 146387"/>
                      <a:gd name="connsiteY7" fmla="*/ 12961 h 143187"/>
                      <a:gd name="connsiteX8" fmla="*/ 38118 w 146387"/>
                      <a:gd name="connsiteY8" fmla="*/ 18587 h 143187"/>
                      <a:gd name="connsiteX9" fmla="*/ 13137 w 146387"/>
                      <a:gd name="connsiteY9" fmla="*/ 67278 h 143187"/>
                      <a:gd name="connsiteX10" fmla="*/ 34731 w 146387"/>
                      <a:gd name="connsiteY10" fmla="*/ 99275 h 143187"/>
                      <a:gd name="connsiteX11" fmla="*/ 101084 w 146387"/>
                      <a:gd name="connsiteY11" fmla="*/ 128066 h 143187"/>
                      <a:gd name="connsiteX12" fmla="*/ 130057 w 146387"/>
                      <a:gd name="connsiteY12" fmla="*/ 53971 h 143187"/>
                      <a:gd name="connsiteX13" fmla="*/ 112092 w 146387"/>
                      <a:gd name="connsiteY13" fmla="*/ 41632 h 143187"/>
                      <a:gd name="connsiteX14" fmla="*/ 55477 w 146387"/>
                      <a:gd name="connsiteY14" fmla="*/ 12901 h 1431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146387" h="143187">
                        <a:moveTo>
                          <a:pt x="108282" y="143127"/>
                        </a:moveTo>
                        <a:cubicBezTo>
                          <a:pt x="108282" y="143127"/>
                          <a:pt x="66546" y="132300"/>
                          <a:pt x="28259" y="110586"/>
                        </a:cubicBezTo>
                        <a:cubicBezTo>
                          <a:pt x="11383" y="100968"/>
                          <a:pt x="1403" y="85907"/>
                          <a:pt x="133" y="68185"/>
                        </a:cubicBezTo>
                        <a:cubicBezTo>
                          <a:pt x="-1379" y="46652"/>
                          <a:pt x="10113" y="23667"/>
                          <a:pt x="30134" y="8304"/>
                        </a:cubicBezTo>
                        <a:cubicBezTo>
                          <a:pt x="64671" y="-18249"/>
                          <a:pt x="115056" y="26934"/>
                          <a:pt x="120500" y="31893"/>
                        </a:cubicBezTo>
                        <a:lnTo>
                          <a:pt x="146388" y="49555"/>
                        </a:lnTo>
                        <a:lnTo>
                          <a:pt x="108282" y="143188"/>
                        </a:lnTo>
                        <a:close/>
                        <a:moveTo>
                          <a:pt x="55417" y="12961"/>
                        </a:moveTo>
                        <a:cubicBezTo>
                          <a:pt x="49247" y="12961"/>
                          <a:pt x="43320" y="14594"/>
                          <a:pt x="38118" y="18587"/>
                        </a:cubicBezTo>
                        <a:cubicBezTo>
                          <a:pt x="21484" y="31349"/>
                          <a:pt x="11928" y="50039"/>
                          <a:pt x="13137" y="67278"/>
                        </a:cubicBezTo>
                        <a:cubicBezTo>
                          <a:pt x="14045" y="80766"/>
                          <a:pt x="21545" y="91835"/>
                          <a:pt x="34731" y="99275"/>
                        </a:cubicBezTo>
                        <a:cubicBezTo>
                          <a:pt x="62494" y="115062"/>
                          <a:pt x="91043" y="125284"/>
                          <a:pt x="101084" y="128066"/>
                        </a:cubicBezTo>
                        <a:lnTo>
                          <a:pt x="130057" y="53971"/>
                        </a:lnTo>
                        <a:lnTo>
                          <a:pt x="112092" y="41632"/>
                        </a:lnTo>
                        <a:cubicBezTo>
                          <a:pt x="111729" y="41269"/>
                          <a:pt x="81365" y="12901"/>
                          <a:pt x="55477" y="12901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7" name="Freihandform: Form 466">
                    <a:extLst>
                      <a:ext uri="{FF2B5EF4-FFF2-40B4-BE49-F238E27FC236}">
                        <a16:creationId xmlns:a16="http://schemas.microsoft.com/office/drawing/2014/main" id="{098914F6-1F93-327B-118D-166124E158EE}"/>
                      </a:ext>
                    </a:extLst>
                  </p:cNvPr>
                  <p:cNvSpPr/>
                  <p:nvPr/>
                </p:nvSpPr>
                <p:spPr>
                  <a:xfrm>
                    <a:off x="443945" y="1659724"/>
                    <a:ext cx="397535" cy="386565"/>
                  </a:xfrm>
                  <a:custGeom>
                    <a:avLst/>
                    <a:gdLst>
                      <a:gd name="connsiteX0" fmla="*/ 105690 w 397535"/>
                      <a:gd name="connsiteY0" fmla="*/ 386566 h 386565"/>
                      <a:gd name="connsiteX1" fmla="*/ 397535 w 397535"/>
                      <a:gd name="connsiteY1" fmla="*/ 158352 h 386565"/>
                      <a:gd name="connsiteX2" fmla="*/ 206279 w 397535"/>
                      <a:gd name="connsiteY2" fmla="*/ 0 h 386565"/>
                      <a:gd name="connsiteX3" fmla="*/ 263 w 397535"/>
                      <a:gd name="connsiteY3" fmla="*/ 246057 h 386565"/>
                      <a:gd name="connsiteX4" fmla="*/ 105690 w 397535"/>
                      <a:gd name="connsiteY4" fmla="*/ 386505 h 3865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7535" h="386565">
                        <a:moveTo>
                          <a:pt x="105690" y="386566"/>
                        </a:moveTo>
                        <a:cubicBezTo>
                          <a:pt x="207972" y="341504"/>
                          <a:pt x="277894" y="163917"/>
                          <a:pt x="397535" y="158352"/>
                        </a:cubicBezTo>
                        <a:cubicBezTo>
                          <a:pt x="393785" y="80688"/>
                          <a:pt x="324650" y="0"/>
                          <a:pt x="206279" y="0"/>
                        </a:cubicBezTo>
                        <a:cubicBezTo>
                          <a:pt x="155107" y="0"/>
                          <a:pt x="-7418" y="149945"/>
                          <a:pt x="263" y="246057"/>
                        </a:cubicBezTo>
                        <a:cubicBezTo>
                          <a:pt x="4195" y="295172"/>
                          <a:pt x="66495" y="357774"/>
                          <a:pt x="105690" y="386505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8" name="Freihandform: Form 467">
                    <a:extLst>
                      <a:ext uri="{FF2B5EF4-FFF2-40B4-BE49-F238E27FC236}">
                        <a16:creationId xmlns:a16="http://schemas.microsoft.com/office/drawing/2014/main" id="{94F5C81E-F13E-A69A-05C8-38C30F2340A0}"/>
                      </a:ext>
                    </a:extLst>
                  </p:cNvPr>
                  <p:cNvSpPr/>
                  <p:nvPr/>
                </p:nvSpPr>
                <p:spPr>
                  <a:xfrm>
                    <a:off x="618710" y="1863562"/>
                    <a:ext cx="284700" cy="113350"/>
                  </a:xfrm>
                  <a:custGeom>
                    <a:avLst/>
                    <a:gdLst>
                      <a:gd name="connsiteX0" fmla="*/ 115589 w 284700"/>
                      <a:gd name="connsiteY0" fmla="*/ 113351 h 113350"/>
                      <a:gd name="connsiteX1" fmla="*/ 106032 w 284700"/>
                      <a:gd name="connsiteY1" fmla="*/ 59579 h 113350"/>
                      <a:gd name="connsiteX2" fmla="*/ 4415 w 284700"/>
                      <a:gd name="connsiteY2" fmla="*/ 86737 h 113350"/>
                      <a:gd name="connsiteX3" fmla="*/ 0 w 284700"/>
                      <a:gd name="connsiteY3" fmla="*/ 70224 h 113350"/>
                      <a:gd name="connsiteX4" fmla="*/ 262993 w 284700"/>
                      <a:gd name="connsiteY4" fmla="*/ 0 h 113350"/>
                      <a:gd name="connsiteX5" fmla="*/ 266320 w 284700"/>
                      <a:gd name="connsiteY5" fmla="*/ 5444 h 113350"/>
                      <a:gd name="connsiteX6" fmla="*/ 279748 w 284700"/>
                      <a:gd name="connsiteY6" fmla="*/ 97685 h 113350"/>
                      <a:gd name="connsiteX7" fmla="*/ 278114 w 284700"/>
                      <a:gd name="connsiteY7" fmla="*/ 103491 h 113350"/>
                      <a:gd name="connsiteX8" fmla="*/ 115649 w 284700"/>
                      <a:gd name="connsiteY8" fmla="*/ 113290 h 113350"/>
                      <a:gd name="connsiteX9" fmla="*/ 122545 w 284700"/>
                      <a:gd name="connsiteY9" fmla="*/ 55163 h 113350"/>
                      <a:gd name="connsiteX10" fmla="*/ 129742 w 284700"/>
                      <a:gd name="connsiteY10" fmla="*/ 95386 h 113350"/>
                      <a:gd name="connsiteX11" fmla="*/ 264808 w 284700"/>
                      <a:gd name="connsiteY11" fmla="*/ 87221 h 113350"/>
                      <a:gd name="connsiteX12" fmla="*/ 254888 w 284700"/>
                      <a:gd name="connsiteY12" fmla="*/ 19839 h 113350"/>
                      <a:gd name="connsiteX13" fmla="*/ 122545 w 284700"/>
                      <a:gd name="connsiteY13" fmla="*/ 55163 h 113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284700" h="113350">
                        <a:moveTo>
                          <a:pt x="115589" y="113351"/>
                        </a:moveTo>
                        <a:lnTo>
                          <a:pt x="106032" y="59579"/>
                        </a:lnTo>
                        <a:lnTo>
                          <a:pt x="4415" y="86737"/>
                        </a:lnTo>
                        <a:lnTo>
                          <a:pt x="0" y="70224"/>
                        </a:lnTo>
                        <a:lnTo>
                          <a:pt x="262993" y="0"/>
                        </a:lnTo>
                        <a:lnTo>
                          <a:pt x="266320" y="5444"/>
                        </a:lnTo>
                        <a:cubicBezTo>
                          <a:pt x="285252" y="36655"/>
                          <a:pt x="289244" y="64236"/>
                          <a:pt x="279748" y="97685"/>
                        </a:cubicBezTo>
                        <a:lnTo>
                          <a:pt x="278114" y="103491"/>
                        </a:lnTo>
                        <a:lnTo>
                          <a:pt x="115649" y="113290"/>
                        </a:lnTo>
                        <a:close/>
                        <a:moveTo>
                          <a:pt x="122545" y="55163"/>
                        </a:moveTo>
                        <a:lnTo>
                          <a:pt x="129742" y="95386"/>
                        </a:lnTo>
                        <a:lnTo>
                          <a:pt x="264808" y="87221"/>
                        </a:lnTo>
                        <a:cubicBezTo>
                          <a:pt x="270614" y="62724"/>
                          <a:pt x="267711" y="43006"/>
                          <a:pt x="254888" y="19839"/>
                        </a:cubicBezTo>
                        <a:lnTo>
                          <a:pt x="122545" y="55163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9" name="Freihandform: Form 468">
                    <a:extLst>
                      <a:ext uri="{FF2B5EF4-FFF2-40B4-BE49-F238E27FC236}">
                        <a16:creationId xmlns:a16="http://schemas.microsoft.com/office/drawing/2014/main" id="{AFD20B0A-CD7F-5E6D-EB36-54425BFFE64C}"/>
                      </a:ext>
                    </a:extLst>
                  </p:cNvPr>
                  <p:cNvSpPr/>
                  <p:nvPr/>
                </p:nvSpPr>
                <p:spPr>
                  <a:xfrm rot="-1304998">
                    <a:off x="588752" y="1930189"/>
                    <a:ext cx="87099" cy="135004"/>
                  </a:xfrm>
                  <a:custGeom>
                    <a:avLst/>
                    <a:gdLst>
                      <a:gd name="connsiteX0" fmla="*/ 87100 w 87099"/>
                      <a:gd name="connsiteY0" fmla="*/ 67502 h 135004"/>
                      <a:gd name="connsiteX1" fmla="*/ 43550 w 87099"/>
                      <a:gd name="connsiteY1" fmla="*/ 135005 h 135004"/>
                      <a:gd name="connsiteX2" fmla="*/ 0 w 87099"/>
                      <a:gd name="connsiteY2" fmla="*/ 67502 h 135004"/>
                      <a:gd name="connsiteX3" fmla="*/ 43550 w 87099"/>
                      <a:gd name="connsiteY3" fmla="*/ 0 h 135004"/>
                      <a:gd name="connsiteX4" fmla="*/ 87100 w 87099"/>
                      <a:gd name="connsiteY4" fmla="*/ 67502 h 1350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7099" h="135004">
                        <a:moveTo>
                          <a:pt x="87100" y="67502"/>
                        </a:moveTo>
                        <a:cubicBezTo>
                          <a:pt x="87100" y="104783"/>
                          <a:pt x="67602" y="135005"/>
                          <a:pt x="43550" y="135005"/>
                        </a:cubicBezTo>
                        <a:cubicBezTo>
                          <a:pt x="19498" y="135005"/>
                          <a:pt x="0" y="104783"/>
                          <a:pt x="0" y="67502"/>
                        </a:cubicBezTo>
                        <a:cubicBezTo>
                          <a:pt x="0" y="30222"/>
                          <a:pt x="19498" y="0"/>
                          <a:pt x="43550" y="0"/>
                        </a:cubicBezTo>
                        <a:cubicBezTo>
                          <a:pt x="67602" y="0"/>
                          <a:pt x="87100" y="30222"/>
                          <a:pt x="87100" y="67502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70" name="Grafik 297">
                  <a:extLst>
                    <a:ext uri="{FF2B5EF4-FFF2-40B4-BE49-F238E27FC236}">
                      <a16:creationId xmlns:a16="http://schemas.microsoft.com/office/drawing/2014/main" id="{36A1CD4A-BD06-DB8B-E426-91894D46EA2D}"/>
                    </a:ext>
                  </a:extLst>
                </p:cNvPr>
                <p:cNvGrpSpPr/>
                <p:nvPr/>
              </p:nvGrpSpPr>
              <p:grpSpPr>
                <a:xfrm>
                  <a:off x="372895" y="2175735"/>
                  <a:ext cx="581693" cy="1213887"/>
                  <a:chOff x="372895" y="2175735"/>
                  <a:chExt cx="581693" cy="1213887"/>
                </a:xfrm>
              </p:grpSpPr>
              <p:sp>
                <p:nvSpPr>
                  <p:cNvPr id="471" name="Freihandform: Form 470">
                    <a:extLst>
                      <a:ext uri="{FF2B5EF4-FFF2-40B4-BE49-F238E27FC236}">
                        <a16:creationId xmlns:a16="http://schemas.microsoft.com/office/drawing/2014/main" id="{AC7F5AA1-1C22-A00E-FCC8-76C758CBC93B}"/>
                      </a:ext>
                    </a:extLst>
                  </p:cNvPr>
                  <p:cNvSpPr/>
                  <p:nvPr/>
                </p:nvSpPr>
                <p:spPr>
                  <a:xfrm>
                    <a:off x="372895" y="2175735"/>
                    <a:ext cx="581693" cy="1213887"/>
                  </a:xfrm>
                  <a:custGeom>
                    <a:avLst/>
                    <a:gdLst>
                      <a:gd name="connsiteX0" fmla="*/ 0 w 581693"/>
                      <a:gd name="connsiteY0" fmla="*/ 1177656 h 1213887"/>
                      <a:gd name="connsiteX1" fmla="*/ 561189 w 581693"/>
                      <a:gd name="connsiteY1" fmla="*/ 1213888 h 1213887"/>
                      <a:gd name="connsiteX2" fmla="*/ 579637 w 581693"/>
                      <a:gd name="connsiteY2" fmla="*/ 480616 h 1213887"/>
                      <a:gd name="connsiteX3" fmla="*/ 434894 w 581693"/>
                      <a:gd name="connsiteY3" fmla="*/ 178610 h 1213887"/>
                      <a:gd name="connsiteX4" fmla="*/ 342230 w 581693"/>
                      <a:gd name="connsiteY4" fmla="*/ 70158 h 1213887"/>
                      <a:gd name="connsiteX5" fmla="*/ 125871 w 581693"/>
                      <a:gd name="connsiteY5" fmla="*/ 2535 h 1213887"/>
                      <a:gd name="connsiteX6" fmla="*/ 49296 w 581693"/>
                      <a:gd name="connsiteY6" fmla="*/ 803248 h 1213887"/>
                      <a:gd name="connsiteX7" fmla="*/ 0 w 581693"/>
                      <a:gd name="connsiteY7" fmla="*/ 1177596 h 12138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81693" h="1213887">
                        <a:moveTo>
                          <a:pt x="0" y="1177656"/>
                        </a:moveTo>
                        <a:lnTo>
                          <a:pt x="561189" y="1213888"/>
                        </a:lnTo>
                        <a:cubicBezTo>
                          <a:pt x="571229" y="1059769"/>
                          <a:pt x="587440" y="576063"/>
                          <a:pt x="579637" y="480616"/>
                        </a:cubicBezTo>
                        <a:cubicBezTo>
                          <a:pt x="567782" y="336055"/>
                          <a:pt x="434894" y="178610"/>
                          <a:pt x="434894" y="178610"/>
                        </a:cubicBezTo>
                        <a:cubicBezTo>
                          <a:pt x="434894" y="178610"/>
                          <a:pt x="368964" y="95502"/>
                          <a:pt x="342230" y="70158"/>
                        </a:cubicBezTo>
                        <a:cubicBezTo>
                          <a:pt x="338661" y="66771"/>
                          <a:pt x="237226" y="-15308"/>
                          <a:pt x="125871" y="2535"/>
                        </a:cubicBezTo>
                        <a:cubicBezTo>
                          <a:pt x="-63692" y="199477"/>
                          <a:pt x="37259" y="683668"/>
                          <a:pt x="49296" y="803248"/>
                        </a:cubicBezTo>
                        <a:cubicBezTo>
                          <a:pt x="60184" y="911397"/>
                          <a:pt x="8408" y="1132050"/>
                          <a:pt x="0" y="117759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2" name="Freihandform: Form 471">
                    <a:extLst>
                      <a:ext uri="{FF2B5EF4-FFF2-40B4-BE49-F238E27FC236}">
                        <a16:creationId xmlns:a16="http://schemas.microsoft.com/office/drawing/2014/main" id="{E2217F9D-68C2-49B3-653E-366333CF95FC}"/>
                      </a:ext>
                    </a:extLst>
                  </p:cNvPr>
                  <p:cNvSpPr/>
                  <p:nvPr/>
                </p:nvSpPr>
                <p:spPr>
                  <a:xfrm>
                    <a:off x="431918" y="2368973"/>
                    <a:ext cx="299871" cy="833700"/>
                  </a:xfrm>
                  <a:custGeom>
                    <a:avLst/>
                    <a:gdLst>
                      <a:gd name="connsiteX0" fmla="*/ 214737 w 299871"/>
                      <a:gd name="connsiteY0" fmla="*/ 243586 h 833700"/>
                      <a:gd name="connsiteX1" fmla="*/ 69934 w 299871"/>
                      <a:gd name="connsiteY1" fmla="*/ 12953 h 833700"/>
                      <a:gd name="connsiteX2" fmla="*/ 11625 w 299871"/>
                      <a:gd name="connsiteY2" fmla="*/ 413612 h 833700"/>
                      <a:gd name="connsiteX3" fmla="*/ 173062 w 299871"/>
                      <a:gd name="connsiteY3" fmla="*/ 832175 h 833700"/>
                      <a:gd name="connsiteX4" fmla="*/ 214737 w 299871"/>
                      <a:gd name="connsiteY4" fmla="*/ 243586 h 8337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9871" h="833700">
                        <a:moveTo>
                          <a:pt x="214737" y="243586"/>
                        </a:moveTo>
                        <a:cubicBezTo>
                          <a:pt x="198890" y="90315"/>
                          <a:pt x="116205" y="-42815"/>
                          <a:pt x="69934" y="12953"/>
                        </a:cubicBezTo>
                        <a:cubicBezTo>
                          <a:pt x="-45111" y="208323"/>
                          <a:pt x="17976" y="260462"/>
                          <a:pt x="11625" y="413612"/>
                        </a:cubicBezTo>
                        <a:cubicBezTo>
                          <a:pt x="2915" y="624103"/>
                          <a:pt x="31404" y="854676"/>
                          <a:pt x="173062" y="832175"/>
                        </a:cubicBezTo>
                        <a:cubicBezTo>
                          <a:pt x="424200" y="792315"/>
                          <a:pt x="226895" y="361473"/>
                          <a:pt x="214737" y="243586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73" name="Grafik 297">
                  <a:extLst>
                    <a:ext uri="{FF2B5EF4-FFF2-40B4-BE49-F238E27FC236}">
                      <a16:creationId xmlns:a16="http://schemas.microsoft.com/office/drawing/2014/main" id="{BC990033-B12E-225D-C171-DF3C51556DE1}"/>
                    </a:ext>
                  </a:extLst>
                </p:cNvPr>
                <p:cNvGrpSpPr/>
                <p:nvPr/>
              </p:nvGrpSpPr>
              <p:grpSpPr>
                <a:xfrm>
                  <a:off x="1054754" y="3219161"/>
                  <a:ext cx="382210" cy="209656"/>
                  <a:chOff x="1054754" y="3219161"/>
                  <a:chExt cx="382210" cy="209656"/>
                </a:xfrm>
                <a:solidFill>
                  <a:srgbClr val="02787D"/>
                </a:solidFill>
              </p:grpSpPr>
              <p:sp>
                <p:nvSpPr>
                  <p:cNvPr id="474" name="Freihandform: Form 473">
                    <a:extLst>
                      <a:ext uri="{FF2B5EF4-FFF2-40B4-BE49-F238E27FC236}">
                        <a16:creationId xmlns:a16="http://schemas.microsoft.com/office/drawing/2014/main" id="{AB937EF7-27B8-F587-C6B9-80F2FA9494E8}"/>
                      </a:ext>
                    </a:extLst>
                  </p:cNvPr>
                  <p:cNvSpPr/>
                  <p:nvPr/>
                </p:nvSpPr>
                <p:spPr>
                  <a:xfrm>
                    <a:off x="1054754" y="3240041"/>
                    <a:ext cx="118915" cy="118915"/>
                  </a:xfrm>
                  <a:custGeom>
                    <a:avLst/>
                    <a:gdLst>
                      <a:gd name="connsiteX0" fmla="*/ 118915 w 118915"/>
                      <a:gd name="connsiteY0" fmla="*/ 59458 h 118915"/>
                      <a:gd name="connsiteX1" fmla="*/ 59458 w 118915"/>
                      <a:gd name="connsiteY1" fmla="*/ 118915 h 118915"/>
                      <a:gd name="connsiteX2" fmla="*/ 0 w 118915"/>
                      <a:gd name="connsiteY2" fmla="*/ 59458 h 118915"/>
                      <a:gd name="connsiteX3" fmla="*/ 59458 w 118915"/>
                      <a:gd name="connsiteY3" fmla="*/ 0 h 118915"/>
                      <a:gd name="connsiteX4" fmla="*/ 118915 w 118915"/>
                      <a:gd name="connsiteY4" fmla="*/ 59458 h 118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8915" h="118915">
                        <a:moveTo>
                          <a:pt x="118915" y="59458"/>
                        </a:moveTo>
                        <a:cubicBezTo>
                          <a:pt x="118915" y="92295"/>
                          <a:pt x="92295" y="118915"/>
                          <a:pt x="59458" y="118915"/>
                        </a:cubicBezTo>
                        <a:cubicBezTo>
                          <a:pt x="26620" y="118915"/>
                          <a:pt x="0" y="92295"/>
                          <a:pt x="0" y="59458"/>
                        </a:cubicBezTo>
                        <a:cubicBezTo>
                          <a:pt x="0" y="26620"/>
                          <a:pt x="26620" y="0"/>
                          <a:pt x="59458" y="0"/>
                        </a:cubicBezTo>
                        <a:cubicBezTo>
                          <a:pt x="92295" y="0"/>
                          <a:pt x="118915" y="26620"/>
                          <a:pt x="118915" y="5945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475" name="Grafik 297">
                    <a:extLst>
                      <a:ext uri="{FF2B5EF4-FFF2-40B4-BE49-F238E27FC236}">
                        <a16:creationId xmlns:a16="http://schemas.microsoft.com/office/drawing/2014/main" id="{73FC30AC-B150-DA99-CD61-D7A71E6E4558}"/>
                      </a:ext>
                    </a:extLst>
                  </p:cNvPr>
                  <p:cNvGrpSpPr/>
                  <p:nvPr/>
                </p:nvGrpSpPr>
                <p:grpSpPr>
                  <a:xfrm>
                    <a:off x="1069820" y="3219161"/>
                    <a:ext cx="367143" cy="209656"/>
                    <a:chOff x="1069820" y="3219161"/>
                    <a:chExt cx="367143" cy="209656"/>
                  </a:xfrm>
                  <a:solidFill>
                    <a:srgbClr val="02787D"/>
                  </a:solidFill>
                </p:grpSpPr>
                <p:grpSp>
                  <p:nvGrpSpPr>
                    <p:cNvPr id="476" name="Grafik 297">
                      <a:extLst>
                        <a:ext uri="{FF2B5EF4-FFF2-40B4-BE49-F238E27FC236}">
                          <a16:creationId xmlns:a16="http://schemas.microsoft.com/office/drawing/2014/main" id="{98B9A424-AFA2-F455-104F-4D71848BFB4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64829" y="3326989"/>
                      <a:ext cx="172135" cy="51322"/>
                      <a:chOff x="1264829" y="3326989"/>
                      <a:chExt cx="172135" cy="51322"/>
                    </a:xfrm>
                    <a:solidFill>
                      <a:srgbClr val="02787D"/>
                    </a:solidFill>
                  </p:grpSpPr>
                  <p:sp>
                    <p:nvSpPr>
                      <p:cNvPr id="477" name="Freihandform: Form 476">
                        <a:extLst>
                          <a:ext uri="{FF2B5EF4-FFF2-40B4-BE49-F238E27FC236}">
                            <a16:creationId xmlns:a16="http://schemas.microsoft.com/office/drawing/2014/main" id="{7A45278D-E1EF-E357-F7EF-A0F4C0A84B4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64829" y="3326989"/>
                        <a:ext cx="79232" cy="51322"/>
                      </a:xfrm>
                      <a:custGeom>
                        <a:avLst/>
                        <a:gdLst>
                          <a:gd name="connsiteX0" fmla="*/ 63865 w 79232"/>
                          <a:gd name="connsiteY0" fmla="*/ 51323 h 51322"/>
                          <a:gd name="connsiteX1" fmla="*/ 79229 w 79232"/>
                          <a:gd name="connsiteY1" fmla="*/ 30999 h 51322"/>
                          <a:gd name="connsiteX2" fmla="*/ 65559 w 79232"/>
                          <a:gd name="connsiteY2" fmla="*/ 12551 h 51322"/>
                          <a:gd name="connsiteX3" fmla="*/ 23158 w 79232"/>
                          <a:gd name="connsiteY3" fmla="*/ 514 h 51322"/>
                          <a:gd name="connsiteX4" fmla="*/ 900 w 79232"/>
                          <a:gd name="connsiteY4" fmla="*/ 14668 h 51322"/>
                          <a:gd name="connsiteX5" fmla="*/ 16202 w 79232"/>
                          <a:gd name="connsiteY5" fmla="*/ 40133 h 51322"/>
                          <a:gd name="connsiteX6" fmla="*/ 63865 w 79232"/>
                          <a:gd name="connsiteY6" fmla="*/ 51323 h 5132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9232" h="51322">
                            <a:moveTo>
                              <a:pt x="63865" y="51323"/>
                            </a:moveTo>
                            <a:cubicBezTo>
                              <a:pt x="63865" y="51323"/>
                              <a:pt x="78987" y="46544"/>
                              <a:pt x="79229" y="30999"/>
                            </a:cubicBezTo>
                            <a:cubicBezTo>
                              <a:pt x="79471" y="15878"/>
                              <a:pt x="65559" y="12551"/>
                              <a:pt x="65559" y="12551"/>
                            </a:cubicBezTo>
                            <a:lnTo>
                              <a:pt x="23158" y="514"/>
                            </a:lnTo>
                            <a:cubicBezTo>
                              <a:pt x="11243" y="-1966"/>
                              <a:pt x="3440" y="4809"/>
                              <a:pt x="900" y="14668"/>
                            </a:cubicBezTo>
                            <a:cubicBezTo>
                              <a:pt x="-2064" y="24467"/>
                              <a:pt x="2109" y="36262"/>
                              <a:pt x="16202" y="40133"/>
                            </a:cubicBezTo>
                            <a:lnTo>
                              <a:pt x="63865" y="51323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78" name="Freihandform: Form 477">
                        <a:extLst>
                          <a:ext uri="{FF2B5EF4-FFF2-40B4-BE49-F238E27FC236}">
                            <a16:creationId xmlns:a16="http://schemas.microsoft.com/office/drawing/2014/main" id="{7DA27D00-08D0-E4BE-D7F9-27C1DD35C9C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6113" y="3336851"/>
                        <a:ext cx="66300" cy="41461"/>
                      </a:xfrm>
                      <a:custGeom>
                        <a:avLst/>
                        <a:gdLst>
                          <a:gd name="connsiteX0" fmla="*/ 57099 w 66300"/>
                          <a:gd name="connsiteY0" fmla="*/ 34384 h 41461"/>
                          <a:gd name="connsiteX1" fmla="*/ 65325 w 66300"/>
                          <a:gd name="connsiteY1" fmla="*/ 14424 h 41461"/>
                          <a:gd name="connsiteX2" fmla="*/ 51534 w 66300"/>
                          <a:gd name="connsiteY2" fmla="*/ 89 h 41461"/>
                          <a:gd name="connsiteX3" fmla="*/ 14275 w 66300"/>
                          <a:gd name="connsiteY3" fmla="*/ 2629 h 41461"/>
                          <a:gd name="connsiteX4" fmla="*/ 0 w 66300"/>
                          <a:gd name="connsiteY4" fmla="*/ 21319 h 41461"/>
                          <a:gd name="connsiteX5" fmla="*/ 12581 w 66300"/>
                          <a:gd name="connsiteY5" fmla="*/ 41461 h 41461"/>
                          <a:gd name="connsiteX6" fmla="*/ 57099 w 66300"/>
                          <a:gd name="connsiteY6" fmla="*/ 34384 h 4146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6300" h="41461">
                            <a:moveTo>
                              <a:pt x="57099" y="34384"/>
                            </a:moveTo>
                            <a:cubicBezTo>
                              <a:pt x="57099" y="34384"/>
                              <a:pt x="69861" y="28880"/>
                              <a:pt x="65325" y="14424"/>
                            </a:cubicBezTo>
                            <a:cubicBezTo>
                              <a:pt x="60184" y="-2028"/>
                              <a:pt x="51534" y="89"/>
                              <a:pt x="51534" y="89"/>
                            </a:cubicBezTo>
                            <a:lnTo>
                              <a:pt x="14275" y="2629"/>
                            </a:lnTo>
                            <a:cubicBezTo>
                              <a:pt x="5202" y="2629"/>
                              <a:pt x="61" y="13759"/>
                              <a:pt x="0" y="21319"/>
                            </a:cubicBezTo>
                            <a:cubicBezTo>
                              <a:pt x="423" y="33054"/>
                              <a:pt x="2057" y="38074"/>
                              <a:pt x="12581" y="41461"/>
                            </a:cubicBezTo>
                            <a:lnTo>
                              <a:pt x="57099" y="34384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79" name="Freihandform: Form 478">
                        <a:extLst>
                          <a:ext uri="{FF2B5EF4-FFF2-40B4-BE49-F238E27FC236}">
                            <a16:creationId xmlns:a16="http://schemas.microsoft.com/office/drawing/2014/main" id="{FEF10AE2-F1E7-6D8F-1523-CCCB7E0DB9A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780" y="3327234"/>
                        <a:ext cx="82184" cy="44013"/>
                      </a:xfrm>
                      <a:custGeom>
                        <a:avLst/>
                        <a:gdLst>
                          <a:gd name="connsiteX0" fmla="*/ 56720 w 82184"/>
                          <a:gd name="connsiteY0" fmla="*/ 27489 h 44013"/>
                          <a:gd name="connsiteX1" fmla="*/ 82185 w 82184"/>
                          <a:gd name="connsiteY1" fmla="*/ 16238 h 44013"/>
                          <a:gd name="connsiteX2" fmla="*/ 42082 w 82184"/>
                          <a:gd name="connsiteY2" fmla="*/ 1117 h 44013"/>
                          <a:gd name="connsiteX3" fmla="*/ 12868 w 82184"/>
                          <a:gd name="connsiteY3" fmla="*/ 9706 h 44013"/>
                          <a:gd name="connsiteX4" fmla="*/ 165 w 82184"/>
                          <a:gd name="connsiteY4" fmla="*/ 29484 h 44013"/>
                          <a:gd name="connsiteX5" fmla="*/ 18432 w 82184"/>
                          <a:gd name="connsiteY5" fmla="*/ 44001 h 44013"/>
                          <a:gd name="connsiteX6" fmla="*/ 56720 w 82184"/>
                          <a:gd name="connsiteY6" fmla="*/ 27489 h 440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82184" h="44013">
                            <a:moveTo>
                              <a:pt x="56720" y="27489"/>
                            </a:moveTo>
                            <a:lnTo>
                              <a:pt x="82185" y="16238"/>
                            </a:lnTo>
                            <a:cubicBezTo>
                              <a:pt x="75833" y="-517"/>
                              <a:pt x="55510" y="-1545"/>
                              <a:pt x="42082" y="1117"/>
                            </a:cubicBezTo>
                            <a:cubicBezTo>
                              <a:pt x="28654" y="3778"/>
                              <a:pt x="12868" y="9706"/>
                              <a:pt x="12868" y="9706"/>
                            </a:cubicBezTo>
                            <a:cubicBezTo>
                              <a:pt x="3916" y="11460"/>
                              <a:pt x="-984" y="19988"/>
                              <a:pt x="165" y="29484"/>
                            </a:cubicBezTo>
                            <a:cubicBezTo>
                              <a:pt x="1315" y="38981"/>
                              <a:pt x="9299" y="44304"/>
                              <a:pt x="18432" y="44001"/>
                            </a:cubicBezTo>
                            <a:lnTo>
                              <a:pt x="56720" y="27489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0" name="Freihandform: Form 479">
                        <a:extLst>
                          <a:ext uri="{FF2B5EF4-FFF2-40B4-BE49-F238E27FC236}">
                            <a16:creationId xmlns:a16="http://schemas.microsoft.com/office/drawing/2014/main" id="{5A4F0C9C-CD9E-05D5-4C19-4D699F1E2FA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85508" y="3327201"/>
                        <a:ext cx="103672" cy="28807"/>
                      </a:xfrm>
                      <a:custGeom>
                        <a:avLst/>
                        <a:gdLst>
                          <a:gd name="connsiteX0" fmla="*/ 103673 w 103672"/>
                          <a:gd name="connsiteY0" fmla="*/ 2964 h 28807"/>
                          <a:gd name="connsiteX1" fmla="*/ 82140 w 103672"/>
                          <a:gd name="connsiteY1" fmla="*/ 9799 h 28807"/>
                          <a:gd name="connsiteX2" fmla="*/ 44881 w 103672"/>
                          <a:gd name="connsiteY2" fmla="*/ 12339 h 28807"/>
                          <a:gd name="connsiteX3" fmla="*/ 2480 w 103672"/>
                          <a:gd name="connsiteY3" fmla="*/ 302 h 28807"/>
                          <a:gd name="connsiteX4" fmla="*/ 0 w 103672"/>
                          <a:gd name="connsiteY4" fmla="*/ 0 h 28807"/>
                          <a:gd name="connsiteX5" fmla="*/ 16573 w 103672"/>
                          <a:gd name="connsiteY5" fmla="*/ 22864 h 28807"/>
                          <a:gd name="connsiteX6" fmla="*/ 63510 w 103672"/>
                          <a:gd name="connsiteY6" fmla="*/ 26916 h 28807"/>
                          <a:gd name="connsiteX7" fmla="*/ 103673 w 103672"/>
                          <a:gd name="connsiteY7" fmla="*/ 3024 h 28807"/>
                          <a:gd name="connsiteX8" fmla="*/ 103673 w 103672"/>
                          <a:gd name="connsiteY8" fmla="*/ 3024 h 2880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03672" h="28807">
                            <a:moveTo>
                              <a:pt x="103673" y="2964"/>
                            </a:moveTo>
                            <a:cubicBezTo>
                              <a:pt x="92544" y="5867"/>
                              <a:pt x="82140" y="9799"/>
                              <a:pt x="82140" y="9799"/>
                            </a:cubicBezTo>
                            <a:lnTo>
                              <a:pt x="44881" y="12339"/>
                            </a:lnTo>
                            <a:lnTo>
                              <a:pt x="2480" y="302"/>
                            </a:lnTo>
                            <a:cubicBezTo>
                              <a:pt x="1633" y="121"/>
                              <a:pt x="847" y="121"/>
                              <a:pt x="0" y="0"/>
                            </a:cubicBezTo>
                            <a:cubicBezTo>
                              <a:pt x="0" y="0"/>
                              <a:pt x="7803" y="19718"/>
                              <a:pt x="16573" y="22864"/>
                            </a:cubicBezTo>
                            <a:cubicBezTo>
                              <a:pt x="25404" y="26009"/>
                              <a:pt x="32844" y="31815"/>
                              <a:pt x="63510" y="26916"/>
                            </a:cubicBezTo>
                            <a:cubicBezTo>
                              <a:pt x="84196" y="23589"/>
                              <a:pt x="103673" y="3024"/>
                              <a:pt x="103673" y="3024"/>
                            </a:cubicBezTo>
                            <a:lnTo>
                              <a:pt x="103673" y="3024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81" name="Grafik 297">
                      <a:extLst>
                        <a:ext uri="{FF2B5EF4-FFF2-40B4-BE49-F238E27FC236}">
                          <a16:creationId xmlns:a16="http://schemas.microsoft.com/office/drawing/2014/main" id="{E1D8EBF0-CEED-5DB8-4FDF-D9C9B820626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50636" y="3354113"/>
                      <a:ext cx="167214" cy="58191"/>
                      <a:chOff x="1250636" y="3354113"/>
                      <a:chExt cx="167214" cy="58191"/>
                    </a:xfrm>
                    <a:solidFill>
                      <a:srgbClr val="02787D"/>
                    </a:solidFill>
                  </p:grpSpPr>
                  <p:sp>
                    <p:nvSpPr>
                      <p:cNvPr id="482" name="Freihandform: Form 481">
                        <a:extLst>
                          <a:ext uri="{FF2B5EF4-FFF2-40B4-BE49-F238E27FC236}">
                            <a16:creationId xmlns:a16="http://schemas.microsoft.com/office/drawing/2014/main" id="{B46CC4C8-C6B8-97B0-C132-D3890BFE16B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50636" y="3363067"/>
                        <a:ext cx="81268" cy="49237"/>
                      </a:xfrm>
                      <a:custGeom>
                        <a:avLst/>
                        <a:gdLst>
                          <a:gd name="connsiteX0" fmla="*/ 69530 w 81268"/>
                          <a:gd name="connsiteY0" fmla="*/ 49177 h 49237"/>
                          <a:gd name="connsiteX1" fmla="*/ 81022 w 81268"/>
                          <a:gd name="connsiteY1" fmla="*/ 30426 h 49237"/>
                          <a:gd name="connsiteX2" fmla="*/ 64993 w 81268"/>
                          <a:gd name="connsiteY2" fmla="*/ 11131 h 49237"/>
                          <a:gd name="connsiteX3" fmla="*/ 23803 w 81268"/>
                          <a:gd name="connsiteY3" fmla="*/ 304 h 49237"/>
                          <a:gd name="connsiteX4" fmla="*/ 757 w 81268"/>
                          <a:gd name="connsiteY4" fmla="*/ 14216 h 49237"/>
                          <a:gd name="connsiteX5" fmla="*/ 17089 w 81268"/>
                          <a:gd name="connsiteY5" fmla="*/ 39076 h 49237"/>
                          <a:gd name="connsiteX6" fmla="*/ 69590 w 81268"/>
                          <a:gd name="connsiteY6" fmla="*/ 49237 h 492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81268" h="49237">
                            <a:moveTo>
                              <a:pt x="69530" y="49177"/>
                            </a:moveTo>
                            <a:cubicBezTo>
                              <a:pt x="69530" y="49177"/>
                              <a:pt x="83260" y="45003"/>
                              <a:pt x="81022" y="30426"/>
                            </a:cubicBezTo>
                            <a:cubicBezTo>
                              <a:pt x="78361" y="12885"/>
                              <a:pt x="64993" y="11131"/>
                              <a:pt x="64993" y="11131"/>
                            </a:cubicBezTo>
                            <a:lnTo>
                              <a:pt x="23803" y="304"/>
                            </a:lnTo>
                            <a:cubicBezTo>
                              <a:pt x="11826" y="-1450"/>
                              <a:pt x="3177" y="4538"/>
                              <a:pt x="757" y="14216"/>
                            </a:cubicBezTo>
                            <a:cubicBezTo>
                              <a:pt x="-2146" y="23773"/>
                              <a:pt x="3298" y="35265"/>
                              <a:pt x="17089" y="39076"/>
                            </a:cubicBezTo>
                            <a:lnTo>
                              <a:pt x="69590" y="4923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3" name="Freihandform: Form 482">
                        <a:extLst>
                          <a:ext uri="{FF2B5EF4-FFF2-40B4-BE49-F238E27FC236}">
                            <a16:creationId xmlns:a16="http://schemas.microsoft.com/office/drawing/2014/main" id="{344A496B-416F-377F-4403-3CBDB0EA17F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3585" y="3362437"/>
                        <a:ext cx="66097" cy="49807"/>
                      </a:xfrm>
                      <a:custGeom>
                        <a:avLst/>
                        <a:gdLst>
                          <a:gd name="connsiteX0" fmla="*/ 56441 w 66097"/>
                          <a:gd name="connsiteY0" fmla="*/ 32569 h 49807"/>
                          <a:gd name="connsiteX1" fmla="*/ 65272 w 66097"/>
                          <a:gd name="connsiteY1" fmla="*/ 13093 h 49807"/>
                          <a:gd name="connsiteX2" fmla="*/ 48578 w 66097"/>
                          <a:gd name="connsiteY2" fmla="*/ 330 h 49807"/>
                          <a:gd name="connsiteX3" fmla="*/ 11621 w 66097"/>
                          <a:gd name="connsiteY3" fmla="*/ 11762 h 49807"/>
                          <a:gd name="connsiteX4" fmla="*/ 68 w 66097"/>
                          <a:gd name="connsiteY4" fmla="*/ 31057 h 49807"/>
                          <a:gd name="connsiteX5" fmla="*/ 16581 w 66097"/>
                          <a:gd name="connsiteY5" fmla="*/ 49808 h 49807"/>
                          <a:gd name="connsiteX6" fmla="*/ 56441 w 66097"/>
                          <a:gd name="connsiteY6" fmla="*/ 32569 h 4980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6097" h="49807">
                            <a:moveTo>
                              <a:pt x="56441" y="32569"/>
                            </a:moveTo>
                            <a:cubicBezTo>
                              <a:pt x="56441" y="32569"/>
                              <a:pt x="69445" y="29424"/>
                              <a:pt x="65272" y="13093"/>
                            </a:cubicBezTo>
                            <a:cubicBezTo>
                              <a:pt x="60977" y="-3239"/>
                              <a:pt x="48578" y="330"/>
                              <a:pt x="48578" y="330"/>
                            </a:cubicBezTo>
                            <a:lnTo>
                              <a:pt x="11621" y="11762"/>
                            </a:lnTo>
                            <a:cubicBezTo>
                              <a:pt x="5391" y="17871"/>
                              <a:pt x="673" y="23194"/>
                              <a:pt x="68" y="31057"/>
                            </a:cubicBezTo>
                            <a:cubicBezTo>
                              <a:pt x="-537" y="38920"/>
                              <a:pt x="2729" y="47751"/>
                              <a:pt x="16581" y="49808"/>
                            </a:cubicBezTo>
                            <a:lnTo>
                              <a:pt x="56441" y="32569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4" name="Freihandform: Form 483">
                        <a:extLst>
                          <a:ext uri="{FF2B5EF4-FFF2-40B4-BE49-F238E27FC236}">
                            <a16:creationId xmlns:a16="http://schemas.microsoft.com/office/drawing/2014/main" id="{BDB77721-DB70-8551-CDB4-8BE8A1C2B22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3092" y="3354113"/>
                        <a:ext cx="74758" cy="40567"/>
                      </a:xfrm>
                      <a:custGeom>
                        <a:avLst/>
                        <a:gdLst>
                          <a:gd name="connsiteX0" fmla="*/ 49839 w 74758"/>
                          <a:gd name="connsiteY0" fmla="*/ 26920 h 40567"/>
                          <a:gd name="connsiteX1" fmla="*/ 74759 w 74758"/>
                          <a:gd name="connsiteY1" fmla="*/ 16093 h 40567"/>
                          <a:gd name="connsiteX2" fmla="*/ 35685 w 74758"/>
                          <a:gd name="connsiteY2" fmla="*/ 1032 h 40567"/>
                          <a:gd name="connsiteX3" fmla="*/ 7498 w 74758"/>
                          <a:gd name="connsiteY3" fmla="*/ 9137 h 40567"/>
                          <a:gd name="connsiteX4" fmla="*/ 845 w 74758"/>
                          <a:gd name="connsiteY4" fmla="*/ 28977 h 40567"/>
                          <a:gd name="connsiteX5" fmla="*/ 18507 w 74758"/>
                          <a:gd name="connsiteY5" fmla="*/ 40348 h 40567"/>
                          <a:gd name="connsiteX6" fmla="*/ 49899 w 74758"/>
                          <a:gd name="connsiteY6" fmla="*/ 26920 h 4056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4758" h="40567">
                            <a:moveTo>
                              <a:pt x="49839" y="26920"/>
                            </a:moveTo>
                            <a:lnTo>
                              <a:pt x="74759" y="16093"/>
                            </a:lnTo>
                            <a:cubicBezTo>
                              <a:pt x="68650" y="-359"/>
                              <a:pt x="48810" y="-1508"/>
                              <a:pt x="35685" y="1032"/>
                            </a:cubicBezTo>
                            <a:cubicBezTo>
                              <a:pt x="22559" y="3572"/>
                              <a:pt x="7498" y="9137"/>
                              <a:pt x="7498" y="9137"/>
                            </a:cubicBezTo>
                            <a:cubicBezTo>
                              <a:pt x="-1030" y="14400"/>
                              <a:pt x="-667" y="22202"/>
                              <a:pt x="845" y="28977"/>
                            </a:cubicBezTo>
                            <a:cubicBezTo>
                              <a:pt x="2599" y="36840"/>
                              <a:pt x="9676" y="41679"/>
                              <a:pt x="18507" y="40348"/>
                            </a:cubicBezTo>
                            <a:lnTo>
                              <a:pt x="49899" y="26920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85" name="Grafik 297">
                      <a:extLst>
                        <a:ext uri="{FF2B5EF4-FFF2-40B4-BE49-F238E27FC236}">
                          <a16:creationId xmlns:a16="http://schemas.microsoft.com/office/drawing/2014/main" id="{F641BF49-0106-98D8-4960-C17443E6F00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19789" y="3374219"/>
                      <a:ext cx="153786" cy="54598"/>
                      <a:chOff x="1219789" y="3374219"/>
                      <a:chExt cx="153786" cy="54598"/>
                    </a:xfrm>
                    <a:solidFill>
                      <a:srgbClr val="02787D"/>
                    </a:solidFill>
                  </p:grpSpPr>
                  <p:sp>
                    <p:nvSpPr>
                      <p:cNvPr id="486" name="Freihandform: Form 485">
                        <a:extLst>
                          <a:ext uri="{FF2B5EF4-FFF2-40B4-BE49-F238E27FC236}">
                            <a16:creationId xmlns:a16="http://schemas.microsoft.com/office/drawing/2014/main" id="{BCCAD320-23D8-0B40-718C-285C4EE90C6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19789" y="3382861"/>
                        <a:ext cx="71114" cy="45956"/>
                      </a:xfrm>
                      <a:custGeom>
                        <a:avLst/>
                        <a:gdLst>
                          <a:gd name="connsiteX0" fmla="*/ 62513 w 71114"/>
                          <a:gd name="connsiteY0" fmla="*/ 45956 h 45956"/>
                          <a:gd name="connsiteX1" fmla="*/ 70195 w 71114"/>
                          <a:gd name="connsiteY1" fmla="*/ 29746 h 45956"/>
                          <a:gd name="connsiteX2" fmla="*/ 65537 w 71114"/>
                          <a:gd name="connsiteY2" fmla="*/ 13233 h 45956"/>
                          <a:gd name="connsiteX3" fmla="*/ 19568 w 71114"/>
                          <a:gd name="connsiteY3" fmla="*/ 410 h 45956"/>
                          <a:gd name="connsiteX4" fmla="*/ 999 w 71114"/>
                          <a:gd name="connsiteY4" fmla="*/ 10753 h 45956"/>
                          <a:gd name="connsiteX5" fmla="*/ 13399 w 71114"/>
                          <a:gd name="connsiteY5" fmla="*/ 36702 h 45956"/>
                          <a:gd name="connsiteX6" fmla="*/ 62513 w 71114"/>
                          <a:gd name="connsiteY6" fmla="*/ 45956 h 4595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1114" h="45956">
                            <a:moveTo>
                              <a:pt x="62513" y="45956"/>
                            </a:moveTo>
                            <a:cubicBezTo>
                              <a:pt x="62513" y="45956"/>
                              <a:pt x="66566" y="43053"/>
                              <a:pt x="70195" y="29746"/>
                            </a:cubicBezTo>
                            <a:cubicBezTo>
                              <a:pt x="73824" y="16379"/>
                              <a:pt x="65537" y="13233"/>
                              <a:pt x="65537" y="13233"/>
                            </a:cubicBezTo>
                            <a:lnTo>
                              <a:pt x="19568" y="410"/>
                            </a:lnTo>
                            <a:cubicBezTo>
                              <a:pt x="8378" y="-1162"/>
                              <a:pt x="3237" y="1681"/>
                              <a:pt x="999" y="10753"/>
                            </a:cubicBezTo>
                            <a:cubicBezTo>
                              <a:pt x="-1662" y="19705"/>
                              <a:pt x="515" y="33194"/>
                              <a:pt x="13399" y="36702"/>
                            </a:cubicBezTo>
                            <a:lnTo>
                              <a:pt x="62513" y="45956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7" name="Freihandform: Form 486">
                        <a:extLst>
                          <a:ext uri="{FF2B5EF4-FFF2-40B4-BE49-F238E27FC236}">
                            <a16:creationId xmlns:a16="http://schemas.microsoft.com/office/drawing/2014/main" id="{FF070828-4CDE-604C-AD71-F8E8FE53BA2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70181" y="3381975"/>
                        <a:ext cx="59305" cy="46842"/>
                      </a:xfrm>
                      <a:custGeom>
                        <a:avLst/>
                        <a:gdLst>
                          <a:gd name="connsiteX0" fmla="*/ 49320 w 59305"/>
                          <a:gd name="connsiteY0" fmla="*/ 30572 h 46842"/>
                          <a:gd name="connsiteX1" fmla="*/ 58574 w 59305"/>
                          <a:gd name="connsiteY1" fmla="*/ 11338 h 46842"/>
                          <a:gd name="connsiteX2" fmla="*/ 41154 w 59305"/>
                          <a:gd name="connsiteY2" fmla="*/ 632 h 46842"/>
                          <a:gd name="connsiteX3" fmla="*/ 13330 w 59305"/>
                          <a:gd name="connsiteY3" fmla="*/ 13636 h 46842"/>
                          <a:gd name="connsiteX4" fmla="*/ 23 w 59305"/>
                          <a:gd name="connsiteY4" fmla="*/ 28213 h 46842"/>
                          <a:gd name="connsiteX5" fmla="*/ 12121 w 59305"/>
                          <a:gd name="connsiteY5" fmla="*/ 46843 h 46842"/>
                          <a:gd name="connsiteX6" fmla="*/ 49320 w 59305"/>
                          <a:gd name="connsiteY6" fmla="*/ 30572 h 4684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9305" h="46842">
                            <a:moveTo>
                              <a:pt x="49320" y="30572"/>
                            </a:moveTo>
                            <a:cubicBezTo>
                              <a:pt x="49320" y="30572"/>
                              <a:pt x="62506" y="26641"/>
                              <a:pt x="58574" y="11338"/>
                            </a:cubicBezTo>
                            <a:cubicBezTo>
                              <a:pt x="54461" y="-3905"/>
                              <a:pt x="41154" y="632"/>
                              <a:pt x="41154" y="632"/>
                            </a:cubicBezTo>
                            <a:lnTo>
                              <a:pt x="13330" y="13636"/>
                            </a:lnTo>
                            <a:cubicBezTo>
                              <a:pt x="5467" y="14967"/>
                              <a:pt x="326" y="15511"/>
                              <a:pt x="23" y="28213"/>
                            </a:cubicBezTo>
                            <a:cubicBezTo>
                              <a:pt x="-279" y="40915"/>
                              <a:pt x="2261" y="44968"/>
                              <a:pt x="12121" y="46843"/>
                            </a:cubicBezTo>
                            <a:lnTo>
                              <a:pt x="49320" y="30572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8" name="Freihandform: Form 487">
                        <a:extLst>
                          <a:ext uri="{FF2B5EF4-FFF2-40B4-BE49-F238E27FC236}">
                            <a16:creationId xmlns:a16="http://schemas.microsoft.com/office/drawing/2014/main" id="{95A5D970-2A19-EA1E-8346-CD4EC68DA0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4207" y="3374219"/>
                        <a:ext cx="69368" cy="38586"/>
                      </a:xfrm>
                      <a:custGeom>
                        <a:avLst/>
                        <a:gdLst>
                          <a:gd name="connsiteX0" fmla="*/ 46081 w 69368"/>
                          <a:gd name="connsiteY0" fmla="*/ 25142 h 38586"/>
                          <a:gd name="connsiteX1" fmla="*/ 69368 w 69368"/>
                          <a:gd name="connsiteY1" fmla="*/ 14920 h 38586"/>
                          <a:gd name="connsiteX2" fmla="*/ 32714 w 69368"/>
                          <a:gd name="connsiteY2" fmla="*/ 1008 h 38586"/>
                          <a:gd name="connsiteX3" fmla="*/ 7128 w 69368"/>
                          <a:gd name="connsiteY3" fmla="*/ 8447 h 38586"/>
                          <a:gd name="connsiteX4" fmla="*/ 656 w 69368"/>
                          <a:gd name="connsiteY4" fmla="*/ 23569 h 38586"/>
                          <a:gd name="connsiteX5" fmla="*/ 15294 w 69368"/>
                          <a:gd name="connsiteY5" fmla="*/ 38388 h 38586"/>
                          <a:gd name="connsiteX6" fmla="*/ 46081 w 69368"/>
                          <a:gd name="connsiteY6" fmla="*/ 25142 h 385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9368" h="38586">
                            <a:moveTo>
                              <a:pt x="46081" y="25142"/>
                            </a:moveTo>
                            <a:lnTo>
                              <a:pt x="69368" y="14920"/>
                            </a:lnTo>
                            <a:cubicBezTo>
                              <a:pt x="63562" y="-444"/>
                              <a:pt x="44992" y="-1412"/>
                              <a:pt x="32714" y="1008"/>
                            </a:cubicBezTo>
                            <a:cubicBezTo>
                              <a:pt x="20435" y="3427"/>
                              <a:pt x="7128" y="8447"/>
                              <a:pt x="7128" y="8447"/>
                            </a:cubicBezTo>
                            <a:cubicBezTo>
                              <a:pt x="-917" y="12863"/>
                              <a:pt x="-554" y="17157"/>
                              <a:pt x="656" y="23569"/>
                            </a:cubicBezTo>
                            <a:cubicBezTo>
                              <a:pt x="1926" y="30585"/>
                              <a:pt x="7128" y="40082"/>
                              <a:pt x="15294" y="38388"/>
                            </a:cubicBezTo>
                            <a:lnTo>
                              <a:pt x="46081" y="25142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489" name="Freihandform: Form 488">
                      <a:extLst>
                        <a:ext uri="{FF2B5EF4-FFF2-40B4-BE49-F238E27FC236}">
                          <a16:creationId xmlns:a16="http://schemas.microsoft.com/office/drawing/2014/main" id="{835EF62D-8ADC-B10D-4332-7379716CF6C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9820" y="3243005"/>
                      <a:ext cx="221554" cy="177405"/>
                    </a:xfrm>
                    <a:custGeom>
                      <a:avLst/>
                      <a:gdLst>
                        <a:gd name="connsiteX0" fmla="*/ 8644 w 221554"/>
                        <a:gd name="connsiteY0" fmla="*/ 104036 h 177405"/>
                        <a:gd name="connsiteX1" fmla="*/ 72154 w 221554"/>
                        <a:gd name="connsiteY1" fmla="*/ 151094 h 177405"/>
                        <a:gd name="connsiteX2" fmla="*/ 167056 w 221554"/>
                        <a:gd name="connsiteY2" fmla="*/ 177405 h 177405"/>
                        <a:gd name="connsiteX3" fmla="*/ 221554 w 221554"/>
                        <a:gd name="connsiteY3" fmla="*/ 56917 h 177405"/>
                        <a:gd name="connsiteX4" fmla="*/ 195001 w 221554"/>
                        <a:gd name="connsiteY4" fmla="*/ 39739 h 177405"/>
                        <a:gd name="connsiteX5" fmla="*/ 58968 w 221554"/>
                        <a:gd name="connsiteY5" fmla="*/ 0 h 177405"/>
                        <a:gd name="connsiteX6" fmla="*/ 8644 w 221554"/>
                        <a:gd name="connsiteY6" fmla="*/ 104096 h 17740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221554" h="177405">
                          <a:moveTo>
                            <a:pt x="8644" y="104036"/>
                          </a:moveTo>
                          <a:cubicBezTo>
                            <a:pt x="21890" y="119339"/>
                            <a:pt x="47415" y="136396"/>
                            <a:pt x="72154" y="151094"/>
                          </a:cubicBezTo>
                          <a:cubicBezTo>
                            <a:pt x="124898" y="172990"/>
                            <a:pt x="165786" y="177103"/>
                            <a:pt x="167056" y="177405"/>
                          </a:cubicBezTo>
                          <a:cubicBezTo>
                            <a:pt x="170504" y="176317"/>
                            <a:pt x="221131" y="153876"/>
                            <a:pt x="221554" y="56917"/>
                          </a:cubicBezTo>
                          <a:cubicBezTo>
                            <a:pt x="188287" y="49961"/>
                            <a:pt x="195061" y="39860"/>
                            <a:pt x="195001" y="39739"/>
                          </a:cubicBezTo>
                          <a:lnTo>
                            <a:pt x="58968" y="0"/>
                          </a:lnTo>
                          <a:cubicBezTo>
                            <a:pt x="22011" y="0"/>
                            <a:pt x="-17970" y="83229"/>
                            <a:pt x="8644" y="104096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90" name="Freihandform: Form 489">
                      <a:extLst>
                        <a:ext uri="{FF2B5EF4-FFF2-40B4-BE49-F238E27FC236}">
                          <a16:creationId xmlns:a16="http://schemas.microsoft.com/office/drawing/2014/main" id="{AB92DEA1-9D3C-EC90-CAF4-55DF7201FB5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0941" y="3219161"/>
                      <a:ext cx="147269" cy="87642"/>
                    </a:xfrm>
                    <a:custGeom>
                      <a:avLst/>
                      <a:gdLst>
                        <a:gd name="connsiteX0" fmla="*/ 8271 w 147269"/>
                        <a:gd name="connsiteY0" fmla="*/ 22815 h 87642"/>
                        <a:gd name="connsiteX1" fmla="*/ 123497 w 147269"/>
                        <a:gd name="connsiteY1" fmla="*/ 4428 h 87642"/>
                        <a:gd name="connsiteX2" fmla="*/ 134384 w 147269"/>
                        <a:gd name="connsiteY2" fmla="*/ 67454 h 87642"/>
                        <a:gd name="connsiteX3" fmla="*/ 63797 w 147269"/>
                        <a:gd name="connsiteY3" fmla="*/ 87475 h 87642"/>
                        <a:gd name="connsiteX4" fmla="*/ 8271 w 147269"/>
                        <a:gd name="connsiteY4" fmla="*/ 22815 h 8764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47269" h="87642">
                          <a:moveTo>
                            <a:pt x="8271" y="22815"/>
                          </a:moveTo>
                          <a:cubicBezTo>
                            <a:pt x="41720" y="-1258"/>
                            <a:pt x="87992" y="-4222"/>
                            <a:pt x="123497" y="4428"/>
                          </a:cubicBezTo>
                          <a:cubicBezTo>
                            <a:pt x="157006" y="18763"/>
                            <a:pt x="149687" y="62797"/>
                            <a:pt x="134384" y="67454"/>
                          </a:cubicBezTo>
                          <a:cubicBezTo>
                            <a:pt x="134384" y="67454"/>
                            <a:pt x="88717" y="86023"/>
                            <a:pt x="63797" y="87475"/>
                          </a:cubicBezTo>
                          <a:cubicBezTo>
                            <a:pt x="1073" y="91044"/>
                            <a:pt x="-10722" y="36546"/>
                            <a:pt x="8271" y="2281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91" name="Freihandform: Form 490">
                      <a:extLst>
                        <a:ext uri="{FF2B5EF4-FFF2-40B4-BE49-F238E27FC236}">
                          <a16:creationId xmlns:a16="http://schemas.microsoft.com/office/drawing/2014/main" id="{0EF72698-E998-8937-E4B2-A512AD6A70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14311" y="3223039"/>
                      <a:ext cx="149283" cy="73980"/>
                    </a:xfrm>
                    <a:custGeom>
                      <a:avLst/>
                      <a:gdLst>
                        <a:gd name="connsiteX0" fmla="*/ 30126 w 149283"/>
                        <a:gd name="connsiteY0" fmla="*/ 550 h 73980"/>
                        <a:gd name="connsiteX1" fmla="*/ 91217 w 149283"/>
                        <a:gd name="connsiteY1" fmla="*/ 21417 h 73980"/>
                        <a:gd name="connsiteX2" fmla="*/ 149284 w 149283"/>
                        <a:gd name="connsiteY2" fmla="*/ 59947 h 73980"/>
                        <a:gd name="connsiteX3" fmla="*/ 122912 w 149283"/>
                        <a:gd name="connsiteY3" fmla="*/ 73979 h 73980"/>
                        <a:gd name="connsiteX4" fmla="*/ 84685 w 149283"/>
                        <a:gd name="connsiteY4" fmla="*/ 56983 h 73980"/>
                        <a:gd name="connsiteX5" fmla="*/ 50510 w 149283"/>
                        <a:gd name="connsiteY5" fmla="*/ 59705 h 73980"/>
                        <a:gd name="connsiteX6" fmla="*/ 4 w 149283"/>
                        <a:gd name="connsiteY6" fmla="*/ 27526 h 73980"/>
                        <a:gd name="connsiteX7" fmla="*/ 30126 w 149283"/>
                        <a:gd name="connsiteY7" fmla="*/ 550 h 7398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49283" h="73980">
                          <a:moveTo>
                            <a:pt x="30126" y="550"/>
                          </a:moveTo>
                          <a:lnTo>
                            <a:pt x="91217" y="21417"/>
                          </a:lnTo>
                          <a:lnTo>
                            <a:pt x="149284" y="59947"/>
                          </a:lnTo>
                          <a:cubicBezTo>
                            <a:pt x="149284" y="59947"/>
                            <a:pt x="146622" y="73617"/>
                            <a:pt x="122912" y="73979"/>
                          </a:cubicBezTo>
                          <a:cubicBezTo>
                            <a:pt x="115956" y="74101"/>
                            <a:pt x="97266" y="62911"/>
                            <a:pt x="84685" y="56983"/>
                          </a:cubicBezTo>
                          <a:cubicBezTo>
                            <a:pt x="62002" y="56076"/>
                            <a:pt x="50510" y="59705"/>
                            <a:pt x="50510" y="59705"/>
                          </a:cubicBezTo>
                          <a:cubicBezTo>
                            <a:pt x="50510" y="59705"/>
                            <a:pt x="791" y="61398"/>
                            <a:pt x="4" y="27526"/>
                          </a:cubicBezTo>
                          <a:cubicBezTo>
                            <a:pt x="-359" y="12405"/>
                            <a:pt x="21900" y="-3140"/>
                            <a:pt x="30126" y="550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492" name="Grafik 297">
                      <a:extLst>
                        <a:ext uri="{FF2B5EF4-FFF2-40B4-BE49-F238E27FC236}">
                          <a16:creationId xmlns:a16="http://schemas.microsoft.com/office/drawing/2014/main" id="{DDDF0A67-EC11-8CBE-8A58-F2B26F68EC2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66882" y="3299490"/>
                      <a:ext cx="158227" cy="46280"/>
                      <a:chOff x="1266882" y="3299490"/>
                      <a:chExt cx="158227" cy="46280"/>
                    </a:xfrm>
                    <a:solidFill>
                      <a:srgbClr val="02787D"/>
                    </a:solidFill>
                  </p:grpSpPr>
                  <p:sp>
                    <p:nvSpPr>
                      <p:cNvPr id="493" name="Freihandform: Form 492">
                        <a:extLst>
                          <a:ext uri="{FF2B5EF4-FFF2-40B4-BE49-F238E27FC236}">
                            <a16:creationId xmlns:a16="http://schemas.microsoft.com/office/drawing/2014/main" id="{60C40D62-18B2-892E-14A9-C7F5724EA9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66882" y="3299490"/>
                        <a:ext cx="75457" cy="46280"/>
                      </a:xfrm>
                      <a:custGeom>
                        <a:avLst/>
                        <a:gdLst>
                          <a:gd name="connsiteX0" fmla="*/ 58849 w 75457"/>
                          <a:gd name="connsiteY0" fmla="*/ 46280 h 46280"/>
                          <a:gd name="connsiteX1" fmla="*/ 74938 w 75457"/>
                          <a:gd name="connsiteY1" fmla="*/ 30009 h 46280"/>
                          <a:gd name="connsiteX2" fmla="*/ 61450 w 75457"/>
                          <a:gd name="connsiteY2" fmla="*/ 10956 h 46280"/>
                          <a:gd name="connsiteX3" fmla="*/ 24432 w 75457"/>
                          <a:gd name="connsiteY3" fmla="*/ 432 h 46280"/>
                          <a:gd name="connsiteX4" fmla="*/ 540 w 75457"/>
                          <a:gd name="connsiteY4" fmla="*/ 10775 h 46280"/>
                          <a:gd name="connsiteX5" fmla="*/ 18142 w 75457"/>
                          <a:gd name="connsiteY5" fmla="*/ 36663 h 46280"/>
                          <a:gd name="connsiteX6" fmla="*/ 58849 w 75457"/>
                          <a:gd name="connsiteY6" fmla="*/ 46220 h 4628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5457" h="46280">
                            <a:moveTo>
                              <a:pt x="58849" y="46280"/>
                            </a:moveTo>
                            <a:cubicBezTo>
                              <a:pt x="58849" y="46280"/>
                              <a:pt x="71248" y="43316"/>
                              <a:pt x="74938" y="30009"/>
                            </a:cubicBezTo>
                            <a:cubicBezTo>
                              <a:pt x="78628" y="16703"/>
                              <a:pt x="61450" y="10956"/>
                              <a:pt x="61450" y="10956"/>
                            </a:cubicBezTo>
                            <a:lnTo>
                              <a:pt x="24432" y="432"/>
                            </a:lnTo>
                            <a:cubicBezTo>
                              <a:pt x="13242" y="-1201"/>
                              <a:pt x="2778" y="1702"/>
                              <a:pt x="540" y="10775"/>
                            </a:cubicBezTo>
                            <a:cubicBezTo>
                              <a:pt x="-2121" y="19727"/>
                              <a:pt x="5258" y="33094"/>
                              <a:pt x="18142" y="36663"/>
                            </a:cubicBezTo>
                            <a:lnTo>
                              <a:pt x="58849" y="46220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94" name="Freihandform: Form 493">
                        <a:extLst>
                          <a:ext uri="{FF2B5EF4-FFF2-40B4-BE49-F238E27FC236}">
                            <a16:creationId xmlns:a16="http://schemas.microsoft.com/office/drawing/2014/main" id="{21B64AC0-4136-EB30-E9E7-F80D4D0006E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0046" y="3310251"/>
                        <a:ext cx="65362" cy="35519"/>
                      </a:xfrm>
                      <a:custGeom>
                        <a:avLst/>
                        <a:gdLst>
                          <a:gd name="connsiteX0" fmla="*/ 54214 w 65362"/>
                          <a:gd name="connsiteY0" fmla="*/ 30137 h 35519"/>
                          <a:gd name="connsiteX1" fmla="*/ 65344 w 65362"/>
                          <a:gd name="connsiteY1" fmla="*/ 13926 h 35519"/>
                          <a:gd name="connsiteX2" fmla="*/ 51311 w 65362"/>
                          <a:gd name="connsiteY2" fmla="*/ 75 h 35519"/>
                          <a:gd name="connsiteX3" fmla="*/ 17741 w 65362"/>
                          <a:gd name="connsiteY3" fmla="*/ 75 h 35519"/>
                          <a:gd name="connsiteX4" fmla="*/ 382 w 65362"/>
                          <a:gd name="connsiteY4" fmla="*/ 16709 h 35519"/>
                          <a:gd name="connsiteX5" fmla="*/ 15685 w 65362"/>
                          <a:gd name="connsiteY5" fmla="*/ 35520 h 35519"/>
                          <a:gd name="connsiteX6" fmla="*/ 54214 w 65362"/>
                          <a:gd name="connsiteY6" fmla="*/ 30137 h 3551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5362" h="35519">
                            <a:moveTo>
                              <a:pt x="54214" y="30137"/>
                            </a:moveTo>
                            <a:cubicBezTo>
                              <a:pt x="54214" y="30137"/>
                              <a:pt x="64557" y="29653"/>
                              <a:pt x="65344" y="13926"/>
                            </a:cubicBezTo>
                            <a:cubicBezTo>
                              <a:pt x="65949" y="-1861"/>
                              <a:pt x="51311" y="75"/>
                              <a:pt x="51311" y="75"/>
                            </a:cubicBezTo>
                            <a:lnTo>
                              <a:pt x="17741" y="75"/>
                            </a:lnTo>
                            <a:cubicBezTo>
                              <a:pt x="6128" y="982"/>
                              <a:pt x="2680" y="4793"/>
                              <a:pt x="382" y="16709"/>
                            </a:cubicBezTo>
                            <a:cubicBezTo>
                              <a:pt x="-1856" y="28624"/>
                              <a:pt x="6068" y="33282"/>
                              <a:pt x="15685" y="35520"/>
                            </a:cubicBezTo>
                            <a:lnTo>
                              <a:pt x="54214" y="3013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95" name="Freihandform: Form 494">
                        <a:extLst>
                          <a:ext uri="{FF2B5EF4-FFF2-40B4-BE49-F238E27FC236}">
                            <a16:creationId xmlns:a16="http://schemas.microsoft.com/office/drawing/2014/main" id="{1A163C0A-3DBD-15B4-9E2E-C16511831A7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9145" y="3305185"/>
                        <a:ext cx="75964" cy="35201"/>
                      </a:xfrm>
                      <a:custGeom>
                        <a:avLst/>
                        <a:gdLst>
                          <a:gd name="connsiteX0" fmla="*/ 51588 w 75964"/>
                          <a:gd name="connsiteY0" fmla="*/ 25766 h 35201"/>
                          <a:gd name="connsiteX1" fmla="*/ 75964 w 75964"/>
                          <a:gd name="connsiteY1" fmla="*/ 18628 h 35201"/>
                          <a:gd name="connsiteX2" fmla="*/ 41427 w 75964"/>
                          <a:gd name="connsiteY2" fmla="*/ 120 h 35201"/>
                          <a:gd name="connsiteX3" fmla="*/ 12151 w 75964"/>
                          <a:gd name="connsiteY3" fmla="*/ 5080 h 35201"/>
                          <a:gd name="connsiteX4" fmla="*/ 54 w 75964"/>
                          <a:gd name="connsiteY4" fmla="*/ 20987 h 35201"/>
                          <a:gd name="connsiteX5" fmla="*/ 15055 w 75964"/>
                          <a:gd name="connsiteY5" fmla="*/ 35202 h 35201"/>
                          <a:gd name="connsiteX6" fmla="*/ 51528 w 75964"/>
                          <a:gd name="connsiteY6" fmla="*/ 25766 h 3520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5964" h="35201">
                            <a:moveTo>
                              <a:pt x="51588" y="25766"/>
                            </a:moveTo>
                            <a:lnTo>
                              <a:pt x="75964" y="18628"/>
                            </a:lnTo>
                            <a:cubicBezTo>
                              <a:pt x="72214" y="2660"/>
                              <a:pt x="53947" y="-727"/>
                              <a:pt x="41427" y="120"/>
                            </a:cubicBezTo>
                            <a:cubicBezTo>
                              <a:pt x="28967" y="906"/>
                              <a:pt x="12151" y="5080"/>
                              <a:pt x="12151" y="5080"/>
                            </a:cubicBezTo>
                            <a:cubicBezTo>
                              <a:pt x="3925" y="8285"/>
                              <a:pt x="-551" y="12761"/>
                              <a:pt x="54" y="20987"/>
                            </a:cubicBezTo>
                            <a:cubicBezTo>
                              <a:pt x="538" y="27520"/>
                              <a:pt x="5559" y="34294"/>
                              <a:pt x="15055" y="35202"/>
                            </a:cubicBezTo>
                            <a:lnTo>
                              <a:pt x="51528" y="25766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</p:grpSp>
            </p:grpSp>
            <p:grpSp>
              <p:nvGrpSpPr>
                <p:cNvPr id="496" name="Grafik 297">
                  <a:extLst>
                    <a:ext uri="{FF2B5EF4-FFF2-40B4-BE49-F238E27FC236}">
                      <a16:creationId xmlns:a16="http://schemas.microsoft.com/office/drawing/2014/main" id="{EA1885C7-E725-E2BD-7715-7D70C0A05135}"/>
                    </a:ext>
                  </a:extLst>
                </p:cNvPr>
                <p:cNvGrpSpPr/>
                <p:nvPr/>
              </p:nvGrpSpPr>
              <p:grpSpPr>
                <a:xfrm>
                  <a:off x="541712" y="2906158"/>
                  <a:ext cx="587500" cy="440882"/>
                  <a:chOff x="541712" y="2906158"/>
                  <a:chExt cx="587500" cy="440882"/>
                </a:xfrm>
              </p:grpSpPr>
              <p:sp>
                <p:nvSpPr>
                  <p:cNvPr id="497" name="Freihandform: Form 496">
                    <a:extLst>
                      <a:ext uri="{FF2B5EF4-FFF2-40B4-BE49-F238E27FC236}">
                        <a16:creationId xmlns:a16="http://schemas.microsoft.com/office/drawing/2014/main" id="{35E585B1-D87B-68D4-049B-E426DF9899B9}"/>
                      </a:ext>
                    </a:extLst>
                  </p:cNvPr>
                  <p:cNvSpPr/>
                  <p:nvPr/>
                </p:nvSpPr>
                <p:spPr>
                  <a:xfrm>
                    <a:off x="598145" y="2926300"/>
                    <a:ext cx="531066" cy="420740"/>
                  </a:xfrm>
                  <a:custGeom>
                    <a:avLst/>
                    <a:gdLst>
                      <a:gd name="connsiteX0" fmla="*/ 480319 w 531066"/>
                      <a:gd name="connsiteY0" fmla="*/ 420740 h 420740"/>
                      <a:gd name="connsiteX1" fmla="*/ 531067 w 531066"/>
                      <a:gd name="connsiteY1" fmla="*/ 315676 h 420740"/>
                      <a:gd name="connsiteX2" fmla="*/ 112927 w 531066"/>
                      <a:gd name="connsiteY2" fmla="*/ 0 h 420740"/>
                      <a:gd name="connsiteX3" fmla="*/ 0 w 531066"/>
                      <a:gd name="connsiteY3" fmla="*/ 181035 h 420740"/>
                      <a:gd name="connsiteX4" fmla="*/ 480319 w 531066"/>
                      <a:gd name="connsiteY4" fmla="*/ 420740 h 4207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31066" h="420740">
                        <a:moveTo>
                          <a:pt x="480319" y="420740"/>
                        </a:moveTo>
                        <a:lnTo>
                          <a:pt x="531067" y="315676"/>
                        </a:lnTo>
                        <a:lnTo>
                          <a:pt x="112927" y="0"/>
                        </a:lnTo>
                        <a:lnTo>
                          <a:pt x="0" y="181035"/>
                        </a:lnTo>
                        <a:lnTo>
                          <a:pt x="480319" y="420740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8" name="Freihandform: Form 497">
                    <a:extLst>
                      <a:ext uri="{FF2B5EF4-FFF2-40B4-BE49-F238E27FC236}">
                        <a16:creationId xmlns:a16="http://schemas.microsoft.com/office/drawing/2014/main" id="{CDFE11EB-6332-A8F9-00BF-334E58B77A85}"/>
                      </a:ext>
                    </a:extLst>
                  </p:cNvPr>
                  <p:cNvSpPr/>
                  <p:nvPr/>
                </p:nvSpPr>
                <p:spPr>
                  <a:xfrm>
                    <a:off x="541712" y="2906158"/>
                    <a:ext cx="213878" cy="213878"/>
                  </a:xfrm>
                  <a:custGeom>
                    <a:avLst/>
                    <a:gdLst>
                      <a:gd name="connsiteX0" fmla="*/ 213878 w 213878"/>
                      <a:gd name="connsiteY0" fmla="*/ 106939 h 213878"/>
                      <a:gd name="connsiteX1" fmla="*/ 106939 w 213878"/>
                      <a:gd name="connsiteY1" fmla="*/ 213878 h 213878"/>
                      <a:gd name="connsiteX2" fmla="*/ 0 w 213878"/>
                      <a:gd name="connsiteY2" fmla="*/ 106939 h 213878"/>
                      <a:gd name="connsiteX3" fmla="*/ 106939 w 213878"/>
                      <a:gd name="connsiteY3" fmla="*/ 0 h 213878"/>
                      <a:gd name="connsiteX4" fmla="*/ 213878 w 213878"/>
                      <a:gd name="connsiteY4" fmla="*/ 106939 h 21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3878" h="213878">
                        <a:moveTo>
                          <a:pt x="213878" y="106939"/>
                        </a:moveTo>
                        <a:cubicBezTo>
                          <a:pt x="213878" y="166000"/>
                          <a:pt x="166000" y="213878"/>
                          <a:pt x="106939" y="213878"/>
                        </a:cubicBezTo>
                        <a:cubicBezTo>
                          <a:pt x="47878" y="213878"/>
                          <a:pt x="0" y="166000"/>
                          <a:pt x="0" y="106939"/>
                        </a:cubicBezTo>
                        <a:cubicBezTo>
                          <a:pt x="0" y="47878"/>
                          <a:pt x="47878" y="0"/>
                          <a:pt x="106939" y="0"/>
                        </a:cubicBezTo>
                        <a:cubicBezTo>
                          <a:pt x="166000" y="0"/>
                          <a:pt x="213878" y="47878"/>
                          <a:pt x="213878" y="106939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9" name="Freihandform: Form 498">
                    <a:extLst>
                      <a:ext uri="{FF2B5EF4-FFF2-40B4-BE49-F238E27FC236}">
                        <a16:creationId xmlns:a16="http://schemas.microsoft.com/office/drawing/2014/main" id="{C10DAD7F-022C-0763-575D-E76D90B8D019}"/>
                      </a:ext>
                    </a:extLst>
                  </p:cNvPr>
                  <p:cNvSpPr/>
                  <p:nvPr/>
                </p:nvSpPr>
                <p:spPr>
                  <a:xfrm>
                    <a:off x="1001586" y="3186390"/>
                    <a:ext cx="127625" cy="160650"/>
                  </a:xfrm>
                  <a:custGeom>
                    <a:avLst/>
                    <a:gdLst>
                      <a:gd name="connsiteX0" fmla="*/ 53953 w 127625"/>
                      <a:gd name="connsiteY0" fmla="*/ 0 h 160650"/>
                      <a:gd name="connsiteX1" fmla="*/ 0 w 127625"/>
                      <a:gd name="connsiteY1" fmla="*/ 122121 h 160650"/>
                      <a:gd name="connsiteX2" fmla="*/ 76878 w 127625"/>
                      <a:gd name="connsiteY2" fmla="*/ 160651 h 160650"/>
                      <a:gd name="connsiteX3" fmla="*/ 127625 w 127625"/>
                      <a:gd name="connsiteY3" fmla="*/ 55587 h 160650"/>
                      <a:gd name="connsiteX4" fmla="*/ 53953 w 127625"/>
                      <a:gd name="connsiteY4" fmla="*/ 60 h 1606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7625" h="160650">
                        <a:moveTo>
                          <a:pt x="53953" y="0"/>
                        </a:moveTo>
                        <a:cubicBezTo>
                          <a:pt x="35505" y="41493"/>
                          <a:pt x="15182" y="87523"/>
                          <a:pt x="0" y="122121"/>
                        </a:cubicBezTo>
                        <a:lnTo>
                          <a:pt x="76878" y="160651"/>
                        </a:lnTo>
                        <a:cubicBezTo>
                          <a:pt x="102403" y="136094"/>
                          <a:pt x="118250" y="99802"/>
                          <a:pt x="127625" y="55587"/>
                        </a:cubicBezTo>
                        <a:lnTo>
                          <a:pt x="53953" y="60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500" name="Grafik 297">
                  <a:extLst>
                    <a:ext uri="{FF2B5EF4-FFF2-40B4-BE49-F238E27FC236}">
                      <a16:creationId xmlns:a16="http://schemas.microsoft.com/office/drawing/2014/main" id="{1BF3CF7F-5AE1-914C-4D9B-453676997E55}"/>
                    </a:ext>
                  </a:extLst>
                </p:cNvPr>
                <p:cNvGrpSpPr/>
                <p:nvPr/>
              </p:nvGrpSpPr>
              <p:grpSpPr>
                <a:xfrm>
                  <a:off x="469794" y="2286298"/>
                  <a:ext cx="311744" cy="732303"/>
                  <a:chOff x="469794" y="2286298"/>
                  <a:chExt cx="311744" cy="732303"/>
                </a:xfrm>
              </p:grpSpPr>
              <p:sp>
                <p:nvSpPr>
                  <p:cNvPr id="501" name="Freihandform: Form 500">
                    <a:extLst>
                      <a:ext uri="{FF2B5EF4-FFF2-40B4-BE49-F238E27FC236}">
                        <a16:creationId xmlns:a16="http://schemas.microsoft.com/office/drawing/2014/main" id="{43D48E93-F240-A579-4EA0-C1A15F0C7F13}"/>
                      </a:ext>
                    </a:extLst>
                  </p:cNvPr>
                  <p:cNvSpPr/>
                  <p:nvPr/>
                </p:nvSpPr>
                <p:spPr>
                  <a:xfrm>
                    <a:off x="469794" y="2286298"/>
                    <a:ext cx="308236" cy="308236"/>
                  </a:xfrm>
                  <a:custGeom>
                    <a:avLst/>
                    <a:gdLst>
                      <a:gd name="connsiteX0" fmla="*/ 308236 w 308236"/>
                      <a:gd name="connsiteY0" fmla="*/ 154118 h 308236"/>
                      <a:gd name="connsiteX1" fmla="*/ 154118 w 308236"/>
                      <a:gd name="connsiteY1" fmla="*/ 308236 h 308236"/>
                      <a:gd name="connsiteX2" fmla="*/ 0 w 308236"/>
                      <a:gd name="connsiteY2" fmla="*/ 154118 h 308236"/>
                      <a:gd name="connsiteX3" fmla="*/ 154118 w 308236"/>
                      <a:gd name="connsiteY3" fmla="*/ 0 h 308236"/>
                      <a:gd name="connsiteX4" fmla="*/ 308236 w 308236"/>
                      <a:gd name="connsiteY4" fmla="*/ 154118 h 3082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8236" h="308236">
                        <a:moveTo>
                          <a:pt x="308236" y="154118"/>
                        </a:moveTo>
                        <a:cubicBezTo>
                          <a:pt x="308236" y="239235"/>
                          <a:pt x="239235" y="308236"/>
                          <a:pt x="154118" y="308236"/>
                        </a:cubicBezTo>
                        <a:cubicBezTo>
                          <a:pt x="69001" y="308236"/>
                          <a:pt x="0" y="239235"/>
                          <a:pt x="0" y="154118"/>
                        </a:cubicBezTo>
                        <a:cubicBezTo>
                          <a:pt x="0" y="69001"/>
                          <a:pt x="69001" y="0"/>
                          <a:pt x="154118" y="0"/>
                        </a:cubicBezTo>
                        <a:cubicBezTo>
                          <a:pt x="239235" y="0"/>
                          <a:pt x="308236" y="69001"/>
                          <a:pt x="308236" y="154118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2" name="Freihandform: Form 501">
                    <a:extLst>
                      <a:ext uri="{FF2B5EF4-FFF2-40B4-BE49-F238E27FC236}">
                        <a16:creationId xmlns:a16="http://schemas.microsoft.com/office/drawing/2014/main" id="{F1F30D28-D6D1-804C-69BD-04EDF983CA50}"/>
                      </a:ext>
                    </a:extLst>
                  </p:cNvPr>
                  <p:cNvSpPr/>
                  <p:nvPr/>
                </p:nvSpPr>
                <p:spPr>
                  <a:xfrm>
                    <a:off x="519030" y="2805268"/>
                    <a:ext cx="245331" cy="213333"/>
                  </a:xfrm>
                  <a:custGeom>
                    <a:avLst/>
                    <a:gdLst>
                      <a:gd name="connsiteX0" fmla="*/ 22864 w 245331"/>
                      <a:gd name="connsiteY0" fmla="*/ 213334 h 213333"/>
                      <a:gd name="connsiteX1" fmla="*/ 236319 w 245331"/>
                      <a:gd name="connsiteY1" fmla="*/ 203354 h 213333"/>
                      <a:gd name="connsiteX2" fmla="*/ 245331 w 245331"/>
                      <a:gd name="connsiteY2" fmla="*/ 0 h 213333"/>
                      <a:gd name="connsiteX3" fmla="*/ 0 w 245331"/>
                      <a:gd name="connsiteY3" fmla="*/ 5807 h 213333"/>
                      <a:gd name="connsiteX4" fmla="*/ 22864 w 245331"/>
                      <a:gd name="connsiteY4" fmla="*/ 213334 h 2133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5331" h="213333">
                        <a:moveTo>
                          <a:pt x="22864" y="213334"/>
                        </a:moveTo>
                        <a:lnTo>
                          <a:pt x="236319" y="203354"/>
                        </a:lnTo>
                        <a:lnTo>
                          <a:pt x="245331" y="0"/>
                        </a:lnTo>
                        <a:lnTo>
                          <a:pt x="0" y="5807"/>
                        </a:lnTo>
                        <a:lnTo>
                          <a:pt x="22864" y="213334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3" name="Freihandform: Form 502">
                    <a:extLst>
                      <a:ext uri="{FF2B5EF4-FFF2-40B4-BE49-F238E27FC236}">
                        <a16:creationId xmlns:a16="http://schemas.microsoft.com/office/drawing/2014/main" id="{AAF6E9F9-342B-A193-FCF3-433205687F50}"/>
                      </a:ext>
                    </a:extLst>
                  </p:cNvPr>
                  <p:cNvSpPr/>
                  <p:nvPr/>
                </p:nvSpPr>
                <p:spPr>
                  <a:xfrm>
                    <a:off x="470096" y="2439751"/>
                    <a:ext cx="311442" cy="552236"/>
                  </a:xfrm>
                  <a:custGeom>
                    <a:avLst/>
                    <a:gdLst>
                      <a:gd name="connsiteX0" fmla="*/ 0 w 311442"/>
                      <a:gd name="connsiteY0" fmla="*/ 10041 h 552236"/>
                      <a:gd name="connsiteX1" fmla="*/ 46211 w 311442"/>
                      <a:gd name="connsiteY1" fmla="*/ 552237 h 552236"/>
                      <a:gd name="connsiteX2" fmla="*/ 311442 w 311442"/>
                      <a:gd name="connsiteY2" fmla="*/ 512195 h 552236"/>
                      <a:gd name="connsiteX3" fmla="*/ 307995 w 311442"/>
                      <a:gd name="connsiteY3" fmla="*/ 0 h 552236"/>
                      <a:gd name="connsiteX4" fmla="*/ 0 w 311442"/>
                      <a:gd name="connsiteY4" fmla="*/ 10041 h 5522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1442" h="552236">
                        <a:moveTo>
                          <a:pt x="0" y="10041"/>
                        </a:moveTo>
                        <a:cubicBezTo>
                          <a:pt x="4899" y="166881"/>
                          <a:pt x="46211" y="552237"/>
                          <a:pt x="46211" y="552237"/>
                        </a:cubicBezTo>
                        <a:lnTo>
                          <a:pt x="311442" y="512195"/>
                        </a:lnTo>
                        <a:lnTo>
                          <a:pt x="307995" y="0"/>
                        </a:lnTo>
                        <a:cubicBezTo>
                          <a:pt x="195551" y="3024"/>
                          <a:pt x="153876" y="4718"/>
                          <a:pt x="0" y="10041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</p:grpSp>
        <p:sp>
          <p:nvSpPr>
            <p:cNvPr id="515" name="Rechteck 514">
              <a:extLst>
                <a:ext uri="{FF2B5EF4-FFF2-40B4-BE49-F238E27FC236}">
                  <a16:creationId xmlns:a16="http://schemas.microsoft.com/office/drawing/2014/main" id="{6C8B6E2A-E84C-29A3-2AA4-775A92B96541}"/>
                </a:ext>
              </a:extLst>
            </p:cNvPr>
            <p:cNvSpPr>
              <a:spLocks/>
            </p:cNvSpPr>
            <p:nvPr/>
          </p:nvSpPr>
          <p:spPr>
            <a:xfrm>
              <a:off x="9210675" y="2912475"/>
              <a:ext cx="53975" cy="906229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l"/>
              <a:endParaRPr lang="en-US" sz="1000" b="1">
                <a:solidFill>
                  <a:schemeClr val="tx1"/>
                </a:solidFill>
              </a:endParaRPr>
            </a:p>
          </p:txBody>
        </p:sp>
      </p:grpSp>
      <p:cxnSp>
        <p:nvCxnSpPr>
          <p:cNvPr id="538" name="Gerader Verbinder 537">
            <a:extLst>
              <a:ext uri="{FF2B5EF4-FFF2-40B4-BE49-F238E27FC236}">
                <a16:creationId xmlns:a16="http://schemas.microsoft.com/office/drawing/2014/main" id="{E4558DFD-CF03-F684-C099-25DF95FC0F1D}"/>
              </a:ext>
            </a:extLst>
          </p:cNvPr>
          <p:cNvCxnSpPr>
            <a:cxnSpLocks/>
          </p:cNvCxnSpPr>
          <p:nvPr/>
        </p:nvCxnSpPr>
        <p:spPr>
          <a:xfrm>
            <a:off x="3176" y="6194425"/>
            <a:ext cx="7388224" cy="0"/>
          </a:xfrm>
          <a:prstGeom prst="line">
            <a:avLst/>
          </a:prstGeom>
          <a:ln w="12700" cap="rnd">
            <a:gradFill flip="none" rotWithShape="1">
              <a:gsLst>
                <a:gs pos="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0" scaled="1"/>
              <a:tileRect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1" name="Gruppieren 560">
            <a:extLst>
              <a:ext uri="{FF2B5EF4-FFF2-40B4-BE49-F238E27FC236}">
                <a16:creationId xmlns:a16="http://schemas.microsoft.com/office/drawing/2014/main" id="{1B311E3E-ECAF-7024-E058-0734B22CD410}"/>
              </a:ext>
            </a:extLst>
          </p:cNvPr>
          <p:cNvGrpSpPr>
            <a:grpSpLocks/>
          </p:cNvGrpSpPr>
          <p:nvPr/>
        </p:nvGrpSpPr>
        <p:grpSpPr>
          <a:xfrm>
            <a:off x="9210675" y="3998704"/>
            <a:ext cx="2201842" cy="906229"/>
            <a:chOff x="9210675" y="3998704"/>
            <a:chExt cx="2201842" cy="906229"/>
          </a:xfrm>
        </p:grpSpPr>
        <p:sp>
          <p:nvSpPr>
            <p:cNvPr id="549" name="Rechteck 548">
              <a:extLst>
                <a:ext uri="{FF2B5EF4-FFF2-40B4-BE49-F238E27FC236}">
                  <a16:creationId xmlns:a16="http://schemas.microsoft.com/office/drawing/2014/main" id="{43B11274-7C74-3277-78A1-940D4C267EC7}"/>
                </a:ext>
              </a:extLst>
            </p:cNvPr>
            <p:cNvSpPr>
              <a:spLocks/>
            </p:cNvSpPr>
            <p:nvPr/>
          </p:nvSpPr>
          <p:spPr>
            <a:xfrm>
              <a:off x="9210675" y="3998704"/>
              <a:ext cx="2201842" cy="90622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tlCol="0" anchor="t"/>
            <a:lstStyle/>
            <a:p>
              <a:r>
                <a:rPr lang="en-US" sz="1200" b="1" err="1">
                  <a:solidFill>
                    <a:schemeClr val="tx1"/>
                  </a:solidFill>
                </a:rPr>
                <a:t>Patientinnen</a:t>
              </a:r>
              <a:r>
                <a:rPr lang="en-US" sz="1200" b="1">
                  <a:solidFill>
                    <a:schemeClr val="tx1"/>
                  </a:solidFill>
                </a:rPr>
                <a:t> &amp; </a:t>
              </a:r>
              <a:br>
                <a:rPr lang="en-US" sz="1200" b="1">
                  <a:solidFill>
                    <a:schemeClr val="tx1"/>
                  </a:solidFill>
                </a:rPr>
              </a:br>
              <a:r>
                <a:rPr lang="en-US" sz="1200" b="1" err="1">
                  <a:solidFill>
                    <a:schemeClr val="tx1"/>
                  </a:solidFill>
                </a:rPr>
                <a:t>Patienten</a:t>
              </a:r>
              <a:endParaRPr lang="en-US" sz="1200" b="1">
                <a:solidFill>
                  <a:schemeClr val="tx1"/>
                </a:solidFill>
              </a:endParaRPr>
            </a:p>
            <a:p>
              <a:pPr algn="l"/>
              <a:endParaRPr lang="en-US" sz="1200" b="1">
                <a:solidFill>
                  <a:schemeClr val="tx1"/>
                </a:solidFill>
              </a:endParaRPr>
            </a:p>
          </p:txBody>
        </p:sp>
        <p:sp>
          <p:nvSpPr>
            <p:cNvPr id="550" name="Rechteck 549">
              <a:extLst>
                <a:ext uri="{FF2B5EF4-FFF2-40B4-BE49-F238E27FC236}">
                  <a16:creationId xmlns:a16="http://schemas.microsoft.com/office/drawing/2014/main" id="{CCB54E46-8DFF-F83A-DBC6-4C92020378F8}"/>
                </a:ext>
              </a:extLst>
            </p:cNvPr>
            <p:cNvSpPr>
              <a:spLocks/>
            </p:cNvSpPr>
            <p:nvPr/>
          </p:nvSpPr>
          <p:spPr>
            <a:xfrm>
              <a:off x="9210675" y="3998704"/>
              <a:ext cx="53975" cy="906229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l"/>
              <a:endParaRPr lang="en-US" sz="1000" b="1">
                <a:solidFill>
                  <a:schemeClr val="tx1"/>
                </a:solidFill>
              </a:endParaRPr>
            </a:p>
          </p:txBody>
        </p:sp>
        <p:grpSp>
          <p:nvGrpSpPr>
            <p:cNvPr id="558" name="Gruppieren 557">
              <a:extLst>
                <a:ext uri="{FF2B5EF4-FFF2-40B4-BE49-F238E27FC236}">
                  <a16:creationId xmlns:a16="http://schemas.microsoft.com/office/drawing/2014/main" id="{6DD47228-A363-1D21-FD05-4086FB36CCE7}"/>
                </a:ext>
              </a:extLst>
            </p:cNvPr>
            <p:cNvGrpSpPr/>
            <p:nvPr/>
          </p:nvGrpSpPr>
          <p:grpSpPr>
            <a:xfrm>
              <a:off x="10614025" y="4114800"/>
              <a:ext cx="694387" cy="666750"/>
              <a:chOff x="10614025" y="4114800"/>
              <a:chExt cx="694387" cy="666750"/>
            </a:xfrm>
          </p:grpSpPr>
          <p:pic>
            <p:nvPicPr>
              <p:cNvPr id="552" name="Grafik 551">
                <a:extLst>
                  <a:ext uri="{FF2B5EF4-FFF2-40B4-BE49-F238E27FC236}">
                    <a16:creationId xmlns:a16="http://schemas.microsoft.com/office/drawing/2014/main" id="{093FA96E-6CA7-2F39-BF88-7F04D715FB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0829366" y="4114800"/>
                <a:ext cx="229159" cy="666750"/>
              </a:xfrm>
              <a:prstGeom prst="rect">
                <a:avLst/>
              </a:prstGeom>
            </p:spPr>
          </p:pic>
          <p:pic>
            <p:nvPicPr>
              <p:cNvPr id="554" name="Grafik 553">
                <a:extLst>
                  <a:ext uri="{FF2B5EF4-FFF2-40B4-BE49-F238E27FC236}">
                    <a16:creationId xmlns:a16="http://schemas.microsoft.com/office/drawing/2014/main" id="{E2A7F8B3-C647-D818-102A-1AD1D1D6206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 flipH="1">
                <a:off x="10954885" y="4257593"/>
                <a:ext cx="353527" cy="523957"/>
              </a:xfrm>
              <a:prstGeom prst="rect">
                <a:avLst/>
              </a:prstGeom>
            </p:spPr>
          </p:pic>
          <p:pic>
            <p:nvPicPr>
              <p:cNvPr id="556" name="Grafik 555">
                <a:extLst>
                  <a:ext uri="{FF2B5EF4-FFF2-40B4-BE49-F238E27FC236}">
                    <a16:creationId xmlns:a16="http://schemas.microsoft.com/office/drawing/2014/main" id="{D59F338D-3C2B-B7E6-C88D-AF97BBCDAFB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10614025" y="4185045"/>
                <a:ext cx="208431" cy="596505"/>
              </a:xfrm>
              <a:prstGeom prst="rect">
                <a:avLst/>
              </a:prstGeom>
            </p:spPr>
          </p:pic>
        </p:grpSp>
      </p:grpSp>
      <p:sp>
        <p:nvSpPr>
          <p:cNvPr id="564" name="Rechteck 563">
            <a:extLst>
              <a:ext uri="{FF2B5EF4-FFF2-40B4-BE49-F238E27FC236}">
                <a16:creationId xmlns:a16="http://schemas.microsoft.com/office/drawing/2014/main" id="{9A62BBFC-21AE-0D42-D2F7-544E8508812C}"/>
              </a:ext>
            </a:extLst>
          </p:cNvPr>
          <p:cNvSpPr>
            <a:spLocks/>
          </p:cNvSpPr>
          <p:nvPr/>
        </p:nvSpPr>
        <p:spPr>
          <a:xfrm>
            <a:off x="9210675" y="3998704"/>
            <a:ext cx="2201842" cy="906229"/>
          </a:xfrm>
          <a:prstGeom prst="rect">
            <a:avLst/>
          </a:prstGeom>
          <a:solidFill>
            <a:schemeClr val="bg1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EC3BC9A5-F4C7-413B-9424-240EC1895764}"/>
              </a:ext>
            </a:extLst>
          </p:cNvPr>
          <p:cNvGrpSpPr/>
          <p:nvPr/>
        </p:nvGrpSpPr>
        <p:grpSpPr>
          <a:xfrm>
            <a:off x="543054" y="1619250"/>
            <a:ext cx="7812243" cy="4575175"/>
            <a:chOff x="543055" y="1619250"/>
            <a:chExt cx="6091990" cy="3567723"/>
          </a:xfrm>
        </p:grpSpPr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FEA89B1B-4C3F-2000-8241-BA4320C4E81C}"/>
                </a:ext>
              </a:extLst>
            </p:cNvPr>
            <p:cNvGrpSpPr/>
            <p:nvPr/>
          </p:nvGrpSpPr>
          <p:grpSpPr>
            <a:xfrm>
              <a:off x="543055" y="1619250"/>
              <a:ext cx="4203519" cy="2560819"/>
              <a:chOff x="543055" y="1619250"/>
              <a:chExt cx="4203519" cy="2560819"/>
            </a:xfrm>
          </p:grpSpPr>
          <p:grpSp>
            <p:nvGrpSpPr>
              <p:cNvPr id="526" name="Gruppieren 525">
                <a:extLst>
                  <a:ext uri="{FF2B5EF4-FFF2-40B4-BE49-F238E27FC236}">
                    <a16:creationId xmlns:a16="http://schemas.microsoft.com/office/drawing/2014/main" id="{7AD2DF6B-AB65-EED4-AE74-D04421367E48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543055" y="1619250"/>
                <a:ext cx="4203519" cy="2560819"/>
                <a:chOff x="3185160" y="3688080"/>
                <a:chExt cx="5153310" cy="3139440"/>
              </a:xfrm>
            </p:grpSpPr>
            <p:sp>
              <p:nvSpPr>
                <p:cNvPr id="527" name="Rechteck 526">
                  <a:extLst>
                    <a:ext uri="{FF2B5EF4-FFF2-40B4-BE49-F238E27FC236}">
                      <a16:creationId xmlns:a16="http://schemas.microsoft.com/office/drawing/2014/main" id="{EEBBFF5A-13B7-470E-6EA6-C4FE9C1767A1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185160" y="3688080"/>
                  <a:ext cx="5153310" cy="2590800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28" name="Rechteck 527">
                  <a:extLst>
                    <a:ext uri="{FF2B5EF4-FFF2-40B4-BE49-F238E27FC236}">
                      <a16:creationId xmlns:a16="http://schemas.microsoft.com/office/drawing/2014/main" id="{A9B09489-D65C-30D7-309F-58163152DB2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945380" y="6271260"/>
                  <a:ext cx="1632870" cy="472440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29" name="Rechteck 528">
                  <a:extLst>
                    <a:ext uri="{FF2B5EF4-FFF2-40B4-BE49-F238E27FC236}">
                      <a16:creationId xmlns:a16="http://schemas.microsoft.com/office/drawing/2014/main" id="{0EA01491-4591-2524-A25A-CCD4C1B77EEC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482750" y="6736080"/>
                  <a:ext cx="2558130" cy="91440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30" name="Rechtwinkliges Dreieck 529">
                  <a:extLst>
                    <a:ext uri="{FF2B5EF4-FFF2-40B4-BE49-F238E27FC236}">
                      <a16:creationId xmlns:a16="http://schemas.microsoft.com/office/drawing/2014/main" id="{8E7176EC-B95D-BFD9-6EEA-3FC974D4CDFD}"/>
                    </a:ext>
                  </a:extLst>
                </p:cNvPr>
                <p:cNvSpPr/>
                <p:nvPr/>
              </p:nvSpPr>
              <p:spPr>
                <a:xfrm flipH="1" flipV="1">
                  <a:off x="4945379" y="6278880"/>
                  <a:ext cx="1632870" cy="457200"/>
                </a:xfrm>
                <a:prstGeom prst="rtTriangle">
                  <a:avLst/>
                </a:prstGeom>
                <a:solidFill>
                  <a:schemeClr val="tx1">
                    <a:alpha val="3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pic>
            <p:nvPicPr>
              <p:cNvPr id="11" name="Inhaltsplatzhalter 21">
                <a:extLst>
                  <a:ext uri="{FF2B5EF4-FFF2-40B4-BE49-F238E27FC236}">
                    <a16:creationId xmlns:a16="http://schemas.microsoft.com/office/drawing/2014/main" id="{2B935435-2ED4-2091-2BC1-40B35698697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3"/>
              <a:srcRect b="1134"/>
              <a:stretch/>
            </p:blipFill>
            <p:spPr>
              <a:xfrm>
                <a:off x="611598" y="1676074"/>
                <a:ext cx="4067348" cy="1987914"/>
              </a:xfrm>
              <a:prstGeom prst="rect">
                <a:avLst/>
              </a:prstGeom>
              <a:ln w="15875">
                <a:solidFill>
                  <a:srgbClr val="1B1B1B"/>
                </a:solidFill>
                <a:miter lim="800000"/>
              </a:ln>
            </p:spPr>
          </p:pic>
        </p:grp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76E22736-F432-C23E-7E1E-A5665C635508}"/>
                </a:ext>
              </a:extLst>
            </p:cNvPr>
            <p:cNvGrpSpPr/>
            <p:nvPr/>
          </p:nvGrpSpPr>
          <p:grpSpPr>
            <a:xfrm>
              <a:off x="2431526" y="2626154"/>
              <a:ext cx="4203519" cy="2560819"/>
              <a:chOff x="2431526" y="2626154"/>
              <a:chExt cx="4203519" cy="2560819"/>
            </a:xfrm>
          </p:grpSpPr>
          <p:grpSp>
            <p:nvGrpSpPr>
              <p:cNvPr id="521" name="Gruppieren 520">
                <a:extLst>
                  <a:ext uri="{FF2B5EF4-FFF2-40B4-BE49-F238E27FC236}">
                    <a16:creationId xmlns:a16="http://schemas.microsoft.com/office/drawing/2014/main" id="{5A05FF3B-69A1-C4E5-C7EB-F192E138EDEE}"/>
                  </a:ext>
                </a:extLst>
              </p:cNvPr>
              <p:cNvGrpSpPr/>
              <p:nvPr/>
            </p:nvGrpSpPr>
            <p:grpSpPr>
              <a:xfrm>
                <a:off x="2431526" y="2626154"/>
                <a:ext cx="4203519" cy="2560819"/>
                <a:chOff x="3185160" y="3688080"/>
                <a:chExt cx="5153310" cy="3139440"/>
              </a:xfrm>
            </p:grpSpPr>
            <p:sp>
              <p:nvSpPr>
                <p:cNvPr id="522" name="Rechteck 521">
                  <a:extLst>
                    <a:ext uri="{FF2B5EF4-FFF2-40B4-BE49-F238E27FC236}">
                      <a16:creationId xmlns:a16="http://schemas.microsoft.com/office/drawing/2014/main" id="{4ED21239-A136-8F86-4DEC-F433CB307C31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185160" y="3688080"/>
                  <a:ext cx="5153310" cy="2590800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23" name="Rechteck 522">
                  <a:extLst>
                    <a:ext uri="{FF2B5EF4-FFF2-40B4-BE49-F238E27FC236}">
                      <a16:creationId xmlns:a16="http://schemas.microsoft.com/office/drawing/2014/main" id="{1FA07F6F-EC5F-AE4A-1316-9BF57EEC7B8F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945380" y="6271260"/>
                  <a:ext cx="1632870" cy="472440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24" name="Rechteck 523">
                  <a:extLst>
                    <a:ext uri="{FF2B5EF4-FFF2-40B4-BE49-F238E27FC236}">
                      <a16:creationId xmlns:a16="http://schemas.microsoft.com/office/drawing/2014/main" id="{D777F178-53C5-2C9A-6172-7DD9D32D7DAB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482750" y="6736080"/>
                  <a:ext cx="2558130" cy="91440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25" name="Rechtwinkliges Dreieck 524">
                  <a:extLst>
                    <a:ext uri="{FF2B5EF4-FFF2-40B4-BE49-F238E27FC236}">
                      <a16:creationId xmlns:a16="http://schemas.microsoft.com/office/drawing/2014/main" id="{86DD6B61-8A60-443D-EA09-18801D97308E}"/>
                    </a:ext>
                  </a:extLst>
                </p:cNvPr>
                <p:cNvSpPr/>
                <p:nvPr/>
              </p:nvSpPr>
              <p:spPr>
                <a:xfrm flipH="1" flipV="1">
                  <a:off x="4945379" y="6278880"/>
                  <a:ext cx="1632870" cy="457200"/>
                </a:xfrm>
                <a:prstGeom prst="rtTriangle">
                  <a:avLst/>
                </a:prstGeom>
                <a:solidFill>
                  <a:schemeClr val="tx1">
                    <a:alpha val="3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1" name="Gruppieren 20">
                <a:extLst>
                  <a:ext uri="{FF2B5EF4-FFF2-40B4-BE49-F238E27FC236}">
                    <a16:creationId xmlns:a16="http://schemas.microsoft.com/office/drawing/2014/main" id="{51A07B04-BAE1-73A0-50DE-9E1E70DA0663}"/>
                  </a:ext>
                </a:extLst>
              </p:cNvPr>
              <p:cNvGrpSpPr/>
              <p:nvPr/>
            </p:nvGrpSpPr>
            <p:grpSpPr>
              <a:xfrm>
                <a:off x="2512214" y="2675597"/>
                <a:ext cx="4067348" cy="1987914"/>
                <a:chOff x="2512214" y="2675597"/>
                <a:chExt cx="4067348" cy="1987914"/>
              </a:xfrm>
            </p:grpSpPr>
            <p:pic>
              <p:nvPicPr>
                <p:cNvPr id="12" name="Inhaltsplatzhalter 22">
                  <a:extLst>
                    <a:ext uri="{FF2B5EF4-FFF2-40B4-BE49-F238E27FC236}">
                      <a16:creationId xmlns:a16="http://schemas.microsoft.com/office/drawing/2014/main" id="{349E689F-2D1E-B17C-3565-376DB005147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4"/>
                <a:srcRect t="1" b="-24871"/>
                <a:stretch/>
              </p:blipFill>
              <p:spPr>
                <a:xfrm>
                  <a:off x="2512214" y="2675597"/>
                  <a:ext cx="4067348" cy="1987914"/>
                </a:xfrm>
                <a:prstGeom prst="rect">
                  <a:avLst/>
                </a:prstGeom>
                <a:ln w="15875">
                  <a:solidFill>
                    <a:srgbClr val="1B1B1B"/>
                  </a:solidFill>
                  <a:miter lim="800000"/>
                </a:ln>
              </p:spPr>
            </p:pic>
            <p:pic>
              <p:nvPicPr>
                <p:cNvPr id="13" name="Inhaltsplatzhalter 22">
                  <a:extLst>
                    <a:ext uri="{FF2B5EF4-FFF2-40B4-BE49-F238E27FC236}">
                      <a16:creationId xmlns:a16="http://schemas.microsoft.com/office/drawing/2014/main" id="{56C1959E-F204-035D-D6AA-4E67B6BCE46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4"/>
                <a:srcRect t="93096" b="23"/>
                <a:stretch/>
              </p:blipFill>
              <p:spPr>
                <a:xfrm>
                  <a:off x="2512214" y="4238626"/>
                  <a:ext cx="4067348" cy="424885"/>
                </a:xfrm>
                <a:prstGeom prst="rect">
                  <a:avLst/>
                </a:prstGeom>
                <a:ln w="15875">
                  <a:noFill/>
                  <a:miter lim="800000"/>
                </a:ln>
              </p:spPr>
            </p:pic>
          </p:grpSp>
        </p:grpSp>
      </p:grpSp>
      <p:sp>
        <p:nvSpPr>
          <p:cNvPr id="3" name="TextBox 5">
            <a:extLst>
              <a:ext uri="{FF2B5EF4-FFF2-40B4-BE49-F238E27FC236}">
                <a16:creationId xmlns:a16="http://schemas.microsoft.com/office/drawing/2014/main" id="{6B5F30EF-8178-641E-0169-C32F45DBC252}"/>
              </a:ext>
            </a:extLst>
          </p:cNvPr>
          <p:cNvSpPr txBox="1"/>
          <p:nvPr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14</a:t>
            </a:fld>
            <a:endParaRPr lang="de-DE" sz="1000" b="1" i="0" u="none" kern="1200" spc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5" name="Restricted">
            <a:extLst>
              <a:ext uri="{FF2B5EF4-FFF2-40B4-BE49-F238E27FC236}">
                <a16:creationId xmlns:a16="http://schemas.microsoft.com/office/drawing/2014/main" id="{45D82F0B-86CA-4712-0640-5C1A4B680ABA}"/>
              </a:ext>
            </a:extLst>
          </p:cNvPr>
          <p:cNvSpPr txBox="1"/>
          <p:nvPr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de-DE" sz="1000">
                <a:solidFill>
                  <a:schemeClr val="tx1"/>
                </a:solidFill>
              </a:rPr>
              <a:t>Frei verwendbar © Siemens Healthineers, 2023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4E36A21-0289-6E29-72E0-8D68C732B62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544327" y="5734560"/>
            <a:ext cx="1617999" cy="218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6647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DE2BF8E-9F0A-36F9-646C-51030E7EBF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7145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DE2BF8E-9F0A-36F9-646C-51030E7EBF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B4DAB4CF-D155-5819-7FCC-33164BEB32C4}"/>
              </a:ext>
            </a:extLst>
          </p:cNvPr>
          <p:cNvGrpSpPr>
            <a:grpSpLocks/>
          </p:cNvGrpSpPr>
          <p:nvPr/>
        </p:nvGrpSpPr>
        <p:grpSpPr>
          <a:xfrm>
            <a:off x="8994773" y="1619250"/>
            <a:ext cx="3175003" cy="5238751"/>
            <a:chOff x="8994773" y="1619250"/>
            <a:chExt cx="3175003" cy="5238751"/>
          </a:xfrm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CE036405-9DEE-4DD3-39F2-0AC3ABE64240}"/>
                </a:ext>
              </a:extLst>
            </p:cNvPr>
            <p:cNvSpPr/>
            <p:nvPr/>
          </p:nvSpPr>
          <p:spPr>
            <a:xfrm>
              <a:off x="8994773" y="1619250"/>
              <a:ext cx="3175003" cy="5238751"/>
            </a:xfrm>
            <a:custGeom>
              <a:avLst/>
              <a:gdLst>
                <a:gd name="connsiteX0" fmla="*/ 2641103 w 3175003"/>
                <a:gd name="connsiteY0" fmla="*/ 0 h 5238751"/>
                <a:gd name="connsiteX1" fmla="*/ 3175003 w 3175003"/>
                <a:gd name="connsiteY1" fmla="*/ 1401789 h 5238751"/>
                <a:gd name="connsiteX2" fmla="*/ 3175003 w 3175003"/>
                <a:gd name="connsiteY2" fmla="*/ 5238751 h 5238751"/>
                <a:gd name="connsiteX3" fmla="*/ 252737 w 3175003"/>
                <a:gd name="connsiteY3" fmla="*/ 5238751 h 5238751"/>
                <a:gd name="connsiteX4" fmla="*/ 0 w 3175003"/>
                <a:gd name="connsiteY4" fmla="*/ 4575174 h 5238751"/>
                <a:gd name="connsiteX5" fmla="*/ 2641103 w 3175003"/>
                <a:gd name="connsiteY5" fmla="*/ 4575174 h 5238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5003" h="5238751">
                  <a:moveTo>
                    <a:pt x="2641103" y="0"/>
                  </a:moveTo>
                  <a:lnTo>
                    <a:pt x="3175003" y="1401789"/>
                  </a:lnTo>
                  <a:lnTo>
                    <a:pt x="3175003" y="5238751"/>
                  </a:lnTo>
                  <a:lnTo>
                    <a:pt x="252737" y="5238751"/>
                  </a:lnTo>
                  <a:lnTo>
                    <a:pt x="0" y="4575174"/>
                  </a:lnTo>
                  <a:lnTo>
                    <a:pt x="2641103" y="4575174"/>
                  </a:lnTo>
                  <a:close/>
                </a:path>
              </a:pathLst>
            </a:custGeom>
            <a:pattFill prst="wdDnDiag">
              <a:fgClr>
                <a:srgbClr val="ECECEC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C1BE696C-B604-7C12-5038-B4A7237903B6}"/>
                </a:ext>
              </a:extLst>
            </p:cNvPr>
            <p:cNvSpPr txBox="1">
              <a:spLocks/>
            </p:cNvSpPr>
            <p:nvPr/>
          </p:nvSpPr>
          <p:spPr>
            <a:xfrm>
              <a:off x="8994774" y="1619250"/>
              <a:ext cx="2633663" cy="4575175"/>
            </a:xfrm>
            <a:prstGeom prst="rect">
              <a:avLst/>
            </a:prstGeom>
            <a:solidFill>
              <a:srgbClr val="ECECEC"/>
            </a:solidFill>
            <a:effectLst>
              <a:outerShdw blurRad="50800" dist="38100" dir="2700000" algn="tl" rotWithShape="0">
                <a:prstClr val="black">
                  <a:alpha val="8000"/>
                </a:prstClr>
              </a:outerShdw>
            </a:effectLst>
          </p:spPr>
          <p:txBody>
            <a:bodyPr wrap="square" lIns="180000" tIns="144000" rIns="180000" bIns="0" rtlCol="0" anchor="t">
              <a:noAutofit/>
            </a:bodyPr>
            <a:lstStyle/>
            <a:p>
              <a:pPr>
                <a:spcAft>
                  <a:spcPts val="300"/>
                </a:spcAft>
              </a:pPr>
              <a:endParaRPr lang="de-DE" sz="4400"/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3E51D652-32A0-6192-C70D-0009DAE8466F}"/>
              </a:ext>
            </a:extLst>
          </p:cNvPr>
          <p:cNvGrpSpPr>
            <a:grpSpLocks/>
          </p:cNvGrpSpPr>
          <p:nvPr/>
        </p:nvGrpSpPr>
        <p:grpSpPr>
          <a:xfrm>
            <a:off x="9210675" y="1826246"/>
            <a:ext cx="2201842" cy="906229"/>
            <a:chOff x="9210675" y="1826246"/>
            <a:chExt cx="2201842" cy="906229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CC89BF69-3F15-CE31-64EA-3555446D5753}"/>
                </a:ext>
              </a:extLst>
            </p:cNvPr>
            <p:cNvSpPr>
              <a:spLocks/>
            </p:cNvSpPr>
            <p:nvPr/>
          </p:nvSpPr>
          <p:spPr>
            <a:xfrm>
              <a:off x="9210675" y="1826246"/>
              <a:ext cx="2201842" cy="90622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tlCol="0" anchor="t"/>
            <a:lstStyle/>
            <a:p>
              <a:pPr algn="l"/>
              <a:r>
                <a:rPr lang="en-US" sz="1200" b="1" err="1">
                  <a:solidFill>
                    <a:schemeClr val="tx1"/>
                  </a:solidFill>
                </a:rPr>
                <a:t>Medizinische</a:t>
              </a:r>
              <a:r>
                <a:rPr lang="en-US" sz="1200" b="1">
                  <a:solidFill>
                    <a:schemeClr val="tx1"/>
                  </a:solidFill>
                </a:rPr>
                <a:t> </a:t>
              </a:r>
              <a:br>
                <a:rPr lang="en-US" sz="1200" b="1">
                  <a:solidFill>
                    <a:schemeClr val="tx1"/>
                  </a:solidFill>
                </a:rPr>
              </a:br>
              <a:r>
                <a:rPr lang="en-US" sz="1200" b="1">
                  <a:solidFill>
                    <a:schemeClr val="tx1"/>
                  </a:solidFill>
                </a:rPr>
                <a:t>Partner</a:t>
              </a:r>
            </a:p>
          </p:txBody>
        </p:sp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A329EC6D-8FD1-F39F-ABB6-AA4E93D0F046}"/>
                </a:ext>
              </a:extLst>
            </p:cNvPr>
            <p:cNvGrpSpPr/>
            <p:nvPr/>
          </p:nvGrpSpPr>
          <p:grpSpPr>
            <a:xfrm>
              <a:off x="10463363" y="1936376"/>
              <a:ext cx="788837" cy="693056"/>
              <a:chOff x="9291637" y="1854304"/>
              <a:chExt cx="950913" cy="835453"/>
            </a:xfrm>
          </p:grpSpPr>
          <p:grpSp>
            <p:nvGrpSpPr>
              <p:cNvPr id="28" name="Gruppieren 27">
                <a:extLst>
                  <a:ext uri="{FF2B5EF4-FFF2-40B4-BE49-F238E27FC236}">
                    <a16:creationId xmlns:a16="http://schemas.microsoft.com/office/drawing/2014/main" id="{AF992148-C376-B6B0-431A-AFF9AFE7F2D0}"/>
                  </a:ext>
                </a:extLst>
              </p:cNvPr>
              <p:cNvGrpSpPr/>
              <p:nvPr/>
            </p:nvGrpSpPr>
            <p:grpSpPr>
              <a:xfrm>
                <a:off x="9956732" y="1880092"/>
                <a:ext cx="285818" cy="809665"/>
                <a:chOff x="8386350" y="7360423"/>
                <a:chExt cx="1906395" cy="5400434"/>
              </a:xfrm>
            </p:grpSpPr>
            <p:grpSp>
              <p:nvGrpSpPr>
                <p:cNvPr id="140" name="Grafik 23">
                  <a:extLst>
                    <a:ext uri="{FF2B5EF4-FFF2-40B4-BE49-F238E27FC236}">
                      <a16:creationId xmlns:a16="http://schemas.microsoft.com/office/drawing/2014/main" id="{A7D20C28-445D-0B8E-4031-95EBF51CA730}"/>
                    </a:ext>
                  </a:extLst>
                </p:cNvPr>
                <p:cNvGrpSpPr/>
                <p:nvPr/>
              </p:nvGrpSpPr>
              <p:grpSpPr>
                <a:xfrm>
                  <a:off x="8386350" y="7360423"/>
                  <a:ext cx="1583022" cy="5400434"/>
                  <a:chOff x="8386350" y="781823"/>
                  <a:chExt cx="1583022" cy="5400434"/>
                </a:xfrm>
              </p:grpSpPr>
              <p:sp>
                <p:nvSpPr>
                  <p:cNvPr id="230" name="Freihandform: Form 229">
                    <a:extLst>
                      <a:ext uri="{FF2B5EF4-FFF2-40B4-BE49-F238E27FC236}">
                        <a16:creationId xmlns:a16="http://schemas.microsoft.com/office/drawing/2014/main" id="{AF6B68C9-AB33-AAF0-757E-9F004BD89D0B}"/>
                      </a:ext>
                    </a:extLst>
                  </p:cNvPr>
                  <p:cNvSpPr/>
                  <p:nvPr/>
                </p:nvSpPr>
                <p:spPr>
                  <a:xfrm>
                    <a:off x="9182798" y="5806059"/>
                    <a:ext cx="145732" cy="145732"/>
                  </a:xfrm>
                  <a:custGeom>
                    <a:avLst/>
                    <a:gdLst>
                      <a:gd name="connsiteX0" fmla="*/ 145732 w 145732"/>
                      <a:gd name="connsiteY0" fmla="*/ 72866 h 145732"/>
                      <a:gd name="connsiteX1" fmla="*/ 72866 w 145732"/>
                      <a:gd name="connsiteY1" fmla="*/ 145733 h 145732"/>
                      <a:gd name="connsiteX2" fmla="*/ -1 w 145732"/>
                      <a:gd name="connsiteY2" fmla="*/ 72866 h 145732"/>
                      <a:gd name="connsiteX3" fmla="*/ 72866 w 145732"/>
                      <a:gd name="connsiteY3" fmla="*/ 0 h 145732"/>
                      <a:gd name="connsiteX4" fmla="*/ 145732 w 145732"/>
                      <a:gd name="connsiteY4" fmla="*/ 72866 h 1457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5732" h="145732">
                        <a:moveTo>
                          <a:pt x="145732" y="72866"/>
                        </a:moveTo>
                        <a:cubicBezTo>
                          <a:pt x="145732" y="113109"/>
                          <a:pt x="113109" y="145733"/>
                          <a:pt x="72866" y="145733"/>
                        </a:cubicBezTo>
                        <a:cubicBezTo>
                          <a:pt x="32623" y="145733"/>
                          <a:pt x="-1" y="113109"/>
                          <a:pt x="-1" y="72866"/>
                        </a:cubicBezTo>
                        <a:cubicBezTo>
                          <a:pt x="-1" y="32624"/>
                          <a:pt x="32623" y="0"/>
                          <a:pt x="72866" y="0"/>
                        </a:cubicBezTo>
                        <a:cubicBezTo>
                          <a:pt x="113109" y="0"/>
                          <a:pt x="145732" y="32624"/>
                          <a:pt x="145732" y="7286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1" name="Freihandform: Form 230">
                    <a:extLst>
                      <a:ext uri="{FF2B5EF4-FFF2-40B4-BE49-F238E27FC236}">
                        <a16:creationId xmlns:a16="http://schemas.microsoft.com/office/drawing/2014/main" id="{403596FA-AB0A-D5FF-2108-732DA0BA7166}"/>
                      </a:ext>
                    </a:extLst>
                  </p:cNvPr>
                  <p:cNvSpPr/>
                  <p:nvPr/>
                </p:nvSpPr>
                <p:spPr>
                  <a:xfrm>
                    <a:off x="9365963" y="5825680"/>
                    <a:ext cx="145732" cy="145732"/>
                  </a:xfrm>
                  <a:custGeom>
                    <a:avLst/>
                    <a:gdLst>
                      <a:gd name="connsiteX0" fmla="*/ 145733 w 145732"/>
                      <a:gd name="connsiteY0" fmla="*/ 72866 h 145732"/>
                      <a:gd name="connsiteX1" fmla="*/ 72866 w 145732"/>
                      <a:gd name="connsiteY1" fmla="*/ 145733 h 145732"/>
                      <a:gd name="connsiteX2" fmla="*/ 0 w 145732"/>
                      <a:gd name="connsiteY2" fmla="*/ 72866 h 145732"/>
                      <a:gd name="connsiteX3" fmla="*/ 72866 w 145732"/>
                      <a:gd name="connsiteY3" fmla="*/ 0 h 145732"/>
                      <a:gd name="connsiteX4" fmla="*/ 145733 w 145732"/>
                      <a:gd name="connsiteY4" fmla="*/ 72866 h 1457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5732" h="145732">
                        <a:moveTo>
                          <a:pt x="145733" y="72866"/>
                        </a:moveTo>
                        <a:cubicBezTo>
                          <a:pt x="145733" y="113109"/>
                          <a:pt x="113109" y="145733"/>
                          <a:pt x="72866" y="145733"/>
                        </a:cubicBezTo>
                        <a:cubicBezTo>
                          <a:pt x="32623" y="145733"/>
                          <a:pt x="0" y="113109"/>
                          <a:pt x="0" y="72866"/>
                        </a:cubicBezTo>
                        <a:cubicBezTo>
                          <a:pt x="0" y="32624"/>
                          <a:pt x="32623" y="0"/>
                          <a:pt x="72866" y="0"/>
                        </a:cubicBezTo>
                        <a:cubicBezTo>
                          <a:pt x="113109" y="0"/>
                          <a:pt x="145733" y="32624"/>
                          <a:pt x="145733" y="7286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2" name="Freihandform: Form 231">
                    <a:extLst>
                      <a:ext uri="{FF2B5EF4-FFF2-40B4-BE49-F238E27FC236}">
                        <a16:creationId xmlns:a16="http://schemas.microsoft.com/office/drawing/2014/main" id="{F56FFCA4-D5E6-8521-6AC6-DFCA91A9590D}"/>
                      </a:ext>
                    </a:extLst>
                  </p:cNvPr>
                  <p:cNvSpPr/>
                  <p:nvPr/>
                </p:nvSpPr>
                <p:spPr>
                  <a:xfrm>
                    <a:off x="8938672" y="4682013"/>
                    <a:ext cx="389953" cy="1217787"/>
                  </a:xfrm>
                  <a:custGeom>
                    <a:avLst/>
                    <a:gdLst>
                      <a:gd name="connsiteX0" fmla="*/ 389954 w 389953"/>
                      <a:gd name="connsiteY0" fmla="*/ 1196054 h 1217787"/>
                      <a:gd name="connsiteX1" fmla="*/ 245079 w 389953"/>
                      <a:gd name="connsiteY1" fmla="*/ 1208532 h 1217787"/>
                      <a:gd name="connsiteX2" fmla="*/ 52388 w 389953"/>
                      <a:gd name="connsiteY2" fmla="*/ 579406 h 1217787"/>
                      <a:gd name="connsiteX3" fmla="*/ 0 w 389953"/>
                      <a:gd name="connsiteY3" fmla="*/ 44863 h 1217787"/>
                      <a:gd name="connsiteX4" fmla="*/ 306705 w 389953"/>
                      <a:gd name="connsiteY4" fmla="*/ 0 h 1217787"/>
                      <a:gd name="connsiteX5" fmla="*/ 316039 w 389953"/>
                      <a:gd name="connsiteY5" fmla="*/ 166878 h 1217787"/>
                      <a:gd name="connsiteX6" fmla="*/ 351091 w 389953"/>
                      <a:gd name="connsiteY6" fmla="*/ 480251 h 1217787"/>
                      <a:gd name="connsiteX7" fmla="*/ 361760 w 389953"/>
                      <a:gd name="connsiteY7" fmla="*/ 876681 h 1217787"/>
                      <a:gd name="connsiteX8" fmla="*/ 389858 w 389953"/>
                      <a:gd name="connsiteY8" fmla="*/ 1195959 h 12177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89953" h="1217787">
                        <a:moveTo>
                          <a:pt x="389954" y="1196054"/>
                        </a:moveTo>
                        <a:cubicBezTo>
                          <a:pt x="339471" y="1220438"/>
                          <a:pt x="293561" y="1223867"/>
                          <a:pt x="245079" y="1208532"/>
                        </a:cubicBezTo>
                        <a:cubicBezTo>
                          <a:pt x="209550" y="1038987"/>
                          <a:pt x="96964" y="734759"/>
                          <a:pt x="52388" y="579406"/>
                        </a:cubicBezTo>
                        <a:cubicBezTo>
                          <a:pt x="7715" y="423767"/>
                          <a:pt x="0" y="44863"/>
                          <a:pt x="0" y="44863"/>
                        </a:cubicBezTo>
                        <a:lnTo>
                          <a:pt x="306705" y="0"/>
                        </a:lnTo>
                        <a:lnTo>
                          <a:pt x="316039" y="166878"/>
                        </a:lnTo>
                        <a:cubicBezTo>
                          <a:pt x="316039" y="166878"/>
                          <a:pt x="347472" y="345662"/>
                          <a:pt x="351091" y="480251"/>
                        </a:cubicBezTo>
                        <a:cubicBezTo>
                          <a:pt x="354711" y="614839"/>
                          <a:pt x="361760" y="876681"/>
                          <a:pt x="361760" y="876681"/>
                        </a:cubicBezTo>
                        <a:lnTo>
                          <a:pt x="389858" y="1195959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3" name="Freihandform: Form 232">
                    <a:extLst>
                      <a:ext uri="{FF2B5EF4-FFF2-40B4-BE49-F238E27FC236}">
                        <a16:creationId xmlns:a16="http://schemas.microsoft.com/office/drawing/2014/main" id="{98DAE782-5245-C9FC-9559-64D65F9DF957}"/>
                      </a:ext>
                    </a:extLst>
                  </p:cNvPr>
                  <p:cNvSpPr/>
                  <p:nvPr/>
                </p:nvSpPr>
                <p:spPr>
                  <a:xfrm>
                    <a:off x="8936291" y="4539329"/>
                    <a:ext cx="309943" cy="318515"/>
                  </a:xfrm>
                  <a:custGeom>
                    <a:avLst/>
                    <a:gdLst>
                      <a:gd name="connsiteX0" fmla="*/ 309944 w 309943"/>
                      <a:gd name="connsiteY0" fmla="*/ 159258 h 318515"/>
                      <a:gd name="connsiteX1" fmla="*/ 154972 w 309943"/>
                      <a:gd name="connsiteY1" fmla="*/ 318516 h 318515"/>
                      <a:gd name="connsiteX2" fmla="*/ 0 w 309943"/>
                      <a:gd name="connsiteY2" fmla="*/ 159258 h 318515"/>
                      <a:gd name="connsiteX3" fmla="*/ 154972 w 309943"/>
                      <a:gd name="connsiteY3" fmla="*/ 0 h 318515"/>
                      <a:gd name="connsiteX4" fmla="*/ 309944 w 309943"/>
                      <a:gd name="connsiteY4" fmla="*/ 159258 h 3185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9943" h="318515">
                        <a:moveTo>
                          <a:pt x="309944" y="159258"/>
                        </a:moveTo>
                        <a:cubicBezTo>
                          <a:pt x="309944" y="247214"/>
                          <a:pt x="240561" y="318516"/>
                          <a:pt x="154972" y="318516"/>
                        </a:cubicBezTo>
                        <a:cubicBezTo>
                          <a:pt x="69383" y="318516"/>
                          <a:pt x="0" y="247214"/>
                          <a:pt x="0" y="159258"/>
                        </a:cubicBezTo>
                        <a:cubicBezTo>
                          <a:pt x="0" y="71302"/>
                          <a:pt x="69383" y="0"/>
                          <a:pt x="154972" y="0"/>
                        </a:cubicBezTo>
                        <a:cubicBezTo>
                          <a:pt x="240560" y="0"/>
                          <a:pt x="309944" y="71302"/>
                          <a:pt x="309944" y="159258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4" name="Freihandform: Form 233">
                    <a:extLst>
                      <a:ext uri="{FF2B5EF4-FFF2-40B4-BE49-F238E27FC236}">
                        <a16:creationId xmlns:a16="http://schemas.microsoft.com/office/drawing/2014/main" id="{CB95C252-7688-6203-BD14-522C8D5D1E9D}"/>
                      </a:ext>
                    </a:extLst>
                  </p:cNvPr>
                  <p:cNvSpPr/>
                  <p:nvPr/>
                </p:nvSpPr>
                <p:spPr>
                  <a:xfrm>
                    <a:off x="9325196" y="4544758"/>
                    <a:ext cx="311086" cy="311086"/>
                  </a:xfrm>
                  <a:custGeom>
                    <a:avLst/>
                    <a:gdLst>
                      <a:gd name="connsiteX0" fmla="*/ 311086 w 311086"/>
                      <a:gd name="connsiteY0" fmla="*/ 155543 h 311086"/>
                      <a:gd name="connsiteX1" fmla="*/ 155543 w 311086"/>
                      <a:gd name="connsiteY1" fmla="*/ 311086 h 311086"/>
                      <a:gd name="connsiteX2" fmla="*/ -1 w 311086"/>
                      <a:gd name="connsiteY2" fmla="*/ 155543 h 311086"/>
                      <a:gd name="connsiteX3" fmla="*/ 155543 w 311086"/>
                      <a:gd name="connsiteY3" fmla="*/ 0 h 311086"/>
                      <a:gd name="connsiteX4" fmla="*/ 311086 w 311086"/>
                      <a:gd name="connsiteY4" fmla="*/ 155543 h 3110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1086" h="311086">
                        <a:moveTo>
                          <a:pt x="311086" y="155543"/>
                        </a:moveTo>
                        <a:cubicBezTo>
                          <a:pt x="311086" y="241447"/>
                          <a:pt x="241447" y="311086"/>
                          <a:pt x="155543" y="311086"/>
                        </a:cubicBezTo>
                        <a:cubicBezTo>
                          <a:pt x="69639" y="311086"/>
                          <a:pt x="-1" y="241447"/>
                          <a:pt x="-1" y="155543"/>
                        </a:cubicBezTo>
                        <a:cubicBezTo>
                          <a:pt x="-1" y="69639"/>
                          <a:pt x="69639" y="0"/>
                          <a:pt x="155543" y="0"/>
                        </a:cubicBezTo>
                        <a:cubicBezTo>
                          <a:pt x="241447" y="0"/>
                          <a:pt x="311086" y="69639"/>
                          <a:pt x="311086" y="155543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5" name="Freihandform: Form 234">
                    <a:extLst>
                      <a:ext uri="{FF2B5EF4-FFF2-40B4-BE49-F238E27FC236}">
                        <a16:creationId xmlns:a16="http://schemas.microsoft.com/office/drawing/2014/main" id="{582E1E5A-412E-0277-81EE-15F50747586D}"/>
                      </a:ext>
                    </a:extLst>
                  </p:cNvPr>
                  <p:cNvSpPr/>
                  <p:nvPr/>
                </p:nvSpPr>
                <p:spPr>
                  <a:xfrm>
                    <a:off x="9111551" y="5873591"/>
                    <a:ext cx="251269" cy="207930"/>
                  </a:xfrm>
                  <a:custGeom>
                    <a:avLst/>
                    <a:gdLst>
                      <a:gd name="connsiteX0" fmla="*/ 72294 w 251269"/>
                      <a:gd name="connsiteY0" fmla="*/ 0 h 207930"/>
                      <a:gd name="connsiteX1" fmla="*/ 0 w 251269"/>
                      <a:gd name="connsiteY1" fmla="*/ 201549 h 207930"/>
                      <a:gd name="connsiteX2" fmla="*/ 251270 w 251269"/>
                      <a:gd name="connsiteY2" fmla="*/ 207930 h 207930"/>
                      <a:gd name="connsiteX3" fmla="*/ 216789 w 251269"/>
                      <a:gd name="connsiteY3" fmla="*/ 3334 h 207930"/>
                      <a:gd name="connsiteX4" fmla="*/ 72294 w 251269"/>
                      <a:gd name="connsiteY4" fmla="*/ 95 h 207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51269" h="207930">
                        <a:moveTo>
                          <a:pt x="72294" y="0"/>
                        </a:moveTo>
                        <a:cubicBezTo>
                          <a:pt x="56579" y="148399"/>
                          <a:pt x="952" y="162496"/>
                          <a:pt x="0" y="201549"/>
                        </a:cubicBezTo>
                        <a:lnTo>
                          <a:pt x="251270" y="207930"/>
                        </a:lnTo>
                        <a:cubicBezTo>
                          <a:pt x="246126" y="145922"/>
                          <a:pt x="216789" y="118300"/>
                          <a:pt x="216789" y="3334"/>
                        </a:cubicBezTo>
                        <a:lnTo>
                          <a:pt x="72294" y="95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6" name="Freihandform: Form 235">
                    <a:extLst>
                      <a:ext uri="{FF2B5EF4-FFF2-40B4-BE49-F238E27FC236}">
                        <a16:creationId xmlns:a16="http://schemas.microsoft.com/office/drawing/2014/main" id="{235B6161-4F2A-BFA0-EA8D-E7963653ED56}"/>
                      </a:ext>
                    </a:extLst>
                  </p:cNvPr>
                  <p:cNvSpPr/>
                  <p:nvPr/>
                </p:nvSpPr>
                <p:spPr>
                  <a:xfrm>
                    <a:off x="9040208" y="6087713"/>
                    <a:ext cx="343280" cy="94544"/>
                  </a:xfrm>
                  <a:custGeom>
                    <a:avLst/>
                    <a:gdLst>
                      <a:gd name="connsiteX0" fmla="*/ 322326 w 343280"/>
                      <a:gd name="connsiteY0" fmla="*/ 89821 h 94544"/>
                      <a:gd name="connsiteX1" fmla="*/ 21145 w 343280"/>
                      <a:gd name="connsiteY1" fmla="*/ 89630 h 94544"/>
                      <a:gd name="connsiteX2" fmla="*/ 0 w 343280"/>
                      <a:gd name="connsiteY2" fmla="*/ 60960 h 94544"/>
                      <a:gd name="connsiteX3" fmla="*/ 0 w 343280"/>
                      <a:gd name="connsiteY3" fmla="*/ 0 h 94544"/>
                      <a:gd name="connsiteX4" fmla="*/ 343281 w 343280"/>
                      <a:gd name="connsiteY4" fmla="*/ 0 h 94544"/>
                      <a:gd name="connsiteX5" fmla="*/ 343281 w 343280"/>
                      <a:gd name="connsiteY5" fmla="*/ 61150 h 94544"/>
                      <a:gd name="connsiteX6" fmla="*/ 322326 w 343280"/>
                      <a:gd name="connsiteY6" fmla="*/ 89821 h 945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43280" h="94544">
                        <a:moveTo>
                          <a:pt x="322326" y="89821"/>
                        </a:moveTo>
                        <a:cubicBezTo>
                          <a:pt x="218218" y="97822"/>
                          <a:pt x="135160" y="94202"/>
                          <a:pt x="21145" y="89630"/>
                        </a:cubicBezTo>
                        <a:cubicBezTo>
                          <a:pt x="8954" y="89154"/>
                          <a:pt x="0" y="75533"/>
                          <a:pt x="0" y="60960"/>
                        </a:cubicBezTo>
                        <a:lnTo>
                          <a:pt x="0" y="0"/>
                        </a:lnTo>
                        <a:cubicBezTo>
                          <a:pt x="0" y="0"/>
                          <a:pt x="343281" y="0"/>
                          <a:pt x="343281" y="0"/>
                        </a:cubicBezTo>
                        <a:lnTo>
                          <a:pt x="343281" y="61150"/>
                        </a:lnTo>
                        <a:cubicBezTo>
                          <a:pt x="343281" y="75629"/>
                          <a:pt x="334423" y="88868"/>
                          <a:pt x="322326" y="89821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7" name="Freihandform: Form 236">
                    <a:extLst>
                      <a:ext uri="{FF2B5EF4-FFF2-40B4-BE49-F238E27FC236}">
                        <a16:creationId xmlns:a16="http://schemas.microsoft.com/office/drawing/2014/main" id="{53EAEBB2-E62C-8585-9798-36FB7D41FA82}"/>
                      </a:ext>
                    </a:extLst>
                  </p:cNvPr>
                  <p:cNvSpPr/>
                  <p:nvPr/>
                </p:nvSpPr>
                <p:spPr>
                  <a:xfrm>
                    <a:off x="9040208" y="5934550"/>
                    <a:ext cx="343280" cy="181734"/>
                  </a:xfrm>
                  <a:custGeom>
                    <a:avLst/>
                    <a:gdLst>
                      <a:gd name="connsiteX0" fmla="*/ 343281 w 343280"/>
                      <a:gd name="connsiteY0" fmla="*/ 153163 h 181734"/>
                      <a:gd name="connsiteX1" fmla="*/ 294227 w 343280"/>
                      <a:gd name="connsiteY1" fmla="*/ 23147 h 181734"/>
                      <a:gd name="connsiteX2" fmla="*/ 279273 w 343280"/>
                      <a:gd name="connsiteY2" fmla="*/ 64199 h 181734"/>
                      <a:gd name="connsiteX3" fmla="*/ 98964 w 343280"/>
                      <a:gd name="connsiteY3" fmla="*/ 59628 h 181734"/>
                      <a:gd name="connsiteX4" fmla="*/ 0 w 343280"/>
                      <a:gd name="connsiteY4" fmla="*/ 153163 h 181734"/>
                      <a:gd name="connsiteX5" fmla="*/ 343281 w 343280"/>
                      <a:gd name="connsiteY5" fmla="*/ 153163 h 1817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43280" h="181734">
                        <a:moveTo>
                          <a:pt x="343281" y="153163"/>
                        </a:moveTo>
                        <a:cubicBezTo>
                          <a:pt x="303847" y="73344"/>
                          <a:pt x="306133" y="10193"/>
                          <a:pt x="294227" y="23147"/>
                        </a:cubicBezTo>
                        <a:cubicBezTo>
                          <a:pt x="301276" y="53055"/>
                          <a:pt x="295656" y="65914"/>
                          <a:pt x="279273" y="64199"/>
                        </a:cubicBezTo>
                        <a:cubicBezTo>
                          <a:pt x="279273" y="64199"/>
                          <a:pt x="167544" y="-77151"/>
                          <a:pt x="98964" y="59628"/>
                        </a:cubicBezTo>
                        <a:cubicBezTo>
                          <a:pt x="57340" y="142591"/>
                          <a:pt x="4096" y="120397"/>
                          <a:pt x="0" y="153163"/>
                        </a:cubicBezTo>
                        <a:cubicBezTo>
                          <a:pt x="16478" y="185738"/>
                          <a:pt x="323945" y="196406"/>
                          <a:pt x="343281" y="15316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8" name="Freihandform: Form 237">
                    <a:extLst>
                      <a:ext uri="{FF2B5EF4-FFF2-40B4-BE49-F238E27FC236}">
                        <a16:creationId xmlns:a16="http://schemas.microsoft.com/office/drawing/2014/main" id="{AB828524-95EC-FB49-C6FA-E0900B3F2277}"/>
                      </a:ext>
                    </a:extLst>
                  </p:cNvPr>
                  <p:cNvSpPr/>
                  <p:nvPr/>
                </p:nvSpPr>
                <p:spPr>
                  <a:xfrm>
                    <a:off x="9324879" y="4677727"/>
                    <a:ext cx="326797" cy="1236394"/>
                  </a:xfrm>
                  <a:custGeom>
                    <a:avLst/>
                    <a:gdLst>
                      <a:gd name="connsiteX0" fmla="*/ 41084 w 326797"/>
                      <a:gd name="connsiteY0" fmla="*/ 1218819 h 1236394"/>
                      <a:gd name="connsiteX1" fmla="*/ 186626 w 326797"/>
                      <a:gd name="connsiteY1" fmla="*/ 1215199 h 1236394"/>
                      <a:gd name="connsiteX2" fmla="*/ 315405 w 326797"/>
                      <a:gd name="connsiteY2" fmla="*/ 571024 h 1236394"/>
                      <a:gd name="connsiteX3" fmla="*/ 309594 w 326797"/>
                      <a:gd name="connsiteY3" fmla="*/ 0 h 1236394"/>
                      <a:gd name="connsiteX4" fmla="*/ 222 w 326797"/>
                      <a:gd name="connsiteY4" fmla="*/ 286 h 1236394"/>
                      <a:gd name="connsiteX5" fmla="*/ 8033 w 326797"/>
                      <a:gd name="connsiteY5" fmla="*/ 502825 h 1236394"/>
                      <a:gd name="connsiteX6" fmla="*/ 37655 w 326797"/>
                      <a:gd name="connsiteY6" fmla="*/ 898302 h 1236394"/>
                      <a:gd name="connsiteX7" fmla="*/ 40989 w 326797"/>
                      <a:gd name="connsiteY7" fmla="*/ 1218819 h 12363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797" h="1236394">
                        <a:moveTo>
                          <a:pt x="41084" y="1218819"/>
                        </a:moveTo>
                        <a:cubicBezTo>
                          <a:pt x="93853" y="1243870"/>
                          <a:pt x="140049" y="1241679"/>
                          <a:pt x="186626" y="1215199"/>
                        </a:cubicBezTo>
                        <a:cubicBezTo>
                          <a:pt x="204724" y="1042892"/>
                          <a:pt x="286830" y="730091"/>
                          <a:pt x="315405" y="571024"/>
                        </a:cubicBezTo>
                        <a:cubicBezTo>
                          <a:pt x="344075" y="411575"/>
                          <a:pt x="309594" y="0"/>
                          <a:pt x="309594" y="0"/>
                        </a:cubicBezTo>
                        <a:lnTo>
                          <a:pt x="222" y="286"/>
                        </a:lnTo>
                        <a:cubicBezTo>
                          <a:pt x="222" y="286"/>
                          <a:pt x="-2064" y="368617"/>
                          <a:pt x="8033" y="502825"/>
                        </a:cubicBezTo>
                        <a:cubicBezTo>
                          <a:pt x="18129" y="637032"/>
                          <a:pt x="37655" y="898302"/>
                          <a:pt x="37655" y="898302"/>
                        </a:cubicBezTo>
                        <a:lnTo>
                          <a:pt x="40989" y="1218819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9" name="Freihandform: Form 238">
                    <a:extLst>
                      <a:ext uri="{FF2B5EF4-FFF2-40B4-BE49-F238E27FC236}">
                        <a16:creationId xmlns:a16="http://schemas.microsoft.com/office/drawing/2014/main" id="{E06A96F6-5D51-D94E-9DA6-482238B1AB69}"/>
                      </a:ext>
                    </a:extLst>
                  </p:cNvPr>
                  <p:cNvSpPr/>
                  <p:nvPr/>
                </p:nvSpPr>
                <p:spPr>
                  <a:xfrm>
                    <a:off x="9333007" y="5892926"/>
                    <a:ext cx="284035" cy="215074"/>
                  </a:xfrm>
                  <a:custGeom>
                    <a:avLst/>
                    <a:gdLst>
                      <a:gd name="connsiteX0" fmla="*/ 178498 w 284035"/>
                      <a:gd name="connsiteY0" fmla="*/ 0 h 215074"/>
                      <a:gd name="connsiteX1" fmla="*/ 284036 w 284035"/>
                      <a:gd name="connsiteY1" fmla="*/ 215075 h 215074"/>
                      <a:gd name="connsiteX2" fmla="*/ 0 w 284035"/>
                      <a:gd name="connsiteY2" fmla="*/ 215075 h 215074"/>
                      <a:gd name="connsiteX3" fmla="*/ 32956 w 284035"/>
                      <a:gd name="connsiteY3" fmla="*/ 4477 h 215074"/>
                      <a:gd name="connsiteX4" fmla="*/ 178594 w 284035"/>
                      <a:gd name="connsiteY4" fmla="*/ 0 h 2150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84035" h="215074">
                        <a:moveTo>
                          <a:pt x="178498" y="0"/>
                        </a:moveTo>
                        <a:cubicBezTo>
                          <a:pt x="199549" y="148685"/>
                          <a:pt x="284036" y="176022"/>
                          <a:pt x="284036" y="215075"/>
                        </a:cubicBezTo>
                        <a:lnTo>
                          <a:pt x="0" y="215075"/>
                        </a:lnTo>
                        <a:cubicBezTo>
                          <a:pt x="0" y="139637"/>
                          <a:pt x="37529" y="86963"/>
                          <a:pt x="32956" y="4477"/>
                        </a:cubicBezTo>
                        <a:lnTo>
                          <a:pt x="178594" y="0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0" name="Freihandform: Form 239">
                    <a:extLst>
                      <a:ext uri="{FF2B5EF4-FFF2-40B4-BE49-F238E27FC236}">
                        <a16:creationId xmlns:a16="http://schemas.microsoft.com/office/drawing/2014/main" id="{FF102003-ACBE-C281-1BC9-51DFEB0B663C}"/>
                      </a:ext>
                    </a:extLst>
                  </p:cNvPr>
                  <p:cNvSpPr/>
                  <p:nvPr/>
                </p:nvSpPr>
                <p:spPr>
                  <a:xfrm>
                    <a:off x="9312909" y="6089332"/>
                    <a:ext cx="343280" cy="92916"/>
                  </a:xfrm>
                  <a:custGeom>
                    <a:avLst/>
                    <a:gdLst>
                      <a:gd name="connsiteX0" fmla="*/ 20955 w 343280"/>
                      <a:gd name="connsiteY0" fmla="*/ 89821 h 92916"/>
                      <a:gd name="connsiteX1" fmla="*/ 322135 w 343280"/>
                      <a:gd name="connsiteY1" fmla="*/ 89631 h 92916"/>
                      <a:gd name="connsiteX2" fmla="*/ 343281 w 343280"/>
                      <a:gd name="connsiteY2" fmla="*/ 60960 h 92916"/>
                      <a:gd name="connsiteX3" fmla="*/ 343281 w 343280"/>
                      <a:gd name="connsiteY3" fmla="*/ 0 h 92916"/>
                      <a:gd name="connsiteX4" fmla="*/ 0 w 343280"/>
                      <a:gd name="connsiteY4" fmla="*/ 0 h 92916"/>
                      <a:gd name="connsiteX5" fmla="*/ 0 w 343280"/>
                      <a:gd name="connsiteY5" fmla="*/ 61150 h 92916"/>
                      <a:gd name="connsiteX6" fmla="*/ 20955 w 343280"/>
                      <a:gd name="connsiteY6" fmla="*/ 89821 h 929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43280" h="92916">
                        <a:moveTo>
                          <a:pt x="20955" y="89821"/>
                        </a:moveTo>
                        <a:cubicBezTo>
                          <a:pt x="138969" y="93345"/>
                          <a:pt x="221932" y="94583"/>
                          <a:pt x="322135" y="89631"/>
                        </a:cubicBezTo>
                        <a:cubicBezTo>
                          <a:pt x="334327" y="89059"/>
                          <a:pt x="343281" y="75533"/>
                          <a:pt x="343281" y="60960"/>
                        </a:cubicBezTo>
                        <a:lnTo>
                          <a:pt x="343281" y="0"/>
                        </a:lnTo>
                        <a:cubicBezTo>
                          <a:pt x="343281" y="0"/>
                          <a:pt x="0" y="0"/>
                          <a:pt x="0" y="0"/>
                        </a:cubicBezTo>
                        <a:lnTo>
                          <a:pt x="0" y="61150"/>
                        </a:lnTo>
                        <a:cubicBezTo>
                          <a:pt x="0" y="75629"/>
                          <a:pt x="8858" y="89440"/>
                          <a:pt x="20955" y="89821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1" name="Freihandform: Form 240">
                    <a:extLst>
                      <a:ext uri="{FF2B5EF4-FFF2-40B4-BE49-F238E27FC236}">
                        <a16:creationId xmlns:a16="http://schemas.microsoft.com/office/drawing/2014/main" id="{55FCFA17-57F6-2E12-0877-62AEA7652B5E}"/>
                      </a:ext>
                    </a:extLst>
                  </p:cNvPr>
                  <p:cNvSpPr/>
                  <p:nvPr/>
                </p:nvSpPr>
                <p:spPr>
                  <a:xfrm>
                    <a:off x="9312909" y="5936264"/>
                    <a:ext cx="343280" cy="181734"/>
                  </a:xfrm>
                  <a:custGeom>
                    <a:avLst/>
                    <a:gdLst>
                      <a:gd name="connsiteX0" fmla="*/ 0 w 343280"/>
                      <a:gd name="connsiteY0" fmla="*/ 153163 h 181734"/>
                      <a:gd name="connsiteX1" fmla="*/ 49053 w 343280"/>
                      <a:gd name="connsiteY1" fmla="*/ 23147 h 181734"/>
                      <a:gd name="connsiteX2" fmla="*/ 64008 w 343280"/>
                      <a:gd name="connsiteY2" fmla="*/ 64199 h 181734"/>
                      <a:gd name="connsiteX3" fmla="*/ 244316 w 343280"/>
                      <a:gd name="connsiteY3" fmla="*/ 59628 h 181734"/>
                      <a:gd name="connsiteX4" fmla="*/ 343281 w 343280"/>
                      <a:gd name="connsiteY4" fmla="*/ 153163 h 181734"/>
                      <a:gd name="connsiteX5" fmla="*/ 0 w 343280"/>
                      <a:gd name="connsiteY5" fmla="*/ 153163 h 1817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43280" h="181734">
                        <a:moveTo>
                          <a:pt x="0" y="153163"/>
                        </a:moveTo>
                        <a:cubicBezTo>
                          <a:pt x="39433" y="73344"/>
                          <a:pt x="37147" y="10193"/>
                          <a:pt x="49053" y="23147"/>
                        </a:cubicBezTo>
                        <a:cubicBezTo>
                          <a:pt x="42005" y="53055"/>
                          <a:pt x="47625" y="65914"/>
                          <a:pt x="64008" y="64199"/>
                        </a:cubicBezTo>
                        <a:cubicBezTo>
                          <a:pt x="64008" y="64199"/>
                          <a:pt x="175736" y="-77151"/>
                          <a:pt x="244316" y="59628"/>
                        </a:cubicBezTo>
                        <a:cubicBezTo>
                          <a:pt x="285940" y="142591"/>
                          <a:pt x="339185" y="120397"/>
                          <a:pt x="343281" y="153163"/>
                        </a:cubicBezTo>
                        <a:cubicBezTo>
                          <a:pt x="326803" y="185738"/>
                          <a:pt x="19335" y="196406"/>
                          <a:pt x="0" y="15316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2" name="Freihandform: Form 241">
                    <a:extLst>
                      <a:ext uri="{FF2B5EF4-FFF2-40B4-BE49-F238E27FC236}">
                        <a16:creationId xmlns:a16="http://schemas.microsoft.com/office/drawing/2014/main" id="{71495F35-25E0-206D-11D2-FC89D5B57B9F}"/>
                      </a:ext>
                    </a:extLst>
                  </p:cNvPr>
                  <p:cNvSpPr/>
                  <p:nvPr/>
                </p:nvSpPr>
                <p:spPr>
                  <a:xfrm>
                    <a:off x="8692641" y="2714148"/>
                    <a:ext cx="1197659" cy="1963864"/>
                  </a:xfrm>
                  <a:custGeom>
                    <a:avLst/>
                    <a:gdLst>
                      <a:gd name="connsiteX0" fmla="*/ 1130998 w 1197659"/>
                      <a:gd name="connsiteY0" fmla="*/ 302133 h 1963864"/>
                      <a:gd name="connsiteX1" fmla="*/ 919353 w 1197659"/>
                      <a:gd name="connsiteY1" fmla="*/ 1429 h 1963864"/>
                      <a:gd name="connsiteX2" fmla="*/ 598075 w 1197659"/>
                      <a:gd name="connsiteY2" fmla="*/ 0 h 1963864"/>
                      <a:gd name="connsiteX3" fmla="*/ 598075 w 1197659"/>
                      <a:gd name="connsiteY3" fmla="*/ 0 h 1963864"/>
                      <a:gd name="connsiteX4" fmla="*/ 594646 w 1197659"/>
                      <a:gd name="connsiteY4" fmla="*/ 0 h 1963864"/>
                      <a:gd name="connsiteX5" fmla="*/ 591216 w 1197659"/>
                      <a:gd name="connsiteY5" fmla="*/ 0 h 1963864"/>
                      <a:gd name="connsiteX6" fmla="*/ 591216 w 1197659"/>
                      <a:gd name="connsiteY6" fmla="*/ 0 h 1963864"/>
                      <a:gd name="connsiteX7" fmla="*/ 269938 w 1197659"/>
                      <a:gd name="connsiteY7" fmla="*/ 1429 h 1963864"/>
                      <a:gd name="connsiteX8" fmla="*/ 65531 w 1197659"/>
                      <a:gd name="connsiteY8" fmla="*/ 316421 h 1963864"/>
                      <a:gd name="connsiteX9" fmla="*/ 0 w 1197659"/>
                      <a:gd name="connsiteY9" fmla="*/ 635127 h 1963864"/>
                      <a:gd name="connsiteX10" fmla="*/ 24384 w 1197659"/>
                      <a:gd name="connsiteY10" fmla="*/ 1062895 h 1963864"/>
                      <a:gd name="connsiteX11" fmla="*/ 117634 w 1197659"/>
                      <a:gd name="connsiteY11" fmla="*/ 1567434 h 1963864"/>
                      <a:gd name="connsiteX12" fmla="*/ 209264 w 1197659"/>
                      <a:gd name="connsiteY12" fmla="*/ 1963865 h 1963864"/>
                      <a:gd name="connsiteX13" fmla="*/ 978217 w 1197659"/>
                      <a:gd name="connsiteY13" fmla="*/ 1963865 h 1963864"/>
                      <a:gd name="connsiteX14" fmla="*/ 1069848 w 1197659"/>
                      <a:gd name="connsiteY14" fmla="*/ 1567434 h 1963864"/>
                      <a:gd name="connsiteX15" fmla="*/ 1163098 w 1197659"/>
                      <a:gd name="connsiteY15" fmla="*/ 1062895 h 1963864"/>
                      <a:gd name="connsiteX16" fmla="*/ 1131189 w 1197659"/>
                      <a:gd name="connsiteY16" fmla="*/ 302133 h 19638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1197659" h="1963864">
                        <a:moveTo>
                          <a:pt x="1130998" y="302133"/>
                        </a:moveTo>
                        <a:cubicBezTo>
                          <a:pt x="1066895" y="164021"/>
                          <a:pt x="919353" y="1429"/>
                          <a:pt x="919353" y="1429"/>
                        </a:cubicBezTo>
                        <a:lnTo>
                          <a:pt x="598075" y="0"/>
                        </a:lnTo>
                        <a:lnTo>
                          <a:pt x="598075" y="0"/>
                        </a:lnTo>
                        <a:cubicBezTo>
                          <a:pt x="598075" y="0"/>
                          <a:pt x="594646" y="0"/>
                          <a:pt x="594646" y="0"/>
                        </a:cubicBezTo>
                        <a:lnTo>
                          <a:pt x="591216" y="0"/>
                        </a:lnTo>
                        <a:cubicBezTo>
                          <a:pt x="591216" y="0"/>
                          <a:pt x="591216" y="0"/>
                          <a:pt x="591216" y="0"/>
                        </a:cubicBezTo>
                        <a:lnTo>
                          <a:pt x="269938" y="1429"/>
                        </a:lnTo>
                        <a:cubicBezTo>
                          <a:pt x="269938" y="1429"/>
                          <a:pt x="120205" y="174308"/>
                          <a:pt x="65531" y="316421"/>
                        </a:cubicBezTo>
                        <a:cubicBezTo>
                          <a:pt x="10953" y="458534"/>
                          <a:pt x="0" y="635127"/>
                          <a:pt x="0" y="635127"/>
                        </a:cubicBezTo>
                        <a:cubicBezTo>
                          <a:pt x="0" y="635127"/>
                          <a:pt x="6477" y="908114"/>
                          <a:pt x="24384" y="1062895"/>
                        </a:cubicBezTo>
                        <a:cubicBezTo>
                          <a:pt x="42196" y="1217676"/>
                          <a:pt x="82677" y="1449991"/>
                          <a:pt x="117634" y="1567434"/>
                        </a:cubicBezTo>
                        <a:cubicBezTo>
                          <a:pt x="152590" y="1684877"/>
                          <a:pt x="209264" y="1963865"/>
                          <a:pt x="209264" y="1963865"/>
                        </a:cubicBezTo>
                        <a:lnTo>
                          <a:pt x="978217" y="1963865"/>
                        </a:lnTo>
                        <a:cubicBezTo>
                          <a:pt x="978217" y="1963865"/>
                          <a:pt x="1034891" y="1684973"/>
                          <a:pt x="1069848" y="1567434"/>
                        </a:cubicBezTo>
                        <a:cubicBezTo>
                          <a:pt x="1104805" y="1449991"/>
                          <a:pt x="1134999" y="1216152"/>
                          <a:pt x="1163098" y="1062895"/>
                        </a:cubicBezTo>
                        <a:cubicBezTo>
                          <a:pt x="1214818" y="780859"/>
                          <a:pt x="1211866" y="476059"/>
                          <a:pt x="1131189" y="302133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3" name="Freihandform: Form 242">
                    <a:extLst>
                      <a:ext uri="{FF2B5EF4-FFF2-40B4-BE49-F238E27FC236}">
                        <a16:creationId xmlns:a16="http://schemas.microsoft.com/office/drawing/2014/main" id="{8D109147-BA1F-DAFC-35E6-99ACCE99A8B0}"/>
                      </a:ext>
                    </a:extLst>
                  </p:cNvPr>
                  <p:cNvSpPr/>
                  <p:nvPr/>
                </p:nvSpPr>
                <p:spPr>
                  <a:xfrm>
                    <a:off x="8910483" y="810018"/>
                    <a:ext cx="817969" cy="1046717"/>
                  </a:xfrm>
                  <a:custGeom>
                    <a:avLst/>
                    <a:gdLst>
                      <a:gd name="connsiteX0" fmla="*/ 720465 w 817969"/>
                      <a:gd name="connsiteY0" fmla="*/ 892765 h 1046717"/>
                      <a:gd name="connsiteX1" fmla="*/ 679603 w 817969"/>
                      <a:gd name="connsiteY1" fmla="*/ 349364 h 1046717"/>
                      <a:gd name="connsiteX2" fmla="*/ 351467 w 817969"/>
                      <a:gd name="connsiteY2" fmla="*/ 1321 h 1046717"/>
                      <a:gd name="connsiteX3" fmla="*/ 212974 w 817969"/>
                      <a:gd name="connsiteY3" fmla="*/ 66472 h 1046717"/>
                      <a:gd name="connsiteX4" fmla="*/ 25522 w 817969"/>
                      <a:gd name="connsiteY4" fmla="*/ 310312 h 1046717"/>
                      <a:gd name="connsiteX5" fmla="*/ 68956 w 817969"/>
                      <a:gd name="connsiteY5" fmla="*/ 866857 h 1046717"/>
                      <a:gd name="connsiteX6" fmla="*/ 720465 w 817969"/>
                      <a:gd name="connsiteY6" fmla="*/ 892765 h 10467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17969" h="1046717">
                        <a:moveTo>
                          <a:pt x="720465" y="892765"/>
                        </a:moveTo>
                        <a:cubicBezTo>
                          <a:pt x="720465" y="892765"/>
                          <a:pt x="964972" y="672262"/>
                          <a:pt x="679603" y="349364"/>
                        </a:cubicBezTo>
                        <a:cubicBezTo>
                          <a:pt x="593307" y="251733"/>
                          <a:pt x="546444" y="-21254"/>
                          <a:pt x="351467" y="1321"/>
                        </a:cubicBezTo>
                        <a:cubicBezTo>
                          <a:pt x="299555" y="8560"/>
                          <a:pt x="250502" y="23038"/>
                          <a:pt x="212974" y="66472"/>
                        </a:cubicBezTo>
                        <a:cubicBezTo>
                          <a:pt x="212974" y="66472"/>
                          <a:pt x="81243" y="74568"/>
                          <a:pt x="25522" y="310312"/>
                        </a:cubicBezTo>
                        <a:cubicBezTo>
                          <a:pt x="-22008" y="511480"/>
                          <a:pt x="-672" y="769036"/>
                          <a:pt x="68956" y="866857"/>
                        </a:cubicBezTo>
                        <a:cubicBezTo>
                          <a:pt x="228975" y="1099363"/>
                          <a:pt x="446907" y="1104792"/>
                          <a:pt x="720465" y="89276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4" name="Freihandform: Form 243">
                    <a:extLst>
                      <a:ext uri="{FF2B5EF4-FFF2-40B4-BE49-F238E27FC236}">
                        <a16:creationId xmlns:a16="http://schemas.microsoft.com/office/drawing/2014/main" id="{00951843-9498-BADA-6F62-477CEFAC73B5}"/>
                      </a:ext>
                    </a:extLst>
                  </p:cNvPr>
                  <p:cNvSpPr/>
                  <p:nvPr/>
                </p:nvSpPr>
                <p:spPr>
                  <a:xfrm>
                    <a:off x="9143174" y="1311973"/>
                    <a:ext cx="298227" cy="463654"/>
                  </a:xfrm>
                  <a:custGeom>
                    <a:avLst/>
                    <a:gdLst>
                      <a:gd name="connsiteX0" fmla="*/ 0 w 298227"/>
                      <a:gd name="connsiteY0" fmla="*/ 385001 h 463654"/>
                      <a:gd name="connsiteX1" fmla="*/ 298228 w 298227"/>
                      <a:gd name="connsiteY1" fmla="*/ 385001 h 463654"/>
                      <a:gd name="connsiteX2" fmla="*/ 298228 w 298227"/>
                      <a:gd name="connsiteY2" fmla="*/ 0 h 463654"/>
                      <a:gd name="connsiteX3" fmla="*/ 0 w 298227"/>
                      <a:gd name="connsiteY3" fmla="*/ 0 h 463654"/>
                      <a:gd name="connsiteX4" fmla="*/ 0 w 298227"/>
                      <a:gd name="connsiteY4" fmla="*/ 385001 h 4636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8227" h="463654">
                        <a:moveTo>
                          <a:pt x="0" y="385001"/>
                        </a:moveTo>
                        <a:cubicBezTo>
                          <a:pt x="51816" y="489109"/>
                          <a:pt x="237172" y="490633"/>
                          <a:pt x="298228" y="385001"/>
                        </a:cubicBezTo>
                        <a:lnTo>
                          <a:pt x="298228" y="0"/>
                        </a:lnTo>
                        <a:lnTo>
                          <a:pt x="0" y="0"/>
                        </a:lnTo>
                        <a:cubicBezTo>
                          <a:pt x="0" y="0"/>
                          <a:pt x="0" y="385001"/>
                          <a:pt x="0" y="385001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5" name="Freihandform: Form 244">
                    <a:extLst>
                      <a:ext uri="{FF2B5EF4-FFF2-40B4-BE49-F238E27FC236}">
                        <a16:creationId xmlns:a16="http://schemas.microsoft.com/office/drawing/2014/main" id="{FBF257C8-5CE7-FF84-CCE0-91F0C0F51576}"/>
                      </a:ext>
                    </a:extLst>
                  </p:cNvPr>
                  <p:cNvSpPr/>
                  <p:nvPr/>
                </p:nvSpPr>
                <p:spPr>
                  <a:xfrm>
                    <a:off x="9054877" y="1366837"/>
                    <a:ext cx="361378" cy="476350"/>
                  </a:xfrm>
                  <a:custGeom>
                    <a:avLst/>
                    <a:gdLst>
                      <a:gd name="connsiteX0" fmla="*/ 361379 w 361378"/>
                      <a:gd name="connsiteY0" fmla="*/ 0 h 476350"/>
                      <a:gd name="connsiteX1" fmla="*/ 347186 w 361378"/>
                      <a:gd name="connsiteY1" fmla="*/ 72295 h 476350"/>
                      <a:gd name="connsiteX2" fmla="*/ 224790 w 361378"/>
                      <a:gd name="connsiteY2" fmla="*/ 204121 h 476350"/>
                      <a:gd name="connsiteX3" fmla="*/ 143542 w 361378"/>
                      <a:gd name="connsiteY3" fmla="*/ 260890 h 476350"/>
                      <a:gd name="connsiteX4" fmla="*/ 220313 w 361378"/>
                      <a:gd name="connsiteY4" fmla="*/ 473012 h 476350"/>
                      <a:gd name="connsiteX5" fmla="*/ 0 w 361378"/>
                      <a:gd name="connsiteY5" fmla="*/ 278987 h 476350"/>
                      <a:gd name="connsiteX6" fmla="*/ 88106 w 361378"/>
                      <a:gd name="connsiteY6" fmla="*/ 244888 h 476350"/>
                      <a:gd name="connsiteX7" fmla="*/ 88106 w 361378"/>
                      <a:gd name="connsiteY7" fmla="*/ 0 h 476350"/>
                      <a:gd name="connsiteX8" fmla="*/ 361379 w 361378"/>
                      <a:gd name="connsiteY8" fmla="*/ 0 h 476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61378" h="476350">
                        <a:moveTo>
                          <a:pt x="361379" y="0"/>
                        </a:moveTo>
                        <a:lnTo>
                          <a:pt x="347186" y="72295"/>
                        </a:lnTo>
                        <a:cubicBezTo>
                          <a:pt x="347186" y="72295"/>
                          <a:pt x="321945" y="199168"/>
                          <a:pt x="224790" y="204121"/>
                        </a:cubicBezTo>
                        <a:cubicBezTo>
                          <a:pt x="166688" y="207073"/>
                          <a:pt x="143827" y="229362"/>
                          <a:pt x="143542" y="260890"/>
                        </a:cubicBezTo>
                        <a:cubicBezTo>
                          <a:pt x="142590" y="384810"/>
                          <a:pt x="240030" y="440627"/>
                          <a:pt x="220313" y="473012"/>
                        </a:cubicBezTo>
                        <a:cubicBezTo>
                          <a:pt x="147733" y="501110"/>
                          <a:pt x="34100" y="344519"/>
                          <a:pt x="0" y="278987"/>
                        </a:cubicBezTo>
                        <a:lnTo>
                          <a:pt x="88106" y="244888"/>
                        </a:lnTo>
                        <a:lnTo>
                          <a:pt x="88106" y="0"/>
                        </a:lnTo>
                        <a:lnTo>
                          <a:pt x="361379" y="0"/>
                        </a:ln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6" name="Freihandform: Form 245">
                    <a:extLst>
                      <a:ext uri="{FF2B5EF4-FFF2-40B4-BE49-F238E27FC236}">
                        <a16:creationId xmlns:a16="http://schemas.microsoft.com/office/drawing/2014/main" id="{BFDD38C4-0A97-C26D-87A7-CA0E0DE285E6}"/>
                      </a:ext>
                    </a:extLst>
                  </p:cNvPr>
                  <p:cNvSpPr/>
                  <p:nvPr/>
                </p:nvSpPr>
                <p:spPr>
                  <a:xfrm>
                    <a:off x="9092333" y="984096"/>
                    <a:ext cx="400153" cy="557524"/>
                  </a:xfrm>
                  <a:custGeom>
                    <a:avLst/>
                    <a:gdLst>
                      <a:gd name="connsiteX0" fmla="*/ 398979 w 400153"/>
                      <a:gd name="connsiteY0" fmla="*/ 188336 h 557524"/>
                      <a:gd name="connsiteX1" fmla="*/ 346687 w 400153"/>
                      <a:gd name="connsiteY1" fmla="*/ 49080 h 557524"/>
                      <a:gd name="connsiteX2" fmla="*/ 200097 w 400153"/>
                      <a:gd name="connsiteY2" fmla="*/ 26 h 557524"/>
                      <a:gd name="connsiteX3" fmla="*/ 53507 w 400153"/>
                      <a:gd name="connsiteY3" fmla="*/ 49080 h 557524"/>
                      <a:gd name="connsiteX4" fmla="*/ 1215 w 400153"/>
                      <a:gd name="connsiteY4" fmla="*/ 188336 h 557524"/>
                      <a:gd name="connsiteX5" fmla="*/ 2073 w 400153"/>
                      <a:gd name="connsiteY5" fmla="*/ 321400 h 557524"/>
                      <a:gd name="connsiteX6" fmla="*/ 61604 w 400153"/>
                      <a:gd name="connsiteY6" fmla="*/ 469704 h 557524"/>
                      <a:gd name="connsiteX7" fmla="*/ 200097 w 400153"/>
                      <a:gd name="connsiteY7" fmla="*/ 557525 h 557524"/>
                      <a:gd name="connsiteX8" fmla="*/ 338591 w 400153"/>
                      <a:gd name="connsiteY8" fmla="*/ 469704 h 557524"/>
                      <a:gd name="connsiteX9" fmla="*/ 398122 w 400153"/>
                      <a:gd name="connsiteY9" fmla="*/ 321400 h 557524"/>
                      <a:gd name="connsiteX10" fmla="*/ 398979 w 400153"/>
                      <a:gd name="connsiteY10" fmla="*/ 188336 h 5575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400153" h="557524">
                        <a:moveTo>
                          <a:pt x="398979" y="188336"/>
                        </a:moveTo>
                        <a:cubicBezTo>
                          <a:pt x="398979" y="188336"/>
                          <a:pt x="394217" y="105278"/>
                          <a:pt x="346687" y="49080"/>
                        </a:cubicBezTo>
                        <a:cubicBezTo>
                          <a:pt x="307540" y="2789"/>
                          <a:pt x="227148" y="-355"/>
                          <a:pt x="200097" y="26"/>
                        </a:cubicBezTo>
                        <a:cubicBezTo>
                          <a:pt x="173046" y="-355"/>
                          <a:pt x="92655" y="2789"/>
                          <a:pt x="53507" y="49080"/>
                        </a:cubicBezTo>
                        <a:cubicBezTo>
                          <a:pt x="5978" y="105278"/>
                          <a:pt x="1215" y="188336"/>
                          <a:pt x="1215" y="188336"/>
                        </a:cubicBezTo>
                        <a:cubicBezTo>
                          <a:pt x="1215" y="188336"/>
                          <a:pt x="-2023" y="284252"/>
                          <a:pt x="2073" y="321400"/>
                        </a:cubicBezTo>
                        <a:cubicBezTo>
                          <a:pt x="6073" y="358452"/>
                          <a:pt x="1882" y="409316"/>
                          <a:pt x="61604" y="469704"/>
                        </a:cubicBezTo>
                        <a:cubicBezTo>
                          <a:pt x="119802" y="528664"/>
                          <a:pt x="159711" y="556191"/>
                          <a:pt x="200097" y="557525"/>
                        </a:cubicBezTo>
                        <a:cubicBezTo>
                          <a:pt x="240483" y="556191"/>
                          <a:pt x="280393" y="528664"/>
                          <a:pt x="338591" y="469704"/>
                        </a:cubicBezTo>
                        <a:cubicBezTo>
                          <a:pt x="398217" y="409316"/>
                          <a:pt x="394026" y="358452"/>
                          <a:pt x="398122" y="321400"/>
                        </a:cubicBezTo>
                        <a:cubicBezTo>
                          <a:pt x="402123" y="284348"/>
                          <a:pt x="398979" y="188336"/>
                          <a:pt x="398979" y="18833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7" name="Freihandform: Form 246">
                    <a:extLst>
                      <a:ext uri="{FF2B5EF4-FFF2-40B4-BE49-F238E27FC236}">
                        <a16:creationId xmlns:a16="http://schemas.microsoft.com/office/drawing/2014/main" id="{C00D27BC-0B8A-1274-E514-27415C21A764}"/>
                      </a:ext>
                    </a:extLst>
                  </p:cNvPr>
                  <p:cNvSpPr/>
                  <p:nvPr/>
                </p:nvSpPr>
                <p:spPr>
                  <a:xfrm rot="-3581400">
                    <a:off x="9397508" y="1182954"/>
                    <a:ext cx="196214" cy="136778"/>
                  </a:xfrm>
                  <a:custGeom>
                    <a:avLst/>
                    <a:gdLst>
                      <a:gd name="connsiteX0" fmla="*/ 196215 w 196214"/>
                      <a:gd name="connsiteY0" fmla="*/ 68389 h 136778"/>
                      <a:gd name="connsiteX1" fmla="*/ 98107 w 196214"/>
                      <a:gd name="connsiteY1" fmla="*/ 136779 h 136778"/>
                      <a:gd name="connsiteX2" fmla="*/ 0 w 196214"/>
                      <a:gd name="connsiteY2" fmla="*/ 68389 h 136778"/>
                      <a:gd name="connsiteX3" fmla="*/ 98107 w 196214"/>
                      <a:gd name="connsiteY3" fmla="*/ 0 h 136778"/>
                      <a:gd name="connsiteX4" fmla="*/ 196215 w 196214"/>
                      <a:gd name="connsiteY4" fmla="*/ 68389 h 1367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6214" h="136778">
                        <a:moveTo>
                          <a:pt x="196215" y="68389"/>
                        </a:moveTo>
                        <a:cubicBezTo>
                          <a:pt x="196215" y="106160"/>
                          <a:pt x="152291" y="136779"/>
                          <a:pt x="98107" y="136779"/>
                        </a:cubicBezTo>
                        <a:cubicBezTo>
                          <a:pt x="43924" y="136779"/>
                          <a:pt x="0" y="106160"/>
                          <a:pt x="0" y="68389"/>
                        </a:cubicBezTo>
                        <a:cubicBezTo>
                          <a:pt x="0" y="30619"/>
                          <a:pt x="43924" y="0"/>
                          <a:pt x="98107" y="0"/>
                        </a:cubicBezTo>
                        <a:cubicBezTo>
                          <a:pt x="152291" y="0"/>
                          <a:pt x="196215" y="30619"/>
                          <a:pt x="196215" y="68389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8" name="Freihandform: Form 247">
                    <a:extLst>
                      <a:ext uri="{FF2B5EF4-FFF2-40B4-BE49-F238E27FC236}">
                        <a16:creationId xmlns:a16="http://schemas.microsoft.com/office/drawing/2014/main" id="{BFF9B805-C4D6-FC36-6C2C-171F9843D5AB}"/>
                      </a:ext>
                    </a:extLst>
                  </p:cNvPr>
                  <p:cNvSpPr/>
                  <p:nvPr/>
                </p:nvSpPr>
                <p:spPr>
                  <a:xfrm rot="-1416000">
                    <a:off x="9013384" y="1154698"/>
                    <a:ext cx="138112" cy="194310"/>
                  </a:xfrm>
                  <a:custGeom>
                    <a:avLst/>
                    <a:gdLst>
                      <a:gd name="connsiteX0" fmla="*/ 138113 w 138112"/>
                      <a:gd name="connsiteY0" fmla="*/ 97155 h 194310"/>
                      <a:gd name="connsiteX1" fmla="*/ 69056 w 138112"/>
                      <a:gd name="connsiteY1" fmla="*/ 194310 h 194310"/>
                      <a:gd name="connsiteX2" fmla="*/ 0 w 138112"/>
                      <a:gd name="connsiteY2" fmla="*/ 97155 h 194310"/>
                      <a:gd name="connsiteX3" fmla="*/ 69056 w 138112"/>
                      <a:gd name="connsiteY3" fmla="*/ 0 h 194310"/>
                      <a:gd name="connsiteX4" fmla="*/ 138113 w 138112"/>
                      <a:gd name="connsiteY4" fmla="*/ 97155 h 1943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8112" h="194310">
                        <a:moveTo>
                          <a:pt x="138113" y="97155"/>
                        </a:moveTo>
                        <a:cubicBezTo>
                          <a:pt x="138113" y="150812"/>
                          <a:pt x="107195" y="194310"/>
                          <a:pt x="69056" y="194310"/>
                        </a:cubicBezTo>
                        <a:cubicBezTo>
                          <a:pt x="30917" y="194310"/>
                          <a:pt x="0" y="150812"/>
                          <a:pt x="0" y="97155"/>
                        </a:cubicBezTo>
                        <a:cubicBezTo>
                          <a:pt x="0" y="43498"/>
                          <a:pt x="30917" y="0"/>
                          <a:pt x="69056" y="0"/>
                        </a:cubicBezTo>
                        <a:cubicBezTo>
                          <a:pt x="107195" y="0"/>
                          <a:pt x="138113" y="43498"/>
                          <a:pt x="138113" y="97155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9" name="Freihandform: Form 248">
                    <a:extLst>
                      <a:ext uri="{FF2B5EF4-FFF2-40B4-BE49-F238E27FC236}">
                        <a16:creationId xmlns:a16="http://schemas.microsoft.com/office/drawing/2014/main" id="{0740BBEF-8514-10D8-3BA8-16648AD7CDA3}"/>
                      </a:ext>
                    </a:extLst>
                  </p:cNvPr>
                  <p:cNvSpPr/>
                  <p:nvPr/>
                </p:nvSpPr>
                <p:spPr>
                  <a:xfrm>
                    <a:off x="9023349" y="818483"/>
                    <a:ext cx="538162" cy="562546"/>
                  </a:xfrm>
                  <a:custGeom>
                    <a:avLst/>
                    <a:gdLst>
                      <a:gd name="connsiteX0" fmla="*/ 538163 w 538162"/>
                      <a:gd name="connsiteY0" fmla="*/ 281273 h 562546"/>
                      <a:gd name="connsiteX1" fmla="*/ 269081 w 538162"/>
                      <a:gd name="connsiteY1" fmla="*/ 562547 h 562546"/>
                      <a:gd name="connsiteX2" fmla="*/ 0 w 538162"/>
                      <a:gd name="connsiteY2" fmla="*/ 281273 h 562546"/>
                      <a:gd name="connsiteX3" fmla="*/ 269081 w 538162"/>
                      <a:gd name="connsiteY3" fmla="*/ 0 h 562546"/>
                      <a:gd name="connsiteX4" fmla="*/ 538163 w 538162"/>
                      <a:gd name="connsiteY4" fmla="*/ 281273 h 5625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38162" h="562546">
                        <a:moveTo>
                          <a:pt x="538163" y="281273"/>
                        </a:moveTo>
                        <a:cubicBezTo>
                          <a:pt x="538163" y="436616"/>
                          <a:pt x="417691" y="562547"/>
                          <a:pt x="269081" y="562547"/>
                        </a:cubicBezTo>
                        <a:cubicBezTo>
                          <a:pt x="120472" y="562547"/>
                          <a:pt x="0" y="436616"/>
                          <a:pt x="0" y="281273"/>
                        </a:cubicBezTo>
                        <a:cubicBezTo>
                          <a:pt x="0" y="125930"/>
                          <a:pt x="120472" y="0"/>
                          <a:pt x="269081" y="0"/>
                        </a:cubicBezTo>
                        <a:cubicBezTo>
                          <a:pt x="417691" y="0"/>
                          <a:pt x="538163" y="125930"/>
                          <a:pt x="538163" y="281273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0" name="Freihandform: Form 249">
                    <a:extLst>
                      <a:ext uri="{FF2B5EF4-FFF2-40B4-BE49-F238E27FC236}">
                        <a16:creationId xmlns:a16="http://schemas.microsoft.com/office/drawing/2014/main" id="{DE27DF41-8EA3-49EF-3EC4-8E976B7C22EE}"/>
                      </a:ext>
                    </a:extLst>
                  </p:cNvPr>
                  <p:cNvSpPr/>
                  <p:nvPr/>
                </p:nvSpPr>
                <p:spPr>
                  <a:xfrm>
                    <a:off x="9011639" y="823245"/>
                    <a:ext cx="530631" cy="404621"/>
                  </a:xfrm>
                  <a:custGeom>
                    <a:avLst/>
                    <a:gdLst>
                      <a:gd name="connsiteX0" fmla="*/ 267647 w 530631"/>
                      <a:gd name="connsiteY0" fmla="*/ 127540 h 404621"/>
                      <a:gd name="connsiteX1" fmla="*/ 491770 w 530631"/>
                      <a:gd name="connsiteY1" fmla="*/ 404622 h 404621"/>
                      <a:gd name="connsiteX2" fmla="*/ 530632 w 530631"/>
                      <a:gd name="connsiteY2" fmla="*/ 281273 h 404621"/>
                      <a:gd name="connsiteX3" fmla="*/ 266408 w 530631"/>
                      <a:gd name="connsiteY3" fmla="*/ 0 h 404621"/>
                      <a:gd name="connsiteX4" fmla="*/ 87814 w 530631"/>
                      <a:gd name="connsiteY4" fmla="*/ 74009 h 404621"/>
                      <a:gd name="connsiteX5" fmla="*/ 54382 w 530631"/>
                      <a:gd name="connsiteY5" fmla="*/ 389858 h 404621"/>
                      <a:gd name="connsiteX6" fmla="*/ 267647 w 530631"/>
                      <a:gd name="connsiteY6" fmla="*/ 127540 h 4046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30631" h="404621">
                        <a:moveTo>
                          <a:pt x="267647" y="127540"/>
                        </a:moveTo>
                        <a:cubicBezTo>
                          <a:pt x="459099" y="139637"/>
                          <a:pt x="435572" y="297085"/>
                          <a:pt x="491770" y="404622"/>
                        </a:cubicBezTo>
                        <a:cubicBezTo>
                          <a:pt x="502343" y="374142"/>
                          <a:pt x="530632" y="315659"/>
                          <a:pt x="530632" y="281273"/>
                        </a:cubicBezTo>
                        <a:cubicBezTo>
                          <a:pt x="530632" y="125920"/>
                          <a:pt x="412331" y="0"/>
                          <a:pt x="266408" y="0"/>
                        </a:cubicBezTo>
                        <a:cubicBezTo>
                          <a:pt x="197543" y="0"/>
                          <a:pt x="134773" y="28004"/>
                          <a:pt x="87814" y="74009"/>
                        </a:cubicBezTo>
                        <a:cubicBezTo>
                          <a:pt x="17520" y="108204"/>
                          <a:pt x="-51250" y="297085"/>
                          <a:pt x="54382" y="389858"/>
                        </a:cubicBezTo>
                        <a:cubicBezTo>
                          <a:pt x="94958" y="311753"/>
                          <a:pt x="95244" y="116681"/>
                          <a:pt x="267647" y="127540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1" name="Freihandform: Form 250">
                    <a:extLst>
                      <a:ext uri="{FF2B5EF4-FFF2-40B4-BE49-F238E27FC236}">
                        <a16:creationId xmlns:a16="http://schemas.microsoft.com/office/drawing/2014/main" id="{8C3A2D9E-39B9-A52E-9554-C30A05F2FC0B}"/>
                      </a:ext>
                    </a:extLst>
                  </p:cNvPr>
                  <p:cNvSpPr/>
                  <p:nvPr/>
                </p:nvSpPr>
                <p:spPr>
                  <a:xfrm>
                    <a:off x="9240995" y="1305210"/>
                    <a:ext cx="78793" cy="32099"/>
                  </a:xfrm>
                  <a:custGeom>
                    <a:avLst/>
                    <a:gdLst>
                      <a:gd name="connsiteX0" fmla="*/ 1143 w 78793"/>
                      <a:gd name="connsiteY0" fmla="*/ 0 h 32099"/>
                      <a:gd name="connsiteX1" fmla="*/ 35814 w 78793"/>
                      <a:gd name="connsiteY1" fmla="*/ 10573 h 32099"/>
                      <a:gd name="connsiteX2" fmla="*/ 77820 w 78793"/>
                      <a:gd name="connsiteY2" fmla="*/ 0 h 32099"/>
                      <a:gd name="connsiteX3" fmla="*/ 77820 w 78793"/>
                      <a:gd name="connsiteY3" fmla="*/ 9239 h 32099"/>
                      <a:gd name="connsiteX4" fmla="*/ 37148 w 78793"/>
                      <a:gd name="connsiteY4" fmla="*/ 32099 h 32099"/>
                      <a:gd name="connsiteX5" fmla="*/ 1143 w 78793"/>
                      <a:gd name="connsiteY5" fmla="*/ 10192 h 32099"/>
                      <a:gd name="connsiteX6" fmla="*/ 1143 w 78793"/>
                      <a:gd name="connsiteY6" fmla="*/ 95 h 320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793" h="32099">
                        <a:moveTo>
                          <a:pt x="1143" y="0"/>
                        </a:moveTo>
                        <a:cubicBezTo>
                          <a:pt x="1143" y="0"/>
                          <a:pt x="11049" y="10573"/>
                          <a:pt x="35814" y="10573"/>
                        </a:cubicBezTo>
                        <a:cubicBezTo>
                          <a:pt x="67152" y="10573"/>
                          <a:pt x="77820" y="0"/>
                          <a:pt x="77820" y="0"/>
                        </a:cubicBezTo>
                        <a:cubicBezTo>
                          <a:pt x="77820" y="0"/>
                          <a:pt x="80010" y="3143"/>
                          <a:pt x="77820" y="9239"/>
                        </a:cubicBezTo>
                        <a:cubicBezTo>
                          <a:pt x="76295" y="13525"/>
                          <a:pt x="62675" y="32099"/>
                          <a:pt x="37148" y="32099"/>
                        </a:cubicBezTo>
                        <a:cubicBezTo>
                          <a:pt x="17240" y="32099"/>
                          <a:pt x="3715" y="16383"/>
                          <a:pt x="1143" y="10192"/>
                        </a:cubicBezTo>
                        <a:cubicBezTo>
                          <a:pt x="-1429" y="4000"/>
                          <a:pt x="1143" y="95"/>
                          <a:pt x="1143" y="95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2" name="Freihandform: Form 251">
                    <a:extLst>
                      <a:ext uri="{FF2B5EF4-FFF2-40B4-BE49-F238E27FC236}">
                        <a16:creationId xmlns:a16="http://schemas.microsoft.com/office/drawing/2014/main" id="{74786843-13B7-DBD2-5766-BA3944031626}"/>
                      </a:ext>
                    </a:extLst>
                  </p:cNvPr>
                  <p:cNvSpPr/>
                  <p:nvPr/>
                </p:nvSpPr>
                <p:spPr>
                  <a:xfrm>
                    <a:off x="9312056" y="1120425"/>
                    <a:ext cx="140203" cy="47053"/>
                  </a:xfrm>
                  <a:custGeom>
                    <a:avLst/>
                    <a:gdLst>
                      <a:gd name="connsiteX0" fmla="*/ 109438 w 140203"/>
                      <a:gd name="connsiteY0" fmla="*/ 17716 h 47053"/>
                      <a:gd name="connsiteX1" fmla="*/ 55812 w 140203"/>
                      <a:gd name="connsiteY1" fmla="*/ 762 h 47053"/>
                      <a:gd name="connsiteX2" fmla="*/ 55812 w 140203"/>
                      <a:gd name="connsiteY2" fmla="*/ 762 h 47053"/>
                      <a:gd name="connsiteX3" fmla="*/ 7711 w 140203"/>
                      <a:gd name="connsiteY3" fmla="*/ 6191 h 47053"/>
                      <a:gd name="connsiteX4" fmla="*/ 4282 w 140203"/>
                      <a:gd name="connsiteY4" fmla="*/ 8858 h 47053"/>
                      <a:gd name="connsiteX5" fmla="*/ 13902 w 140203"/>
                      <a:gd name="connsiteY5" fmla="*/ 33242 h 47053"/>
                      <a:gd name="connsiteX6" fmla="*/ 41239 w 140203"/>
                      <a:gd name="connsiteY6" fmla="*/ 30766 h 47053"/>
                      <a:gd name="connsiteX7" fmla="*/ 105533 w 140203"/>
                      <a:gd name="connsiteY7" fmla="*/ 34480 h 47053"/>
                      <a:gd name="connsiteX8" fmla="*/ 140204 w 140203"/>
                      <a:gd name="connsiteY8" fmla="*/ 47053 h 47053"/>
                      <a:gd name="connsiteX9" fmla="*/ 109438 w 140203"/>
                      <a:gd name="connsiteY9" fmla="*/ 17716 h 470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40203" h="47053">
                        <a:moveTo>
                          <a:pt x="109438" y="17716"/>
                        </a:moveTo>
                        <a:cubicBezTo>
                          <a:pt x="90864" y="5905"/>
                          <a:pt x="70671" y="1429"/>
                          <a:pt x="55812" y="762"/>
                        </a:cubicBezTo>
                        <a:lnTo>
                          <a:pt x="55812" y="762"/>
                        </a:lnTo>
                        <a:cubicBezTo>
                          <a:pt x="30285" y="-1810"/>
                          <a:pt x="13236" y="2667"/>
                          <a:pt x="7711" y="6191"/>
                        </a:cubicBezTo>
                        <a:cubicBezTo>
                          <a:pt x="6377" y="7048"/>
                          <a:pt x="5234" y="7906"/>
                          <a:pt x="4282" y="8858"/>
                        </a:cubicBezTo>
                        <a:cubicBezTo>
                          <a:pt x="-4862" y="17526"/>
                          <a:pt x="1710" y="33623"/>
                          <a:pt x="13902" y="33242"/>
                        </a:cubicBezTo>
                        <a:cubicBezTo>
                          <a:pt x="19522" y="33147"/>
                          <a:pt x="33333" y="31528"/>
                          <a:pt x="41239" y="30766"/>
                        </a:cubicBezTo>
                        <a:cubicBezTo>
                          <a:pt x="55050" y="29337"/>
                          <a:pt x="94293" y="31432"/>
                          <a:pt x="105533" y="34480"/>
                        </a:cubicBezTo>
                        <a:cubicBezTo>
                          <a:pt x="127536" y="40481"/>
                          <a:pt x="140204" y="47053"/>
                          <a:pt x="140204" y="47053"/>
                        </a:cubicBezTo>
                        <a:cubicBezTo>
                          <a:pt x="140204" y="47053"/>
                          <a:pt x="134203" y="33528"/>
                          <a:pt x="109438" y="1771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3" name="Freihandform: Form 252">
                    <a:extLst>
                      <a:ext uri="{FF2B5EF4-FFF2-40B4-BE49-F238E27FC236}">
                        <a16:creationId xmlns:a16="http://schemas.microsoft.com/office/drawing/2014/main" id="{26CE7D3F-1586-89D9-445A-E09EABC1699A}"/>
                      </a:ext>
                    </a:extLst>
                  </p:cNvPr>
                  <p:cNvSpPr/>
                  <p:nvPr/>
                </p:nvSpPr>
                <p:spPr>
                  <a:xfrm rot="-5166000">
                    <a:off x="9156216" y="1194137"/>
                    <a:ext cx="40385" cy="37909"/>
                  </a:xfrm>
                  <a:custGeom>
                    <a:avLst/>
                    <a:gdLst>
                      <a:gd name="connsiteX0" fmla="*/ 40386 w 40385"/>
                      <a:gd name="connsiteY0" fmla="*/ 18955 h 37909"/>
                      <a:gd name="connsiteX1" fmla="*/ 20193 w 40385"/>
                      <a:gd name="connsiteY1" fmla="*/ 37910 h 37909"/>
                      <a:gd name="connsiteX2" fmla="*/ 0 w 40385"/>
                      <a:gd name="connsiteY2" fmla="*/ 18955 h 37909"/>
                      <a:gd name="connsiteX3" fmla="*/ 20193 w 40385"/>
                      <a:gd name="connsiteY3" fmla="*/ 0 h 37909"/>
                      <a:gd name="connsiteX4" fmla="*/ 40386 w 40385"/>
                      <a:gd name="connsiteY4" fmla="*/ 18955 h 379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385" h="37909">
                        <a:moveTo>
                          <a:pt x="40386" y="18955"/>
                        </a:moveTo>
                        <a:cubicBezTo>
                          <a:pt x="40386" y="29423"/>
                          <a:pt x="31345" y="37910"/>
                          <a:pt x="20193" y="37910"/>
                        </a:cubicBezTo>
                        <a:cubicBezTo>
                          <a:pt x="9041" y="37910"/>
                          <a:pt x="0" y="29423"/>
                          <a:pt x="0" y="18955"/>
                        </a:cubicBezTo>
                        <a:cubicBezTo>
                          <a:pt x="0" y="8486"/>
                          <a:pt x="9041" y="0"/>
                          <a:pt x="20193" y="0"/>
                        </a:cubicBezTo>
                        <a:cubicBezTo>
                          <a:pt x="31345" y="0"/>
                          <a:pt x="40386" y="8486"/>
                          <a:pt x="40386" y="18955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4" name="Freihandform: Form 253">
                    <a:extLst>
                      <a:ext uri="{FF2B5EF4-FFF2-40B4-BE49-F238E27FC236}">
                        <a16:creationId xmlns:a16="http://schemas.microsoft.com/office/drawing/2014/main" id="{0ABA1064-C75C-65C6-836E-699AF9004ECB}"/>
                      </a:ext>
                    </a:extLst>
                  </p:cNvPr>
                  <p:cNvSpPr/>
                  <p:nvPr/>
                </p:nvSpPr>
                <p:spPr>
                  <a:xfrm>
                    <a:off x="9106502" y="1122045"/>
                    <a:ext cx="140013" cy="47053"/>
                  </a:xfrm>
                  <a:custGeom>
                    <a:avLst/>
                    <a:gdLst>
                      <a:gd name="connsiteX0" fmla="*/ 30766 w 140013"/>
                      <a:gd name="connsiteY0" fmla="*/ 17716 h 47053"/>
                      <a:gd name="connsiteX1" fmla="*/ 84297 w 140013"/>
                      <a:gd name="connsiteY1" fmla="*/ 762 h 47053"/>
                      <a:gd name="connsiteX2" fmla="*/ 84297 w 140013"/>
                      <a:gd name="connsiteY2" fmla="*/ 762 h 47053"/>
                      <a:gd name="connsiteX3" fmla="*/ 132302 w 140013"/>
                      <a:gd name="connsiteY3" fmla="*/ 6191 h 47053"/>
                      <a:gd name="connsiteX4" fmla="*/ 135731 w 140013"/>
                      <a:gd name="connsiteY4" fmla="*/ 8858 h 47053"/>
                      <a:gd name="connsiteX5" fmla="*/ 126111 w 140013"/>
                      <a:gd name="connsiteY5" fmla="*/ 33242 h 47053"/>
                      <a:gd name="connsiteX6" fmla="*/ 98774 w 140013"/>
                      <a:gd name="connsiteY6" fmla="*/ 30766 h 47053"/>
                      <a:gd name="connsiteX7" fmla="*/ 34576 w 140013"/>
                      <a:gd name="connsiteY7" fmla="*/ 34480 h 47053"/>
                      <a:gd name="connsiteX8" fmla="*/ 0 w 140013"/>
                      <a:gd name="connsiteY8" fmla="*/ 47053 h 47053"/>
                      <a:gd name="connsiteX9" fmla="*/ 30766 w 140013"/>
                      <a:gd name="connsiteY9" fmla="*/ 17716 h 470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40013" h="47053">
                        <a:moveTo>
                          <a:pt x="30766" y="17716"/>
                        </a:moveTo>
                        <a:cubicBezTo>
                          <a:pt x="49339" y="5905"/>
                          <a:pt x="69438" y="1429"/>
                          <a:pt x="84297" y="762"/>
                        </a:cubicBezTo>
                        <a:lnTo>
                          <a:pt x="84297" y="762"/>
                        </a:lnTo>
                        <a:cubicBezTo>
                          <a:pt x="109824" y="-1810"/>
                          <a:pt x="126778" y="2667"/>
                          <a:pt x="132302" y="6191"/>
                        </a:cubicBezTo>
                        <a:cubicBezTo>
                          <a:pt x="133636" y="7048"/>
                          <a:pt x="134684" y="7906"/>
                          <a:pt x="135731" y="8858"/>
                        </a:cubicBezTo>
                        <a:cubicBezTo>
                          <a:pt x="144875" y="17526"/>
                          <a:pt x="138303" y="33623"/>
                          <a:pt x="126111" y="33242"/>
                        </a:cubicBezTo>
                        <a:cubicBezTo>
                          <a:pt x="120491" y="33147"/>
                          <a:pt x="106680" y="31528"/>
                          <a:pt x="98774" y="30766"/>
                        </a:cubicBezTo>
                        <a:cubicBezTo>
                          <a:pt x="84963" y="29337"/>
                          <a:pt x="45815" y="31432"/>
                          <a:pt x="34576" y="34480"/>
                        </a:cubicBezTo>
                        <a:cubicBezTo>
                          <a:pt x="12573" y="40481"/>
                          <a:pt x="0" y="47053"/>
                          <a:pt x="0" y="47053"/>
                        </a:cubicBezTo>
                        <a:cubicBezTo>
                          <a:pt x="0" y="47053"/>
                          <a:pt x="6001" y="33528"/>
                          <a:pt x="30766" y="1771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5" name="Freihandform: Form 254">
                    <a:extLst>
                      <a:ext uri="{FF2B5EF4-FFF2-40B4-BE49-F238E27FC236}">
                        <a16:creationId xmlns:a16="http://schemas.microsoft.com/office/drawing/2014/main" id="{2E1505E7-E1FF-ED02-7DAC-6284D5299875}"/>
                      </a:ext>
                    </a:extLst>
                  </p:cNvPr>
                  <p:cNvSpPr/>
                  <p:nvPr/>
                </p:nvSpPr>
                <p:spPr>
                  <a:xfrm>
                    <a:off x="9123564" y="1183592"/>
                    <a:ext cx="103635" cy="27457"/>
                  </a:xfrm>
                  <a:custGeom>
                    <a:avLst/>
                    <a:gdLst>
                      <a:gd name="connsiteX0" fmla="*/ 3227 w 103635"/>
                      <a:gd name="connsiteY0" fmla="*/ 17795 h 27457"/>
                      <a:gd name="connsiteX1" fmla="*/ 46185 w 103635"/>
                      <a:gd name="connsiteY1" fmla="*/ 174 h 27457"/>
                      <a:gd name="connsiteX2" fmla="*/ 101239 w 103635"/>
                      <a:gd name="connsiteY2" fmla="*/ 17509 h 27457"/>
                      <a:gd name="connsiteX3" fmla="*/ 97905 w 103635"/>
                      <a:gd name="connsiteY3" fmla="*/ 26939 h 27457"/>
                      <a:gd name="connsiteX4" fmla="*/ 54281 w 103635"/>
                      <a:gd name="connsiteY4" fmla="*/ 11699 h 27457"/>
                      <a:gd name="connsiteX5" fmla="*/ 10847 w 103635"/>
                      <a:gd name="connsiteY5" fmla="*/ 21415 h 27457"/>
                      <a:gd name="connsiteX6" fmla="*/ 1322 w 103635"/>
                      <a:gd name="connsiteY6" fmla="*/ 25606 h 27457"/>
                      <a:gd name="connsiteX7" fmla="*/ 3417 w 103635"/>
                      <a:gd name="connsiteY7" fmla="*/ 17795 h 274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03635" h="27457">
                        <a:moveTo>
                          <a:pt x="3227" y="17795"/>
                        </a:moveTo>
                        <a:cubicBezTo>
                          <a:pt x="7989" y="12938"/>
                          <a:pt x="23896" y="1412"/>
                          <a:pt x="46185" y="174"/>
                        </a:cubicBezTo>
                        <a:cubicBezTo>
                          <a:pt x="76569" y="-1541"/>
                          <a:pt x="94000" y="9794"/>
                          <a:pt x="101239" y="17509"/>
                        </a:cubicBezTo>
                        <a:cubicBezTo>
                          <a:pt x="106478" y="23034"/>
                          <a:pt x="102096" y="29321"/>
                          <a:pt x="97905" y="26939"/>
                        </a:cubicBezTo>
                        <a:cubicBezTo>
                          <a:pt x="86952" y="20748"/>
                          <a:pt x="81046" y="14843"/>
                          <a:pt x="54281" y="11699"/>
                        </a:cubicBezTo>
                        <a:cubicBezTo>
                          <a:pt x="35517" y="9413"/>
                          <a:pt x="17705" y="17605"/>
                          <a:pt x="10847" y="21415"/>
                        </a:cubicBezTo>
                        <a:cubicBezTo>
                          <a:pt x="5608" y="24368"/>
                          <a:pt x="2941" y="26844"/>
                          <a:pt x="1322" y="25606"/>
                        </a:cubicBezTo>
                        <a:cubicBezTo>
                          <a:pt x="-1631" y="23415"/>
                          <a:pt x="941" y="20272"/>
                          <a:pt x="3417" y="17795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6" name="Freihandform: Form 255">
                    <a:extLst>
                      <a:ext uri="{FF2B5EF4-FFF2-40B4-BE49-F238E27FC236}">
                        <a16:creationId xmlns:a16="http://schemas.microsoft.com/office/drawing/2014/main" id="{07428370-27AD-2FCA-CD19-4A9185F00233}"/>
                      </a:ext>
                    </a:extLst>
                  </p:cNvPr>
                  <p:cNvSpPr/>
                  <p:nvPr/>
                </p:nvSpPr>
                <p:spPr>
                  <a:xfrm rot="-234000">
                    <a:off x="9358240" y="1193075"/>
                    <a:ext cx="37909" cy="40385"/>
                  </a:xfrm>
                  <a:custGeom>
                    <a:avLst/>
                    <a:gdLst>
                      <a:gd name="connsiteX0" fmla="*/ 37910 w 37909"/>
                      <a:gd name="connsiteY0" fmla="*/ 20193 h 40385"/>
                      <a:gd name="connsiteX1" fmla="*/ 18955 w 37909"/>
                      <a:gd name="connsiteY1" fmla="*/ 40386 h 40385"/>
                      <a:gd name="connsiteX2" fmla="*/ 0 w 37909"/>
                      <a:gd name="connsiteY2" fmla="*/ 20193 h 40385"/>
                      <a:gd name="connsiteX3" fmla="*/ 18955 w 37909"/>
                      <a:gd name="connsiteY3" fmla="*/ 0 h 40385"/>
                      <a:gd name="connsiteX4" fmla="*/ 37910 w 37909"/>
                      <a:gd name="connsiteY4" fmla="*/ 20193 h 403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7909" h="40385">
                        <a:moveTo>
                          <a:pt x="37910" y="20193"/>
                        </a:moveTo>
                        <a:cubicBezTo>
                          <a:pt x="37910" y="31345"/>
                          <a:pt x="29424" y="40386"/>
                          <a:pt x="18955" y="40386"/>
                        </a:cubicBezTo>
                        <a:cubicBezTo>
                          <a:pt x="8486" y="40386"/>
                          <a:pt x="0" y="31345"/>
                          <a:pt x="0" y="20193"/>
                        </a:cubicBezTo>
                        <a:cubicBezTo>
                          <a:pt x="0" y="9041"/>
                          <a:pt x="8486" y="0"/>
                          <a:pt x="18955" y="0"/>
                        </a:cubicBezTo>
                        <a:cubicBezTo>
                          <a:pt x="29424" y="0"/>
                          <a:pt x="37910" y="9041"/>
                          <a:pt x="37910" y="20193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7" name="Freihandform: Form 256">
                    <a:extLst>
                      <a:ext uri="{FF2B5EF4-FFF2-40B4-BE49-F238E27FC236}">
                        <a16:creationId xmlns:a16="http://schemas.microsoft.com/office/drawing/2014/main" id="{7F00906F-747B-2B90-4236-7FA2D6C18FCE}"/>
                      </a:ext>
                    </a:extLst>
                  </p:cNvPr>
                  <p:cNvSpPr/>
                  <p:nvPr/>
                </p:nvSpPr>
                <p:spPr>
                  <a:xfrm>
                    <a:off x="9326515" y="1183592"/>
                    <a:ext cx="103634" cy="27457"/>
                  </a:xfrm>
                  <a:custGeom>
                    <a:avLst/>
                    <a:gdLst>
                      <a:gd name="connsiteX0" fmla="*/ 100408 w 103634"/>
                      <a:gd name="connsiteY0" fmla="*/ 17795 h 27457"/>
                      <a:gd name="connsiteX1" fmla="*/ 57450 w 103634"/>
                      <a:gd name="connsiteY1" fmla="*/ 174 h 27457"/>
                      <a:gd name="connsiteX2" fmla="*/ 2396 w 103634"/>
                      <a:gd name="connsiteY2" fmla="*/ 17509 h 27457"/>
                      <a:gd name="connsiteX3" fmla="*/ 5730 w 103634"/>
                      <a:gd name="connsiteY3" fmla="*/ 26939 h 27457"/>
                      <a:gd name="connsiteX4" fmla="*/ 49354 w 103634"/>
                      <a:gd name="connsiteY4" fmla="*/ 11699 h 27457"/>
                      <a:gd name="connsiteX5" fmla="*/ 92788 w 103634"/>
                      <a:gd name="connsiteY5" fmla="*/ 21415 h 27457"/>
                      <a:gd name="connsiteX6" fmla="*/ 102313 w 103634"/>
                      <a:gd name="connsiteY6" fmla="*/ 25606 h 27457"/>
                      <a:gd name="connsiteX7" fmla="*/ 100218 w 103634"/>
                      <a:gd name="connsiteY7" fmla="*/ 17795 h 274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03634" h="27457">
                        <a:moveTo>
                          <a:pt x="100408" y="17795"/>
                        </a:moveTo>
                        <a:cubicBezTo>
                          <a:pt x="95646" y="12938"/>
                          <a:pt x="79739" y="1412"/>
                          <a:pt x="57450" y="174"/>
                        </a:cubicBezTo>
                        <a:cubicBezTo>
                          <a:pt x="27066" y="-1541"/>
                          <a:pt x="9635" y="9794"/>
                          <a:pt x="2396" y="17509"/>
                        </a:cubicBezTo>
                        <a:cubicBezTo>
                          <a:pt x="-2842" y="23034"/>
                          <a:pt x="1539" y="29321"/>
                          <a:pt x="5730" y="26939"/>
                        </a:cubicBezTo>
                        <a:cubicBezTo>
                          <a:pt x="16684" y="20748"/>
                          <a:pt x="22589" y="14843"/>
                          <a:pt x="49354" y="11699"/>
                        </a:cubicBezTo>
                        <a:cubicBezTo>
                          <a:pt x="68118" y="9413"/>
                          <a:pt x="85930" y="17605"/>
                          <a:pt x="92788" y="21415"/>
                        </a:cubicBezTo>
                        <a:cubicBezTo>
                          <a:pt x="98027" y="24368"/>
                          <a:pt x="100694" y="26844"/>
                          <a:pt x="102313" y="25606"/>
                        </a:cubicBezTo>
                        <a:cubicBezTo>
                          <a:pt x="105266" y="23415"/>
                          <a:pt x="102694" y="20272"/>
                          <a:pt x="100218" y="17795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8" name="Freihandform: Form 257">
                    <a:extLst>
                      <a:ext uri="{FF2B5EF4-FFF2-40B4-BE49-F238E27FC236}">
                        <a16:creationId xmlns:a16="http://schemas.microsoft.com/office/drawing/2014/main" id="{4A6AD6FA-4446-B65E-4D84-A3659C9BE90C}"/>
                      </a:ext>
                    </a:extLst>
                  </p:cNvPr>
                  <p:cNvSpPr/>
                  <p:nvPr/>
                </p:nvSpPr>
                <p:spPr>
                  <a:xfrm>
                    <a:off x="9123366" y="781823"/>
                    <a:ext cx="508630" cy="429280"/>
                  </a:xfrm>
                  <a:custGeom>
                    <a:avLst/>
                    <a:gdLst>
                      <a:gd name="connsiteX0" fmla="*/ 91 w 508630"/>
                      <a:gd name="connsiteY0" fmla="*/ 94667 h 429280"/>
                      <a:gd name="connsiteX1" fmla="*/ 318131 w 508630"/>
                      <a:gd name="connsiteY1" fmla="*/ 352223 h 429280"/>
                      <a:gd name="connsiteX2" fmla="*/ 508631 w 508630"/>
                      <a:gd name="connsiteY2" fmla="*/ 429281 h 429280"/>
                      <a:gd name="connsiteX3" fmla="*/ 449956 w 508630"/>
                      <a:gd name="connsiteY3" fmla="*/ 231446 h 429280"/>
                      <a:gd name="connsiteX4" fmla="*/ 91 w 508630"/>
                      <a:gd name="connsiteY4" fmla="*/ 94667 h 4292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8630" h="429280">
                        <a:moveTo>
                          <a:pt x="91" y="94667"/>
                        </a:moveTo>
                        <a:cubicBezTo>
                          <a:pt x="-4576" y="204586"/>
                          <a:pt x="171731" y="297931"/>
                          <a:pt x="318131" y="352223"/>
                        </a:cubicBezTo>
                        <a:cubicBezTo>
                          <a:pt x="464530" y="406516"/>
                          <a:pt x="508631" y="429281"/>
                          <a:pt x="508631" y="429281"/>
                        </a:cubicBezTo>
                        <a:cubicBezTo>
                          <a:pt x="508631" y="429281"/>
                          <a:pt x="454338" y="371464"/>
                          <a:pt x="449956" y="231446"/>
                        </a:cubicBezTo>
                        <a:cubicBezTo>
                          <a:pt x="445003" y="73236"/>
                          <a:pt x="191067" y="-118597"/>
                          <a:pt x="91" y="94667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259" name="Grafik 23">
                    <a:extLst>
                      <a:ext uri="{FF2B5EF4-FFF2-40B4-BE49-F238E27FC236}">
                        <a16:creationId xmlns:a16="http://schemas.microsoft.com/office/drawing/2014/main" id="{94B8A1DB-75A0-5973-084D-465050F02D29}"/>
                      </a:ext>
                    </a:extLst>
                  </p:cNvPr>
                  <p:cNvGrpSpPr/>
                  <p:nvPr/>
                </p:nvGrpSpPr>
                <p:grpSpPr>
                  <a:xfrm>
                    <a:off x="8395080" y="3305841"/>
                    <a:ext cx="234464" cy="670178"/>
                    <a:chOff x="8395080" y="3305841"/>
                    <a:chExt cx="234464" cy="670178"/>
                  </a:xfrm>
                  <a:solidFill>
                    <a:srgbClr val="8A5942"/>
                  </a:solidFill>
                </p:grpSpPr>
                <p:sp>
                  <p:nvSpPr>
                    <p:cNvPr id="272" name="Freihandform: Form 271">
                      <a:extLst>
                        <a:ext uri="{FF2B5EF4-FFF2-40B4-BE49-F238E27FC236}">
                          <a16:creationId xmlns:a16="http://schemas.microsoft.com/office/drawing/2014/main" id="{9E4028E3-F216-3F54-4A17-9C90FE0311E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33275" y="3305841"/>
                      <a:ext cx="191738" cy="211264"/>
                    </a:xfrm>
                    <a:custGeom>
                      <a:avLst/>
                      <a:gdLst>
                        <a:gd name="connsiteX0" fmla="*/ 95 w 191738"/>
                        <a:gd name="connsiteY0" fmla="*/ 0 h 211264"/>
                        <a:gd name="connsiteX1" fmla="*/ 21431 w 191738"/>
                        <a:gd name="connsiteY1" fmla="*/ 211264 h 211264"/>
                        <a:gd name="connsiteX2" fmla="*/ 156782 w 191738"/>
                        <a:gd name="connsiteY2" fmla="*/ 200406 h 211264"/>
                        <a:gd name="connsiteX3" fmla="*/ 191738 w 191738"/>
                        <a:gd name="connsiteY3" fmla="*/ 10763 h 211264"/>
                        <a:gd name="connsiteX4" fmla="*/ 0 w 191738"/>
                        <a:gd name="connsiteY4" fmla="*/ 0 h 2112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91738" h="211264">
                          <a:moveTo>
                            <a:pt x="95" y="0"/>
                          </a:moveTo>
                          <a:cubicBezTo>
                            <a:pt x="5239" y="79629"/>
                            <a:pt x="13525" y="148495"/>
                            <a:pt x="21431" y="211264"/>
                          </a:cubicBezTo>
                          <a:lnTo>
                            <a:pt x="156782" y="200406"/>
                          </a:lnTo>
                          <a:cubicBezTo>
                            <a:pt x="156782" y="200406"/>
                            <a:pt x="172212" y="119158"/>
                            <a:pt x="191738" y="10763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273" name="Grafik 23">
                      <a:extLst>
                        <a:ext uri="{FF2B5EF4-FFF2-40B4-BE49-F238E27FC236}">
                          <a16:creationId xmlns:a16="http://schemas.microsoft.com/office/drawing/2014/main" id="{006008AC-5E1D-288A-0582-BE0907DAD82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395080" y="3436239"/>
                      <a:ext cx="234464" cy="539781"/>
                      <a:chOff x="8395080" y="3436239"/>
                      <a:chExt cx="234464" cy="539781"/>
                    </a:xfrm>
                    <a:solidFill>
                      <a:srgbClr val="8A5942"/>
                    </a:solidFill>
                  </p:grpSpPr>
                  <p:sp>
                    <p:nvSpPr>
                      <p:cNvPr id="274" name="Freihandform: Form 273">
                        <a:extLst>
                          <a:ext uri="{FF2B5EF4-FFF2-40B4-BE49-F238E27FC236}">
                            <a16:creationId xmlns:a16="http://schemas.microsoft.com/office/drawing/2014/main" id="{0BE91111-8F44-3114-21D8-58D5EDD133C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66681" y="3802691"/>
                        <a:ext cx="54546" cy="83127"/>
                      </a:xfrm>
                      <a:custGeom>
                        <a:avLst/>
                        <a:gdLst>
                          <a:gd name="connsiteX0" fmla="*/ 47557 w 54546"/>
                          <a:gd name="connsiteY0" fmla="*/ 83128 h 83127"/>
                          <a:gd name="connsiteX1" fmla="*/ 13648 w 54546"/>
                          <a:gd name="connsiteY1" fmla="*/ 55791 h 83127"/>
                          <a:gd name="connsiteX2" fmla="*/ 2885 w 54546"/>
                          <a:gd name="connsiteY2" fmla="*/ 9595 h 83127"/>
                          <a:gd name="connsiteX3" fmla="*/ 7838 w 54546"/>
                          <a:gd name="connsiteY3" fmla="*/ 70 h 83127"/>
                          <a:gd name="connsiteX4" fmla="*/ 43747 w 54546"/>
                          <a:gd name="connsiteY4" fmla="*/ 39694 h 83127"/>
                          <a:gd name="connsiteX5" fmla="*/ 47557 w 54546"/>
                          <a:gd name="connsiteY5" fmla="*/ 83128 h 83127"/>
                          <a:gd name="connsiteX6" fmla="*/ 47557 w 54546"/>
                          <a:gd name="connsiteY6" fmla="*/ 83128 h 831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4546" h="83127">
                            <a:moveTo>
                              <a:pt x="47557" y="83128"/>
                            </a:moveTo>
                            <a:lnTo>
                              <a:pt x="13648" y="55791"/>
                            </a:lnTo>
                            <a:cubicBezTo>
                              <a:pt x="979" y="45218"/>
                              <a:pt x="-3497" y="28264"/>
                              <a:pt x="2885" y="9595"/>
                            </a:cubicBezTo>
                            <a:cubicBezTo>
                              <a:pt x="4980" y="3594"/>
                              <a:pt x="6790" y="-597"/>
                              <a:pt x="7838" y="70"/>
                            </a:cubicBezTo>
                            <a:cubicBezTo>
                              <a:pt x="9743" y="1499"/>
                              <a:pt x="25173" y="18262"/>
                              <a:pt x="43747" y="39694"/>
                            </a:cubicBezTo>
                            <a:cubicBezTo>
                              <a:pt x="55463" y="53219"/>
                              <a:pt x="58987" y="64744"/>
                              <a:pt x="47557" y="83128"/>
                            </a:cubicBezTo>
                            <a:lnTo>
                              <a:pt x="47557" y="83128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275" name="Freihandform: Form 274">
                        <a:extLst>
                          <a:ext uri="{FF2B5EF4-FFF2-40B4-BE49-F238E27FC236}">
                            <a16:creationId xmlns:a16="http://schemas.microsoft.com/office/drawing/2014/main" id="{0C34865B-B480-F390-6D83-3457AB20677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19369" y="3769457"/>
                        <a:ext cx="73352" cy="89024"/>
                      </a:xfrm>
                      <a:custGeom>
                        <a:avLst/>
                        <a:gdLst>
                          <a:gd name="connsiteX0" fmla="*/ 60960 w 73352"/>
                          <a:gd name="connsiteY0" fmla="*/ 89025 h 89024"/>
                          <a:gd name="connsiteX1" fmla="*/ 9525 w 73352"/>
                          <a:gd name="connsiteY1" fmla="*/ 44448 h 89024"/>
                          <a:gd name="connsiteX2" fmla="*/ 0 w 73352"/>
                          <a:gd name="connsiteY2" fmla="*/ 31494 h 89024"/>
                          <a:gd name="connsiteX3" fmla="*/ 40291 w 73352"/>
                          <a:gd name="connsiteY3" fmla="*/ 537 h 89024"/>
                          <a:gd name="connsiteX4" fmla="*/ 66675 w 73352"/>
                          <a:gd name="connsiteY4" fmla="*/ 44829 h 89024"/>
                          <a:gd name="connsiteX5" fmla="*/ 60864 w 73352"/>
                          <a:gd name="connsiteY5" fmla="*/ 89025 h 89024"/>
                          <a:gd name="connsiteX6" fmla="*/ 60864 w 73352"/>
                          <a:gd name="connsiteY6" fmla="*/ 89025 h 8902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3352" h="89024">
                            <a:moveTo>
                              <a:pt x="60960" y="89025"/>
                            </a:moveTo>
                            <a:lnTo>
                              <a:pt x="9525" y="44448"/>
                            </a:lnTo>
                            <a:cubicBezTo>
                              <a:pt x="3334" y="38637"/>
                              <a:pt x="1524" y="34446"/>
                              <a:pt x="0" y="31494"/>
                            </a:cubicBezTo>
                            <a:cubicBezTo>
                              <a:pt x="1048" y="12063"/>
                              <a:pt x="25432" y="-3082"/>
                              <a:pt x="40291" y="537"/>
                            </a:cubicBezTo>
                            <a:lnTo>
                              <a:pt x="66675" y="44829"/>
                            </a:lnTo>
                            <a:cubicBezTo>
                              <a:pt x="78105" y="57307"/>
                              <a:pt x="74009" y="72261"/>
                              <a:pt x="60864" y="89025"/>
                            </a:cubicBezTo>
                            <a:lnTo>
                              <a:pt x="60864" y="89025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276" name="Freihandform: Form 275">
                        <a:extLst>
                          <a:ext uri="{FF2B5EF4-FFF2-40B4-BE49-F238E27FC236}">
                            <a16:creationId xmlns:a16="http://schemas.microsoft.com/office/drawing/2014/main" id="{4892DC37-6C2C-8CB7-2099-780AAFAA9F9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55898" y="3838165"/>
                        <a:ext cx="63906" cy="105660"/>
                      </a:xfrm>
                      <a:custGeom>
                        <a:avLst/>
                        <a:gdLst>
                          <a:gd name="connsiteX0" fmla="*/ 55673 w 63906"/>
                          <a:gd name="connsiteY0" fmla="*/ 105660 h 105660"/>
                          <a:gd name="connsiteX1" fmla="*/ 15954 w 63906"/>
                          <a:gd name="connsiteY1" fmla="*/ 67179 h 105660"/>
                          <a:gd name="connsiteX2" fmla="*/ 3476 w 63906"/>
                          <a:gd name="connsiteY2" fmla="*/ 10506 h 105660"/>
                          <a:gd name="connsiteX3" fmla="*/ 9287 w 63906"/>
                          <a:gd name="connsiteY3" fmla="*/ 123 h 105660"/>
                          <a:gd name="connsiteX4" fmla="*/ 51292 w 63906"/>
                          <a:gd name="connsiteY4" fmla="*/ 53559 h 105660"/>
                          <a:gd name="connsiteX5" fmla="*/ 55673 w 63906"/>
                          <a:gd name="connsiteY5" fmla="*/ 105565 h 105660"/>
                          <a:gd name="connsiteX6" fmla="*/ 55673 w 63906"/>
                          <a:gd name="connsiteY6" fmla="*/ 105565 h 1056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3906" h="105660">
                            <a:moveTo>
                              <a:pt x="55673" y="105660"/>
                            </a:moveTo>
                            <a:lnTo>
                              <a:pt x="15954" y="67179"/>
                            </a:lnTo>
                            <a:cubicBezTo>
                              <a:pt x="1095" y="52321"/>
                              <a:pt x="-4144" y="31556"/>
                              <a:pt x="3476" y="10506"/>
                            </a:cubicBezTo>
                            <a:cubicBezTo>
                              <a:pt x="5953" y="3838"/>
                              <a:pt x="8144" y="-829"/>
                              <a:pt x="9287" y="123"/>
                            </a:cubicBezTo>
                            <a:cubicBezTo>
                              <a:pt x="11573" y="2124"/>
                              <a:pt x="29575" y="24793"/>
                              <a:pt x="51292" y="53559"/>
                            </a:cubicBezTo>
                            <a:cubicBezTo>
                              <a:pt x="65008" y="71656"/>
                              <a:pt x="69103" y="85944"/>
                              <a:pt x="55673" y="105565"/>
                            </a:cubicBezTo>
                            <a:lnTo>
                              <a:pt x="55673" y="105565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277" name="Freihandform: Form 276">
                        <a:extLst>
                          <a:ext uri="{FF2B5EF4-FFF2-40B4-BE49-F238E27FC236}">
                            <a16:creationId xmlns:a16="http://schemas.microsoft.com/office/drawing/2014/main" id="{F630061D-1FCF-D969-5077-A1E1012077E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00115" y="3774757"/>
                        <a:ext cx="87440" cy="131349"/>
                      </a:xfrm>
                      <a:custGeom>
                        <a:avLst/>
                        <a:gdLst>
                          <a:gd name="connsiteX0" fmla="*/ 72689 w 87440"/>
                          <a:gd name="connsiteY0" fmla="*/ 131350 h 131349"/>
                          <a:gd name="connsiteX1" fmla="*/ 12205 w 87440"/>
                          <a:gd name="connsiteY1" fmla="*/ 71628 h 131349"/>
                          <a:gd name="connsiteX2" fmla="*/ 17349 w 87440"/>
                          <a:gd name="connsiteY2" fmla="*/ 4001 h 131349"/>
                          <a:gd name="connsiteX3" fmla="*/ 26112 w 87440"/>
                          <a:gd name="connsiteY3" fmla="*/ 0 h 131349"/>
                          <a:gd name="connsiteX4" fmla="*/ 79642 w 87440"/>
                          <a:gd name="connsiteY4" fmla="*/ 80010 h 131349"/>
                          <a:gd name="connsiteX5" fmla="*/ 72689 w 87440"/>
                          <a:gd name="connsiteY5" fmla="*/ 131254 h 131349"/>
                          <a:gd name="connsiteX6" fmla="*/ 72689 w 87440"/>
                          <a:gd name="connsiteY6" fmla="*/ 131254 h 13134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87440" h="131349">
                            <a:moveTo>
                              <a:pt x="72689" y="131350"/>
                            </a:moveTo>
                            <a:lnTo>
                              <a:pt x="12205" y="71628"/>
                            </a:lnTo>
                            <a:cubicBezTo>
                              <a:pt x="-5892" y="53340"/>
                              <a:pt x="-3606" y="22479"/>
                              <a:pt x="17349" y="4001"/>
                            </a:cubicBezTo>
                            <a:lnTo>
                              <a:pt x="26112" y="0"/>
                            </a:lnTo>
                            <a:lnTo>
                              <a:pt x="79642" y="80010"/>
                            </a:lnTo>
                            <a:cubicBezTo>
                              <a:pt x="93073" y="96869"/>
                              <a:pt x="88120" y="113729"/>
                              <a:pt x="72689" y="131254"/>
                            </a:cubicBezTo>
                            <a:lnTo>
                              <a:pt x="72689" y="131254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278" name="Freihandform: Form 277">
                        <a:extLst>
                          <a:ext uri="{FF2B5EF4-FFF2-40B4-BE49-F238E27FC236}">
                            <a16:creationId xmlns:a16="http://schemas.microsoft.com/office/drawing/2014/main" id="{341D3A79-8C76-50F4-D1B8-F35B2F82038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395080" y="3720421"/>
                        <a:ext cx="62960" cy="111771"/>
                      </a:xfrm>
                      <a:custGeom>
                        <a:avLst/>
                        <a:gdLst>
                          <a:gd name="connsiteX0" fmla="*/ 0 w 62960"/>
                          <a:gd name="connsiteY0" fmla="*/ 9378 h 111771"/>
                          <a:gd name="connsiteX1" fmla="*/ 4191 w 62960"/>
                          <a:gd name="connsiteY1" fmla="*/ 100628 h 111771"/>
                          <a:gd name="connsiteX2" fmla="*/ 8287 w 62960"/>
                          <a:gd name="connsiteY2" fmla="*/ 111772 h 111771"/>
                          <a:gd name="connsiteX3" fmla="*/ 57150 w 62960"/>
                          <a:gd name="connsiteY3" fmla="*/ 67100 h 111771"/>
                          <a:gd name="connsiteX4" fmla="*/ 62961 w 62960"/>
                          <a:gd name="connsiteY4" fmla="*/ 18236 h 111771"/>
                          <a:gd name="connsiteX5" fmla="*/ 0 w 62960"/>
                          <a:gd name="connsiteY5" fmla="*/ 9378 h 11177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62960" h="111771">
                            <a:moveTo>
                              <a:pt x="0" y="9378"/>
                            </a:moveTo>
                            <a:cubicBezTo>
                              <a:pt x="477" y="28142"/>
                              <a:pt x="4191" y="100628"/>
                              <a:pt x="4191" y="100628"/>
                            </a:cubicBezTo>
                            <a:lnTo>
                              <a:pt x="8287" y="111772"/>
                            </a:lnTo>
                            <a:cubicBezTo>
                              <a:pt x="34957" y="111296"/>
                              <a:pt x="54674" y="91484"/>
                              <a:pt x="57150" y="67100"/>
                            </a:cubicBezTo>
                            <a:lnTo>
                              <a:pt x="62961" y="18236"/>
                            </a:lnTo>
                            <a:cubicBezTo>
                              <a:pt x="55436" y="1568"/>
                              <a:pt x="8192" y="-8338"/>
                              <a:pt x="0" y="9378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grpSp>
                    <p:nvGrpSpPr>
                      <p:cNvPr id="279" name="Grafik 23">
                        <a:extLst>
                          <a:ext uri="{FF2B5EF4-FFF2-40B4-BE49-F238E27FC236}">
                            <a16:creationId xmlns:a16="http://schemas.microsoft.com/office/drawing/2014/main" id="{93CFAB64-3BA7-F4A7-8566-3F6C8ED05C2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8415082" y="3708417"/>
                        <a:ext cx="91882" cy="267603"/>
                        <a:chOff x="8415082" y="3708417"/>
                        <a:chExt cx="91882" cy="267603"/>
                      </a:xfrm>
                      <a:solidFill>
                        <a:srgbClr val="8A5942"/>
                      </a:solidFill>
                    </p:grpSpPr>
                    <p:sp>
                      <p:nvSpPr>
                        <p:cNvPr id="289" name="Freihandform: Form 288">
                          <a:extLst>
                            <a:ext uri="{FF2B5EF4-FFF2-40B4-BE49-F238E27FC236}">
                              <a16:creationId xmlns:a16="http://schemas.microsoft.com/office/drawing/2014/main" id="{3CB47978-2356-49D3-7996-5DA923DD7DA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56624" y="3848906"/>
                          <a:ext cx="50341" cy="127114"/>
                        </a:xfrm>
                        <a:custGeom>
                          <a:avLst/>
                          <a:gdLst>
                            <a:gd name="connsiteX0" fmla="*/ 30182 w 50341"/>
                            <a:gd name="connsiteY0" fmla="*/ 127114 h 127114"/>
                            <a:gd name="connsiteX1" fmla="*/ 5131 w 50341"/>
                            <a:gd name="connsiteY1" fmla="*/ 71584 h 127114"/>
                            <a:gd name="connsiteX2" fmla="*/ 15323 w 50341"/>
                            <a:gd name="connsiteY2" fmla="*/ 8528 h 127114"/>
                            <a:gd name="connsiteX3" fmla="*/ 25515 w 50341"/>
                            <a:gd name="connsiteY3" fmla="*/ 337 h 127114"/>
                            <a:gd name="connsiteX4" fmla="*/ 46851 w 50341"/>
                            <a:gd name="connsiteY4" fmla="*/ 72060 h 127114"/>
                            <a:gd name="connsiteX5" fmla="*/ 30182 w 50341"/>
                            <a:gd name="connsiteY5" fmla="*/ 127114 h 127114"/>
                            <a:gd name="connsiteX6" fmla="*/ 30182 w 50341"/>
                            <a:gd name="connsiteY6" fmla="*/ 127114 h 12711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50341" h="127114">
                              <a:moveTo>
                                <a:pt x="30182" y="127114"/>
                              </a:moveTo>
                              <a:lnTo>
                                <a:pt x="5131" y="71584"/>
                              </a:lnTo>
                              <a:cubicBezTo>
                                <a:pt x="-4108" y="50343"/>
                                <a:pt x="-964" y="26912"/>
                                <a:pt x="15323" y="8528"/>
                              </a:cubicBezTo>
                              <a:cubicBezTo>
                                <a:pt x="20562" y="2623"/>
                                <a:pt x="24658" y="-1187"/>
                                <a:pt x="25515" y="337"/>
                              </a:cubicBezTo>
                              <a:cubicBezTo>
                                <a:pt x="27039" y="3385"/>
                                <a:pt x="36278" y="33865"/>
                                <a:pt x="46851" y="72060"/>
                              </a:cubicBezTo>
                              <a:cubicBezTo>
                                <a:pt x="53518" y="96158"/>
                                <a:pt x="51995" y="112446"/>
                                <a:pt x="30182" y="127114"/>
                              </a:cubicBezTo>
                              <a:lnTo>
                                <a:pt x="30182" y="127114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90" name="Freihandform: Form 289">
                          <a:extLst>
                            <a:ext uri="{FF2B5EF4-FFF2-40B4-BE49-F238E27FC236}">
                              <a16:creationId xmlns:a16="http://schemas.microsoft.com/office/drawing/2014/main" id="{A4DF40D6-60FD-C117-19BF-321022C8224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22907" y="3799998"/>
                          <a:ext cx="71113" cy="124396"/>
                        </a:xfrm>
                        <a:custGeom>
                          <a:avLst/>
                          <a:gdLst>
                            <a:gd name="connsiteX0" fmla="*/ 40563 w 71113"/>
                            <a:gd name="connsiteY0" fmla="*/ 124396 h 124396"/>
                            <a:gd name="connsiteX1" fmla="*/ 3415 w 71113"/>
                            <a:gd name="connsiteY1" fmla="*/ 38290 h 124396"/>
                            <a:gd name="connsiteX2" fmla="*/ 41135 w 71113"/>
                            <a:gd name="connsiteY2" fmla="*/ 2000 h 124396"/>
                            <a:gd name="connsiteX3" fmla="*/ 45325 w 71113"/>
                            <a:gd name="connsiteY3" fmla="*/ 0 h 124396"/>
                            <a:gd name="connsiteX4" fmla="*/ 69043 w 71113"/>
                            <a:gd name="connsiteY4" fmla="*/ 74295 h 124396"/>
                            <a:gd name="connsiteX5" fmla="*/ 42087 w 71113"/>
                            <a:gd name="connsiteY5" fmla="*/ 123634 h 124396"/>
                            <a:gd name="connsiteX6" fmla="*/ 40563 w 71113"/>
                            <a:gd name="connsiteY6" fmla="*/ 124396 h 12439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71113" h="124396">
                              <a:moveTo>
                                <a:pt x="40563" y="124396"/>
                              </a:moveTo>
                              <a:lnTo>
                                <a:pt x="3415" y="38290"/>
                              </a:lnTo>
                              <a:cubicBezTo>
                                <a:pt x="-7729" y="12192"/>
                                <a:pt x="9321" y="3238"/>
                                <a:pt x="41135" y="2000"/>
                              </a:cubicBezTo>
                              <a:lnTo>
                                <a:pt x="45325" y="0"/>
                              </a:lnTo>
                              <a:lnTo>
                                <a:pt x="69043" y="74295"/>
                              </a:lnTo>
                              <a:cubicBezTo>
                                <a:pt x="75996" y="97060"/>
                                <a:pt x="65042" y="112014"/>
                                <a:pt x="42087" y="123634"/>
                              </a:cubicBezTo>
                              <a:lnTo>
                                <a:pt x="40563" y="124396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91" name="Freihandform: Form 290">
                          <a:extLst>
                            <a:ext uri="{FF2B5EF4-FFF2-40B4-BE49-F238E27FC236}">
                              <a16:creationId xmlns:a16="http://schemas.microsoft.com/office/drawing/2014/main" id="{BE796AE0-E140-E79C-0150-0372BBB1B0B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15082" y="3708417"/>
                          <a:ext cx="63532" cy="120728"/>
                        </a:xfrm>
                        <a:custGeom>
                          <a:avLst/>
                          <a:gdLst>
                            <a:gd name="connsiteX0" fmla="*/ 1 w 63532"/>
                            <a:gd name="connsiteY0" fmla="*/ 12715 h 120728"/>
                            <a:gd name="connsiteX1" fmla="*/ 8573 w 63532"/>
                            <a:gd name="connsiteY1" fmla="*/ 120728 h 120728"/>
                            <a:gd name="connsiteX2" fmla="*/ 54674 w 63532"/>
                            <a:gd name="connsiteY2" fmla="*/ 92629 h 120728"/>
                            <a:gd name="connsiteX3" fmla="*/ 63532 w 63532"/>
                            <a:gd name="connsiteY3" fmla="*/ 16048 h 120728"/>
                            <a:gd name="connsiteX4" fmla="*/ 1 w 63532"/>
                            <a:gd name="connsiteY4" fmla="*/ 12619 h 12072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63532" h="120728">
                              <a:moveTo>
                                <a:pt x="1" y="12715"/>
                              </a:moveTo>
                              <a:cubicBezTo>
                                <a:pt x="-95" y="14715"/>
                                <a:pt x="8573" y="120728"/>
                                <a:pt x="8573" y="120728"/>
                              </a:cubicBezTo>
                              <a:cubicBezTo>
                                <a:pt x="37910" y="120347"/>
                                <a:pt x="51817" y="119585"/>
                                <a:pt x="54674" y="92629"/>
                              </a:cubicBezTo>
                              <a:lnTo>
                                <a:pt x="63532" y="16048"/>
                              </a:lnTo>
                              <a:cubicBezTo>
                                <a:pt x="55341" y="-2335"/>
                                <a:pt x="9144" y="-6812"/>
                                <a:pt x="1" y="12619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sp>
                    <p:nvSpPr>
                      <p:cNvPr id="280" name="Freihandform: Form 279">
                        <a:extLst>
                          <a:ext uri="{FF2B5EF4-FFF2-40B4-BE49-F238E27FC236}">
                            <a16:creationId xmlns:a16="http://schemas.microsoft.com/office/drawing/2014/main" id="{3D03A7B3-5324-161A-897A-B17363CB439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63914" y="3855038"/>
                        <a:ext cx="46483" cy="113934"/>
                      </a:xfrm>
                      <a:custGeom>
                        <a:avLst/>
                        <a:gdLst>
                          <a:gd name="connsiteX0" fmla="*/ 22320 w 46483"/>
                          <a:gd name="connsiteY0" fmla="*/ 113744 h 113934"/>
                          <a:gd name="connsiteX1" fmla="*/ 3366 w 46483"/>
                          <a:gd name="connsiteY1" fmla="*/ 60784 h 113934"/>
                          <a:gd name="connsiteX2" fmla="*/ 17844 w 46483"/>
                          <a:gd name="connsiteY2" fmla="*/ 6587 h 113934"/>
                          <a:gd name="connsiteX3" fmla="*/ 28893 w 46483"/>
                          <a:gd name="connsiteY3" fmla="*/ 396 h 113934"/>
                          <a:gd name="connsiteX4" fmla="*/ 44990 w 46483"/>
                          <a:gd name="connsiteY4" fmla="*/ 66214 h 113934"/>
                          <a:gd name="connsiteX5" fmla="*/ 22416 w 46483"/>
                          <a:gd name="connsiteY5" fmla="*/ 113934 h 113934"/>
                          <a:gd name="connsiteX6" fmla="*/ 22416 w 46483"/>
                          <a:gd name="connsiteY6" fmla="*/ 113934 h 11393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6483" h="113934">
                            <a:moveTo>
                              <a:pt x="22320" y="113744"/>
                            </a:moveTo>
                            <a:lnTo>
                              <a:pt x="3366" y="60784"/>
                            </a:lnTo>
                            <a:cubicBezTo>
                              <a:pt x="-3492" y="40591"/>
                              <a:pt x="-444" y="21161"/>
                              <a:pt x="17844" y="6587"/>
                            </a:cubicBezTo>
                            <a:cubicBezTo>
                              <a:pt x="23749" y="1920"/>
                              <a:pt x="28321" y="-1128"/>
                              <a:pt x="28893" y="396"/>
                            </a:cubicBezTo>
                            <a:cubicBezTo>
                              <a:pt x="30036" y="3254"/>
                              <a:pt x="38608" y="30495"/>
                              <a:pt x="44990" y="66214"/>
                            </a:cubicBezTo>
                            <a:cubicBezTo>
                              <a:pt x="49086" y="88788"/>
                              <a:pt x="45752" y="103171"/>
                              <a:pt x="22416" y="113934"/>
                            </a:cubicBezTo>
                            <a:lnTo>
                              <a:pt x="22416" y="113934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281" name="Freihandform: Form 280">
                        <a:extLst>
                          <a:ext uri="{FF2B5EF4-FFF2-40B4-BE49-F238E27FC236}">
                            <a16:creationId xmlns:a16="http://schemas.microsoft.com/office/drawing/2014/main" id="{F0CD59FB-5F79-6F88-593E-7A281708BD9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36560" y="3794759"/>
                        <a:ext cx="62340" cy="120967"/>
                      </a:xfrm>
                      <a:custGeom>
                        <a:avLst/>
                        <a:gdLst>
                          <a:gd name="connsiteX0" fmla="*/ 30624 w 62340"/>
                          <a:gd name="connsiteY0" fmla="*/ 120968 h 120967"/>
                          <a:gd name="connsiteX1" fmla="*/ 2335 w 62340"/>
                          <a:gd name="connsiteY1" fmla="*/ 39338 h 120967"/>
                          <a:gd name="connsiteX2" fmla="*/ 38244 w 62340"/>
                          <a:gd name="connsiteY2" fmla="*/ 0 h 120967"/>
                          <a:gd name="connsiteX3" fmla="*/ 43864 w 62340"/>
                          <a:gd name="connsiteY3" fmla="*/ 9335 h 120967"/>
                          <a:gd name="connsiteX4" fmla="*/ 61390 w 62340"/>
                          <a:gd name="connsiteY4" fmla="*/ 80867 h 120967"/>
                          <a:gd name="connsiteX5" fmla="*/ 30719 w 62340"/>
                          <a:gd name="connsiteY5" fmla="*/ 120968 h 120967"/>
                          <a:gd name="connsiteX6" fmla="*/ 30719 w 62340"/>
                          <a:gd name="connsiteY6" fmla="*/ 120968 h 12096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2340" h="120967">
                            <a:moveTo>
                              <a:pt x="30624" y="120968"/>
                            </a:moveTo>
                            <a:lnTo>
                              <a:pt x="2335" y="39338"/>
                            </a:lnTo>
                            <a:cubicBezTo>
                              <a:pt x="-5952" y="14573"/>
                              <a:pt x="8240" y="6001"/>
                              <a:pt x="38244" y="0"/>
                            </a:cubicBezTo>
                            <a:lnTo>
                              <a:pt x="43864" y="9335"/>
                            </a:lnTo>
                            <a:lnTo>
                              <a:pt x="61390" y="80867"/>
                            </a:lnTo>
                            <a:cubicBezTo>
                              <a:pt x="65771" y="102203"/>
                              <a:pt x="54912" y="113157"/>
                              <a:pt x="30719" y="120968"/>
                            </a:cubicBezTo>
                            <a:lnTo>
                              <a:pt x="30719" y="120968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282" name="Freihandform: Form 281">
                        <a:extLst>
                          <a:ext uri="{FF2B5EF4-FFF2-40B4-BE49-F238E27FC236}">
                            <a16:creationId xmlns:a16="http://schemas.microsoft.com/office/drawing/2014/main" id="{AB075AC3-4486-0836-299C-8C6DE54CE74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35054" y="3713098"/>
                        <a:ext cx="53751" cy="112434"/>
                      </a:xfrm>
                      <a:custGeom>
                        <a:avLst/>
                        <a:gdLst>
                          <a:gd name="connsiteX0" fmla="*/ 31 w 53751"/>
                          <a:gd name="connsiteY0" fmla="*/ 7176 h 112434"/>
                          <a:gd name="connsiteX1" fmla="*/ 1555 w 53751"/>
                          <a:gd name="connsiteY1" fmla="*/ 110046 h 112434"/>
                          <a:gd name="connsiteX2" fmla="*/ 44989 w 53751"/>
                          <a:gd name="connsiteY2" fmla="*/ 94806 h 112434"/>
                          <a:gd name="connsiteX3" fmla="*/ 53752 w 53751"/>
                          <a:gd name="connsiteY3" fmla="*/ 23654 h 112434"/>
                          <a:gd name="connsiteX4" fmla="*/ 31 w 53751"/>
                          <a:gd name="connsiteY4" fmla="*/ 7176 h 11243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53751" h="112434">
                            <a:moveTo>
                              <a:pt x="31" y="7176"/>
                            </a:moveTo>
                            <a:cubicBezTo>
                              <a:pt x="-255" y="8986"/>
                              <a:pt x="1555" y="110046"/>
                              <a:pt x="1555" y="110046"/>
                            </a:cubicBezTo>
                            <a:cubicBezTo>
                              <a:pt x="30987" y="111856"/>
                              <a:pt x="40512" y="119000"/>
                              <a:pt x="44989" y="94806"/>
                            </a:cubicBezTo>
                            <a:lnTo>
                              <a:pt x="53752" y="23654"/>
                            </a:lnTo>
                            <a:cubicBezTo>
                              <a:pt x="46703" y="6414"/>
                              <a:pt x="10318" y="-9778"/>
                              <a:pt x="31" y="7176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grpSp>
                    <p:nvGrpSpPr>
                      <p:cNvPr id="283" name="Grafik 23">
                        <a:extLst>
                          <a:ext uri="{FF2B5EF4-FFF2-40B4-BE49-F238E27FC236}">
                            <a16:creationId xmlns:a16="http://schemas.microsoft.com/office/drawing/2014/main" id="{CB7F28BE-EEC3-D159-C96F-0329533CF6E4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8483816" y="3539440"/>
                        <a:ext cx="145001" cy="336662"/>
                        <a:chOff x="8483816" y="3539440"/>
                        <a:chExt cx="145001" cy="336662"/>
                      </a:xfrm>
                      <a:solidFill>
                        <a:srgbClr val="8A5942"/>
                      </a:solidFill>
                    </p:grpSpPr>
                    <p:sp>
                      <p:nvSpPr>
                        <p:cNvPr id="286" name="Freihandform: Form 285">
                          <a:extLst>
                            <a:ext uri="{FF2B5EF4-FFF2-40B4-BE49-F238E27FC236}">
                              <a16:creationId xmlns:a16="http://schemas.microsoft.com/office/drawing/2014/main" id="{8989C6F7-4130-BD69-1E0B-3E3DAE118B1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529038" y="3738176"/>
                          <a:ext cx="60495" cy="137927"/>
                        </a:xfrm>
                        <a:custGeom>
                          <a:avLst/>
                          <a:gdLst>
                            <a:gd name="connsiteX0" fmla="*/ 24158 w 60495"/>
                            <a:gd name="connsiteY0" fmla="*/ 137927 h 137927"/>
                            <a:gd name="connsiteX1" fmla="*/ 57685 w 60495"/>
                            <a:gd name="connsiteY1" fmla="*/ 75253 h 137927"/>
                            <a:gd name="connsiteX2" fmla="*/ 53304 w 60495"/>
                            <a:gd name="connsiteY2" fmla="*/ 5815 h 137927"/>
                            <a:gd name="connsiteX3" fmla="*/ 40350 w 60495"/>
                            <a:gd name="connsiteY3" fmla="*/ 958 h 137927"/>
                            <a:gd name="connsiteX4" fmla="*/ 4726 w 60495"/>
                            <a:gd name="connsiteY4" fmla="*/ 77824 h 137927"/>
                            <a:gd name="connsiteX5" fmla="*/ 24062 w 60495"/>
                            <a:gd name="connsiteY5" fmla="*/ 137832 h 137927"/>
                            <a:gd name="connsiteX6" fmla="*/ 24062 w 60495"/>
                            <a:gd name="connsiteY6" fmla="*/ 137832 h 13792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60495" h="137927">
                              <a:moveTo>
                                <a:pt x="24158" y="137927"/>
                              </a:moveTo>
                              <a:lnTo>
                                <a:pt x="57685" y="75253"/>
                              </a:lnTo>
                              <a:cubicBezTo>
                                <a:pt x="59876" y="52964"/>
                                <a:pt x="64448" y="18579"/>
                                <a:pt x="53304" y="5815"/>
                              </a:cubicBezTo>
                              <a:cubicBezTo>
                                <a:pt x="47017" y="-1424"/>
                                <a:pt x="41398" y="-376"/>
                                <a:pt x="40350" y="958"/>
                              </a:cubicBezTo>
                              <a:cubicBezTo>
                                <a:pt x="33111" y="11149"/>
                                <a:pt x="17204" y="44868"/>
                                <a:pt x="4726" y="77824"/>
                              </a:cubicBezTo>
                              <a:cubicBezTo>
                                <a:pt x="-3941" y="100780"/>
                                <a:pt x="-2417" y="117639"/>
                                <a:pt x="24062" y="137832"/>
                              </a:cubicBezTo>
                              <a:lnTo>
                                <a:pt x="24062" y="13783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87" name="Freihandform: Form 286">
                          <a:extLst>
                            <a:ext uri="{FF2B5EF4-FFF2-40B4-BE49-F238E27FC236}">
                              <a16:creationId xmlns:a16="http://schemas.microsoft.com/office/drawing/2014/main" id="{C450DF89-27D4-9625-8CEB-94491339A40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548242" y="3697576"/>
                          <a:ext cx="80486" cy="117625"/>
                        </a:xfrm>
                        <a:custGeom>
                          <a:avLst/>
                          <a:gdLst>
                            <a:gd name="connsiteX0" fmla="*/ 80486 w 80486"/>
                            <a:gd name="connsiteY0" fmla="*/ 17269 h 117625"/>
                            <a:gd name="connsiteX1" fmla="*/ 0 w 80486"/>
                            <a:gd name="connsiteY1" fmla="*/ 10982 h 117625"/>
                            <a:gd name="connsiteX2" fmla="*/ 5810 w 80486"/>
                            <a:gd name="connsiteY2" fmla="*/ 70608 h 117625"/>
                            <a:gd name="connsiteX3" fmla="*/ 38481 w 80486"/>
                            <a:gd name="connsiteY3" fmla="*/ 115948 h 117625"/>
                            <a:gd name="connsiteX4" fmla="*/ 80486 w 80486"/>
                            <a:gd name="connsiteY4" fmla="*/ 17269 h 11762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80486" h="117625">
                              <a:moveTo>
                                <a:pt x="80486" y="17269"/>
                              </a:moveTo>
                              <a:cubicBezTo>
                                <a:pt x="61627" y="-17498"/>
                                <a:pt x="0" y="10982"/>
                                <a:pt x="0" y="10982"/>
                              </a:cubicBezTo>
                              <a:lnTo>
                                <a:pt x="5810" y="70608"/>
                              </a:lnTo>
                              <a:cubicBezTo>
                                <a:pt x="3429" y="95659"/>
                                <a:pt x="15907" y="124996"/>
                                <a:pt x="38481" y="115948"/>
                              </a:cubicBezTo>
                              <a:cubicBezTo>
                                <a:pt x="38481" y="115948"/>
                                <a:pt x="80582" y="16221"/>
                                <a:pt x="80486" y="17269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88" name="Freihandform: Form 287">
                          <a:extLst>
                            <a:ext uri="{FF2B5EF4-FFF2-40B4-BE49-F238E27FC236}">
                              <a16:creationId xmlns:a16="http://schemas.microsoft.com/office/drawing/2014/main" id="{D86F6031-5985-6365-82B7-A9B9DB9F027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83816" y="3539440"/>
                          <a:ext cx="145001" cy="187300"/>
                        </a:xfrm>
                        <a:custGeom>
                          <a:avLst/>
                          <a:gdLst>
                            <a:gd name="connsiteX0" fmla="*/ 142151 w 145001"/>
                            <a:gd name="connsiteY0" fmla="*/ 88632 h 187300"/>
                            <a:gd name="connsiteX1" fmla="*/ 144913 w 145001"/>
                            <a:gd name="connsiteY1" fmla="*/ 175405 h 187300"/>
                            <a:gd name="connsiteX2" fmla="*/ 144913 w 145001"/>
                            <a:gd name="connsiteY2" fmla="*/ 175405 h 187300"/>
                            <a:gd name="connsiteX3" fmla="*/ 64712 w 145001"/>
                            <a:gd name="connsiteY3" fmla="*/ 170642 h 187300"/>
                            <a:gd name="connsiteX4" fmla="*/ 9848 w 145001"/>
                            <a:gd name="connsiteY4" fmla="*/ 67486 h 187300"/>
                            <a:gd name="connsiteX5" fmla="*/ 104717 w 145001"/>
                            <a:gd name="connsiteY5" fmla="*/ 431 h 187300"/>
                            <a:gd name="connsiteX6" fmla="*/ 142151 w 145001"/>
                            <a:gd name="connsiteY6" fmla="*/ 88632 h 18730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145001" h="187300">
                              <a:moveTo>
                                <a:pt x="142151" y="88632"/>
                              </a:moveTo>
                              <a:cubicBezTo>
                                <a:pt x="145770" y="113302"/>
                                <a:pt x="144913" y="175405"/>
                                <a:pt x="144913" y="175405"/>
                              </a:cubicBezTo>
                              <a:lnTo>
                                <a:pt x="144913" y="175405"/>
                              </a:lnTo>
                              <a:cubicBezTo>
                                <a:pt x="107289" y="175214"/>
                                <a:pt x="108813" y="205218"/>
                                <a:pt x="64712" y="170642"/>
                              </a:cubicBezTo>
                              <a:cubicBezTo>
                                <a:pt x="64712" y="170642"/>
                                <a:pt x="53472" y="104253"/>
                                <a:pt x="9848" y="67486"/>
                              </a:cubicBezTo>
                              <a:cubicBezTo>
                                <a:pt x="-27871" y="35768"/>
                                <a:pt x="51186" y="-4618"/>
                                <a:pt x="104717" y="431"/>
                              </a:cubicBezTo>
                              <a:cubicBezTo>
                                <a:pt x="128815" y="38244"/>
                                <a:pt x="142151" y="88632"/>
                                <a:pt x="142151" y="8863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sp>
                    <p:nvSpPr>
                      <p:cNvPr id="284" name="Freihandform: Form 283">
                        <a:extLst>
                          <a:ext uri="{FF2B5EF4-FFF2-40B4-BE49-F238E27FC236}">
                            <a16:creationId xmlns:a16="http://schemas.microsoft.com/office/drawing/2014/main" id="{6650D3DC-4525-C535-7EEF-5A094751220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395080" y="3494722"/>
                        <a:ext cx="234464" cy="282987"/>
                      </a:xfrm>
                      <a:custGeom>
                        <a:avLst/>
                        <a:gdLst>
                          <a:gd name="connsiteX0" fmla="*/ 4382 w 234464"/>
                          <a:gd name="connsiteY0" fmla="*/ 195644 h 282987"/>
                          <a:gd name="connsiteX1" fmla="*/ 59341 w 234464"/>
                          <a:gd name="connsiteY1" fmla="*/ 0 h 282987"/>
                          <a:gd name="connsiteX2" fmla="*/ 194977 w 234464"/>
                          <a:gd name="connsiteY2" fmla="*/ 11430 h 282987"/>
                          <a:gd name="connsiteX3" fmla="*/ 200787 w 234464"/>
                          <a:gd name="connsiteY3" fmla="*/ 47625 h 282987"/>
                          <a:gd name="connsiteX4" fmla="*/ 232601 w 234464"/>
                          <a:gd name="connsiteY4" fmla="*/ 177832 h 282987"/>
                          <a:gd name="connsiteX5" fmla="*/ 152877 w 234464"/>
                          <a:gd name="connsiteY5" fmla="*/ 204883 h 282987"/>
                          <a:gd name="connsiteX6" fmla="*/ 88678 w 234464"/>
                          <a:gd name="connsiteY6" fmla="*/ 282988 h 282987"/>
                          <a:gd name="connsiteX7" fmla="*/ 0 w 234464"/>
                          <a:gd name="connsiteY7" fmla="*/ 234982 h 282987"/>
                          <a:gd name="connsiteX8" fmla="*/ 4382 w 234464"/>
                          <a:gd name="connsiteY8" fmla="*/ 195548 h 2829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234464" h="282987">
                            <a:moveTo>
                              <a:pt x="4382" y="195644"/>
                            </a:moveTo>
                            <a:cubicBezTo>
                              <a:pt x="21431" y="145828"/>
                              <a:pt x="40958" y="87154"/>
                              <a:pt x="59341" y="0"/>
                            </a:cubicBezTo>
                            <a:lnTo>
                              <a:pt x="194977" y="11430"/>
                            </a:lnTo>
                            <a:cubicBezTo>
                              <a:pt x="194977" y="32099"/>
                              <a:pt x="197739" y="44005"/>
                              <a:pt x="200787" y="47625"/>
                            </a:cubicBezTo>
                            <a:cubicBezTo>
                              <a:pt x="246031" y="101727"/>
                              <a:pt x="232601" y="177832"/>
                              <a:pt x="232601" y="177832"/>
                            </a:cubicBezTo>
                            <a:cubicBezTo>
                              <a:pt x="230981" y="184976"/>
                              <a:pt x="183261" y="168688"/>
                              <a:pt x="152877" y="204883"/>
                            </a:cubicBezTo>
                            <a:cubicBezTo>
                              <a:pt x="144304" y="215075"/>
                              <a:pt x="102394" y="222885"/>
                              <a:pt x="88678" y="282988"/>
                            </a:cubicBezTo>
                            <a:cubicBezTo>
                              <a:pt x="33909" y="215837"/>
                              <a:pt x="3048" y="234125"/>
                              <a:pt x="0" y="234982"/>
                            </a:cubicBezTo>
                            <a:cubicBezTo>
                              <a:pt x="2572" y="219551"/>
                              <a:pt x="2667" y="206026"/>
                              <a:pt x="4382" y="195548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285" name="Freihandform: Form 284">
                        <a:extLst>
                          <a:ext uri="{FF2B5EF4-FFF2-40B4-BE49-F238E27FC236}">
                            <a16:creationId xmlns:a16="http://schemas.microsoft.com/office/drawing/2014/main" id="{643815FD-B383-FEF5-F4C0-68713A10EC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53659" y="3436239"/>
                        <a:ext cx="136397" cy="136398"/>
                      </a:xfrm>
                      <a:custGeom>
                        <a:avLst/>
                        <a:gdLst>
                          <a:gd name="connsiteX0" fmla="*/ 136398 w 136397"/>
                          <a:gd name="connsiteY0" fmla="*/ 68199 h 136398"/>
                          <a:gd name="connsiteX1" fmla="*/ 68199 w 136397"/>
                          <a:gd name="connsiteY1" fmla="*/ 136398 h 136398"/>
                          <a:gd name="connsiteX2" fmla="*/ 1 w 136397"/>
                          <a:gd name="connsiteY2" fmla="*/ 68199 h 136398"/>
                          <a:gd name="connsiteX3" fmla="*/ 68199 w 136397"/>
                          <a:gd name="connsiteY3" fmla="*/ 0 h 136398"/>
                          <a:gd name="connsiteX4" fmla="*/ 136398 w 136397"/>
                          <a:gd name="connsiteY4" fmla="*/ 68199 h 13639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36397" h="136398">
                            <a:moveTo>
                              <a:pt x="136398" y="68199"/>
                            </a:moveTo>
                            <a:cubicBezTo>
                              <a:pt x="136398" y="105864"/>
                              <a:pt x="105864" y="136398"/>
                              <a:pt x="68199" y="136398"/>
                            </a:cubicBezTo>
                            <a:cubicBezTo>
                              <a:pt x="30534" y="136398"/>
                              <a:pt x="1" y="105865"/>
                              <a:pt x="1" y="68199"/>
                            </a:cubicBezTo>
                            <a:cubicBezTo>
                              <a:pt x="1" y="30534"/>
                              <a:pt x="30534" y="0"/>
                              <a:pt x="68199" y="0"/>
                            </a:cubicBezTo>
                            <a:cubicBezTo>
                              <a:pt x="105864" y="0"/>
                              <a:pt x="136398" y="30534"/>
                              <a:pt x="136398" y="68199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</p:grpSp>
              <p:sp>
                <p:nvSpPr>
                  <p:cNvPr id="260" name="Freihandform: Form 259">
                    <a:extLst>
                      <a:ext uri="{FF2B5EF4-FFF2-40B4-BE49-F238E27FC236}">
                        <a16:creationId xmlns:a16="http://schemas.microsoft.com/office/drawing/2014/main" id="{B645B948-347A-23D3-08B3-50EF35A4EF07}"/>
                      </a:ext>
                    </a:extLst>
                  </p:cNvPr>
                  <p:cNvSpPr/>
                  <p:nvPr/>
                </p:nvSpPr>
                <p:spPr>
                  <a:xfrm>
                    <a:off x="8688572" y="1533884"/>
                    <a:ext cx="1208416" cy="1222459"/>
                  </a:xfrm>
                  <a:custGeom>
                    <a:avLst/>
                    <a:gdLst>
                      <a:gd name="connsiteX0" fmla="*/ 1189550 w 1208416"/>
                      <a:gd name="connsiteY0" fmla="*/ 262626 h 1222459"/>
                      <a:gd name="connsiteX1" fmla="*/ 821695 w 1208416"/>
                      <a:gd name="connsiteY1" fmla="*/ 114131 h 1222459"/>
                      <a:gd name="connsiteX2" fmla="*/ 766641 w 1208416"/>
                      <a:gd name="connsiteY2" fmla="*/ 15071 h 1222459"/>
                      <a:gd name="connsiteX3" fmla="*/ 747971 w 1208416"/>
                      <a:gd name="connsiteY3" fmla="*/ 6879 h 1222459"/>
                      <a:gd name="connsiteX4" fmla="*/ 454506 w 1208416"/>
                      <a:gd name="connsiteY4" fmla="*/ 1164 h 1222459"/>
                      <a:gd name="connsiteX5" fmla="*/ 438885 w 1208416"/>
                      <a:gd name="connsiteY5" fmla="*/ 8975 h 1222459"/>
                      <a:gd name="connsiteX6" fmla="*/ 424026 w 1208416"/>
                      <a:gd name="connsiteY6" fmla="*/ 67744 h 1222459"/>
                      <a:gd name="connsiteX7" fmla="*/ 390879 w 1208416"/>
                      <a:gd name="connsiteY7" fmla="*/ 96986 h 1222459"/>
                      <a:gd name="connsiteX8" fmla="*/ 17594 w 1208416"/>
                      <a:gd name="connsiteY8" fmla="*/ 279771 h 1222459"/>
                      <a:gd name="connsiteX9" fmla="*/ 143896 w 1208416"/>
                      <a:gd name="connsiteY9" fmla="*/ 680868 h 1222459"/>
                      <a:gd name="connsiteX10" fmla="*/ 240384 w 1208416"/>
                      <a:gd name="connsiteY10" fmla="*/ 1222460 h 1222459"/>
                      <a:gd name="connsiteX11" fmla="*/ 955235 w 1208416"/>
                      <a:gd name="connsiteY11" fmla="*/ 1220364 h 1222459"/>
                      <a:gd name="connsiteX12" fmla="*/ 1093729 w 1208416"/>
                      <a:gd name="connsiteY12" fmla="*/ 696870 h 1222459"/>
                      <a:gd name="connsiteX13" fmla="*/ 1189455 w 1208416"/>
                      <a:gd name="connsiteY13" fmla="*/ 262530 h 12224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208416" h="1222459">
                        <a:moveTo>
                          <a:pt x="1189550" y="262626"/>
                        </a:moveTo>
                        <a:cubicBezTo>
                          <a:pt x="1103921" y="179663"/>
                          <a:pt x="966475" y="205666"/>
                          <a:pt x="821695" y="114131"/>
                        </a:cubicBezTo>
                        <a:cubicBezTo>
                          <a:pt x="785500" y="80793"/>
                          <a:pt x="771689" y="38597"/>
                          <a:pt x="766641" y="15071"/>
                        </a:cubicBezTo>
                        <a:cubicBezTo>
                          <a:pt x="764831" y="6689"/>
                          <a:pt x="755401" y="2593"/>
                          <a:pt x="747971" y="6879"/>
                        </a:cubicBezTo>
                        <a:cubicBezTo>
                          <a:pt x="655769" y="60791"/>
                          <a:pt x="553947" y="49837"/>
                          <a:pt x="454506" y="1164"/>
                        </a:cubicBezTo>
                        <a:cubicBezTo>
                          <a:pt x="447934" y="-2074"/>
                          <a:pt x="440123" y="1736"/>
                          <a:pt x="438885" y="8975"/>
                        </a:cubicBezTo>
                        <a:cubicBezTo>
                          <a:pt x="436504" y="22500"/>
                          <a:pt x="431932" y="44122"/>
                          <a:pt x="424026" y="67744"/>
                        </a:cubicBezTo>
                        <a:cubicBezTo>
                          <a:pt x="421073" y="74316"/>
                          <a:pt x="412501" y="88223"/>
                          <a:pt x="390879" y="96986"/>
                        </a:cubicBezTo>
                        <a:cubicBezTo>
                          <a:pt x="225049" y="164137"/>
                          <a:pt x="111987" y="195188"/>
                          <a:pt x="17594" y="279771"/>
                        </a:cubicBezTo>
                        <a:cubicBezTo>
                          <a:pt x="-59939" y="349303"/>
                          <a:pt x="143896" y="680868"/>
                          <a:pt x="143896" y="680868"/>
                        </a:cubicBezTo>
                        <a:lnTo>
                          <a:pt x="240384" y="1222460"/>
                        </a:lnTo>
                        <a:lnTo>
                          <a:pt x="955235" y="1220364"/>
                        </a:lnTo>
                        <a:lnTo>
                          <a:pt x="1093729" y="696870"/>
                        </a:lnTo>
                        <a:cubicBezTo>
                          <a:pt x="1093729" y="696870"/>
                          <a:pt x="1264227" y="335016"/>
                          <a:pt x="1189455" y="262530"/>
                        </a:cubicBezTo>
                        <a:close/>
                      </a:path>
                    </a:pathLst>
                  </a:custGeom>
                  <a:solidFill>
                    <a:srgbClr val="FFE98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1" name="Freihandform: Form 260">
                    <a:extLst>
                      <a:ext uri="{FF2B5EF4-FFF2-40B4-BE49-F238E27FC236}">
                        <a16:creationId xmlns:a16="http://schemas.microsoft.com/office/drawing/2014/main" id="{69BC2F72-D2A9-092D-D92B-BF28F3A2ABEB}"/>
                      </a:ext>
                    </a:extLst>
                  </p:cNvPr>
                  <p:cNvSpPr/>
                  <p:nvPr/>
                </p:nvSpPr>
                <p:spPr>
                  <a:xfrm>
                    <a:off x="9209944" y="1375027"/>
                    <a:ext cx="147256" cy="49531"/>
                  </a:xfrm>
                  <a:custGeom>
                    <a:avLst/>
                    <a:gdLst>
                      <a:gd name="connsiteX0" fmla="*/ 0 w 147256"/>
                      <a:gd name="connsiteY0" fmla="*/ 5431 h 49531"/>
                      <a:gd name="connsiteX1" fmla="*/ 55721 w 147256"/>
                      <a:gd name="connsiteY1" fmla="*/ 573 h 49531"/>
                      <a:gd name="connsiteX2" fmla="*/ 70294 w 147256"/>
                      <a:gd name="connsiteY2" fmla="*/ 4002 h 49531"/>
                      <a:gd name="connsiteX3" fmla="*/ 84010 w 147256"/>
                      <a:gd name="connsiteY3" fmla="*/ 2 h 49531"/>
                      <a:gd name="connsiteX4" fmla="*/ 147256 w 147256"/>
                      <a:gd name="connsiteY4" fmla="*/ 5812 h 49531"/>
                      <a:gd name="connsiteX5" fmla="*/ 68389 w 147256"/>
                      <a:gd name="connsiteY5" fmla="*/ 49532 h 49531"/>
                      <a:gd name="connsiteX6" fmla="*/ 0 w 147256"/>
                      <a:gd name="connsiteY6" fmla="*/ 5431 h 495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7256" h="49531">
                        <a:moveTo>
                          <a:pt x="0" y="5431"/>
                        </a:moveTo>
                        <a:cubicBezTo>
                          <a:pt x="0" y="5431"/>
                          <a:pt x="19050" y="2859"/>
                          <a:pt x="55721" y="573"/>
                        </a:cubicBezTo>
                        <a:cubicBezTo>
                          <a:pt x="58578" y="383"/>
                          <a:pt x="61817" y="4193"/>
                          <a:pt x="70294" y="4002"/>
                        </a:cubicBezTo>
                        <a:cubicBezTo>
                          <a:pt x="80296" y="3812"/>
                          <a:pt x="80676" y="-94"/>
                          <a:pt x="84010" y="2"/>
                        </a:cubicBezTo>
                        <a:cubicBezTo>
                          <a:pt x="123539" y="1049"/>
                          <a:pt x="147256" y="5812"/>
                          <a:pt x="147256" y="5812"/>
                        </a:cubicBezTo>
                        <a:cubicBezTo>
                          <a:pt x="147256" y="5812"/>
                          <a:pt x="127635" y="49532"/>
                          <a:pt x="68389" y="49532"/>
                        </a:cubicBezTo>
                        <a:cubicBezTo>
                          <a:pt x="15049" y="49532"/>
                          <a:pt x="0" y="5431"/>
                          <a:pt x="0" y="5431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2" name="Freihandform: Form 261">
                    <a:extLst>
                      <a:ext uri="{FF2B5EF4-FFF2-40B4-BE49-F238E27FC236}">
                        <a16:creationId xmlns:a16="http://schemas.microsoft.com/office/drawing/2014/main" id="{B23A2406-BEFB-B44A-D7B6-51B7070814F6}"/>
                      </a:ext>
                    </a:extLst>
                  </p:cNvPr>
                  <p:cNvSpPr/>
                  <p:nvPr/>
                </p:nvSpPr>
                <p:spPr>
                  <a:xfrm>
                    <a:off x="8620918" y="1760791"/>
                    <a:ext cx="314705" cy="314706"/>
                  </a:xfrm>
                  <a:custGeom>
                    <a:avLst/>
                    <a:gdLst>
                      <a:gd name="connsiteX0" fmla="*/ 314706 w 314705"/>
                      <a:gd name="connsiteY0" fmla="*/ 157353 h 314706"/>
                      <a:gd name="connsiteX1" fmla="*/ 157353 w 314705"/>
                      <a:gd name="connsiteY1" fmla="*/ 314706 h 314706"/>
                      <a:gd name="connsiteX2" fmla="*/ -1 w 314705"/>
                      <a:gd name="connsiteY2" fmla="*/ 157353 h 314706"/>
                      <a:gd name="connsiteX3" fmla="*/ 157353 w 314705"/>
                      <a:gd name="connsiteY3" fmla="*/ 0 h 314706"/>
                      <a:gd name="connsiteX4" fmla="*/ 314706 w 314705"/>
                      <a:gd name="connsiteY4" fmla="*/ 157353 h 3147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4705" h="314706">
                        <a:moveTo>
                          <a:pt x="314706" y="157353"/>
                        </a:moveTo>
                        <a:cubicBezTo>
                          <a:pt x="314706" y="244257"/>
                          <a:pt x="244257" y="314706"/>
                          <a:pt x="157353" y="314706"/>
                        </a:cubicBezTo>
                        <a:cubicBezTo>
                          <a:pt x="70449" y="314706"/>
                          <a:pt x="-1" y="244257"/>
                          <a:pt x="-1" y="157353"/>
                        </a:cubicBezTo>
                        <a:cubicBezTo>
                          <a:pt x="-1" y="70449"/>
                          <a:pt x="70449" y="0"/>
                          <a:pt x="157353" y="0"/>
                        </a:cubicBezTo>
                        <a:cubicBezTo>
                          <a:pt x="244256" y="0"/>
                          <a:pt x="314706" y="70449"/>
                          <a:pt x="314706" y="15735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3" name="Freihandform: Form 262">
                    <a:extLst>
                      <a:ext uri="{FF2B5EF4-FFF2-40B4-BE49-F238E27FC236}">
                        <a16:creationId xmlns:a16="http://schemas.microsoft.com/office/drawing/2014/main" id="{AF506919-17DD-B9E4-0DF2-9BA4C34BCE47}"/>
                      </a:ext>
                    </a:extLst>
                  </p:cNvPr>
                  <p:cNvSpPr/>
                  <p:nvPr/>
                </p:nvSpPr>
                <p:spPr>
                  <a:xfrm>
                    <a:off x="8398795" y="1816227"/>
                    <a:ext cx="523018" cy="989647"/>
                  </a:xfrm>
                  <a:custGeom>
                    <a:avLst/>
                    <a:gdLst>
                      <a:gd name="connsiteX0" fmla="*/ 0 w 523018"/>
                      <a:gd name="connsiteY0" fmla="*/ 947261 h 989647"/>
                      <a:gd name="connsiteX1" fmla="*/ 307467 w 523018"/>
                      <a:gd name="connsiteY1" fmla="*/ 989648 h 989647"/>
                      <a:gd name="connsiteX2" fmla="*/ 523018 w 523018"/>
                      <a:gd name="connsiteY2" fmla="*/ 167259 h 989647"/>
                      <a:gd name="connsiteX3" fmla="*/ 259747 w 523018"/>
                      <a:gd name="connsiteY3" fmla="*/ 0 h 989647"/>
                      <a:gd name="connsiteX4" fmla="*/ 0 w 523018"/>
                      <a:gd name="connsiteY4" fmla="*/ 947261 h 9896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23018" h="989647">
                        <a:moveTo>
                          <a:pt x="0" y="947261"/>
                        </a:moveTo>
                        <a:lnTo>
                          <a:pt x="307467" y="989648"/>
                        </a:lnTo>
                        <a:lnTo>
                          <a:pt x="523018" y="167259"/>
                        </a:lnTo>
                        <a:lnTo>
                          <a:pt x="259747" y="0"/>
                        </a:lnTo>
                        <a:cubicBezTo>
                          <a:pt x="171069" y="80486"/>
                          <a:pt x="0" y="947261"/>
                          <a:pt x="0" y="94726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4" name="Freihandform: Form 263">
                    <a:extLst>
                      <a:ext uri="{FF2B5EF4-FFF2-40B4-BE49-F238E27FC236}">
                        <a16:creationId xmlns:a16="http://schemas.microsoft.com/office/drawing/2014/main" id="{089903C4-026E-E9E7-B861-A75709CD25D8}"/>
                      </a:ext>
                    </a:extLst>
                  </p:cNvPr>
                  <p:cNvSpPr/>
                  <p:nvPr/>
                </p:nvSpPr>
                <p:spPr>
                  <a:xfrm>
                    <a:off x="8398128" y="2625471"/>
                    <a:ext cx="310133" cy="310134"/>
                  </a:xfrm>
                  <a:custGeom>
                    <a:avLst/>
                    <a:gdLst>
                      <a:gd name="connsiteX0" fmla="*/ 310134 w 310133"/>
                      <a:gd name="connsiteY0" fmla="*/ 155067 h 310134"/>
                      <a:gd name="connsiteX1" fmla="*/ 155067 w 310133"/>
                      <a:gd name="connsiteY1" fmla="*/ 310134 h 310134"/>
                      <a:gd name="connsiteX2" fmla="*/ -1 w 310133"/>
                      <a:gd name="connsiteY2" fmla="*/ 155067 h 310134"/>
                      <a:gd name="connsiteX3" fmla="*/ 155067 w 310133"/>
                      <a:gd name="connsiteY3" fmla="*/ 0 h 310134"/>
                      <a:gd name="connsiteX4" fmla="*/ 310134 w 310133"/>
                      <a:gd name="connsiteY4" fmla="*/ 155067 h 3101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0133" h="310134">
                        <a:moveTo>
                          <a:pt x="310134" y="155067"/>
                        </a:moveTo>
                        <a:cubicBezTo>
                          <a:pt x="310134" y="240708"/>
                          <a:pt x="240708" y="310134"/>
                          <a:pt x="155067" y="310134"/>
                        </a:cubicBezTo>
                        <a:cubicBezTo>
                          <a:pt x="69425" y="310134"/>
                          <a:pt x="-1" y="240708"/>
                          <a:pt x="-1" y="155067"/>
                        </a:cubicBezTo>
                        <a:cubicBezTo>
                          <a:pt x="-1" y="69426"/>
                          <a:pt x="69425" y="0"/>
                          <a:pt x="155067" y="0"/>
                        </a:cubicBezTo>
                        <a:cubicBezTo>
                          <a:pt x="240708" y="0"/>
                          <a:pt x="310134" y="69426"/>
                          <a:pt x="310134" y="15506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5" name="Freihandform: Form 264">
                    <a:extLst>
                      <a:ext uri="{FF2B5EF4-FFF2-40B4-BE49-F238E27FC236}">
                        <a16:creationId xmlns:a16="http://schemas.microsoft.com/office/drawing/2014/main" id="{8A58B3B8-42E9-7B0D-B2E9-A9CBAD8FE065}"/>
                      </a:ext>
                    </a:extLst>
                  </p:cNvPr>
                  <p:cNvSpPr/>
                  <p:nvPr/>
                </p:nvSpPr>
                <p:spPr>
                  <a:xfrm>
                    <a:off x="8616251" y="1610010"/>
                    <a:ext cx="575214" cy="3144202"/>
                  </a:xfrm>
                  <a:custGeom>
                    <a:avLst/>
                    <a:gdLst>
                      <a:gd name="connsiteX0" fmla="*/ 197358 w 575214"/>
                      <a:gd name="connsiteY0" fmla="*/ 1136999 h 3144202"/>
                      <a:gd name="connsiteX1" fmla="*/ 0 w 575214"/>
                      <a:gd name="connsiteY1" fmla="*/ 3144203 h 3144202"/>
                      <a:gd name="connsiteX2" fmla="*/ 527590 w 575214"/>
                      <a:gd name="connsiteY2" fmla="*/ 3144203 h 3144202"/>
                      <a:gd name="connsiteX3" fmla="*/ 575215 w 575214"/>
                      <a:gd name="connsiteY3" fmla="*/ 576167 h 3144202"/>
                      <a:gd name="connsiteX4" fmla="*/ 467868 w 575214"/>
                      <a:gd name="connsiteY4" fmla="*/ 0 h 3144202"/>
                      <a:gd name="connsiteX5" fmla="*/ 28194 w 575214"/>
                      <a:gd name="connsiteY5" fmla="*/ 225647 h 3144202"/>
                      <a:gd name="connsiteX6" fmla="*/ 216312 w 575214"/>
                      <a:gd name="connsiteY6" fmla="*/ 604838 h 3144202"/>
                      <a:gd name="connsiteX7" fmla="*/ 197453 w 575214"/>
                      <a:gd name="connsiteY7" fmla="*/ 1137095 h 31442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75214" h="3144202">
                        <a:moveTo>
                          <a:pt x="197358" y="1136999"/>
                        </a:moveTo>
                        <a:cubicBezTo>
                          <a:pt x="-28861" y="1726597"/>
                          <a:pt x="51340" y="2820543"/>
                          <a:pt x="0" y="3144203"/>
                        </a:cubicBezTo>
                        <a:lnTo>
                          <a:pt x="527590" y="3144203"/>
                        </a:lnTo>
                        <a:lnTo>
                          <a:pt x="575215" y="576167"/>
                        </a:lnTo>
                        <a:lnTo>
                          <a:pt x="467868" y="0"/>
                        </a:lnTo>
                        <a:cubicBezTo>
                          <a:pt x="302037" y="67151"/>
                          <a:pt x="69437" y="144590"/>
                          <a:pt x="28194" y="225647"/>
                        </a:cubicBezTo>
                        <a:cubicBezTo>
                          <a:pt x="120682" y="378047"/>
                          <a:pt x="216312" y="604838"/>
                          <a:pt x="216312" y="604838"/>
                        </a:cubicBezTo>
                        <a:cubicBezTo>
                          <a:pt x="216312" y="604838"/>
                          <a:pt x="200406" y="745903"/>
                          <a:pt x="197453" y="113709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6" name="Freihandform: Form 265">
                    <a:extLst>
                      <a:ext uri="{FF2B5EF4-FFF2-40B4-BE49-F238E27FC236}">
                        <a16:creationId xmlns:a16="http://schemas.microsoft.com/office/drawing/2014/main" id="{E02F5249-110A-967C-AECB-DFDAA0AF0CDB}"/>
                      </a:ext>
                    </a:extLst>
                  </p:cNvPr>
                  <p:cNvSpPr/>
                  <p:nvPr/>
                </p:nvSpPr>
                <p:spPr>
                  <a:xfrm>
                    <a:off x="8923527" y="1659159"/>
                    <a:ext cx="199834" cy="706945"/>
                  </a:xfrm>
                  <a:custGeom>
                    <a:avLst/>
                    <a:gdLst>
                      <a:gd name="connsiteX0" fmla="*/ 35528 w 199834"/>
                      <a:gd name="connsiteY0" fmla="*/ 0 h 706945"/>
                      <a:gd name="connsiteX1" fmla="*/ 0 w 199834"/>
                      <a:gd name="connsiteY1" fmla="*/ 13906 h 706945"/>
                      <a:gd name="connsiteX2" fmla="*/ 88106 w 199834"/>
                      <a:gd name="connsiteY2" fmla="*/ 352234 h 706945"/>
                      <a:gd name="connsiteX3" fmla="*/ 199834 w 199834"/>
                      <a:gd name="connsiteY3" fmla="*/ 706946 h 706945"/>
                      <a:gd name="connsiteX4" fmla="*/ 123539 w 199834"/>
                      <a:gd name="connsiteY4" fmla="*/ 352234 h 706945"/>
                      <a:gd name="connsiteX5" fmla="*/ 35623 w 199834"/>
                      <a:gd name="connsiteY5" fmla="*/ 0 h 7069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99834" h="706945">
                        <a:moveTo>
                          <a:pt x="35528" y="0"/>
                        </a:moveTo>
                        <a:lnTo>
                          <a:pt x="0" y="13906"/>
                        </a:lnTo>
                        <a:cubicBezTo>
                          <a:pt x="0" y="13906"/>
                          <a:pt x="76009" y="206692"/>
                          <a:pt x="88106" y="352234"/>
                        </a:cubicBezTo>
                        <a:cubicBezTo>
                          <a:pt x="100108" y="497776"/>
                          <a:pt x="199834" y="706946"/>
                          <a:pt x="199834" y="706946"/>
                        </a:cubicBezTo>
                        <a:cubicBezTo>
                          <a:pt x="199834" y="706946"/>
                          <a:pt x="128968" y="398050"/>
                          <a:pt x="123539" y="352234"/>
                        </a:cubicBezTo>
                        <a:cubicBezTo>
                          <a:pt x="118110" y="306419"/>
                          <a:pt x="35623" y="0"/>
                          <a:pt x="35623" y="0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7" name="Freihandform: Form 266">
                    <a:extLst>
                      <a:ext uri="{FF2B5EF4-FFF2-40B4-BE49-F238E27FC236}">
                        <a16:creationId xmlns:a16="http://schemas.microsoft.com/office/drawing/2014/main" id="{D85B1315-065D-BDEF-89DC-40569C283575}"/>
                      </a:ext>
                    </a:extLst>
                  </p:cNvPr>
                  <p:cNvSpPr/>
                  <p:nvPr/>
                </p:nvSpPr>
                <p:spPr>
                  <a:xfrm>
                    <a:off x="8664457" y="2198655"/>
                    <a:ext cx="159748" cy="575881"/>
                  </a:xfrm>
                  <a:custGeom>
                    <a:avLst/>
                    <a:gdLst>
                      <a:gd name="connsiteX0" fmla="*/ 132483 w 159748"/>
                      <a:gd name="connsiteY0" fmla="*/ 0 h 575881"/>
                      <a:gd name="connsiteX1" fmla="*/ 6753 w 159748"/>
                      <a:gd name="connsiteY1" fmla="*/ 303467 h 575881"/>
                      <a:gd name="connsiteX2" fmla="*/ 50568 w 159748"/>
                      <a:gd name="connsiteY2" fmla="*/ 575881 h 575881"/>
                      <a:gd name="connsiteX3" fmla="*/ 50568 w 159748"/>
                      <a:gd name="connsiteY3" fmla="*/ 575881 h 575881"/>
                      <a:gd name="connsiteX4" fmla="*/ 157343 w 159748"/>
                      <a:gd name="connsiteY4" fmla="*/ 197834 h 575881"/>
                      <a:gd name="connsiteX5" fmla="*/ 132387 w 159748"/>
                      <a:gd name="connsiteY5" fmla="*/ 0 h 5758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59748" h="575881">
                        <a:moveTo>
                          <a:pt x="132483" y="0"/>
                        </a:moveTo>
                        <a:cubicBezTo>
                          <a:pt x="80191" y="30004"/>
                          <a:pt x="-28013" y="139351"/>
                          <a:pt x="6753" y="303467"/>
                        </a:cubicBezTo>
                        <a:cubicBezTo>
                          <a:pt x="41614" y="467582"/>
                          <a:pt x="50568" y="575881"/>
                          <a:pt x="50568" y="575881"/>
                        </a:cubicBezTo>
                        <a:lnTo>
                          <a:pt x="50568" y="575881"/>
                        </a:lnTo>
                        <a:lnTo>
                          <a:pt x="157343" y="197834"/>
                        </a:lnTo>
                        <a:cubicBezTo>
                          <a:pt x="160201" y="166592"/>
                          <a:pt x="166582" y="73057"/>
                          <a:pt x="132387" y="0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8" name="Freihandform: Form 267">
                    <a:extLst>
                      <a:ext uri="{FF2B5EF4-FFF2-40B4-BE49-F238E27FC236}">
                        <a16:creationId xmlns:a16="http://schemas.microsoft.com/office/drawing/2014/main" id="{72500CC6-20DB-4AF8-9988-F890D1EACEBC}"/>
                      </a:ext>
                    </a:extLst>
                  </p:cNvPr>
                  <p:cNvSpPr/>
                  <p:nvPr/>
                </p:nvSpPr>
                <p:spPr>
                  <a:xfrm>
                    <a:off x="8695689" y="3364706"/>
                    <a:ext cx="330837" cy="409959"/>
                  </a:xfrm>
                  <a:custGeom>
                    <a:avLst/>
                    <a:gdLst>
                      <a:gd name="connsiteX0" fmla="*/ 49911 w 330837"/>
                      <a:gd name="connsiteY0" fmla="*/ 0 h 409959"/>
                      <a:gd name="connsiteX1" fmla="*/ 37338 w 330837"/>
                      <a:gd name="connsiteY1" fmla="*/ 351377 h 409959"/>
                      <a:gd name="connsiteX2" fmla="*/ 330804 w 330837"/>
                      <a:gd name="connsiteY2" fmla="*/ 359093 h 409959"/>
                      <a:gd name="connsiteX3" fmla="*/ 0 w 330837"/>
                      <a:gd name="connsiteY3" fmla="*/ 388715 h 409959"/>
                      <a:gd name="connsiteX4" fmla="*/ 25146 w 330837"/>
                      <a:gd name="connsiteY4" fmla="*/ 81724 h 409959"/>
                      <a:gd name="connsiteX5" fmla="*/ 49911 w 330837"/>
                      <a:gd name="connsiteY5" fmla="*/ 0 h 409959"/>
                      <a:gd name="connsiteX6" fmla="*/ 49911 w 330837"/>
                      <a:gd name="connsiteY6" fmla="*/ 0 h 4099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30837" h="409959">
                        <a:moveTo>
                          <a:pt x="49911" y="0"/>
                        </a:moveTo>
                        <a:cubicBezTo>
                          <a:pt x="49911" y="0"/>
                          <a:pt x="33909" y="310229"/>
                          <a:pt x="37338" y="351377"/>
                        </a:cubicBezTo>
                        <a:cubicBezTo>
                          <a:pt x="43149" y="368713"/>
                          <a:pt x="307372" y="358616"/>
                          <a:pt x="330804" y="359093"/>
                        </a:cubicBezTo>
                        <a:cubicBezTo>
                          <a:pt x="334709" y="393859"/>
                          <a:pt x="0" y="436340"/>
                          <a:pt x="0" y="388715"/>
                        </a:cubicBezTo>
                        <a:cubicBezTo>
                          <a:pt x="0" y="341090"/>
                          <a:pt x="20193" y="122015"/>
                          <a:pt x="25146" y="81724"/>
                        </a:cubicBezTo>
                        <a:cubicBezTo>
                          <a:pt x="31909" y="25813"/>
                          <a:pt x="32861" y="8572"/>
                          <a:pt x="49911" y="0"/>
                        </a:cubicBezTo>
                        <a:lnTo>
                          <a:pt x="49911" y="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9" name="Freihandform: Form 268">
                    <a:extLst>
                      <a:ext uri="{FF2B5EF4-FFF2-40B4-BE49-F238E27FC236}">
                        <a16:creationId xmlns:a16="http://schemas.microsoft.com/office/drawing/2014/main" id="{A73D75B1-7938-C2C0-2C09-902988E9E4D2}"/>
                      </a:ext>
                    </a:extLst>
                  </p:cNvPr>
                  <p:cNvSpPr/>
                  <p:nvPr/>
                </p:nvSpPr>
                <p:spPr>
                  <a:xfrm>
                    <a:off x="9393395" y="1633156"/>
                    <a:ext cx="575977" cy="3121056"/>
                  </a:xfrm>
                  <a:custGeom>
                    <a:avLst/>
                    <a:gdLst>
                      <a:gd name="connsiteX0" fmla="*/ 575977 w 575977"/>
                      <a:gd name="connsiteY0" fmla="*/ 3121057 h 3121056"/>
                      <a:gd name="connsiteX1" fmla="*/ 377857 w 575977"/>
                      <a:gd name="connsiteY1" fmla="*/ 1113854 h 3121056"/>
                      <a:gd name="connsiteX2" fmla="*/ 358997 w 575977"/>
                      <a:gd name="connsiteY2" fmla="*/ 581597 h 3121056"/>
                      <a:gd name="connsiteX3" fmla="*/ 540925 w 575977"/>
                      <a:gd name="connsiteY3" fmla="*/ 220123 h 3121056"/>
                      <a:gd name="connsiteX4" fmla="*/ 102680 w 575977"/>
                      <a:gd name="connsiteY4" fmla="*/ 0 h 3121056"/>
                      <a:gd name="connsiteX5" fmla="*/ 0 w 575977"/>
                      <a:gd name="connsiteY5" fmla="*/ 552926 h 3121056"/>
                      <a:gd name="connsiteX6" fmla="*/ 47816 w 575977"/>
                      <a:gd name="connsiteY6" fmla="*/ 3120962 h 3121056"/>
                      <a:gd name="connsiteX7" fmla="*/ 575977 w 575977"/>
                      <a:gd name="connsiteY7" fmla="*/ 3120962 h 31210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75977" h="3121056">
                        <a:moveTo>
                          <a:pt x="575977" y="3121057"/>
                        </a:moveTo>
                        <a:cubicBezTo>
                          <a:pt x="522923" y="2803493"/>
                          <a:pt x="605219" y="1706594"/>
                          <a:pt x="377857" y="1113854"/>
                        </a:cubicBezTo>
                        <a:cubicBezTo>
                          <a:pt x="374904" y="722757"/>
                          <a:pt x="358997" y="581597"/>
                          <a:pt x="358997" y="581597"/>
                        </a:cubicBezTo>
                        <a:cubicBezTo>
                          <a:pt x="358997" y="581597"/>
                          <a:pt x="448437" y="372523"/>
                          <a:pt x="540925" y="220123"/>
                        </a:cubicBezTo>
                        <a:cubicBezTo>
                          <a:pt x="496729" y="112681"/>
                          <a:pt x="254889" y="58102"/>
                          <a:pt x="102680" y="0"/>
                        </a:cubicBezTo>
                        <a:lnTo>
                          <a:pt x="0" y="552926"/>
                        </a:lnTo>
                        <a:lnTo>
                          <a:pt x="47816" y="3120962"/>
                        </a:lnTo>
                        <a:lnTo>
                          <a:pt x="575977" y="312096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0" name="Freihandform: Form 269">
                    <a:extLst>
                      <a:ext uri="{FF2B5EF4-FFF2-40B4-BE49-F238E27FC236}">
                        <a16:creationId xmlns:a16="http://schemas.microsoft.com/office/drawing/2014/main" id="{88E60268-7E3C-C1D6-EED1-44A72B90AC15}"/>
                      </a:ext>
                    </a:extLst>
                  </p:cNvPr>
                  <p:cNvSpPr/>
                  <p:nvPr/>
                </p:nvSpPr>
                <p:spPr>
                  <a:xfrm>
                    <a:off x="9346962" y="1469469"/>
                    <a:ext cx="321998" cy="541925"/>
                  </a:xfrm>
                  <a:custGeom>
                    <a:avLst/>
                    <a:gdLst>
                      <a:gd name="connsiteX0" fmla="*/ 108251 w 321998"/>
                      <a:gd name="connsiteY0" fmla="*/ 79486 h 541925"/>
                      <a:gd name="connsiteX1" fmla="*/ 300084 w 321998"/>
                      <a:gd name="connsiteY1" fmla="*/ 216265 h 541925"/>
                      <a:gd name="connsiteX2" fmla="*/ 180641 w 321998"/>
                      <a:gd name="connsiteY2" fmla="*/ 354378 h 541925"/>
                      <a:gd name="connsiteX3" fmla="*/ 149113 w 321998"/>
                      <a:gd name="connsiteY3" fmla="*/ 541925 h 541925"/>
                      <a:gd name="connsiteX4" fmla="*/ 35289 w 321998"/>
                      <a:gd name="connsiteY4" fmla="*/ 264176 h 541925"/>
                      <a:gd name="connsiteX5" fmla="*/ 108251 w 321998"/>
                      <a:gd name="connsiteY5" fmla="*/ 79486 h 5419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21998" h="541925">
                        <a:moveTo>
                          <a:pt x="108251" y="79486"/>
                        </a:moveTo>
                        <a:cubicBezTo>
                          <a:pt x="82534" y="-113585"/>
                          <a:pt x="407717" y="89964"/>
                          <a:pt x="300084" y="216265"/>
                        </a:cubicBezTo>
                        <a:cubicBezTo>
                          <a:pt x="300084" y="216265"/>
                          <a:pt x="221217" y="286750"/>
                          <a:pt x="180641" y="354378"/>
                        </a:cubicBezTo>
                        <a:cubicBezTo>
                          <a:pt x="140064" y="422005"/>
                          <a:pt x="146256" y="484870"/>
                          <a:pt x="149113" y="541925"/>
                        </a:cubicBezTo>
                        <a:cubicBezTo>
                          <a:pt x="-20336" y="527161"/>
                          <a:pt x="-25194" y="321612"/>
                          <a:pt x="35289" y="264176"/>
                        </a:cubicBezTo>
                        <a:cubicBezTo>
                          <a:pt x="133968" y="170450"/>
                          <a:pt x="123015" y="126635"/>
                          <a:pt x="108251" y="7948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1" name="Freihandform: Form 270">
                    <a:extLst>
                      <a:ext uri="{FF2B5EF4-FFF2-40B4-BE49-F238E27FC236}">
                        <a16:creationId xmlns:a16="http://schemas.microsoft.com/office/drawing/2014/main" id="{3906CE98-C0D0-1782-73B7-44FAC478667E}"/>
                      </a:ext>
                    </a:extLst>
                  </p:cNvPr>
                  <p:cNvSpPr/>
                  <p:nvPr/>
                </p:nvSpPr>
                <p:spPr>
                  <a:xfrm>
                    <a:off x="8386350" y="2763488"/>
                    <a:ext cx="319816" cy="722471"/>
                  </a:xfrm>
                  <a:custGeom>
                    <a:avLst/>
                    <a:gdLst>
                      <a:gd name="connsiteX0" fmla="*/ 11778 w 319816"/>
                      <a:gd name="connsiteY0" fmla="*/ 722471 h 722471"/>
                      <a:gd name="connsiteX1" fmla="*/ 243998 w 319816"/>
                      <a:gd name="connsiteY1" fmla="*/ 722471 h 722471"/>
                      <a:gd name="connsiteX2" fmla="*/ 319817 w 319816"/>
                      <a:gd name="connsiteY2" fmla="*/ 42386 h 722471"/>
                      <a:gd name="connsiteX3" fmla="*/ 12350 w 319816"/>
                      <a:gd name="connsiteY3" fmla="*/ 0 h 722471"/>
                      <a:gd name="connsiteX4" fmla="*/ 11683 w 319816"/>
                      <a:gd name="connsiteY4" fmla="*/ 722471 h 7224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9816" h="722471">
                        <a:moveTo>
                          <a:pt x="11778" y="722471"/>
                        </a:moveTo>
                        <a:lnTo>
                          <a:pt x="243998" y="722471"/>
                        </a:lnTo>
                        <a:cubicBezTo>
                          <a:pt x="243998" y="722471"/>
                          <a:pt x="304100" y="215360"/>
                          <a:pt x="319817" y="42386"/>
                        </a:cubicBezTo>
                        <a:lnTo>
                          <a:pt x="12350" y="0"/>
                        </a:lnTo>
                        <a:cubicBezTo>
                          <a:pt x="12350" y="339566"/>
                          <a:pt x="-14987" y="531781"/>
                          <a:pt x="11683" y="72247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41" name="Grafik 23">
                  <a:extLst>
                    <a:ext uri="{FF2B5EF4-FFF2-40B4-BE49-F238E27FC236}">
                      <a16:creationId xmlns:a16="http://schemas.microsoft.com/office/drawing/2014/main" id="{90C6939B-F7F9-BADE-D182-9E50F5421912}"/>
                    </a:ext>
                  </a:extLst>
                </p:cNvPr>
                <p:cNvGrpSpPr/>
                <p:nvPr/>
              </p:nvGrpSpPr>
              <p:grpSpPr>
                <a:xfrm>
                  <a:off x="9633235" y="8339391"/>
                  <a:ext cx="650747" cy="968216"/>
                  <a:chOff x="9633235" y="1760791"/>
                  <a:chExt cx="650747" cy="968216"/>
                </a:xfrm>
                <a:solidFill>
                  <a:srgbClr val="FFFFFF"/>
                </a:solidFill>
              </p:grpSpPr>
              <p:sp>
                <p:nvSpPr>
                  <p:cNvPr id="228" name="Freihandform: Form 227">
                    <a:extLst>
                      <a:ext uri="{FF2B5EF4-FFF2-40B4-BE49-F238E27FC236}">
                        <a16:creationId xmlns:a16="http://schemas.microsoft.com/office/drawing/2014/main" id="{924C3ED5-9282-A90D-E016-CEDA7110B44D}"/>
                      </a:ext>
                    </a:extLst>
                  </p:cNvPr>
                  <p:cNvSpPr/>
                  <p:nvPr/>
                </p:nvSpPr>
                <p:spPr>
                  <a:xfrm>
                    <a:off x="9633235" y="1760791"/>
                    <a:ext cx="314705" cy="314706"/>
                  </a:xfrm>
                  <a:custGeom>
                    <a:avLst/>
                    <a:gdLst>
                      <a:gd name="connsiteX0" fmla="*/ 314706 w 314705"/>
                      <a:gd name="connsiteY0" fmla="*/ 157353 h 314706"/>
                      <a:gd name="connsiteX1" fmla="*/ 157353 w 314705"/>
                      <a:gd name="connsiteY1" fmla="*/ 314706 h 314706"/>
                      <a:gd name="connsiteX2" fmla="*/ 0 w 314705"/>
                      <a:gd name="connsiteY2" fmla="*/ 157353 h 314706"/>
                      <a:gd name="connsiteX3" fmla="*/ 157353 w 314705"/>
                      <a:gd name="connsiteY3" fmla="*/ 0 h 314706"/>
                      <a:gd name="connsiteX4" fmla="*/ 314706 w 314705"/>
                      <a:gd name="connsiteY4" fmla="*/ 157353 h 3147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4705" h="314706">
                        <a:moveTo>
                          <a:pt x="314706" y="157353"/>
                        </a:moveTo>
                        <a:cubicBezTo>
                          <a:pt x="314706" y="244257"/>
                          <a:pt x="244257" y="314706"/>
                          <a:pt x="157353" y="314706"/>
                        </a:cubicBezTo>
                        <a:cubicBezTo>
                          <a:pt x="70449" y="314706"/>
                          <a:pt x="0" y="244257"/>
                          <a:pt x="0" y="157353"/>
                        </a:cubicBezTo>
                        <a:cubicBezTo>
                          <a:pt x="0" y="70449"/>
                          <a:pt x="70449" y="0"/>
                          <a:pt x="157353" y="0"/>
                        </a:cubicBezTo>
                        <a:cubicBezTo>
                          <a:pt x="244256" y="0"/>
                          <a:pt x="314706" y="70449"/>
                          <a:pt x="314706" y="15735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9" name="Freihandform: Form 228">
                    <a:extLst>
                      <a:ext uri="{FF2B5EF4-FFF2-40B4-BE49-F238E27FC236}">
                        <a16:creationId xmlns:a16="http://schemas.microsoft.com/office/drawing/2014/main" id="{E709A6BC-8481-27BF-2EF7-20C8B1748F7B}"/>
                      </a:ext>
                    </a:extLst>
                  </p:cNvPr>
                  <p:cNvSpPr/>
                  <p:nvPr/>
                </p:nvSpPr>
                <p:spPr>
                  <a:xfrm>
                    <a:off x="9658000" y="1838991"/>
                    <a:ext cx="625982" cy="890015"/>
                  </a:xfrm>
                  <a:custGeom>
                    <a:avLst/>
                    <a:gdLst>
                      <a:gd name="connsiteX0" fmla="*/ 625888 w 625982"/>
                      <a:gd name="connsiteY0" fmla="*/ 774287 h 890015"/>
                      <a:gd name="connsiteX1" fmla="*/ 334518 w 625982"/>
                      <a:gd name="connsiteY1" fmla="*/ 890016 h 890015"/>
                      <a:gd name="connsiteX2" fmla="*/ 135064 w 625982"/>
                      <a:gd name="connsiteY2" fmla="*/ 426720 h 890015"/>
                      <a:gd name="connsiteX3" fmla="*/ 0 w 625982"/>
                      <a:gd name="connsiteY3" fmla="*/ 163163 h 890015"/>
                      <a:gd name="connsiteX4" fmla="*/ 268986 w 625982"/>
                      <a:gd name="connsiteY4" fmla="*/ 0 h 890015"/>
                      <a:gd name="connsiteX5" fmla="*/ 430339 w 625982"/>
                      <a:gd name="connsiteY5" fmla="*/ 315373 h 890015"/>
                      <a:gd name="connsiteX6" fmla="*/ 625983 w 625982"/>
                      <a:gd name="connsiteY6" fmla="*/ 774287 h 8900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25982" h="890015">
                        <a:moveTo>
                          <a:pt x="625888" y="774287"/>
                        </a:moveTo>
                        <a:lnTo>
                          <a:pt x="334518" y="890016"/>
                        </a:lnTo>
                        <a:lnTo>
                          <a:pt x="135064" y="426720"/>
                        </a:lnTo>
                        <a:lnTo>
                          <a:pt x="0" y="163163"/>
                        </a:lnTo>
                        <a:lnTo>
                          <a:pt x="268986" y="0"/>
                        </a:lnTo>
                        <a:cubicBezTo>
                          <a:pt x="311182" y="74009"/>
                          <a:pt x="367665" y="187928"/>
                          <a:pt x="430339" y="315373"/>
                        </a:cubicBezTo>
                        <a:cubicBezTo>
                          <a:pt x="529780" y="517589"/>
                          <a:pt x="625983" y="774287"/>
                          <a:pt x="625983" y="77428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42" name="Grafik 23">
                  <a:extLst>
                    <a:ext uri="{FF2B5EF4-FFF2-40B4-BE49-F238E27FC236}">
                      <a16:creationId xmlns:a16="http://schemas.microsoft.com/office/drawing/2014/main" id="{3A3DDC68-2CAD-4A45-4223-6C829B611A06}"/>
                    </a:ext>
                  </a:extLst>
                </p:cNvPr>
                <p:cNvGrpSpPr/>
                <p:nvPr/>
              </p:nvGrpSpPr>
              <p:grpSpPr>
                <a:xfrm>
                  <a:off x="9348914" y="8729059"/>
                  <a:ext cx="629316" cy="785241"/>
                  <a:chOff x="9348914" y="2150459"/>
                  <a:chExt cx="629316" cy="785241"/>
                </a:xfrm>
              </p:grpSpPr>
              <p:sp>
                <p:nvSpPr>
                  <p:cNvPr id="224" name="Freihandform: Form 223">
                    <a:extLst>
                      <a:ext uri="{FF2B5EF4-FFF2-40B4-BE49-F238E27FC236}">
                        <a16:creationId xmlns:a16="http://schemas.microsoft.com/office/drawing/2014/main" id="{A674A165-0A64-37A0-C88E-40EF6921A070}"/>
                      </a:ext>
                    </a:extLst>
                  </p:cNvPr>
                  <p:cNvSpPr/>
                  <p:nvPr/>
                </p:nvSpPr>
                <p:spPr>
                  <a:xfrm>
                    <a:off x="9381870" y="2150459"/>
                    <a:ext cx="596360" cy="785241"/>
                  </a:xfrm>
                  <a:custGeom>
                    <a:avLst/>
                    <a:gdLst>
                      <a:gd name="connsiteX0" fmla="*/ 572548 w 596360"/>
                      <a:gd name="connsiteY0" fmla="*/ 0 h 785241"/>
                      <a:gd name="connsiteX1" fmla="*/ 596360 w 596360"/>
                      <a:gd name="connsiteY1" fmla="*/ 23813 h 785241"/>
                      <a:gd name="connsiteX2" fmla="*/ 596360 w 596360"/>
                      <a:gd name="connsiteY2" fmla="*/ 761429 h 785241"/>
                      <a:gd name="connsiteX3" fmla="*/ 572548 w 596360"/>
                      <a:gd name="connsiteY3" fmla="*/ 785241 h 785241"/>
                      <a:gd name="connsiteX4" fmla="*/ 23813 w 596360"/>
                      <a:gd name="connsiteY4" fmla="*/ 785241 h 785241"/>
                      <a:gd name="connsiteX5" fmla="*/ 0 w 596360"/>
                      <a:gd name="connsiteY5" fmla="*/ 761429 h 785241"/>
                      <a:gd name="connsiteX6" fmla="*/ 0 w 596360"/>
                      <a:gd name="connsiteY6" fmla="*/ 23813 h 785241"/>
                      <a:gd name="connsiteX7" fmla="*/ 23813 w 596360"/>
                      <a:gd name="connsiteY7" fmla="*/ 0 h 785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96360" h="785241">
                        <a:moveTo>
                          <a:pt x="572548" y="0"/>
                        </a:moveTo>
                        <a:cubicBezTo>
                          <a:pt x="585699" y="0"/>
                          <a:pt x="596360" y="10661"/>
                          <a:pt x="596360" y="23813"/>
                        </a:cubicBezTo>
                        <a:lnTo>
                          <a:pt x="596360" y="761429"/>
                        </a:lnTo>
                        <a:cubicBezTo>
                          <a:pt x="596360" y="774580"/>
                          <a:pt x="585699" y="785241"/>
                          <a:pt x="572548" y="785241"/>
                        </a:cubicBezTo>
                        <a:lnTo>
                          <a:pt x="23813" y="785241"/>
                        </a:lnTo>
                        <a:cubicBezTo>
                          <a:pt x="10661" y="785241"/>
                          <a:pt x="0" y="774580"/>
                          <a:pt x="0" y="761429"/>
                        </a:cubicBezTo>
                        <a:lnTo>
                          <a:pt x="0" y="23813"/>
                        </a:lnTo>
                        <a:cubicBezTo>
                          <a:pt x="0" y="10661"/>
                          <a:pt x="10661" y="0"/>
                          <a:pt x="23813" y="0"/>
                        </a:cubicBezTo>
                        <a:close/>
                      </a:path>
                    </a:pathLst>
                  </a:custGeom>
                  <a:solidFill>
                    <a:srgbClr val="EDEDE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5" name="Freihandform: Form 224">
                    <a:extLst>
                      <a:ext uri="{FF2B5EF4-FFF2-40B4-BE49-F238E27FC236}">
                        <a16:creationId xmlns:a16="http://schemas.microsoft.com/office/drawing/2014/main" id="{49AFB626-905C-B553-1C3F-678AD8C63EAB}"/>
                      </a:ext>
                    </a:extLst>
                  </p:cNvPr>
                  <p:cNvSpPr/>
                  <p:nvPr/>
                </p:nvSpPr>
                <p:spPr>
                  <a:xfrm>
                    <a:off x="9348914" y="2150459"/>
                    <a:ext cx="596360" cy="785241"/>
                  </a:xfrm>
                  <a:custGeom>
                    <a:avLst/>
                    <a:gdLst>
                      <a:gd name="connsiteX0" fmla="*/ 0 w 596360"/>
                      <a:gd name="connsiteY0" fmla="*/ 0 h 785241"/>
                      <a:gd name="connsiteX1" fmla="*/ 596360 w 596360"/>
                      <a:gd name="connsiteY1" fmla="*/ 0 h 785241"/>
                      <a:gd name="connsiteX2" fmla="*/ 596360 w 596360"/>
                      <a:gd name="connsiteY2" fmla="*/ 785241 h 785241"/>
                      <a:gd name="connsiteX3" fmla="*/ 0 w 596360"/>
                      <a:gd name="connsiteY3" fmla="*/ 785241 h 785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96360" h="785241">
                        <a:moveTo>
                          <a:pt x="0" y="0"/>
                        </a:moveTo>
                        <a:lnTo>
                          <a:pt x="596360" y="0"/>
                        </a:lnTo>
                        <a:lnTo>
                          <a:pt x="596360" y="785241"/>
                        </a:lnTo>
                        <a:lnTo>
                          <a:pt x="0" y="785241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6" name="Freihandform: Form 225">
                    <a:extLst>
                      <a:ext uri="{FF2B5EF4-FFF2-40B4-BE49-F238E27FC236}">
                        <a16:creationId xmlns:a16="http://schemas.microsoft.com/office/drawing/2014/main" id="{A470D903-4B31-AD40-5020-976137D03CEB}"/>
                      </a:ext>
                    </a:extLst>
                  </p:cNvPr>
                  <p:cNvSpPr/>
                  <p:nvPr/>
                </p:nvSpPr>
                <p:spPr>
                  <a:xfrm>
                    <a:off x="9578942" y="2272093"/>
                    <a:ext cx="123253" cy="123253"/>
                  </a:xfrm>
                  <a:custGeom>
                    <a:avLst/>
                    <a:gdLst>
                      <a:gd name="connsiteX0" fmla="*/ 123254 w 123253"/>
                      <a:gd name="connsiteY0" fmla="*/ 61627 h 123253"/>
                      <a:gd name="connsiteX1" fmla="*/ 61627 w 123253"/>
                      <a:gd name="connsiteY1" fmla="*/ 123253 h 123253"/>
                      <a:gd name="connsiteX2" fmla="*/ 1 w 123253"/>
                      <a:gd name="connsiteY2" fmla="*/ 61627 h 123253"/>
                      <a:gd name="connsiteX3" fmla="*/ 61627 w 123253"/>
                      <a:gd name="connsiteY3" fmla="*/ 0 h 123253"/>
                      <a:gd name="connsiteX4" fmla="*/ 123254 w 123253"/>
                      <a:gd name="connsiteY4" fmla="*/ 61627 h 1232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3253" h="123253">
                        <a:moveTo>
                          <a:pt x="123254" y="61627"/>
                        </a:moveTo>
                        <a:cubicBezTo>
                          <a:pt x="123254" y="95662"/>
                          <a:pt x="95662" y="123253"/>
                          <a:pt x="61627" y="123253"/>
                        </a:cubicBezTo>
                        <a:cubicBezTo>
                          <a:pt x="27592" y="123253"/>
                          <a:pt x="1" y="95662"/>
                          <a:pt x="1" y="61627"/>
                        </a:cubicBezTo>
                        <a:cubicBezTo>
                          <a:pt x="1" y="27591"/>
                          <a:pt x="27592" y="0"/>
                          <a:pt x="61627" y="0"/>
                        </a:cubicBezTo>
                        <a:cubicBezTo>
                          <a:pt x="95663" y="0"/>
                          <a:pt x="123254" y="27591"/>
                          <a:pt x="123254" y="61627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7" name="Freihandform: Form 226">
                    <a:extLst>
                      <a:ext uri="{FF2B5EF4-FFF2-40B4-BE49-F238E27FC236}">
                        <a16:creationId xmlns:a16="http://schemas.microsoft.com/office/drawing/2014/main" id="{FC24D989-3194-B49D-76AD-5ABD668ABEEB}"/>
                      </a:ext>
                    </a:extLst>
                  </p:cNvPr>
                  <p:cNvSpPr/>
                  <p:nvPr/>
                </p:nvSpPr>
                <p:spPr>
                  <a:xfrm>
                    <a:off x="9852024" y="2186178"/>
                    <a:ext cx="24955" cy="24955"/>
                  </a:xfrm>
                  <a:custGeom>
                    <a:avLst/>
                    <a:gdLst>
                      <a:gd name="connsiteX0" fmla="*/ 24955 w 24955"/>
                      <a:gd name="connsiteY0" fmla="*/ 12478 h 24955"/>
                      <a:gd name="connsiteX1" fmla="*/ 12478 w 24955"/>
                      <a:gd name="connsiteY1" fmla="*/ 24955 h 24955"/>
                      <a:gd name="connsiteX2" fmla="*/ 0 w 24955"/>
                      <a:gd name="connsiteY2" fmla="*/ 12478 h 24955"/>
                      <a:gd name="connsiteX3" fmla="*/ 12478 w 24955"/>
                      <a:gd name="connsiteY3" fmla="*/ 0 h 24955"/>
                      <a:gd name="connsiteX4" fmla="*/ 24955 w 24955"/>
                      <a:gd name="connsiteY4" fmla="*/ 12478 h 249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955" h="24955">
                        <a:moveTo>
                          <a:pt x="24955" y="12478"/>
                        </a:moveTo>
                        <a:cubicBezTo>
                          <a:pt x="24955" y="19369"/>
                          <a:pt x="19369" y="24955"/>
                          <a:pt x="12478" y="24955"/>
                        </a:cubicBezTo>
                        <a:cubicBezTo>
                          <a:pt x="5586" y="24955"/>
                          <a:pt x="0" y="19369"/>
                          <a:pt x="0" y="12478"/>
                        </a:cubicBezTo>
                        <a:cubicBezTo>
                          <a:pt x="0" y="5586"/>
                          <a:pt x="5586" y="0"/>
                          <a:pt x="12478" y="0"/>
                        </a:cubicBezTo>
                        <a:cubicBezTo>
                          <a:pt x="19369" y="0"/>
                          <a:pt x="24955" y="5586"/>
                          <a:pt x="24955" y="12478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43" name="Grafik 23">
                  <a:extLst>
                    <a:ext uri="{FF2B5EF4-FFF2-40B4-BE49-F238E27FC236}">
                      <a16:creationId xmlns:a16="http://schemas.microsoft.com/office/drawing/2014/main" id="{F179D6D4-4912-9128-1312-683E6F03E5CB}"/>
                    </a:ext>
                  </a:extLst>
                </p:cNvPr>
                <p:cNvGrpSpPr/>
                <p:nvPr/>
              </p:nvGrpSpPr>
              <p:grpSpPr>
                <a:xfrm>
                  <a:off x="9261970" y="8864885"/>
                  <a:ext cx="346213" cy="324535"/>
                  <a:chOff x="9261970" y="2286285"/>
                  <a:chExt cx="346213" cy="324535"/>
                </a:xfrm>
                <a:solidFill>
                  <a:srgbClr val="8A5942"/>
                </a:solidFill>
              </p:grpSpPr>
              <p:sp>
                <p:nvSpPr>
                  <p:cNvPr id="221" name="Freihandform: Form 220">
                    <a:extLst>
                      <a:ext uri="{FF2B5EF4-FFF2-40B4-BE49-F238E27FC236}">
                        <a16:creationId xmlns:a16="http://schemas.microsoft.com/office/drawing/2014/main" id="{642E86B1-EE71-05C0-A42D-F88559939BB7}"/>
                      </a:ext>
                    </a:extLst>
                  </p:cNvPr>
                  <p:cNvSpPr/>
                  <p:nvPr/>
                </p:nvSpPr>
                <p:spPr>
                  <a:xfrm>
                    <a:off x="9472929" y="2452497"/>
                    <a:ext cx="135255" cy="135254"/>
                  </a:xfrm>
                  <a:custGeom>
                    <a:avLst/>
                    <a:gdLst>
                      <a:gd name="connsiteX0" fmla="*/ 135255 w 135255"/>
                      <a:gd name="connsiteY0" fmla="*/ 67628 h 135254"/>
                      <a:gd name="connsiteX1" fmla="*/ 67628 w 135255"/>
                      <a:gd name="connsiteY1" fmla="*/ 135255 h 135254"/>
                      <a:gd name="connsiteX2" fmla="*/ 1 w 135255"/>
                      <a:gd name="connsiteY2" fmla="*/ 67628 h 135254"/>
                      <a:gd name="connsiteX3" fmla="*/ 67628 w 135255"/>
                      <a:gd name="connsiteY3" fmla="*/ 0 h 135254"/>
                      <a:gd name="connsiteX4" fmla="*/ 135255 w 135255"/>
                      <a:gd name="connsiteY4" fmla="*/ 67628 h 1352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5255" h="135254">
                        <a:moveTo>
                          <a:pt x="135255" y="67628"/>
                        </a:moveTo>
                        <a:cubicBezTo>
                          <a:pt x="135255" y="104977"/>
                          <a:pt x="104977" y="135255"/>
                          <a:pt x="67628" y="135255"/>
                        </a:cubicBezTo>
                        <a:cubicBezTo>
                          <a:pt x="30279" y="135255"/>
                          <a:pt x="1" y="104977"/>
                          <a:pt x="1" y="67628"/>
                        </a:cubicBezTo>
                        <a:cubicBezTo>
                          <a:pt x="1" y="30278"/>
                          <a:pt x="30279" y="0"/>
                          <a:pt x="67628" y="0"/>
                        </a:cubicBezTo>
                        <a:cubicBezTo>
                          <a:pt x="104977" y="0"/>
                          <a:pt x="135255" y="30278"/>
                          <a:pt x="135255" y="67628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2" name="Freihandform: Form 221">
                    <a:extLst>
                      <a:ext uri="{FF2B5EF4-FFF2-40B4-BE49-F238E27FC236}">
                        <a16:creationId xmlns:a16="http://schemas.microsoft.com/office/drawing/2014/main" id="{F6A6AE7F-6006-D8B2-027B-DB51ADA1C84F}"/>
                      </a:ext>
                    </a:extLst>
                  </p:cNvPr>
                  <p:cNvSpPr/>
                  <p:nvPr/>
                </p:nvSpPr>
                <p:spPr>
                  <a:xfrm>
                    <a:off x="9261970" y="2286285"/>
                    <a:ext cx="308150" cy="265148"/>
                  </a:xfrm>
                  <a:custGeom>
                    <a:avLst/>
                    <a:gdLst>
                      <a:gd name="connsiteX0" fmla="*/ 167049 w 308150"/>
                      <a:gd name="connsiteY0" fmla="*/ 59246 h 265148"/>
                      <a:gd name="connsiteX1" fmla="*/ 245725 w 308150"/>
                      <a:gd name="connsiteY1" fmla="*/ 106299 h 265148"/>
                      <a:gd name="connsiteX2" fmla="*/ 306685 w 308150"/>
                      <a:gd name="connsiteY2" fmla="*/ 206788 h 265148"/>
                      <a:gd name="connsiteX3" fmla="*/ 197338 w 308150"/>
                      <a:gd name="connsiteY3" fmla="*/ 239173 h 265148"/>
                      <a:gd name="connsiteX4" fmla="*/ 131520 w 308150"/>
                      <a:gd name="connsiteY4" fmla="*/ 136588 h 265148"/>
                      <a:gd name="connsiteX5" fmla="*/ 67322 w 308150"/>
                      <a:gd name="connsiteY5" fmla="*/ 96012 h 265148"/>
                      <a:gd name="connsiteX6" fmla="*/ 67322 w 308150"/>
                      <a:gd name="connsiteY6" fmla="*/ 96012 h 265148"/>
                      <a:gd name="connsiteX7" fmla="*/ 22269 w 308150"/>
                      <a:gd name="connsiteY7" fmla="*/ 64579 h 265148"/>
                      <a:gd name="connsiteX8" fmla="*/ 5790 w 308150"/>
                      <a:gd name="connsiteY8" fmla="*/ 0 h 265148"/>
                      <a:gd name="connsiteX9" fmla="*/ 71036 w 308150"/>
                      <a:gd name="connsiteY9" fmla="*/ 37147 h 265148"/>
                      <a:gd name="connsiteX10" fmla="*/ 166000 w 308150"/>
                      <a:gd name="connsiteY10" fmla="*/ 58674 h 265148"/>
                      <a:gd name="connsiteX11" fmla="*/ 166572 w 308150"/>
                      <a:gd name="connsiteY11" fmla="*/ 59912 h 265148"/>
                      <a:gd name="connsiteX12" fmla="*/ 167049 w 308150"/>
                      <a:gd name="connsiteY12" fmla="*/ 59150 h 2651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308150" h="265148">
                        <a:moveTo>
                          <a:pt x="167049" y="59246"/>
                        </a:moveTo>
                        <a:cubicBezTo>
                          <a:pt x="167049" y="59246"/>
                          <a:pt x="224770" y="90297"/>
                          <a:pt x="245725" y="106299"/>
                        </a:cubicBezTo>
                        <a:cubicBezTo>
                          <a:pt x="245725" y="106299"/>
                          <a:pt x="319353" y="177927"/>
                          <a:pt x="306685" y="206788"/>
                        </a:cubicBezTo>
                        <a:cubicBezTo>
                          <a:pt x="283920" y="258699"/>
                          <a:pt x="207244" y="290322"/>
                          <a:pt x="197338" y="239173"/>
                        </a:cubicBezTo>
                        <a:cubicBezTo>
                          <a:pt x="186765" y="184975"/>
                          <a:pt x="139331" y="143256"/>
                          <a:pt x="131520" y="136588"/>
                        </a:cubicBezTo>
                        <a:lnTo>
                          <a:pt x="67322" y="96012"/>
                        </a:lnTo>
                        <a:cubicBezTo>
                          <a:pt x="67322" y="96012"/>
                          <a:pt x="67322" y="96012"/>
                          <a:pt x="67322" y="96012"/>
                        </a:cubicBezTo>
                        <a:cubicBezTo>
                          <a:pt x="53606" y="87154"/>
                          <a:pt x="37508" y="76009"/>
                          <a:pt x="22269" y="64579"/>
                        </a:cubicBezTo>
                        <a:cubicBezTo>
                          <a:pt x="1599" y="48958"/>
                          <a:pt x="-6497" y="32957"/>
                          <a:pt x="5790" y="0"/>
                        </a:cubicBezTo>
                        <a:lnTo>
                          <a:pt x="71036" y="37147"/>
                        </a:lnTo>
                        <a:cubicBezTo>
                          <a:pt x="71036" y="37147"/>
                          <a:pt x="167049" y="59150"/>
                          <a:pt x="166000" y="58674"/>
                        </a:cubicBezTo>
                        <a:cubicBezTo>
                          <a:pt x="166286" y="59055"/>
                          <a:pt x="166382" y="59531"/>
                          <a:pt x="166572" y="59912"/>
                        </a:cubicBezTo>
                        <a:cubicBezTo>
                          <a:pt x="166763" y="59626"/>
                          <a:pt x="166858" y="59436"/>
                          <a:pt x="167049" y="59150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3" name="Freihandform: Form 222">
                    <a:extLst>
                      <a:ext uri="{FF2B5EF4-FFF2-40B4-BE49-F238E27FC236}">
                        <a16:creationId xmlns:a16="http://schemas.microsoft.com/office/drawing/2014/main" id="{EFA70B11-4406-CF29-648D-42C3AA1C9434}"/>
                      </a:ext>
                    </a:extLst>
                  </p:cNvPr>
                  <p:cNvSpPr/>
                  <p:nvPr/>
                </p:nvSpPr>
                <p:spPr>
                  <a:xfrm>
                    <a:off x="9265221" y="2389083"/>
                    <a:ext cx="295814" cy="221737"/>
                  </a:xfrm>
                  <a:custGeom>
                    <a:avLst/>
                    <a:gdLst>
                      <a:gd name="connsiteX0" fmla="*/ 209422 w 295814"/>
                      <a:gd name="connsiteY0" fmla="*/ 11026 h 221737"/>
                      <a:gd name="connsiteX1" fmla="*/ 68357 w 295814"/>
                      <a:gd name="connsiteY1" fmla="*/ 15598 h 221737"/>
                      <a:gd name="connsiteX2" fmla="*/ 6158 w 295814"/>
                      <a:gd name="connsiteY2" fmla="*/ 29790 h 221737"/>
                      <a:gd name="connsiteX3" fmla="*/ 63785 w 295814"/>
                      <a:gd name="connsiteY3" fmla="*/ 220290 h 221737"/>
                      <a:gd name="connsiteX4" fmla="*/ 268382 w 295814"/>
                      <a:gd name="connsiteY4" fmla="*/ 198573 h 221737"/>
                      <a:gd name="connsiteX5" fmla="*/ 295814 w 295814"/>
                      <a:gd name="connsiteY5" fmla="*/ 73034 h 221737"/>
                      <a:gd name="connsiteX6" fmla="*/ 209422 w 295814"/>
                      <a:gd name="connsiteY6" fmla="*/ 11026 h 2217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95814" h="221737">
                        <a:moveTo>
                          <a:pt x="209422" y="11026"/>
                        </a:moveTo>
                        <a:cubicBezTo>
                          <a:pt x="153224" y="-16216"/>
                          <a:pt x="68357" y="15598"/>
                          <a:pt x="68357" y="15598"/>
                        </a:cubicBezTo>
                        <a:lnTo>
                          <a:pt x="6158" y="29790"/>
                        </a:lnTo>
                        <a:cubicBezTo>
                          <a:pt x="-10986" y="83416"/>
                          <a:pt x="7492" y="164188"/>
                          <a:pt x="63785" y="220290"/>
                        </a:cubicBezTo>
                        <a:cubicBezTo>
                          <a:pt x="156559" y="228577"/>
                          <a:pt x="268382" y="198573"/>
                          <a:pt x="268382" y="198573"/>
                        </a:cubicBezTo>
                        <a:lnTo>
                          <a:pt x="295814" y="73034"/>
                        </a:lnTo>
                        <a:cubicBezTo>
                          <a:pt x="295814" y="73034"/>
                          <a:pt x="265620" y="38172"/>
                          <a:pt x="209422" y="1102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144" name="Freihandform: Form 143">
                  <a:extLst>
                    <a:ext uri="{FF2B5EF4-FFF2-40B4-BE49-F238E27FC236}">
                      <a16:creationId xmlns:a16="http://schemas.microsoft.com/office/drawing/2014/main" id="{0D80D14E-17E1-3C8E-6F40-D5C4B35D00E5}"/>
                    </a:ext>
                  </a:extLst>
                </p:cNvPr>
                <p:cNvSpPr/>
                <p:nvPr/>
              </p:nvSpPr>
              <p:spPr>
                <a:xfrm>
                  <a:off x="9182798" y="12384659"/>
                  <a:ext cx="145732" cy="145732"/>
                </a:xfrm>
                <a:custGeom>
                  <a:avLst/>
                  <a:gdLst>
                    <a:gd name="connsiteX0" fmla="*/ 145732 w 145732"/>
                    <a:gd name="connsiteY0" fmla="*/ 72866 h 145732"/>
                    <a:gd name="connsiteX1" fmla="*/ 72866 w 145732"/>
                    <a:gd name="connsiteY1" fmla="*/ 145733 h 145732"/>
                    <a:gd name="connsiteX2" fmla="*/ -1 w 145732"/>
                    <a:gd name="connsiteY2" fmla="*/ 72866 h 145732"/>
                    <a:gd name="connsiteX3" fmla="*/ 72866 w 145732"/>
                    <a:gd name="connsiteY3" fmla="*/ 0 h 145732"/>
                    <a:gd name="connsiteX4" fmla="*/ 145732 w 145732"/>
                    <a:gd name="connsiteY4" fmla="*/ 72866 h 145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5732" h="145732">
                      <a:moveTo>
                        <a:pt x="145732" y="72866"/>
                      </a:moveTo>
                      <a:cubicBezTo>
                        <a:pt x="145732" y="113109"/>
                        <a:pt x="113109" y="145733"/>
                        <a:pt x="72866" y="145733"/>
                      </a:cubicBezTo>
                      <a:cubicBezTo>
                        <a:pt x="32623" y="145733"/>
                        <a:pt x="-1" y="113109"/>
                        <a:pt x="-1" y="72866"/>
                      </a:cubicBezTo>
                      <a:cubicBezTo>
                        <a:pt x="-1" y="32624"/>
                        <a:pt x="32623" y="0"/>
                        <a:pt x="72866" y="0"/>
                      </a:cubicBezTo>
                      <a:cubicBezTo>
                        <a:pt x="113109" y="0"/>
                        <a:pt x="145732" y="32624"/>
                        <a:pt x="145732" y="7286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5" name="Freihandform: Form 144">
                  <a:extLst>
                    <a:ext uri="{FF2B5EF4-FFF2-40B4-BE49-F238E27FC236}">
                      <a16:creationId xmlns:a16="http://schemas.microsoft.com/office/drawing/2014/main" id="{61022867-21D8-D70B-5D91-BD1FE3191BEA}"/>
                    </a:ext>
                  </a:extLst>
                </p:cNvPr>
                <p:cNvSpPr/>
                <p:nvPr/>
              </p:nvSpPr>
              <p:spPr>
                <a:xfrm>
                  <a:off x="9365963" y="12404280"/>
                  <a:ext cx="145732" cy="145732"/>
                </a:xfrm>
                <a:custGeom>
                  <a:avLst/>
                  <a:gdLst>
                    <a:gd name="connsiteX0" fmla="*/ 145733 w 145732"/>
                    <a:gd name="connsiteY0" fmla="*/ 72866 h 145732"/>
                    <a:gd name="connsiteX1" fmla="*/ 72866 w 145732"/>
                    <a:gd name="connsiteY1" fmla="*/ 145733 h 145732"/>
                    <a:gd name="connsiteX2" fmla="*/ 0 w 145732"/>
                    <a:gd name="connsiteY2" fmla="*/ 72866 h 145732"/>
                    <a:gd name="connsiteX3" fmla="*/ 72866 w 145732"/>
                    <a:gd name="connsiteY3" fmla="*/ 0 h 145732"/>
                    <a:gd name="connsiteX4" fmla="*/ 145733 w 145732"/>
                    <a:gd name="connsiteY4" fmla="*/ 72866 h 145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5732" h="145732">
                      <a:moveTo>
                        <a:pt x="145733" y="72866"/>
                      </a:moveTo>
                      <a:cubicBezTo>
                        <a:pt x="145733" y="113109"/>
                        <a:pt x="113109" y="145733"/>
                        <a:pt x="72866" y="145733"/>
                      </a:cubicBezTo>
                      <a:cubicBezTo>
                        <a:pt x="32623" y="145733"/>
                        <a:pt x="0" y="113109"/>
                        <a:pt x="0" y="72866"/>
                      </a:cubicBezTo>
                      <a:cubicBezTo>
                        <a:pt x="0" y="32624"/>
                        <a:pt x="32623" y="0"/>
                        <a:pt x="72866" y="0"/>
                      </a:cubicBezTo>
                      <a:cubicBezTo>
                        <a:pt x="113109" y="0"/>
                        <a:pt x="145733" y="32624"/>
                        <a:pt x="145733" y="7286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6" name="Freihandform: Form 145">
                  <a:extLst>
                    <a:ext uri="{FF2B5EF4-FFF2-40B4-BE49-F238E27FC236}">
                      <a16:creationId xmlns:a16="http://schemas.microsoft.com/office/drawing/2014/main" id="{88E50247-E74B-B87B-C208-415C526CEDD8}"/>
                    </a:ext>
                  </a:extLst>
                </p:cNvPr>
                <p:cNvSpPr/>
                <p:nvPr/>
              </p:nvSpPr>
              <p:spPr>
                <a:xfrm>
                  <a:off x="8938672" y="11260613"/>
                  <a:ext cx="389953" cy="1217787"/>
                </a:xfrm>
                <a:custGeom>
                  <a:avLst/>
                  <a:gdLst>
                    <a:gd name="connsiteX0" fmla="*/ 389954 w 389953"/>
                    <a:gd name="connsiteY0" fmla="*/ 1196054 h 1217787"/>
                    <a:gd name="connsiteX1" fmla="*/ 245079 w 389953"/>
                    <a:gd name="connsiteY1" fmla="*/ 1208532 h 1217787"/>
                    <a:gd name="connsiteX2" fmla="*/ 52388 w 389953"/>
                    <a:gd name="connsiteY2" fmla="*/ 579406 h 1217787"/>
                    <a:gd name="connsiteX3" fmla="*/ 0 w 389953"/>
                    <a:gd name="connsiteY3" fmla="*/ 44863 h 1217787"/>
                    <a:gd name="connsiteX4" fmla="*/ 306705 w 389953"/>
                    <a:gd name="connsiteY4" fmla="*/ 0 h 1217787"/>
                    <a:gd name="connsiteX5" fmla="*/ 316039 w 389953"/>
                    <a:gd name="connsiteY5" fmla="*/ 166878 h 1217787"/>
                    <a:gd name="connsiteX6" fmla="*/ 351091 w 389953"/>
                    <a:gd name="connsiteY6" fmla="*/ 480251 h 1217787"/>
                    <a:gd name="connsiteX7" fmla="*/ 361760 w 389953"/>
                    <a:gd name="connsiteY7" fmla="*/ 876681 h 1217787"/>
                    <a:gd name="connsiteX8" fmla="*/ 389858 w 389953"/>
                    <a:gd name="connsiteY8" fmla="*/ 1195959 h 12177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89953" h="1217787">
                      <a:moveTo>
                        <a:pt x="389954" y="1196054"/>
                      </a:moveTo>
                      <a:cubicBezTo>
                        <a:pt x="339471" y="1220438"/>
                        <a:pt x="293561" y="1223867"/>
                        <a:pt x="245079" y="1208532"/>
                      </a:cubicBezTo>
                      <a:cubicBezTo>
                        <a:pt x="209550" y="1038987"/>
                        <a:pt x="96964" y="734759"/>
                        <a:pt x="52388" y="579406"/>
                      </a:cubicBezTo>
                      <a:cubicBezTo>
                        <a:pt x="7715" y="423767"/>
                        <a:pt x="0" y="44863"/>
                        <a:pt x="0" y="44863"/>
                      </a:cubicBezTo>
                      <a:lnTo>
                        <a:pt x="306705" y="0"/>
                      </a:lnTo>
                      <a:lnTo>
                        <a:pt x="316039" y="166878"/>
                      </a:lnTo>
                      <a:cubicBezTo>
                        <a:pt x="316039" y="166878"/>
                        <a:pt x="347472" y="345662"/>
                        <a:pt x="351091" y="480251"/>
                      </a:cubicBezTo>
                      <a:cubicBezTo>
                        <a:pt x="354711" y="614839"/>
                        <a:pt x="361760" y="876681"/>
                        <a:pt x="361760" y="876681"/>
                      </a:cubicBezTo>
                      <a:lnTo>
                        <a:pt x="389858" y="1195959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7" name="Freihandform: Form 146">
                  <a:extLst>
                    <a:ext uri="{FF2B5EF4-FFF2-40B4-BE49-F238E27FC236}">
                      <a16:creationId xmlns:a16="http://schemas.microsoft.com/office/drawing/2014/main" id="{CFD1ED82-1574-24F3-C143-A11C2E9EE4A8}"/>
                    </a:ext>
                  </a:extLst>
                </p:cNvPr>
                <p:cNvSpPr/>
                <p:nvPr/>
              </p:nvSpPr>
              <p:spPr>
                <a:xfrm>
                  <a:off x="8936291" y="11117929"/>
                  <a:ext cx="309943" cy="318515"/>
                </a:xfrm>
                <a:custGeom>
                  <a:avLst/>
                  <a:gdLst>
                    <a:gd name="connsiteX0" fmla="*/ 309944 w 309943"/>
                    <a:gd name="connsiteY0" fmla="*/ 159258 h 318515"/>
                    <a:gd name="connsiteX1" fmla="*/ 154972 w 309943"/>
                    <a:gd name="connsiteY1" fmla="*/ 318516 h 318515"/>
                    <a:gd name="connsiteX2" fmla="*/ 0 w 309943"/>
                    <a:gd name="connsiteY2" fmla="*/ 159258 h 318515"/>
                    <a:gd name="connsiteX3" fmla="*/ 154972 w 309943"/>
                    <a:gd name="connsiteY3" fmla="*/ 0 h 318515"/>
                    <a:gd name="connsiteX4" fmla="*/ 309944 w 309943"/>
                    <a:gd name="connsiteY4" fmla="*/ 159258 h 3185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9943" h="318515">
                      <a:moveTo>
                        <a:pt x="309944" y="159258"/>
                      </a:moveTo>
                      <a:cubicBezTo>
                        <a:pt x="309944" y="247214"/>
                        <a:pt x="240561" y="318516"/>
                        <a:pt x="154972" y="318516"/>
                      </a:cubicBezTo>
                      <a:cubicBezTo>
                        <a:pt x="69383" y="318516"/>
                        <a:pt x="0" y="247214"/>
                        <a:pt x="0" y="159258"/>
                      </a:cubicBezTo>
                      <a:cubicBezTo>
                        <a:pt x="0" y="71302"/>
                        <a:pt x="69383" y="0"/>
                        <a:pt x="154972" y="0"/>
                      </a:cubicBezTo>
                      <a:cubicBezTo>
                        <a:pt x="240560" y="0"/>
                        <a:pt x="309944" y="71302"/>
                        <a:pt x="309944" y="15925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8" name="Freihandform: Form 147">
                  <a:extLst>
                    <a:ext uri="{FF2B5EF4-FFF2-40B4-BE49-F238E27FC236}">
                      <a16:creationId xmlns:a16="http://schemas.microsoft.com/office/drawing/2014/main" id="{44FA55D8-7602-40FD-3A30-05463255D6D7}"/>
                    </a:ext>
                  </a:extLst>
                </p:cNvPr>
                <p:cNvSpPr/>
                <p:nvPr/>
              </p:nvSpPr>
              <p:spPr>
                <a:xfrm>
                  <a:off x="9325196" y="11123358"/>
                  <a:ext cx="311086" cy="311086"/>
                </a:xfrm>
                <a:custGeom>
                  <a:avLst/>
                  <a:gdLst>
                    <a:gd name="connsiteX0" fmla="*/ 311086 w 311086"/>
                    <a:gd name="connsiteY0" fmla="*/ 155543 h 311086"/>
                    <a:gd name="connsiteX1" fmla="*/ 155543 w 311086"/>
                    <a:gd name="connsiteY1" fmla="*/ 311086 h 311086"/>
                    <a:gd name="connsiteX2" fmla="*/ -1 w 311086"/>
                    <a:gd name="connsiteY2" fmla="*/ 155543 h 311086"/>
                    <a:gd name="connsiteX3" fmla="*/ 155543 w 311086"/>
                    <a:gd name="connsiteY3" fmla="*/ 0 h 311086"/>
                    <a:gd name="connsiteX4" fmla="*/ 311086 w 311086"/>
                    <a:gd name="connsiteY4" fmla="*/ 155543 h 3110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1086" h="311086">
                      <a:moveTo>
                        <a:pt x="311086" y="155543"/>
                      </a:moveTo>
                      <a:cubicBezTo>
                        <a:pt x="311086" y="241447"/>
                        <a:pt x="241447" y="311086"/>
                        <a:pt x="155543" y="311086"/>
                      </a:cubicBezTo>
                      <a:cubicBezTo>
                        <a:pt x="69639" y="311086"/>
                        <a:pt x="-1" y="241447"/>
                        <a:pt x="-1" y="155543"/>
                      </a:cubicBezTo>
                      <a:cubicBezTo>
                        <a:pt x="-1" y="69639"/>
                        <a:pt x="69639" y="0"/>
                        <a:pt x="155543" y="0"/>
                      </a:cubicBezTo>
                      <a:cubicBezTo>
                        <a:pt x="241447" y="0"/>
                        <a:pt x="311086" y="69639"/>
                        <a:pt x="311086" y="155543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9" name="Freihandform: Form 148">
                  <a:extLst>
                    <a:ext uri="{FF2B5EF4-FFF2-40B4-BE49-F238E27FC236}">
                      <a16:creationId xmlns:a16="http://schemas.microsoft.com/office/drawing/2014/main" id="{6E706236-0955-F6A5-7132-2207724E3E8C}"/>
                    </a:ext>
                  </a:extLst>
                </p:cNvPr>
                <p:cNvSpPr/>
                <p:nvPr/>
              </p:nvSpPr>
              <p:spPr>
                <a:xfrm>
                  <a:off x="9111551" y="12452191"/>
                  <a:ext cx="251269" cy="207930"/>
                </a:xfrm>
                <a:custGeom>
                  <a:avLst/>
                  <a:gdLst>
                    <a:gd name="connsiteX0" fmla="*/ 72294 w 251269"/>
                    <a:gd name="connsiteY0" fmla="*/ 0 h 207930"/>
                    <a:gd name="connsiteX1" fmla="*/ 0 w 251269"/>
                    <a:gd name="connsiteY1" fmla="*/ 201549 h 207930"/>
                    <a:gd name="connsiteX2" fmla="*/ 251270 w 251269"/>
                    <a:gd name="connsiteY2" fmla="*/ 207930 h 207930"/>
                    <a:gd name="connsiteX3" fmla="*/ 216789 w 251269"/>
                    <a:gd name="connsiteY3" fmla="*/ 3334 h 207930"/>
                    <a:gd name="connsiteX4" fmla="*/ 72294 w 251269"/>
                    <a:gd name="connsiteY4" fmla="*/ 95 h 2079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1269" h="207930">
                      <a:moveTo>
                        <a:pt x="72294" y="0"/>
                      </a:moveTo>
                      <a:cubicBezTo>
                        <a:pt x="56579" y="148399"/>
                        <a:pt x="952" y="162496"/>
                        <a:pt x="0" y="201549"/>
                      </a:cubicBezTo>
                      <a:lnTo>
                        <a:pt x="251270" y="207930"/>
                      </a:lnTo>
                      <a:cubicBezTo>
                        <a:pt x="246126" y="145922"/>
                        <a:pt x="216789" y="118300"/>
                        <a:pt x="216789" y="3334"/>
                      </a:cubicBezTo>
                      <a:lnTo>
                        <a:pt x="72294" y="95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0" name="Freihandform: Form 149">
                  <a:extLst>
                    <a:ext uri="{FF2B5EF4-FFF2-40B4-BE49-F238E27FC236}">
                      <a16:creationId xmlns:a16="http://schemas.microsoft.com/office/drawing/2014/main" id="{0DF89678-5891-989F-AEEC-89F3748D9D4B}"/>
                    </a:ext>
                  </a:extLst>
                </p:cNvPr>
                <p:cNvSpPr/>
                <p:nvPr/>
              </p:nvSpPr>
              <p:spPr>
                <a:xfrm>
                  <a:off x="9040208" y="12666313"/>
                  <a:ext cx="343280" cy="94544"/>
                </a:xfrm>
                <a:custGeom>
                  <a:avLst/>
                  <a:gdLst>
                    <a:gd name="connsiteX0" fmla="*/ 322326 w 343280"/>
                    <a:gd name="connsiteY0" fmla="*/ 89821 h 94544"/>
                    <a:gd name="connsiteX1" fmla="*/ 21145 w 343280"/>
                    <a:gd name="connsiteY1" fmla="*/ 89630 h 94544"/>
                    <a:gd name="connsiteX2" fmla="*/ 0 w 343280"/>
                    <a:gd name="connsiteY2" fmla="*/ 60960 h 94544"/>
                    <a:gd name="connsiteX3" fmla="*/ 0 w 343280"/>
                    <a:gd name="connsiteY3" fmla="*/ 0 h 94544"/>
                    <a:gd name="connsiteX4" fmla="*/ 343281 w 343280"/>
                    <a:gd name="connsiteY4" fmla="*/ 0 h 94544"/>
                    <a:gd name="connsiteX5" fmla="*/ 343281 w 343280"/>
                    <a:gd name="connsiteY5" fmla="*/ 61150 h 94544"/>
                    <a:gd name="connsiteX6" fmla="*/ 322326 w 343280"/>
                    <a:gd name="connsiteY6" fmla="*/ 89821 h 945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43280" h="94544">
                      <a:moveTo>
                        <a:pt x="322326" y="89821"/>
                      </a:moveTo>
                      <a:cubicBezTo>
                        <a:pt x="218218" y="97822"/>
                        <a:pt x="135160" y="94202"/>
                        <a:pt x="21145" y="89630"/>
                      </a:cubicBezTo>
                      <a:cubicBezTo>
                        <a:pt x="8954" y="89154"/>
                        <a:pt x="0" y="75533"/>
                        <a:pt x="0" y="60960"/>
                      </a:cubicBezTo>
                      <a:lnTo>
                        <a:pt x="0" y="0"/>
                      </a:lnTo>
                      <a:cubicBezTo>
                        <a:pt x="0" y="0"/>
                        <a:pt x="343281" y="0"/>
                        <a:pt x="343281" y="0"/>
                      </a:cubicBezTo>
                      <a:lnTo>
                        <a:pt x="343281" y="61150"/>
                      </a:lnTo>
                      <a:cubicBezTo>
                        <a:pt x="343281" y="75629"/>
                        <a:pt x="334423" y="88868"/>
                        <a:pt x="322326" y="89821"/>
                      </a:cubicBezTo>
                      <a:close/>
                    </a:path>
                  </a:pathLst>
                </a:custGeom>
                <a:solidFill>
                  <a:srgbClr val="40404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1" name="Freihandform: Form 150">
                  <a:extLst>
                    <a:ext uri="{FF2B5EF4-FFF2-40B4-BE49-F238E27FC236}">
                      <a16:creationId xmlns:a16="http://schemas.microsoft.com/office/drawing/2014/main" id="{E09C1A13-F8F9-C622-182B-A99694540FC4}"/>
                    </a:ext>
                  </a:extLst>
                </p:cNvPr>
                <p:cNvSpPr/>
                <p:nvPr/>
              </p:nvSpPr>
              <p:spPr>
                <a:xfrm>
                  <a:off x="9040208" y="12513150"/>
                  <a:ext cx="343280" cy="181734"/>
                </a:xfrm>
                <a:custGeom>
                  <a:avLst/>
                  <a:gdLst>
                    <a:gd name="connsiteX0" fmla="*/ 343281 w 343280"/>
                    <a:gd name="connsiteY0" fmla="*/ 153163 h 181734"/>
                    <a:gd name="connsiteX1" fmla="*/ 294227 w 343280"/>
                    <a:gd name="connsiteY1" fmla="*/ 23147 h 181734"/>
                    <a:gd name="connsiteX2" fmla="*/ 279273 w 343280"/>
                    <a:gd name="connsiteY2" fmla="*/ 64199 h 181734"/>
                    <a:gd name="connsiteX3" fmla="*/ 98964 w 343280"/>
                    <a:gd name="connsiteY3" fmla="*/ 59628 h 181734"/>
                    <a:gd name="connsiteX4" fmla="*/ 0 w 343280"/>
                    <a:gd name="connsiteY4" fmla="*/ 153163 h 181734"/>
                    <a:gd name="connsiteX5" fmla="*/ 343281 w 343280"/>
                    <a:gd name="connsiteY5" fmla="*/ 153163 h 181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3280" h="181734">
                      <a:moveTo>
                        <a:pt x="343281" y="153163"/>
                      </a:moveTo>
                      <a:cubicBezTo>
                        <a:pt x="303847" y="73344"/>
                        <a:pt x="306133" y="10193"/>
                        <a:pt x="294227" y="23147"/>
                      </a:cubicBezTo>
                      <a:cubicBezTo>
                        <a:pt x="301276" y="53055"/>
                        <a:pt x="295656" y="65914"/>
                        <a:pt x="279273" y="64199"/>
                      </a:cubicBezTo>
                      <a:cubicBezTo>
                        <a:pt x="279273" y="64199"/>
                        <a:pt x="167544" y="-77151"/>
                        <a:pt x="98964" y="59628"/>
                      </a:cubicBezTo>
                      <a:cubicBezTo>
                        <a:pt x="57340" y="142591"/>
                        <a:pt x="4096" y="120397"/>
                        <a:pt x="0" y="153163"/>
                      </a:cubicBezTo>
                      <a:cubicBezTo>
                        <a:pt x="16478" y="185738"/>
                        <a:pt x="323945" y="196406"/>
                        <a:pt x="343281" y="15316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2" name="Freihandform: Form 151">
                  <a:extLst>
                    <a:ext uri="{FF2B5EF4-FFF2-40B4-BE49-F238E27FC236}">
                      <a16:creationId xmlns:a16="http://schemas.microsoft.com/office/drawing/2014/main" id="{B5CEB1E8-BF39-647D-FEDF-8BAAFDFFAF2E}"/>
                    </a:ext>
                  </a:extLst>
                </p:cNvPr>
                <p:cNvSpPr/>
                <p:nvPr/>
              </p:nvSpPr>
              <p:spPr>
                <a:xfrm>
                  <a:off x="9324879" y="11256327"/>
                  <a:ext cx="326797" cy="1236394"/>
                </a:xfrm>
                <a:custGeom>
                  <a:avLst/>
                  <a:gdLst>
                    <a:gd name="connsiteX0" fmla="*/ 41084 w 326797"/>
                    <a:gd name="connsiteY0" fmla="*/ 1218819 h 1236394"/>
                    <a:gd name="connsiteX1" fmla="*/ 186626 w 326797"/>
                    <a:gd name="connsiteY1" fmla="*/ 1215199 h 1236394"/>
                    <a:gd name="connsiteX2" fmla="*/ 315405 w 326797"/>
                    <a:gd name="connsiteY2" fmla="*/ 571024 h 1236394"/>
                    <a:gd name="connsiteX3" fmla="*/ 309594 w 326797"/>
                    <a:gd name="connsiteY3" fmla="*/ 0 h 1236394"/>
                    <a:gd name="connsiteX4" fmla="*/ 222 w 326797"/>
                    <a:gd name="connsiteY4" fmla="*/ 286 h 1236394"/>
                    <a:gd name="connsiteX5" fmla="*/ 8033 w 326797"/>
                    <a:gd name="connsiteY5" fmla="*/ 502825 h 1236394"/>
                    <a:gd name="connsiteX6" fmla="*/ 37655 w 326797"/>
                    <a:gd name="connsiteY6" fmla="*/ 898302 h 1236394"/>
                    <a:gd name="connsiteX7" fmla="*/ 40989 w 326797"/>
                    <a:gd name="connsiteY7" fmla="*/ 1218819 h 12363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797" h="1236394">
                      <a:moveTo>
                        <a:pt x="41084" y="1218819"/>
                      </a:moveTo>
                      <a:cubicBezTo>
                        <a:pt x="93853" y="1243870"/>
                        <a:pt x="140049" y="1241679"/>
                        <a:pt x="186626" y="1215199"/>
                      </a:cubicBezTo>
                      <a:cubicBezTo>
                        <a:pt x="204724" y="1042892"/>
                        <a:pt x="286830" y="730091"/>
                        <a:pt x="315405" y="571024"/>
                      </a:cubicBezTo>
                      <a:cubicBezTo>
                        <a:pt x="344075" y="411575"/>
                        <a:pt x="309594" y="0"/>
                        <a:pt x="309594" y="0"/>
                      </a:cubicBezTo>
                      <a:lnTo>
                        <a:pt x="222" y="286"/>
                      </a:lnTo>
                      <a:cubicBezTo>
                        <a:pt x="222" y="286"/>
                        <a:pt x="-2064" y="368617"/>
                        <a:pt x="8033" y="502825"/>
                      </a:cubicBezTo>
                      <a:cubicBezTo>
                        <a:pt x="18129" y="637032"/>
                        <a:pt x="37655" y="898302"/>
                        <a:pt x="37655" y="898302"/>
                      </a:cubicBezTo>
                      <a:lnTo>
                        <a:pt x="40989" y="1218819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3" name="Freihandform: Form 152">
                  <a:extLst>
                    <a:ext uri="{FF2B5EF4-FFF2-40B4-BE49-F238E27FC236}">
                      <a16:creationId xmlns:a16="http://schemas.microsoft.com/office/drawing/2014/main" id="{7F00F735-E846-34BE-6AF8-1C43FB1D32B4}"/>
                    </a:ext>
                  </a:extLst>
                </p:cNvPr>
                <p:cNvSpPr/>
                <p:nvPr/>
              </p:nvSpPr>
              <p:spPr>
                <a:xfrm>
                  <a:off x="9333007" y="12471526"/>
                  <a:ext cx="284035" cy="215074"/>
                </a:xfrm>
                <a:custGeom>
                  <a:avLst/>
                  <a:gdLst>
                    <a:gd name="connsiteX0" fmla="*/ 178498 w 284035"/>
                    <a:gd name="connsiteY0" fmla="*/ 0 h 215074"/>
                    <a:gd name="connsiteX1" fmla="*/ 284036 w 284035"/>
                    <a:gd name="connsiteY1" fmla="*/ 215075 h 215074"/>
                    <a:gd name="connsiteX2" fmla="*/ 0 w 284035"/>
                    <a:gd name="connsiteY2" fmla="*/ 215075 h 215074"/>
                    <a:gd name="connsiteX3" fmla="*/ 32956 w 284035"/>
                    <a:gd name="connsiteY3" fmla="*/ 4477 h 215074"/>
                    <a:gd name="connsiteX4" fmla="*/ 178594 w 284035"/>
                    <a:gd name="connsiteY4" fmla="*/ 0 h 2150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84035" h="215074">
                      <a:moveTo>
                        <a:pt x="178498" y="0"/>
                      </a:moveTo>
                      <a:cubicBezTo>
                        <a:pt x="199549" y="148685"/>
                        <a:pt x="284036" y="176022"/>
                        <a:pt x="284036" y="215075"/>
                      </a:cubicBezTo>
                      <a:lnTo>
                        <a:pt x="0" y="215075"/>
                      </a:lnTo>
                      <a:cubicBezTo>
                        <a:pt x="0" y="139637"/>
                        <a:pt x="37529" y="86963"/>
                        <a:pt x="32956" y="4477"/>
                      </a:cubicBezTo>
                      <a:lnTo>
                        <a:pt x="178594" y="0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4" name="Freihandform: Form 153">
                  <a:extLst>
                    <a:ext uri="{FF2B5EF4-FFF2-40B4-BE49-F238E27FC236}">
                      <a16:creationId xmlns:a16="http://schemas.microsoft.com/office/drawing/2014/main" id="{D3C25D9F-5487-EE42-9FDB-A4E11411D2F5}"/>
                    </a:ext>
                  </a:extLst>
                </p:cNvPr>
                <p:cNvSpPr/>
                <p:nvPr/>
              </p:nvSpPr>
              <p:spPr>
                <a:xfrm>
                  <a:off x="9312909" y="12667932"/>
                  <a:ext cx="343280" cy="92916"/>
                </a:xfrm>
                <a:custGeom>
                  <a:avLst/>
                  <a:gdLst>
                    <a:gd name="connsiteX0" fmla="*/ 20955 w 343280"/>
                    <a:gd name="connsiteY0" fmla="*/ 89821 h 92916"/>
                    <a:gd name="connsiteX1" fmla="*/ 322135 w 343280"/>
                    <a:gd name="connsiteY1" fmla="*/ 89631 h 92916"/>
                    <a:gd name="connsiteX2" fmla="*/ 343281 w 343280"/>
                    <a:gd name="connsiteY2" fmla="*/ 60960 h 92916"/>
                    <a:gd name="connsiteX3" fmla="*/ 343281 w 343280"/>
                    <a:gd name="connsiteY3" fmla="*/ 0 h 92916"/>
                    <a:gd name="connsiteX4" fmla="*/ 0 w 343280"/>
                    <a:gd name="connsiteY4" fmla="*/ 0 h 92916"/>
                    <a:gd name="connsiteX5" fmla="*/ 0 w 343280"/>
                    <a:gd name="connsiteY5" fmla="*/ 61150 h 92916"/>
                    <a:gd name="connsiteX6" fmla="*/ 20955 w 343280"/>
                    <a:gd name="connsiteY6" fmla="*/ 89821 h 929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43280" h="92916">
                      <a:moveTo>
                        <a:pt x="20955" y="89821"/>
                      </a:moveTo>
                      <a:cubicBezTo>
                        <a:pt x="138969" y="93345"/>
                        <a:pt x="221932" y="94583"/>
                        <a:pt x="322135" y="89631"/>
                      </a:cubicBezTo>
                      <a:cubicBezTo>
                        <a:pt x="334327" y="89059"/>
                        <a:pt x="343281" y="75533"/>
                        <a:pt x="343281" y="60960"/>
                      </a:cubicBezTo>
                      <a:lnTo>
                        <a:pt x="343281" y="0"/>
                      </a:lnTo>
                      <a:cubicBezTo>
                        <a:pt x="343281" y="0"/>
                        <a:pt x="0" y="0"/>
                        <a:pt x="0" y="0"/>
                      </a:cubicBezTo>
                      <a:lnTo>
                        <a:pt x="0" y="61150"/>
                      </a:lnTo>
                      <a:cubicBezTo>
                        <a:pt x="0" y="75629"/>
                        <a:pt x="8858" y="89440"/>
                        <a:pt x="20955" y="89821"/>
                      </a:cubicBezTo>
                      <a:close/>
                    </a:path>
                  </a:pathLst>
                </a:custGeom>
                <a:solidFill>
                  <a:srgbClr val="40404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5" name="Freihandform: Form 154">
                  <a:extLst>
                    <a:ext uri="{FF2B5EF4-FFF2-40B4-BE49-F238E27FC236}">
                      <a16:creationId xmlns:a16="http://schemas.microsoft.com/office/drawing/2014/main" id="{372C562D-9F90-3D8A-580F-F6CFD949DB27}"/>
                    </a:ext>
                  </a:extLst>
                </p:cNvPr>
                <p:cNvSpPr/>
                <p:nvPr/>
              </p:nvSpPr>
              <p:spPr>
                <a:xfrm>
                  <a:off x="9312909" y="12514864"/>
                  <a:ext cx="343280" cy="181734"/>
                </a:xfrm>
                <a:custGeom>
                  <a:avLst/>
                  <a:gdLst>
                    <a:gd name="connsiteX0" fmla="*/ 0 w 343280"/>
                    <a:gd name="connsiteY0" fmla="*/ 153163 h 181734"/>
                    <a:gd name="connsiteX1" fmla="*/ 49053 w 343280"/>
                    <a:gd name="connsiteY1" fmla="*/ 23147 h 181734"/>
                    <a:gd name="connsiteX2" fmla="*/ 64008 w 343280"/>
                    <a:gd name="connsiteY2" fmla="*/ 64199 h 181734"/>
                    <a:gd name="connsiteX3" fmla="*/ 244316 w 343280"/>
                    <a:gd name="connsiteY3" fmla="*/ 59628 h 181734"/>
                    <a:gd name="connsiteX4" fmla="*/ 343281 w 343280"/>
                    <a:gd name="connsiteY4" fmla="*/ 153163 h 181734"/>
                    <a:gd name="connsiteX5" fmla="*/ 0 w 343280"/>
                    <a:gd name="connsiteY5" fmla="*/ 153163 h 181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3280" h="181734">
                      <a:moveTo>
                        <a:pt x="0" y="153163"/>
                      </a:moveTo>
                      <a:cubicBezTo>
                        <a:pt x="39433" y="73344"/>
                        <a:pt x="37147" y="10193"/>
                        <a:pt x="49053" y="23147"/>
                      </a:cubicBezTo>
                      <a:cubicBezTo>
                        <a:pt x="42005" y="53055"/>
                        <a:pt x="47625" y="65914"/>
                        <a:pt x="64008" y="64199"/>
                      </a:cubicBezTo>
                      <a:cubicBezTo>
                        <a:pt x="64008" y="64199"/>
                        <a:pt x="175736" y="-77151"/>
                        <a:pt x="244316" y="59628"/>
                      </a:cubicBezTo>
                      <a:cubicBezTo>
                        <a:pt x="285940" y="142591"/>
                        <a:pt x="339185" y="120397"/>
                        <a:pt x="343281" y="153163"/>
                      </a:cubicBezTo>
                      <a:cubicBezTo>
                        <a:pt x="326803" y="185738"/>
                        <a:pt x="19335" y="196406"/>
                        <a:pt x="0" y="15316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6" name="Freihandform: Form 155">
                  <a:extLst>
                    <a:ext uri="{FF2B5EF4-FFF2-40B4-BE49-F238E27FC236}">
                      <a16:creationId xmlns:a16="http://schemas.microsoft.com/office/drawing/2014/main" id="{439611C8-C078-CB93-DF35-344DFB900995}"/>
                    </a:ext>
                  </a:extLst>
                </p:cNvPr>
                <p:cNvSpPr/>
                <p:nvPr/>
              </p:nvSpPr>
              <p:spPr>
                <a:xfrm>
                  <a:off x="8692641" y="9292748"/>
                  <a:ext cx="1197659" cy="1963864"/>
                </a:xfrm>
                <a:custGeom>
                  <a:avLst/>
                  <a:gdLst>
                    <a:gd name="connsiteX0" fmla="*/ 1130998 w 1197659"/>
                    <a:gd name="connsiteY0" fmla="*/ 302133 h 1963864"/>
                    <a:gd name="connsiteX1" fmla="*/ 919353 w 1197659"/>
                    <a:gd name="connsiteY1" fmla="*/ 1429 h 1963864"/>
                    <a:gd name="connsiteX2" fmla="*/ 598075 w 1197659"/>
                    <a:gd name="connsiteY2" fmla="*/ 0 h 1963864"/>
                    <a:gd name="connsiteX3" fmla="*/ 598075 w 1197659"/>
                    <a:gd name="connsiteY3" fmla="*/ 0 h 1963864"/>
                    <a:gd name="connsiteX4" fmla="*/ 594646 w 1197659"/>
                    <a:gd name="connsiteY4" fmla="*/ 0 h 1963864"/>
                    <a:gd name="connsiteX5" fmla="*/ 591216 w 1197659"/>
                    <a:gd name="connsiteY5" fmla="*/ 0 h 1963864"/>
                    <a:gd name="connsiteX6" fmla="*/ 591216 w 1197659"/>
                    <a:gd name="connsiteY6" fmla="*/ 0 h 1963864"/>
                    <a:gd name="connsiteX7" fmla="*/ 269938 w 1197659"/>
                    <a:gd name="connsiteY7" fmla="*/ 1429 h 1963864"/>
                    <a:gd name="connsiteX8" fmla="*/ 65531 w 1197659"/>
                    <a:gd name="connsiteY8" fmla="*/ 316421 h 1963864"/>
                    <a:gd name="connsiteX9" fmla="*/ 0 w 1197659"/>
                    <a:gd name="connsiteY9" fmla="*/ 635127 h 1963864"/>
                    <a:gd name="connsiteX10" fmla="*/ 24384 w 1197659"/>
                    <a:gd name="connsiteY10" fmla="*/ 1062895 h 1963864"/>
                    <a:gd name="connsiteX11" fmla="*/ 117634 w 1197659"/>
                    <a:gd name="connsiteY11" fmla="*/ 1567434 h 1963864"/>
                    <a:gd name="connsiteX12" fmla="*/ 209264 w 1197659"/>
                    <a:gd name="connsiteY12" fmla="*/ 1963865 h 1963864"/>
                    <a:gd name="connsiteX13" fmla="*/ 978217 w 1197659"/>
                    <a:gd name="connsiteY13" fmla="*/ 1963865 h 1963864"/>
                    <a:gd name="connsiteX14" fmla="*/ 1069848 w 1197659"/>
                    <a:gd name="connsiteY14" fmla="*/ 1567434 h 1963864"/>
                    <a:gd name="connsiteX15" fmla="*/ 1163098 w 1197659"/>
                    <a:gd name="connsiteY15" fmla="*/ 1062895 h 1963864"/>
                    <a:gd name="connsiteX16" fmla="*/ 1131189 w 1197659"/>
                    <a:gd name="connsiteY16" fmla="*/ 302133 h 1963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197659" h="1963864">
                      <a:moveTo>
                        <a:pt x="1130998" y="302133"/>
                      </a:moveTo>
                      <a:cubicBezTo>
                        <a:pt x="1066895" y="164021"/>
                        <a:pt x="919353" y="1429"/>
                        <a:pt x="919353" y="1429"/>
                      </a:cubicBezTo>
                      <a:lnTo>
                        <a:pt x="598075" y="0"/>
                      </a:lnTo>
                      <a:lnTo>
                        <a:pt x="598075" y="0"/>
                      </a:lnTo>
                      <a:cubicBezTo>
                        <a:pt x="598075" y="0"/>
                        <a:pt x="594646" y="0"/>
                        <a:pt x="594646" y="0"/>
                      </a:cubicBezTo>
                      <a:lnTo>
                        <a:pt x="591216" y="0"/>
                      </a:lnTo>
                      <a:cubicBezTo>
                        <a:pt x="591216" y="0"/>
                        <a:pt x="591216" y="0"/>
                        <a:pt x="591216" y="0"/>
                      </a:cubicBezTo>
                      <a:lnTo>
                        <a:pt x="269938" y="1429"/>
                      </a:lnTo>
                      <a:cubicBezTo>
                        <a:pt x="269938" y="1429"/>
                        <a:pt x="120205" y="174308"/>
                        <a:pt x="65531" y="316421"/>
                      </a:cubicBezTo>
                      <a:cubicBezTo>
                        <a:pt x="10953" y="458534"/>
                        <a:pt x="0" y="635127"/>
                        <a:pt x="0" y="635127"/>
                      </a:cubicBezTo>
                      <a:cubicBezTo>
                        <a:pt x="0" y="635127"/>
                        <a:pt x="6477" y="908114"/>
                        <a:pt x="24384" y="1062895"/>
                      </a:cubicBezTo>
                      <a:cubicBezTo>
                        <a:pt x="42196" y="1217676"/>
                        <a:pt x="82677" y="1449991"/>
                        <a:pt x="117634" y="1567434"/>
                      </a:cubicBezTo>
                      <a:cubicBezTo>
                        <a:pt x="152590" y="1684877"/>
                        <a:pt x="209264" y="1963865"/>
                        <a:pt x="209264" y="1963865"/>
                      </a:cubicBezTo>
                      <a:lnTo>
                        <a:pt x="978217" y="1963865"/>
                      </a:lnTo>
                      <a:cubicBezTo>
                        <a:pt x="978217" y="1963865"/>
                        <a:pt x="1034891" y="1684973"/>
                        <a:pt x="1069848" y="1567434"/>
                      </a:cubicBezTo>
                      <a:cubicBezTo>
                        <a:pt x="1104805" y="1449991"/>
                        <a:pt x="1134999" y="1216152"/>
                        <a:pt x="1163098" y="1062895"/>
                      </a:cubicBezTo>
                      <a:cubicBezTo>
                        <a:pt x="1214818" y="780859"/>
                        <a:pt x="1211866" y="476059"/>
                        <a:pt x="1131189" y="302133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7" name="Freihandform: Form 156">
                  <a:extLst>
                    <a:ext uri="{FF2B5EF4-FFF2-40B4-BE49-F238E27FC236}">
                      <a16:creationId xmlns:a16="http://schemas.microsoft.com/office/drawing/2014/main" id="{5913570F-5F9B-F656-BA8E-7165729D808E}"/>
                    </a:ext>
                  </a:extLst>
                </p:cNvPr>
                <p:cNvSpPr/>
                <p:nvPr/>
              </p:nvSpPr>
              <p:spPr>
                <a:xfrm>
                  <a:off x="8910483" y="7388618"/>
                  <a:ext cx="817969" cy="1046717"/>
                </a:xfrm>
                <a:custGeom>
                  <a:avLst/>
                  <a:gdLst>
                    <a:gd name="connsiteX0" fmla="*/ 720465 w 817969"/>
                    <a:gd name="connsiteY0" fmla="*/ 892765 h 1046717"/>
                    <a:gd name="connsiteX1" fmla="*/ 679603 w 817969"/>
                    <a:gd name="connsiteY1" fmla="*/ 349364 h 1046717"/>
                    <a:gd name="connsiteX2" fmla="*/ 351467 w 817969"/>
                    <a:gd name="connsiteY2" fmla="*/ 1321 h 1046717"/>
                    <a:gd name="connsiteX3" fmla="*/ 212974 w 817969"/>
                    <a:gd name="connsiteY3" fmla="*/ 66472 h 1046717"/>
                    <a:gd name="connsiteX4" fmla="*/ 25522 w 817969"/>
                    <a:gd name="connsiteY4" fmla="*/ 310312 h 1046717"/>
                    <a:gd name="connsiteX5" fmla="*/ 68956 w 817969"/>
                    <a:gd name="connsiteY5" fmla="*/ 866857 h 1046717"/>
                    <a:gd name="connsiteX6" fmla="*/ 720465 w 817969"/>
                    <a:gd name="connsiteY6" fmla="*/ 892765 h 1046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7969" h="1046717">
                      <a:moveTo>
                        <a:pt x="720465" y="892765"/>
                      </a:moveTo>
                      <a:cubicBezTo>
                        <a:pt x="720465" y="892765"/>
                        <a:pt x="964972" y="672262"/>
                        <a:pt x="679603" y="349364"/>
                      </a:cubicBezTo>
                      <a:cubicBezTo>
                        <a:pt x="593307" y="251733"/>
                        <a:pt x="546444" y="-21254"/>
                        <a:pt x="351467" y="1321"/>
                      </a:cubicBezTo>
                      <a:cubicBezTo>
                        <a:pt x="299555" y="8560"/>
                        <a:pt x="250502" y="23038"/>
                        <a:pt x="212974" y="66472"/>
                      </a:cubicBezTo>
                      <a:cubicBezTo>
                        <a:pt x="212974" y="66472"/>
                        <a:pt x="81243" y="74568"/>
                        <a:pt x="25522" y="310312"/>
                      </a:cubicBezTo>
                      <a:cubicBezTo>
                        <a:pt x="-22008" y="511480"/>
                        <a:pt x="-672" y="769036"/>
                        <a:pt x="68956" y="866857"/>
                      </a:cubicBezTo>
                      <a:cubicBezTo>
                        <a:pt x="228975" y="1099363"/>
                        <a:pt x="446907" y="1104792"/>
                        <a:pt x="720465" y="89276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8" name="Freihandform: Form 157">
                  <a:extLst>
                    <a:ext uri="{FF2B5EF4-FFF2-40B4-BE49-F238E27FC236}">
                      <a16:creationId xmlns:a16="http://schemas.microsoft.com/office/drawing/2014/main" id="{FBCFDB59-5053-8813-94F7-AAA4B65C33C3}"/>
                    </a:ext>
                  </a:extLst>
                </p:cNvPr>
                <p:cNvSpPr/>
                <p:nvPr/>
              </p:nvSpPr>
              <p:spPr>
                <a:xfrm>
                  <a:off x="9143174" y="7890573"/>
                  <a:ext cx="298227" cy="463654"/>
                </a:xfrm>
                <a:custGeom>
                  <a:avLst/>
                  <a:gdLst>
                    <a:gd name="connsiteX0" fmla="*/ 0 w 298227"/>
                    <a:gd name="connsiteY0" fmla="*/ 385001 h 463654"/>
                    <a:gd name="connsiteX1" fmla="*/ 298228 w 298227"/>
                    <a:gd name="connsiteY1" fmla="*/ 385001 h 463654"/>
                    <a:gd name="connsiteX2" fmla="*/ 298228 w 298227"/>
                    <a:gd name="connsiteY2" fmla="*/ 0 h 463654"/>
                    <a:gd name="connsiteX3" fmla="*/ 0 w 298227"/>
                    <a:gd name="connsiteY3" fmla="*/ 0 h 463654"/>
                    <a:gd name="connsiteX4" fmla="*/ 0 w 298227"/>
                    <a:gd name="connsiteY4" fmla="*/ 385001 h 4636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8227" h="463654">
                      <a:moveTo>
                        <a:pt x="0" y="385001"/>
                      </a:moveTo>
                      <a:cubicBezTo>
                        <a:pt x="51816" y="489109"/>
                        <a:pt x="237172" y="490633"/>
                        <a:pt x="298228" y="385001"/>
                      </a:cubicBezTo>
                      <a:lnTo>
                        <a:pt x="298228" y="0"/>
                      </a:lnTo>
                      <a:lnTo>
                        <a:pt x="0" y="0"/>
                      </a:lnTo>
                      <a:cubicBezTo>
                        <a:pt x="0" y="0"/>
                        <a:pt x="0" y="385001"/>
                        <a:pt x="0" y="385001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9" name="Freihandform: Form 158">
                  <a:extLst>
                    <a:ext uri="{FF2B5EF4-FFF2-40B4-BE49-F238E27FC236}">
                      <a16:creationId xmlns:a16="http://schemas.microsoft.com/office/drawing/2014/main" id="{D2484FDA-0B37-3BA9-842C-CE80F5D807FA}"/>
                    </a:ext>
                  </a:extLst>
                </p:cNvPr>
                <p:cNvSpPr/>
                <p:nvPr/>
              </p:nvSpPr>
              <p:spPr>
                <a:xfrm>
                  <a:off x="9054877" y="7945437"/>
                  <a:ext cx="361378" cy="476350"/>
                </a:xfrm>
                <a:custGeom>
                  <a:avLst/>
                  <a:gdLst>
                    <a:gd name="connsiteX0" fmla="*/ 361379 w 361378"/>
                    <a:gd name="connsiteY0" fmla="*/ 0 h 476350"/>
                    <a:gd name="connsiteX1" fmla="*/ 347186 w 361378"/>
                    <a:gd name="connsiteY1" fmla="*/ 72295 h 476350"/>
                    <a:gd name="connsiteX2" fmla="*/ 224790 w 361378"/>
                    <a:gd name="connsiteY2" fmla="*/ 204121 h 476350"/>
                    <a:gd name="connsiteX3" fmla="*/ 143542 w 361378"/>
                    <a:gd name="connsiteY3" fmla="*/ 260890 h 476350"/>
                    <a:gd name="connsiteX4" fmla="*/ 220313 w 361378"/>
                    <a:gd name="connsiteY4" fmla="*/ 473012 h 476350"/>
                    <a:gd name="connsiteX5" fmla="*/ 0 w 361378"/>
                    <a:gd name="connsiteY5" fmla="*/ 278987 h 476350"/>
                    <a:gd name="connsiteX6" fmla="*/ 88106 w 361378"/>
                    <a:gd name="connsiteY6" fmla="*/ 244888 h 476350"/>
                    <a:gd name="connsiteX7" fmla="*/ 88106 w 361378"/>
                    <a:gd name="connsiteY7" fmla="*/ 0 h 476350"/>
                    <a:gd name="connsiteX8" fmla="*/ 361379 w 361378"/>
                    <a:gd name="connsiteY8" fmla="*/ 0 h 476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61378" h="476350">
                      <a:moveTo>
                        <a:pt x="361379" y="0"/>
                      </a:moveTo>
                      <a:lnTo>
                        <a:pt x="347186" y="72295"/>
                      </a:lnTo>
                      <a:cubicBezTo>
                        <a:pt x="347186" y="72295"/>
                        <a:pt x="321945" y="199168"/>
                        <a:pt x="224790" y="204121"/>
                      </a:cubicBezTo>
                      <a:cubicBezTo>
                        <a:pt x="166688" y="207073"/>
                        <a:pt x="143827" y="229362"/>
                        <a:pt x="143542" y="260890"/>
                      </a:cubicBezTo>
                      <a:cubicBezTo>
                        <a:pt x="142590" y="384810"/>
                        <a:pt x="240030" y="440627"/>
                        <a:pt x="220313" y="473012"/>
                      </a:cubicBezTo>
                      <a:cubicBezTo>
                        <a:pt x="147733" y="501110"/>
                        <a:pt x="34100" y="344519"/>
                        <a:pt x="0" y="278987"/>
                      </a:cubicBezTo>
                      <a:lnTo>
                        <a:pt x="88106" y="244888"/>
                      </a:lnTo>
                      <a:lnTo>
                        <a:pt x="88106" y="0"/>
                      </a:lnTo>
                      <a:lnTo>
                        <a:pt x="361379" y="0"/>
                      </a:lnTo>
                      <a:close/>
                    </a:path>
                  </a:pathLst>
                </a:custGeom>
                <a:solidFill>
                  <a:srgbClr val="4B2E1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0" name="Freihandform: Form 159">
                  <a:extLst>
                    <a:ext uri="{FF2B5EF4-FFF2-40B4-BE49-F238E27FC236}">
                      <a16:creationId xmlns:a16="http://schemas.microsoft.com/office/drawing/2014/main" id="{029C22C0-E4FE-4830-9D27-ADC6B603B769}"/>
                    </a:ext>
                  </a:extLst>
                </p:cNvPr>
                <p:cNvSpPr/>
                <p:nvPr/>
              </p:nvSpPr>
              <p:spPr>
                <a:xfrm>
                  <a:off x="9092333" y="7562696"/>
                  <a:ext cx="400153" cy="557524"/>
                </a:xfrm>
                <a:custGeom>
                  <a:avLst/>
                  <a:gdLst>
                    <a:gd name="connsiteX0" fmla="*/ 398979 w 400153"/>
                    <a:gd name="connsiteY0" fmla="*/ 188336 h 557524"/>
                    <a:gd name="connsiteX1" fmla="*/ 346687 w 400153"/>
                    <a:gd name="connsiteY1" fmla="*/ 49080 h 557524"/>
                    <a:gd name="connsiteX2" fmla="*/ 200097 w 400153"/>
                    <a:gd name="connsiteY2" fmla="*/ 26 h 557524"/>
                    <a:gd name="connsiteX3" fmla="*/ 53507 w 400153"/>
                    <a:gd name="connsiteY3" fmla="*/ 49080 h 557524"/>
                    <a:gd name="connsiteX4" fmla="*/ 1215 w 400153"/>
                    <a:gd name="connsiteY4" fmla="*/ 188336 h 557524"/>
                    <a:gd name="connsiteX5" fmla="*/ 2073 w 400153"/>
                    <a:gd name="connsiteY5" fmla="*/ 321400 h 557524"/>
                    <a:gd name="connsiteX6" fmla="*/ 61604 w 400153"/>
                    <a:gd name="connsiteY6" fmla="*/ 469704 h 557524"/>
                    <a:gd name="connsiteX7" fmla="*/ 200097 w 400153"/>
                    <a:gd name="connsiteY7" fmla="*/ 557525 h 557524"/>
                    <a:gd name="connsiteX8" fmla="*/ 338591 w 400153"/>
                    <a:gd name="connsiteY8" fmla="*/ 469704 h 557524"/>
                    <a:gd name="connsiteX9" fmla="*/ 398122 w 400153"/>
                    <a:gd name="connsiteY9" fmla="*/ 321400 h 557524"/>
                    <a:gd name="connsiteX10" fmla="*/ 398979 w 400153"/>
                    <a:gd name="connsiteY10" fmla="*/ 188336 h 5575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00153" h="557524">
                      <a:moveTo>
                        <a:pt x="398979" y="188336"/>
                      </a:moveTo>
                      <a:cubicBezTo>
                        <a:pt x="398979" y="188336"/>
                        <a:pt x="394217" y="105278"/>
                        <a:pt x="346687" y="49080"/>
                      </a:cubicBezTo>
                      <a:cubicBezTo>
                        <a:pt x="307540" y="2789"/>
                        <a:pt x="227148" y="-355"/>
                        <a:pt x="200097" y="26"/>
                      </a:cubicBezTo>
                      <a:cubicBezTo>
                        <a:pt x="173046" y="-355"/>
                        <a:pt x="92655" y="2789"/>
                        <a:pt x="53507" y="49080"/>
                      </a:cubicBezTo>
                      <a:cubicBezTo>
                        <a:pt x="5978" y="105278"/>
                        <a:pt x="1215" y="188336"/>
                        <a:pt x="1215" y="188336"/>
                      </a:cubicBezTo>
                      <a:cubicBezTo>
                        <a:pt x="1215" y="188336"/>
                        <a:pt x="-2023" y="284252"/>
                        <a:pt x="2073" y="321400"/>
                      </a:cubicBezTo>
                      <a:cubicBezTo>
                        <a:pt x="6073" y="358452"/>
                        <a:pt x="1882" y="409316"/>
                        <a:pt x="61604" y="469704"/>
                      </a:cubicBezTo>
                      <a:cubicBezTo>
                        <a:pt x="119802" y="528664"/>
                        <a:pt x="159711" y="556191"/>
                        <a:pt x="200097" y="557525"/>
                      </a:cubicBezTo>
                      <a:cubicBezTo>
                        <a:pt x="240483" y="556191"/>
                        <a:pt x="280393" y="528664"/>
                        <a:pt x="338591" y="469704"/>
                      </a:cubicBezTo>
                      <a:cubicBezTo>
                        <a:pt x="398217" y="409316"/>
                        <a:pt x="394026" y="358452"/>
                        <a:pt x="398122" y="321400"/>
                      </a:cubicBezTo>
                      <a:cubicBezTo>
                        <a:pt x="402123" y="284348"/>
                        <a:pt x="398979" y="188336"/>
                        <a:pt x="398979" y="18833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1" name="Freihandform: Form 160">
                  <a:extLst>
                    <a:ext uri="{FF2B5EF4-FFF2-40B4-BE49-F238E27FC236}">
                      <a16:creationId xmlns:a16="http://schemas.microsoft.com/office/drawing/2014/main" id="{6DBA6D67-7C34-5018-0A23-9E522418F05B}"/>
                    </a:ext>
                  </a:extLst>
                </p:cNvPr>
                <p:cNvSpPr/>
                <p:nvPr/>
              </p:nvSpPr>
              <p:spPr>
                <a:xfrm rot="18018600">
                  <a:off x="9397508" y="7761554"/>
                  <a:ext cx="196214" cy="136778"/>
                </a:xfrm>
                <a:custGeom>
                  <a:avLst/>
                  <a:gdLst>
                    <a:gd name="connsiteX0" fmla="*/ 196215 w 196214"/>
                    <a:gd name="connsiteY0" fmla="*/ 68389 h 136778"/>
                    <a:gd name="connsiteX1" fmla="*/ 98107 w 196214"/>
                    <a:gd name="connsiteY1" fmla="*/ 136779 h 136778"/>
                    <a:gd name="connsiteX2" fmla="*/ 0 w 196214"/>
                    <a:gd name="connsiteY2" fmla="*/ 68389 h 136778"/>
                    <a:gd name="connsiteX3" fmla="*/ 98107 w 196214"/>
                    <a:gd name="connsiteY3" fmla="*/ 0 h 136778"/>
                    <a:gd name="connsiteX4" fmla="*/ 196215 w 196214"/>
                    <a:gd name="connsiteY4" fmla="*/ 68389 h 136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6214" h="136778">
                      <a:moveTo>
                        <a:pt x="196215" y="68389"/>
                      </a:moveTo>
                      <a:cubicBezTo>
                        <a:pt x="196215" y="106160"/>
                        <a:pt x="152291" y="136779"/>
                        <a:pt x="98107" y="136779"/>
                      </a:cubicBezTo>
                      <a:cubicBezTo>
                        <a:pt x="43924" y="136779"/>
                        <a:pt x="0" y="106160"/>
                        <a:pt x="0" y="68389"/>
                      </a:cubicBezTo>
                      <a:cubicBezTo>
                        <a:pt x="0" y="30619"/>
                        <a:pt x="43924" y="0"/>
                        <a:pt x="98107" y="0"/>
                      </a:cubicBezTo>
                      <a:cubicBezTo>
                        <a:pt x="152291" y="0"/>
                        <a:pt x="196215" y="30619"/>
                        <a:pt x="196215" y="68389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2" name="Freihandform: Form 161">
                  <a:extLst>
                    <a:ext uri="{FF2B5EF4-FFF2-40B4-BE49-F238E27FC236}">
                      <a16:creationId xmlns:a16="http://schemas.microsoft.com/office/drawing/2014/main" id="{64417BDD-2BAE-A7FF-43A8-64FD2C079E31}"/>
                    </a:ext>
                  </a:extLst>
                </p:cNvPr>
                <p:cNvSpPr/>
                <p:nvPr/>
              </p:nvSpPr>
              <p:spPr>
                <a:xfrm rot="20184000">
                  <a:off x="9013384" y="7733298"/>
                  <a:ext cx="138112" cy="194310"/>
                </a:xfrm>
                <a:custGeom>
                  <a:avLst/>
                  <a:gdLst>
                    <a:gd name="connsiteX0" fmla="*/ 138113 w 138112"/>
                    <a:gd name="connsiteY0" fmla="*/ 97155 h 194310"/>
                    <a:gd name="connsiteX1" fmla="*/ 69056 w 138112"/>
                    <a:gd name="connsiteY1" fmla="*/ 194310 h 194310"/>
                    <a:gd name="connsiteX2" fmla="*/ 0 w 138112"/>
                    <a:gd name="connsiteY2" fmla="*/ 97155 h 194310"/>
                    <a:gd name="connsiteX3" fmla="*/ 69056 w 138112"/>
                    <a:gd name="connsiteY3" fmla="*/ 0 h 194310"/>
                    <a:gd name="connsiteX4" fmla="*/ 138113 w 138112"/>
                    <a:gd name="connsiteY4" fmla="*/ 97155 h 1943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8112" h="194310">
                      <a:moveTo>
                        <a:pt x="138113" y="97155"/>
                      </a:moveTo>
                      <a:cubicBezTo>
                        <a:pt x="138113" y="150812"/>
                        <a:pt x="107195" y="194310"/>
                        <a:pt x="69056" y="194310"/>
                      </a:cubicBezTo>
                      <a:cubicBezTo>
                        <a:pt x="30917" y="194310"/>
                        <a:pt x="0" y="150812"/>
                        <a:pt x="0" y="97155"/>
                      </a:cubicBezTo>
                      <a:cubicBezTo>
                        <a:pt x="0" y="43498"/>
                        <a:pt x="30917" y="0"/>
                        <a:pt x="69056" y="0"/>
                      </a:cubicBezTo>
                      <a:cubicBezTo>
                        <a:pt x="107195" y="0"/>
                        <a:pt x="138113" y="43498"/>
                        <a:pt x="138113" y="97155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3" name="Freihandform: Form 162">
                  <a:extLst>
                    <a:ext uri="{FF2B5EF4-FFF2-40B4-BE49-F238E27FC236}">
                      <a16:creationId xmlns:a16="http://schemas.microsoft.com/office/drawing/2014/main" id="{D5533B85-DEFE-BC37-C424-60A48D8B8502}"/>
                    </a:ext>
                  </a:extLst>
                </p:cNvPr>
                <p:cNvSpPr/>
                <p:nvPr/>
              </p:nvSpPr>
              <p:spPr>
                <a:xfrm>
                  <a:off x="9023349" y="7397083"/>
                  <a:ext cx="538162" cy="562546"/>
                </a:xfrm>
                <a:custGeom>
                  <a:avLst/>
                  <a:gdLst>
                    <a:gd name="connsiteX0" fmla="*/ 538163 w 538162"/>
                    <a:gd name="connsiteY0" fmla="*/ 281273 h 562546"/>
                    <a:gd name="connsiteX1" fmla="*/ 269081 w 538162"/>
                    <a:gd name="connsiteY1" fmla="*/ 562547 h 562546"/>
                    <a:gd name="connsiteX2" fmla="*/ 0 w 538162"/>
                    <a:gd name="connsiteY2" fmla="*/ 281273 h 562546"/>
                    <a:gd name="connsiteX3" fmla="*/ 269081 w 538162"/>
                    <a:gd name="connsiteY3" fmla="*/ 0 h 562546"/>
                    <a:gd name="connsiteX4" fmla="*/ 538163 w 538162"/>
                    <a:gd name="connsiteY4" fmla="*/ 281273 h 562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8162" h="562546">
                      <a:moveTo>
                        <a:pt x="538163" y="281273"/>
                      </a:moveTo>
                      <a:cubicBezTo>
                        <a:pt x="538163" y="436616"/>
                        <a:pt x="417691" y="562547"/>
                        <a:pt x="269081" y="562547"/>
                      </a:cubicBezTo>
                      <a:cubicBezTo>
                        <a:pt x="120472" y="562547"/>
                        <a:pt x="0" y="436616"/>
                        <a:pt x="0" y="281273"/>
                      </a:cubicBezTo>
                      <a:cubicBezTo>
                        <a:pt x="0" y="125930"/>
                        <a:pt x="120472" y="0"/>
                        <a:pt x="269081" y="0"/>
                      </a:cubicBezTo>
                      <a:cubicBezTo>
                        <a:pt x="417691" y="0"/>
                        <a:pt x="538163" y="125930"/>
                        <a:pt x="538163" y="281273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4" name="Freihandform: Form 163">
                  <a:extLst>
                    <a:ext uri="{FF2B5EF4-FFF2-40B4-BE49-F238E27FC236}">
                      <a16:creationId xmlns:a16="http://schemas.microsoft.com/office/drawing/2014/main" id="{27391171-8ACE-B22E-1092-CA2675B38359}"/>
                    </a:ext>
                  </a:extLst>
                </p:cNvPr>
                <p:cNvSpPr/>
                <p:nvPr/>
              </p:nvSpPr>
              <p:spPr>
                <a:xfrm>
                  <a:off x="9011639" y="7401845"/>
                  <a:ext cx="530631" cy="404621"/>
                </a:xfrm>
                <a:custGeom>
                  <a:avLst/>
                  <a:gdLst>
                    <a:gd name="connsiteX0" fmla="*/ 267647 w 530631"/>
                    <a:gd name="connsiteY0" fmla="*/ 127540 h 404621"/>
                    <a:gd name="connsiteX1" fmla="*/ 491770 w 530631"/>
                    <a:gd name="connsiteY1" fmla="*/ 404622 h 404621"/>
                    <a:gd name="connsiteX2" fmla="*/ 530632 w 530631"/>
                    <a:gd name="connsiteY2" fmla="*/ 281273 h 404621"/>
                    <a:gd name="connsiteX3" fmla="*/ 266408 w 530631"/>
                    <a:gd name="connsiteY3" fmla="*/ 0 h 404621"/>
                    <a:gd name="connsiteX4" fmla="*/ 87814 w 530631"/>
                    <a:gd name="connsiteY4" fmla="*/ 74009 h 404621"/>
                    <a:gd name="connsiteX5" fmla="*/ 54382 w 530631"/>
                    <a:gd name="connsiteY5" fmla="*/ 389858 h 404621"/>
                    <a:gd name="connsiteX6" fmla="*/ 267647 w 530631"/>
                    <a:gd name="connsiteY6" fmla="*/ 127540 h 4046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0631" h="404621">
                      <a:moveTo>
                        <a:pt x="267647" y="127540"/>
                      </a:moveTo>
                      <a:cubicBezTo>
                        <a:pt x="459099" y="139637"/>
                        <a:pt x="435572" y="297085"/>
                        <a:pt x="491770" y="404622"/>
                      </a:cubicBezTo>
                      <a:cubicBezTo>
                        <a:pt x="502343" y="374142"/>
                        <a:pt x="530632" y="315659"/>
                        <a:pt x="530632" y="281273"/>
                      </a:cubicBezTo>
                      <a:cubicBezTo>
                        <a:pt x="530632" y="125920"/>
                        <a:pt x="412331" y="0"/>
                        <a:pt x="266408" y="0"/>
                      </a:cubicBezTo>
                      <a:cubicBezTo>
                        <a:pt x="197543" y="0"/>
                        <a:pt x="134773" y="28004"/>
                        <a:pt x="87814" y="74009"/>
                      </a:cubicBezTo>
                      <a:cubicBezTo>
                        <a:pt x="17520" y="108204"/>
                        <a:pt x="-51250" y="297085"/>
                        <a:pt x="54382" y="389858"/>
                      </a:cubicBezTo>
                      <a:cubicBezTo>
                        <a:pt x="94958" y="311753"/>
                        <a:pt x="95244" y="116681"/>
                        <a:pt x="267647" y="12754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5" name="Freihandform: Form 164">
                  <a:extLst>
                    <a:ext uri="{FF2B5EF4-FFF2-40B4-BE49-F238E27FC236}">
                      <a16:creationId xmlns:a16="http://schemas.microsoft.com/office/drawing/2014/main" id="{44E30C67-2AD5-EF7C-23E5-6F3DC5655908}"/>
                    </a:ext>
                  </a:extLst>
                </p:cNvPr>
                <p:cNvSpPr/>
                <p:nvPr/>
              </p:nvSpPr>
              <p:spPr>
                <a:xfrm>
                  <a:off x="9240995" y="7883810"/>
                  <a:ext cx="78793" cy="32099"/>
                </a:xfrm>
                <a:custGeom>
                  <a:avLst/>
                  <a:gdLst>
                    <a:gd name="connsiteX0" fmla="*/ 1143 w 78793"/>
                    <a:gd name="connsiteY0" fmla="*/ 0 h 32099"/>
                    <a:gd name="connsiteX1" fmla="*/ 35814 w 78793"/>
                    <a:gd name="connsiteY1" fmla="*/ 10573 h 32099"/>
                    <a:gd name="connsiteX2" fmla="*/ 77820 w 78793"/>
                    <a:gd name="connsiteY2" fmla="*/ 0 h 32099"/>
                    <a:gd name="connsiteX3" fmla="*/ 77820 w 78793"/>
                    <a:gd name="connsiteY3" fmla="*/ 9239 h 32099"/>
                    <a:gd name="connsiteX4" fmla="*/ 37148 w 78793"/>
                    <a:gd name="connsiteY4" fmla="*/ 32099 h 32099"/>
                    <a:gd name="connsiteX5" fmla="*/ 1143 w 78793"/>
                    <a:gd name="connsiteY5" fmla="*/ 10192 h 32099"/>
                    <a:gd name="connsiteX6" fmla="*/ 1143 w 78793"/>
                    <a:gd name="connsiteY6" fmla="*/ 95 h 32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8793" h="32099">
                      <a:moveTo>
                        <a:pt x="1143" y="0"/>
                      </a:moveTo>
                      <a:cubicBezTo>
                        <a:pt x="1143" y="0"/>
                        <a:pt x="11049" y="10573"/>
                        <a:pt x="35814" y="10573"/>
                      </a:cubicBezTo>
                      <a:cubicBezTo>
                        <a:pt x="67152" y="10573"/>
                        <a:pt x="77820" y="0"/>
                        <a:pt x="77820" y="0"/>
                      </a:cubicBezTo>
                      <a:cubicBezTo>
                        <a:pt x="77820" y="0"/>
                        <a:pt x="80010" y="3143"/>
                        <a:pt x="77820" y="9239"/>
                      </a:cubicBezTo>
                      <a:cubicBezTo>
                        <a:pt x="76295" y="13525"/>
                        <a:pt x="62675" y="32099"/>
                        <a:pt x="37148" y="32099"/>
                      </a:cubicBezTo>
                      <a:cubicBezTo>
                        <a:pt x="17240" y="32099"/>
                        <a:pt x="3715" y="16383"/>
                        <a:pt x="1143" y="10192"/>
                      </a:cubicBezTo>
                      <a:cubicBezTo>
                        <a:pt x="-1429" y="4000"/>
                        <a:pt x="1143" y="95"/>
                        <a:pt x="1143" y="95"/>
                      </a:cubicBezTo>
                      <a:close/>
                    </a:path>
                  </a:pathLst>
                </a:custGeom>
                <a:solidFill>
                  <a:srgbClr val="4B2E1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6" name="Freihandform: Form 165">
                  <a:extLst>
                    <a:ext uri="{FF2B5EF4-FFF2-40B4-BE49-F238E27FC236}">
                      <a16:creationId xmlns:a16="http://schemas.microsoft.com/office/drawing/2014/main" id="{BDF8EAE9-4D38-E319-F98E-2434579108B2}"/>
                    </a:ext>
                  </a:extLst>
                </p:cNvPr>
                <p:cNvSpPr/>
                <p:nvPr/>
              </p:nvSpPr>
              <p:spPr>
                <a:xfrm>
                  <a:off x="9312056" y="7699025"/>
                  <a:ext cx="140203" cy="47053"/>
                </a:xfrm>
                <a:custGeom>
                  <a:avLst/>
                  <a:gdLst>
                    <a:gd name="connsiteX0" fmla="*/ 109438 w 140203"/>
                    <a:gd name="connsiteY0" fmla="*/ 17716 h 47053"/>
                    <a:gd name="connsiteX1" fmla="*/ 55812 w 140203"/>
                    <a:gd name="connsiteY1" fmla="*/ 762 h 47053"/>
                    <a:gd name="connsiteX2" fmla="*/ 55812 w 140203"/>
                    <a:gd name="connsiteY2" fmla="*/ 762 h 47053"/>
                    <a:gd name="connsiteX3" fmla="*/ 7711 w 140203"/>
                    <a:gd name="connsiteY3" fmla="*/ 6191 h 47053"/>
                    <a:gd name="connsiteX4" fmla="*/ 4282 w 140203"/>
                    <a:gd name="connsiteY4" fmla="*/ 8858 h 47053"/>
                    <a:gd name="connsiteX5" fmla="*/ 13902 w 140203"/>
                    <a:gd name="connsiteY5" fmla="*/ 33242 h 47053"/>
                    <a:gd name="connsiteX6" fmla="*/ 41239 w 140203"/>
                    <a:gd name="connsiteY6" fmla="*/ 30766 h 47053"/>
                    <a:gd name="connsiteX7" fmla="*/ 105533 w 140203"/>
                    <a:gd name="connsiteY7" fmla="*/ 34480 h 47053"/>
                    <a:gd name="connsiteX8" fmla="*/ 140204 w 140203"/>
                    <a:gd name="connsiteY8" fmla="*/ 47053 h 47053"/>
                    <a:gd name="connsiteX9" fmla="*/ 109438 w 140203"/>
                    <a:gd name="connsiteY9" fmla="*/ 17716 h 4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0203" h="47053">
                      <a:moveTo>
                        <a:pt x="109438" y="17716"/>
                      </a:moveTo>
                      <a:cubicBezTo>
                        <a:pt x="90864" y="5905"/>
                        <a:pt x="70671" y="1429"/>
                        <a:pt x="55812" y="762"/>
                      </a:cubicBezTo>
                      <a:lnTo>
                        <a:pt x="55812" y="762"/>
                      </a:lnTo>
                      <a:cubicBezTo>
                        <a:pt x="30285" y="-1810"/>
                        <a:pt x="13236" y="2667"/>
                        <a:pt x="7711" y="6191"/>
                      </a:cubicBezTo>
                      <a:cubicBezTo>
                        <a:pt x="6377" y="7048"/>
                        <a:pt x="5234" y="7906"/>
                        <a:pt x="4282" y="8858"/>
                      </a:cubicBezTo>
                      <a:cubicBezTo>
                        <a:pt x="-4862" y="17526"/>
                        <a:pt x="1710" y="33623"/>
                        <a:pt x="13902" y="33242"/>
                      </a:cubicBezTo>
                      <a:cubicBezTo>
                        <a:pt x="19522" y="33147"/>
                        <a:pt x="33333" y="31528"/>
                        <a:pt x="41239" y="30766"/>
                      </a:cubicBezTo>
                      <a:cubicBezTo>
                        <a:pt x="55050" y="29337"/>
                        <a:pt x="94293" y="31432"/>
                        <a:pt x="105533" y="34480"/>
                      </a:cubicBezTo>
                      <a:cubicBezTo>
                        <a:pt x="127536" y="40481"/>
                        <a:pt x="140204" y="47053"/>
                        <a:pt x="140204" y="47053"/>
                      </a:cubicBezTo>
                      <a:cubicBezTo>
                        <a:pt x="140204" y="47053"/>
                        <a:pt x="134203" y="33528"/>
                        <a:pt x="109438" y="1771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7" name="Freihandform: Form 166">
                  <a:extLst>
                    <a:ext uri="{FF2B5EF4-FFF2-40B4-BE49-F238E27FC236}">
                      <a16:creationId xmlns:a16="http://schemas.microsoft.com/office/drawing/2014/main" id="{CDD4E8A0-E82C-726B-09F8-3B2E68F05691}"/>
                    </a:ext>
                  </a:extLst>
                </p:cNvPr>
                <p:cNvSpPr/>
                <p:nvPr/>
              </p:nvSpPr>
              <p:spPr>
                <a:xfrm rot="16434000">
                  <a:off x="9156216" y="7772737"/>
                  <a:ext cx="40385" cy="37909"/>
                </a:xfrm>
                <a:custGeom>
                  <a:avLst/>
                  <a:gdLst>
                    <a:gd name="connsiteX0" fmla="*/ 40386 w 40385"/>
                    <a:gd name="connsiteY0" fmla="*/ 18955 h 37909"/>
                    <a:gd name="connsiteX1" fmla="*/ 20193 w 40385"/>
                    <a:gd name="connsiteY1" fmla="*/ 37910 h 37909"/>
                    <a:gd name="connsiteX2" fmla="*/ 0 w 40385"/>
                    <a:gd name="connsiteY2" fmla="*/ 18955 h 37909"/>
                    <a:gd name="connsiteX3" fmla="*/ 20193 w 40385"/>
                    <a:gd name="connsiteY3" fmla="*/ 0 h 37909"/>
                    <a:gd name="connsiteX4" fmla="*/ 40386 w 40385"/>
                    <a:gd name="connsiteY4" fmla="*/ 18955 h 37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385" h="37909">
                      <a:moveTo>
                        <a:pt x="40386" y="18955"/>
                      </a:moveTo>
                      <a:cubicBezTo>
                        <a:pt x="40386" y="29423"/>
                        <a:pt x="31345" y="37910"/>
                        <a:pt x="20193" y="37910"/>
                      </a:cubicBezTo>
                      <a:cubicBezTo>
                        <a:pt x="9041" y="37910"/>
                        <a:pt x="0" y="29423"/>
                        <a:pt x="0" y="18955"/>
                      </a:cubicBezTo>
                      <a:cubicBezTo>
                        <a:pt x="0" y="8486"/>
                        <a:pt x="9041" y="0"/>
                        <a:pt x="20193" y="0"/>
                      </a:cubicBezTo>
                      <a:cubicBezTo>
                        <a:pt x="31345" y="0"/>
                        <a:pt x="40386" y="8486"/>
                        <a:pt x="40386" y="18955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8" name="Freihandform: Form 167">
                  <a:extLst>
                    <a:ext uri="{FF2B5EF4-FFF2-40B4-BE49-F238E27FC236}">
                      <a16:creationId xmlns:a16="http://schemas.microsoft.com/office/drawing/2014/main" id="{6E44376A-F0BF-CCE2-DF65-4354D9C4E98A}"/>
                    </a:ext>
                  </a:extLst>
                </p:cNvPr>
                <p:cNvSpPr/>
                <p:nvPr/>
              </p:nvSpPr>
              <p:spPr>
                <a:xfrm>
                  <a:off x="9106502" y="7700645"/>
                  <a:ext cx="140013" cy="47053"/>
                </a:xfrm>
                <a:custGeom>
                  <a:avLst/>
                  <a:gdLst>
                    <a:gd name="connsiteX0" fmla="*/ 30766 w 140013"/>
                    <a:gd name="connsiteY0" fmla="*/ 17716 h 47053"/>
                    <a:gd name="connsiteX1" fmla="*/ 84297 w 140013"/>
                    <a:gd name="connsiteY1" fmla="*/ 762 h 47053"/>
                    <a:gd name="connsiteX2" fmla="*/ 84297 w 140013"/>
                    <a:gd name="connsiteY2" fmla="*/ 762 h 47053"/>
                    <a:gd name="connsiteX3" fmla="*/ 132302 w 140013"/>
                    <a:gd name="connsiteY3" fmla="*/ 6191 h 47053"/>
                    <a:gd name="connsiteX4" fmla="*/ 135731 w 140013"/>
                    <a:gd name="connsiteY4" fmla="*/ 8858 h 47053"/>
                    <a:gd name="connsiteX5" fmla="*/ 126111 w 140013"/>
                    <a:gd name="connsiteY5" fmla="*/ 33242 h 47053"/>
                    <a:gd name="connsiteX6" fmla="*/ 98774 w 140013"/>
                    <a:gd name="connsiteY6" fmla="*/ 30766 h 47053"/>
                    <a:gd name="connsiteX7" fmla="*/ 34576 w 140013"/>
                    <a:gd name="connsiteY7" fmla="*/ 34480 h 47053"/>
                    <a:gd name="connsiteX8" fmla="*/ 0 w 140013"/>
                    <a:gd name="connsiteY8" fmla="*/ 47053 h 47053"/>
                    <a:gd name="connsiteX9" fmla="*/ 30766 w 140013"/>
                    <a:gd name="connsiteY9" fmla="*/ 17716 h 4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0013" h="47053">
                      <a:moveTo>
                        <a:pt x="30766" y="17716"/>
                      </a:moveTo>
                      <a:cubicBezTo>
                        <a:pt x="49339" y="5905"/>
                        <a:pt x="69438" y="1429"/>
                        <a:pt x="84297" y="762"/>
                      </a:cubicBezTo>
                      <a:lnTo>
                        <a:pt x="84297" y="762"/>
                      </a:lnTo>
                      <a:cubicBezTo>
                        <a:pt x="109824" y="-1810"/>
                        <a:pt x="126778" y="2667"/>
                        <a:pt x="132302" y="6191"/>
                      </a:cubicBezTo>
                      <a:cubicBezTo>
                        <a:pt x="133636" y="7048"/>
                        <a:pt x="134684" y="7906"/>
                        <a:pt x="135731" y="8858"/>
                      </a:cubicBezTo>
                      <a:cubicBezTo>
                        <a:pt x="144875" y="17526"/>
                        <a:pt x="138303" y="33623"/>
                        <a:pt x="126111" y="33242"/>
                      </a:cubicBezTo>
                      <a:cubicBezTo>
                        <a:pt x="120491" y="33147"/>
                        <a:pt x="106680" y="31528"/>
                        <a:pt x="98774" y="30766"/>
                      </a:cubicBezTo>
                      <a:cubicBezTo>
                        <a:pt x="84963" y="29337"/>
                        <a:pt x="45815" y="31432"/>
                        <a:pt x="34576" y="34480"/>
                      </a:cubicBezTo>
                      <a:cubicBezTo>
                        <a:pt x="12573" y="40481"/>
                        <a:pt x="0" y="47053"/>
                        <a:pt x="0" y="47053"/>
                      </a:cubicBezTo>
                      <a:cubicBezTo>
                        <a:pt x="0" y="47053"/>
                        <a:pt x="6001" y="33528"/>
                        <a:pt x="30766" y="1771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9" name="Freihandform: Form 168">
                  <a:extLst>
                    <a:ext uri="{FF2B5EF4-FFF2-40B4-BE49-F238E27FC236}">
                      <a16:creationId xmlns:a16="http://schemas.microsoft.com/office/drawing/2014/main" id="{2A151BC0-94AB-0F5A-4E4E-C91B79D692AA}"/>
                    </a:ext>
                  </a:extLst>
                </p:cNvPr>
                <p:cNvSpPr/>
                <p:nvPr/>
              </p:nvSpPr>
              <p:spPr>
                <a:xfrm>
                  <a:off x="9123564" y="7762192"/>
                  <a:ext cx="103635" cy="27457"/>
                </a:xfrm>
                <a:custGeom>
                  <a:avLst/>
                  <a:gdLst>
                    <a:gd name="connsiteX0" fmla="*/ 3227 w 103635"/>
                    <a:gd name="connsiteY0" fmla="*/ 17795 h 27457"/>
                    <a:gd name="connsiteX1" fmla="*/ 46185 w 103635"/>
                    <a:gd name="connsiteY1" fmla="*/ 174 h 27457"/>
                    <a:gd name="connsiteX2" fmla="*/ 101239 w 103635"/>
                    <a:gd name="connsiteY2" fmla="*/ 17509 h 27457"/>
                    <a:gd name="connsiteX3" fmla="*/ 97905 w 103635"/>
                    <a:gd name="connsiteY3" fmla="*/ 26939 h 27457"/>
                    <a:gd name="connsiteX4" fmla="*/ 54281 w 103635"/>
                    <a:gd name="connsiteY4" fmla="*/ 11699 h 27457"/>
                    <a:gd name="connsiteX5" fmla="*/ 10847 w 103635"/>
                    <a:gd name="connsiteY5" fmla="*/ 21415 h 27457"/>
                    <a:gd name="connsiteX6" fmla="*/ 1322 w 103635"/>
                    <a:gd name="connsiteY6" fmla="*/ 25606 h 27457"/>
                    <a:gd name="connsiteX7" fmla="*/ 3417 w 103635"/>
                    <a:gd name="connsiteY7" fmla="*/ 17795 h 274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3635" h="27457">
                      <a:moveTo>
                        <a:pt x="3227" y="17795"/>
                      </a:moveTo>
                      <a:cubicBezTo>
                        <a:pt x="7989" y="12938"/>
                        <a:pt x="23896" y="1412"/>
                        <a:pt x="46185" y="174"/>
                      </a:cubicBezTo>
                      <a:cubicBezTo>
                        <a:pt x="76569" y="-1541"/>
                        <a:pt x="94000" y="9794"/>
                        <a:pt x="101239" y="17509"/>
                      </a:cubicBezTo>
                      <a:cubicBezTo>
                        <a:pt x="106478" y="23034"/>
                        <a:pt x="102096" y="29321"/>
                        <a:pt x="97905" y="26939"/>
                      </a:cubicBezTo>
                      <a:cubicBezTo>
                        <a:pt x="86952" y="20748"/>
                        <a:pt x="81046" y="14843"/>
                        <a:pt x="54281" y="11699"/>
                      </a:cubicBezTo>
                      <a:cubicBezTo>
                        <a:pt x="35517" y="9413"/>
                        <a:pt x="17705" y="17605"/>
                        <a:pt x="10847" y="21415"/>
                      </a:cubicBezTo>
                      <a:cubicBezTo>
                        <a:pt x="5608" y="24368"/>
                        <a:pt x="2941" y="26844"/>
                        <a:pt x="1322" y="25606"/>
                      </a:cubicBezTo>
                      <a:cubicBezTo>
                        <a:pt x="-1631" y="23415"/>
                        <a:pt x="941" y="20272"/>
                        <a:pt x="3417" y="17795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0" name="Freihandform: Form 169">
                  <a:extLst>
                    <a:ext uri="{FF2B5EF4-FFF2-40B4-BE49-F238E27FC236}">
                      <a16:creationId xmlns:a16="http://schemas.microsoft.com/office/drawing/2014/main" id="{CE5995CC-4727-EE7A-5B88-A685794C7D74}"/>
                    </a:ext>
                  </a:extLst>
                </p:cNvPr>
                <p:cNvSpPr/>
                <p:nvPr/>
              </p:nvSpPr>
              <p:spPr>
                <a:xfrm rot="21366000">
                  <a:off x="9358240" y="7771675"/>
                  <a:ext cx="37909" cy="40385"/>
                </a:xfrm>
                <a:custGeom>
                  <a:avLst/>
                  <a:gdLst>
                    <a:gd name="connsiteX0" fmla="*/ 37910 w 37909"/>
                    <a:gd name="connsiteY0" fmla="*/ 20193 h 40385"/>
                    <a:gd name="connsiteX1" fmla="*/ 18955 w 37909"/>
                    <a:gd name="connsiteY1" fmla="*/ 40386 h 40385"/>
                    <a:gd name="connsiteX2" fmla="*/ 0 w 37909"/>
                    <a:gd name="connsiteY2" fmla="*/ 20193 h 40385"/>
                    <a:gd name="connsiteX3" fmla="*/ 18955 w 37909"/>
                    <a:gd name="connsiteY3" fmla="*/ 0 h 40385"/>
                    <a:gd name="connsiteX4" fmla="*/ 37910 w 37909"/>
                    <a:gd name="connsiteY4" fmla="*/ 20193 h 40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7909" h="40385">
                      <a:moveTo>
                        <a:pt x="37910" y="20193"/>
                      </a:moveTo>
                      <a:cubicBezTo>
                        <a:pt x="37910" y="31345"/>
                        <a:pt x="29424" y="40386"/>
                        <a:pt x="18955" y="40386"/>
                      </a:cubicBezTo>
                      <a:cubicBezTo>
                        <a:pt x="8486" y="40386"/>
                        <a:pt x="0" y="31345"/>
                        <a:pt x="0" y="20193"/>
                      </a:cubicBezTo>
                      <a:cubicBezTo>
                        <a:pt x="0" y="9041"/>
                        <a:pt x="8486" y="0"/>
                        <a:pt x="18955" y="0"/>
                      </a:cubicBezTo>
                      <a:cubicBezTo>
                        <a:pt x="29424" y="0"/>
                        <a:pt x="37910" y="9041"/>
                        <a:pt x="37910" y="20193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1" name="Freihandform: Form 170">
                  <a:extLst>
                    <a:ext uri="{FF2B5EF4-FFF2-40B4-BE49-F238E27FC236}">
                      <a16:creationId xmlns:a16="http://schemas.microsoft.com/office/drawing/2014/main" id="{D4BF3D99-FE65-E429-0A3E-16ACA52B1E89}"/>
                    </a:ext>
                  </a:extLst>
                </p:cNvPr>
                <p:cNvSpPr/>
                <p:nvPr/>
              </p:nvSpPr>
              <p:spPr>
                <a:xfrm>
                  <a:off x="9326515" y="7762192"/>
                  <a:ext cx="103634" cy="27457"/>
                </a:xfrm>
                <a:custGeom>
                  <a:avLst/>
                  <a:gdLst>
                    <a:gd name="connsiteX0" fmla="*/ 100408 w 103634"/>
                    <a:gd name="connsiteY0" fmla="*/ 17795 h 27457"/>
                    <a:gd name="connsiteX1" fmla="*/ 57450 w 103634"/>
                    <a:gd name="connsiteY1" fmla="*/ 174 h 27457"/>
                    <a:gd name="connsiteX2" fmla="*/ 2396 w 103634"/>
                    <a:gd name="connsiteY2" fmla="*/ 17509 h 27457"/>
                    <a:gd name="connsiteX3" fmla="*/ 5730 w 103634"/>
                    <a:gd name="connsiteY3" fmla="*/ 26939 h 27457"/>
                    <a:gd name="connsiteX4" fmla="*/ 49354 w 103634"/>
                    <a:gd name="connsiteY4" fmla="*/ 11699 h 27457"/>
                    <a:gd name="connsiteX5" fmla="*/ 92788 w 103634"/>
                    <a:gd name="connsiteY5" fmla="*/ 21415 h 27457"/>
                    <a:gd name="connsiteX6" fmla="*/ 102313 w 103634"/>
                    <a:gd name="connsiteY6" fmla="*/ 25606 h 27457"/>
                    <a:gd name="connsiteX7" fmla="*/ 100218 w 103634"/>
                    <a:gd name="connsiteY7" fmla="*/ 17795 h 274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3634" h="27457">
                      <a:moveTo>
                        <a:pt x="100408" y="17795"/>
                      </a:moveTo>
                      <a:cubicBezTo>
                        <a:pt x="95646" y="12938"/>
                        <a:pt x="79739" y="1412"/>
                        <a:pt x="57450" y="174"/>
                      </a:cubicBezTo>
                      <a:cubicBezTo>
                        <a:pt x="27066" y="-1541"/>
                        <a:pt x="9635" y="9794"/>
                        <a:pt x="2396" y="17509"/>
                      </a:cubicBezTo>
                      <a:cubicBezTo>
                        <a:pt x="-2842" y="23034"/>
                        <a:pt x="1539" y="29321"/>
                        <a:pt x="5730" y="26939"/>
                      </a:cubicBezTo>
                      <a:cubicBezTo>
                        <a:pt x="16684" y="20748"/>
                        <a:pt x="22589" y="14843"/>
                        <a:pt x="49354" y="11699"/>
                      </a:cubicBezTo>
                      <a:cubicBezTo>
                        <a:pt x="68118" y="9413"/>
                        <a:pt x="85930" y="17605"/>
                        <a:pt x="92788" y="21415"/>
                      </a:cubicBezTo>
                      <a:cubicBezTo>
                        <a:pt x="98027" y="24368"/>
                        <a:pt x="100694" y="26844"/>
                        <a:pt x="102313" y="25606"/>
                      </a:cubicBezTo>
                      <a:cubicBezTo>
                        <a:pt x="105266" y="23415"/>
                        <a:pt x="102694" y="20272"/>
                        <a:pt x="100218" y="17795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2" name="Freihandform: Form 171">
                  <a:extLst>
                    <a:ext uri="{FF2B5EF4-FFF2-40B4-BE49-F238E27FC236}">
                      <a16:creationId xmlns:a16="http://schemas.microsoft.com/office/drawing/2014/main" id="{BEC3B024-92ED-B5C5-B98A-8BF1DF0B5763}"/>
                    </a:ext>
                  </a:extLst>
                </p:cNvPr>
                <p:cNvSpPr/>
                <p:nvPr/>
              </p:nvSpPr>
              <p:spPr>
                <a:xfrm>
                  <a:off x="9123366" y="7360423"/>
                  <a:ext cx="508630" cy="429280"/>
                </a:xfrm>
                <a:custGeom>
                  <a:avLst/>
                  <a:gdLst>
                    <a:gd name="connsiteX0" fmla="*/ 91 w 508630"/>
                    <a:gd name="connsiteY0" fmla="*/ 94667 h 429280"/>
                    <a:gd name="connsiteX1" fmla="*/ 318131 w 508630"/>
                    <a:gd name="connsiteY1" fmla="*/ 352223 h 429280"/>
                    <a:gd name="connsiteX2" fmla="*/ 508631 w 508630"/>
                    <a:gd name="connsiteY2" fmla="*/ 429281 h 429280"/>
                    <a:gd name="connsiteX3" fmla="*/ 449956 w 508630"/>
                    <a:gd name="connsiteY3" fmla="*/ 231446 h 429280"/>
                    <a:gd name="connsiteX4" fmla="*/ 91 w 508630"/>
                    <a:gd name="connsiteY4" fmla="*/ 94667 h 429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8630" h="429280">
                      <a:moveTo>
                        <a:pt x="91" y="94667"/>
                      </a:moveTo>
                      <a:cubicBezTo>
                        <a:pt x="-4576" y="204586"/>
                        <a:pt x="171731" y="297931"/>
                        <a:pt x="318131" y="352223"/>
                      </a:cubicBezTo>
                      <a:cubicBezTo>
                        <a:pt x="464530" y="406516"/>
                        <a:pt x="508631" y="429281"/>
                        <a:pt x="508631" y="429281"/>
                      </a:cubicBezTo>
                      <a:cubicBezTo>
                        <a:pt x="508631" y="429281"/>
                        <a:pt x="454338" y="371464"/>
                        <a:pt x="449956" y="231446"/>
                      </a:cubicBezTo>
                      <a:cubicBezTo>
                        <a:pt x="445003" y="73236"/>
                        <a:pt x="191067" y="-118597"/>
                        <a:pt x="91" y="94667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173" name="Grafik 23">
                  <a:extLst>
                    <a:ext uri="{FF2B5EF4-FFF2-40B4-BE49-F238E27FC236}">
                      <a16:creationId xmlns:a16="http://schemas.microsoft.com/office/drawing/2014/main" id="{F61EED84-1180-9339-FB81-8839E3989F49}"/>
                    </a:ext>
                  </a:extLst>
                </p:cNvPr>
                <p:cNvGrpSpPr/>
                <p:nvPr/>
              </p:nvGrpSpPr>
              <p:grpSpPr>
                <a:xfrm>
                  <a:off x="8395080" y="9884441"/>
                  <a:ext cx="234464" cy="670178"/>
                  <a:chOff x="8395080" y="3305841"/>
                  <a:chExt cx="234464" cy="670178"/>
                </a:xfrm>
                <a:solidFill>
                  <a:srgbClr val="8A5942"/>
                </a:solidFill>
              </p:grpSpPr>
              <p:sp>
                <p:nvSpPr>
                  <p:cNvPr id="201" name="Freihandform: Form 200">
                    <a:extLst>
                      <a:ext uri="{FF2B5EF4-FFF2-40B4-BE49-F238E27FC236}">
                        <a16:creationId xmlns:a16="http://schemas.microsoft.com/office/drawing/2014/main" id="{66704ABC-D610-4CF2-5A1A-B319E37C7409}"/>
                      </a:ext>
                    </a:extLst>
                  </p:cNvPr>
                  <p:cNvSpPr/>
                  <p:nvPr/>
                </p:nvSpPr>
                <p:spPr>
                  <a:xfrm>
                    <a:off x="8433275" y="3305841"/>
                    <a:ext cx="191738" cy="211264"/>
                  </a:xfrm>
                  <a:custGeom>
                    <a:avLst/>
                    <a:gdLst>
                      <a:gd name="connsiteX0" fmla="*/ 95 w 191738"/>
                      <a:gd name="connsiteY0" fmla="*/ 0 h 211264"/>
                      <a:gd name="connsiteX1" fmla="*/ 21431 w 191738"/>
                      <a:gd name="connsiteY1" fmla="*/ 211264 h 211264"/>
                      <a:gd name="connsiteX2" fmla="*/ 156782 w 191738"/>
                      <a:gd name="connsiteY2" fmla="*/ 200406 h 211264"/>
                      <a:gd name="connsiteX3" fmla="*/ 191738 w 191738"/>
                      <a:gd name="connsiteY3" fmla="*/ 10763 h 211264"/>
                      <a:gd name="connsiteX4" fmla="*/ 0 w 191738"/>
                      <a:gd name="connsiteY4" fmla="*/ 0 h 2112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1738" h="211264">
                        <a:moveTo>
                          <a:pt x="95" y="0"/>
                        </a:moveTo>
                        <a:cubicBezTo>
                          <a:pt x="5239" y="79629"/>
                          <a:pt x="13525" y="148495"/>
                          <a:pt x="21431" y="211264"/>
                        </a:cubicBezTo>
                        <a:lnTo>
                          <a:pt x="156782" y="200406"/>
                        </a:lnTo>
                        <a:cubicBezTo>
                          <a:pt x="156782" y="200406"/>
                          <a:pt x="172212" y="119158"/>
                          <a:pt x="191738" y="10763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202" name="Grafik 23">
                    <a:extLst>
                      <a:ext uri="{FF2B5EF4-FFF2-40B4-BE49-F238E27FC236}">
                        <a16:creationId xmlns:a16="http://schemas.microsoft.com/office/drawing/2014/main" id="{B5F207AB-34A6-4C21-0210-F6578AA7C574}"/>
                      </a:ext>
                    </a:extLst>
                  </p:cNvPr>
                  <p:cNvGrpSpPr/>
                  <p:nvPr/>
                </p:nvGrpSpPr>
                <p:grpSpPr>
                  <a:xfrm>
                    <a:off x="8395080" y="3436239"/>
                    <a:ext cx="234464" cy="539781"/>
                    <a:chOff x="8395080" y="3436239"/>
                    <a:chExt cx="234464" cy="539781"/>
                  </a:xfrm>
                  <a:solidFill>
                    <a:srgbClr val="8A5942"/>
                  </a:solidFill>
                </p:grpSpPr>
                <p:sp>
                  <p:nvSpPr>
                    <p:cNvPr id="203" name="Freihandform: Form 202">
                      <a:extLst>
                        <a:ext uri="{FF2B5EF4-FFF2-40B4-BE49-F238E27FC236}">
                          <a16:creationId xmlns:a16="http://schemas.microsoft.com/office/drawing/2014/main" id="{D5CB9620-80F1-7AA6-32DB-85407B40450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66681" y="3802691"/>
                      <a:ext cx="54546" cy="83127"/>
                    </a:xfrm>
                    <a:custGeom>
                      <a:avLst/>
                      <a:gdLst>
                        <a:gd name="connsiteX0" fmla="*/ 47557 w 54546"/>
                        <a:gd name="connsiteY0" fmla="*/ 83128 h 83127"/>
                        <a:gd name="connsiteX1" fmla="*/ 13648 w 54546"/>
                        <a:gd name="connsiteY1" fmla="*/ 55791 h 83127"/>
                        <a:gd name="connsiteX2" fmla="*/ 2885 w 54546"/>
                        <a:gd name="connsiteY2" fmla="*/ 9595 h 83127"/>
                        <a:gd name="connsiteX3" fmla="*/ 7838 w 54546"/>
                        <a:gd name="connsiteY3" fmla="*/ 70 h 83127"/>
                        <a:gd name="connsiteX4" fmla="*/ 43747 w 54546"/>
                        <a:gd name="connsiteY4" fmla="*/ 39694 h 83127"/>
                        <a:gd name="connsiteX5" fmla="*/ 47557 w 54546"/>
                        <a:gd name="connsiteY5" fmla="*/ 83128 h 83127"/>
                        <a:gd name="connsiteX6" fmla="*/ 47557 w 54546"/>
                        <a:gd name="connsiteY6" fmla="*/ 83128 h 831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54546" h="83127">
                          <a:moveTo>
                            <a:pt x="47557" y="83128"/>
                          </a:moveTo>
                          <a:lnTo>
                            <a:pt x="13648" y="55791"/>
                          </a:lnTo>
                          <a:cubicBezTo>
                            <a:pt x="979" y="45218"/>
                            <a:pt x="-3497" y="28264"/>
                            <a:pt x="2885" y="9595"/>
                          </a:cubicBezTo>
                          <a:cubicBezTo>
                            <a:pt x="4980" y="3594"/>
                            <a:pt x="6790" y="-597"/>
                            <a:pt x="7838" y="70"/>
                          </a:cubicBezTo>
                          <a:cubicBezTo>
                            <a:pt x="9743" y="1499"/>
                            <a:pt x="25173" y="18262"/>
                            <a:pt x="43747" y="39694"/>
                          </a:cubicBezTo>
                          <a:cubicBezTo>
                            <a:pt x="55463" y="53219"/>
                            <a:pt x="58987" y="64744"/>
                            <a:pt x="47557" y="83128"/>
                          </a:cubicBezTo>
                          <a:lnTo>
                            <a:pt x="47557" y="83128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04" name="Freihandform: Form 203">
                      <a:extLst>
                        <a:ext uri="{FF2B5EF4-FFF2-40B4-BE49-F238E27FC236}">
                          <a16:creationId xmlns:a16="http://schemas.microsoft.com/office/drawing/2014/main" id="{DC6F532F-D1A0-D3F2-FD90-F794C19CF32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19369" y="3769457"/>
                      <a:ext cx="73352" cy="89024"/>
                    </a:xfrm>
                    <a:custGeom>
                      <a:avLst/>
                      <a:gdLst>
                        <a:gd name="connsiteX0" fmla="*/ 60960 w 73352"/>
                        <a:gd name="connsiteY0" fmla="*/ 89025 h 89024"/>
                        <a:gd name="connsiteX1" fmla="*/ 9525 w 73352"/>
                        <a:gd name="connsiteY1" fmla="*/ 44448 h 89024"/>
                        <a:gd name="connsiteX2" fmla="*/ 0 w 73352"/>
                        <a:gd name="connsiteY2" fmla="*/ 31494 h 89024"/>
                        <a:gd name="connsiteX3" fmla="*/ 40291 w 73352"/>
                        <a:gd name="connsiteY3" fmla="*/ 537 h 89024"/>
                        <a:gd name="connsiteX4" fmla="*/ 66675 w 73352"/>
                        <a:gd name="connsiteY4" fmla="*/ 44829 h 89024"/>
                        <a:gd name="connsiteX5" fmla="*/ 60864 w 73352"/>
                        <a:gd name="connsiteY5" fmla="*/ 89025 h 89024"/>
                        <a:gd name="connsiteX6" fmla="*/ 60864 w 73352"/>
                        <a:gd name="connsiteY6" fmla="*/ 89025 h 8902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73352" h="89024">
                          <a:moveTo>
                            <a:pt x="60960" y="89025"/>
                          </a:moveTo>
                          <a:lnTo>
                            <a:pt x="9525" y="44448"/>
                          </a:lnTo>
                          <a:cubicBezTo>
                            <a:pt x="3334" y="38637"/>
                            <a:pt x="1524" y="34446"/>
                            <a:pt x="0" y="31494"/>
                          </a:cubicBezTo>
                          <a:cubicBezTo>
                            <a:pt x="1048" y="12063"/>
                            <a:pt x="25432" y="-3082"/>
                            <a:pt x="40291" y="537"/>
                          </a:cubicBezTo>
                          <a:lnTo>
                            <a:pt x="66675" y="44829"/>
                          </a:lnTo>
                          <a:cubicBezTo>
                            <a:pt x="78105" y="57307"/>
                            <a:pt x="74009" y="72261"/>
                            <a:pt x="60864" y="89025"/>
                          </a:cubicBezTo>
                          <a:lnTo>
                            <a:pt x="60864" y="89025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05" name="Freihandform: Form 204">
                      <a:extLst>
                        <a:ext uri="{FF2B5EF4-FFF2-40B4-BE49-F238E27FC236}">
                          <a16:creationId xmlns:a16="http://schemas.microsoft.com/office/drawing/2014/main" id="{010737EA-168E-3979-7456-C1E2472FAA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55898" y="3838165"/>
                      <a:ext cx="63906" cy="105660"/>
                    </a:xfrm>
                    <a:custGeom>
                      <a:avLst/>
                      <a:gdLst>
                        <a:gd name="connsiteX0" fmla="*/ 55673 w 63906"/>
                        <a:gd name="connsiteY0" fmla="*/ 105660 h 105660"/>
                        <a:gd name="connsiteX1" fmla="*/ 15954 w 63906"/>
                        <a:gd name="connsiteY1" fmla="*/ 67179 h 105660"/>
                        <a:gd name="connsiteX2" fmla="*/ 3476 w 63906"/>
                        <a:gd name="connsiteY2" fmla="*/ 10506 h 105660"/>
                        <a:gd name="connsiteX3" fmla="*/ 9287 w 63906"/>
                        <a:gd name="connsiteY3" fmla="*/ 123 h 105660"/>
                        <a:gd name="connsiteX4" fmla="*/ 51292 w 63906"/>
                        <a:gd name="connsiteY4" fmla="*/ 53559 h 105660"/>
                        <a:gd name="connsiteX5" fmla="*/ 55673 w 63906"/>
                        <a:gd name="connsiteY5" fmla="*/ 105565 h 105660"/>
                        <a:gd name="connsiteX6" fmla="*/ 55673 w 63906"/>
                        <a:gd name="connsiteY6" fmla="*/ 105565 h 10566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63906" h="105660">
                          <a:moveTo>
                            <a:pt x="55673" y="105660"/>
                          </a:moveTo>
                          <a:lnTo>
                            <a:pt x="15954" y="67179"/>
                          </a:lnTo>
                          <a:cubicBezTo>
                            <a:pt x="1095" y="52321"/>
                            <a:pt x="-4144" y="31556"/>
                            <a:pt x="3476" y="10506"/>
                          </a:cubicBezTo>
                          <a:cubicBezTo>
                            <a:pt x="5953" y="3838"/>
                            <a:pt x="8144" y="-829"/>
                            <a:pt x="9287" y="123"/>
                          </a:cubicBezTo>
                          <a:cubicBezTo>
                            <a:pt x="11573" y="2124"/>
                            <a:pt x="29575" y="24793"/>
                            <a:pt x="51292" y="53559"/>
                          </a:cubicBezTo>
                          <a:cubicBezTo>
                            <a:pt x="65008" y="71656"/>
                            <a:pt x="69103" y="85944"/>
                            <a:pt x="55673" y="105565"/>
                          </a:cubicBezTo>
                          <a:lnTo>
                            <a:pt x="55673" y="105565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06" name="Freihandform: Form 205">
                      <a:extLst>
                        <a:ext uri="{FF2B5EF4-FFF2-40B4-BE49-F238E27FC236}">
                          <a16:creationId xmlns:a16="http://schemas.microsoft.com/office/drawing/2014/main" id="{441F4BD3-1474-4D04-632C-9512B3DD0A6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00115" y="3774757"/>
                      <a:ext cx="87440" cy="131349"/>
                    </a:xfrm>
                    <a:custGeom>
                      <a:avLst/>
                      <a:gdLst>
                        <a:gd name="connsiteX0" fmla="*/ 72689 w 87440"/>
                        <a:gd name="connsiteY0" fmla="*/ 131350 h 131349"/>
                        <a:gd name="connsiteX1" fmla="*/ 12205 w 87440"/>
                        <a:gd name="connsiteY1" fmla="*/ 71628 h 131349"/>
                        <a:gd name="connsiteX2" fmla="*/ 17349 w 87440"/>
                        <a:gd name="connsiteY2" fmla="*/ 4001 h 131349"/>
                        <a:gd name="connsiteX3" fmla="*/ 26112 w 87440"/>
                        <a:gd name="connsiteY3" fmla="*/ 0 h 131349"/>
                        <a:gd name="connsiteX4" fmla="*/ 79642 w 87440"/>
                        <a:gd name="connsiteY4" fmla="*/ 80010 h 131349"/>
                        <a:gd name="connsiteX5" fmla="*/ 72689 w 87440"/>
                        <a:gd name="connsiteY5" fmla="*/ 131254 h 131349"/>
                        <a:gd name="connsiteX6" fmla="*/ 72689 w 87440"/>
                        <a:gd name="connsiteY6" fmla="*/ 131254 h 1313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87440" h="131349">
                          <a:moveTo>
                            <a:pt x="72689" y="131350"/>
                          </a:moveTo>
                          <a:lnTo>
                            <a:pt x="12205" y="71628"/>
                          </a:lnTo>
                          <a:cubicBezTo>
                            <a:pt x="-5892" y="53340"/>
                            <a:pt x="-3606" y="22479"/>
                            <a:pt x="17349" y="4001"/>
                          </a:cubicBezTo>
                          <a:lnTo>
                            <a:pt x="26112" y="0"/>
                          </a:lnTo>
                          <a:lnTo>
                            <a:pt x="79642" y="80010"/>
                          </a:lnTo>
                          <a:cubicBezTo>
                            <a:pt x="93073" y="96869"/>
                            <a:pt x="88120" y="113729"/>
                            <a:pt x="72689" y="131254"/>
                          </a:cubicBezTo>
                          <a:lnTo>
                            <a:pt x="72689" y="131254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07" name="Freihandform: Form 206">
                      <a:extLst>
                        <a:ext uri="{FF2B5EF4-FFF2-40B4-BE49-F238E27FC236}">
                          <a16:creationId xmlns:a16="http://schemas.microsoft.com/office/drawing/2014/main" id="{A08EF697-88F8-18F3-1796-8556AF71EDE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95080" y="3720421"/>
                      <a:ext cx="62960" cy="111771"/>
                    </a:xfrm>
                    <a:custGeom>
                      <a:avLst/>
                      <a:gdLst>
                        <a:gd name="connsiteX0" fmla="*/ 0 w 62960"/>
                        <a:gd name="connsiteY0" fmla="*/ 9378 h 111771"/>
                        <a:gd name="connsiteX1" fmla="*/ 4191 w 62960"/>
                        <a:gd name="connsiteY1" fmla="*/ 100628 h 111771"/>
                        <a:gd name="connsiteX2" fmla="*/ 8287 w 62960"/>
                        <a:gd name="connsiteY2" fmla="*/ 111772 h 111771"/>
                        <a:gd name="connsiteX3" fmla="*/ 57150 w 62960"/>
                        <a:gd name="connsiteY3" fmla="*/ 67100 h 111771"/>
                        <a:gd name="connsiteX4" fmla="*/ 62961 w 62960"/>
                        <a:gd name="connsiteY4" fmla="*/ 18236 h 111771"/>
                        <a:gd name="connsiteX5" fmla="*/ 0 w 62960"/>
                        <a:gd name="connsiteY5" fmla="*/ 9378 h 1117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62960" h="111771">
                          <a:moveTo>
                            <a:pt x="0" y="9378"/>
                          </a:moveTo>
                          <a:cubicBezTo>
                            <a:pt x="477" y="28142"/>
                            <a:pt x="4191" y="100628"/>
                            <a:pt x="4191" y="100628"/>
                          </a:cubicBezTo>
                          <a:lnTo>
                            <a:pt x="8287" y="111772"/>
                          </a:lnTo>
                          <a:cubicBezTo>
                            <a:pt x="34957" y="111296"/>
                            <a:pt x="54674" y="91484"/>
                            <a:pt x="57150" y="67100"/>
                          </a:cubicBezTo>
                          <a:lnTo>
                            <a:pt x="62961" y="18236"/>
                          </a:lnTo>
                          <a:cubicBezTo>
                            <a:pt x="55436" y="1568"/>
                            <a:pt x="8192" y="-8338"/>
                            <a:pt x="0" y="9378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208" name="Grafik 23">
                      <a:extLst>
                        <a:ext uri="{FF2B5EF4-FFF2-40B4-BE49-F238E27FC236}">
                          <a16:creationId xmlns:a16="http://schemas.microsoft.com/office/drawing/2014/main" id="{A7651239-79C1-7E10-D0C8-2828EE14966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415082" y="3708417"/>
                      <a:ext cx="91882" cy="267603"/>
                      <a:chOff x="8415082" y="3708417"/>
                      <a:chExt cx="91882" cy="267603"/>
                    </a:xfrm>
                    <a:solidFill>
                      <a:srgbClr val="8A5942"/>
                    </a:solidFill>
                  </p:grpSpPr>
                  <p:sp>
                    <p:nvSpPr>
                      <p:cNvPr id="218" name="Freihandform: Form 217">
                        <a:extLst>
                          <a:ext uri="{FF2B5EF4-FFF2-40B4-BE49-F238E27FC236}">
                            <a16:creationId xmlns:a16="http://schemas.microsoft.com/office/drawing/2014/main" id="{3FBF6F91-2810-C991-1528-C47A65EDFA0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56624" y="3848906"/>
                        <a:ext cx="50341" cy="127114"/>
                      </a:xfrm>
                      <a:custGeom>
                        <a:avLst/>
                        <a:gdLst>
                          <a:gd name="connsiteX0" fmla="*/ 30182 w 50341"/>
                          <a:gd name="connsiteY0" fmla="*/ 127114 h 127114"/>
                          <a:gd name="connsiteX1" fmla="*/ 5131 w 50341"/>
                          <a:gd name="connsiteY1" fmla="*/ 71584 h 127114"/>
                          <a:gd name="connsiteX2" fmla="*/ 15323 w 50341"/>
                          <a:gd name="connsiteY2" fmla="*/ 8528 h 127114"/>
                          <a:gd name="connsiteX3" fmla="*/ 25515 w 50341"/>
                          <a:gd name="connsiteY3" fmla="*/ 337 h 127114"/>
                          <a:gd name="connsiteX4" fmla="*/ 46851 w 50341"/>
                          <a:gd name="connsiteY4" fmla="*/ 72060 h 127114"/>
                          <a:gd name="connsiteX5" fmla="*/ 30182 w 50341"/>
                          <a:gd name="connsiteY5" fmla="*/ 127114 h 127114"/>
                          <a:gd name="connsiteX6" fmla="*/ 30182 w 50341"/>
                          <a:gd name="connsiteY6" fmla="*/ 127114 h 12711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0341" h="127114">
                            <a:moveTo>
                              <a:pt x="30182" y="127114"/>
                            </a:moveTo>
                            <a:lnTo>
                              <a:pt x="5131" y="71584"/>
                            </a:lnTo>
                            <a:cubicBezTo>
                              <a:pt x="-4108" y="50343"/>
                              <a:pt x="-964" y="26912"/>
                              <a:pt x="15323" y="8528"/>
                            </a:cubicBezTo>
                            <a:cubicBezTo>
                              <a:pt x="20562" y="2623"/>
                              <a:pt x="24658" y="-1187"/>
                              <a:pt x="25515" y="337"/>
                            </a:cubicBezTo>
                            <a:cubicBezTo>
                              <a:pt x="27039" y="3385"/>
                              <a:pt x="36278" y="33865"/>
                              <a:pt x="46851" y="72060"/>
                            </a:cubicBezTo>
                            <a:cubicBezTo>
                              <a:pt x="53518" y="96158"/>
                              <a:pt x="51995" y="112446"/>
                              <a:pt x="30182" y="127114"/>
                            </a:cubicBezTo>
                            <a:lnTo>
                              <a:pt x="30182" y="127114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219" name="Freihandform: Form 218">
                        <a:extLst>
                          <a:ext uri="{FF2B5EF4-FFF2-40B4-BE49-F238E27FC236}">
                            <a16:creationId xmlns:a16="http://schemas.microsoft.com/office/drawing/2014/main" id="{47A1C4AE-321F-5376-A9E7-30E194E3222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22907" y="3799998"/>
                        <a:ext cx="71113" cy="124396"/>
                      </a:xfrm>
                      <a:custGeom>
                        <a:avLst/>
                        <a:gdLst>
                          <a:gd name="connsiteX0" fmla="*/ 40563 w 71113"/>
                          <a:gd name="connsiteY0" fmla="*/ 124396 h 124396"/>
                          <a:gd name="connsiteX1" fmla="*/ 3415 w 71113"/>
                          <a:gd name="connsiteY1" fmla="*/ 38290 h 124396"/>
                          <a:gd name="connsiteX2" fmla="*/ 41135 w 71113"/>
                          <a:gd name="connsiteY2" fmla="*/ 2000 h 124396"/>
                          <a:gd name="connsiteX3" fmla="*/ 45325 w 71113"/>
                          <a:gd name="connsiteY3" fmla="*/ 0 h 124396"/>
                          <a:gd name="connsiteX4" fmla="*/ 69043 w 71113"/>
                          <a:gd name="connsiteY4" fmla="*/ 74295 h 124396"/>
                          <a:gd name="connsiteX5" fmla="*/ 42087 w 71113"/>
                          <a:gd name="connsiteY5" fmla="*/ 123634 h 124396"/>
                          <a:gd name="connsiteX6" fmla="*/ 40563 w 71113"/>
                          <a:gd name="connsiteY6" fmla="*/ 124396 h 12439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1113" h="124396">
                            <a:moveTo>
                              <a:pt x="40563" y="124396"/>
                            </a:moveTo>
                            <a:lnTo>
                              <a:pt x="3415" y="38290"/>
                            </a:lnTo>
                            <a:cubicBezTo>
                              <a:pt x="-7729" y="12192"/>
                              <a:pt x="9321" y="3238"/>
                              <a:pt x="41135" y="2000"/>
                            </a:cubicBezTo>
                            <a:lnTo>
                              <a:pt x="45325" y="0"/>
                            </a:lnTo>
                            <a:lnTo>
                              <a:pt x="69043" y="74295"/>
                            </a:lnTo>
                            <a:cubicBezTo>
                              <a:pt x="75996" y="97060"/>
                              <a:pt x="65042" y="112014"/>
                              <a:pt x="42087" y="123634"/>
                            </a:cubicBezTo>
                            <a:lnTo>
                              <a:pt x="40563" y="124396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220" name="Freihandform: Form 219">
                        <a:extLst>
                          <a:ext uri="{FF2B5EF4-FFF2-40B4-BE49-F238E27FC236}">
                            <a16:creationId xmlns:a16="http://schemas.microsoft.com/office/drawing/2014/main" id="{5B98CC22-215C-13AB-9885-F90E2823877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15082" y="3708417"/>
                        <a:ext cx="63532" cy="120728"/>
                      </a:xfrm>
                      <a:custGeom>
                        <a:avLst/>
                        <a:gdLst>
                          <a:gd name="connsiteX0" fmla="*/ 1 w 63532"/>
                          <a:gd name="connsiteY0" fmla="*/ 12715 h 120728"/>
                          <a:gd name="connsiteX1" fmla="*/ 8573 w 63532"/>
                          <a:gd name="connsiteY1" fmla="*/ 120728 h 120728"/>
                          <a:gd name="connsiteX2" fmla="*/ 54674 w 63532"/>
                          <a:gd name="connsiteY2" fmla="*/ 92629 h 120728"/>
                          <a:gd name="connsiteX3" fmla="*/ 63532 w 63532"/>
                          <a:gd name="connsiteY3" fmla="*/ 16048 h 120728"/>
                          <a:gd name="connsiteX4" fmla="*/ 1 w 63532"/>
                          <a:gd name="connsiteY4" fmla="*/ 12619 h 12072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63532" h="120728">
                            <a:moveTo>
                              <a:pt x="1" y="12715"/>
                            </a:moveTo>
                            <a:cubicBezTo>
                              <a:pt x="-95" y="14715"/>
                              <a:pt x="8573" y="120728"/>
                              <a:pt x="8573" y="120728"/>
                            </a:cubicBezTo>
                            <a:cubicBezTo>
                              <a:pt x="37910" y="120347"/>
                              <a:pt x="51817" y="119585"/>
                              <a:pt x="54674" y="92629"/>
                            </a:cubicBezTo>
                            <a:lnTo>
                              <a:pt x="63532" y="16048"/>
                            </a:lnTo>
                            <a:cubicBezTo>
                              <a:pt x="55341" y="-2335"/>
                              <a:pt x="9144" y="-6812"/>
                              <a:pt x="1" y="12619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209" name="Freihandform: Form 208">
                      <a:extLst>
                        <a:ext uri="{FF2B5EF4-FFF2-40B4-BE49-F238E27FC236}">
                          <a16:creationId xmlns:a16="http://schemas.microsoft.com/office/drawing/2014/main" id="{4CF308F3-5BBA-38EC-4634-CA8CE45045F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63914" y="3855038"/>
                      <a:ext cx="46483" cy="113934"/>
                    </a:xfrm>
                    <a:custGeom>
                      <a:avLst/>
                      <a:gdLst>
                        <a:gd name="connsiteX0" fmla="*/ 22320 w 46483"/>
                        <a:gd name="connsiteY0" fmla="*/ 113744 h 113934"/>
                        <a:gd name="connsiteX1" fmla="*/ 3366 w 46483"/>
                        <a:gd name="connsiteY1" fmla="*/ 60784 h 113934"/>
                        <a:gd name="connsiteX2" fmla="*/ 17844 w 46483"/>
                        <a:gd name="connsiteY2" fmla="*/ 6587 h 113934"/>
                        <a:gd name="connsiteX3" fmla="*/ 28893 w 46483"/>
                        <a:gd name="connsiteY3" fmla="*/ 396 h 113934"/>
                        <a:gd name="connsiteX4" fmla="*/ 44990 w 46483"/>
                        <a:gd name="connsiteY4" fmla="*/ 66214 h 113934"/>
                        <a:gd name="connsiteX5" fmla="*/ 22416 w 46483"/>
                        <a:gd name="connsiteY5" fmla="*/ 113934 h 113934"/>
                        <a:gd name="connsiteX6" fmla="*/ 22416 w 46483"/>
                        <a:gd name="connsiteY6" fmla="*/ 113934 h 1139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6483" h="113934">
                          <a:moveTo>
                            <a:pt x="22320" y="113744"/>
                          </a:moveTo>
                          <a:lnTo>
                            <a:pt x="3366" y="60784"/>
                          </a:lnTo>
                          <a:cubicBezTo>
                            <a:pt x="-3492" y="40591"/>
                            <a:pt x="-444" y="21161"/>
                            <a:pt x="17844" y="6587"/>
                          </a:cubicBezTo>
                          <a:cubicBezTo>
                            <a:pt x="23749" y="1920"/>
                            <a:pt x="28321" y="-1128"/>
                            <a:pt x="28893" y="396"/>
                          </a:cubicBezTo>
                          <a:cubicBezTo>
                            <a:pt x="30036" y="3254"/>
                            <a:pt x="38608" y="30495"/>
                            <a:pt x="44990" y="66214"/>
                          </a:cubicBezTo>
                          <a:cubicBezTo>
                            <a:pt x="49086" y="88788"/>
                            <a:pt x="45752" y="103171"/>
                            <a:pt x="22416" y="113934"/>
                          </a:cubicBezTo>
                          <a:lnTo>
                            <a:pt x="22416" y="113934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0" name="Freihandform: Form 209">
                      <a:extLst>
                        <a:ext uri="{FF2B5EF4-FFF2-40B4-BE49-F238E27FC236}">
                          <a16:creationId xmlns:a16="http://schemas.microsoft.com/office/drawing/2014/main" id="{5F6D290C-EDAE-7923-CC71-C086F082830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36560" y="3794759"/>
                      <a:ext cx="62340" cy="120967"/>
                    </a:xfrm>
                    <a:custGeom>
                      <a:avLst/>
                      <a:gdLst>
                        <a:gd name="connsiteX0" fmla="*/ 30624 w 62340"/>
                        <a:gd name="connsiteY0" fmla="*/ 120968 h 120967"/>
                        <a:gd name="connsiteX1" fmla="*/ 2335 w 62340"/>
                        <a:gd name="connsiteY1" fmla="*/ 39338 h 120967"/>
                        <a:gd name="connsiteX2" fmla="*/ 38244 w 62340"/>
                        <a:gd name="connsiteY2" fmla="*/ 0 h 120967"/>
                        <a:gd name="connsiteX3" fmla="*/ 43864 w 62340"/>
                        <a:gd name="connsiteY3" fmla="*/ 9335 h 120967"/>
                        <a:gd name="connsiteX4" fmla="*/ 61390 w 62340"/>
                        <a:gd name="connsiteY4" fmla="*/ 80867 h 120967"/>
                        <a:gd name="connsiteX5" fmla="*/ 30719 w 62340"/>
                        <a:gd name="connsiteY5" fmla="*/ 120968 h 120967"/>
                        <a:gd name="connsiteX6" fmla="*/ 30719 w 62340"/>
                        <a:gd name="connsiteY6" fmla="*/ 120968 h 12096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62340" h="120967">
                          <a:moveTo>
                            <a:pt x="30624" y="120968"/>
                          </a:moveTo>
                          <a:lnTo>
                            <a:pt x="2335" y="39338"/>
                          </a:lnTo>
                          <a:cubicBezTo>
                            <a:pt x="-5952" y="14573"/>
                            <a:pt x="8240" y="6001"/>
                            <a:pt x="38244" y="0"/>
                          </a:cubicBezTo>
                          <a:lnTo>
                            <a:pt x="43864" y="9335"/>
                          </a:lnTo>
                          <a:lnTo>
                            <a:pt x="61390" y="80867"/>
                          </a:lnTo>
                          <a:cubicBezTo>
                            <a:pt x="65771" y="102203"/>
                            <a:pt x="54912" y="113157"/>
                            <a:pt x="30719" y="120968"/>
                          </a:cubicBezTo>
                          <a:lnTo>
                            <a:pt x="30719" y="120968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1" name="Freihandform: Form 210">
                      <a:extLst>
                        <a:ext uri="{FF2B5EF4-FFF2-40B4-BE49-F238E27FC236}">
                          <a16:creationId xmlns:a16="http://schemas.microsoft.com/office/drawing/2014/main" id="{31A697AC-C20B-6B30-0906-729FA39EEE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35054" y="3713098"/>
                      <a:ext cx="53751" cy="112434"/>
                    </a:xfrm>
                    <a:custGeom>
                      <a:avLst/>
                      <a:gdLst>
                        <a:gd name="connsiteX0" fmla="*/ 31 w 53751"/>
                        <a:gd name="connsiteY0" fmla="*/ 7176 h 112434"/>
                        <a:gd name="connsiteX1" fmla="*/ 1555 w 53751"/>
                        <a:gd name="connsiteY1" fmla="*/ 110046 h 112434"/>
                        <a:gd name="connsiteX2" fmla="*/ 44989 w 53751"/>
                        <a:gd name="connsiteY2" fmla="*/ 94806 h 112434"/>
                        <a:gd name="connsiteX3" fmla="*/ 53752 w 53751"/>
                        <a:gd name="connsiteY3" fmla="*/ 23654 h 112434"/>
                        <a:gd name="connsiteX4" fmla="*/ 31 w 53751"/>
                        <a:gd name="connsiteY4" fmla="*/ 7176 h 1124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3751" h="112434">
                          <a:moveTo>
                            <a:pt x="31" y="7176"/>
                          </a:moveTo>
                          <a:cubicBezTo>
                            <a:pt x="-255" y="8986"/>
                            <a:pt x="1555" y="110046"/>
                            <a:pt x="1555" y="110046"/>
                          </a:cubicBezTo>
                          <a:cubicBezTo>
                            <a:pt x="30987" y="111856"/>
                            <a:pt x="40512" y="119000"/>
                            <a:pt x="44989" y="94806"/>
                          </a:cubicBezTo>
                          <a:lnTo>
                            <a:pt x="53752" y="23654"/>
                          </a:lnTo>
                          <a:cubicBezTo>
                            <a:pt x="46703" y="6414"/>
                            <a:pt x="10318" y="-9778"/>
                            <a:pt x="31" y="7176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212" name="Grafik 23">
                      <a:extLst>
                        <a:ext uri="{FF2B5EF4-FFF2-40B4-BE49-F238E27FC236}">
                          <a16:creationId xmlns:a16="http://schemas.microsoft.com/office/drawing/2014/main" id="{BC877DEB-D6CC-9757-7143-AADE7853D9D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483816" y="3539440"/>
                      <a:ext cx="145001" cy="336662"/>
                      <a:chOff x="8483816" y="3539440"/>
                      <a:chExt cx="145001" cy="336662"/>
                    </a:xfrm>
                    <a:solidFill>
                      <a:srgbClr val="8A5942"/>
                    </a:solidFill>
                  </p:grpSpPr>
                  <p:sp>
                    <p:nvSpPr>
                      <p:cNvPr id="215" name="Freihandform: Form 214">
                        <a:extLst>
                          <a:ext uri="{FF2B5EF4-FFF2-40B4-BE49-F238E27FC236}">
                            <a16:creationId xmlns:a16="http://schemas.microsoft.com/office/drawing/2014/main" id="{8AAF7093-F9E2-9393-5C0E-D69DBD87FA0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529038" y="3738176"/>
                        <a:ext cx="60495" cy="137927"/>
                      </a:xfrm>
                      <a:custGeom>
                        <a:avLst/>
                        <a:gdLst>
                          <a:gd name="connsiteX0" fmla="*/ 24158 w 60495"/>
                          <a:gd name="connsiteY0" fmla="*/ 137927 h 137927"/>
                          <a:gd name="connsiteX1" fmla="*/ 57685 w 60495"/>
                          <a:gd name="connsiteY1" fmla="*/ 75253 h 137927"/>
                          <a:gd name="connsiteX2" fmla="*/ 53304 w 60495"/>
                          <a:gd name="connsiteY2" fmla="*/ 5815 h 137927"/>
                          <a:gd name="connsiteX3" fmla="*/ 40350 w 60495"/>
                          <a:gd name="connsiteY3" fmla="*/ 958 h 137927"/>
                          <a:gd name="connsiteX4" fmla="*/ 4726 w 60495"/>
                          <a:gd name="connsiteY4" fmla="*/ 77824 h 137927"/>
                          <a:gd name="connsiteX5" fmla="*/ 24062 w 60495"/>
                          <a:gd name="connsiteY5" fmla="*/ 137832 h 137927"/>
                          <a:gd name="connsiteX6" fmla="*/ 24062 w 60495"/>
                          <a:gd name="connsiteY6" fmla="*/ 137832 h 1379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0495" h="137927">
                            <a:moveTo>
                              <a:pt x="24158" y="137927"/>
                            </a:moveTo>
                            <a:lnTo>
                              <a:pt x="57685" y="75253"/>
                            </a:lnTo>
                            <a:cubicBezTo>
                              <a:pt x="59876" y="52964"/>
                              <a:pt x="64448" y="18579"/>
                              <a:pt x="53304" y="5815"/>
                            </a:cubicBezTo>
                            <a:cubicBezTo>
                              <a:pt x="47017" y="-1424"/>
                              <a:pt x="41398" y="-376"/>
                              <a:pt x="40350" y="958"/>
                            </a:cubicBezTo>
                            <a:cubicBezTo>
                              <a:pt x="33111" y="11149"/>
                              <a:pt x="17204" y="44868"/>
                              <a:pt x="4726" y="77824"/>
                            </a:cubicBezTo>
                            <a:cubicBezTo>
                              <a:pt x="-3941" y="100780"/>
                              <a:pt x="-2417" y="117639"/>
                              <a:pt x="24062" y="137832"/>
                            </a:cubicBezTo>
                            <a:lnTo>
                              <a:pt x="24062" y="137832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216" name="Freihandform: Form 215">
                        <a:extLst>
                          <a:ext uri="{FF2B5EF4-FFF2-40B4-BE49-F238E27FC236}">
                            <a16:creationId xmlns:a16="http://schemas.microsoft.com/office/drawing/2014/main" id="{E26ABA93-4E11-FBB0-CA13-49C5BF1F6A8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548242" y="3697576"/>
                        <a:ext cx="80486" cy="117625"/>
                      </a:xfrm>
                      <a:custGeom>
                        <a:avLst/>
                        <a:gdLst>
                          <a:gd name="connsiteX0" fmla="*/ 80486 w 80486"/>
                          <a:gd name="connsiteY0" fmla="*/ 17269 h 117625"/>
                          <a:gd name="connsiteX1" fmla="*/ 0 w 80486"/>
                          <a:gd name="connsiteY1" fmla="*/ 10982 h 117625"/>
                          <a:gd name="connsiteX2" fmla="*/ 5810 w 80486"/>
                          <a:gd name="connsiteY2" fmla="*/ 70608 h 117625"/>
                          <a:gd name="connsiteX3" fmla="*/ 38481 w 80486"/>
                          <a:gd name="connsiteY3" fmla="*/ 115948 h 117625"/>
                          <a:gd name="connsiteX4" fmla="*/ 80486 w 80486"/>
                          <a:gd name="connsiteY4" fmla="*/ 17269 h 11762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80486" h="117625">
                            <a:moveTo>
                              <a:pt x="80486" y="17269"/>
                            </a:moveTo>
                            <a:cubicBezTo>
                              <a:pt x="61627" y="-17498"/>
                              <a:pt x="0" y="10982"/>
                              <a:pt x="0" y="10982"/>
                            </a:cubicBezTo>
                            <a:lnTo>
                              <a:pt x="5810" y="70608"/>
                            </a:lnTo>
                            <a:cubicBezTo>
                              <a:pt x="3429" y="95659"/>
                              <a:pt x="15907" y="124996"/>
                              <a:pt x="38481" y="115948"/>
                            </a:cubicBezTo>
                            <a:cubicBezTo>
                              <a:pt x="38481" y="115948"/>
                              <a:pt x="80582" y="16221"/>
                              <a:pt x="80486" y="17269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217" name="Freihandform: Form 216">
                        <a:extLst>
                          <a:ext uri="{FF2B5EF4-FFF2-40B4-BE49-F238E27FC236}">
                            <a16:creationId xmlns:a16="http://schemas.microsoft.com/office/drawing/2014/main" id="{A03A494C-40F6-F952-BA8D-81F4562B6EE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83816" y="3539440"/>
                        <a:ext cx="145001" cy="187300"/>
                      </a:xfrm>
                      <a:custGeom>
                        <a:avLst/>
                        <a:gdLst>
                          <a:gd name="connsiteX0" fmla="*/ 142151 w 145001"/>
                          <a:gd name="connsiteY0" fmla="*/ 88632 h 187300"/>
                          <a:gd name="connsiteX1" fmla="*/ 144913 w 145001"/>
                          <a:gd name="connsiteY1" fmla="*/ 175405 h 187300"/>
                          <a:gd name="connsiteX2" fmla="*/ 144913 w 145001"/>
                          <a:gd name="connsiteY2" fmla="*/ 175405 h 187300"/>
                          <a:gd name="connsiteX3" fmla="*/ 64712 w 145001"/>
                          <a:gd name="connsiteY3" fmla="*/ 170642 h 187300"/>
                          <a:gd name="connsiteX4" fmla="*/ 9848 w 145001"/>
                          <a:gd name="connsiteY4" fmla="*/ 67486 h 187300"/>
                          <a:gd name="connsiteX5" fmla="*/ 104717 w 145001"/>
                          <a:gd name="connsiteY5" fmla="*/ 431 h 187300"/>
                          <a:gd name="connsiteX6" fmla="*/ 142151 w 145001"/>
                          <a:gd name="connsiteY6" fmla="*/ 88632 h 1873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145001" h="187300">
                            <a:moveTo>
                              <a:pt x="142151" y="88632"/>
                            </a:moveTo>
                            <a:cubicBezTo>
                              <a:pt x="145770" y="113302"/>
                              <a:pt x="144913" y="175405"/>
                              <a:pt x="144913" y="175405"/>
                            </a:cubicBezTo>
                            <a:lnTo>
                              <a:pt x="144913" y="175405"/>
                            </a:lnTo>
                            <a:cubicBezTo>
                              <a:pt x="107289" y="175214"/>
                              <a:pt x="108813" y="205218"/>
                              <a:pt x="64712" y="170642"/>
                            </a:cubicBezTo>
                            <a:cubicBezTo>
                              <a:pt x="64712" y="170642"/>
                              <a:pt x="53472" y="104253"/>
                              <a:pt x="9848" y="67486"/>
                            </a:cubicBezTo>
                            <a:cubicBezTo>
                              <a:pt x="-27871" y="35768"/>
                              <a:pt x="51186" y="-4618"/>
                              <a:pt x="104717" y="431"/>
                            </a:cubicBezTo>
                            <a:cubicBezTo>
                              <a:pt x="128815" y="38244"/>
                              <a:pt x="142151" y="88632"/>
                              <a:pt x="142151" y="88632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213" name="Freihandform: Form 212">
                      <a:extLst>
                        <a:ext uri="{FF2B5EF4-FFF2-40B4-BE49-F238E27FC236}">
                          <a16:creationId xmlns:a16="http://schemas.microsoft.com/office/drawing/2014/main" id="{98FA65EB-DFD9-761B-B6FC-F632BB0F5ED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95080" y="3494722"/>
                      <a:ext cx="234464" cy="282987"/>
                    </a:xfrm>
                    <a:custGeom>
                      <a:avLst/>
                      <a:gdLst>
                        <a:gd name="connsiteX0" fmla="*/ 4382 w 234464"/>
                        <a:gd name="connsiteY0" fmla="*/ 195644 h 282987"/>
                        <a:gd name="connsiteX1" fmla="*/ 59341 w 234464"/>
                        <a:gd name="connsiteY1" fmla="*/ 0 h 282987"/>
                        <a:gd name="connsiteX2" fmla="*/ 194977 w 234464"/>
                        <a:gd name="connsiteY2" fmla="*/ 11430 h 282987"/>
                        <a:gd name="connsiteX3" fmla="*/ 200787 w 234464"/>
                        <a:gd name="connsiteY3" fmla="*/ 47625 h 282987"/>
                        <a:gd name="connsiteX4" fmla="*/ 232601 w 234464"/>
                        <a:gd name="connsiteY4" fmla="*/ 177832 h 282987"/>
                        <a:gd name="connsiteX5" fmla="*/ 152877 w 234464"/>
                        <a:gd name="connsiteY5" fmla="*/ 204883 h 282987"/>
                        <a:gd name="connsiteX6" fmla="*/ 88678 w 234464"/>
                        <a:gd name="connsiteY6" fmla="*/ 282988 h 282987"/>
                        <a:gd name="connsiteX7" fmla="*/ 0 w 234464"/>
                        <a:gd name="connsiteY7" fmla="*/ 234982 h 282987"/>
                        <a:gd name="connsiteX8" fmla="*/ 4382 w 234464"/>
                        <a:gd name="connsiteY8" fmla="*/ 195548 h 28298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234464" h="282987">
                          <a:moveTo>
                            <a:pt x="4382" y="195644"/>
                          </a:moveTo>
                          <a:cubicBezTo>
                            <a:pt x="21431" y="145828"/>
                            <a:pt x="40958" y="87154"/>
                            <a:pt x="59341" y="0"/>
                          </a:cubicBezTo>
                          <a:lnTo>
                            <a:pt x="194977" y="11430"/>
                          </a:lnTo>
                          <a:cubicBezTo>
                            <a:pt x="194977" y="32099"/>
                            <a:pt x="197739" y="44005"/>
                            <a:pt x="200787" y="47625"/>
                          </a:cubicBezTo>
                          <a:cubicBezTo>
                            <a:pt x="246031" y="101727"/>
                            <a:pt x="232601" y="177832"/>
                            <a:pt x="232601" y="177832"/>
                          </a:cubicBezTo>
                          <a:cubicBezTo>
                            <a:pt x="230981" y="184976"/>
                            <a:pt x="183261" y="168688"/>
                            <a:pt x="152877" y="204883"/>
                          </a:cubicBezTo>
                          <a:cubicBezTo>
                            <a:pt x="144304" y="215075"/>
                            <a:pt x="102394" y="222885"/>
                            <a:pt x="88678" y="282988"/>
                          </a:cubicBezTo>
                          <a:cubicBezTo>
                            <a:pt x="33909" y="215837"/>
                            <a:pt x="3048" y="234125"/>
                            <a:pt x="0" y="234982"/>
                          </a:cubicBezTo>
                          <a:cubicBezTo>
                            <a:pt x="2572" y="219551"/>
                            <a:pt x="2667" y="206026"/>
                            <a:pt x="4382" y="195548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4" name="Freihandform: Form 213">
                      <a:extLst>
                        <a:ext uri="{FF2B5EF4-FFF2-40B4-BE49-F238E27FC236}">
                          <a16:creationId xmlns:a16="http://schemas.microsoft.com/office/drawing/2014/main" id="{FC234E3B-AA6F-D737-CF91-8F38E1D8FE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53659" y="3436239"/>
                      <a:ext cx="136397" cy="136398"/>
                    </a:xfrm>
                    <a:custGeom>
                      <a:avLst/>
                      <a:gdLst>
                        <a:gd name="connsiteX0" fmla="*/ 136398 w 136397"/>
                        <a:gd name="connsiteY0" fmla="*/ 68199 h 136398"/>
                        <a:gd name="connsiteX1" fmla="*/ 68199 w 136397"/>
                        <a:gd name="connsiteY1" fmla="*/ 136398 h 136398"/>
                        <a:gd name="connsiteX2" fmla="*/ 1 w 136397"/>
                        <a:gd name="connsiteY2" fmla="*/ 68199 h 136398"/>
                        <a:gd name="connsiteX3" fmla="*/ 68199 w 136397"/>
                        <a:gd name="connsiteY3" fmla="*/ 0 h 136398"/>
                        <a:gd name="connsiteX4" fmla="*/ 136398 w 136397"/>
                        <a:gd name="connsiteY4" fmla="*/ 68199 h 1363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36397" h="136398">
                          <a:moveTo>
                            <a:pt x="136398" y="68199"/>
                          </a:moveTo>
                          <a:cubicBezTo>
                            <a:pt x="136398" y="105864"/>
                            <a:pt x="105864" y="136398"/>
                            <a:pt x="68199" y="136398"/>
                          </a:cubicBezTo>
                          <a:cubicBezTo>
                            <a:pt x="30534" y="136398"/>
                            <a:pt x="1" y="105865"/>
                            <a:pt x="1" y="68199"/>
                          </a:cubicBezTo>
                          <a:cubicBezTo>
                            <a:pt x="1" y="30534"/>
                            <a:pt x="30534" y="0"/>
                            <a:pt x="68199" y="0"/>
                          </a:cubicBezTo>
                          <a:cubicBezTo>
                            <a:pt x="105864" y="0"/>
                            <a:pt x="136398" y="30534"/>
                            <a:pt x="136398" y="68199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sp>
              <p:nvSpPr>
                <p:cNvPr id="174" name="Freihandform: Form 173">
                  <a:extLst>
                    <a:ext uri="{FF2B5EF4-FFF2-40B4-BE49-F238E27FC236}">
                      <a16:creationId xmlns:a16="http://schemas.microsoft.com/office/drawing/2014/main" id="{BA8E82B6-67E9-DDC8-D0DE-C2E12F1C32EA}"/>
                    </a:ext>
                  </a:extLst>
                </p:cNvPr>
                <p:cNvSpPr/>
                <p:nvPr/>
              </p:nvSpPr>
              <p:spPr>
                <a:xfrm>
                  <a:off x="8688572" y="8112484"/>
                  <a:ext cx="1208416" cy="1222459"/>
                </a:xfrm>
                <a:custGeom>
                  <a:avLst/>
                  <a:gdLst>
                    <a:gd name="connsiteX0" fmla="*/ 1189550 w 1208416"/>
                    <a:gd name="connsiteY0" fmla="*/ 262626 h 1222459"/>
                    <a:gd name="connsiteX1" fmla="*/ 821695 w 1208416"/>
                    <a:gd name="connsiteY1" fmla="*/ 114131 h 1222459"/>
                    <a:gd name="connsiteX2" fmla="*/ 766641 w 1208416"/>
                    <a:gd name="connsiteY2" fmla="*/ 15071 h 1222459"/>
                    <a:gd name="connsiteX3" fmla="*/ 747971 w 1208416"/>
                    <a:gd name="connsiteY3" fmla="*/ 6879 h 1222459"/>
                    <a:gd name="connsiteX4" fmla="*/ 454506 w 1208416"/>
                    <a:gd name="connsiteY4" fmla="*/ 1164 h 1222459"/>
                    <a:gd name="connsiteX5" fmla="*/ 438885 w 1208416"/>
                    <a:gd name="connsiteY5" fmla="*/ 8975 h 1222459"/>
                    <a:gd name="connsiteX6" fmla="*/ 424026 w 1208416"/>
                    <a:gd name="connsiteY6" fmla="*/ 67744 h 1222459"/>
                    <a:gd name="connsiteX7" fmla="*/ 390879 w 1208416"/>
                    <a:gd name="connsiteY7" fmla="*/ 96986 h 1222459"/>
                    <a:gd name="connsiteX8" fmla="*/ 17594 w 1208416"/>
                    <a:gd name="connsiteY8" fmla="*/ 279771 h 1222459"/>
                    <a:gd name="connsiteX9" fmla="*/ 143896 w 1208416"/>
                    <a:gd name="connsiteY9" fmla="*/ 680868 h 1222459"/>
                    <a:gd name="connsiteX10" fmla="*/ 240384 w 1208416"/>
                    <a:gd name="connsiteY10" fmla="*/ 1222460 h 1222459"/>
                    <a:gd name="connsiteX11" fmla="*/ 955235 w 1208416"/>
                    <a:gd name="connsiteY11" fmla="*/ 1220364 h 1222459"/>
                    <a:gd name="connsiteX12" fmla="*/ 1093729 w 1208416"/>
                    <a:gd name="connsiteY12" fmla="*/ 696870 h 1222459"/>
                    <a:gd name="connsiteX13" fmla="*/ 1189455 w 1208416"/>
                    <a:gd name="connsiteY13" fmla="*/ 262530 h 1222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208416" h="1222459">
                      <a:moveTo>
                        <a:pt x="1189550" y="262626"/>
                      </a:moveTo>
                      <a:cubicBezTo>
                        <a:pt x="1103921" y="179663"/>
                        <a:pt x="966475" y="205666"/>
                        <a:pt x="821695" y="114131"/>
                      </a:cubicBezTo>
                      <a:cubicBezTo>
                        <a:pt x="785500" y="80793"/>
                        <a:pt x="771689" y="38597"/>
                        <a:pt x="766641" y="15071"/>
                      </a:cubicBezTo>
                      <a:cubicBezTo>
                        <a:pt x="764831" y="6689"/>
                        <a:pt x="755401" y="2593"/>
                        <a:pt x="747971" y="6879"/>
                      </a:cubicBezTo>
                      <a:cubicBezTo>
                        <a:pt x="655769" y="60791"/>
                        <a:pt x="553947" y="49837"/>
                        <a:pt x="454506" y="1164"/>
                      </a:cubicBezTo>
                      <a:cubicBezTo>
                        <a:pt x="447934" y="-2074"/>
                        <a:pt x="440123" y="1736"/>
                        <a:pt x="438885" y="8975"/>
                      </a:cubicBezTo>
                      <a:cubicBezTo>
                        <a:pt x="436504" y="22500"/>
                        <a:pt x="431932" y="44122"/>
                        <a:pt x="424026" y="67744"/>
                      </a:cubicBezTo>
                      <a:cubicBezTo>
                        <a:pt x="421073" y="74316"/>
                        <a:pt x="412501" y="88223"/>
                        <a:pt x="390879" y="96986"/>
                      </a:cubicBezTo>
                      <a:cubicBezTo>
                        <a:pt x="225049" y="164137"/>
                        <a:pt x="111987" y="195188"/>
                        <a:pt x="17594" y="279771"/>
                      </a:cubicBezTo>
                      <a:cubicBezTo>
                        <a:pt x="-59939" y="349303"/>
                        <a:pt x="143896" y="680868"/>
                        <a:pt x="143896" y="680868"/>
                      </a:cubicBezTo>
                      <a:lnTo>
                        <a:pt x="240384" y="1222460"/>
                      </a:lnTo>
                      <a:lnTo>
                        <a:pt x="955235" y="1220364"/>
                      </a:lnTo>
                      <a:lnTo>
                        <a:pt x="1093729" y="696870"/>
                      </a:lnTo>
                      <a:cubicBezTo>
                        <a:pt x="1093729" y="696870"/>
                        <a:pt x="1264227" y="335016"/>
                        <a:pt x="1189455" y="262530"/>
                      </a:cubicBezTo>
                      <a:close/>
                    </a:path>
                  </a:pathLst>
                </a:custGeom>
                <a:solidFill>
                  <a:srgbClr val="FFE98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5" name="Freihandform: Form 174">
                  <a:extLst>
                    <a:ext uri="{FF2B5EF4-FFF2-40B4-BE49-F238E27FC236}">
                      <a16:creationId xmlns:a16="http://schemas.microsoft.com/office/drawing/2014/main" id="{5B88CD5E-5E1B-C233-8867-C6DA0DAB4B0B}"/>
                    </a:ext>
                  </a:extLst>
                </p:cNvPr>
                <p:cNvSpPr/>
                <p:nvPr/>
              </p:nvSpPr>
              <p:spPr>
                <a:xfrm>
                  <a:off x="9209944" y="7953627"/>
                  <a:ext cx="147256" cy="49531"/>
                </a:xfrm>
                <a:custGeom>
                  <a:avLst/>
                  <a:gdLst>
                    <a:gd name="connsiteX0" fmla="*/ 0 w 147256"/>
                    <a:gd name="connsiteY0" fmla="*/ 5431 h 49531"/>
                    <a:gd name="connsiteX1" fmla="*/ 55721 w 147256"/>
                    <a:gd name="connsiteY1" fmla="*/ 573 h 49531"/>
                    <a:gd name="connsiteX2" fmla="*/ 70294 w 147256"/>
                    <a:gd name="connsiteY2" fmla="*/ 4002 h 49531"/>
                    <a:gd name="connsiteX3" fmla="*/ 84010 w 147256"/>
                    <a:gd name="connsiteY3" fmla="*/ 2 h 49531"/>
                    <a:gd name="connsiteX4" fmla="*/ 147256 w 147256"/>
                    <a:gd name="connsiteY4" fmla="*/ 5812 h 49531"/>
                    <a:gd name="connsiteX5" fmla="*/ 68389 w 147256"/>
                    <a:gd name="connsiteY5" fmla="*/ 49532 h 49531"/>
                    <a:gd name="connsiteX6" fmla="*/ 0 w 147256"/>
                    <a:gd name="connsiteY6" fmla="*/ 5431 h 49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7256" h="49531">
                      <a:moveTo>
                        <a:pt x="0" y="5431"/>
                      </a:moveTo>
                      <a:cubicBezTo>
                        <a:pt x="0" y="5431"/>
                        <a:pt x="19050" y="2859"/>
                        <a:pt x="55721" y="573"/>
                      </a:cubicBezTo>
                      <a:cubicBezTo>
                        <a:pt x="58578" y="383"/>
                        <a:pt x="61817" y="4193"/>
                        <a:pt x="70294" y="4002"/>
                      </a:cubicBezTo>
                      <a:cubicBezTo>
                        <a:pt x="80296" y="3812"/>
                        <a:pt x="80676" y="-94"/>
                        <a:pt x="84010" y="2"/>
                      </a:cubicBezTo>
                      <a:cubicBezTo>
                        <a:pt x="123539" y="1049"/>
                        <a:pt x="147256" y="5812"/>
                        <a:pt x="147256" y="5812"/>
                      </a:cubicBezTo>
                      <a:cubicBezTo>
                        <a:pt x="147256" y="5812"/>
                        <a:pt x="127635" y="49532"/>
                        <a:pt x="68389" y="49532"/>
                      </a:cubicBezTo>
                      <a:cubicBezTo>
                        <a:pt x="15049" y="49532"/>
                        <a:pt x="0" y="5431"/>
                        <a:pt x="0" y="5431"/>
                      </a:cubicBezTo>
                      <a:close/>
                    </a:path>
                  </a:pathLst>
                </a:custGeom>
                <a:solidFill>
                  <a:srgbClr val="4B2E1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6" name="Freihandform: Form 175">
                  <a:extLst>
                    <a:ext uri="{FF2B5EF4-FFF2-40B4-BE49-F238E27FC236}">
                      <a16:creationId xmlns:a16="http://schemas.microsoft.com/office/drawing/2014/main" id="{79FF9E51-F5DA-E084-B627-854A858C9801}"/>
                    </a:ext>
                  </a:extLst>
                </p:cNvPr>
                <p:cNvSpPr/>
                <p:nvPr/>
              </p:nvSpPr>
              <p:spPr>
                <a:xfrm>
                  <a:off x="8620918" y="8339391"/>
                  <a:ext cx="314705" cy="314706"/>
                </a:xfrm>
                <a:custGeom>
                  <a:avLst/>
                  <a:gdLst>
                    <a:gd name="connsiteX0" fmla="*/ 314706 w 314705"/>
                    <a:gd name="connsiteY0" fmla="*/ 157353 h 314706"/>
                    <a:gd name="connsiteX1" fmla="*/ 157353 w 314705"/>
                    <a:gd name="connsiteY1" fmla="*/ 314706 h 314706"/>
                    <a:gd name="connsiteX2" fmla="*/ -1 w 314705"/>
                    <a:gd name="connsiteY2" fmla="*/ 157353 h 314706"/>
                    <a:gd name="connsiteX3" fmla="*/ 157353 w 314705"/>
                    <a:gd name="connsiteY3" fmla="*/ 0 h 314706"/>
                    <a:gd name="connsiteX4" fmla="*/ 314706 w 314705"/>
                    <a:gd name="connsiteY4" fmla="*/ 157353 h 314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4705" h="314706">
                      <a:moveTo>
                        <a:pt x="314706" y="157353"/>
                      </a:moveTo>
                      <a:cubicBezTo>
                        <a:pt x="314706" y="244257"/>
                        <a:pt x="244257" y="314706"/>
                        <a:pt x="157353" y="314706"/>
                      </a:cubicBezTo>
                      <a:cubicBezTo>
                        <a:pt x="70449" y="314706"/>
                        <a:pt x="-1" y="244257"/>
                        <a:pt x="-1" y="157353"/>
                      </a:cubicBezTo>
                      <a:cubicBezTo>
                        <a:pt x="-1" y="70449"/>
                        <a:pt x="70449" y="0"/>
                        <a:pt x="157353" y="0"/>
                      </a:cubicBezTo>
                      <a:cubicBezTo>
                        <a:pt x="244256" y="0"/>
                        <a:pt x="314706" y="70449"/>
                        <a:pt x="314706" y="15735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7" name="Freihandform: Form 176">
                  <a:extLst>
                    <a:ext uri="{FF2B5EF4-FFF2-40B4-BE49-F238E27FC236}">
                      <a16:creationId xmlns:a16="http://schemas.microsoft.com/office/drawing/2014/main" id="{13EDE6B7-91FA-EDDD-3A6D-830B74DBA61B}"/>
                    </a:ext>
                  </a:extLst>
                </p:cNvPr>
                <p:cNvSpPr/>
                <p:nvPr/>
              </p:nvSpPr>
              <p:spPr>
                <a:xfrm>
                  <a:off x="8398795" y="8394827"/>
                  <a:ext cx="523018" cy="989647"/>
                </a:xfrm>
                <a:custGeom>
                  <a:avLst/>
                  <a:gdLst>
                    <a:gd name="connsiteX0" fmla="*/ 0 w 523018"/>
                    <a:gd name="connsiteY0" fmla="*/ 947261 h 989647"/>
                    <a:gd name="connsiteX1" fmla="*/ 307467 w 523018"/>
                    <a:gd name="connsiteY1" fmla="*/ 989648 h 989647"/>
                    <a:gd name="connsiteX2" fmla="*/ 523018 w 523018"/>
                    <a:gd name="connsiteY2" fmla="*/ 167259 h 989647"/>
                    <a:gd name="connsiteX3" fmla="*/ 259747 w 523018"/>
                    <a:gd name="connsiteY3" fmla="*/ 0 h 989647"/>
                    <a:gd name="connsiteX4" fmla="*/ 0 w 523018"/>
                    <a:gd name="connsiteY4" fmla="*/ 947261 h 9896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3018" h="989647">
                      <a:moveTo>
                        <a:pt x="0" y="947261"/>
                      </a:moveTo>
                      <a:lnTo>
                        <a:pt x="307467" y="989648"/>
                      </a:lnTo>
                      <a:lnTo>
                        <a:pt x="523018" y="167259"/>
                      </a:lnTo>
                      <a:lnTo>
                        <a:pt x="259747" y="0"/>
                      </a:lnTo>
                      <a:cubicBezTo>
                        <a:pt x="171069" y="80486"/>
                        <a:pt x="0" y="947261"/>
                        <a:pt x="0" y="94726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8" name="Freihandform: Form 177">
                  <a:extLst>
                    <a:ext uri="{FF2B5EF4-FFF2-40B4-BE49-F238E27FC236}">
                      <a16:creationId xmlns:a16="http://schemas.microsoft.com/office/drawing/2014/main" id="{23F84047-FBDE-C2CE-804A-674A6B740AA1}"/>
                    </a:ext>
                  </a:extLst>
                </p:cNvPr>
                <p:cNvSpPr/>
                <p:nvPr/>
              </p:nvSpPr>
              <p:spPr>
                <a:xfrm>
                  <a:off x="8398128" y="9204071"/>
                  <a:ext cx="310133" cy="310134"/>
                </a:xfrm>
                <a:custGeom>
                  <a:avLst/>
                  <a:gdLst>
                    <a:gd name="connsiteX0" fmla="*/ 310134 w 310133"/>
                    <a:gd name="connsiteY0" fmla="*/ 155067 h 310134"/>
                    <a:gd name="connsiteX1" fmla="*/ 155067 w 310133"/>
                    <a:gd name="connsiteY1" fmla="*/ 310134 h 310134"/>
                    <a:gd name="connsiteX2" fmla="*/ -1 w 310133"/>
                    <a:gd name="connsiteY2" fmla="*/ 155067 h 310134"/>
                    <a:gd name="connsiteX3" fmla="*/ 155067 w 310133"/>
                    <a:gd name="connsiteY3" fmla="*/ 0 h 310134"/>
                    <a:gd name="connsiteX4" fmla="*/ 310134 w 310133"/>
                    <a:gd name="connsiteY4" fmla="*/ 155067 h 3101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0133" h="310134">
                      <a:moveTo>
                        <a:pt x="310134" y="155067"/>
                      </a:moveTo>
                      <a:cubicBezTo>
                        <a:pt x="310134" y="240708"/>
                        <a:pt x="240708" y="310134"/>
                        <a:pt x="155067" y="310134"/>
                      </a:cubicBezTo>
                      <a:cubicBezTo>
                        <a:pt x="69425" y="310134"/>
                        <a:pt x="-1" y="240708"/>
                        <a:pt x="-1" y="155067"/>
                      </a:cubicBezTo>
                      <a:cubicBezTo>
                        <a:pt x="-1" y="69426"/>
                        <a:pt x="69425" y="0"/>
                        <a:pt x="155067" y="0"/>
                      </a:cubicBezTo>
                      <a:cubicBezTo>
                        <a:pt x="240708" y="0"/>
                        <a:pt x="310134" y="69426"/>
                        <a:pt x="310134" y="15506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9" name="Freihandform: Form 178">
                  <a:extLst>
                    <a:ext uri="{FF2B5EF4-FFF2-40B4-BE49-F238E27FC236}">
                      <a16:creationId xmlns:a16="http://schemas.microsoft.com/office/drawing/2014/main" id="{BD68CDF3-DED2-8C6B-87BE-E747C0E15042}"/>
                    </a:ext>
                  </a:extLst>
                </p:cNvPr>
                <p:cNvSpPr/>
                <p:nvPr/>
              </p:nvSpPr>
              <p:spPr>
                <a:xfrm>
                  <a:off x="8616251" y="8188610"/>
                  <a:ext cx="575214" cy="3144202"/>
                </a:xfrm>
                <a:custGeom>
                  <a:avLst/>
                  <a:gdLst>
                    <a:gd name="connsiteX0" fmla="*/ 197358 w 575214"/>
                    <a:gd name="connsiteY0" fmla="*/ 1136999 h 3144202"/>
                    <a:gd name="connsiteX1" fmla="*/ 0 w 575214"/>
                    <a:gd name="connsiteY1" fmla="*/ 3144203 h 3144202"/>
                    <a:gd name="connsiteX2" fmla="*/ 527590 w 575214"/>
                    <a:gd name="connsiteY2" fmla="*/ 3144203 h 3144202"/>
                    <a:gd name="connsiteX3" fmla="*/ 575215 w 575214"/>
                    <a:gd name="connsiteY3" fmla="*/ 576167 h 3144202"/>
                    <a:gd name="connsiteX4" fmla="*/ 467868 w 575214"/>
                    <a:gd name="connsiteY4" fmla="*/ 0 h 3144202"/>
                    <a:gd name="connsiteX5" fmla="*/ 28194 w 575214"/>
                    <a:gd name="connsiteY5" fmla="*/ 225647 h 3144202"/>
                    <a:gd name="connsiteX6" fmla="*/ 216312 w 575214"/>
                    <a:gd name="connsiteY6" fmla="*/ 604838 h 3144202"/>
                    <a:gd name="connsiteX7" fmla="*/ 197453 w 575214"/>
                    <a:gd name="connsiteY7" fmla="*/ 1137095 h 3144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75214" h="3144202">
                      <a:moveTo>
                        <a:pt x="197358" y="1136999"/>
                      </a:moveTo>
                      <a:cubicBezTo>
                        <a:pt x="-28861" y="1726597"/>
                        <a:pt x="51340" y="2820543"/>
                        <a:pt x="0" y="3144203"/>
                      </a:cubicBezTo>
                      <a:lnTo>
                        <a:pt x="527590" y="3144203"/>
                      </a:lnTo>
                      <a:lnTo>
                        <a:pt x="575215" y="576167"/>
                      </a:lnTo>
                      <a:lnTo>
                        <a:pt x="467868" y="0"/>
                      </a:lnTo>
                      <a:cubicBezTo>
                        <a:pt x="302037" y="67151"/>
                        <a:pt x="69437" y="144590"/>
                        <a:pt x="28194" y="225647"/>
                      </a:cubicBezTo>
                      <a:cubicBezTo>
                        <a:pt x="120682" y="378047"/>
                        <a:pt x="216312" y="604838"/>
                        <a:pt x="216312" y="604838"/>
                      </a:cubicBezTo>
                      <a:cubicBezTo>
                        <a:pt x="216312" y="604838"/>
                        <a:pt x="200406" y="745903"/>
                        <a:pt x="197453" y="113709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0" name="Freihandform: Form 179">
                  <a:extLst>
                    <a:ext uri="{FF2B5EF4-FFF2-40B4-BE49-F238E27FC236}">
                      <a16:creationId xmlns:a16="http://schemas.microsoft.com/office/drawing/2014/main" id="{FE6D3CA7-FCC8-C9E8-A2B6-375D7AEA2362}"/>
                    </a:ext>
                  </a:extLst>
                </p:cNvPr>
                <p:cNvSpPr/>
                <p:nvPr/>
              </p:nvSpPr>
              <p:spPr>
                <a:xfrm>
                  <a:off x="8923527" y="8237759"/>
                  <a:ext cx="199834" cy="706945"/>
                </a:xfrm>
                <a:custGeom>
                  <a:avLst/>
                  <a:gdLst>
                    <a:gd name="connsiteX0" fmla="*/ 35528 w 199834"/>
                    <a:gd name="connsiteY0" fmla="*/ 0 h 706945"/>
                    <a:gd name="connsiteX1" fmla="*/ 0 w 199834"/>
                    <a:gd name="connsiteY1" fmla="*/ 13906 h 706945"/>
                    <a:gd name="connsiteX2" fmla="*/ 88106 w 199834"/>
                    <a:gd name="connsiteY2" fmla="*/ 352234 h 706945"/>
                    <a:gd name="connsiteX3" fmla="*/ 199834 w 199834"/>
                    <a:gd name="connsiteY3" fmla="*/ 706946 h 706945"/>
                    <a:gd name="connsiteX4" fmla="*/ 123539 w 199834"/>
                    <a:gd name="connsiteY4" fmla="*/ 352234 h 706945"/>
                    <a:gd name="connsiteX5" fmla="*/ 35623 w 199834"/>
                    <a:gd name="connsiteY5" fmla="*/ 0 h 706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99834" h="706945">
                      <a:moveTo>
                        <a:pt x="35528" y="0"/>
                      </a:moveTo>
                      <a:lnTo>
                        <a:pt x="0" y="13906"/>
                      </a:lnTo>
                      <a:cubicBezTo>
                        <a:pt x="0" y="13906"/>
                        <a:pt x="76009" y="206692"/>
                        <a:pt x="88106" y="352234"/>
                      </a:cubicBezTo>
                      <a:cubicBezTo>
                        <a:pt x="100108" y="497776"/>
                        <a:pt x="199834" y="706946"/>
                        <a:pt x="199834" y="706946"/>
                      </a:cubicBezTo>
                      <a:cubicBezTo>
                        <a:pt x="199834" y="706946"/>
                        <a:pt x="128968" y="398050"/>
                        <a:pt x="123539" y="352234"/>
                      </a:cubicBezTo>
                      <a:cubicBezTo>
                        <a:pt x="118110" y="306419"/>
                        <a:pt x="35623" y="0"/>
                        <a:pt x="35623" y="0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1" name="Freihandform: Form 180">
                  <a:extLst>
                    <a:ext uri="{FF2B5EF4-FFF2-40B4-BE49-F238E27FC236}">
                      <a16:creationId xmlns:a16="http://schemas.microsoft.com/office/drawing/2014/main" id="{2E95DC5D-4EE9-6A3B-7C82-025593F77576}"/>
                    </a:ext>
                  </a:extLst>
                </p:cNvPr>
                <p:cNvSpPr/>
                <p:nvPr/>
              </p:nvSpPr>
              <p:spPr>
                <a:xfrm>
                  <a:off x="8664457" y="8777255"/>
                  <a:ext cx="159748" cy="575881"/>
                </a:xfrm>
                <a:custGeom>
                  <a:avLst/>
                  <a:gdLst>
                    <a:gd name="connsiteX0" fmla="*/ 132483 w 159748"/>
                    <a:gd name="connsiteY0" fmla="*/ 0 h 575881"/>
                    <a:gd name="connsiteX1" fmla="*/ 6753 w 159748"/>
                    <a:gd name="connsiteY1" fmla="*/ 303467 h 575881"/>
                    <a:gd name="connsiteX2" fmla="*/ 50568 w 159748"/>
                    <a:gd name="connsiteY2" fmla="*/ 575881 h 575881"/>
                    <a:gd name="connsiteX3" fmla="*/ 50568 w 159748"/>
                    <a:gd name="connsiteY3" fmla="*/ 575881 h 575881"/>
                    <a:gd name="connsiteX4" fmla="*/ 157343 w 159748"/>
                    <a:gd name="connsiteY4" fmla="*/ 197834 h 575881"/>
                    <a:gd name="connsiteX5" fmla="*/ 132387 w 159748"/>
                    <a:gd name="connsiteY5" fmla="*/ 0 h 575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59748" h="575881">
                      <a:moveTo>
                        <a:pt x="132483" y="0"/>
                      </a:moveTo>
                      <a:cubicBezTo>
                        <a:pt x="80191" y="30004"/>
                        <a:pt x="-28013" y="139351"/>
                        <a:pt x="6753" y="303467"/>
                      </a:cubicBezTo>
                      <a:cubicBezTo>
                        <a:pt x="41614" y="467582"/>
                        <a:pt x="50568" y="575881"/>
                        <a:pt x="50568" y="575881"/>
                      </a:cubicBezTo>
                      <a:lnTo>
                        <a:pt x="50568" y="575881"/>
                      </a:lnTo>
                      <a:lnTo>
                        <a:pt x="157343" y="197834"/>
                      </a:lnTo>
                      <a:cubicBezTo>
                        <a:pt x="160201" y="166592"/>
                        <a:pt x="166582" y="73057"/>
                        <a:pt x="132387" y="0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2" name="Freihandform: Form 181">
                  <a:extLst>
                    <a:ext uri="{FF2B5EF4-FFF2-40B4-BE49-F238E27FC236}">
                      <a16:creationId xmlns:a16="http://schemas.microsoft.com/office/drawing/2014/main" id="{B1F8868D-5DF7-440B-F9E0-E3CD0C649599}"/>
                    </a:ext>
                  </a:extLst>
                </p:cNvPr>
                <p:cNvSpPr/>
                <p:nvPr/>
              </p:nvSpPr>
              <p:spPr>
                <a:xfrm>
                  <a:off x="8695689" y="9943306"/>
                  <a:ext cx="330837" cy="409959"/>
                </a:xfrm>
                <a:custGeom>
                  <a:avLst/>
                  <a:gdLst>
                    <a:gd name="connsiteX0" fmla="*/ 49911 w 330837"/>
                    <a:gd name="connsiteY0" fmla="*/ 0 h 409959"/>
                    <a:gd name="connsiteX1" fmla="*/ 37338 w 330837"/>
                    <a:gd name="connsiteY1" fmla="*/ 351377 h 409959"/>
                    <a:gd name="connsiteX2" fmla="*/ 330804 w 330837"/>
                    <a:gd name="connsiteY2" fmla="*/ 359093 h 409959"/>
                    <a:gd name="connsiteX3" fmla="*/ 0 w 330837"/>
                    <a:gd name="connsiteY3" fmla="*/ 388715 h 409959"/>
                    <a:gd name="connsiteX4" fmla="*/ 25146 w 330837"/>
                    <a:gd name="connsiteY4" fmla="*/ 81724 h 409959"/>
                    <a:gd name="connsiteX5" fmla="*/ 49911 w 330837"/>
                    <a:gd name="connsiteY5" fmla="*/ 0 h 409959"/>
                    <a:gd name="connsiteX6" fmla="*/ 49911 w 330837"/>
                    <a:gd name="connsiteY6" fmla="*/ 0 h 409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30837" h="409959">
                      <a:moveTo>
                        <a:pt x="49911" y="0"/>
                      </a:moveTo>
                      <a:cubicBezTo>
                        <a:pt x="49911" y="0"/>
                        <a:pt x="33909" y="310229"/>
                        <a:pt x="37338" y="351377"/>
                      </a:cubicBezTo>
                      <a:cubicBezTo>
                        <a:pt x="43149" y="368713"/>
                        <a:pt x="307372" y="358616"/>
                        <a:pt x="330804" y="359093"/>
                      </a:cubicBezTo>
                      <a:cubicBezTo>
                        <a:pt x="334709" y="393859"/>
                        <a:pt x="0" y="436340"/>
                        <a:pt x="0" y="388715"/>
                      </a:cubicBezTo>
                      <a:cubicBezTo>
                        <a:pt x="0" y="341090"/>
                        <a:pt x="20193" y="122015"/>
                        <a:pt x="25146" y="81724"/>
                      </a:cubicBezTo>
                      <a:cubicBezTo>
                        <a:pt x="31909" y="25813"/>
                        <a:pt x="32861" y="8572"/>
                        <a:pt x="49911" y="0"/>
                      </a:cubicBezTo>
                      <a:lnTo>
                        <a:pt x="49911" y="0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3" name="Freihandform: Form 182">
                  <a:extLst>
                    <a:ext uri="{FF2B5EF4-FFF2-40B4-BE49-F238E27FC236}">
                      <a16:creationId xmlns:a16="http://schemas.microsoft.com/office/drawing/2014/main" id="{048880C2-C9E0-F22D-CCC9-C79B4305F3EE}"/>
                    </a:ext>
                  </a:extLst>
                </p:cNvPr>
                <p:cNvSpPr/>
                <p:nvPr/>
              </p:nvSpPr>
              <p:spPr>
                <a:xfrm>
                  <a:off x="9393395" y="8211756"/>
                  <a:ext cx="575977" cy="3121056"/>
                </a:xfrm>
                <a:custGeom>
                  <a:avLst/>
                  <a:gdLst>
                    <a:gd name="connsiteX0" fmla="*/ 575977 w 575977"/>
                    <a:gd name="connsiteY0" fmla="*/ 3121057 h 3121056"/>
                    <a:gd name="connsiteX1" fmla="*/ 377857 w 575977"/>
                    <a:gd name="connsiteY1" fmla="*/ 1113854 h 3121056"/>
                    <a:gd name="connsiteX2" fmla="*/ 358997 w 575977"/>
                    <a:gd name="connsiteY2" fmla="*/ 581597 h 3121056"/>
                    <a:gd name="connsiteX3" fmla="*/ 540925 w 575977"/>
                    <a:gd name="connsiteY3" fmla="*/ 220123 h 3121056"/>
                    <a:gd name="connsiteX4" fmla="*/ 102680 w 575977"/>
                    <a:gd name="connsiteY4" fmla="*/ 0 h 3121056"/>
                    <a:gd name="connsiteX5" fmla="*/ 0 w 575977"/>
                    <a:gd name="connsiteY5" fmla="*/ 552926 h 3121056"/>
                    <a:gd name="connsiteX6" fmla="*/ 47816 w 575977"/>
                    <a:gd name="connsiteY6" fmla="*/ 3120962 h 3121056"/>
                    <a:gd name="connsiteX7" fmla="*/ 575977 w 575977"/>
                    <a:gd name="connsiteY7" fmla="*/ 3120962 h 3121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75977" h="3121056">
                      <a:moveTo>
                        <a:pt x="575977" y="3121057"/>
                      </a:moveTo>
                      <a:cubicBezTo>
                        <a:pt x="522923" y="2803493"/>
                        <a:pt x="605219" y="1706594"/>
                        <a:pt x="377857" y="1113854"/>
                      </a:cubicBezTo>
                      <a:cubicBezTo>
                        <a:pt x="374904" y="722757"/>
                        <a:pt x="358997" y="581597"/>
                        <a:pt x="358997" y="581597"/>
                      </a:cubicBezTo>
                      <a:cubicBezTo>
                        <a:pt x="358997" y="581597"/>
                        <a:pt x="448437" y="372523"/>
                        <a:pt x="540925" y="220123"/>
                      </a:cubicBezTo>
                      <a:cubicBezTo>
                        <a:pt x="496729" y="112681"/>
                        <a:pt x="254889" y="58102"/>
                        <a:pt x="102680" y="0"/>
                      </a:cubicBezTo>
                      <a:lnTo>
                        <a:pt x="0" y="552926"/>
                      </a:lnTo>
                      <a:lnTo>
                        <a:pt x="47816" y="3120962"/>
                      </a:lnTo>
                      <a:lnTo>
                        <a:pt x="575977" y="312096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4" name="Freihandform: Form 183">
                  <a:extLst>
                    <a:ext uri="{FF2B5EF4-FFF2-40B4-BE49-F238E27FC236}">
                      <a16:creationId xmlns:a16="http://schemas.microsoft.com/office/drawing/2014/main" id="{3D6C1F8D-2A34-E7C7-5CD4-8F20DEBE5BCB}"/>
                    </a:ext>
                  </a:extLst>
                </p:cNvPr>
                <p:cNvSpPr/>
                <p:nvPr/>
              </p:nvSpPr>
              <p:spPr>
                <a:xfrm>
                  <a:off x="9346962" y="8048069"/>
                  <a:ext cx="321998" cy="541925"/>
                </a:xfrm>
                <a:custGeom>
                  <a:avLst/>
                  <a:gdLst>
                    <a:gd name="connsiteX0" fmla="*/ 108251 w 321998"/>
                    <a:gd name="connsiteY0" fmla="*/ 79486 h 541925"/>
                    <a:gd name="connsiteX1" fmla="*/ 300084 w 321998"/>
                    <a:gd name="connsiteY1" fmla="*/ 216265 h 541925"/>
                    <a:gd name="connsiteX2" fmla="*/ 180641 w 321998"/>
                    <a:gd name="connsiteY2" fmla="*/ 354378 h 541925"/>
                    <a:gd name="connsiteX3" fmla="*/ 149113 w 321998"/>
                    <a:gd name="connsiteY3" fmla="*/ 541925 h 541925"/>
                    <a:gd name="connsiteX4" fmla="*/ 35289 w 321998"/>
                    <a:gd name="connsiteY4" fmla="*/ 264176 h 541925"/>
                    <a:gd name="connsiteX5" fmla="*/ 108251 w 321998"/>
                    <a:gd name="connsiteY5" fmla="*/ 79486 h 541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1998" h="541925">
                      <a:moveTo>
                        <a:pt x="108251" y="79486"/>
                      </a:moveTo>
                      <a:cubicBezTo>
                        <a:pt x="82534" y="-113585"/>
                        <a:pt x="407717" y="89964"/>
                        <a:pt x="300084" y="216265"/>
                      </a:cubicBezTo>
                      <a:cubicBezTo>
                        <a:pt x="300084" y="216265"/>
                        <a:pt x="221217" y="286750"/>
                        <a:pt x="180641" y="354378"/>
                      </a:cubicBezTo>
                      <a:cubicBezTo>
                        <a:pt x="140064" y="422005"/>
                        <a:pt x="146256" y="484870"/>
                        <a:pt x="149113" y="541925"/>
                      </a:cubicBezTo>
                      <a:cubicBezTo>
                        <a:pt x="-20336" y="527161"/>
                        <a:pt x="-25194" y="321612"/>
                        <a:pt x="35289" y="264176"/>
                      </a:cubicBezTo>
                      <a:cubicBezTo>
                        <a:pt x="133968" y="170450"/>
                        <a:pt x="123015" y="126635"/>
                        <a:pt x="108251" y="7948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5" name="Freihandform: Form 184">
                  <a:extLst>
                    <a:ext uri="{FF2B5EF4-FFF2-40B4-BE49-F238E27FC236}">
                      <a16:creationId xmlns:a16="http://schemas.microsoft.com/office/drawing/2014/main" id="{38DED1EB-77DC-6C99-1F74-28B84DA337C9}"/>
                    </a:ext>
                  </a:extLst>
                </p:cNvPr>
                <p:cNvSpPr/>
                <p:nvPr/>
              </p:nvSpPr>
              <p:spPr>
                <a:xfrm>
                  <a:off x="8386350" y="9342088"/>
                  <a:ext cx="319816" cy="722471"/>
                </a:xfrm>
                <a:custGeom>
                  <a:avLst/>
                  <a:gdLst>
                    <a:gd name="connsiteX0" fmla="*/ 11778 w 319816"/>
                    <a:gd name="connsiteY0" fmla="*/ 722471 h 722471"/>
                    <a:gd name="connsiteX1" fmla="*/ 243998 w 319816"/>
                    <a:gd name="connsiteY1" fmla="*/ 722471 h 722471"/>
                    <a:gd name="connsiteX2" fmla="*/ 319817 w 319816"/>
                    <a:gd name="connsiteY2" fmla="*/ 42386 h 722471"/>
                    <a:gd name="connsiteX3" fmla="*/ 12350 w 319816"/>
                    <a:gd name="connsiteY3" fmla="*/ 0 h 722471"/>
                    <a:gd name="connsiteX4" fmla="*/ 11683 w 319816"/>
                    <a:gd name="connsiteY4" fmla="*/ 722471 h 7224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9816" h="722471">
                      <a:moveTo>
                        <a:pt x="11778" y="722471"/>
                      </a:moveTo>
                      <a:lnTo>
                        <a:pt x="243998" y="722471"/>
                      </a:lnTo>
                      <a:cubicBezTo>
                        <a:pt x="243998" y="722471"/>
                        <a:pt x="304100" y="215360"/>
                        <a:pt x="319817" y="42386"/>
                      </a:cubicBezTo>
                      <a:lnTo>
                        <a:pt x="12350" y="0"/>
                      </a:lnTo>
                      <a:cubicBezTo>
                        <a:pt x="12350" y="339566"/>
                        <a:pt x="-14987" y="531781"/>
                        <a:pt x="11683" y="72247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6" name="Freihandform: Form 185">
                  <a:extLst>
                    <a:ext uri="{FF2B5EF4-FFF2-40B4-BE49-F238E27FC236}">
                      <a16:creationId xmlns:a16="http://schemas.microsoft.com/office/drawing/2014/main" id="{5490E744-DCA2-4E75-FD20-8CBB51C1C8CC}"/>
                    </a:ext>
                  </a:extLst>
                </p:cNvPr>
                <p:cNvSpPr/>
                <p:nvPr/>
              </p:nvSpPr>
              <p:spPr>
                <a:xfrm>
                  <a:off x="9633235" y="8339391"/>
                  <a:ext cx="314705" cy="314706"/>
                </a:xfrm>
                <a:custGeom>
                  <a:avLst/>
                  <a:gdLst>
                    <a:gd name="connsiteX0" fmla="*/ 314706 w 314705"/>
                    <a:gd name="connsiteY0" fmla="*/ 157353 h 314706"/>
                    <a:gd name="connsiteX1" fmla="*/ 157353 w 314705"/>
                    <a:gd name="connsiteY1" fmla="*/ 314706 h 314706"/>
                    <a:gd name="connsiteX2" fmla="*/ 0 w 314705"/>
                    <a:gd name="connsiteY2" fmla="*/ 157353 h 314706"/>
                    <a:gd name="connsiteX3" fmla="*/ 157353 w 314705"/>
                    <a:gd name="connsiteY3" fmla="*/ 0 h 314706"/>
                    <a:gd name="connsiteX4" fmla="*/ 314706 w 314705"/>
                    <a:gd name="connsiteY4" fmla="*/ 157353 h 314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4705" h="314706">
                      <a:moveTo>
                        <a:pt x="314706" y="157353"/>
                      </a:moveTo>
                      <a:cubicBezTo>
                        <a:pt x="314706" y="244257"/>
                        <a:pt x="244257" y="314706"/>
                        <a:pt x="157353" y="314706"/>
                      </a:cubicBezTo>
                      <a:cubicBezTo>
                        <a:pt x="70449" y="314706"/>
                        <a:pt x="0" y="244257"/>
                        <a:pt x="0" y="157353"/>
                      </a:cubicBezTo>
                      <a:cubicBezTo>
                        <a:pt x="0" y="70449"/>
                        <a:pt x="70449" y="0"/>
                        <a:pt x="157353" y="0"/>
                      </a:cubicBezTo>
                      <a:cubicBezTo>
                        <a:pt x="244256" y="0"/>
                        <a:pt x="314706" y="70449"/>
                        <a:pt x="314706" y="15735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7" name="Freihandform: Form 186">
                  <a:extLst>
                    <a:ext uri="{FF2B5EF4-FFF2-40B4-BE49-F238E27FC236}">
                      <a16:creationId xmlns:a16="http://schemas.microsoft.com/office/drawing/2014/main" id="{3443A3F2-C23A-9AE3-818F-3BD5CCABEC36}"/>
                    </a:ext>
                  </a:extLst>
                </p:cNvPr>
                <p:cNvSpPr/>
                <p:nvPr/>
              </p:nvSpPr>
              <p:spPr>
                <a:xfrm>
                  <a:off x="9658000" y="8417591"/>
                  <a:ext cx="625982" cy="890015"/>
                </a:xfrm>
                <a:custGeom>
                  <a:avLst/>
                  <a:gdLst>
                    <a:gd name="connsiteX0" fmla="*/ 625888 w 625982"/>
                    <a:gd name="connsiteY0" fmla="*/ 774287 h 890015"/>
                    <a:gd name="connsiteX1" fmla="*/ 334518 w 625982"/>
                    <a:gd name="connsiteY1" fmla="*/ 890016 h 890015"/>
                    <a:gd name="connsiteX2" fmla="*/ 135064 w 625982"/>
                    <a:gd name="connsiteY2" fmla="*/ 426720 h 890015"/>
                    <a:gd name="connsiteX3" fmla="*/ 0 w 625982"/>
                    <a:gd name="connsiteY3" fmla="*/ 163163 h 890015"/>
                    <a:gd name="connsiteX4" fmla="*/ 268986 w 625982"/>
                    <a:gd name="connsiteY4" fmla="*/ 0 h 890015"/>
                    <a:gd name="connsiteX5" fmla="*/ 430339 w 625982"/>
                    <a:gd name="connsiteY5" fmla="*/ 315373 h 890015"/>
                    <a:gd name="connsiteX6" fmla="*/ 625983 w 625982"/>
                    <a:gd name="connsiteY6" fmla="*/ 774287 h 890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5982" h="890015">
                      <a:moveTo>
                        <a:pt x="625888" y="774287"/>
                      </a:moveTo>
                      <a:lnTo>
                        <a:pt x="334518" y="890016"/>
                      </a:lnTo>
                      <a:lnTo>
                        <a:pt x="135064" y="426720"/>
                      </a:lnTo>
                      <a:lnTo>
                        <a:pt x="0" y="163163"/>
                      </a:lnTo>
                      <a:lnTo>
                        <a:pt x="268986" y="0"/>
                      </a:lnTo>
                      <a:cubicBezTo>
                        <a:pt x="311182" y="74009"/>
                        <a:pt x="367665" y="187928"/>
                        <a:pt x="430339" y="315373"/>
                      </a:cubicBezTo>
                      <a:cubicBezTo>
                        <a:pt x="529780" y="517589"/>
                        <a:pt x="625983" y="774287"/>
                        <a:pt x="625983" y="77428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8" name="Freihandform: Form 187">
                  <a:extLst>
                    <a:ext uri="{FF2B5EF4-FFF2-40B4-BE49-F238E27FC236}">
                      <a16:creationId xmlns:a16="http://schemas.microsoft.com/office/drawing/2014/main" id="{3839D875-0DB6-02C6-2C71-03B9E75C8A23}"/>
                    </a:ext>
                  </a:extLst>
                </p:cNvPr>
                <p:cNvSpPr/>
                <p:nvPr/>
              </p:nvSpPr>
              <p:spPr>
                <a:xfrm>
                  <a:off x="9381870" y="8729059"/>
                  <a:ext cx="596360" cy="785241"/>
                </a:xfrm>
                <a:custGeom>
                  <a:avLst/>
                  <a:gdLst>
                    <a:gd name="connsiteX0" fmla="*/ 572548 w 596360"/>
                    <a:gd name="connsiteY0" fmla="*/ 0 h 785241"/>
                    <a:gd name="connsiteX1" fmla="*/ 596360 w 596360"/>
                    <a:gd name="connsiteY1" fmla="*/ 23813 h 785241"/>
                    <a:gd name="connsiteX2" fmla="*/ 596360 w 596360"/>
                    <a:gd name="connsiteY2" fmla="*/ 761429 h 785241"/>
                    <a:gd name="connsiteX3" fmla="*/ 572548 w 596360"/>
                    <a:gd name="connsiteY3" fmla="*/ 785241 h 785241"/>
                    <a:gd name="connsiteX4" fmla="*/ 23813 w 596360"/>
                    <a:gd name="connsiteY4" fmla="*/ 785241 h 785241"/>
                    <a:gd name="connsiteX5" fmla="*/ 0 w 596360"/>
                    <a:gd name="connsiteY5" fmla="*/ 761429 h 785241"/>
                    <a:gd name="connsiteX6" fmla="*/ 0 w 596360"/>
                    <a:gd name="connsiteY6" fmla="*/ 23813 h 785241"/>
                    <a:gd name="connsiteX7" fmla="*/ 23813 w 596360"/>
                    <a:gd name="connsiteY7" fmla="*/ 0 h 785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96360" h="785241">
                      <a:moveTo>
                        <a:pt x="572548" y="0"/>
                      </a:moveTo>
                      <a:cubicBezTo>
                        <a:pt x="585699" y="0"/>
                        <a:pt x="596360" y="10661"/>
                        <a:pt x="596360" y="23813"/>
                      </a:cubicBezTo>
                      <a:lnTo>
                        <a:pt x="596360" y="761429"/>
                      </a:lnTo>
                      <a:cubicBezTo>
                        <a:pt x="596360" y="774580"/>
                        <a:pt x="585699" y="785241"/>
                        <a:pt x="572548" y="785241"/>
                      </a:cubicBezTo>
                      <a:lnTo>
                        <a:pt x="23813" y="785241"/>
                      </a:lnTo>
                      <a:cubicBezTo>
                        <a:pt x="10661" y="785241"/>
                        <a:pt x="0" y="774580"/>
                        <a:pt x="0" y="761429"/>
                      </a:cubicBezTo>
                      <a:lnTo>
                        <a:pt x="0" y="23813"/>
                      </a:lnTo>
                      <a:cubicBezTo>
                        <a:pt x="0" y="10661"/>
                        <a:pt x="10661" y="0"/>
                        <a:pt x="23813" y="0"/>
                      </a:cubicBezTo>
                      <a:close/>
                    </a:path>
                  </a:pathLst>
                </a:custGeom>
                <a:solidFill>
                  <a:srgbClr val="EDEDE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9" name="Freihandform: Form 188">
                  <a:extLst>
                    <a:ext uri="{FF2B5EF4-FFF2-40B4-BE49-F238E27FC236}">
                      <a16:creationId xmlns:a16="http://schemas.microsoft.com/office/drawing/2014/main" id="{5E3875FC-4DFE-DF98-C749-DB4051DAC070}"/>
                    </a:ext>
                  </a:extLst>
                </p:cNvPr>
                <p:cNvSpPr/>
                <p:nvPr/>
              </p:nvSpPr>
              <p:spPr>
                <a:xfrm>
                  <a:off x="9348914" y="8729059"/>
                  <a:ext cx="596360" cy="785241"/>
                </a:xfrm>
                <a:custGeom>
                  <a:avLst/>
                  <a:gdLst>
                    <a:gd name="connsiteX0" fmla="*/ 0 w 596360"/>
                    <a:gd name="connsiteY0" fmla="*/ 0 h 785241"/>
                    <a:gd name="connsiteX1" fmla="*/ 596360 w 596360"/>
                    <a:gd name="connsiteY1" fmla="*/ 0 h 785241"/>
                    <a:gd name="connsiteX2" fmla="*/ 596360 w 596360"/>
                    <a:gd name="connsiteY2" fmla="*/ 785241 h 785241"/>
                    <a:gd name="connsiteX3" fmla="*/ 0 w 596360"/>
                    <a:gd name="connsiteY3" fmla="*/ 785241 h 785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96360" h="785241">
                      <a:moveTo>
                        <a:pt x="0" y="0"/>
                      </a:moveTo>
                      <a:lnTo>
                        <a:pt x="596360" y="0"/>
                      </a:lnTo>
                      <a:lnTo>
                        <a:pt x="596360" y="785241"/>
                      </a:lnTo>
                      <a:lnTo>
                        <a:pt x="0" y="785241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90" name="Freihandform: Form 189">
                  <a:extLst>
                    <a:ext uri="{FF2B5EF4-FFF2-40B4-BE49-F238E27FC236}">
                      <a16:creationId xmlns:a16="http://schemas.microsoft.com/office/drawing/2014/main" id="{5AFFF0E1-7EDF-A14D-03D9-009085929048}"/>
                    </a:ext>
                  </a:extLst>
                </p:cNvPr>
                <p:cNvSpPr/>
                <p:nvPr/>
              </p:nvSpPr>
              <p:spPr>
                <a:xfrm>
                  <a:off x="9578942" y="8850693"/>
                  <a:ext cx="123253" cy="123253"/>
                </a:xfrm>
                <a:custGeom>
                  <a:avLst/>
                  <a:gdLst>
                    <a:gd name="connsiteX0" fmla="*/ 123254 w 123253"/>
                    <a:gd name="connsiteY0" fmla="*/ 61627 h 123253"/>
                    <a:gd name="connsiteX1" fmla="*/ 61627 w 123253"/>
                    <a:gd name="connsiteY1" fmla="*/ 123253 h 123253"/>
                    <a:gd name="connsiteX2" fmla="*/ 1 w 123253"/>
                    <a:gd name="connsiteY2" fmla="*/ 61627 h 123253"/>
                    <a:gd name="connsiteX3" fmla="*/ 61627 w 123253"/>
                    <a:gd name="connsiteY3" fmla="*/ 0 h 123253"/>
                    <a:gd name="connsiteX4" fmla="*/ 123254 w 123253"/>
                    <a:gd name="connsiteY4" fmla="*/ 61627 h 1232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3253" h="123253">
                      <a:moveTo>
                        <a:pt x="123254" y="61627"/>
                      </a:moveTo>
                      <a:cubicBezTo>
                        <a:pt x="123254" y="95662"/>
                        <a:pt x="95662" y="123253"/>
                        <a:pt x="61627" y="123253"/>
                      </a:cubicBezTo>
                      <a:cubicBezTo>
                        <a:pt x="27592" y="123253"/>
                        <a:pt x="1" y="95662"/>
                        <a:pt x="1" y="61627"/>
                      </a:cubicBezTo>
                      <a:cubicBezTo>
                        <a:pt x="1" y="27591"/>
                        <a:pt x="27592" y="0"/>
                        <a:pt x="61627" y="0"/>
                      </a:cubicBezTo>
                      <a:cubicBezTo>
                        <a:pt x="95663" y="0"/>
                        <a:pt x="123254" y="27591"/>
                        <a:pt x="123254" y="61627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91" name="Freihandform: Form 190">
                  <a:extLst>
                    <a:ext uri="{FF2B5EF4-FFF2-40B4-BE49-F238E27FC236}">
                      <a16:creationId xmlns:a16="http://schemas.microsoft.com/office/drawing/2014/main" id="{6EDA9CBB-5DEC-AB40-0E2F-92D3B0345D4E}"/>
                    </a:ext>
                  </a:extLst>
                </p:cNvPr>
                <p:cNvSpPr/>
                <p:nvPr/>
              </p:nvSpPr>
              <p:spPr>
                <a:xfrm>
                  <a:off x="9852024" y="8764778"/>
                  <a:ext cx="24955" cy="24955"/>
                </a:xfrm>
                <a:custGeom>
                  <a:avLst/>
                  <a:gdLst>
                    <a:gd name="connsiteX0" fmla="*/ 24955 w 24955"/>
                    <a:gd name="connsiteY0" fmla="*/ 12478 h 24955"/>
                    <a:gd name="connsiteX1" fmla="*/ 12478 w 24955"/>
                    <a:gd name="connsiteY1" fmla="*/ 24955 h 24955"/>
                    <a:gd name="connsiteX2" fmla="*/ 0 w 24955"/>
                    <a:gd name="connsiteY2" fmla="*/ 12478 h 24955"/>
                    <a:gd name="connsiteX3" fmla="*/ 12478 w 24955"/>
                    <a:gd name="connsiteY3" fmla="*/ 0 h 24955"/>
                    <a:gd name="connsiteX4" fmla="*/ 24955 w 24955"/>
                    <a:gd name="connsiteY4" fmla="*/ 12478 h 24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955" h="24955">
                      <a:moveTo>
                        <a:pt x="24955" y="12478"/>
                      </a:moveTo>
                      <a:cubicBezTo>
                        <a:pt x="24955" y="19369"/>
                        <a:pt x="19369" y="24955"/>
                        <a:pt x="12478" y="24955"/>
                      </a:cubicBezTo>
                      <a:cubicBezTo>
                        <a:pt x="5586" y="24955"/>
                        <a:pt x="0" y="19369"/>
                        <a:pt x="0" y="12478"/>
                      </a:cubicBezTo>
                      <a:cubicBezTo>
                        <a:pt x="0" y="5586"/>
                        <a:pt x="5586" y="0"/>
                        <a:pt x="12478" y="0"/>
                      </a:cubicBezTo>
                      <a:cubicBezTo>
                        <a:pt x="19369" y="0"/>
                        <a:pt x="24955" y="5586"/>
                        <a:pt x="24955" y="12478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92" name="Freihandform: Form 191">
                  <a:extLst>
                    <a:ext uri="{FF2B5EF4-FFF2-40B4-BE49-F238E27FC236}">
                      <a16:creationId xmlns:a16="http://schemas.microsoft.com/office/drawing/2014/main" id="{CFA0A3CA-0AE9-6201-A67F-0C745894238C}"/>
                    </a:ext>
                  </a:extLst>
                </p:cNvPr>
                <p:cNvSpPr/>
                <p:nvPr/>
              </p:nvSpPr>
              <p:spPr>
                <a:xfrm>
                  <a:off x="9472929" y="9031097"/>
                  <a:ext cx="135255" cy="135254"/>
                </a:xfrm>
                <a:custGeom>
                  <a:avLst/>
                  <a:gdLst>
                    <a:gd name="connsiteX0" fmla="*/ 135255 w 135255"/>
                    <a:gd name="connsiteY0" fmla="*/ 67628 h 135254"/>
                    <a:gd name="connsiteX1" fmla="*/ 67628 w 135255"/>
                    <a:gd name="connsiteY1" fmla="*/ 135255 h 135254"/>
                    <a:gd name="connsiteX2" fmla="*/ 1 w 135255"/>
                    <a:gd name="connsiteY2" fmla="*/ 67628 h 135254"/>
                    <a:gd name="connsiteX3" fmla="*/ 67628 w 135255"/>
                    <a:gd name="connsiteY3" fmla="*/ 0 h 135254"/>
                    <a:gd name="connsiteX4" fmla="*/ 135255 w 135255"/>
                    <a:gd name="connsiteY4" fmla="*/ 67628 h 1352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255" h="135254">
                      <a:moveTo>
                        <a:pt x="135255" y="67628"/>
                      </a:moveTo>
                      <a:cubicBezTo>
                        <a:pt x="135255" y="104977"/>
                        <a:pt x="104977" y="135255"/>
                        <a:pt x="67628" y="135255"/>
                      </a:cubicBezTo>
                      <a:cubicBezTo>
                        <a:pt x="30279" y="135255"/>
                        <a:pt x="1" y="104977"/>
                        <a:pt x="1" y="67628"/>
                      </a:cubicBezTo>
                      <a:cubicBezTo>
                        <a:pt x="1" y="30278"/>
                        <a:pt x="30279" y="0"/>
                        <a:pt x="67628" y="0"/>
                      </a:cubicBezTo>
                      <a:cubicBezTo>
                        <a:pt x="104977" y="0"/>
                        <a:pt x="135255" y="30278"/>
                        <a:pt x="135255" y="6762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93" name="Freihandform: Form 192">
                  <a:extLst>
                    <a:ext uri="{FF2B5EF4-FFF2-40B4-BE49-F238E27FC236}">
                      <a16:creationId xmlns:a16="http://schemas.microsoft.com/office/drawing/2014/main" id="{67A9DE0D-6910-4607-2457-5B4CEF585A7E}"/>
                    </a:ext>
                  </a:extLst>
                </p:cNvPr>
                <p:cNvSpPr/>
                <p:nvPr/>
              </p:nvSpPr>
              <p:spPr>
                <a:xfrm>
                  <a:off x="9261970" y="8864885"/>
                  <a:ext cx="308150" cy="265148"/>
                </a:xfrm>
                <a:custGeom>
                  <a:avLst/>
                  <a:gdLst>
                    <a:gd name="connsiteX0" fmla="*/ 167049 w 308150"/>
                    <a:gd name="connsiteY0" fmla="*/ 59246 h 265148"/>
                    <a:gd name="connsiteX1" fmla="*/ 245725 w 308150"/>
                    <a:gd name="connsiteY1" fmla="*/ 106299 h 265148"/>
                    <a:gd name="connsiteX2" fmla="*/ 306685 w 308150"/>
                    <a:gd name="connsiteY2" fmla="*/ 206788 h 265148"/>
                    <a:gd name="connsiteX3" fmla="*/ 197338 w 308150"/>
                    <a:gd name="connsiteY3" fmla="*/ 239173 h 265148"/>
                    <a:gd name="connsiteX4" fmla="*/ 131520 w 308150"/>
                    <a:gd name="connsiteY4" fmla="*/ 136588 h 265148"/>
                    <a:gd name="connsiteX5" fmla="*/ 67322 w 308150"/>
                    <a:gd name="connsiteY5" fmla="*/ 96012 h 265148"/>
                    <a:gd name="connsiteX6" fmla="*/ 67322 w 308150"/>
                    <a:gd name="connsiteY6" fmla="*/ 96012 h 265148"/>
                    <a:gd name="connsiteX7" fmla="*/ 22269 w 308150"/>
                    <a:gd name="connsiteY7" fmla="*/ 64579 h 265148"/>
                    <a:gd name="connsiteX8" fmla="*/ 5790 w 308150"/>
                    <a:gd name="connsiteY8" fmla="*/ 0 h 265148"/>
                    <a:gd name="connsiteX9" fmla="*/ 71036 w 308150"/>
                    <a:gd name="connsiteY9" fmla="*/ 37147 h 265148"/>
                    <a:gd name="connsiteX10" fmla="*/ 166000 w 308150"/>
                    <a:gd name="connsiteY10" fmla="*/ 58674 h 265148"/>
                    <a:gd name="connsiteX11" fmla="*/ 166572 w 308150"/>
                    <a:gd name="connsiteY11" fmla="*/ 59912 h 265148"/>
                    <a:gd name="connsiteX12" fmla="*/ 167049 w 308150"/>
                    <a:gd name="connsiteY12" fmla="*/ 59150 h 265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08150" h="265148">
                      <a:moveTo>
                        <a:pt x="167049" y="59246"/>
                      </a:moveTo>
                      <a:cubicBezTo>
                        <a:pt x="167049" y="59246"/>
                        <a:pt x="224770" y="90297"/>
                        <a:pt x="245725" y="106299"/>
                      </a:cubicBezTo>
                      <a:cubicBezTo>
                        <a:pt x="245725" y="106299"/>
                        <a:pt x="319353" y="177927"/>
                        <a:pt x="306685" y="206788"/>
                      </a:cubicBezTo>
                      <a:cubicBezTo>
                        <a:pt x="283920" y="258699"/>
                        <a:pt x="207244" y="290322"/>
                        <a:pt x="197338" y="239173"/>
                      </a:cubicBezTo>
                      <a:cubicBezTo>
                        <a:pt x="186765" y="184975"/>
                        <a:pt x="139331" y="143256"/>
                        <a:pt x="131520" y="136588"/>
                      </a:cubicBezTo>
                      <a:lnTo>
                        <a:pt x="67322" y="96012"/>
                      </a:lnTo>
                      <a:cubicBezTo>
                        <a:pt x="67322" y="96012"/>
                        <a:pt x="67322" y="96012"/>
                        <a:pt x="67322" y="96012"/>
                      </a:cubicBezTo>
                      <a:cubicBezTo>
                        <a:pt x="53606" y="87154"/>
                        <a:pt x="37508" y="76009"/>
                        <a:pt x="22269" y="64579"/>
                      </a:cubicBezTo>
                      <a:cubicBezTo>
                        <a:pt x="1599" y="48958"/>
                        <a:pt x="-6497" y="32957"/>
                        <a:pt x="5790" y="0"/>
                      </a:cubicBezTo>
                      <a:lnTo>
                        <a:pt x="71036" y="37147"/>
                      </a:lnTo>
                      <a:cubicBezTo>
                        <a:pt x="71036" y="37147"/>
                        <a:pt x="167049" y="59150"/>
                        <a:pt x="166000" y="58674"/>
                      </a:cubicBezTo>
                      <a:cubicBezTo>
                        <a:pt x="166286" y="59055"/>
                        <a:pt x="166382" y="59531"/>
                        <a:pt x="166572" y="59912"/>
                      </a:cubicBezTo>
                      <a:cubicBezTo>
                        <a:pt x="166763" y="59626"/>
                        <a:pt x="166858" y="59436"/>
                        <a:pt x="167049" y="59150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94" name="Freihandform: Form 193">
                  <a:extLst>
                    <a:ext uri="{FF2B5EF4-FFF2-40B4-BE49-F238E27FC236}">
                      <a16:creationId xmlns:a16="http://schemas.microsoft.com/office/drawing/2014/main" id="{1A4D3EA9-F0D2-A041-65CF-8D87EC4192EA}"/>
                    </a:ext>
                  </a:extLst>
                </p:cNvPr>
                <p:cNvSpPr/>
                <p:nvPr/>
              </p:nvSpPr>
              <p:spPr>
                <a:xfrm>
                  <a:off x="9265221" y="8967683"/>
                  <a:ext cx="295814" cy="221737"/>
                </a:xfrm>
                <a:custGeom>
                  <a:avLst/>
                  <a:gdLst>
                    <a:gd name="connsiteX0" fmla="*/ 209422 w 295814"/>
                    <a:gd name="connsiteY0" fmla="*/ 11026 h 221737"/>
                    <a:gd name="connsiteX1" fmla="*/ 68357 w 295814"/>
                    <a:gd name="connsiteY1" fmla="*/ 15598 h 221737"/>
                    <a:gd name="connsiteX2" fmla="*/ 6158 w 295814"/>
                    <a:gd name="connsiteY2" fmla="*/ 29790 h 221737"/>
                    <a:gd name="connsiteX3" fmla="*/ 63785 w 295814"/>
                    <a:gd name="connsiteY3" fmla="*/ 220290 h 221737"/>
                    <a:gd name="connsiteX4" fmla="*/ 268382 w 295814"/>
                    <a:gd name="connsiteY4" fmla="*/ 198573 h 221737"/>
                    <a:gd name="connsiteX5" fmla="*/ 295814 w 295814"/>
                    <a:gd name="connsiteY5" fmla="*/ 73034 h 221737"/>
                    <a:gd name="connsiteX6" fmla="*/ 209422 w 295814"/>
                    <a:gd name="connsiteY6" fmla="*/ 11026 h 2217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95814" h="221737">
                      <a:moveTo>
                        <a:pt x="209422" y="11026"/>
                      </a:moveTo>
                      <a:cubicBezTo>
                        <a:pt x="153224" y="-16216"/>
                        <a:pt x="68357" y="15598"/>
                        <a:pt x="68357" y="15598"/>
                      </a:cubicBezTo>
                      <a:lnTo>
                        <a:pt x="6158" y="29790"/>
                      </a:lnTo>
                      <a:cubicBezTo>
                        <a:pt x="-10986" y="83416"/>
                        <a:pt x="7492" y="164188"/>
                        <a:pt x="63785" y="220290"/>
                      </a:cubicBezTo>
                      <a:cubicBezTo>
                        <a:pt x="156559" y="228577"/>
                        <a:pt x="268382" y="198573"/>
                        <a:pt x="268382" y="198573"/>
                      </a:cubicBezTo>
                      <a:lnTo>
                        <a:pt x="295814" y="73034"/>
                      </a:lnTo>
                      <a:cubicBezTo>
                        <a:pt x="295814" y="73034"/>
                        <a:pt x="265620" y="38172"/>
                        <a:pt x="209422" y="1102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95" name="Freihandform: Form 194">
                  <a:extLst>
                    <a:ext uri="{FF2B5EF4-FFF2-40B4-BE49-F238E27FC236}">
                      <a16:creationId xmlns:a16="http://schemas.microsoft.com/office/drawing/2014/main" id="{AC638DA8-2147-49E9-31A6-AFEDCCAA613A}"/>
                    </a:ext>
                  </a:extLst>
                </p:cNvPr>
                <p:cNvSpPr/>
                <p:nvPr/>
              </p:nvSpPr>
              <p:spPr>
                <a:xfrm>
                  <a:off x="9533603" y="9032430"/>
                  <a:ext cx="239553" cy="198405"/>
                </a:xfrm>
                <a:custGeom>
                  <a:avLst/>
                  <a:gdLst>
                    <a:gd name="connsiteX0" fmla="*/ 0 w 239553"/>
                    <a:gd name="connsiteY0" fmla="*/ 133826 h 198405"/>
                    <a:gd name="connsiteX1" fmla="*/ 20478 w 239553"/>
                    <a:gd name="connsiteY1" fmla="*/ 0 h 198405"/>
                    <a:gd name="connsiteX2" fmla="*/ 239553 w 239553"/>
                    <a:gd name="connsiteY2" fmla="*/ 49721 h 198405"/>
                    <a:gd name="connsiteX3" fmla="*/ 200406 w 239553"/>
                    <a:gd name="connsiteY3" fmla="*/ 198406 h 198405"/>
                    <a:gd name="connsiteX4" fmla="*/ 0 w 239553"/>
                    <a:gd name="connsiteY4" fmla="*/ 133826 h 198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9553" h="198405">
                      <a:moveTo>
                        <a:pt x="0" y="133826"/>
                      </a:moveTo>
                      <a:lnTo>
                        <a:pt x="20478" y="0"/>
                      </a:lnTo>
                      <a:lnTo>
                        <a:pt x="239553" y="49721"/>
                      </a:lnTo>
                      <a:lnTo>
                        <a:pt x="200406" y="198406"/>
                      </a:lnTo>
                      <a:lnTo>
                        <a:pt x="0" y="133826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96" name="Freihandform: Form 195">
                  <a:extLst>
                    <a:ext uri="{FF2B5EF4-FFF2-40B4-BE49-F238E27FC236}">
                      <a16:creationId xmlns:a16="http://schemas.microsoft.com/office/drawing/2014/main" id="{C843EEE6-9145-D3D4-1152-F672FF051878}"/>
                    </a:ext>
                  </a:extLst>
                </p:cNvPr>
                <p:cNvSpPr/>
                <p:nvPr/>
              </p:nvSpPr>
              <p:spPr>
                <a:xfrm>
                  <a:off x="9549034" y="9025226"/>
                  <a:ext cx="631316" cy="372202"/>
                </a:xfrm>
                <a:custGeom>
                  <a:avLst/>
                  <a:gdLst>
                    <a:gd name="connsiteX0" fmla="*/ 0 w 631316"/>
                    <a:gd name="connsiteY0" fmla="*/ 261998 h 372202"/>
                    <a:gd name="connsiteX1" fmla="*/ 59912 w 631316"/>
                    <a:gd name="connsiteY1" fmla="*/ 5776 h 372202"/>
                    <a:gd name="connsiteX2" fmla="*/ 173831 w 631316"/>
                    <a:gd name="connsiteY2" fmla="*/ 1585 h 372202"/>
                    <a:gd name="connsiteX3" fmla="*/ 631317 w 631316"/>
                    <a:gd name="connsiteY3" fmla="*/ 68069 h 372202"/>
                    <a:gd name="connsiteX4" fmla="*/ 555403 w 631316"/>
                    <a:gd name="connsiteY4" fmla="*/ 372202 h 372202"/>
                    <a:gd name="connsiteX5" fmla="*/ 0 w 631316"/>
                    <a:gd name="connsiteY5" fmla="*/ 261998 h 372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31316" h="372202">
                      <a:moveTo>
                        <a:pt x="0" y="261998"/>
                      </a:moveTo>
                      <a:lnTo>
                        <a:pt x="59912" y="5776"/>
                      </a:lnTo>
                      <a:cubicBezTo>
                        <a:pt x="59912" y="5776"/>
                        <a:pt x="102203" y="-3654"/>
                        <a:pt x="173831" y="1585"/>
                      </a:cubicBezTo>
                      <a:cubicBezTo>
                        <a:pt x="414051" y="19015"/>
                        <a:pt x="495585" y="31588"/>
                        <a:pt x="631317" y="68069"/>
                      </a:cubicBezTo>
                      <a:lnTo>
                        <a:pt x="555403" y="372202"/>
                      </a:lnTo>
                      <a:cubicBezTo>
                        <a:pt x="227171" y="313719"/>
                        <a:pt x="191929" y="311623"/>
                        <a:pt x="0" y="26199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97" name="Freihandform: Form 196">
                  <a:extLst>
                    <a:ext uri="{FF2B5EF4-FFF2-40B4-BE49-F238E27FC236}">
                      <a16:creationId xmlns:a16="http://schemas.microsoft.com/office/drawing/2014/main" id="{66E8D737-C002-D90E-B374-41E07C7A7014}"/>
                    </a:ext>
                  </a:extLst>
                </p:cNvPr>
                <p:cNvSpPr/>
                <p:nvPr/>
              </p:nvSpPr>
              <p:spPr>
                <a:xfrm>
                  <a:off x="9978992" y="9086913"/>
                  <a:ext cx="313753" cy="313753"/>
                </a:xfrm>
                <a:custGeom>
                  <a:avLst/>
                  <a:gdLst>
                    <a:gd name="connsiteX0" fmla="*/ 313754 w 313753"/>
                    <a:gd name="connsiteY0" fmla="*/ 156877 h 313753"/>
                    <a:gd name="connsiteX1" fmla="*/ 156877 w 313753"/>
                    <a:gd name="connsiteY1" fmla="*/ 313754 h 313753"/>
                    <a:gd name="connsiteX2" fmla="*/ 1 w 313753"/>
                    <a:gd name="connsiteY2" fmla="*/ 156877 h 313753"/>
                    <a:gd name="connsiteX3" fmla="*/ 156877 w 313753"/>
                    <a:gd name="connsiteY3" fmla="*/ 0 h 313753"/>
                    <a:gd name="connsiteX4" fmla="*/ 313754 w 313753"/>
                    <a:gd name="connsiteY4" fmla="*/ 156877 h 313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3753" h="313753">
                      <a:moveTo>
                        <a:pt x="313754" y="156877"/>
                      </a:moveTo>
                      <a:cubicBezTo>
                        <a:pt x="313754" y="243517"/>
                        <a:pt x="243518" y="313754"/>
                        <a:pt x="156877" y="313754"/>
                      </a:cubicBezTo>
                      <a:cubicBezTo>
                        <a:pt x="70237" y="313754"/>
                        <a:pt x="1" y="243517"/>
                        <a:pt x="1" y="156877"/>
                      </a:cubicBezTo>
                      <a:cubicBezTo>
                        <a:pt x="1" y="70236"/>
                        <a:pt x="70237" y="0"/>
                        <a:pt x="156877" y="0"/>
                      </a:cubicBezTo>
                      <a:cubicBezTo>
                        <a:pt x="243518" y="0"/>
                        <a:pt x="313754" y="70236"/>
                        <a:pt x="313754" y="15687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98" name="Freihandform: Form 197">
                  <a:extLst>
                    <a:ext uri="{FF2B5EF4-FFF2-40B4-BE49-F238E27FC236}">
                      <a16:creationId xmlns:a16="http://schemas.microsoft.com/office/drawing/2014/main" id="{E69BBD3F-351C-5AB0-A3B1-2547DC26CDD7}"/>
                    </a:ext>
                  </a:extLst>
                </p:cNvPr>
                <p:cNvSpPr/>
                <p:nvPr/>
              </p:nvSpPr>
              <p:spPr>
                <a:xfrm>
                  <a:off x="9533603" y="9032430"/>
                  <a:ext cx="239553" cy="198405"/>
                </a:xfrm>
                <a:custGeom>
                  <a:avLst/>
                  <a:gdLst>
                    <a:gd name="connsiteX0" fmla="*/ 0 w 239553"/>
                    <a:gd name="connsiteY0" fmla="*/ 133826 h 198405"/>
                    <a:gd name="connsiteX1" fmla="*/ 20478 w 239553"/>
                    <a:gd name="connsiteY1" fmla="*/ 0 h 198405"/>
                    <a:gd name="connsiteX2" fmla="*/ 239553 w 239553"/>
                    <a:gd name="connsiteY2" fmla="*/ 49721 h 198405"/>
                    <a:gd name="connsiteX3" fmla="*/ 200406 w 239553"/>
                    <a:gd name="connsiteY3" fmla="*/ 198406 h 198405"/>
                    <a:gd name="connsiteX4" fmla="*/ 0 w 239553"/>
                    <a:gd name="connsiteY4" fmla="*/ 133826 h 198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9553" h="198405">
                      <a:moveTo>
                        <a:pt x="0" y="133826"/>
                      </a:moveTo>
                      <a:lnTo>
                        <a:pt x="20478" y="0"/>
                      </a:lnTo>
                      <a:lnTo>
                        <a:pt x="239553" y="49721"/>
                      </a:lnTo>
                      <a:lnTo>
                        <a:pt x="200406" y="198406"/>
                      </a:lnTo>
                      <a:lnTo>
                        <a:pt x="0" y="133826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99" name="Freihandform: Form 198">
                  <a:extLst>
                    <a:ext uri="{FF2B5EF4-FFF2-40B4-BE49-F238E27FC236}">
                      <a16:creationId xmlns:a16="http://schemas.microsoft.com/office/drawing/2014/main" id="{621136CE-061F-C0E7-463F-DC72768BB1FC}"/>
                    </a:ext>
                  </a:extLst>
                </p:cNvPr>
                <p:cNvSpPr/>
                <p:nvPr/>
              </p:nvSpPr>
              <p:spPr>
                <a:xfrm>
                  <a:off x="9549034" y="9025226"/>
                  <a:ext cx="631316" cy="372202"/>
                </a:xfrm>
                <a:custGeom>
                  <a:avLst/>
                  <a:gdLst>
                    <a:gd name="connsiteX0" fmla="*/ 0 w 631316"/>
                    <a:gd name="connsiteY0" fmla="*/ 261998 h 372202"/>
                    <a:gd name="connsiteX1" fmla="*/ 59912 w 631316"/>
                    <a:gd name="connsiteY1" fmla="*/ 5776 h 372202"/>
                    <a:gd name="connsiteX2" fmla="*/ 173831 w 631316"/>
                    <a:gd name="connsiteY2" fmla="*/ 1585 h 372202"/>
                    <a:gd name="connsiteX3" fmla="*/ 631317 w 631316"/>
                    <a:gd name="connsiteY3" fmla="*/ 68069 h 372202"/>
                    <a:gd name="connsiteX4" fmla="*/ 555403 w 631316"/>
                    <a:gd name="connsiteY4" fmla="*/ 372202 h 372202"/>
                    <a:gd name="connsiteX5" fmla="*/ 0 w 631316"/>
                    <a:gd name="connsiteY5" fmla="*/ 261998 h 372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31316" h="372202">
                      <a:moveTo>
                        <a:pt x="0" y="261998"/>
                      </a:moveTo>
                      <a:lnTo>
                        <a:pt x="59912" y="5776"/>
                      </a:lnTo>
                      <a:cubicBezTo>
                        <a:pt x="59912" y="5776"/>
                        <a:pt x="102203" y="-3654"/>
                        <a:pt x="173831" y="1585"/>
                      </a:cubicBezTo>
                      <a:cubicBezTo>
                        <a:pt x="414051" y="19015"/>
                        <a:pt x="495585" y="31588"/>
                        <a:pt x="631317" y="68069"/>
                      </a:cubicBezTo>
                      <a:lnTo>
                        <a:pt x="555403" y="372202"/>
                      </a:lnTo>
                      <a:cubicBezTo>
                        <a:pt x="227171" y="313719"/>
                        <a:pt x="191929" y="311623"/>
                        <a:pt x="0" y="26199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00" name="Freihandform: Form 199">
                  <a:extLst>
                    <a:ext uri="{FF2B5EF4-FFF2-40B4-BE49-F238E27FC236}">
                      <a16:creationId xmlns:a16="http://schemas.microsoft.com/office/drawing/2014/main" id="{8801041D-FE8E-4CCE-63EB-40A5384582B8}"/>
                    </a:ext>
                  </a:extLst>
                </p:cNvPr>
                <p:cNvSpPr/>
                <p:nvPr/>
              </p:nvSpPr>
              <p:spPr>
                <a:xfrm>
                  <a:off x="9978992" y="9086913"/>
                  <a:ext cx="313753" cy="313753"/>
                </a:xfrm>
                <a:custGeom>
                  <a:avLst/>
                  <a:gdLst>
                    <a:gd name="connsiteX0" fmla="*/ 313754 w 313753"/>
                    <a:gd name="connsiteY0" fmla="*/ 156877 h 313753"/>
                    <a:gd name="connsiteX1" fmla="*/ 156877 w 313753"/>
                    <a:gd name="connsiteY1" fmla="*/ 313754 h 313753"/>
                    <a:gd name="connsiteX2" fmla="*/ 1 w 313753"/>
                    <a:gd name="connsiteY2" fmla="*/ 156877 h 313753"/>
                    <a:gd name="connsiteX3" fmla="*/ 156877 w 313753"/>
                    <a:gd name="connsiteY3" fmla="*/ 0 h 313753"/>
                    <a:gd name="connsiteX4" fmla="*/ 313754 w 313753"/>
                    <a:gd name="connsiteY4" fmla="*/ 156877 h 313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3753" h="313753">
                      <a:moveTo>
                        <a:pt x="313754" y="156877"/>
                      </a:moveTo>
                      <a:cubicBezTo>
                        <a:pt x="313754" y="243517"/>
                        <a:pt x="243518" y="313754"/>
                        <a:pt x="156877" y="313754"/>
                      </a:cubicBezTo>
                      <a:cubicBezTo>
                        <a:pt x="70237" y="313754"/>
                        <a:pt x="1" y="243517"/>
                        <a:pt x="1" y="156877"/>
                      </a:cubicBezTo>
                      <a:cubicBezTo>
                        <a:pt x="1" y="70236"/>
                        <a:pt x="70237" y="0"/>
                        <a:pt x="156877" y="0"/>
                      </a:cubicBezTo>
                      <a:cubicBezTo>
                        <a:pt x="243518" y="0"/>
                        <a:pt x="313754" y="70236"/>
                        <a:pt x="313754" y="15687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29" name="Grafik 23">
                <a:extLst>
                  <a:ext uri="{FF2B5EF4-FFF2-40B4-BE49-F238E27FC236}">
                    <a16:creationId xmlns:a16="http://schemas.microsoft.com/office/drawing/2014/main" id="{1CB79EFC-F3FE-66DE-E103-8C234B9268C9}"/>
                  </a:ext>
                </a:extLst>
              </p:cNvPr>
              <p:cNvGrpSpPr/>
              <p:nvPr/>
            </p:nvGrpSpPr>
            <p:grpSpPr>
              <a:xfrm>
                <a:off x="9633988" y="1862812"/>
                <a:ext cx="257205" cy="824026"/>
                <a:chOff x="5217159" y="666564"/>
                <a:chExt cx="1715547" cy="5496224"/>
              </a:xfrm>
            </p:grpSpPr>
            <p:grpSp>
              <p:nvGrpSpPr>
                <p:cNvPr id="89" name="Grafik 23">
                  <a:extLst>
                    <a:ext uri="{FF2B5EF4-FFF2-40B4-BE49-F238E27FC236}">
                      <a16:creationId xmlns:a16="http://schemas.microsoft.com/office/drawing/2014/main" id="{6F36D826-75B1-548E-B975-9DD2ED9DC6F8}"/>
                    </a:ext>
                  </a:extLst>
                </p:cNvPr>
                <p:cNvGrpSpPr/>
                <p:nvPr/>
              </p:nvGrpSpPr>
              <p:grpSpPr>
                <a:xfrm>
                  <a:off x="5934296" y="1562671"/>
                  <a:ext cx="563308" cy="1157858"/>
                  <a:chOff x="5934296" y="1562671"/>
                  <a:chExt cx="563308" cy="1157858"/>
                </a:xfrm>
                <a:solidFill>
                  <a:srgbClr val="E6E6E6"/>
                </a:solidFill>
              </p:grpSpPr>
              <p:sp>
                <p:nvSpPr>
                  <p:cNvPr id="138" name="Freihandform: Form 137">
                    <a:extLst>
                      <a:ext uri="{FF2B5EF4-FFF2-40B4-BE49-F238E27FC236}">
                        <a16:creationId xmlns:a16="http://schemas.microsoft.com/office/drawing/2014/main" id="{BCCA3E40-D6F5-40AE-39B6-AD60D4FD7590}"/>
                      </a:ext>
                    </a:extLst>
                  </p:cNvPr>
                  <p:cNvSpPr/>
                  <p:nvPr/>
                </p:nvSpPr>
                <p:spPr>
                  <a:xfrm>
                    <a:off x="6100984" y="1562671"/>
                    <a:ext cx="396620" cy="396620"/>
                  </a:xfrm>
                  <a:custGeom>
                    <a:avLst/>
                    <a:gdLst>
                      <a:gd name="connsiteX0" fmla="*/ 396621 w 396620"/>
                      <a:gd name="connsiteY0" fmla="*/ 198310 h 396620"/>
                      <a:gd name="connsiteX1" fmla="*/ 198310 w 396620"/>
                      <a:gd name="connsiteY1" fmla="*/ 396621 h 396620"/>
                      <a:gd name="connsiteX2" fmla="*/ 0 w 396620"/>
                      <a:gd name="connsiteY2" fmla="*/ 198310 h 396620"/>
                      <a:gd name="connsiteX3" fmla="*/ 198310 w 396620"/>
                      <a:gd name="connsiteY3" fmla="*/ 0 h 396620"/>
                      <a:gd name="connsiteX4" fmla="*/ 396621 w 396620"/>
                      <a:gd name="connsiteY4" fmla="*/ 198310 h 396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6620" h="396620">
                        <a:moveTo>
                          <a:pt x="396621" y="198310"/>
                        </a:moveTo>
                        <a:cubicBezTo>
                          <a:pt x="396621" y="307834"/>
                          <a:pt x="307834" y="396621"/>
                          <a:pt x="198310" y="396621"/>
                        </a:cubicBezTo>
                        <a:cubicBezTo>
                          <a:pt x="88786" y="396621"/>
                          <a:pt x="0" y="307834"/>
                          <a:pt x="0" y="198310"/>
                        </a:cubicBezTo>
                        <a:cubicBezTo>
                          <a:pt x="0" y="88787"/>
                          <a:pt x="88786" y="0"/>
                          <a:pt x="198310" y="0"/>
                        </a:cubicBezTo>
                        <a:cubicBezTo>
                          <a:pt x="307834" y="0"/>
                          <a:pt x="396621" y="88787"/>
                          <a:pt x="396621" y="198310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39" name="Freihandform: Form 138">
                    <a:extLst>
                      <a:ext uri="{FF2B5EF4-FFF2-40B4-BE49-F238E27FC236}">
                        <a16:creationId xmlns:a16="http://schemas.microsoft.com/office/drawing/2014/main" id="{FD426BD0-63CF-D3BC-7ED1-66F59D2887B9}"/>
                      </a:ext>
                    </a:extLst>
                  </p:cNvPr>
                  <p:cNvSpPr/>
                  <p:nvPr/>
                </p:nvSpPr>
                <p:spPr>
                  <a:xfrm>
                    <a:off x="5934296" y="1725453"/>
                    <a:ext cx="558736" cy="995076"/>
                  </a:xfrm>
                  <a:custGeom>
                    <a:avLst/>
                    <a:gdLst>
                      <a:gd name="connsiteX0" fmla="*/ 339566 w 558736"/>
                      <a:gd name="connsiteY0" fmla="*/ 995077 h 995076"/>
                      <a:gd name="connsiteX1" fmla="*/ 0 w 558736"/>
                      <a:gd name="connsiteY1" fmla="*/ 930211 h 995076"/>
                      <a:gd name="connsiteX2" fmla="*/ 110204 w 558736"/>
                      <a:gd name="connsiteY2" fmla="*/ 327184 h 995076"/>
                      <a:gd name="connsiteX3" fmla="*/ 169926 w 558736"/>
                      <a:gd name="connsiteY3" fmla="*/ 0 h 995076"/>
                      <a:gd name="connsiteX4" fmla="*/ 558737 w 558736"/>
                      <a:gd name="connsiteY4" fmla="*/ 78010 h 995076"/>
                      <a:gd name="connsiteX5" fmla="*/ 478441 w 558736"/>
                      <a:gd name="connsiteY5" fmla="*/ 413194 h 995076"/>
                      <a:gd name="connsiteX6" fmla="*/ 339566 w 558736"/>
                      <a:gd name="connsiteY6" fmla="*/ 995077 h 9950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58736" h="995076">
                        <a:moveTo>
                          <a:pt x="339566" y="995077"/>
                        </a:moveTo>
                        <a:lnTo>
                          <a:pt x="0" y="930211"/>
                        </a:lnTo>
                        <a:lnTo>
                          <a:pt x="110204" y="327184"/>
                        </a:lnTo>
                        <a:lnTo>
                          <a:pt x="169926" y="0"/>
                        </a:lnTo>
                        <a:lnTo>
                          <a:pt x="558737" y="78010"/>
                        </a:lnTo>
                        <a:lnTo>
                          <a:pt x="478441" y="413194"/>
                        </a:lnTo>
                        <a:lnTo>
                          <a:pt x="339566" y="995077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0" name="Grafik 23">
                  <a:extLst>
                    <a:ext uri="{FF2B5EF4-FFF2-40B4-BE49-F238E27FC236}">
                      <a16:creationId xmlns:a16="http://schemas.microsoft.com/office/drawing/2014/main" id="{363C2A17-740E-3EF6-7E27-2C563294E73D}"/>
                    </a:ext>
                  </a:extLst>
                </p:cNvPr>
                <p:cNvGrpSpPr/>
                <p:nvPr/>
              </p:nvGrpSpPr>
              <p:grpSpPr>
                <a:xfrm>
                  <a:off x="5435186" y="2434208"/>
                  <a:ext cx="841914" cy="425196"/>
                  <a:chOff x="5435186" y="2434208"/>
                  <a:chExt cx="841914" cy="425196"/>
                </a:xfrm>
                <a:solidFill>
                  <a:srgbClr val="E6E6E6"/>
                </a:solidFill>
              </p:grpSpPr>
              <p:sp>
                <p:nvSpPr>
                  <p:cNvPr id="136" name="Freihandform: Form 135">
                    <a:extLst>
                      <a:ext uri="{FF2B5EF4-FFF2-40B4-BE49-F238E27FC236}">
                        <a16:creationId xmlns:a16="http://schemas.microsoft.com/office/drawing/2014/main" id="{1244EAA6-71C4-9FCD-E7B0-D42DBC57DAB0}"/>
                      </a:ext>
                    </a:extLst>
                  </p:cNvPr>
                  <p:cNvSpPr/>
                  <p:nvPr/>
                </p:nvSpPr>
                <p:spPr>
                  <a:xfrm>
                    <a:off x="5435186" y="2434208"/>
                    <a:ext cx="703611" cy="423481"/>
                  </a:xfrm>
                  <a:custGeom>
                    <a:avLst/>
                    <a:gdLst>
                      <a:gd name="connsiteX0" fmla="*/ 0 w 703611"/>
                      <a:gd name="connsiteY0" fmla="*/ 329946 h 423481"/>
                      <a:gd name="connsiteX1" fmla="*/ 52483 w 703611"/>
                      <a:gd name="connsiteY1" fmla="*/ 0 h 423481"/>
                      <a:gd name="connsiteX2" fmla="*/ 703612 w 703611"/>
                      <a:gd name="connsiteY2" fmla="*/ 83058 h 423481"/>
                      <a:gd name="connsiteX3" fmla="*/ 644462 w 703611"/>
                      <a:gd name="connsiteY3" fmla="*/ 423482 h 423481"/>
                      <a:gd name="connsiteX4" fmla="*/ 0 w 703611"/>
                      <a:gd name="connsiteY4" fmla="*/ 329946 h 4234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03611" h="423481">
                        <a:moveTo>
                          <a:pt x="0" y="329946"/>
                        </a:moveTo>
                        <a:lnTo>
                          <a:pt x="52483" y="0"/>
                        </a:lnTo>
                        <a:lnTo>
                          <a:pt x="703612" y="83058"/>
                        </a:lnTo>
                        <a:lnTo>
                          <a:pt x="644462" y="423482"/>
                        </a:lnTo>
                        <a:lnTo>
                          <a:pt x="0" y="329946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37" name="Freihandform: Form 136">
                    <a:extLst>
                      <a:ext uri="{FF2B5EF4-FFF2-40B4-BE49-F238E27FC236}">
                        <a16:creationId xmlns:a16="http://schemas.microsoft.com/office/drawing/2014/main" id="{5BEE1EAF-9D2E-0AF1-9D6B-FEDD1FA751A5}"/>
                      </a:ext>
                    </a:extLst>
                  </p:cNvPr>
                  <p:cNvSpPr/>
                  <p:nvPr/>
                </p:nvSpPr>
                <p:spPr>
                  <a:xfrm>
                    <a:off x="5931534" y="2513838"/>
                    <a:ext cx="345566" cy="345566"/>
                  </a:xfrm>
                  <a:custGeom>
                    <a:avLst/>
                    <a:gdLst>
                      <a:gd name="connsiteX0" fmla="*/ 345567 w 345566"/>
                      <a:gd name="connsiteY0" fmla="*/ 172783 h 345566"/>
                      <a:gd name="connsiteX1" fmla="*/ 172783 w 345566"/>
                      <a:gd name="connsiteY1" fmla="*/ 345567 h 345566"/>
                      <a:gd name="connsiteX2" fmla="*/ 0 w 345566"/>
                      <a:gd name="connsiteY2" fmla="*/ 172783 h 345566"/>
                      <a:gd name="connsiteX3" fmla="*/ 172783 w 345566"/>
                      <a:gd name="connsiteY3" fmla="*/ 0 h 345566"/>
                      <a:gd name="connsiteX4" fmla="*/ 345567 w 345566"/>
                      <a:gd name="connsiteY4" fmla="*/ 172783 h 3455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45566" h="345566">
                        <a:moveTo>
                          <a:pt x="345567" y="172783"/>
                        </a:moveTo>
                        <a:cubicBezTo>
                          <a:pt x="345567" y="268209"/>
                          <a:pt x="268209" y="345567"/>
                          <a:pt x="172783" y="345567"/>
                        </a:cubicBezTo>
                        <a:cubicBezTo>
                          <a:pt x="77358" y="345567"/>
                          <a:pt x="0" y="268209"/>
                          <a:pt x="0" y="172783"/>
                        </a:cubicBezTo>
                        <a:cubicBezTo>
                          <a:pt x="0" y="77358"/>
                          <a:pt x="77357" y="0"/>
                          <a:pt x="172783" y="0"/>
                        </a:cubicBezTo>
                        <a:cubicBezTo>
                          <a:pt x="268209" y="0"/>
                          <a:pt x="345567" y="77358"/>
                          <a:pt x="345567" y="172783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1" name="Grafik 23">
                  <a:extLst>
                    <a:ext uri="{FF2B5EF4-FFF2-40B4-BE49-F238E27FC236}">
                      <a16:creationId xmlns:a16="http://schemas.microsoft.com/office/drawing/2014/main" id="{5F508983-533F-AEA2-8791-FEE7E4DB31F8}"/>
                    </a:ext>
                  </a:extLst>
                </p:cNvPr>
                <p:cNvGrpSpPr/>
                <p:nvPr/>
              </p:nvGrpSpPr>
              <p:grpSpPr>
                <a:xfrm>
                  <a:off x="5217159" y="2156745"/>
                  <a:ext cx="790670" cy="894492"/>
                  <a:chOff x="5217159" y="2156745"/>
                  <a:chExt cx="790670" cy="894492"/>
                </a:xfrm>
              </p:grpSpPr>
              <p:grpSp>
                <p:nvGrpSpPr>
                  <p:cNvPr id="131" name="Grafik 23">
                    <a:extLst>
                      <a:ext uri="{FF2B5EF4-FFF2-40B4-BE49-F238E27FC236}">
                        <a16:creationId xmlns:a16="http://schemas.microsoft.com/office/drawing/2014/main" id="{2A175064-E9AC-79D7-E0EB-443FC1633C6D}"/>
                      </a:ext>
                    </a:extLst>
                  </p:cNvPr>
                  <p:cNvGrpSpPr/>
                  <p:nvPr/>
                </p:nvGrpSpPr>
                <p:grpSpPr>
                  <a:xfrm>
                    <a:off x="5247163" y="2156745"/>
                    <a:ext cx="760666" cy="894492"/>
                    <a:chOff x="5247163" y="2156745"/>
                    <a:chExt cx="760666" cy="894492"/>
                  </a:xfrm>
                </p:grpSpPr>
                <p:sp>
                  <p:nvSpPr>
                    <p:cNvPr id="134" name="Freihandform: Form 133">
                      <a:extLst>
                        <a:ext uri="{FF2B5EF4-FFF2-40B4-BE49-F238E27FC236}">
                          <a16:creationId xmlns:a16="http://schemas.microsoft.com/office/drawing/2014/main" id="{391CFCCE-E5BA-A872-2877-D508E83A3887}"/>
                        </a:ext>
                      </a:extLst>
                    </p:cNvPr>
                    <p:cNvSpPr/>
                    <p:nvPr/>
                  </p:nvSpPr>
                  <p:spPr>
                    <a:xfrm rot="-864001">
                      <a:off x="5348448" y="2231745"/>
                      <a:ext cx="558069" cy="743997"/>
                    </a:xfrm>
                    <a:custGeom>
                      <a:avLst/>
                      <a:gdLst>
                        <a:gd name="connsiteX0" fmla="*/ 0 w 558069"/>
                        <a:gd name="connsiteY0" fmla="*/ 0 h 743997"/>
                        <a:gd name="connsiteX1" fmla="*/ 558070 w 558069"/>
                        <a:gd name="connsiteY1" fmla="*/ 0 h 743997"/>
                        <a:gd name="connsiteX2" fmla="*/ 558070 w 558069"/>
                        <a:gd name="connsiteY2" fmla="*/ 743998 h 743997"/>
                        <a:gd name="connsiteX3" fmla="*/ 0 w 558069"/>
                        <a:gd name="connsiteY3" fmla="*/ 743998 h 7439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558069" h="743997">
                          <a:moveTo>
                            <a:pt x="0" y="0"/>
                          </a:moveTo>
                          <a:lnTo>
                            <a:pt x="558070" y="0"/>
                          </a:lnTo>
                          <a:lnTo>
                            <a:pt x="558070" y="743998"/>
                          </a:lnTo>
                          <a:lnTo>
                            <a:pt x="0" y="743998"/>
                          </a:lnTo>
                          <a:close/>
                        </a:path>
                      </a:pathLst>
                    </a:custGeom>
                    <a:solidFill>
                      <a:srgbClr val="EC660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5" name="Freihandform: Form 134">
                      <a:extLst>
                        <a:ext uri="{FF2B5EF4-FFF2-40B4-BE49-F238E27FC236}">
                          <a16:creationId xmlns:a16="http://schemas.microsoft.com/office/drawing/2014/main" id="{4376915D-62D2-6D39-4408-737D97229BE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47163" y="2156745"/>
                      <a:ext cx="760666" cy="894492"/>
                    </a:xfrm>
                    <a:custGeom>
                      <a:avLst/>
                      <a:gdLst>
                        <a:gd name="connsiteX0" fmla="*/ 547688 w 760666"/>
                        <a:gd name="connsiteY0" fmla="*/ 35147 h 894492"/>
                        <a:gd name="connsiteX1" fmla="*/ 725519 w 760666"/>
                        <a:gd name="connsiteY1" fmla="*/ 727805 h 894492"/>
                        <a:gd name="connsiteX2" fmla="*/ 212979 w 760666"/>
                        <a:gd name="connsiteY2" fmla="*/ 859346 h 894492"/>
                        <a:gd name="connsiteX3" fmla="*/ 35147 w 760666"/>
                        <a:gd name="connsiteY3" fmla="*/ 166688 h 894492"/>
                        <a:gd name="connsiteX4" fmla="*/ 547688 w 760666"/>
                        <a:gd name="connsiteY4" fmla="*/ 35147 h 894492"/>
                        <a:gd name="connsiteX5" fmla="*/ 568452 w 760666"/>
                        <a:gd name="connsiteY5" fmla="*/ 0 h 894492"/>
                        <a:gd name="connsiteX6" fmla="*/ 0 w 760666"/>
                        <a:gd name="connsiteY6" fmla="*/ 145923 h 894492"/>
                        <a:gd name="connsiteX7" fmla="*/ 192119 w 760666"/>
                        <a:gd name="connsiteY7" fmla="*/ 894493 h 894492"/>
                        <a:gd name="connsiteX8" fmla="*/ 760667 w 760666"/>
                        <a:gd name="connsiteY8" fmla="*/ 748570 h 894492"/>
                        <a:gd name="connsiteX9" fmla="*/ 568547 w 760666"/>
                        <a:gd name="connsiteY9" fmla="*/ 0 h 894492"/>
                        <a:gd name="connsiteX10" fmla="*/ 568547 w 760666"/>
                        <a:gd name="connsiteY10" fmla="*/ 0 h 8944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760666" h="894492">
                          <a:moveTo>
                            <a:pt x="547688" y="35147"/>
                          </a:moveTo>
                          <a:lnTo>
                            <a:pt x="725519" y="727805"/>
                          </a:lnTo>
                          <a:lnTo>
                            <a:pt x="212979" y="859346"/>
                          </a:lnTo>
                          <a:lnTo>
                            <a:pt x="35147" y="166688"/>
                          </a:lnTo>
                          <a:lnTo>
                            <a:pt x="547688" y="35147"/>
                          </a:lnTo>
                          <a:moveTo>
                            <a:pt x="568452" y="0"/>
                          </a:moveTo>
                          <a:lnTo>
                            <a:pt x="0" y="145923"/>
                          </a:lnTo>
                          <a:lnTo>
                            <a:pt x="192119" y="894493"/>
                          </a:lnTo>
                          <a:lnTo>
                            <a:pt x="760667" y="748570"/>
                          </a:lnTo>
                          <a:lnTo>
                            <a:pt x="568547" y="0"/>
                          </a:lnTo>
                          <a:lnTo>
                            <a:pt x="568547" y="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132" name="Freihandform: Form 131">
                    <a:extLst>
                      <a:ext uri="{FF2B5EF4-FFF2-40B4-BE49-F238E27FC236}">
                        <a16:creationId xmlns:a16="http://schemas.microsoft.com/office/drawing/2014/main" id="{7CA9B0EE-7E36-9D12-B7FA-73160152BC25}"/>
                      </a:ext>
                    </a:extLst>
                  </p:cNvPr>
                  <p:cNvSpPr/>
                  <p:nvPr/>
                </p:nvSpPr>
                <p:spPr>
                  <a:xfrm>
                    <a:off x="5217159" y="2487929"/>
                    <a:ext cx="280518" cy="319373"/>
                  </a:xfrm>
                  <a:custGeom>
                    <a:avLst/>
                    <a:gdLst>
                      <a:gd name="connsiteX0" fmla="*/ 197168 w 280518"/>
                      <a:gd name="connsiteY0" fmla="*/ 99632 h 319373"/>
                      <a:gd name="connsiteX1" fmla="*/ 103727 w 280518"/>
                      <a:gd name="connsiteY1" fmla="*/ 102108 h 319373"/>
                      <a:gd name="connsiteX2" fmla="*/ 77534 w 280518"/>
                      <a:gd name="connsiteY2" fmla="*/ 0 h 319373"/>
                      <a:gd name="connsiteX3" fmla="*/ 0 w 280518"/>
                      <a:gd name="connsiteY3" fmla="*/ 109728 h 319373"/>
                      <a:gd name="connsiteX4" fmla="*/ 71152 w 280518"/>
                      <a:gd name="connsiteY4" fmla="*/ 315278 h 319373"/>
                      <a:gd name="connsiteX5" fmla="*/ 186785 w 280518"/>
                      <a:gd name="connsiteY5" fmla="*/ 319373 h 319373"/>
                      <a:gd name="connsiteX6" fmla="*/ 280226 w 280518"/>
                      <a:gd name="connsiteY6" fmla="*/ 239649 h 319373"/>
                      <a:gd name="connsiteX7" fmla="*/ 280511 w 280518"/>
                      <a:gd name="connsiteY7" fmla="*/ 130778 h 319373"/>
                      <a:gd name="connsiteX8" fmla="*/ 197263 w 280518"/>
                      <a:gd name="connsiteY8" fmla="*/ 99727 h 319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0518" h="319373">
                        <a:moveTo>
                          <a:pt x="197168" y="99632"/>
                        </a:moveTo>
                        <a:cubicBezTo>
                          <a:pt x="183547" y="102013"/>
                          <a:pt x="103727" y="102108"/>
                          <a:pt x="103727" y="102108"/>
                        </a:cubicBezTo>
                        <a:lnTo>
                          <a:pt x="77534" y="0"/>
                        </a:lnTo>
                        <a:lnTo>
                          <a:pt x="0" y="109728"/>
                        </a:lnTo>
                        <a:lnTo>
                          <a:pt x="71152" y="315278"/>
                        </a:lnTo>
                        <a:lnTo>
                          <a:pt x="186785" y="319373"/>
                        </a:lnTo>
                        <a:lnTo>
                          <a:pt x="280226" y="239649"/>
                        </a:lnTo>
                        <a:lnTo>
                          <a:pt x="280511" y="130778"/>
                        </a:lnTo>
                        <a:cubicBezTo>
                          <a:pt x="280511" y="130778"/>
                          <a:pt x="282988" y="84773"/>
                          <a:pt x="197263" y="99727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33" name="Freihandform: Form 132">
                    <a:extLst>
                      <a:ext uri="{FF2B5EF4-FFF2-40B4-BE49-F238E27FC236}">
                        <a16:creationId xmlns:a16="http://schemas.microsoft.com/office/drawing/2014/main" id="{79DB01DA-83F6-5458-C98B-0BCDBED0958E}"/>
                      </a:ext>
                    </a:extLst>
                  </p:cNvPr>
                  <p:cNvSpPr/>
                  <p:nvPr/>
                </p:nvSpPr>
                <p:spPr>
                  <a:xfrm rot="-326400">
                    <a:off x="5311589" y="2643866"/>
                    <a:ext cx="186594" cy="19240"/>
                  </a:xfrm>
                  <a:custGeom>
                    <a:avLst/>
                    <a:gdLst>
                      <a:gd name="connsiteX0" fmla="*/ 0 w 186594"/>
                      <a:gd name="connsiteY0" fmla="*/ 0 h 19240"/>
                      <a:gd name="connsiteX1" fmla="*/ 186595 w 186594"/>
                      <a:gd name="connsiteY1" fmla="*/ 0 h 19240"/>
                      <a:gd name="connsiteX2" fmla="*/ 186595 w 186594"/>
                      <a:gd name="connsiteY2" fmla="*/ 19241 h 19240"/>
                      <a:gd name="connsiteX3" fmla="*/ 0 w 186594"/>
                      <a:gd name="connsiteY3" fmla="*/ 19241 h 192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86594" h="19240">
                        <a:moveTo>
                          <a:pt x="0" y="0"/>
                        </a:moveTo>
                        <a:lnTo>
                          <a:pt x="186595" y="0"/>
                        </a:lnTo>
                        <a:lnTo>
                          <a:pt x="186595" y="19241"/>
                        </a:lnTo>
                        <a:lnTo>
                          <a:pt x="0" y="19241"/>
                        </a:lnTo>
                        <a:close/>
                      </a:path>
                    </a:pathLst>
                  </a:custGeom>
                  <a:solidFill>
                    <a:srgbClr val="F2BBB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2" name="Grafik 23">
                  <a:extLst>
                    <a:ext uri="{FF2B5EF4-FFF2-40B4-BE49-F238E27FC236}">
                      <a16:creationId xmlns:a16="http://schemas.microsoft.com/office/drawing/2014/main" id="{112D531E-C1E3-1140-449F-49086549F151}"/>
                    </a:ext>
                  </a:extLst>
                </p:cNvPr>
                <p:cNvGrpSpPr/>
                <p:nvPr/>
              </p:nvGrpSpPr>
              <p:grpSpPr>
                <a:xfrm>
                  <a:off x="6113093" y="1063436"/>
                  <a:ext cx="443757" cy="556066"/>
                  <a:chOff x="6113093" y="1063436"/>
                  <a:chExt cx="443757" cy="556066"/>
                </a:xfrm>
              </p:grpSpPr>
              <p:sp>
                <p:nvSpPr>
                  <p:cNvPr id="129" name="Freihandform: Form 128">
                    <a:extLst>
                      <a:ext uri="{FF2B5EF4-FFF2-40B4-BE49-F238E27FC236}">
                        <a16:creationId xmlns:a16="http://schemas.microsoft.com/office/drawing/2014/main" id="{ABA91FE2-DCC4-1C95-5144-CAB92CB14306}"/>
                      </a:ext>
                    </a:extLst>
                  </p:cNvPr>
                  <p:cNvSpPr/>
                  <p:nvPr/>
                </p:nvSpPr>
                <p:spPr>
                  <a:xfrm>
                    <a:off x="6113093" y="1063436"/>
                    <a:ext cx="443757" cy="556055"/>
                  </a:xfrm>
                  <a:custGeom>
                    <a:avLst/>
                    <a:gdLst>
                      <a:gd name="connsiteX0" fmla="*/ 443757 w 443757"/>
                      <a:gd name="connsiteY0" fmla="*/ 405604 h 556055"/>
                      <a:gd name="connsiteX1" fmla="*/ 129813 w 443757"/>
                      <a:gd name="connsiteY1" fmla="*/ 526953 h 556055"/>
                      <a:gd name="connsiteX2" fmla="*/ 1321 w 443757"/>
                      <a:gd name="connsiteY2" fmla="*/ 166717 h 556055"/>
                      <a:gd name="connsiteX3" fmla="*/ 315170 w 443757"/>
                      <a:gd name="connsiteY3" fmla="*/ 45369 h 556055"/>
                      <a:gd name="connsiteX4" fmla="*/ 443662 w 443757"/>
                      <a:gd name="connsiteY4" fmla="*/ 405604 h 5560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43757" h="556055">
                        <a:moveTo>
                          <a:pt x="443757" y="405604"/>
                        </a:moveTo>
                        <a:cubicBezTo>
                          <a:pt x="419373" y="524095"/>
                          <a:pt x="234779" y="600962"/>
                          <a:pt x="129813" y="526953"/>
                        </a:cubicBezTo>
                        <a:lnTo>
                          <a:pt x="1321" y="166717"/>
                        </a:lnTo>
                        <a:cubicBezTo>
                          <a:pt x="-21825" y="60323"/>
                          <a:pt x="266211" y="-70741"/>
                          <a:pt x="315170" y="45369"/>
                        </a:cubicBezTo>
                        <a:lnTo>
                          <a:pt x="443662" y="405604"/>
                        </a:ln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30" name="Freihandform: Form 129">
                    <a:extLst>
                      <a:ext uri="{FF2B5EF4-FFF2-40B4-BE49-F238E27FC236}">
                        <a16:creationId xmlns:a16="http://schemas.microsoft.com/office/drawing/2014/main" id="{EB970D96-3168-F178-F7FA-6D5125065D32}"/>
                      </a:ext>
                    </a:extLst>
                  </p:cNvPr>
                  <p:cNvSpPr/>
                  <p:nvPr/>
                </p:nvSpPr>
                <p:spPr>
                  <a:xfrm>
                    <a:off x="6228307" y="1200626"/>
                    <a:ext cx="328542" cy="418877"/>
                  </a:xfrm>
                  <a:custGeom>
                    <a:avLst/>
                    <a:gdLst>
                      <a:gd name="connsiteX0" fmla="*/ 232817 w 328542"/>
                      <a:gd name="connsiteY0" fmla="*/ 95 h 418877"/>
                      <a:gd name="connsiteX1" fmla="*/ 328543 w 328542"/>
                      <a:gd name="connsiteY1" fmla="*/ 268415 h 418877"/>
                      <a:gd name="connsiteX2" fmla="*/ 14599 w 328542"/>
                      <a:gd name="connsiteY2" fmla="*/ 389763 h 418877"/>
                      <a:gd name="connsiteX3" fmla="*/ 44222 w 328542"/>
                      <a:gd name="connsiteY3" fmla="*/ 223647 h 418877"/>
                      <a:gd name="connsiteX4" fmla="*/ 232817 w 328542"/>
                      <a:gd name="connsiteY4" fmla="*/ 0 h 4188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8542" h="418877">
                        <a:moveTo>
                          <a:pt x="232817" y="95"/>
                        </a:moveTo>
                        <a:lnTo>
                          <a:pt x="328543" y="268415"/>
                        </a:lnTo>
                        <a:cubicBezTo>
                          <a:pt x="304445" y="389001"/>
                          <a:pt x="117850" y="463010"/>
                          <a:pt x="14599" y="389763"/>
                        </a:cubicBezTo>
                        <a:cubicBezTo>
                          <a:pt x="14599" y="389763"/>
                          <a:pt x="-33216" y="270605"/>
                          <a:pt x="44222" y="223647"/>
                        </a:cubicBezTo>
                        <a:cubicBezTo>
                          <a:pt x="235579" y="107728"/>
                          <a:pt x="232817" y="0"/>
                          <a:pt x="232817" y="0"/>
                        </a:cubicBezTo>
                        <a:close/>
                      </a:path>
                    </a:pathLst>
                  </a:custGeom>
                  <a:solidFill>
                    <a:srgbClr val="F2BBB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3" name="Grafik 23">
                  <a:extLst>
                    <a:ext uri="{FF2B5EF4-FFF2-40B4-BE49-F238E27FC236}">
                      <a16:creationId xmlns:a16="http://schemas.microsoft.com/office/drawing/2014/main" id="{D34FC05B-3D3C-44CB-FA62-A72291723926}"/>
                    </a:ext>
                  </a:extLst>
                </p:cNvPr>
                <p:cNvGrpSpPr/>
                <p:nvPr/>
              </p:nvGrpSpPr>
              <p:grpSpPr>
                <a:xfrm>
                  <a:off x="5641758" y="1283398"/>
                  <a:ext cx="1290948" cy="4879390"/>
                  <a:chOff x="5641758" y="1283398"/>
                  <a:chExt cx="1290948" cy="4879390"/>
                </a:xfrm>
              </p:grpSpPr>
              <p:grpSp>
                <p:nvGrpSpPr>
                  <p:cNvPr id="104" name="Grafik 23">
                    <a:extLst>
                      <a:ext uri="{FF2B5EF4-FFF2-40B4-BE49-F238E27FC236}">
                        <a16:creationId xmlns:a16="http://schemas.microsoft.com/office/drawing/2014/main" id="{324193FC-2036-452C-6A79-844AAB28CD15}"/>
                      </a:ext>
                    </a:extLst>
                  </p:cNvPr>
                  <p:cNvGrpSpPr/>
                  <p:nvPr/>
                </p:nvGrpSpPr>
                <p:grpSpPr>
                  <a:xfrm>
                    <a:off x="5641758" y="5790657"/>
                    <a:ext cx="867562" cy="295550"/>
                    <a:chOff x="5641758" y="5790657"/>
                    <a:chExt cx="867562" cy="295550"/>
                  </a:xfrm>
                </p:grpSpPr>
                <p:sp>
                  <p:nvSpPr>
                    <p:cNvPr id="127" name="Freihandform: Form 126">
                      <a:extLst>
                        <a:ext uri="{FF2B5EF4-FFF2-40B4-BE49-F238E27FC236}">
                          <a16:creationId xmlns:a16="http://schemas.microsoft.com/office/drawing/2014/main" id="{01261866-D592-DA50-B776-EE674E33B3E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643447" y="5790657"/>
                      <a:ext cx="865764" cy="289407"/>
                    </a:xfrm>
                    <a:custGeom>
                      <a:avLst/>
                      <a:gdLst>
                        <a:gd name="connsiteX0" fmla="*/ 804913 w 865764"/>
                        <a:gd name="connsiteY0" fmla="*/ 28546 h 289407"/>
                        <a:gd name="connsiteX1" fmla="*/ 865683 w 865764"/>
                        <a:gd name="connsiteY1" fmla="*/ 170088 h 289407"/>
                        <a:gd name="connsiteX2" fmla="*/ 860063 w 865764"/>
                        <a:gd name="connsiteY2" fmla="*/ 253907 h 289407"/>
                        <a:gd name="connsiteX3" fmla="*/ 835393 w 865764"/>
                        <a:gd name="connsiteY3" fmla="*/ 276863 h 289407"/>
                        <a:gd name="connsiteX4" fmla="*/ 54629 w 865764"/>
                        <a:gd name="connsiteY4" fmla="*/ 249716 h 289407"/>
                        <a:gd name="connsiteX5" fmla="*/ 41865 w 865764"/>
                        <a:gd name="connsiteY5" fmla="*/ 132750 h 289407"/>
                        <a:gd name="connsiteX6" fmla="*/ 331140 w 865764"/>
                        <a:gd name="connsiteY6" fmla="*/ 83696 h 289407"/>
                        <a:gd name="connsiteX7" fmla="*/ 535927 w 865764"/>
                        <a:gd name="connsiteY7" fmla="*/ 829 h 289407"/>
                        <a:gd name="connsiteX8" fmla="*/ 592696 w 865764"/>
                        <a:gd name="connsiteY8" fmla="*/ 56931 h 289407"/>
                        <a:gd name="connsiteX9" fmla="*/ 725570 w 865764"/>
                        <a:gd name="connsiteY9" fmla="*/ 56931 h 289407"/>
                        <a:gd name="connsiteX10" fmla="*/ 805009 w 865764"/>
                        <a:gd name="connsiteY10" fmla="*/ 28546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804913" y="28546"/>
                          </a:moveTo>
                          <a:cubicBezTo>
                            <a:pt x="804913" y="28546"/>
                            <a:pt x="868350" y="92078"/>
                            <a:pt x="865683" y="170088"/>
                          </a:cubicBezTo>
                          <a:cubicBezTo>
                            <a:pt x="864254" y="210474"/>
                            <a:pt x="861968" y="237334"/>
                            <a:pt x="860063" y="253907"/>
                          </a:cubicBezTo>
                          <a:cubicBezTo>
                            <a:pt x="858634" y="266576"/>
                            <a:pt x="848157" y="276292"/>
                            <a:pt x="835393" y="276863"/>
                          </a:cubicBezTo>
                          <a:cubicBezTo>
                            <a:pt x="726808" y="281626"/>
                            <a:pt x="175025" y="314487"/>
                            <a:pt x="54629" y="249716"/>
                          </a:cubicBezTo>
                          <a:cubicBezTo>
                            <a:pt x="-60338" y="187899"/>
                            <a:pt x="41865" y="132750"/>
                            <a:pt x="41865" y="132750"/>
                          </a:cubicBezTo>
                          <a:cubicBezTo>
                            <a:pt x="41865" y="132750"/>
                            <a:pt x="216840" y="152752"/>
                            <a:pt x="331140" y="83696"/>
                          </a:cubicBezTo>
                          <a:cubicBezTo>
                            <a:pt x="432867" y="22260"/>
                            <a:pt x="517735" y="-5267"/>
                            <a:pt x="535927" y="829"/>
                          </a:cubicBezTo>
                          <a:cubicBezTo>
                            <a:pt x="554120" y="6924"/>
                            <a:pt x="560502" y="35499"/>
                            <a:pt x="592696" y="56931"/>
                          </a:cubicBezTo>
                          <a:cubicBezTo>
                            <a:pt x="624986" y="78457"/>
                            <a:pt x="663753" y="78457"/>
                            <a:pt x="725570" y="56931"/>
                          </a:cubicBezTo>
                          <a:cubicBezTo>
                            <a:pt x="787387" y="35404"/>
                            <a:pt x="786149" y="20450"/>
                            <a:pt x="805009" y="28546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8" name="Freihandform: Form 127">
                      <a:extLst>
                        <a:ext uri="{FF2B5EF4-FFF2-40B4-BE49-F238E27FC236}">
                          <a16:creationId xmlns:a16="http://schemas.microsoft.com/office/drawing/2014/main" id="{97630100-3ED9-283C-B403-212445EEA4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641758" y="5933027"/>
                      <a:ext cx="867562" cy="153180"/>
                    </a:xfrm>
                    <a:custGeom>
                      <a:avLst/>
                      <a:gdLst>
                        <a:gd name="connsiteX0" fmla="*/ 837463 w 867562"/>
                        <a:gd name="connsiteY0" fmla="*/ 153162 h 153180"/>
                        <a:gd name="connsiteX1" fmla="*/ 174904 w 867562"/>
                        <a:gd name="connsiteY1" fmla="*/ 152781 h 153180"/>
                        <a:gd name="connsiteX2" fmla="*/ 55746 w 867562"/>
                        <a:gd name="connsiteY2" fmla="*/ 116395 h 153180"/>
                        <a:gd name="connsiteX3" fmla="*/ 28600 w 867562"/>
                        <a:gd name="connsiteY3" fmla="*/ 0 h 153180"/>
                        <a:gd name="connsiteX4" fmla="*/ 68700 w 867562"/>
                        <a:gd name="connsiteY4" fmla="*/ 42291 h 153180"/>
                        <a:gd name="connsiteX5" fmla="*/ 867562 w 867562"/>
                        <a:gd name="connsiteY5" fmla="*/ 51245 h 153180"/>
                        <a:gd name="connsiteX6" fmla="*/ 862324 w 867562"/>
                        <a:gd name="connsiteY6" fmla="*/ 130016 h 153180"/>
                        <a:gd name="connsiteX7" fmla="*/ 837559 w 867562"/>
                        <a:gd name="connsiteY7" fmla="*/ 153162 h 15318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0">
                          <a:moveTo>
                            <a:pt x="837463" y="153162"/>
                          </a:moveTo>
                          <a:cubicBezTo>
                            <a:pt x="834987" y="153257"/>
                            <a:pt x="177000" y="152971"/>
                            <a:pt x="174904" y="152781"/>
                          </a:cubicBezTo>
                          <a:cubicBezTo>
                            <a:pt x="116325" y="147066"/>
                            <a:pt x="79750" y="129349"/>
                            <a:pt x="55746" y="116395"/>
                          </a:cubicBezTo>
                          <a:cubicBezTo>
                            <a:pt x="-30359" y="70104"/>
                            <a:pt x="2311" y="15907"/>
                            <a:pt x="28600" y="0"/>
                          </a:cubicBezTo>
                          <a:cubicBezTo>
                            <a:pt x="37173" y="9430"/>
                            <a:pt x="50032" y="32290"/>
                            <a:pt x="68700" y="42291"/>
                          </a:cubicBezTo>
                          <a:cubicBezTo>
                            <a:pt x="195859" y="110680"/>
                            <a:pt x="799173" y="56483"/>
                            <a:pt x="867562" y="51245"/>
                          </a:cubicBezTo>
                          <a:cubicBezTo>
                            <a:pt x="866134" y="85630"/>
                            <a:pt x="864133" y="114871"/>
                            <a:pt x="862324" y="130016"/>
                          </a:cubicBezTo>
                          <a:cubicBezTo>
                            <a:pt x="860895" y="142780"/>
                            <a:pt x="850417" y="152590"/>
                            <a:pt x="837559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105" name="Freihandform: Form 104">
                    <a:extLst>
                      <a:ext uri="{FF2B5EF4-FFF2-40B4-BE49-F238E27FC236}">
                        <a16:creationId xmlns:a16="http://schemas.microsoft.com/office/drawing/2014/main" id="{5131E663-2F05-7D06-0257-072C5027478B}"/>
                      </a:ext>
                    </a:extLst>
                  </p:cNvPr>
                  <p:cNvSpPr/>
                  <p:nvPr/>
                </p:nvSpPr>
                <p:spPr>
                  <a:xfrm>
                    <a:off x="5928417" y="2855975"/>
                    <a:ext cx="818567" cy="1866913"/>
                  </a:xfrm>
                  <a:custGeom>
                    <a:avLst/>
                    <a:gdLst>
                      <a:gd name="connsiteX0" fmla="*/ 781595 w 818567"/>
                      <a:gd name="connsiteY0" fmla="*/ 78581 h 1866913"/>
                      <a:gd name="connsiteX1" fmla="*/ 114750 w 818567"/>
                      <a:gd name="connsiteY1" fmla="*/ 0 h 1866913"/>
                      <a:gd name="connsiteX2" fmla="*/ 16166 w 818567"/>
                      <a:gd name="connsiteY2" fmla="*/ 936117 h 1866913"/>
                      <a:gd name="connsiteX3" fmla="*/ 9308 w 818567"/>
                      <a:gd name="connsiteY3" fmla="*/ 1796606 h 1866913"/>
                      <a:gd name="connsiteX4" fmla="*/ 521182 w 818567"/>
                      <a:gd name="connsiteY4" fmla="*/ 1815084 h 1866913"/>
                      <a:gd name="connsiteX5" fmla="*/ 781595 w 818567"/>
                      <a:gd name="connsiteY5" fmla="*/ 78486 h 18669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8567" h="1866913">
                        <a:moveTo>
                          <a:pt x="781595" y="78581"/>
                        </a:moveTo>
                        <a:cubicBezTo>
                          <a:pt x="772165" y="79820"/>
                          <a:pt x="114750" y="0"/>
                          <a:pt x="114750" y="0"/>
                        </a:cubicBezTo>
                        <a:cubicBezTo>
                          <a:pt x="114750" y="0"/>
                          <a:pt x="24453" y="770858"/>
                          <a:pt x="16166" y="936117"/>
                        </a:cubicBezTo>
                        <a:cubicBezTo>
                          <a:pt x="-15648" y="1569434"/>
                          <a:pt x="9308" y="1796606"/>
                          <a:pt x="9308" y="1796606"/>
                        </a:cubicBezTo>
                        <a:cubicBezTo>
                          <a:pt x="156184" y="1903952"/>
                          <a:pt x="356018" y="1870234"/>
                          <a:pt x="521182" y="1815084"/>
                        </a:cubicBezTo>
                        <a:cubicBezTo>
                          <a:pt x="633767" y="1093470"/>
                          <a:pt x="919898" y="808196"/>
                          <a:pt x="781595" y="78486"/>
                        </a:cubicBezTo>
                        <a:close/>
                      </a:path>
                    </a:pathLst>
                  </a:custGeom>
                  <a:solidFill>
                    <a:srgbClr val="004F4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6" name="Freihandform: Form 105">
                    <a:extLst>
                      <a:ext uri="{FF2B5EF4-FFF2-40B4-BE49-F238E27FC236}">
                        <a16:creationId xmlns:a16="http://schemas.microsoft.com/office/drawing/2014/main" id="{66A14D27-1178-BFB9-94F9-D3CE27BD8061}"/>
                      </a:ext>
                    </a:extLst>
                  </p:cNvPr>
                  <p:cNvSpPr/>
                  <p:nvPr/>
                </p:nvSpPr>
                <p:spPr>
                  <a:xfrm>
                    <a:off x="5936678" y="4541924"/>
                    <a:ext cx="619474" cy="1380816"/>
                  </a:xfrm>
                  <a:custGeom>
                    <a:avLst/>
                    <a:gdLst>
                      <a:gd name="connsiteX0" fmla="*/ 517588 w 619474"/>
                      <a:gd name="connsiteY0" fmla="*/ 67509 h 1380816"/>
                      <a:gd name="connsiteX1" fmla="*/ 599980 w 619474"/>
                      <a:gd name="connsiteY1" fmla="*/ 1058014 h 1380816"/>
                      <a:gd name="connsiteX2" fmla="*/ 567309 w 619474"/>
                      <a:gd name="connsiteY2" fmla="*/ 1380435 h 1380816"/>
                      <a:gd name="connsiteX3" fmla="*/ 263462 w 619474"/>
                      <a:gd name="connsiteY3" fmla="*/ 1347288 h 1380816"/>
                      <a:gd name="connsiteX4" fmla="*/ 50292 w 619474"/>
                      <a:gd name="connsiteY4" fmla="*/ 1324809 h 1380816"/>
                      <a:gd name="connsiteX5" fmla="*/ 62008 w 619474"/>
                      <a:gd name="connsiteY5" fmla="*/ 870086 h 1380816"/>
                      <a:gd name="connsiteX6" fmla="*/ 0 w 619474"/>
                      <a:gd name="connsiteY6" fmla="*/ 98275 h 1380816"/>
                      <a:gd name="connsiteX7" fmla="*/ 517588 w 619474"/>
                      <a:gd name="connsiteY7" fmla="*/ 67414 h 13808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19474" h="1380816">
                        <a:moveTo>
                          <a:pt x="517588" y="67509"/>
                        </a:moveTo>
                        <a:cubicBezTo>
                          <a:pt x="608171" y="426887"/>
                          <a:pt x="582644" y="878944"/>
                          <a:pt x="599980" y="1058014"/>
                        </a:cubicBezTo>
                        <a:cubicBezTo>
                          <a:pt x="610553" y="1167361"/>
                          <a:pt x="652081" y="1391293"/>
                          <a:pt x="567309" y="1380435"/>
                        </a:cubicBezTo>
                        <a:cubicBezTo>
                          <a:pt x="503491" y="1366910"/>
                          <a:pt x="391287" y="1357956"/>
                          <a:pt x="263462" y="1347288"/>
                        </a:cubicBezTo>
                        <a:cubicBezTo>
                          <a:pt x="135636" y="1336525"/>
                          <a:pt x="50292" y="1324809"/>
                          <a:pt x="50292" y="1324809"/>
                        </a:cubicBezTo>
                        <a:cubicBezTo>
                          <a:pt x="50292" y="1324809"/>
                          <a:pt x="63722" y="926093"/>
                          <a:pt x="62008" y="870086"/>
                        </a:cubicBezTo>
                        <a:cubicBezTo>
                          <a:pt x="60293" y="814079"/>
                          <a:pt x="0" y="98275"/>
                          <a:pt x="0" y="98275"/>
                        </a:cubicBezTo>
                        <a:cubicBezTo>
                          <a:pt x="154305" y="-12501"/>
                          <a:pt x="355473" y="-38980"/>
                          <a:pt x="517588" y="67414"/>
                        </a:cubicBezTo>
                        <a:close/>
                      </a:path>
                    </a:pathLst>
                  </a:custGeom>
                  <a:solidFill>
                    <a:srgbClr val="004F4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7" name="Freihandform: Form 106">
                    <a:extLst>
                      <a:ext uri="{FF2B5EF4-FFF2-40B4-BE49-F238E27FC236}">
                        <a16:creationId xmlns:a16="http://schemas.microsoft.com/office/drawing/2014/main" id="{B8BF8ECD-F317-9AF7-9F10-2DBB3C019DD9}"/>
                      </a:ext>
                    </a:extLst>
                  </p:cNvPr>
                  <p:cNvSpPr/>
                  <p:nvPr/>
                </p:nvSpPr>
                <p:spPr>
                  <a:xfrm>
                    <a:off x="5935820" y="4361211"/>
                    <a:ext cx="518731" cy="518731"/>
                  </a:xfrm>
                  <a:custGeom>
                    <a:avLst/>
                    <a:gdLst>
                      <a:gd name="connsiteX0" fmla="*/ 518731 w 518731"/>
                      <a:gd name="connsiteY0" fmla="*/ 259366 h 518731"/>
                      <a:gd name="connsiteX1" fmla="*/ 259366 w 518731"/>
                      <a:gd name="connsiteY1" fmla="*/ 518732 h 518731"/>
                      <a:gd name="connsiteX2" fmla="*/ 0 w 518731"/>
                      <a:gd name="connsiteY2" fmla="*/ 259366 h 518731"/>
                      <a:gd name="connsiteX3" fmla="*/ 259366 w 518731"/>
                      <a:gd name="connsiteY3" fmla="*/ 0 h 518731"/>
                      <a:gd name="connsiteX4" fmla="*/ 518731 w 518731"/>
                      <a:gd name="connsiteY4" fmla="*/ 259366 h 5187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8731" h="518731">
                        <a:moveTo>
                          <a:pt x="518731" y="259366"/>
                        </a:moveTo>
                        <a:cubicBezTo>
                          <a:pt x="518731" y="402610"/>
                          <a:pt x="402610" y="518732"/>
                          <a:pt x="259366" y="518732"/>
                        </a:cubicBezTo>
                        <a:cubicBezTo>
                          <a:pt x="116122" y="518732"/>
                          <a:pt x="0" y="402610"/>
                          <a:pt x="0" y="259366"/>
                        </a:cubicBezTo>
                        <a:cubicBezTo>
                          <a:pt x="0" y="116122"/>
                          <a:pt x="116122" y="0"/>
                          <a:pt x="259366" y="0"/>
                        </a:cubicBezTo>
                        <a:cubicBezTo>
                          <a:pt x="402610" y="0"/>
                          <a:pt x="518731" y="116122"/>
                          <a:pt x="518731" y="259366"/>
                        </a:cubicBezTo>
                        <a:close/>
                      </a:path>
                    </a:pathLst>
                  </a:custGeom>
                  <a:solidFill>
                    <a:srgbClr val="004F4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8" name="Freihandform: Form 107">
                    <a:extLst>
                      <a:ext uri="{FF2B5EF4-FFF2-40B4-BE49-F238E27FC236}">
                        <a16:creationId xmlns:a16="http://schemas.microsoft.com/office/drawing/2014/main" id="{157F548F-1305-C06E-5B7E-E9782B9E5D32}"/>
                      </a:ext>
                    </a:extLst>
                  </p:cNvPr>
                  <p:cNvSpPr/>
                  <p:nvPr/>
                </p:nvSpPr>
                <p:spPr>
                  <a:xfrm>
                    <a:off x="5919437" y="2908934"/>
                    <a:ext cx="808810" cy="1901431"/>
                  </a:xfrm>
                  <a:custGeom>
                    <a:avLst/>
                    <a:gdLst>
                      <a:gd name="connsiteX0" fmla="*/ 669798 w 808810"/>
                      <a:gd name="connsiteY0" fmla="*/ 0 h 1901431"/>
                      <a:gd name="connsiteX1" fmla="*/ 0 w 808810"/>
                      <a:gd name="connsiteY1" fmla="*/ 48197 h 1901431"/>
                      <a:gd name="connsiteX2" fmla="*/ 79248 w 808810"/>
                      <a:gd name="connsiteY2" fmla="*/ 986219 h 1901431"/>
                      <a:gd name="connsiteX3" fmla="*/ 239078 w 808810"/>
                      <a:gd name="connsiteY3" fmla="*/ 1844231 h 1901431"/>
                      <a:gd name="connsiteX4" fmla="*/ 750094 w 808810"/>
                      <a:gd name="connsiteY4" fmla="*/ 1836325 h 1901431"/>
                      <a:gd name="connsiteX5" fmla="*/ 669798 w 808810"/>
                      <a:gd name="connsiteY5" fmla="*/ 0 h 19014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08810" h="1901431">
                        <a:moveTo>
                          <a:pt x="669798" y="0"/>
                        </a:moveTo>
                        <a:cubicBezTo>
                          <a:pt x="660749" y="3048"/>
                          <a:pt x="0" y="48197"/>
                          <a:pt x="0" y="48197"/>
                        </a:cubicBezTo>
                        <a:cubicBezTo>
                          <a:pt x="0" y="48197"/>
                          <a:pt x="56293" y="822293"/>
                          <a:pt x="79248" y="986219"/>
                        </a:cubicBezTo>
                        <a:cubicBezTo>
                          <a:pt x="167069" y="1614202"/>
                          <a:pt x="239078" y="1844231"/>
                          <a:pt x="239078" y="1844231"/>
                        </a:cubicBezTo>
                        <a:cubicBezTo>
                          <a:pt x="403574" y="1921955"/>
                          <a:pt x="598265" y="1921574"/>
                          <a:pt x="750094" y="1836325"/>
                        </a:cubicBezTo>
                        <a:cubicBezTo>
                          <a:pt x="724948" y="1106329"/>
                          <a:pt x="942880" y="690658"/>
                          <a:pt x="669798" y="0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109" name="Grafik 23">
                    <a:extLst>
                      <a:ext uri="{FF2B5EF4-FFF2-40B4-BE49-F238E27FC236}">
                        <a16:creationId xmlns:a16="http://schemas.microsoft.com/office/drawing/2014/main" id="{0E057949-CED8-1618-C631-45152245DC3A}"/>
                      </a:ext>
                    </a:extLst>
                  </p:cNvPr>
                  <p:cNvGrpSpPr/>
                  <p:nvPr/>
                </p:nvGrpSpPr>
                <p:grpSpPr>
                  <a:xfrm>
                    <a:off x="5802540" y="5867238"/>
                    <a:ext cx="867562" cy="295551"/>
                    <a:chOff x="5802540" y="5867238"/>
                    <a:chExt cx="867562" cy="295551"/>
                  </a:xfrm>
                </p:grpSpPr>
                <p:sp>
                  <p:nvSpPr>
                    <p:cNvPr id="125" name="Freihandform: Form 124">
                      <a:extLst>
                        <a:ext uri="{FF2B5EF4-FFF2-40B4-BE49-F238E27FC236}">
                          <a16:creationId xmlns:a16="http://schemas.microsoft.com/office/drawing/2014/main" id="{0A5859A6-8621-345F-8E7E-E24F0450526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04134" y="5867238"/>
                      <a:ext cx="865764" cy="289407"/>
                    </a:xfrm>
                    <a:custGeom>
                      <a:avLst/>
                      <a:gdLst>
                        <a:gd name="connsiteX0" fmla="*/ 804913 w 865764"/>
                        <a:gd name="connsiteY0" fmla="*/ 28546 h 289407"/>
                        <a:gd name="connsiteX1" fmla="*/ 865683 w 865764"/>
                        <a:gd name="connsiteY1" fmla="*/ 170088 h 289407"/>
                        <a:gd name="connsiteX2" fmla="*/ 860063 w 865764"/>
                        <a:gd name="connsiteY2" fmla="*/ 253908 h 289407"/>
                        <a:gd name="connsiteX3" fmla="*/ 835393 w 865764"/>
                        <a:gd name="connsiteY3" fmla="*/ 276863 h 289407"/>
                        <a:gd name="connsiteX4" fmla="*/ 54629 w 865764"/>
                        <a:gd name="connsiteY4" fmla="*/ 249717 h 289407"/>
                        <a:gd name="connsiteX5" fmla="*/ 41866 w 865764"/>
                        <a:gd name="connsiteY5" fmla="*/ 132750 h 289407"/>
                        <a:gd name="connsiteX6" fmla="*/ 331140 w 865764"/>
                        <a:gd name="connsiteY6" fmla="*/ 83696 h 289407"/>
                        <a:gd name="connsiteX7" fmla="*/ 535927 w 865764"/>
                        <a:gd name="connsiteY7" fmla="*/ 829 h 289407"/>
                        <a:gd name="connsiteX8" fmla="*/ 592696 w 865764"/>
                        <a:gd name="connsiteY8" fmla="*/ 56931 h 289407"/>
                        <a:gd name="connsiteX9" fmla="*/ 725570 w 865764"/>
                        <a:gd name="connsiteY9" fmla="*/ 56931 h 289407"/>
                        <a:gd name="connsiteX10" fmla="*/ 805009 w 865764"/>
                        <a:gd name="connsiteY10" fmla="*/ 28546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804913" y="28546"/>
                          </a:moveTo>
                          <a:cubicBezTo>
                            <a:pt x="804913" y="28546"/>
                            <a:pt x="868350" y="92078"/>
                            <a:pt x="865683" y="170088"/>
                          </a:cubicBezTo>
                          <a:cubicBezTo>
                            <a:pt x="864254" y="210474"/>
                            <a:pt x="861968" y="237335"/>
                            <a:pt x="860063" y="253908"/>
                          </a:cubicBezTo>
                          <a:cubicBezTo>
                            <a:pt x="858634" y="266576"/>
                            <a:pt x="848157" y="276292"/>
                            <a:pt x="835393" y="276863"/>
                          </a:cubicBezTo>
                          <a:cubicBezTo>
                            <a:pt x="726808" y="281626"/>
                            <a:pt x="175025" y="314487"/>
                            <a:pt x="54629" y="249717"/>
                          </a:cubicBezTo>
                          <a:cubicBezTo>
                            <a:pt x="-60338" y="187900"/>
                            <a:pt x="41866" y="132750"/>
                            <a:pt x="41866" y="132750"/>
                          </a:cubicBezTo>
                          <a:cubicBezTo>
                            <a:pt x="41866" y="132750"/>
                            <a:pt x="216840" y="152753"/>
                            <a:pt x="331140" y="83696"/>
                          </a:cubicBezTo>
                          <a:cubicBezTo>
                            <a:pt x="432867" y="22260"/>
                            <a:pt x="517735" y="-5267"/>
                            <a:pt x="535927" y="829"/>
                          </a:cubicBezTo>
                          <a:cubicBezTo>
                            <a:pt x="554120" y="6925"/>
                            <a:pt x="560502" y="35500"/>
                            <a:pt x="592696" y="56931"/>
                          </a:cubicBezTo>
                          <a:cubicBezTo>
                            <a:pt x="624986" y="78457"/>
                            <a:pt x="663753" y="78457"/>
                            <a:pt x="725570" y="56931"/>
                          </a:cubicBezTo>
                          <a:cubicBezTo>
                            <a:pt x="787387" y="35405"/>
                            <a:pt x="786149" y="20450"/>
                            <a:pt x="805009" y="28546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6" name="Freihandform: Form 125">
                      <a:extLst>
                        <a:ext uri="{FF2B5EF4-FFF2-40B4-BE49-F238E27FC236}">
                          <a16:creationId xmlns:a16="http://schemas.microsoft.com/office/drawing/2014/main" id="{E7D9CB5E-66B1-CF22-2EBC-3D1228C3056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02540" y="6009608"/>
                      <a:ext cx="867562" cy="153181"/>
                    </a:xfrm>
                    <a:custGeom>
                      <a:avLst/>
                      <a:gdLst>
                        <a:gd name="connsiteX0" fmla="*/ 837463 w 867562"/>
                        <a:gd name="connsiteY0" fmla="*/ 153162 h 153181"/>
                        <a:gd name="connsiteX1" fmla="*/ 174904 w 867562"/>
                        <a:gd name="connsiteY1" fmla="*/ 152781 h 153181"/>
                        <a:gd name="connsiteX2" fmla="*/ 55746 w 867562"/>
                        <a:gd name="connsiteY2" fmla="*/ 116396 h 153181"/>
                        <a:gd name="connsiteX3" fmla="*/ 28600 w 867562"/>
                        <a:gd name="connsiteY3" fmla="*/ 0 h 153181"/>
                        <a:gd name="connsiteX4" fmla="*/ 68701 w 867562"/>
                        <a:gd name="connsiteY4" fmla="*/ 42291 h 153181"/>
                        <a:gd name="connsiteX5" fmla="*/ 867562 w 867562"/>
                        <a:gd name="connsiteY5" fmla="*/ 51245 h 153181"/>
                        <a:gd name="connsiteX6" fmla="*/ 862324 w 867562"/>
                        <a:gd name="connsiteY6" fmla="*/ 130016 h 153181"/>
                        <a:gd name="connsiteX7" fmla="*/ 837559 w 867562"/>
                        <a:gd name="connsiteY7" fmla="*/ 153162 h 1531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1">
                          <a:moveTo>
                            <a:pt x="837463" y="153162"/>
                          </a:moveTo>
                          <a:cubicBezTo>
                            <a:pt x="834987" y="153258"/>
                            <a:pt x="177000" y="152971"/>
                            <a:pt x="174904" y="152781"/>
                          </a:cubicBezTo>
                          <a:cubicBezTo>
                            <a:pt x="116326" y="147066"/>
                            <a:pt x="79750" y="129350"/>
                            <a:pt x="55746" y="116396"/>
                          </a:cubicBezTo>
                          <a:cubicBezTo>
                            <a:pt x="-30359" y="70104"/>
                            <a:pt x="2311" y="15907"/>
                            <a:pt x="28600" y="0"/>
                          </a:cubicBezTo>
                          <a:cubicBezTo>
                            <a:pt x="37173" y="9430"/>
                            <a:pt x="50031" y="32290"/>
                            <a:pt x="68701" y="42291"/>
                          </a:cubicBezTo>
                          <a:cubicBezTo>
                            <a:pt x="195859" y="110680"/>
                            <a:pt x="799173" y="56483"/>
                            <a:pt x="867562" y="51245"/>
                          </a:cubicBezTo>
                          <a:cubicBezTo>
                            <a:pt x="866134" y="85630"/>
                            <a:pt x="864133" y="114871"/>
                            <a:pt x="862324" y="130016"/>
                          </a:cubicBezTo>
                          <a:cubicBezTo>
                            <a:pt x="860895" y="142780"/>
                            <a:pt x="850417" y="152591"/>
                            <a:pt x="837559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110" name="Freihandform: Form 109">
                    <a:extLst>
                      <a:ext uri="{FF2B5EF4-FFF2-40B4-BE49-F238E27FC236}">
                        <a16:creationId xmlns:a16="http://schemas.microsoft.com/office/drawing/2014/main" id="{75AC20F1-3680-59A6-8A30-160BFDFCD3C3}"/>
                      </a:ext>
                    </a:extLst>
                  </p:cNvPr>
                  <p:cNvSpPr/>
                  <p:nvPr/>
                </p:nvSpPr>
                <p:spPr>
                  <a:xfrm>
                    <a:off x="6158610" y="4661673"/>
                    <a:ext cx="568148" cy="1321932"/>
                  </a:xfrm>
                  <a:custGeom>
                    <a:avLst/>
                    <a:gdLst>
                      <a:gd name="connsiteX0" fmla="*/ 503015 w 568148"/>
                      <a:gd name="connsiteY0" fmla="*/ 1321932 h 1321932"/>
                      <a:gd name="connsiteX1" fmla="*/ 12763 w 568148"/>
                      <a:gd name="connsiteY1" fmla="*/ 1268402 h 1321932"/>
                      <a:gd name="connsiteX2" fmla="*/ 0 w 568148"/>
                      <a:gd name="connsiteY2" fmla="*/ 91492 h 1321932"/>
                      <a:gd name="connsiteX3" fmla="*/ 510254 w 568148"/>
                      <a:gd name="connsiteY3" fmla="*/ 73109 h 1321932"/>
                      <a:gd name="connsiteX4" fmla="*/ 566547 w 568148"/>
                      <a:gd name="connsiteY4" fmla="*/ 1067710 h 1321932"/>
                      <a:gd name="connsiteX5" fmla="*/ 503015 w 568148"/>
                      <a:gd name="connsiteY5" fmla="*/ 1321932 h 13219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68148" h="1321932">
                        <a:moveTo>
                          <a:pt x="503015" y="1321932"/>
                        </a:moveTo>
                        <a:lnTo>
                          <a:pt x="12763" y="1268402"/>
                        </a:lnTo>
                        <a:cubicBezTo>
                          <a:pt x="13526" y="1249828"/>
                          <a:pt x="0" y="91492"/>
                          <a:pt x="0" y="91492"/>
                        </a:cubicBezTo>
                        <a:cubicBezTo>
                          <a:pt x="157544" y="-14616"/>
                          <a:pt x="351473" y="-38238"/>
                          <a:pt x="510254" y="73109"/>
                        </a:cubicBezTo>
                        <a:cubicBezTo>
                          <a:pt x="589884" y="435059"/>
                          <a:pt x="554641" y="888164"/>
                          <a:pt x="566547" y="1067710"/>
                        </a:cubicBezTo>
                        <a:cubicBezTo>
                          <a:pt x="573596" y="1174295"/>
                          <a:pt x="558260" y="1277069"/>
                          <a:pt x="503015" y="1321932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1" name="Freihandform: Form 110">
                    <a:extLst>
                      <a:ext uri="{FF2B5EF4-FFF2-40B4-BE49-F238E27FC236}">
                        <a16:creationId xmlns:a16="http://schemas.microsoft.com/office/drawing/2014/main" id="{0ED0BF8C-734C-1C10-5335-348D2EC132E2}"/>
                      </a:ext>
                    </a:extLst>
                  </p:cNvPr>
                  <p:cNvSpPr/>
                  <p:nvPr/>
                </p:nvSpPr>
                <p:spPr>
                  <a:xfrm>
                    <a:off x="5826187" y="1414081"/>
                    <a:ext cx="1017222" cy="2754820"/>
                  </a:xfrm>
                  <a:custGeom>
                    <a:avLst/>
                    <a:gdLst>
                      <a:gd name="connsiteX0" fmla="*/ 970979 w 1017222"/>
                      <a:gd name="connsiteY0" fmla="*/ 2051971 h 2754820"/>
                      <a:gd name="connsiteX1" fmla="*/ 920591 w 1017222"/>
                      <a:gd name="connsiteY1" fmla="*/ 1125093 h 2754820"/>
                      <a:gd name="connsiteX2" fmla="*/ 1016603 w 1017222"/>
                      <a:gd name="connsiteY2" fmla="*/ 413575 h 2754820"/>
                      <a:gd name="connsiteX3" fmla="*/ 730663 w 1017222"/>
                      <a:gd name="connsiteY3" fmla="*/ 0 h 2754820"/>
                      <a:gd name="connsiteX4" fmla="*/ 304990 w 1017222"/>
                      <a:gd name="connsiteY4" fmla="*/ 152210 h 2754820"/>
                      <a:gd name="connsiteX5" fmla="*/ 89821 w 1017222"/>
                      <a:gd name="connsiteY5" fmla="*/ 676370 h 2754820"/>
                      <a:gd name="connsiteX6" fmla="*/ 47149 w 1017222"/>
                      <a:gd name="connsiteY6" fmla="*/ 1569911 h 2754820"/>
                      <a:gd name="connsiteX7" fmla="*/ 0 w 1017222"/>
                      <a:gd name="connsiteY7" fmla="*/ 2754821 h 2754820"/>
                      <a:gd name="connsiteX8" fmla="*/ 971931 w 1017222"/>
                      <a:gd name="connsiteY8" fmla="*/ 2754821 h 2754820"/>
                      <a:gd name="connsiteX9" fmla="*/ 971074 w 1017222"/>
                      <a:gd name="connsiteY9" fmla="*/ 2051971 h 27548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17222" h="2754820">
                        <a:moveTo>
                          <a:pt x="970979" y="2051971"/>
                        </a:moveTo>
                        <a:cubicBezTo>
                          <a:pt x="955738" y="1788604"/>
                          <a:pt x="920591" y="1125093"/>
                          <a:pt x="920591" y="1125093"/>
                        </a:cubicBezTo>
                        <a:cubicBezTo>
                          <a:pt x="920591" y="1125093"/>
                          <a:pt x="1026224" y="587693"/>
                          <a:pt x="1016603" y="413575"/>
                        </a:cubicBezTo>
                        <a:cubicBezTo>
                          <a:pt x="1004792" y="198882"/>
                          <a:pt x="730663" y="0"/>
                          <a:pt x="730663" y="0"/>
                        </a:cubicBezTo>
                        <a:lnTo>
                          <a:pt x="304990" y="152210"/>
                        </a:lnTo>
                        <a:cubicBezTo>
                          <a:pt x="304990" y="152210"/>
                          <a:pt x="117920" y="422339"/>
                          <a:pt x="89821" y="676370"/>
                        </a:cubicBezTo>
                        <a:cubicBezTo>
                          <a:pt x="79438" y="770477"/>
                          <a:pt x="47149" y="1569911"/>
                          <a:pt x="47149" y="1569911"/>
                        </a:cubicBezTo>
                        <a:lnTo>
                          <a:pt x="0" y="2754821"/>
                        </a:lnTo>
                        <a:lnTo>
                          <a:pt x="971931" y="2754821"/>
                        </a:lnTo>
                        <a:cubicBezTo>
                          <a:pt x="974979" y="2647188"/>
                          <a:pt x="983933" y="2275332"/>
                          <a:pt x="971074" y="205197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2" name="Freihandform: Form 111">
                    <a:extLst>
                      <a:ext uri="{FF2B5EF4-FFF2-40B4-BE49-F238E27FC236}">
                        <a16:creationId xmlns:a16="http://schemas.microsoft.com/office/drawing/2014/main" id="{D1A8B36A-7CC9-2290-D2E7-C4FC7B9517C0}"/>
                      </a:ext>
                    </a:extLst>
                  </p:cNvPr>
                  <p:cNvSpPr/>
                  <p:nvPr/>
                </p:nvSpPr>
                <p:spPr>
                  <a:xfrm>
                    <a:off x="6305112" y="1691910"/>
                    <a:ext cx="526126" cy="1486891"/>
                  </a:xfrm>
                  <a:custGeom>
                    <a:avLst/>
                    <a:gdLst>
                      <a:gd name="connsiteX0" fmla="*/ 19614 w 526126"/>
                      <a:gd name="connsiteY0" fmla="*/ 1445148 h 1486891"/>
                      <a:gd name="connsiteX1" fmla="*/ 137248 w 526126"/>
                      <a:gd name="connsiteY1" fmla="*/ 933084 h 1486891"/>
                      <a:gd name="connsiteX2" fmla="*/ 138772 w 526126"/>
                      <a:gd name="connsiteY2" fmla="*/ 280431 h 1486891"/>
                      <a:gd name="connsiteX3" fmla="*/ 303745 w 526126"/>
                      <a:gd name="connsiteY3" fmla="*/ 2301 h 1486891"/>
                      <a:gd name="connsiteX4" fmla="*/ 495483 w 526126"/>
                      <a:gd name="connsiteY4" fmla="*/ 907081 h 1486891"/>
                      <a:gd name="connsiteX5" fmla="*/ 19709 w 526126"/>
                      <a:gd name="connsiteY5" fmla="*/ 1445148 h 14868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26126" h="1486891">
                        <a:moveTo>
                          <a:pt x="19614" y="1445148"/>
                        </a:moveTo>
                        <a:cubicBezTo>
                          <a:pt x="-18676" y="1405715"/>
                          <a:pt x="-11342" y="1230740"/>
                          <a:pt x="137248" y="933084"/>
                        </a:cubicBezTo>
                        <a:cubicBezTo>
                          <a:pt x="221640" y="764015"/>
                          <a:pt x="80479" y="592661"/>
                          <a:pt x="138772" y="280431"/>
                        </a:cubicBezTo>
                        <a:cubicBezTo>
                          <a:pt x="187921" y="17160"/>
                          <a:pt x="303745" y="2301"/>
                          <a:pt x="303745" y="2301"/>
                        </a:cubicBezTo>
                        <a:cubicBezTo>
                          <a:pt x="587971" y="-37609"/>
                          <a:pt x="532726" y="448738"/>
                          <a:pt x="495483" y="907081"/>
                        </a:cubicBezTo>
                        <a:cubicBezTo>
                          <a:pt x="458622" y="1164161"/>
                          <a:pt x="197446" y="1628409"/>
                          <a:pt x="19709" y="1445148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3" name="Freihandform: Form 112">
                    <a:extLst>
                      <a:ext uri="{FF2B5EF4-FFF2-40B4-BE49-F238E27FC236}">
                        <a16:creationId xmlns:a16="http://schemas.microsoft.com/office/drawing/2014/main" id="{C028D161-471C-9E53-4680-E763CF79A306}"/>
                      </a:ext>
                    </a:extLst>
                  </p:cNvPr>
                  <p:cNvSpPr/>
                  <p:nvPr/>
                </p:nvSpPr>
                <p:spPr>
                  <a:xfrm>
                    <a:off x="5978873" y="3209639"/>
                    <a:ext cx="629697" cy="576707"/>
                  </a:xfrm>
                  <a:custGeom>
                    <a:avLst/>
                    <a:gdLst>
                      <a:gd name="connsiteX0" fmla="*/ 95 w 629697"/>
                      <a:gd name="connsiteY0" fmla="*/ 504635 h 576707"/>
                      <a:gd name="connsiteX1" fmla="*/ 629698 w 629697"/>
                      <a:gd name="connsiteY1" fmla="*/ 546068 h 576707"/>
                      <a:gd name="connsiteX2" fmla="*/ 581787 w 629697"/>
                      <a:gd name="connsiteY2" fmla="*/ 0 h 576707"/>
                      <a:gd name="connsiteX3" fmla="*/ 176784 w 629697"/>
                      <a:gd name="connsiteY3" fmla="*/ 3143 h 576707"/>
                      <a:gd name="connsiteX4" fmla="*/ 0 w 629697"/>
                      <a:gd name="connsiteY4" fmla="*/ 504635 h 5767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29697" h="576707">
                        <a:moveTo>
                          <a:pt x="95" y="504635"/>
                        </a:moveTo>
                        <a:cubicBezTo>
                          <a:pt x="33719" y="584645"/>
                          <a:pt x="487013" y="597408"/>
                          <a:pt x="629698" y="546068"/>
                        </a:cubicBezTo>
                        <a:lnTo>
                          <a:pt x="581787" y="0"/>
                        </a:lnTo>
                        <a:lnTo>
                          <a:pt x="176784" y="3143"/>
                        </a:lnTo>
                        <a:lnTo>
                          <a:pt x="0" y="504635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4" name="Freihandform: Form 113">
                    <a:extLst>
                      <a:ext uri="{FF2B5EF4-FFF2-40B4-BE49-F238E27FC236}">
                        <a16:creationId xmlns:a16="http://schemas.microsoft.com/office/drawing/2014/main" id="{A2BC78E2-C850-5552-947B-1FDB432A72C3}"/>
                      </a:ext>
                    </a:extLst>
                  </p:cNvPr>
                  <p:cNvSpPr/>
                  <p:nvPr/>
                </p:nvSpPr>
                <p:spPr>
                  <a:xfrm>
                    <a:off x="6099654" y="1283398"/>
                    <a:ext cx="466244" cy="530066"/>
                  </a:xfrm>
                  <a:custGeom>
                    <a:avLst/>
                    <a:gdLst>
                      <a:gd name="connsiteX0" fmla="*/ 466245 w 466244"/>
                      <a:gd name="connsiteY0" fmla="*/ 179546 h 530066"/>
                      <a:gd name="connsiteX1" fmla="*/ 449481 w 466244"/>
                      <a:gd name="connsiteY1" fmla="*/ 0 h 530066"/>
                      <a:gd name="connsiteX2" fmla="*/ 5711 w 466244"/>
                      <a:gd name="connsiteY2" fmla="*/ 288417 h 530066"/>
                      <a:gd name="connsiteX3" fmla="*/ 38096 w 466244"/>
                      <a:gd name="connsiteY3" fmla="*/ 530066 h 530066"/>
                      <a:gd name="connsiteX4" fmla="*/ 466245 w 466244"/>
                      <a:gd name="connsiteY4" fmla="*/ 179546 h 5300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66244" h="530066">
                        <a:moveTo>
                          <a:pt x="466245" y="179546"/>
                        </a:moveTo>
                        <a:lnTo>
                          <a:pt x="449481" y="0"/>
                        </a:lnTo>
                        <a:cubicBezTo>
                          <a:pt x="449481" y="0"/>
                          <a:pt x="94579" y="177165"/>
                          <a:pt x="5711" y="288417"/>
                        </a:cubicBezTo>
                        <a:cubicBezTo>
                          <a:pt x="-17625" y="317659"/>
                          <a:pt x="38096" y="530066"/>
                          <a:pt x="38096" y="530066"/>
                        </a:cubicBezTo>
                        <a:lnTo>
                          <a:pt x="466245" y="17954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5" name="Freihandform: Form 114">
                    <a:extLst>
                      <a:ext uri="{FF2B5EF4-FFF2-40B4-BE49-F238E27FC236}">
                        <a16:creationId xmlns:a16="http://schemas.microsoft.com/office/drawing/2014/main" id="{0C55BE6D-3F34-83D3-923B-6F8C18D00111}"/>
                      </a:ext>
                    </a:extLst>
                  </p:cNvPr>
                  <p:cNvSpPr/>
                  <p:nvPr/>
                </p:nvSpPr>
                <p:spPr>
                  <a:xfrm>
                    <a:off x="6263099" y="2990564"/>
                    <a:ext cx="335184" cy="292893"/>
                  </a:xfrm>
                  <a:custGeom>
                    <a:avLst/>
                    <a:gdLst>
                      <a:gd name="connsiteX0" fmla="*/ 145447 w 335184"/>
                      <a:gd name="connsiteY0" fmla="*/ 0 h 292893"/>
                      <a:gd name="connsiteX1" fmla="*/ 0 w 335184"/>
                      <a:gd name="connsiteY1" fmla="*/ 284131 h 292893"/>
                      <a:gd name="connsiteX2" fmla="*/ 207169 w 335184"/>
                      <a:gd name="connsiteY2" fmla="*/ 292894 h 292893"/>
                      <a:gd name="connsiteX3" fmla="*/ 335185 w 335184"/>
                      <a:gd name="connsiteY3" fmla="*/ 101537 h 292893"/>
                      <a:gd name="connsiteX4" fmla="*/ 145447 w 335184"/>
                      <a:gd name="connsiteY4" fmla="*/ 0 h 2928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35184" h="292893">
                        <a:moveTo>
                          <a:pt x="145447" y="0"/>
                        </a:moveTo>
                        <a:lnTo>
                          <a:pt x="0" y="284131"/>
                        </a:lnTo>
                        <a:lnTo>
                          <a:pt x="207169" y="292894"/>
                        </a:lnTo>
                        <a:lnTo>
                          <a:pt x="335185" y="101537"/>
                        </a:lnTo>
                        <a:lnTo>
                          <a:pt x="145447" y="0"/>
                        </a:ln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116" name="Grafik 23">
                    <a:extLst>
                      <a:ext uri="{FF2B5EF4-FFF2-40B4-BE49-F238E27FC236}">
                        <a16:creationId xmlns:a16="http://schemas.microsoft.com/office/drawing/2014/main" id="{00595BDD-1975-3F4D-18B7-8449E323757C}"/>
                      </a:ext>
                    </a:extLst>
                  </p:cNvPr>
                  <p:cNvGrpSpPr/>
                  <p:nvPr/>
                </p:nvGrpSpPr>
                <p:grpSpPr>
                  <a:xfrm>
                    <a:off x="6324726" y="1764506"/>
                    <a:ext cx="607980" cy="1445133"/>
                    <a:chOff x="6324726" y="1764506"/>
                    <a:chExt cx="607980" cy="1445133"/>
                  </a:xfrm>
                  <a:solidFill>
                    <a:srgbClr val="FFFFFF"/>
                  </a:solidFill>
                </p:grpSpPr>
                <p:sp>
                  <p:nvSpPr>
                    <p:cNvPr id="122" name="Freihandform: Form 121">
                      <a:extLst>
                        <a:ext uri="{FF2B5EF4-FFF2-40B4-BE49-F238E27FC236}">
                          <a16:creationId xmlns:a16="http://schemas.microsoft.com/office/drawing/2014/main" id="{0E1BDE32-32C8-ECF7-24D7-5110679F1C9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0361" y="1764506"/>
                      <a:ext cx="482346" cy="878681"/>
                    </a:xfrm>
                    <a:custGeom>
                      <a:avLst/>
                      <a:gdLst>
                        <a:gd name="connsiteX0" fmla="*/ 383667 w 482346"/>
                        <a:gd name="connsiteY0" fmla="*/ 0 h 878681"/>
                        <a:gd name="connsiteX1" fmla="*/ 482346 w 482346"/>
                        <a:gd name="connsiteY1" fmla="*/ 839438 h 878681"/>
                        <a:gd name="connsiteX2" fmla="*/ 141256 w 482346"/>
                        <a:gd name="connsiteY2" fmla="*/ 878681 h 878681"/>
                        <a:gd name="connsiteX3" fmla="*/ 0 w 482346"/>
                        <a:gd name="connsiteY3" fmla="*/ 85725 h 878681"/>
                        <a:gd name="connsiteX4" fmla="*/ 383667 w 482346"/>
                        <a:gd name="connsiteY4" fmla="*/ 0 h 8786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82346" h="878681">
                          <a:moveTo>
                            <a:pt x="383667" y="0"/>
                          </a:moveTo>
                          <a:cubicBezTo>
                            <a:pt x="451485" y="213170"/>
                            <a:pt x="482346" y="839438"/>
                            <a:pt x="482346" y="839438"/>
                          </a:cubicBezTo>
                          <a:lnTo>
                            <a:pt x="141256" y="878681"/>
                          </a:lnTo>
                          <a:cubicBezTo>
                            <a:pt x="29909" y="639128"/>
                            <a:pt x="0" y="85725"/>
                            <a:pt x="0" y="85725"/>
                          </a:cubicBezTo>
                          <a:lnTo>
                            <a:pt x="383667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3" name="Freihandform: Form 122">
                      <a:extLst>
                        <a:ext uri="{FF2B5EF4-FFF2-40B4-BE49-F238E27FC236}">
                          <a16:creationId xmlns:a16="http://schemas.microsoft.com/office/drawing/2014/main" id="{512AD9F5-EE7D-FCD3-5EEF-4D893CFAE80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87140" y="2431161"/>
                      <a:ext cx="345566" cy="345566"/>
                    </a:xfrm>
                    <a:custGeom>
                      <a:avLst/>
                      <a:gdLst>
                        <a:gd name="connsiteX0" fmla="*/ 345567 w 345566"/>
                        <a:gd name="connsiteY0" fmla="*/ 172784 h 345566"/>
                        <a:gd name="connsiteX1" fmla="*/ 172783 w 345566"/>
                        <a:gd name="connsiteY1" fmla="*/ 345567 h 345566"/>
                        <a:gd name="connsiteX2" fmla="*/ 0 w 345566"/>
                        <a:gd name="connsiteY2" fmla="*/ 172784 h 345566"/>
                        <a:gd name="connsiteX3" fmla="*/ 172783 w 345566"/>
                        <a:gd name="connsiteY3" fmla="*/ 0 h 345566"/>
                        <a:gd name="connsiteX4" fmla="*/ 345567 w 345566"/>
                        <a:gd name="connsiteY4" fmla="*/ 172784 h 34556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45566" h="345566">
                          <a:moveTo>
                            <a:pt x="345567" y="172784"/>
                          </a:moveTo>
                          <a:cubicBezTo>
                            <a:pt x="345567" y="268209"/>
                            <a:pt x="268209" y="345567"/>
                            <a:pt x="172783" y="345567"/>
                          </a:cubicBezTo>
                          <a:cubicBezTo>
                            <a:pt x="77358" y="345567"/>
                            <a:pt x="0" y="268209"/>
                            <a:pt x="0" y="172784"/>
                          </a:cubicBezTo>
                          <a:cubicBezTo>
                            <a:pt x="0" y="77358"/>
                            <a:pt x="77358" y="0"/>
                            <a:pt x="172783" y="0"/>
                          </a:cubicBezTo>
                          <a:cubicBezTo>
                            <a:pt x="268209" y="0"/>
                            <a:pt x="345567" y="77358"/>
                            <a:pt x="345567" y="172784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4" name="Freihandform: Form 123">
                      <a:extLst>
                        <a:ext uri="{FF2B5EF4-FFF2-40B4-BE49-F238E27FC236}">
                          <a16:creationId xmlns:a16="http://schemas.microsoft.com/office/drawing/2014/main" id="{2295E7A4-889E-3C06-939D-65BCC3A5709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24726" y="2522886"/>
                      <a:ext cx="580739" cy="686752"/>
                    </a:xfrm>
                    <a:custGeom>
                      <a:avLst/>
                      <a:gdLst>
                        <a:gd name="connsiteX0" fmla="*/ 580740 w 580739"/>
                        <a:gd name="connsiteY0" fmla="*/ 174308 h 686752"/>
                        <a:gd name="connsiteX1" fmla="*/ 249269 w 580739"/>
                        <a:gd name="connsiteY1" fmla="*/ 686753 h 686752"/>
                        <a:gd name="connsiteX2" fmla="*/ 0 w 580739"/>
                        <a:gd name="connsiteY2" fmla="*/ 520637 h 686752"/>
                        <a:gd name="connsiteX3" fmla="*/ 282607 w 580739"/>
                        <a:gd name="connsiteY3" fmla="*/ 0 h 686752"/>
                        <a:gd name="connsiteX4" fmla="*/ 580740 w 580739"/>
                        <a:gd name="connsiteY4" fmla="*/ 174308 h 6867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80739" h="686752">
                          <a:moveTo>
                            <a:pt x="580740" y="174308"/>
                          </a:moveTo>
                          <a:lnTo>
                            <a:pt x="249269" y="686753"/>
                          </a:lnTo>
                          <a:lnTo>
                            <a:pt x="0" y="520637"/>
                          </a:lnTo>
                          <a:lnTo>
                            <a:pt x="282607" y="0"/>
                          </a:lnTo>
                          <a:lnTo>
                            <a:pt x="580740" y="174308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117" name="Freihandform: Form 116">
                    <a:extLst>
                      <a:ext uri="{FF2B5EF4-FFF2-40B4-BE49-F238E27FC236}">
                        <a16:creationId xmlns:a16="http://schemas.microsoft.com/office/drawing/2014/main" id="{88DE84DD-0538-1A05-4F21-33FB559D9051}"/>
                      </a:ext>
                    </a:extLst>
                  </p:cNvPr>
                  <p:cNvSpPr/>
                  <p:nvPr/>
                </p:nvSpPr>
                <p:spPr>
                  <a:xfrm>
                    <a:off x="6006686" y="2053970"/>
                    <a:ext cx="262032" cy="259856"/>
                  </a:xfrm>
                  <a:custGeom>
                    <a:avLst/>
                    <a:gdLst>
                      <a:gd name="connsiteX0" fmla="*/ 0 w 262032"/>
                      <a:gd name="connsiteY0" fmla="*/ 225266 h 259856"/>
                      <a:gd name="connsiteX1" fmla="*/ 262033 w 262032"/>
                      <a:gd name="connsiteY1" fmla="*/ 252032 h 259856"/>
                      <a:gd name="connsiteX2" fmla="*/ 236887 w 262032"/>
                      <a:gd name="connsiteY2" fmla="*/ 0 h 259856"/>
                      <a:gd name="connsiteX3" fmla="*/ 56483 w 262032"/>
                      <a:gd name="connsiteY3" fmla="*/ 1429 h 259856"/>
                      <a:gd name="connsiteX4" fmla="*/ 0 w 262032"/>
                      <a:gd name="connsiteY4" fmla="*/ 225266 h 2598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2032" h="259856">
                        <a:moveTo>
                          <a:pt x="0" y="225266"/>
                        </a:moveTo>
                        <a:cubicBezTo>
                          <a:pt x="22574" y="242030"/>
                          <a:pt x="198501" y="274892"/>
                          <a:pt x="262033" y="252032"/>
                        </a:cubicBezTo>
                        <a:lnTo>
                          <a:pt x="236887" y="0"/>
                        </a:lnTo>
                        <a:lnTo>
                          <a:pt x="56483" y="1429"/>
                        </a:lnTo>
                        <a:lnTo>
                          <a:pt x="0" y="225266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8" name="Freihandform: Form 117">
                    <a:extLst>
                      <a:ext uri="{FF2B5EF4-FFF2-40B4-BE49-F238E27FC236}">
                        <a16:creationId xmlns:a16="http://schemas.microsoft.com/office/drawing/2014/main" id="{D87BD023-C6AD-61D0-6EE5-ACAC72DE2073}"/>
                      </a:ext>
                    </a:extLst>
                  </p:cNvPr>
                  <p:cNvSpPr/>
                  <p:nvPr/>
                </p:nvSpPr>
                <p:spPr>
                  <a:xfrm>
                    <a:off x="6006686" y="2053970"/>
                    <a:ext cx="230885" cy="229076"/>
                  </a:xfrm>
                  <a:custGeom>
                    <a:avLst/>
                    <a:gdLst>
                      <a:gd name="connsiteX0" fmla="*/ 4096 w 230885"/>
                      <a:gd name="connsiteY0" fmla="*/ 0 h 229076"/>
                      <a:gd name="connsiteX1" fmla="*/ 0 w 230885"/>
                      <a:gd name="connsiteY1" fmla="*/ 225266 h 229076"/>
                      <a:gd name="connsiteX2" fmla="*/ 230886 w 230885"/>
                      <a:gd name="connsiteY2" fmla="*/ 229076 h 229076"/>
                      <a:gd name="connsiteX3" fmla="*/ 230886 w 230885"/>
                      <a:gd name="connsiteY3" fmla="*/ 0 h 229076"/>
                      <a:gd name="connsiteX4" fmla="*/ 4096 w 230885"/>
                      <a:gd name="connsiteY4" fmla="*/ 0 h 2290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0885" h="229076">
                        <a:moveTo>
                          <a:pt x="4096" y="0"/>
                        </a:moveTo>
                        <a:lnTo>
                          <a:pt x="0" y="225266"/>
                        </a:lnTo>
                        <a:lnTo>
                          <a:pt x="230886" y="229076"/>
                        </a:lnTo>
                        <a:lnTo>
                          <a:pt x="230886" y="0"/>
                        </a:lnTo>
                        <a:lnTo>
                          <a:pt x="409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9" name="Freihandform: Form 118">
                    <a:extLst>
                      <a:ext uri="{FF2B5EF4-FFF2-40B4-BE49-F238E27FC236}">
                        <a16:creationId xmlns:a16="http://schemas.microsoft.com/office/drawing/2014/main" id="{4FC6297D-C91B-041E-410A-108C611C8440}"/>
                      </a:ext>
                    </a:extLst>
                  </p:cNvPr>
                  <p:cNvSpPr/>
                  <p:nvPr/>
                </p:nvSpPr>
                <p:spPr>
                  <a:xfrm>
                    <a:off x="5978969" y="3209639"/>
                    <a:ext cx="568261" cy="539262"/>
                  </a:xfrm>
                  <a:custGeom>
                    <a:avLst/>
                    <a:gdLst>
                      <a:gd name="connsiteX0" fmla="*/ 59055 w 568261"/>
                      <a:gd name="connsiteY0" fmla="*/ 0 h 539262"/>
                      <a:gd name="connsiteX1" fmla="*/ 0 w 568261"/>
                      <a:gd name="connsiteY1" fmla="*/ 504635 h 539262"/>
                      <a:gd name="connsiteX2" fmla="*/ 568262 w 568261"/>
                      <a:gd name="connsiteY2" fmla="*/ 514064 h 539262"/>
                      <a:gd name="connsiteX3" fmla="*/ 568262 w 568261"/>
                      <a:gd name="connsiteY3" fmla="*/ 0 h 539262"/>
                      <a:gd name="connsiteX4" fmla="*/ 59150 w 568261"/>
                      <a:gd name="connsiteY4" fmla="*/ 0 h 5392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68261" h="539262">
                        <a:moveTo>
                          <a:pt x="59055" y="0"/>
                        </a:moveTo>
                        <a:cubicBezTo>
                          <a:pt x="59055" y="37624"/>
                          <a:pt x="0" y="504635"/>
                          <a:pt x="0" y="504635"/>
                        </a:cubicBezTo>
                        <a:cubicBezTo>
                          <a:pt x="174403" y="550545"/>
                          <a:pt x="365855" y="547783"/>
                          <a:pt x="568262" y="514064"/>
                        </a:cubicBezTo>
                        <a:lnTo>
                          <a:pt x="568262" y="0"/>
                        </a:lnTo>
                        <a:cubicBezTo>
                          <a:pt x="568262" y="0"/>
                          <a:pt x="59150" y="0"/>
                          <a:pt x="59150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0" name="Freihandform: Form 119">
                    <a:extLst>
                      <a:ext uri="{FF2B5EF4-FFF2-40B4-BE49-F238E27FC236}">
                        <a16:creationId xmlns:a16="http://schemas.microsoft.com/office/drawing/2014/main" id="{AE98293F-4AD2-AAE1-8150-2BDE4A3D733D}"/>
                      </a:ext>
                    </a:extLst>
                  </p:cNvPr>
                  <p:cNvSpPr/>
                  <p:nvPr/>
                </p:nvSpPr>
                <p:spPr>
                  <a:xfrm>
                    <a:off x="6158610" y="4503134"/>
                    <a:ext cx="511301" cy="511301"/>
                  </a:xfrm>
                  <a:custGeom>
                    <a:avLst/>
                    <a:gdLst>
                      <a:gd name="connsiteX0" fmla="*/ 511302 w 511301"/>
                      <a:gd name="connsiteY0" fmla="*/ 255651 h 511301"/>
                      <a:gd name="connsiteX1" fmla="*/ 255651 w 511301"/>
                      <a:gd name="connsiteY1" fmla="*/ 511302 h 511301"/>
                      <a:gd name="connsiteX2" fmla="*/ 0 w 511301"/>
                      <a:gd name="connsiteY2" fmla="*/ 255651 h 511301"/>
                      <a:gd name="connsiteX3" fmla="*/ 255651 w 511301"/>
                      <a:gd name="connsiteY3" fmla="*/ 0 h 511301"/>
                      <a:gd name="connsiteX4" fmla="*/ 511302 w 511301"/>
                      <a:gd name="connsiteY4" fmla="*/ 255651 h 5113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1301" h="511301">
                        <a:moveTo>
                          <a:pt x="511302" y="255651"/>
                        </a:moveTo>
                        <a:cubicBezTo>
                          <a:pt x="511302" y="396843"/>
                          <a:pt x="396843" y="511302"/>
                          <a:pt x="255651" y="511302"/>
                        </a:cubicBezTo>
                        <a:cubicBezTo>
                          <a:pt x="114459" y="511302"/>
                          <a:pt x="0" y="396843"/>
                          <a:pt x="0" y="255651"/>
                        </a:cubicBezTo>
                        <a:cubicBezTo>
                          <a:pt x="0" y="114459"/>
                          <a:pt x="114459" y="0"/>
                          <a:pt x="255651" y="0"/>
                        </a:cubicBezTo>
                        <a:cubicBezTo>
                          <a:pt x="396843" y="0"/>
                          <a:pt x="511302" y="114459"/>
                          <a:pt x="511302" y="255651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1" name="Freihandform: Form 120">
                    <a:extLst>
                      <a:ext uri="{FF2B5EF4-FFF2-40B4-BE49-F238E27FC236}">
                        <a16:creationId xmlns:a16="http://schemas.microsoft.com/office/drawing/2014/main" id="{4BCFC097-5312-9169-037B-E312C105A51C}"/>
                      </a:ext>
                    </a:extLst>
                  </p:cNvPr>
                  <p:cNvSpPr/>
                  <p:nvPr/>
                </p:nvSpPr>
                <p:spPr>
                  <a:xfrm>
                    <a:off x="6449504" y="1634490"/>
                    <a:ext cx="396621" cy="396621"/>
                  </a:xfrm>
                  <a:custGeom>
                    <a:avLst/>
                    <a:gdLst>
                      <a:gd name="connsiteX0" fmla="*/ 396621 w 396621"/>
                      <a:gd name="connsiteY0" fmla="*/ 198310 h 396621"/>
                      <a:gd name="connsiteX1" fmla="*/ 198310 w 396621"/>
                      <a:gd name="connsiteY1" fmla="*/ 396621 h 396621"/>
                      <a:gd name="connsiteX2" fmla="*/ 0 w 396621"/>
                      <a:gd name="connsiteY2" fmla="*/ 198311 h 396621"/>
                      <a:gd name="connsiteX3" fmla="*/ 198310 w 396621"/>
                      <a:gd name="connsiteY3" fmla="*/ 0 h 396621"/>
                      <a:gd name="connsiteX4" fmla="*/ 396621 w 396621"/>
                      <a:gd name="connsiteY4" fmla="*/ 198310 h 3966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6621" h="396621">
                        <a:moveTo>
                          <a:pt x="396621" y="198310"/>
                        </a:moveTo>
                        <a:cubicBezTo>
                          <a:pt x="396621" y="307834"/>
                          <a:pt x="307834" y="396621"/>
                          <a:pt x="198310" y="396621"/>
                        </a:cubicBezTo>
                        <a:cubicBezTo>
                          <a:pt x="88786" y="396621"/>
                          <a:pt x="0" y="307834"/>
                          <a:pt x="0" y="198311"/>
                        </a:cubicBezTo>
                        <a:cubicBezTo>
                          <a:pt x="0" y="88787"/>
                          <a:pt x="88786" y="0"/>
                          <a:pt x="198310" y="0"/>
                        </a:cubicBezTo>
                        <a:cubicBezTo>
                          <a:pt x="307834" y="0"/>
                          <a:pt x="396621" y="88787"/>
                          <a:pt x="396621" y="19831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4" name="Grafik 23">
                  <a:extLst>
                    <a:ext uri="{FF2B5EF4-FFF2-40B4-BE49-F238E27FC236}">
                      <a16:creationId xmlns:a16="http://schemas.microsoft.com/office/drawing/2014/main" id="{55AC8E16-2A38-FE4E-AB5D-420B786027F3}"/>
                    </a:ext>
                  </a:extLst>
                </p:cNvPr>
                <p:cNvGrpSpPr/>
                <p:nvPr/>
              </p:nvGrpSpPr>
              <p:grpSpPr>
                <a:xfrm>
                  <a:off x="5884415" y="666564"/>
                  <a:ext cx="678757" cy="747232"/>
                  <a:chOff x="5884415" y="666564"/>
                  <a:chExt cx="678757" cy="747232"/>
                </a:xfrm>
              </p:grpSpPr>
              <p:grpSp>
                <p:nvGrpSpPr>
                  <p:cNvPr id="95" name="Grafik 23">
                    <a:extLst>
                      <a:ext uri="{FF2B5EF4-FFF2-40B4-BE49-F238E27FC236}">
                        <a16:creationId xmlns:a16="http://schemas.microsoft.com/office/drawing/2014/main" id="{6D607FBD-7737-1D68-E361-4C1E756DE7C9}"/>
                      </a:ext>
                    </a:extLst>
                  </p:cNvPr>
                  <p:cNvGrpSpPr/>
                  <p:nvPr/>
                </p:nvGrpSpPr>
                <p:grpSpPr>
                  <a:xfrm>
                    <a:off x="5890916" y="666564"/>
                    <a:ext cx="672255" cy="747232"/>
                    <a:chOff x="5890916" y="666564"/>
                    <a:chExt cx="672255" cy="747232"/>
                  </a:xfrm>
                </p:grpSpPr>
                <p:sp>
                  <p:nvSpPr>
                    <p:cNvPr id="98" name="Freihandform: Form 97">
                      <a:extLst>
                        <a:ext uri="{FF2B5EF4-FFF2-40B4-BE49-F238E27FC236}">
                          <a16:creationId xmlns:a16="http://schemas.microsoft.com/office/drawing/2014/main" id="{2DBB695C-4EEE-8863-EC45-4F48EDF325C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90916" y="928649"/>
                      <a:ext cx="397931" cy="485147"/>
                    </a:xfrm>
                    <a:custGeom>
                      <a:avLst/>
                      <a:gdLst>
                        <a:gd name="connsiteX0" fmla="*/ 391233 w 397931"/>
                        <a:gd name="connsiteY0" fmla="*/ 125006 h 485147"/>
                        <a:gd name="connsiteX1" fmla="*/ 110722 w 397931"/>
                        <a:gd name="connsiteY1" fmla="*/ 26041 h 485147"/>
                        <a:gd name="connsiteX2" fmla="*/ 63001 w 397931"/>
                        <a:gd name="connsiteY2" fmla="*/ 126339 h 485147"/>
                        <a:gd name="connsiteX3" fmla="*/ 2803 w 397931"/>
                        <a:gd name="connsiteY3" fmla="*/ 242639 h 485147"/>
                        <a:gd name="connsiteX4" fmla="*/ 53000 w 397931"/>
                        <a:gd name="connsiteY4" fmla="*/ 284359 h 485147"/>
                        <a:gd name="connsiteX5" fmla="*/ 63954 w 397931"/>
                        <a:gd name="connsiteY5" fmla="*/ 327888 h 485147"/>
                        <a:gd name="connsiteX6" fmla="*/ 84147 w 397931"/>
                        <a:gd name="connsiteY6" fmla="*/ 342557 h 485147"/>
                        <a:gd name="connsiteX7" fmla="*/ 84623 w 397931"/>
                        <a:gd name="connsiteY7" fmla="*/ 351986 h 485147"/>
                        <a:gd name="connsiteX8" fmla="*/ 81194 w 397931"/>
                        <a:gd name="connsiteY8" fmla="*/ 381323 h 485147"/>
                        <a:gd name="connsiteX9" fmla="*/ 93672 w 397931"/>
                        <a:gd name="connsiteY9" fmla="*/ 398564 h 485147"/>
                        <a:gd name="connsiteX10" fmla="*/ 100435 w 397931"/>
                        <a:gd name="connsiteY10" fmla="*/ 433235 h 485147"/>
                        <a:gd name="connsiteX11" fmla="*/ 150917 w 397931"/>
                        <a:gd name="connsiteY11" fmla="*/ 484955 h 485147"/>
                        <a:gd name="connsiteX12" fmla="*/ 297983 w 397931"/>
                        <a:gd name="connsiteY12" fmla="*/ 460571 h 485147"/>
                        <a:gd name="connsiteX13" fmla="*/ 395805 w 397931"/>
                        <a:gd name="connsiteY13" fmla="*/ 321602 h 485147"/>
                        <a:gd name="connsiteX14" fmla="*/ 391328 w 397931"/>
                        <a:gd name="connsiteY14" fmla="*/ 124815 h 48514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</a:cxnLst>
                      <a:rect l="l" t="t" r="r" b="b"/>
                      <a:pathLst>
                        <a:path w="397931" h="485147">
                          <a:moveTo>
                            <a:pt x="391233" y="125006"/>
                          </a:moveTo>
                          <a:cubicBezTo>
                            <a:pt x="328844" y="-46349"/>
                            <a:pt x="152251" y="-248"/>
                            <a:pt x="110722" y="26041"/>
                          </a:cubicBezTo>
                          <a:cubicBezTo>
                            <a:pt x="69193" y="52330"/>
                            <a:pt x="58143" y="85191"/>
                            <a:pt x="63001" y="126339"/>
                          </a:cubicBezTo>
                          <a:cubicBezTo>
                            <a:pt x="52333" y="145961"/>
                            <a:pt x="21853" y="195300"/>
                            <a:pt x="2803" y="242639"/>
                          </a:cubicBezTo>
                          <a:cubicBezTo>
                            <a:pt x="-10913" y="276644"/>
                            <a:pt x="28902" y="281406"/>
                            <a:pt x="53000" y="284359"/>
                          </a:cubicBezTo>
                          <a:cubicBezTo>
                            <a:pt x="74336" y="287026"/>
                            <a:pt x="58429" y="316268"/>
                            <a:pt x="63954" y="327888"/>
                          </a:cubicBezTo>
                          <a:cubicBezTo>
                            <a:pt x="68145" y="336556"/>
                            <a:pt x="75955" y="338842"/>
                            <a:pt x="84147" y="342557"/>
                          </a:cubicBezTo>
                          <a:cubicBezTo>
                            <a:pt x="84814" y="342842"/>
                            <a:pt x="85290" y="351701"/>
                            <a:pt x="84623" y="351986"/>
                          </a:cubicBezTo>
                          <a:cubicBezTo>
                            <a:pt x="67383" y="359892"/>
                            <a:pt x="68050" y="376751"/>
                            <a:pt x="81194" y="381323"/>
                          </a:cubicBezTo>
                          <a:cubicBezTo>
                            <a:pt x="91957" y="385133"/>
                            <a:pt x="93672" y="398564"/>
                            <a:pt x="93672" y="398564"/>
                          </a:cubicBezTo>
                          <a:cubicBezTo>
                            <a:pt x="93672" y="398564"/>
                            <a:pt x="98720" y="423900"/>
                            <a:pt x="100435" y="433235"/>
                          </a:cubicBezTo>
                          <a:cubicBezTo>
                            <a:pt x="110817" y="491147"/>
                            <a:pt x="150917" y="484955"/>
                            <a:pt x="150917" y="484955"/>
                          </a:cubicBezTo>
                          <a:cubicBezTo>
                            <a:pt x="150917" y="484955"/>
                            <a:pt x="245786" y="473240"/>
                            <a:pt x="297983" y="460571"/>
                          </a:cubicBezTo>
                          <a:cubicBezTo>
                            <a:pt x="358943" y="445617"/>
                            <a:pt x="392757" y="345986"/>
                            <a:pt x="395805" y="321602"/>
                          </a:cubicBezTo>
                          <a:cubicBezTo>
                            <a:pt x="402472" y="267785"/>
                            <a:pt x="391328" y="124815"/>
                            <a:pt x="391328" y="124815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9" name="Freihandform: Form 98">
                      <a:extLst>
                        <a:ext uri="{FF2B5EF4-FFF2-40B4-BE49-F238E27FC236}">
                          <a16:creationId xmlns:a16="http://schemas.microsoft.com/office/drawing/2014/main" id="{14D3E9DC-B591-6C1C-C68E-11585B3EA7EB}"/>
                        </a:ext>
                      </a:extLst>
                    </p:cNvPr>
                    <p:cNvSpPr/>
                    <p:nvPr/>
                  </p:nvSpPr>
                  <p:spPr>
                    <a:xfrm rot="-445201">
                      <a:off x="5939430" y="702581"/>
                      <a:ext cx="592073" cy="528827"/>
                    </a:xfrm>
                    <a:custGeom>
                      <a:avLst/>
                      <a:gdLst>
                        <a:gd name="connsiteX0" fmla="*/ 592074 w 592073"/>
                        <a:gd name="connsiteY0" fmla="*/ 264414 h 528827"/>
                        <a:gd name="connsiteX1" fmla="*/ 296037 w 592073"/>
                        <a:gd name="connsiteY1" fmla="*/ 528828 h 528827"/>
                        <a:gd name="connsiteX2" fmla="*/ 0 w 592073"/>
                        <a:gd name="connsiteY2" fmla="*/ 264414 h 528827"/>
                        <a:gd name="connsiteX3" fmla="*/ 296037 w 592073"/>
                        <a:gd name="connsiteY3" fmla="*/ 0 h 528827"/>
                        <a:gd name="connsiteX4" fmla="*/ 592074 w 592073"/>
                        <a:gd name="connsiteY4" fmla="*/ 264414 h 5288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92073" h="528827">
                          <a:moveTo>
                            <a:pt x="592074" y="264414"/>
                          </a:moveTo>
                          <a:cubicBezTo>
                            <a:pt x="592074" y="410446"/>
                            <a:pt x="459534" y="528828"/>
                            <a:pt x="296037" y="528828"/>
                          </a:cubicBezTo>
                          <a:cubicBezTo>
                            <a:pt x="132541" y="528828"/>
                            <a:pt x="0" y="410446"/>
                            <a:pt x="0" y="264414"/>
                          </a:cubicBezTo>
                          <a:cubicBezTo>
                            <a:pt x="0" y="118382"/>
                            <a:pt x="132541" y="0"/>
                            <a:pt x="296037" y="0"/>
                          </a:cubicBezTo>
                          <a:cubicBezTo>
                            <a:pt x="459534" y="0"/>
                            <a:pt x="592074" y="118382"/>
                            <a:pt x="592074" y="264414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0" name="Freihandform: Form 99">
                      <a:extLst>
                        <a:ext uri="{FF2B5EF4-FFF2-40B4-BE49-F238E27FC236}">
                          <a16:creationId xmlns:a16="http://schemas.microsoft.com/office/drawing/2014/main" id="{80B010B1-0250-DE7D-876E-ADCA9555C06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75063" y="1260919"/>
                      <a:ext cx="37147" cy="19811"/>
                    </a:xfrm>
                    <a:custGeom>
                      <a:avLst/>
                      <a:gdLst>
                        <a:gd name="connsiteX0" fmla="*/ 476 w 37147"/>
                        <a:gd name="connsiteY0" fmla="*/ 19812 h 19811"/>
                        <a:gd name="connsiteX1" fmla="*/ 0 w 37147"/>
                        <a:gd name="connsiteY1" fmla="*/ 10382 h 19811"/>
                        <a:gd name="connsiteX2" fmla="*/ 32385 w 37147"/>
                        <a:gd name="connsiteY2" fmla="*/ 0 h 19811"/>
                        <a:gd name="connsiteX3" fmla="*/ 37147 w 37147"/>
                        <a:gd name="connsiteY3" fmla="*/ 8192 h 19811"/>
                        <a:gd name="connsiteX4" fmla="*/ 571 w 37147"/>
                        <a:gd name="connsiteY4" fmla="*/ 19812 h 1981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7147" h="19811">
                          <a:moveTo>
                            <a:pt x="476" y="19812"/>
                          </a:moveTo>
                          <a:lnTo>
                            <a:pt x="0" y="10382"/>
                          </a:lnTo>
                          <a:cubicBezTo>
                            <a:pt x="0" y="10382"/>
                            <a:pt x="16002" y="9430"/>
                            <a:pt x="32385" y="0"/>
                          </a:cubicBezTo>
                          <a:lnTo>
                            <a:pt x="37147" y="8192"/>
                          </a:lnTo>
                          <a:cubicBezTo>
                            <a:pt x="18764" y="18764"/>
                            <a:pt x="1238" y="19812"/>
                            <a:pt x="571" y="19812"/>
                          </a:cubicBezTo>
                          <a:close/>
                        </a:path>
                      </a:pathLst>
                    </a:custGeom>
                    <a:solidFill>
                      <a:srgbClr val="F2BBB3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1" name="Freihandform: Form 100">
                      <a:extLst>
                        <a:ext uri="{FF2B5EF4-FFF2-40B4-BE49-F238E27FC236}">
                          <a16:creationId xmlns:a16="http://schemas.microsoft.com/office/drawing/2014/main" id="{212E5B74-A31C-A2AF-5457-F810224CC71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60067" y="1011264"/>
                      <a:ext cx="129553" cy="32025"/>
                    </a:xfrm>
                    <a:custGeom>
                      <a:avLst/>
                      <a:gdLst>
                        <a:gd name="connsiteX0" fmla="*/ 98911 w 129553"/>
                        <a:gd name="connsiteY0" fmla="*/ 2672 h 32025"/>
                        <a:gd name="connsiteX1" fmla="*/ 5947 w 129553"/>
                        <a:gd name="connsiteY1" fmla="*/ 10292 h 32025"/>
                        <a:gd name="connsiteX2" fmla="*/ 3090 w 129553"/>
                        <a:gd name="connsiteY2" fmla="*/ 12768 h 32025"/>
                        <a:gd name="connsiteX3" fmla="*/ 13853 w 129553"/>
                        <a:gd name="connsiteY3" fmla="*/ 31913 h 32025"/>
                        <a:gd name="connsiteX4" fmla="*/ 38332 w 129553"/>
                        <a:gd name="connsiteY4" fmla="*/ 27341 h 32025"/>
                        <a:gd name="connsiteX5" fmla="*/ 96720 w 129553"/>
                        <a:gd name="connsiteY5" fmla="*/ 24389 h 32025"/>
                        <a:gd name="connsiteX6" fmla="*/ 129106 w 129553"/>
                        <a:gd name="connsiteY6" fmla="*/ 31532 h 32025"/>
                        <a:gd name="connsiteX7" fmla="*/ 98816 w 129553"/>
                        <a:gd name="connsiteY7" fmla="*/ 2767 h 320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29553" h="32025">
                          <a:moveTo>
                            <a:pt x="98911" y="2672"/>
                          </a:moveTo>
                          <a:cubicBezTo>
                            <a:pt x="81099" y="-5329"/>
                            <a:pt x="10615" y="6863"/>
                            <a:pt x="5947" y="10292"/>
                          </a:cubicBezTo>
                          <a:cubicBezTo>
                            <a:pt x="4804" y="11149"/>
                            <a:pt x="3852" y="11911"/>
                            <a:pt x="3090" y="12768"/>
                          </a:cubicBezTo>
                          <a:cubicBezTo>
                            <a:pt x="-4435" y="20769"/>
                            <a:pt x="2804" y="33342"/>
                            <a:pt x="13853" y="31913"/>
                          </a:cubicBezTo>
                          <a:cubicBezTo>
                            <a:pt x="18901" y="31247"/>
                            <a:pt x="31284" y="28675"/>
                            <a:pt x="38332" y="27341"/>
                          </a:cubicBezTo>
                          <a:cubicBezTo>
                            <a:pt x="50715" y="24865"/>
                            <a:pt x="86338" y="22865"/>
                            <a:pt x="96720" y="24389"/>
                          </a:cubicBezTo>
                          <a:cubicBezTo>
                            <a:pt x="117104" y="27246"/>
                            <a:pt x="126439" y="33628"/>
                            <a:pt x="129106" y="31532"/>
                          </a:cubicBezTo>
                          <a:cubicBezTo>
                            <a:pt x="131773" y="29437"/>
                            <a:pt x="122628" y="13435"/>
                            <a:pt x="98816" y="2767"/>
                          </a:cubicBezTo>
                          <a:close/>
                        </a:path>
                      </a:pathLst>
                    </a:custGeom>
                    <a:solidFill>
                      <a:srgbClr val="4B2E1A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2" name="Freihandform: Form 101">
                      <a:extLst>
                        <a:ext uri="{FF2B5EF4-FFF2-40B4-BE49-F238E27FC236}">
                          <a16:creationId xmlns:a16="http://schemas.microsoft.com/office/drawing/2014/main" id="{448BD15A-9956-18DE-1473-D75B8222E9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01638" y="1062418"/>
                      <a:ext cx="25336" cy="32003"/>
                    </a:xfrm>
                    <a:custGeom>
                      <a:avLst/>
                      <a:gdLst>
                        <a:gd name="connsiteX0" fmla="*/ 25337 w 25336"/>
                        <a:gd name="connsiteY0" fmla="*/ 16002 h 32003"/>
                        <a:gd name="connsiteX1" fmla="*/ 12669 w 25336"/>
                        <a:gd name="connsiteY1" fmla="*/ 32004 h 32003"/>
                        <a:gd name="connsiteX2" fmla="*/ 0 w 25336"/>
                        <a:gd name="connsiteY2" fmla="*/ 16002 h 32003"/>
                        <a:gd name="connsiteX3" fmla="*/ 12669 w 25336"/>
                        <a:gd name="connsiteY3" fmla="*/ 0 h 32003"/>
                        <a:gd name="connsiteX4" fmla="*/ 25337 w 25336"/>
                        <a:gd name="connsiteY4" fmla="*/ 16002 h 320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5336" h="32003">
                          <a:moveTo>
                            <a:pt x="25337" y="16002"/>
                          </a:moveTo>
                          <a:cubicBezTo>
                            <a:pt x="25337" y="24840"/>
                            <a:pt x="19665" y="32004"/>
                            <a:pt x="12669" y="32004"/>
                          </a:cubicBezTo>
                          <a:cubicBezTo>
                            <a:pt x="5672" y="32004"/>
                            <a:pt x="0" y="24840"/>
                            <a:pt x="0" y="16002"/>
                          </a:cubicBezTo>
                          <a:cubicBezTo>
                            <a:pt x="0" y="7164"/>
                            <a:pt x="5672" y="0"/>
                            <a:pt x="12669" y="0"/>
                          </a:cubicBezTo>
                          <a:cubicBezTo>
                            <a:pt x="19665" y="0"/>
                            <a:pt x="25337" y="7164"/>
                            <a:pt x="25337" y="16002"/>
                          </a:cubicBezTo>
                          <a:close/>
                        </a:path>
                      </a:pathLst>
                    </a:custGeom>
                    <a:solidFill>
                      <a:srgbClr val="4B2E1A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3" name="Freihandform: Form 102">
                      <a:extLst>
                        <a:ext uri="{FF2B5EF4-FFF2-40B4-BE49-F238E27FC236}">
                          <a16:creationId xmlns:a16="http://schemas.microsoft.com/office/drawing/2014/main" id="{1828576D-1787-930F-2998-D8DCD8DBB7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93256" y="1058562"/>
                      <a:ext cx="66606" cy="16779"/>
                    </a:xfrm>
                    <a:custGeom>
                      <a:avLst/>
                      <a:gdLst>
                        <a:gd name="connsiteX0" fmla="*/ 66104 w 66606"/>
                        <a:gd name="connsiteY0" fmla="*/ 12048 h 16779"/>
                        <a:gd name="connsiteX1" fmla="*/ 15336 w 66606"/>
                        <a:gd name="connsiteY1" fmla="*/ 427 h 16779"/>
                        <a:gd name="connsiteX2" fmla="*/ 4668 w 66606"/>
                        <a:gd name="connsiteY2" fmla="*/ 11857 h 16779"/>
                        <a:gd name="connsiteX3" fmla="*/ 54769 w 66606"/>
                        <a:gd name="connsiteY3" fmla="*/ 16048 h 16779"/>
                        <a:gd name="connsiteX4" fmla="*/ 66199 w 66606"/>
                        <a:gd name="connsiteY4" fmla="*/ 12048 h 167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66606" h="16779">
                          <a:moveTo>
                            <a:pt x="66104" y="12048"/>
                          </a:moveTo>
                          <a:cubicBezTo>
                            <a:pt x="64103" y="9095"/>
                            <a:pt x="36195" y="-2335"/>
                            <a:pt x="15336" y="427"/>
                          </a:cubicBezTo>
                          <a:cubicBezTo>
                            <a:pt x="1905" y="2142"/>
                            <a:pt x="-5334" y="14048"/>
                            <a:pt x="4668" y="11857"/>
                          </a:cubicBezTo>
                          <a:cubicBezTo>
                            <a:pt x="23051" y="7952"/>
                            <a:pt x="46959" y="13762"/>
                            <a:pt x="54769" y="16048"/>
                          </a:cubicBezTo>
                          <a:cubicBezTo>
                            <a:pt x="62580" y="18239"/>
                            <a:pt x="68199" y="15096"/>
                            <a:pt x="66199" y="12048"/>
                          </a:cubicBezTo>
                          <a:close/>
                        </a:path>
                      </a:pathLst>
                    </a:custGeom>
                    <a:solidFill>
                      <a:srgbClr val="4B2E1A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96" name="Freihandform: Form 95">
                    <a:extLst>
                      <a:ext uri="{FF2B5EF4-FFF2-40B4-BE49-F238E27FC236}">
                        <a16:creationId xmlns:a16="http://schemas.microsoft.com/office/drawing/2014/main" id="{789D5C12-18E6-29E6-1136-6B1808AF20B0}"/>
                      </a:ext>
                    </a:extLst>
                  </p:cNvPr>
                  <p:cNvSpPr/>
                  <p:nvPr/>
                </p:nvSpPr>
                <p:spPr>
                  <a:xfrm>
                    <a:off x="5884415" y="693547"/>
                    <a:ext cx="678407" cy="560989"/>
                  </a:xfrm>
                  <a:custGeom>
                    <a:avLst/>
                    <a:gdLst>
                      <a:gd name="connsiteX0" fmla="*/ 92744 w 678407"/>
                      <a:gd name="connsiteY0" fmla="*/ 45116 h 560989"/>
                      <a:gd name="connsiteX1" fmla="*/ 370588 w 678407"/>
                      <a:gd name="connsiteY1" fmla="*/ 1301 h 560989"/>
                      <a:gd name="connsiteX2" fmla="*/ 671387 w 678407"/>
                      <a:gd name="connsiteY2" fmla="*/ 177894 h 560989"/>
                      <a:gd name="connsiteX3" fmla="*/ 605379 w 678407"/>
                      <a:gd name="connsiteY3" fmla="*/ 492315 h 560989"/>
                      <a:gd name="connsiteX4" fmla="*/ 595854 w 678407"/>
                      <a:gd name="connsiteY4" fmla="*/ 560990 h 560989"/>
                      <a:gd name="connsiteX5" fmla="*/ 534704 w 678407"/>
                      <a:gd name="connsiteY5" fmla="*/ 541083 h 560989"/>
                      <a:gd name="connsiteX6" fmla="*/ 471553 w 678407"/>
                      <a:gd name="connsiteY6" fmla="*/ 434688 h 560989"/>
                      <a:gd name="connsiteX7" fmla="*/ 359253 w 678407"/>
                      <a:gd name="connsiteY7" fmla="*/ 466692 h 560989"/>
                      <a:gd name="connsiteX8" fmla="*/ 324963 w 678407"/>
                      <a:gd name="connsiteY8" fmla="*/ 344106 h 560989"/>
                      <a:gd name="connsiteX9" fmla="*/ 229904 w 678407"/>
                      <a:gd name="connsiteY9" fmla="*/ 185229 h 560989"/>
                      <a:gd name="connsiteX10" fmla="*/ 53310 w 678407"/>
                      <a:gd name="connsiteY10" fmla="*/ 212375 h 560989"/>
                      <a:gd name="connsiteX11" fmla="*/ 92553 w 678407"/>
                      <a:gd name="connsiteY11" fmla="*/ 45306 h 5609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678407" h="560989">
                        <a:moveTo>
                          <a:pt x="92744" y="45116"/>
                        </a:moveTo>
                        <a:cubicBezTo>
                          <a:pt x="92744" y="45116"/>
                          <a:pt x="183993" y="-8986"/>
                          <a:pt x="370588" y="1301"/>
                        </a:cubicBezTo>
                        <a:cubicBezTo>
                          <a:pt x="461647" y="6349"/>
                          <a:pt x="643860" y="48450"/>
                          <a:pt x="671387" y="177894"/>
                        </a:cubicBezTo>
                        <a:cubicBezTo>
                          <a:pt x="705773" y="339915"/>
                          <a:pt x="602522" y="437832"/>
                          <a:pt x="605379" y="492315"/>
                        </a:cubicBezTo>
                        <a:cubicBezTo>
                          <a:pt x="608141" y="546798"/>
                          <a:pt x="595854" y="560990"/>
                          <a:pt x="595854" y="560990"/>
                        </a:cubicBezTo>
                        <a:cubicBezTo>
                          <a:pt x="595854" y="560990"/>
                          <a:pt x="556325" y="553275"/>
                          <a:pt x="534704" y="541083"/>
                        </a:cubicBezTo>
                        <a:cubicBezTo>
                          <a:pt x="506319" y="525081"/>
                          <a:pt x="470315" y="485361"/>
                          <a:pt x="471553" y="434688"/>
                        </a:cubicBezTo>
                        <a:cubicBezTo>
                          <a:pt x="472887" y="384015"/>
                          <a:pt x="359253" y="466692"/>
                          <a:pt x="359253" y="466692"/>
                        </a:cubicBezTo>
                        <a:cubicBezTo>
                          <a:pt x="359253" y="466692"/>
                          <a:pt x="274481" y="456405"/>
                          <a:pt x="324963" y="344106"/>
                        </a:cubicBezTo>
                        <a:cubicBezTo>
                          <a:pt x="353348" y="281050"/>
                          <a:pt x="356110" y="128555"/>
                          <a:pt x="229904" y="185229"/>
                        </a:cubicBezTo>
                        <a:cubicBezTo>
                          <a:pt x="132844" y="228758"/>
                          <a:pt x="86838" y="240950"/>
                          <a:pt x="53310" y="212375"/>
                        </a:cubicBezTo>
                        <a:cubicBezTo>
                          <a:pt x="-33177" y="107219"/>
                          <a:pt x="-10412" y="47021"/>
                          <a:pt x="92553" y="45306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7" name="Freihandform: Form 96">
                    <a:extLst>
                      <a:ext uri="{FF2B5EF4-FFF2-40B4-BE49-F238E27FC236}">
                        <a16:creationId xmlns:a16="http://schemas.microsoft.com/office/drawing/2014/main" id="{EDE2AFC6-EFDF-6FFA-9B78-C85108855E79}"/>
                      </a:ext>
                    </a:extLst>
                  </p:cNvPr>
                  <p:cNvSpPr/>
                  <p:nvPr/>
                </p:nvSpPr>
                <p:spPr>
                  <a:xfrm rot="-4891201">
                    <a:off x="6209424" y="1060687"/>
                    <a:ext cx="197357" cy="131254"/>
                  </a:xfrm>
                  <a:custGeom>
                    <a:avLst/>
                    <a:gdLst>
                      <a:gd name="connsiteX0" fmla="*/ 197358 w 197357"/>
                      <a:gd name="connsiteY0" fmla="*/ 65627 h 131254"/>
                      <a:gd name="connsiteX1" fmla="*/ 98679 w 197357"/>
                      <a:gd name="connsiteY1" fmla="*/ 131254 h 131254"/>
                      <a:gd name="connsiteX2" fmla="*/ 0 w 197357"/>
                      <a:gd name="connsiteY2" fmla="*/ 65627 h 131254"/>
                      <a:gd name="connsiteX3" fmla="*/ 98679 w 197357"/>
                      <a:gd name="connsiteY3" fmla="*/ 0 h 131254"/>
                      <a:gd name="connsiteX4" fmla="*/ 197358 w 197357"/>
                      <a:gd name="connsiteY4" fmla="*/ 65627 h 1312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7357" h="131254">
                        <a:moveTo>
                          <a:pt x="197358" y="65627"/>
                        </a:moveTo>
                        <a:cubicBezTo>
                          <a:pt x="197358" y="101872"/>
                          <a:pt x="153178" y="131254"/>
                          <a:pt x="98679" y="131254"/>
                        </a:cubicBezTo>
                        <a:cubicBezTo>
                          <a:pt x="44180" y="131254"/>
                          <a:pt x="0" y="101872"/>
                          <a:pt x="0" y="65627"/>
                        </a:cubicBezTo>
                        <a:cubicBezTo>
                          <a:pt x="0" y="29382"/>
                          <a:pt x="44180" y="0"/>
                          <a:pt x="98679" y="0"/>
                        </a:cubicBezTo>
                        <a:cubicBezTo>
                          <a:pt x="153178" y="0"/>
                          <a:pt x="197358" y="29382"/>
                          <a:pt x="197358" y="65627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30" name="Grafik 23">
                <a:extLst>
                  <a:ext uri="{FF2B5EF4-FFF2-40B4-BE49-F238E27FC236}">
                    <a16:creationId xmlns:a16="http://schemas.microsoft.com/office/drawing/2014/main" id="{E45B2B9F-1F05-6B76-88A4-1606F8C46A69}"/>
                  </a:ext>
                </a:extLst>
              </p:cNvPr>
              <p:cNvGrpSpPr/>
              <p:nvPr/>
            </p:nvGrpSpPr>
            <p:grpSpPr>
              <a:xfrm>
                <a:off x="9291637" y="1854304"/>
                <a:ext cx="351095" cy="833562"/>
                <a:chOff x="1874837" y="609818"/>
                <a:chExt cx="2341791" cy="5559828"/>
              </a:xfrm>
            </p:grpSpPr>
            <p:grpSp>
              <p:nvGrpSpPr>
                <p:cNvPr id="31" name="Grafik 23">
                  <a:extLst>
                    <a:ext uri="{FF2B5EF4-FFF2-40B4-BE49-F238E27FC236}">
                      <a16:creationId xmlns:a16="http://schemas.microsoft.com/office/drawing/2014/main" id="{28735467-7875-9EA2-6638-F482E730BC34}"/>
                    </a:ext>
                  </a:extLst>
                </p:cNvPr>
                <p:cNvGrpSpPr/>
                <p:nvPr/>
              </p:nvGrpSpPr>
              <p:grpSpPr>
                <a:xfrm>
                  <a:off x="3461130" y="1931860"/>
                  <a:ext cx="755497" cy="464438"/>
                  <a:chOff x="3461130" y="1931860"/>
                  <a:chExt cx="755497" cy="464438"/>
                </a:xfrm>
              </p:grpSpPr>
              <p:grpSp>
                <p:nvGrpSpPr>
                  <p:cNvPr id="83" name="Grafik 23">
                    <a:extLst>
                      <a:ext uri="{FF2B5EF4-FFF2-40B4-BE49-F238E27FC236}">
                        <a16:creationId xmlns:a16="http://schemas.microsoft.com/office/drawing/2014/main" id="{994A74DC-B8DF-DC94-EC39-45FE86266B20}"/>
                      </a:ext>
                    </a:extLst>
                  </p:cNvPr>
                  <p:cNvGrpSpPr/>
                  <p:nvPr/>
                </p:nvGrpSpPr>
                <p:grpSpPr>
                  <a:xfrm>
                    <a:off x="3600659" y="1931860"/>
                    <a:ext cx="615968" cy="410541"/>
                    <a:chOff x="3600659" y="1931860"/>
                    <a:chExt cx="615968" cy="410541"/>
                  </a:xfrm>
                </p:grpSpPr>
                <p:sp>
                  <p:nvSpPr>
                    <p:cNvPr id="86" name="Freihandform: Form 85">
                      <a:extLst>
                        <a:ext uri="{FF2B5EF4-FFF2-40B4-BE49-F238E27FC236}">
                          <a16:creationId xmlns:a16="http://schemas.microsoft.com/office/drawing/2014/main" id="{A8130406-4F8E-48FA-20FB-4C40089B40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600659" y="1931860"/>
                      <a:ext cx="613044" cy="410541"/>
                    </a:xfrm>
                    <a:custGeom>
                      <a:avLst/>
                      <a:gdLst>
                        <a:gd name="connsiteX0" fmla="*/ 1060 w 613044"/>
                        <a:gd name="connsiteY0" fmla="*/ 243173 h 410541"/>
                        <a:gd name="connsiteX1" fmla="*/ 99453 w 613044"/>
                        <a:gd name="connsiteY1" fmla="*/ 135445 h 410541"/>
                        <a:gd name="connsiteX2" fmla="*/ 267474 w 613044"/>
                        <a:gd name="connsiteY2" fmla="*/ 0 h 410541"/>
                        <a:gd name="connsiteX3" fmla="*/ 284143 w 613044"/>
                        <a:gd name="connsiteY3" fmla="*/ 69342 h 410541"/>
                        <a:gd name="connsiteX4" fmla="*/ 220516 w 613044"/>
                        <a:gd name="connsiteY4" fmla="*/ 151543 h 410541"/>
                        <a:gd name="connsiteX5" fmla="*/ 334244 w 613044"/>
                        <a:gd name="connsiteY5" fmla="*/ 194977 h 410541"/>
                        <a:gd name="connsiteX6" fmla="*/ 585133 w 613044"/>
                        <a:gd name="connsiteY6" fmla="*/ 201454 h 410541"/>
                        <a:gd name="connsiteX7" fmla="*/ 612470 w 613044"/>
                        <a:gd name="connsiteY7" fmla="*/ 240601 h 410541"/>
                        <a:gd name="connsiteX8" fmla="*/ 441877 w 613044"/>
                        <a:gd name="connsiteY8" fmla="*/ 266509 h 410541"/>
                        <a:gd name="connsiteX9" fmla="*/ 220421 w 613044"/>
                        <a:gd name="connsiteY9" fmla="*/ 407289 h 410541"/>
                        <a:gd name="connsiteX10" fmla="*/ 63353 w 613044"/>
                        <a:gd name="connsiteY10" fmla="*/ 406908 h 410541"/>
                        <a:gd name="connsiteX11" fmla="*/ 965 w 613044"/>
                        <a:gd name="connsiteY11" fmla="*/ 243173 h 41054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</a:cxnLst>
                      <a:rect l="l" t="t" r="r" b="b"/>
                      <a:pathLst>
                        <a:path w="613044" h="410541">
                          <a:moveTo>
                            <a:pt x="1060" y="243173"/>
                          </a:moveTo>
                          <a:cubicBezTo>
                            <a:pt x="1060" y="243173"/>
                            <a:pt x="28778" y="169259"/>
                            <a:pt x="99453" y="135445"/>
                          </a:cubicBezTo>
                          <a:cubicBezTo>
                            <a:pt x="138506" y="116776"/>
                            <a:pt x="236613" y="43720"/>
                            <a:pt x="267474" y="0"/>
                          </a:cubicBezTo>
                          <a:cubicBezTo>
                            <a:pt x="267474" y="0"/>
                            <a:pt x="310146" y="30861"/>
                            <a:pt x="284143" y="69342"/>
                          </a:cubicBezTo>
                          <a:cubicBezTo>
                            <a:pt x="256235" y="110490"/>
                            <a:pt x="220897" y="137446"/>
                            <a:pt x="220516" y="151543"/>
                          </a:cubicBezTo>
                          <a:cubicBezTo>
                            <a:pt x="220135" y="165640"/>
                            <a:pt x="261093" y="184309"/>
                            <a:pt x="334244" y="194977"/>
                          </a:cubicBezTo>
                          <a:cubicBezTo>
                            <a:pt x="407397" y="205645"/>
                            <a:pt x="568845" y="201073"/>
                            <a:pt x="585133" y="201454"/>
                          </a:cubicBezTo>
                          <a:cubicBezTo>
                            <a:pt x="611612" y="205168"/>
                            <a:pt x="614661" y="222599"/>
                            <a:pt x="612470" y="240601"/>
                          </a:cubicBezTo>
                          <a:cubicBezTo>
                            <a:pt x="605040" y="242792"/>
                            <a:pt x="500551" y="256032"/>
                            <a:pt x="441877" y="266509"/>
                          </a:cubicBezTo>
                          <a:cubicBezTo>
                            <a:pt x="441877" y="266509"/>
                            <a:pt x="247567" y="407956"/>
                            <a:pt x="220421" y="407289"/>
                          </a:cubicBezTo>
                          <a:cubicBezTo>
                            <a:pt x="193274" y="406622"/>
                            <a:pt x="98501" y="415195"/>
                            <a:pt x="63353" y="406908"/>
                          </a:cubicBezTo>
                          <a:cubicBezTo>
                            <a:pt x="63353" y="406908"/>
                            <a:pt x="-9132" y="354711"/>
                            <a:pt x="965" y="243173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7" name="Freihandform: Form 86">
                      <a:extLst>
                        <a:ext uri="{FF2B5EF4-FFF2-40B4-BE49-F238E27FC236}">
                          <a16:creationId xmlns:a16="http://schemas.microsoft.com/office/drawing/2014/main" id="{D4EFA8C6-EE99-8C3D-674D-CFBA6F253EB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46131" y="2104548"/>
                      <a:ext cx="370497" cy="93725"/>
                    </a:xfrm>
                    <a:custGeom>
                      <a:avLst/>
                      <a:gdLst>
                        <a:gd name="connsiteX0" fmla="*/ 0 w 370497"/>
                        <a:gd name="connsiteY0" fmla="*/ 0 h 93725"/>
                        <a:gd name="connsiteX1" fmla="*/ 331946 w 370497"/>
                        <a:gd name="connsiteY1" fmla="*/ 28766 h 93725"/>
                        <a:gd name="connsiteX2" fmla="*/ 369665 w 370497"/>
                        <a:gd name="connsiteY2" fmla="*/ 67246 h 93725"/>
                        <a:gd name="connsiteX3" fmla="*/ 196405 w 370497"/>
                        <a:gd name="connsiteY3" fmla="*/ 93726 h 93725"/>
                        <a:gd name="connsiteX4" fmla="*/ 0 w 370497"/>
                        <a:gd name="connsiteY4" fmla="*/ 0 h 937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70497" h="93725">
                          <a:moveTo>
                            <a:pt x="0" y="0"/>
                          </a:moveTo>
                          <a:cubicBezTo>
                            <a:pt x="99631" y="41815"/>
                            <a:pt x="292798" y="27146"/>
                            <a:pt x="331946" y="28766"/>
                          </a:cubicBezTo>
                          <a:cubicBezTo>
                            <a:pt x="367951" y="27051"/>
                            <a:pt x="372904" y="52102"/>
                            <a:pt x="369665" y="67246"/>
                          </a:cubicBezTo>
                          <a:cubicBezTo>
                            <a:pt x="362236" y="69437"/>
                            <a:pt x="255079" y="83249"/>
                            <a:pt x="196405" y="93726"/>
                          </a:cubicBezTo>
                          <a:cubicBezTo>
                            <a:pt x="113538" y="82677"/>
                            <a:pt x="22669" y="33528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8" name="Freihandform: Form 87">
                      <a:extLst>
                        <a:ext uri="{FF2B5EF4-FFF2-40B4-BE49-F238E27FC236}">
                          <a16:creationId xmlns:a16="http://schemas.microsoft.com/office/drawing/2014/main" id="{7737AC9C-C17A-A472-289A-152268BDEF7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38012" y="2099981"/>
                      <a:ext cx="336064" cy="133901"/>
                    </a:xfrm>
                    <a:custGeom>
                      <a:avLst/>
                      <a:gdLst>
                        <a:gd name="connsiteX0" fmla="*/ 38503 w 336064"/>
                        <a:gd name="connsiteY0" fmla="*/ 53621 h 133901"/>
                        <a:gd name="connsiteX1" fmla="*/ 204143 w 336064"/>
                        <a:gd name="connsiteY1" fmla="*/ 33428 h 133901"/>
                        <a:gd name="connsiteX2" fmla="*/ 266151 w 336064"/>
                        <a:gd name="connsiteY2" fmla="*/ 8663 h 133901"/>
                        <a:gd name="connsiteX3" fmla="*/ 336064 w 336064"/>
                        <a:gd name="connsiteY3" fmla="*/ 25236 h 133901"/>
                        <a:gd name="connsiteX4" fmla="*/ 169186 w 336064"/>
                        <a:gd name="connsiteY4" fmla="*/ 118677 h 133901"/>
                        <a:gd name="connsiteX5" fmla="*/ 38503 w 336064"/>
                        <a:gd name="connsiteY5" fmla="*/ 53621 h 1339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336064" h="133901">
                          <a:moveTo>
                            <a:pt x="38503" y="53621"/>
                          </a:moveTo>
                          <a:cubicBezTo>
                            <a:pt x="130610" y="74195"/>
                            <a:pt x="204143" y="33428"/>
                            <a:pt x="204143" y="33428"/>
                          </a:cubicBezTo>
                          <a:cubicBezTo>
                            <a:pt x="204143" y="33428"/>
                            <a:pt x="251959" y="13140"/>
                            <a:pt x="266151" y="8663"/>
                          </a:cubicBezTo>
                          <a:cubicBezTo>
                            <a:pt x="280343" y="4186"/>
                            <a:pt x="318443" y="-15435"/>
                            <a:pt x="336064" y="25236"/>
                          </a:cubicBezTo>
                          <a:cubicBezTo>
                            <a:pt x="320539" y="35523"/>
                            <a:pt x="169186" y="118677"/>
                            <a:pt x="169186" y="118677"/>
                          </a:cubicBezTo>
                          <a:cubicBezTo>
                            <a:pt x="44790" y="180303"/>
                            <a:pt x="-58937" y="33618"/>
                            <a:pt x="38503" y="53621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84" name="Freihandform: Form 83">
                    <a:extLst>
                      <a:ext uri="{FF2B5EF4-FFF2-40B4-BE49-F238E27FC236}">
                        <a16:creationId xmlns:a16="http://schemas.microsoft.com/office/drawing/2014/main" id="{BEED6B23-F661-A455-A8E6-10F39E9ED5BF}"/>
                      </a:ext>
                    </a:extLst>
                  </p:cNvPr>
                  <p:cNvSpPr/>
                  <p:nvPr/>
                </p:nvSpPr>
                <p:spPr>
                  <a:xfrm rot="-4549200">
                    <a:off x="3542217" y="2170610"/>
                    <a:ext cx="175069" cy="175069"/>
                  </a:xfrm>
                  <a:custGeom>
                    <a:avLst/>
                    <a:gdLst>
                      <a:gd name="connsiteX0" fmla="*/ 175069 w 175069"/>
                      <a:gd name="connsiteY0" fmla="*/ 87535 h 175069"/>
                      <a:gd name="connsiteX1" fmla="*/ 87535 w 175069"/>
                      <a:gd name="connsiteY1" fmla="*/ 175070 h 175069"/>
                      <a:gd name="connsiteX2" fmla="*/ 0 w 175069"/>
                      <a:gd name="connsiteY2" fmla="*/ 87535 h 175069"/>
                      <a:gd name="connsiteX3" fmla="*/ 87535 w 175069"/>
                      <a:gd name="connsiteY3" fmla="*/ 0 h 175069"/>
                      <a:gd name="connsiteX4" fmla="*/ 175069 w 175069"/>
                      <a:gd name="connsiteY4" fmla="*/ 87535 h 1750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75069" h="175069">
                        <a:moveTo>
                          <a:pt x="175069" y="87535"/>
                        </a:moveTo>
                        <a:cubicBezTo>
                          <a:pt x="175069" y="135879"/>
                          <a:pt x="135879" y="175070"/>
                          <a:pt x="87535" y="175070"/>
                        </a:cubicBezTo>
                        <a:cubicBezTo>
                          <a:pt x="39191" y="175070"/>
                          <a:pt x="0" y="135879"/>
                          <a:pt x="0" y="87535"/>
                        </a:cubicBezTo>
                        <a:cubicBezTo>
                          <a:pt x="0" y="39191"/>
                          <a:pt x="39191" y="0"/>
                          <a:pt x="87535" y="0"/>
                        </a:cubicBezTo>
                        <a:cubicBezTo>
                          <a:pt x="135879" y="0"/>
                          <a:pt x="175069" y="39191"/>
                          <a:pt x="175069" y="87535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5" name="Freihandform: Form 84">
                    <a:extLst>
                      <a:ext uri="{FF2B5EF4-FFF2-40B4-BE49-F238E27FC236}">
                        <a16:creationId xmlns:a16="http://schemas.microsoft.com/office/drawing/2014/main" id="{8C06BA02-46EE-6E50-D958-582C98610A3F}"/>
                      </a:ext>
                    </a:extLst>
                  </p:cNvPr>
                  <p:cNvSpPr/>
                  <p:nvPr/>
                </p:nvSpPr>
                <p:spPr>
                  <a:xfrm>
                    <a:off x="3461130" y="2175033"/>
                    <a:ext cx="202977" cy="221265"/>
                  </a:xfrm>
                  <a:custGeom>
                    <a:avLst/>
                    <a:gdLst>
                      <a:gd name="connsiteX0" fmla="*/ 202978 w 202977"/>
                      <a:gd name="connsiteY0" fmla="*/ 163735 h 221265"/>
                      <a:gd name="connsiteX1" fmla="*/ 140589 w 202977"/>
                      <a:gd name="connsiteY1" fmla="*/ 0 h 221265"/>
                      <a:gd name="connsiteX2" fmla="*/ 0 w 202977"/>
                      <a:gd name="connsiteY2" fmla="*/ 51435 h 221265"/>
                      <a:gd name="connsiteX3" fmla="*/ 60770 w 202977"/>
                      <a:gd name="connsiteY3" fmla="*/ 221266 h 221265"/>
                      <a:gd name="connsiteX4" fmla="*/ 202978 w 202977"/>
                      <a:gd name="connsiteY4" fmla="*/ 163735 h 2212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02977" h="221265">
                        <a:moveTo>
                          <a:pt x="202978" y="163735"/>
                        </a:moveTo>
                        <a:lnTo>
                          <a:pt x="140589" y="0"/>
                        </a:lnTo>
                        <a:lnTo>
                          <a:pt x="0" y="51435"/>
                        </a:lnTo>
                        <a:lnTo>
                          <a:pt x="60770" y="221266"/>
                        </a:lnTo>
                        <a:lnTo>
                          <a:pt x="202978" y="163735"/>
                        </a:ln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2" name="Grafik 23">
                  <a:extLst>
                    <a:ext uri="{FF2B5EF4-FFF2-40B4-BE49-F238E27FC236}">
                      <a16:creationId xmlns:a16="http://schemas.microsoft.com/office/drawing/2014/main" id="{2749D6F0-8483-8B0D-A6D9-6B51360D4D50}"/>
                    </a:ext>
                  </a:extLst>
                </p:cNvPr>
                <p:cNvGrpSpPr/>
                <p:nvPr/>
              </p:nvGrpSpPr>
              <p:grpSpPr>
                <a:xfrm>
                  <a:off x="2901155" y="2174271"/>
                  <a:ext cx="790003" cy="520064"/>
                  <a:chOff x="2901155" y="2174271"/>
                  <a:chExt cx="790003" cy="520064"/>
                </a:xfrm>
                <a:solidFill>
                  <a:srgbClr val="FFFFFF"/>
                </a:solidFill>
              </p:grpSpPr>
              <p:sp>
                <p:nvSpPr>
                  <p:cNvPr id="81" name="Freihandform: Form 80">
                    <a:extLst>
                      <a:ext uri="{FF2B5EF4-FFF2-40B4-BE49-F238E27FC236}">
                        <a16:creationId xmlns:a16="http://schemas.microsoft.com/office/drawing/2014/main" id="{10B6AB38-CCFF-6273-30D6-2F8444871B44}"/>
                      </a:ext>
                    </a:extLst>
                  </p:cNvPr>
                  <p:cNvSpPr/>
                  <p:nvPr/>
                </p:nvSpPr>
                <p:spPr>
                  <a:xfrm>
                    <a:off x="3013169" y="2174271"/>
                    <a:ext cx="677989" cy="511587"/>
                  </a:xfrm>
                  <a:custGeom>
                    <a:avLst/>
                    <a:gdLst>
                      <a:gd name="connsiteX0" fmla="*/ 677990 w 677989"/>
                      <a:gd name="connsiteY0" fmla="*/ 313277 h 511587"/>
                      <a:gd name="connsiteX1" fmla="*/ 561975 w 677989"/>
                      <a:gd name="connsiteY1" fmla="*/ 0 h 511587"/>
                      <a:gd name="connsiteX2" fmla="*/ 0 w 677989"/>
                      <a:gd name="connsiteY2" fmla="*/ 185547 h 511587"/>
                      <a:gd name="connsiteX3" fmla="*/ 114490 w 677989"/>
                      <a:gd name="connsiteY3" fmla="*/ 511588 h 511587"/>
                      <a:gd name="connsiteX4" fmla="*/ 677990 w 677989"/>
                      <a:gd name="connsiteY4" fmla="*/ 313277 h 5115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77989" h="511587">
                        <a:moveTo>
                          <a:pt x="677990" y="313277"/>
                        </a:moveTo>
                        <a:lnTo>
                          <a:pt x="561975" y="0"/>
                        </a:lnTo>
                        <a:lnTo>
                          <a:pt x="0" y="185547"/>
                        </a:lnTo>
                        <a:lnTo>
                          <a:pt x="114490" y="511588"/>
                        </a:lnTo>
                        <a:lnTo>
                          <a:pt x="677990" y="31327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2" name="Freihandform: Form 81">
                    <a:extLst>
                      <a:ext uri="{FF2B5EF4-FFF2-40B4-BE49-F238E27FC236}">
                        <a16:creationId xmlns:a16="http://schemas.microsoft.com/office/drawing/2014/main" id="{A11C702B-0C0A-AAB9-271F-232ABA6CC8A3}"/>
                      </a:ext>
                    </a:extLst>
                  </p:cNvPr>
                  <p:cNvSpPr/>
                  <p:nvPr/>
                </p:nvSpPr>
                <p:spPr>
                  <a:xfrm>
                    <a:off x="2901155" y="2348769"/>
                    <a:ext cx="345567" cy="345567"/>
                  </a:xfrm>
                  <a:custGeom>
                    <a:avLst/>
                    <a:gdLst>
                      <a:gd name="connsiteX0" fmla="*/ 345567 w 345567"/>
                      <a:gd name="connsiteY0" fmla="*/ 172783 h 345567"/>
                      <a:gd name="connsiteX1" fmla="*/ 172784 w 345567"/>
                      <a:gd name="connsiteY1" fmla="*/ 345567 h 345567"/>
                      <a:gd name="connsiteX2" fmla="*/ 0 w 345567"/>
                      <a:gd name="connsiteY2" fmla="*/ 172783 h 345567"/>
                      <a:gd name="connsiteX3" fmla="*/ 172784 w 345567"/>
                      <a:gd name="connsiteY3" fmla="*/ 0 h 345567"/>
                      <a:gd name="connsiteX4" fmla="*/ 345567 w 345567"/>
                      <a:gd name="connsiteY4" fmla="*/ 172783 h 3455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45567" h="345567">
                        <a:moveTo>
                          <a:pt x="345567" y="172783"/>
                        </a:moveTo>
                        <a:cubicBezTo>
                          <a:pt x="345567" y="268209"/>
                          <a:pt x="268209" y="345567"/>
                          <a:pt x="172784" y="345567"/>
                        </a:cubicBezTo>
                        <a:cubicBezTo>
                          <a:pt x="77358" y="345567"/>
                          <a:pt x="0" y="268209"/>
                          <a:pt x="0" y="172783"/>
                        </a:cubicBezTo>
                        <a:cubicBezTo>
                          <a:pt x="0" y="77358"/>
                          <a:pt x="77358" y="0"/>
                          <a:pt x="172784" y="0"/>
                        </a:cubicBezTo>
                        <a:cubicBezTo>
                          <a:pt x="268209" y="0"/>
                          <a:pt x="345567" y="77358"/>
                          <a:pt x="345567" y="17278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3" name="Grafik 23">
                  <a:extLst>
                    <a:ext uri="{FF2B5EF4-FFF2-40B4-BE49-F238E27FC236}">
                      <a16:creationId xmlns:a16="http://schemas.microsoft.com/office/drawing/2014/main" id="{E796CBCA-DE76-4092-C474-B3924577D2B6}"/>
                    </a:ext>
                  </a:extLst>
                </p:cNvPr>
                <p:cNvGrpSpPr/>
                <p:nvPr/>
              </p:nvGrpSpPr>
              <p:grpSpPr>
                <a:xfrm>
                  <a:off x="2358897" y="1530286"/>
                  <a:ext cx="861536" cy="1080516"/>
                  <a:chOff x="2358897" y="1530286"/>
                  <a:chExt cx="861536" cy="1080516"/>
                </a:xfrm>
                <a:solidFill>
                  <a:srgbClr val="FFFFFF"/>
                </a:solidFill>
              </p:grpSpPr>
              <p:sp>
                <p:nvSpPr>
                  <p:cNvPr id="79" name="Freihandform: Form 78">
                    <a:extLst>
                      <a:ext uri="{FF2B5EF4-FFF2-40B4-BE49-F238E27FC236}">
                        <a16:creationId xmlns:a16="http://schemas.microsoft.com/office/drawing/2014/main" id="{240772F6-2C49-FFD7-3626-5C4454FB9CA3}"/>
                      </a:ext>
                    </a:extLst>
                  </p:cNvPr>
                  <p:cNvSpPr/>
                  <p:nvPr/>
                </p:nvSpPr>
                <p:spPr>
                  <a:xfrm>
                    <a:off x="2358897" y="1530286"/>
                    <a:ext cx="396621" cy="396621"/>
                  </a:xfrm>
                  <a:custGeom>
                    <a:avLst/>
                    <a:gdLst>
                      <a:gd name="connsiteX0" fmla="*/ 396621 w 396621"/>
                      <a:gd name="connsiteY0" fmla="*/ 198311 h 396621"/>
                      <a:gd name="connsiteX1" fmla="*/ 198311 w 396621"/>
                      <a:gd name="connsiteY1" fmla="*/ 396621 h 396621"/>
                      <a:gd name="connsiteX2" fmla="*/ 0 w 396621"/>
                      <a:gd name="connsiteY2" fmla="*/ 198311 h 396621"/>
                      <a:gd name="connsiteX3" fmla="*/ 198311 w 396621"/>
                      <a:gd name="connsiteY3" fmla="*/ 0 h 396621"/>
                      <a:gd name="connsiteX4" fmla="*/ 396621 w 396621"/>
                      <a:gd name="connsiteY4" fmla="*/ 198311 h 3966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6621" h="396621">
                        <a:moveTo>
                          <a:pt x="396621" y="198311"/>
                        </a:moveTo>
                        <a:cubicBezTo>
                          <a:pt x="396621" y="307834"/>
                          <a:pt x="307834" y="396621"/>
                          <a:pt x="198311" y="396621"/>
                        </a:cubicBezTo>
                        <a:cubicBezTo>
                          <a:pt x="88787" y="396621"/>
                          <a:pt x="0" y="307834"/>
                          <a:pt x="0" y="198311"/>
                        </a:cubicBezTo>
                        <a:cubicBezTo>
                          <a:pt x="0" y="88787"/>
                          <a:pt x="88787" y="0"/>
                          <a:pt x="198311" y="0"/>
                        </a:cubicBezTo>
                        <a:cubicBezTo>
                          <a:pt x="307834" y="0"/>
                          <a:pt x="396621" y="88787"/>
                          <a:pt x="396621" y="19831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0" name="Freihandform: Form 79">
                    <a:extLst>
                      <a:ext uri="{FF2B5EF4-FFF2-40B4-BE49-F238E27FC236}">
                        <a16:creationId xmlns:a16="http://schemas.microsoft.com/office/drawing/2014/main" id="{FFD85389-5DBB-64B1-1F65-1B8AD4894FEB}"/>
                      </a:ext>
                    </a:extLst>
                  </p:cNvPr>
                  <p:cNvSpPr/>
                  <p:nvPr/>
                </p:nvSpPr>
                <p:spPr>
                  <a:xfrm>
                    <a:off x="2388139" y="1624869"/>
                    <a:ext cx="832294" cy="985932"/>
                  </a:xfrm>
                  <a:custGeom>
                    <a:avLst/>
                    <a:gdLst>
                      <a:gd name="connsiteX0" fmla="*/ 537591 w 832294"/>
                      <a:gd name="connsiteY0" fmla="*/ 985933 h 985932"/>
                      <a:gd name="connsiteX1" fmla="*/ 832295 w 832294"/>
                      <a:gd name="connsiteY1" fmla="*/ 805053 h 985932"/>
                      <a:gd name="connsiteX2" fmla="*/ 512064 w 832294"/>
                      <a:gd name="connsiteY2" fmla="*/ 283464 h 985932"/>
                      <a:gd name="connsiteX3" fmla="*/ 338042 w 832294"/>
                      <a:gd name="connsiteY3" fmla="*/ 0 h 985932"/>
                      <a:gd name="connsiteX4" fmla="*/ 0 w 832294"/>
                      <a:gd name="connsiteY4" fmla="*/ 207455 h 985932"/>
                      <a:gd name="connsiteX5" fmla="*/ 199835 w 832294"/>
                      <a:gd name="connsiteY5" fmla="*/ 496824 h 985932"/>
                      <a:gd name="connsiteX6" fmla="*/ 537591 w 832294"/>
                      <a:gd name="connsiteY6" fmla="*/ 985933 h 9859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32294" h="985932">
                        <a:moveTo>
                          <a:pt x="537591" y="985933"/>
                        </a:moveTo>
                        <a:lnTo>
                          <a:pt x="832295" y="805053"/>
                        </a:lnTo>
                        <a:lnTo>
                          <a:pt x="512064" y="283464"/>
                        </a:lnTo>
                        <a:lnTo>
                          <a:pt x="338042" y="0"/>
                        </a:lnTo>
                        <a:lnTo>
                          <a:pt x="0" y="207455"/>
                        </a:lnTo>
                        <a:lnTo>
                          <a:pt x="199835" y="496824"/>
                        </a:lnTo>
                        <a:lnTo>
                          <a:pt x="537591" y="98593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4" name="Grafik 23">
                  <a:extLst>
                    <a:ext uri="{FF2B5EF4-FFF2-40B4-BE49-F238E27FC236}">
                      <a16:creationId xmlns:a16="http://schemas.microsoft.com/office/drawing/2014/main" id="{F18E4751-5778-F857-C7EA-6AEF7772AF5E}"/>
                    </a:ext>
                  </a:extLst>
                </p:cNvPr>
                <p:cNvGrpSpPr/>
                <p:nvPr/>
              </p:nvGrpSpPr>
              <p:grpSpPr>
                <a:xfrm>
                  <a:off x="2248407" y="995518"/>
                  <a:ext cx="483174" cy="622983"/>
                  <a:chOff x="2248407" y="995518"/>
                  <a:chExt cx="483174" cy="622983"/>
                </a:xfrm>
              </p:grpSpPr>
              <p:sp>
                <p:nvSpPr>
                  <p:cNvPr id="77" name="Freihandform: Form 76">
                    <a:extLst>
                      <a:ext uri="{FF2B5EF4-FFF2-40B4-BE49-F238E27FC236}">
                        <a16:creationId xmlns:a16="http://schemas.microsoft.com/office/drawing/2014/main" id="{BCCFE58B-6635-A6AC-A177-67D5396D9C0D}"/>
                      </a:ext>
                    </a:extLst>
                  </p:cNvPr>
                  <p:cNvSpPr/>
                  <p:nvPr/>
                </p:nvSpPr>
                <p:spPr>
                  <a:xfrm>
                    <a:off x="2248407" y="995518"/>
                    <a:ext cx="483174" cy="622432"/>
                  </a:xfrm>
                  <a:custGeom>
                    <a:avLst/>
                    <a:gdLst>
                      <a:gd name="connsiteX0" fmla="*/ 0 w 483174"/>
                      <a:gd name="connsiteY0" fmla="*/ 470760 h 622432"/>
                      <a:gd name="connsiteX1" fmla="*/ 342995 w 483174"/>
                      <a:gd name="connsiteY1" fmla="*/ 593061 h 622432"/>
                      <a:gd name="connsiteX2" fmla="*/ 472535 w 483174"/>
                      <a:gd name="connsiteY2" fmla="*/ 229873 h 622432"/>
                      <a:gd name="connsiteX3" fmla="*/ 129540 w 483174"/>
                      <a:gd name="connsiteY3" fmla="*/ 107572 h 622432"/>
                      <a:gd name="connsiteX4" fmla="*/ 0 w 483174"/>
                      <a:gd name="connsiteY4" fmla="*/ 470760 h 6224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83174" h="622432">
                        <a:moveTo>
                          <a:pt x="0" y="470760"/>
                        </a:moveTo>
                        <a:cubicBezTo>
                          <a:pt x="24574" y="590203"/>
                          <a:pt x="237268" y="667737"/>
                          <a:pt x="342995" y="593061"/>
                        </a:cubicBezTo>
                        <a:lnTo>
                          <a:pt x="472535" y="229873"/>
                        </a:lnTo>
                        <a:cubicBezTo>
                          <a:pt x="547021" y="7083"/>
                          <a:pt x="208788" y="-91596"/>
                          <a:pt x="129540" y="107572"/>
                        </a:cubicBezTo>
                        <a:lnTo>
                          <a:pt x="0" y="470760"/>
                        </a:ln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8" name="Freihandform: Form 77">
                    <a:extLst>
                      <a:ext uri="{FF2B5EF4-FFF2-40B4-BE49-F238E27FC236}">
                        <a16:creationId xmlns:a16="http://schemas.microsoft.com/office/drawing/2014/main" id="{DA7F8437-22D3-032E-503B-1598B334D230}"/>
                      </a:ext>
                    </a:extLst>
                  </p:cNvPr>
                  <p:cNvSpPr/>
                  <p:nvPr/>
                </p:nvSpPr>
                <p:spPr>
                  <a:xfrm>
                    <a:off x="2248407" y="1181100"/>
                    <a:ext cx="351219" cy="437402"/>
                  </a:xfrm>
                  <a:custGeom>
                    <a:avLst/>
                    <a:gdLst>
                      <a:gd name="connsiteX0" fmla="*/ 101727 w 351219"/>
                      <a:gd name="connsiteY0" fmla="*/ 0 h 437402"/>
                      <a:gd name="connsiteX1" fmla="*/ 0 w 351219"/>
                      <a:gd name="connsiteY1" fmla="*/ 285274 h 437402"/>
                      <a:gd name="connsiteX2" fmla="*/ 342995 w 351219"/>
                      <a:gd name="connsiteY2" fmla="*/ 407575 h 437402"/>
                      <a:gd name="connsiteX3" fmla="*/ 293942 w 351219"/>
                      <a:gd name="connsiteY3" fmla="*/ 224409 h 437402"/>
                      <a:gd name="connsiteX4" fmla="*/ 101822 w 351219"/>
                      <a:gd name="connsiteY4" fmla="*/ 95 h 4374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1219" h="437402">
                        <a:moveTo>
                          <a:pt x="101727" y="0"/>
                        </a:moveTo>
                        <a:lnTo>
                          <a:pt x="0" y="285274"/>
                        </a:lnTo>
                        <a:cubicBezTo>
                          <a:pt x="27432" y="400621"/>
                          <a:pt x="236220" y="484823"/>
                          <a:pt x="342995" y="407575"/>
                        </a:cubicBezTo>
                        <a:cubicBezTo>
                          <a:pt x="342995" y="407575"/>
                          <a:pt x="380905" y="277368"/>
                          <a:pt x="293942" y="224409"/>
                        </a:cubicBezTo>
                        <a:cubicBezTo>
                          <a:pt x="101346" y="107156"/>
                          <a:pt x="101822" y="95"/>
                          <a:pt x="101822" y="95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5" name="Grafik 23">
                  <a:extLst>
                    <a:ext uri="{FF2B5EF4-FFF2-40B4-BE49-F238E27FC236}">
                      <a16:creationId xmlns:a16="http://schemas.microsoft.com/office/drawing/2014/main" id="{04E5D48F-AE22-190F-BB45-FC26074F5EC2}"/>
                    </a:ext>
                  </a:extLst>
                </p:cNvPr>
                <p:cNvGrpSpPr/>
                <p:nvPr/>
              </p:nvGrpSpPr>
              <p:grpSpPr>
                <a:xfrm>
                  <a:off x="2228899" y="609818"/>
                  <a:ext cx="706899" cy="824398"/>
                  <a:chOff x="2228899" y="609818"/>
                  <a:chExt cx="706899" cy="824398"/>
                </a:xfrm>
              </p:grpSpPr>
              <p:sp>
                <p:nvSpPr>
                  <p:cNvPr id="70" name="Freihandform: Form 69">
                    <a:extLst>
                      <a:ext uri="{FF2B5EF4-FFF2-40B4-BE49-F238E27FC236}">
                        <a16:creationId xmlns:a16="http://schemas.microsoft.com/office/drawing/2014/main" id="{6638FE81-CBB2-5340-48CA-3E5B7181A3F1}"/>
                      </a:ext>
                    </a:extLst>
                  </p:cNvPr>
                  <p:cNvSpPr/>
                  <p:nvPr/>
                </p:nvSpPr>
                <p:spPr>
                  <a:xfrm rot="-4474199">
                    <a:off x="2319554" y="647266"/>
                    <a:ext cx="525589" cy="588263"/>
                  </a:xfrm>
                  <a:custGeom>
                    <a:avLst/>
                    <a:gdLst>
                      <a:gd name="connsiteX0" fmla="*/ 525589 w 525589"/>
                      <a:gd name="connsiteY0" fmla="*/ 294132 h 588263"/>
                      <a:gd name="connsiteX1" fmla="*/ 262795 w 525589"/>
                      <a:gd name="connsiteY1" fmla="*/ 588264 h 588263"/>
                      <a:gd name="connsiteX2" fmla="*/ 0 w 525589"/>
                      <a:gd name="connsiteY2" fmla="*/ 294132 h 588263"/>
                      <a:gd name="connsiteX3" fmla="*/ 262795 w 525589"/>
                      <a:gd name="connsiteY3" fmla="*/ 0 h 588263"/>
                      <a:gd name="connsiteX4" fmla="*/ 525589 w 525589"/>
                      <a:gd name="connsiteY4" fmla="*/ 294132 h 5882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25589" h="588263">
                        <a:moveTo>
                          <a:pt x="525589" y="294132"/>
                        </a:moveTo>
                        <a:cubicBezTo>
                          <a:pt x="525589" y="456577"/>
                          <a:pt x="407932" y="588264"/>
                          <a:pt x="262795" y="588264"/>
                        </a:cubicBezTo>
                        <a:cubicBezTo>
                          <a:pt x="117657" y="588264"/>
                          <a:pt x="0" y="456577"/>
                          <a:pt x="0" y="294132"/>
                        </a:cubicBezTo>
                        <a:cubicBezTo>
                          <a:pt x="0" y="131687"/>
                          <a:pt x="117657" y="0"/>
                          <a:pt x="262795" y="0"/>
                        </a:cubicBezTo>
                        <a:cubicBezTo>
                          <a:pt x="407932" y="0"/>
                          <a:pt x="525589" y="131687"/>
                          <a:pt x="525589" y="294132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1" name="Freihandform: Form 70">
                    <a:extLst>
                      <a:ext uri="{FF2B5EF4-FFF2-40B4-BE49-F238E27FC236}">
                        <a16:creationId xmlns:a16="http://schemas.microsoft.com/office/drawing/2014/main" id="{B97CAF9A-2191-6DC0-1A77-EF14F0823347}"/>
                      </a:ext>
                    </a:extLst>
                  </p:cNvPr>
                  <p:cNvSpPr/>
                  <p:nvPr/>
                </p:nvSpPr>
                <p:spPr>
                  <a:xfrm>
                    <a:off x="2498816" y="902159"/>
                    <a:ext cx="410138" cy="507459"/>
                  </a:xfrm>
                  <a:custGeom>
                    <a:avLst/>
                    <a:gdLst>
                      <a:gd name="connsiteX0" fmla="*/ 393672 w 410138"/>
                      <a:gd name="connsiteY0" fmla="*/ 224553 h 507459"/>
                      <a:gd name="connsiteX1" fmla="*/ 365573 w 410138"/>
                      <a:gd name="connsiteY1" fmla="*/ 125684 h 507459"/>
                      <a:gd name="connsiteX2" fmla="*/ 31722 w 410138"/>
                      <a:gd name="connsiteY2" fmla="*/ 119778 h 507459"/>
                      <a:gd name="connsiteX3" fmla="*/ 4 w 410138"/>
                      <a:gd name="connsiteY3" fmla="*/ 312755 h 507459"/>
                      <a:gd name="connsiteX4" fmla="*/ 87538 w 410138"/>
                      <a:gd name="connsiteY4" fmla="*/ 470489 h 507459"/>
                      <a:gd name="connsiteX5" fmla="*/ 218317 w 410138"/>
                      <a:gd name="connsiteY5" fmla="*/ 507350 h 507459"/>
                      <a:gd name="connsiteX6" fmla="*/ 280039 w 410138"/>
                      <a:gd name="connsiteY6" fmla="*/ 460297 h 507459"/>
                      <a:gd name="connsiteX7" fmla="*/ 288516 w 410138"/>
                      <a:gd name="connsiteY7" fmla="*/ 430579 h 507459"/>
                      <a:gd name="connsiteX8" fmla="*/ 288516 w 410138"/>
                      <a:gd name="connsiteY8" fmla="*/ 430865 h 507459"/>
                      <a:gd name="connsiteX9" fmla="*/ 300994 w 410138"/>
                      <a:gd name="connsiteY9" fmla="*/ 411243 h 507459"/>
                      <a:gd name="connsiteX10" fmla="*/ 302041 w 410138"/>
                      <a:gd name="connsiteY10" fmla="*/ 378953 h 507459"/>
                      <a:gd name="connsiteX11" fmla="*/ 302041 w 410138"/>
                      <a:gd name="connsiteY11" fmla="*/ 378953 h 507459"/>
                      <a:gd name="connsiteX12" fmla="*/ 321091 w 410138"/>
                      <a:gd name="connsiteY12" fmla="*/ 359427 h 507459"/>
                      <a:gd name="connsiteX13" fmla="*/ 332807 w 410138"/>
                      <a:gd name="connsiteY13" fmla="*/ 315326 h 507459"/>
                      <a:gd name="connsiteX14" fmla="*/ 409579 w 410138"/>
                      <a:gd name="connsiteY14" fmla="*/ 285894 h 507459"/>
                      <a:gd name="connsiteX15" fmla="*/ 393672 w 410138"/>
                      <a:gd name="connsiteY15" fmla="*/ 224648 h 5074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410138" h="507459">
                        <a:moveTo>
                          <a:pt x="393672" y="224553"/>
                        </a:moveTo>
                        <a:cubicBezTo>
                          <a:pt x="383956" y="191787"/>
                          <a:pt x="364144" y="163593"/>
                          <a:pt x="365573" y="125684"/>
                        </a:cubicBezTo>
                        <a:cubicBezTo>
                          <a:pt x="390624" y="-427"/>
                          <a:pt x="83538" y="-76342"/>
                          <a:pt x="31722" y="119778"/>
                        </a:cubicBezTo>
                        <a:cubicBezTo>
                          <a:pt x="31722" y="119778"/>
                          <a:pt x="861" y="258843"/>
                          <a:pt x="4" y="312755"/>
                        </a:cubicBezTo>
                        <a:cubicBezTo>
                          <a:pt x="-377" y="337139"/>
                          <a:pt x="29531" y="447343"/>
                          <a:pt x="87538" y="470489"/>
                        </a:cubicBezTo>
                        <a:cubicBezTo>
                          <a:pt x="137068" y="490205"/>
                          <a:pt x="218317" y="507350"/>
                          <a:pt x="218317" y="507350"/>
                        </a:cubicBezTo>
                        <a:cubicBezTo>
                          <a:pt x="218317" y="507350"/>
                          <a:pt x="261560" y="512018"/>
                          <a:pt x="280039" y="460297"/>
                        </a:cubicBezTo>
                        <a:cubicBezTo>
                          <a:pt x="281467" y="456296"/>
                          <a:pt x="284515" y="445628"/>
                          <a:pt x="288516" y="430579"/>
                        </a:cubicBezTo>
                        <a:lnTo>
                          <a:pt x="288516" y="430865"/>
                        </a:lnTo>
                        <a:cubicBezTo>
                          <a:pt x="288516" y="430865"/>
                          <a:pt x="291469" y="422292"/>
                          <a:pt x="300994" y="411243"/>
                        </a:cubicBezTo>
                        <a:cubicBezTo>
                          <a:pt x="312519" y="397718"/>
                          <a:pt x="318901" y="384287"/>
                          <a:pt x="302041" y="378953"/>
                        </a:cubicBezTo>
                        <a:lnTo>
                          <a:pt x="302041" y="378953"/>
                        </a:lnTo>
                        <a:cubicBezTo>
                          <a:pt x="314805" y="378287"/>
                          <a:pt x="321663" y="365523"/>
                          <a:pt x="321091" y="359427"/>
                        </a:cubicBezTo>
                        <a:cubicBezTo>
                          <a:pt x="319663" y="341806"/>
                          <a:pt x="327949" y="315041"/>
                          <a:pt x="332807" y="315326"/>
                        </a:cubicBezTo>
                        <a:cubicBezTo>
                          <a:pt x="351762" y="316565"/>
                          <a:pt x="416818" y="324185"/>
                          <a:pt x="409579" y="285894"/>
                        </a:cubicBezTo>
                        <a:cubicBezTo>
                          <a:pt x="403864" y="255224"/>
                          <a:pt x="402244" y="253509"/>
                          <a:pt x="393672" y="224648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" name="Freihandform: Form 71">
                    <a:extLst>
                      <a:ext uri="{FF2B5EF4-FFF2-40B4-BE49-F238E27FC236}">
                        <a16:creationId xmlns:a16="http://schemas.microsoft.com/office/drawing/2014/main" id="{641D881B-F9F0-2BCA-7D36-EA8F91FB486D}"/>
                      </a:ext>
                    </a:extLst>
                  </p:cNvPr>
                  <p:cNvSpPr/>
                  <p:nvPr/>
                </p:nvSpPr>
                <p:spPr>
                  <a:xfrm>
                    <a:off x="2692166" y="978624"/>
                    <a:ext cx="158167" cy="48133"/>
                  </a:xfrm>
                  <a:custGeom>
                    <a:avLst/>
                    <a:gdLst>
                      <a:gd name="connsiteX0" fmla="*/ 140218 w 158167"/>
                      <a:gd name="connsiteY0" fmla="*/ 48075 h 48133"/>
                      <a:gd name="connsiteX1" fmla="*/ 79639 w 158167"/>
                      <a:gd name="connsiteY1" fmla="*/ 28549 h 48133"/>
                      <a:gd name="connsiteX2" fmla="*/ 4963 w 158167"/>
                      <a:gd name="connsiteY2" fmla="*/ 25501 h 48133"/>
                      <a:gd name="connsiteX3" fmla="*/ 1439 w 158167"/>
                      <a:gd name="connsiteY3" fmla="*/ 17405 h 48133"/>
                      <a:gd name="connsiteX4" fmla="*/ 71353 w 158167"/>
                      <a:gd name="connsiteY4" fmla="*/ 260 h 48133"/>
                      <a:gd name="connsiteX5" fmla="*/ 154792 w 158167"/>
                      <a:gd name="connsiteY5" fmla="*/ 19691 h 48133"/>
                      <a:gd name="connsiteX6" fmla="*/ 140218 w 158167"/>
                      <a:gd name="connsiteY6" fmla="*/ 48075 h 481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58167" h="48133">
                        <a:moveTo>
                          <a:pt x="140218" y="48075"/>
                        </a:moveTo>
                        <a:cubicBezTo>
                          <a:pt x="130693" y="46647"/>
                          <a:pt x="91831" y="30359"/>
                          <a:pt x="79639" y="28549"/>
                        </a:cubicBezTo>
                        <a:cubicBezTo>
                          <a:pt x="48207" y="23882"/>
                          <a:pt x="20013" y="25215"/>
                          <a:pt x="4963" y="25501"/>
                        </a:cubicBezTo>
                        <a:cubicBezTo>
                          <a:pt x="677" y="25501"/>
                          <a:pt x="-1704" y="20262"/>
                          <a:pt x="1439" y="17405"/>
                        </a:cubicBezTo>
                        <a:cubicBezTo>
                          <a:pt x="19251" y="1212"/>
                          <a:pt x="50398" y="-883"/>
                          <a:pt x="71353" y="260"/>
                        </a:cubicBezTo>
                        <a:cubicBezTo>
                          <a:pt x="104023" y="2070"/>
                          <a:pt x="144600" y="15309"/>
                          <a:pt x="154792" y="19691"/>
                        </a:cubicBezTo>
                        <a:cubicBezTo>
                          <a:pt x="164983" y="24072"/>
                          <a:pt x="149743" y="49504"/>
                          <a:pt x="140218" y="48075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" name="Freihandform: Form 72">
                    <a:extLst>
                      <a:ext uri="{FF2B5EF4-FFF2-40B4-BE49-F238E27FC236}">
                        <a16:creationId xmlns:a16="http://schemas.microsoft.com/office/drawing/2014/main" id="{CEE6E10E-F5A5-EDFD-8435-D7C59D6C0A55}"/>
                      </a:ext>
                    </a:extLst>
                  </p:cNvPr>
                  <p:cNvSpPr/>
                  <p:nvPr/>
                </p:nvSpPr>
                <p:spPr>
                  <a:xfrm rot="-4837802">
                    <a:off x="2748201" y="1039521"/>
                    <a:ext cx="50673" cy="26860"/>
                  </a:xfrm>
                  <a:custGeom>
                    <a:avLst/>
                    <a:gdLst>
                      <a:gd name="connsiteX0" fmla="*/ 50673 w 50673"/>
                      <a:gd name="connsiteY0" fmla="*/ 13430 h 26860"/>
                      <a:gd name="connsiteX1" fmla="*/ 25336 w 50673"/>
                      <a:gd name="connsiteY1" fmla="*/ 26861 h 26860"/>
                      <a:gd name="connsiteX2" fmla="*/ 0 w 50673"/>
                      <a:gd name="connsiteY2" fmla="*/ 13430 h 26860"/>
                      <a:gd name="connsiteX3" fmla="*/ 25336 w 50673"/>
                      <a:gd name="connsiteY3" fmla="*/ 0 h 26860"/>
                      <a:gd name="connsiteX4" fmla="*/ 50673 w 50673"/>
                      <a:gd name="connsiteY4" fmla="*/ 13430 h 268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673" h="26860">
                        <a:moveTo>
                          <a:pt x="50673" y="13430"/>
                        </a:moveTo>
                        <a:cubicBezTo>
                          <a:pt x="50673" y="20848"/>
                          <a:pt x="39329" y="26861"/>
                          <a:pt x="25336" y="26861"/>
                        </a:cubicBezTo>
                        <a:cubicBezTo>
                          <a:pt x="11344" y="26861"/>
                          <a:pt x="0" y="20848"/>
                          <a:pt x="0" y="13430"/>
                        </a:cubicBezTo>
                        <a:cubicBezTo>
                          <a:pt x="0" y="6013"/>
                          <a:pt x="11344" y="0"/>
                          <a:pt x="25336" y="0"/>
                        </a:cubicBezTo>
                        <a:cubicBezTo>
                          <a:pt x="39329" y="0"/>
                          <a:pt x="50673" y="6013"/>
                          <a:pt x="50673" y="1343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4" name="Freihandform: Form 73">
                    <a:extLst>
                      <a:ext uri="{FF2B5EF4-FFF2-40B4-BE49-F238E27FC236}">
                        <a16:creationId xmlns:a16="http://schemas.microsoft.com/office/drawing/2014/main" id="{6FC96CAE-E5C7-ED05-151F-ACFF0C2599BE}"/>
                      </a:ext>
                    </a:extLst>
                  </p:cNvPr>
                  <p:cNvSpPr/>
                  <p:nvPr/>
                </p:nvSpPr>
                <p:spPr>
                  <a:xfrm>
                    <a:off x="2715592" y="1019859"/>
                    <a:ext cx="94079" cy="27890"/>
                  </a:xfrm>
                  <a:custGeom>
                    <a:avLst/>
                    <a:gdLst>
                      <a:gd name="connsiteX0" fmla="*/ 93552 w 94079"/>
                      <a:gd name="connsiteY0" fmla="*/ 27890 h 27890"/>
                      <a:gd name="connsiteX1" fmla="*/ 44022 w 94079"/>
                      <a:gd name="connsiteY1" fmla="*/ 14555 h 27890"/>
                      <a:gd name="connsiteX2" fmla="*/ 1636 w 94079"/>
                      <a:gd name="connsiteY2" fmla="*/ 13984 h 27890"/>
                      <a:gd name="connsiteX3" fmla="*/ 63072 w 94079"/>
                      <a:gd name="connsiteY3" fmla="*/ 1316 h 27890"/>
                      <a:gd name="connsiteX4" fmla="*/ 93552 w 94079"/>
                      <a:gd name="connsiteY4" fmla="*/ 27890 h 278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4079" h="27890">
                        <a:moveTo>
                          <a:pt x="93552" y="27890"/>
                        </a:moveTo>
                        <a:cubicBezTo>
                          <a:pt x="93552" y="27890"/>
                          <a:pt x="73550" y="11222"/>
                          <a:pt x="44022" y="14555"/>
                        </a:cubicBezTo>
                        <a:cubicBezTo>
                          <a:pt x="14399" y="17889"/>
                          <a:pt x="-6079" y="20651"/>
                          <a:pt x="1636" y="13984"/>
                        </a:cubicBezTo>
                        <a:cubicBezTo>
                          <a:pt x="9351" y="7316"/>
                          <a:pt x="31735" y="-3828"/>
                          <a:pt x="63072" y="1316"/>
                        </a:cubicBezTo>
                        <a:cubicBezTo>
                          <a:pt x="72788" y="2935"/>
                          <a:pt x="98029" y="9698"/>
                          <a:pt x="93552" y="2789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5" name="Freihandform: Form 74">
                    <a:extLst>
                      <a:ext uri="{FF2B5EF4-FFF2-40B4-BE49-F238E27FC236}">
                        <a16:creationId xmlns:a16="http://schemas.microsoft.com/office/drawing/2014/main" id="{2097C3A3-0335-75C4-39ED-31DF9B4B3F8E}"/>
                      </a:ext>
                    </a:extLst>
                  </p:cNvPr>
                  <p:cNvSpPr/>
                  <p:nvPr/>
                </p:nvSpPr>
                <p:spPr>
                  <a:xfrm>
                    <a:off x="2260681" y="819150"/>
                    <a:ext cx="573773" cy="615066"/>
                  </a:xfrm>
                  <a:custGeom>
                    <a:avLst/>
                    <a:gdLst>
                      <a:gd name="connsiteX0" fmla="*/ 571037 w 573773"/>
                      <a:gd name="connsiteY0" fmla="*/ 411480 h 615066"/>
                      <a:gd name="connsiteX1" fmla="*/ 488931 w 573773"/>
                      <a:gd name="connsiteY1" fmla="*/ 422814 h 615066"/>
                      <a:gd name="connsiteX2" fmla="*/ 407302 w 573773"/>
                      <a:gd name="connsiteY2" fmla="*/ 347853 h 615066"/>
                      <a:gd name="connsiteX3" fmla="*/ 286811 w 573773"/>
                      <a:gd name="connsiteY3" fmla="*/ 136398 h 615066"/>
                      <a:gd name="connsiteX4" fmla="*/ 54306 w 573773"/>
                      <a:gd name="connsiteY4" fmla="*/ 1809 h 615066"/>
                      <a:gd name="connsiteX5" fmla="*/ 10586 w 573773"/>
                      <a:gd name="connsiteY5" fmla="*/ 164687 h 615066"/>
                      <a:gd name="connsiteX6" fmla="*/ 89548 w 573773"/>
                      <a:gd name="connsiteY6" fmla="*/ 361950 h 615066"/>
                      <a:gd name="connsiteX7" fmla="*/ 172987 w 573773"/>
                      <a:gd name="connsiteY7" fmla="*/ 246888 h 615066"/>
                      <a:gd name="connsiteX8" fmla="*/ 287001 w 573773"/>
                      <a:gd name="connsiteY8" fmla="*/ 294417 h 615066"/>
                      <a:gd name="connsiteX9" fmla="*/ 325768 w 573773"/>
                      <a:gd name="connsiteY9" fmla="*/ 553402 h 615066"/>
                      <a:gd name="connsiteX10" fmla="*/ 417399 w 573773"/>
                      <a:gd name="connsiteY10" fmla="*/ 602075 h 615066"/>
                      <a:gd name="connsiteX11" fmla="*/ 524460 w 573773"/>
                      <a:gd name="connsiteY11" fmla="*/ 577119 h 615066"/>
                      <a:gd name="connsiteX12" fmla="*/ 526650 w 573773"/>
                      <a:gd name="connsiteY12" fmla="*/ 513588 h 615066"/>
                      <a:gd name="connsiteX13" fmla="*/ 526650 w 573773"/>
                      <a:gd name="connsiteY13" fmla="*/ 513873 h 615066"/>
                      <a:gd name="connsiteX14" fmla="*/ 539128 w 573773"/>
                      <a:gd name="connsiteY14" fmla="*/ 494252 h 615066"/>
                      <a:gd name="connsiteX15" fmla="*/ 540176 w 573773"/>
                      <a:gd name="connsiteY15" fmla="*/ 461962 h 615066"/>
                      <a:gd name="connsiteX16" fmla="*/ 571132 w 573773"/>
                      <a:gd name="connsiteY16" fmla="*/ 411480 h 6150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573773" h="615066">
                        <a:moveTo>
                          <a:pt x="571037" y="411480"/>
                        </a:moveTo>
                        <a:cubicBezTo>
                          <a:pt x="570275" y="402717"/>
                          <a:pt x="553130" y="387000"/>
                          <a:pt x="488931" y="422814"/>
                        </a:cubicBezTo>
                        <a:cubicBezTo>
                          <a:pt x="471120" y="432720"/>
                          <a:pt x="451593" y="369951"/>
                          <a:pt x="407302" y="347853"/>
                        </a:cubicBezTo>
                        <a:cubicBezTo>
                          <a:pt x="286620" y="287750"/>
                          <a:pt x="395205" y="216979"/>
                          <a:pt x="286811" y="136398"/>
                        </a:cubicBezTo>
                        <a:cubicBezTo>
                          <a:pt x="218040" y="85344"/>
                          <a:pt x="135078" y="110109"/>
                          <a:pt x="54306" y="1809"/>
                        </a:cubicBezTo>
                        <a:cubicBezTo>
                          <a:pt x="40875" y="-16098"/>
                          <a:pt x="-25419" y="103346"/>
                          <a:pt x="10586" y="164687"/>
                        </a:cubicBezTo>
                        <a:cubicBezTo>
                          <a:pt x="96501" y="311086"/>
                          <a:pt x="89548" y="361950"/>
                          <a:pt x="89548" y="361950"/>
                        </a:cubicBezTo>
                        <a:cubicBezTo>
                          <a:pt x="89548" y="361950"/>
                          <a:pt x="190608" y="336899"/>
                          <a:pt x="172987" y="246888"/>
                        </a:cubicBezTo>
                        <a:cubicBezTo>
                          <a:pt x="170987" y="170592"/>
                          <a:pt x="296622" y="190023"/>
                          <a:pt x="287001" y="294417"/>
                        </a:cubicBezTo>
                        <a:cubicBezTo>
                          <a:pt x="287001" y="318801"/>
                          <a:pt x="174702" y="503967"/>
                          <a:pt x="325768" y="553402"/>
                        </a:cubicBezTo>
                        <a:cubicBezTo>
                          <a:pt x="349485" y="561117"/>
                          <a:pt x="385585" y="581977"/>
                          <a:pt x="417399" y="602075"/>
                        </a:cubicBezTo>
                        <a:cubicBezTo>
                          <a:pt x="456832" y="626840"/>
                          <a:pt x="511220" y="614934"/>
                          <a:pt x="524460" y="577119"/>
                        </a:cubicBezTo>
                        <a:cubicBezTo>
                          <a:pt x="537699" y="539305"/>
                          <a:pt x="522650" y="528637"/>
                          <a:pt x="526650" y="513588"/>
                        </a:cubicBezTo>
                        <a:lnTo>
                          <a:pt x="526650" y="513873"/>
                        </a:lnTo>
                        <a:cubicBezTo>
                          <a:pt x="526650" y="513873"/>
                          <a:pt x="529603" y="505301"/>
                          <a:pt x="539128" y="494252"/>
                        </a:cubicBezTo>
                        <a:cubicBezTo>
                          <a:pt x="550653" y="480726"/>
                          <a:pt x="557035" y="467296"/>
                          <a:pt x="540176" y="461962"/>
                        </a:cubicBezTo>
                        <a:cubicBezTo>
                          <a:pt x="586467" y="461962"/>
                          <a:pt x="571608" y="417671"/>
                          <a:pt x="571132" y="41148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6" name="Freihandform: Form 75">
                    <a:extLst>
                      <a:ext uri="{FF2B5EF4-FFF2-40B4-BE49-F238E27FC236}">
                        <a16:creationId xmlns:a16="http://schemas.microsoft.com/office/drawing/2014/main" id="{06B11940-FA09-CF55-C61D-1EA3FA7C608F}"/>
                      </a:ext>
                    </a:extLst>
                  </p:cNvPr>
                  <p:cNvSpPr/>
                  <p:nvPr/>
                </p:nvSpPr>
                <p:spPr>
                  <a:xfrm rot="-571800">
                    <a:off x="2433554" y="969703"/>
                    <a:ext cx="118871" cy="184403"/>
                  </a:xfrm>
                  <a:custGeom>
                    <a:avLst/>
                    <a:gdLst>
                      <a:gd name="connsiteX0" fmla="*/ 118872 w 118871"/>
                      <a:gd name="connsiteY0" fmla="*/ 92202 h 184403"/>
                      <a:gd name="connsiteX1" fmla="*/ 59436 w 118871"/>
                      <a:gd name="connsiteY1" fmla="*/ 184404 h 184403"/>
                      <a:gd name="connsiteX2" fmla="*/ 0 w 118871"/>
                      <a:gd name="connsiteY2" fmla="*/ 92202 h 184403"/>
                      <a:gd name="connsiteX3" fmla="*/ 59436 w 118871"/>
                      <a:gd name="connsiteY3" fmla="*/ 0 h 184403"/>
                      <a:gd name="connsiteX4" fmla="*/ 118872 w 118871"/>
                      <a:gd name="connsiteY4" fmla="*/ 92202 h 1844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8871" h="184403">
                        <a:moveTo>
                          <a:pt x="118872" y="92202"/>
                        </a:moveTo>
                        <a:cubicBezTo>
                          <a:pt x="118872" y="143124"/>
                          <a:pt x="92262" y="184404"/>
                          <a:pt x="59436" y="184404"/>
                        </a:cubicBezTo>
                        <a:cubicBezTo>
                          <a:pt x="26610" y="184404"/>
                          <a:pt x="0" y="143124"/>
                          <a:pt x="0" y="92202"/>
                        </a:cubicBezTo>
                        <a:cubicBezTo>
                          <a:pt x="0" y="41280"/>
                          <a:pt x="26610" y="0"/>
                          <a:pt x="59436" y="0"/>
                        </a:cubicBezTo>
                        <a:cubicBezTo>
                          <a:pt x="92262" y="0"/>
                          <a:pt x="118872" y="41280"/>
                          <a:pt x="118872" y="92202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6" name="Grafik 23">
                  <a:extLst>
                    <a:ext uri="{FF2B5EF4-FFF2-40B4-BE49-F238E27FC236}">
                      <a16:creationId xmlns:a16="http://schemas.microsoft.com/office/drawing/2014/main" id="{B55DFF47-0E67-33D7-75BB-C2C46A98DFF3}"/>
                    </a:ext>
                  </a:extLst>
                </p:cNvPr>
                <p:cNvGrpSpPr/>
                <p:nvPr/>
              </p:nvGrpSpPr>
              <p:grpSpPr>
                <a:xfrm>
                  <a:off x="1967227" y="1280636"/>
                  <a:ext cx="1281425" cy="4889010"/>
                  <a:chOff x="1967227" y="1280636"/>
                  <a:chExt cx="1281425" cy="4889010"/>
                </a:xfrm>
              </p:grpSpPr>
              <p:grpSp>
                <p:nvGrpSpPr>
                  <p:cNvPr id="51" name="Grafik 23">
                    <a:extLst>
                      <a:ext uri="{FF2B5EF4-FFF2-40B4-BE49-F238E27FC236}">
                        <a16:creationId xmlns:a16="http://schemas.microsoft.com/office/drawing/2014/main" id="{BB635DF1-4A74-10FA-2E34-1738597BC80B}"/>
                      </a:ext>
                    </a:extLst>
                  </p:cNvPr>
                  <p:cNvGrpSpPr/>
                  <p:nvPr/>
                </p:nvGrpSpPr>
                <p:grpSpPr>
                  <a:xfrm>
                    <a:off x="2381090" y="5797515"/>
                    <a:ext cx="867562" cy="295551"/>
                    <a:chOff x="2381090" y="5797515"/>
                    <a:chExt cx="867562" cy="295551"/>
                  </a:xfrm>
                </p:grpSpPr>
                <p:sp>
                  <p:nvSpPr>
                    <p:cNvPr id="68" name="Freihandform: Form 67">
                      <a:extLst>
                        <a:ext uri="{FF2B5EF4-FFF2-40B4-BE49-F238E27FC236}">
                          <a16:creationId xmlns:a16="http://schemas.microsoft.com/office/drawing/2014/main" id="{1A39871A-BAA8-9AFD-0A53-B5C349D6CC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81199" y="5797515"/>
                      <a:ext cx="865764" cy="289407"/>
                    </a:xfrm>
                    <a:custGeom>
                      <a:avLst/>
                      <a:gdLst>
                        <a:gd name="connsiteX0" fmla="*/ 60851 w 865764"/>
                        <a:gd name="connsiteY0" fmla="*/ 28546 h 289407"/>
                        <a:gd name="connsiteX1" fmla="*/ 82 w 865764"/>
                        <a:gd name="connsiteY1" fmla="*/ 170088 h 289407"/>
                        <a:gd name="connsiteX2" fmla="*/ 5702 w 865764"/>
                        <a:gd name="connsiteY2" fmla="*/ 253908 h 289407"/>
                        <a:gd name="connsiteX3" fmla="*/ 30371 w 865764"/>
                        <a:gd name="connsiteY3" fmla="*/ 276863 h 289407"/>
                        <a:gd name="connsiteX4" fmla="*/ 811136 w 865764"/>
                        <a:gd name="connsiteY4" fmla="*/ 249717 h 289407"/>
                        <a:gd name="connsiteX5" fmla="*/ 823899 w 865764"/>
                        <a:gd name="connsiteY5" fmla="*/ 132750 h 289407"/>
                        <a:gd name="connsiteX6" fmla="*/ 534625 w 865764"/>
                        <a:gd name="connsiteY6" fmla="*/ 83696 h 289407"/>
                        <a:gd name="connsiteX7" fmla="*/ 329837 w 865764"/>
                        <a:gd name="connsiteY7" fmla="*/ 829 h 289407"/>
                        <a:gd name="connsiteX8" fmla="*/ 273068 w 865764"/>
                        <a:gd name="connsiteY8" fmla="*/ 56931 h 289407"/>
                        <a:gd name="connsiteX9" fmla="*/ 140195 w 865764"/>
                        <a:gd name="connsiteY9" fmla="*/ 56931 h 289407"/>
                        <a:gd name="connsiteX10" fmla="*/ 60756 w 865764"/>
                        <a:gd name="connsiteY10" fmla="*/ 28546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60851" y="28546"/>
                          </a:moveTo>
                          <a:cubicBezTo>
                            <a:pt x="60851" y="28546"/>
                            <a:pt x="-2585" y="92078"/>
                            <a:pt x="82" y="170088"/>
                          </a:cubicBezTo>
                          <a:cubicBezTo>
                            <a:pt x="1511" y="210474"/>
                            <a:pt x="3797" y="237335"/>
                            <a:pt x="5702" y="253908"/>
                          </a:cubicBezTo>
                          <a:cubicBezTo>
                            <a:pt x="7130" y="266576"/>
                            <a:pt x="17608" y="276292"/>
                            <a:pt x="30371" y="276863"/>
                          </a:cubicBezTo>
                          <a:cubicBezTo>
                            <a:pt x="138956" y="281626"/>
                            <a:pt x="690740" y="314487"/>
                            <a:pt x="811136" y="249717"/>
                          </a:cubicBezTo>
                          <a:cubicBezTo>
                            <a:pt x="926102" y="187900"/>
                            <a:pt x="823899" y="132750"/>
                            <a:pt x="823899" y="132750"/>
                          </a:cubicBezTo>
                          <a:cubicBezTo>
                            <a:pt x="823899" y="132750"/>
                            <a:pt x="648925" y="152753"/>
                            <a:pt x="534625" y="83696"/>
                          </a:cubicBezTo>
                          <a:cubicBezTo>
                            <a:pt x="432898" y="22260"/>
                            <a:pt x="348030" y="-5267"/>
                            <a:pt x="329837" y="829"/>
                          </a:cubicBezTo>
                          <a:cubicBezTo>
                            <a:pt x="311645" y="6925"/>
                            <a:pt x="305263" y="35500"/>
                            <a:pt x="273068" y="56931"/>
                          </a:cubicBezTo>
                          <a:cubicBezTo>
                            <a:pt x="240779" y="78458"/>
                            <a:pt x="202012" y="78458"/>
                            <a:pt x="140195" y="56931"/>
                          </a:cubicBezTo>
                          <a:cubicBezTo>
                            <a:pt x="78377" y="35405"/>
                            <a:pt x="79616" y="20450"/>
                            <a:pt x="60756" y="28546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9" name="Freihandform: Form 68">
                      <a:extLst>
                        <a:ext uri="{FF2B5EF4-FFF2-40B4-BE49-F238E27FC236}">
                          <a16:creationId xmlns:a16="http://schemas.microsoft.com/office/drawing/2014/main" id="{4BA27757-23D5-C3BB-429A-B49D4B2C0F6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81090" y="5939885"/>
                      <a:ext cx="867562" cy="153181"/>
                    </a:xfrm>
                    <a:custGeom>
                      <a:avLst/>
                      <a:gdLst>
                        <a:gd name="connsiteX0" fmla="*/ 30099 w 867562"/>
                        <a:gd name="connsiteY0" fmla="*/ 153162 h 153181"/>
                        <a:gd name="connsiteX1" fmla="*/ 692658 w 867562"/>
                        <a:gd name="connsiteY1" fmla="*/ 152781 h 153181"/>
                        <a:gd name="connsiteX2" fmla="*/ 811816 w 867562"/>
                        <a:gd name="connsiteY2" fmla="*/ 116396 h 153181"/>
                        <a:gd name="connsiteX3" fmla="*/ 838962 w 867562"/>
                        <a:gd name="connsiteY3" fmla="*/ 0 h 153181"/>
                        <a:gd name="connsiteX4" fmla="*/ 798862 w 867562"/>
                        <a:gd name="connsiteY4" fmla="*/ 42291 h 153181"/>
                        <a:gd name="connsiteX5" fmla="*/ 0 w 867562"/>
                        <a:gd name="connsiteY5" fmla="*/ 51245 h 153181"/>
                        <a:gd name="connsiteX6" fmla="*/ 5239 w 867562"/>
                        <a:gd name="connsiteY6" fmla="*/ 130016 h 153181"/>
                        <a:gd name="connsiteX7" fmla="*/ 30004 w 867562"/>
                        <a:gd name="connsiteY7" fmla="*/ 153162 h 1531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1">
                          <a:moveTo>
                            <a:pt x="30099" y="153162"/>
                          </a:moveTo>
                          <a:cubicBezTo>
                            <a:pt x="32575" y="153258"/>
                            <a:pt x="690563" y="152971"/>
                            <a:pt x="692658" y="152781"/>
                          </a:cubicBezTo>
                          <a:cubicBezTo>
                            <a:pt x="751237" y="147066"/>
                            <a:pt x="787813" y="129350"/>
                            <a:pt x="811816" y="116396"/>
                          </a:cubicBezTo>
                          <a:cubicBezTo>
                            <a:pt x="897922" y="70104"/>
                            <a:pt x="865251" y="15907"/>
                            <a:pt x="838962" y="0"/>
                          </a:cubicBezTo>
                          <a:cubicBezTo>
                            <a:pt x="830390" y="9430"/>
                            <a:pt x="817531" y="32290"/>
                            <a:pt x="798862" y="42291"/>
                          </a:cubicBezTo>
                          <a:cubicBezTo>
                            <a:pt x="671703" y="110680"/>
                            <a:pt x="68390" y="56483"/>
                            <a:pt x="0" y="51245"/>
                          </a:cubicBezTo>
                          <a:cubicBezTo>
                            <a:pt x="1429" y="85630"/>
                            <a:pt x="3429" y="114871"/>
                            <a:pt x="5239" y="130016"/>
                          </a:cubicBezTo>
                          <a:cubicBezTo>
                            <a:pt x="6667" y="142780"/>
                            <a:pt x="17145" y="152591"/>
                            <a:pt x="30004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52" name="Grafik 23">
                    <a:extLst>
                      <a:ext uri="{FF2B5EF4-FFF2-40B4-BE49-F238E27FC236}">
                        <a16:creationId xmlns:a16="http://schemas.microsoft.com/office/drawing/2014/main" id="{BC15AB41-2354-2ABE-E5B9-09231C92060A}"/>
                      </a:ext>
                    </a:extLst>
                  </p:cNvPr>
                  <p:cNvGrpSpPr/>
                  <p:nvPr/>
                </p:nvGrpSpPr>
                <p:grpSpPr>
                  <a:xfrm>
                    <a:off x="2220308" y="5874095"/>
                    <a:ext cx="867562" cy="295551"/>
                    <a:chOff x="2220308" y="5874095"/>
                    <a:chExt cx="867562" cy="295551"/>
                  </a:xfrm>
                </p:grpSpPr>
                <p:sp>
                  <p:nvSpPr>
                    <p:cNvPr id="66" name="Freihandform: Form 65">
                      <a:extLst>
                        <a:ext uri="{FF2B5EF4-FFF2-40B4-BE49-F238E27FC236}">
                          <a16:creationId xmlns:a16="http://schemas.microsoft.com/office/drawing/2014/main" id="{D10DE5C0-0125-0D91-E2B2-B816317F80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20512" y="5874095"/>
                      <a:ext cx="865764" cy="289407"/>
                    </a:xfrm>
                    <a:custGeom>
                      <a:avLst/>
                      <a:gdLst>
                        <a:gd name="connsiteX0" fmla="*/ 60851 w 865764"/>
                        <a:gd name="connsiteY0" fmla="*/ 28547 h 289407"/>
                        <a:gd name="connsiteX1" fmla="*/ 82 w 865764"/>
                        <a:gd name="connsiteY1" fmla="*/ 170088 h 289407"/>
                        <a:gd name="connsiteX2" fmla="*/ 5702 w 865764"/>
                        <a:gd name="connsiteY2" fmla="*/ 253908 h 289407"/>
                        <a:gd name="connsiteX3" fmla="*/ 30371 w 865764"/>
                        <a:gd name="connsiteY3" fmla="*/ 276864 h 289407"/>
                        <a:gd name="connsiteX4" fmla="*/ 811136 w 865764"/>
                        <a:gd name="connsiteY4" fmla="*/ 249717 h 289407"/>
                        <a:gd name="connsiteX5" fmla="*/ 823899 w 865764"/>
                        <a:gd name="connsiteY5" fmla="*/ 132750 h 289407"/>
                        <a:gd name="connsiteX6" fmla="*/ 534625 w 865764"/>
                        <a:gd name="connsiteY6" fmla="*/ 83696 h 289407"/>
                        <a:gd name="connsiteX7" fmla="*/ 329837 w 865764"/>
                        <a:gd name="connsiteY7" fmla="*/ 829 h 289407"/>
                        <a:gd name="connsiteX8" fmla="*/ 273068 w 865764"/>
                        <a:gd name="connsiteY8" fmla="*/ 56931 h 289407"/>
                        <a:gd name="connsiteX9" fmla="*/ 140195 w 865764"/>
                        <a:gd name="connsiteY9" fmla="*/ 56931 h 289407"/>
                        <a:gd name="connsiteX10" fmla="*/ 60756 w 865764"/>
                        <a:gd name="connsiteY10" fmla="*/ 28547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60851" y="28547"/>
                          </a:moveTo>
                          <a:cubicBezTo>
                            <a:pt x="60851" y="28547"/>
                            <a:pt x="-2585" y="92078"/>
                            <a:pt x="82" y="170088"/>
                          </a:cubicBezTo>
                          <a:cubicBezTo>
                            <a:pt x="1511" y="210474"/>
                            <a:pt x="3797" y="237335"/>
                            <a:pt x="5702" y="253908"/>
                          </a:cubicBezTo>
                          <a:cubicBezTo>
                            <a:pt x="7130" y="266576"/>
                            <a:pt x="17608" y="276292"/>
                            <a:pt x="30371" y="276864"/>
                          </a:cubicBezTo>
                          <a:cubicBezTo>
                            <a:pt x="138956" y="281626"/>
                            <a:pt x="690740" y="314487"/>
                            <a:pt x="811136" y="249717"/>
                          </a:cubicBezTo>
                          <a:cubicBezTo>
                            <a:pt x="926102" y="187900"/>
                            <a:pt x="823899" y="132750"/>
                            <a:pt x="823899" y="132750"/>
                          </a:cubicBezTo>
                          <a:cubicBezTo>
                            <a:pt x="823899" y="132750"/>
                            <a:pt x="648925" y="152752"/>
                            <a:pt x="534625" y="83696"/>
                          </a:cubicBezTo>
                          <a:cubicBezTo>
                            <a:pt x="432898" y="22260"/>
                            <a:pt x="348030" y="-5267"/>
                            <a:pt x="329837" y="829"/>
                          </a:cubicBezTo>
                          <a:cubicBezTo>
                            <a:pt x="311645" y="6925"/>
                            <a:pt x="305263" y="35500"/>
                            <a:pt x="273068" y="56931"/>
                          </a:cubicBezTo>
                          <a:cubicBezTo>
                            <a:pt x="240779" y="78458"/>
                            <a:pt x="202012" y="78458"/>
                            <a:pt x="140195" y="56931"/>
                          </a:cubicBezTo>
                          <a:cubicBezTo>
                            <a:pt x="78377" y="35404"/>
                            <a:pt x="79616" y="20450"/>
                            <a:pt x="60756" y="28547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7" name="Freihandform: Form 66">
                      <a:extLst>
                        <a:ext uri="{FF2B5EF4-FFF2-40B4-BE49-F238E27FC236}">
                          <a16:creationId xmlns:a16="http://schemas.microsoft.com/office/drawing/2014/main" id="{9DD3FC2C-52BD-E524-CACC-D7FB5C0FB33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20308" y="6016466"/>
                      <a:ext cx="867562" cy="153180"/>
                    </a:xfrm>
                    <a:custGeom>
                      <a:avLst/>
                      <a:gdLst>
                        <a:gd name="connsiteX0" fmla="*/ 30099 w 867562"/>
                        <a:gd name="connsiteY0" fmla="*/ 153162 h 153180"/>
                        <a:gd name="connsiteX1" fmla="*/ 692658 w 867562"/>
                        <a:gd name="connsiteY1" fmla="*/ 152781 h 153180"/>
                        <a:gd name="connsiteX2" fmla="*/ 811816 w 867562"/>
                        <a:gd name="connsiteY2" fmla="*/ 116395 h 153180"/>
                        <a:gd name="connsiteX3" fmla="*/ 838962 w 867562"/>
                        <a:gd name="connsiteY3" fmla="*/ 0 h 153180"/>
                        <a:gd name="connsiteX4" fmla="*/ 798862 w 867562"/>
                        <a:gd name="connsiteY4" fmla="*/ 42291 h 153180"/>
                        <a:gd name="connsiteX5" fmla="*/ 0 w 867562"/>
                        <a:gd name="connsiteY5" fmla="*/ 51245 h 153180"/>
                        <a:gd name="connsiteX6" fmla="*/ 5239 w 867562"/>
                        <a:gd name="connsiteY6" fmla="*/ 130016 h 153180"/>
                        <a:gd name="connsiteX7" fmla="*/ 30004 w 867562"/>
                        <a:gd name="connsiteY7" fmla="*/ 153162 h 15318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0">
                          <a:moveTo>
                            <a:pt x="30099" y="153162"/>
                          </a:moveTo>
                          <a:cubicBezTo>
                            <a:pt x="32575" y="153257"/>
                            <a:pt x="690562" y="152971"/>
                            <a:pt x="692658" y="152781"/>
                          </a:cubicBezTo>
                          <a:cubicBezTo>
                            <a:pt x="751237" y="147066"/>
                            <a:pt x="787813" y="129349"/>
                            <a:pt x="811816" y="116395"/>
                          </a:cubicBezTo>
                          <a:cubicBezTo>
                            <a:pt x="897922" y="70104"/>
                            <a:pt x="865251" y="15907"/>
                            <a:pt x="838962" y="0"/>
                          </a:cubicBezTo>
                          <a:cubicBezTo>
                            <a:pt x="830389" y="9430"/>
                            <a:pt x="817531" y="32289"/>
                            <a:pt x="798862" y="42291"/>
                          </a:cubicBezTo>
                          <a:cubicBezTo>
                            <a:pt x="671703" y="110680"/>
                            <a:pt x="68390" y="56483"/>
                            <a:pt x="0" y="51245"/>
                          </a:cubicBezTo>
                          <a:cubicBezTo>
                            <a:pt x="1429" y="85630"/>
                            <a:pt x="3429" y="114871"/>
                            <a:pt x="5239" y="130016"/>
                          </a:cubicBezTo>
                          <a:cubicBezTo>
                            <a:pt x="6668" y="142780"/>
                            <a:pt x="17145" y="152590"/>
                            <a:pt x="30004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3" name="Freihandform: Form 52">
                    <a:extLst>
                      <a:ext uri="{FF2B5EF4-FFF2-40B4-BE49-F238E27FC236}">
                        <a16:creationId xmlns:a16="http://schemas.microsoft.com/office/drawing/2014/main" id="{A37B211C-1CAA-5C9C-787E-D949C2213C1A}"/>
                      </a:ext>
                    </a:extLst>
                  </p:cNvPr>
                  <p:cNvSpPr/>
                  <p:nvPr/>
                </p:nvSpPr>
                <p:spPr>
                  <a:xfrm>
                    <a:off x="2143233" y="2862833"/>
                    <a:ext cx="819357" cy="1885252"/>
                  </a:xfrm>
                  <a:custGeom>
                    <a:avLst/>
                    <a:gdLst>
                      <a:gd name="connsiteX0" fmla="*/ 37165 w 819357"/>
                      <a:gd name="connsiteY0" fmla="*/ 78581 h 1885252"/>
                      <a:gd name="connsiteX1" fmla="*/ 704010 w 819357"/>
                      <a:gd name="connsiteY1" fmla="*/ 0 h 1885252"/>
                      <a:gd name="connsiteX2" fmla="*/ 802594 w 819357"/>
                      <a:gd name="connsiteY2" fmla="*/ 936117 h 1885252"/>
                      <a:gd name="connsiteX3" fmla="*/ 811167 w 819357"/>
                      <a:gd name="connsiteY3" fmla="*/ 1804130 h 1885252"/>
                      <a:gd name="connsiteX4" fmla="*/ 296436 w 819357"/>
                      <a:gd name="connsiteY4" fmla="*/ 1843659 h 1885252"/>
                      <a:gd name="connsiteX5" fmla="*/ 37070 w 819357"/>
                      <a:gd name="connsiteY5" fmla="*/ 78677 h 1885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9357" h="1885252">
                        <a:moveTo>
                          <a:pt x="37165" y="78581"/>
                        </a:moveTo>
                        <a:cubicBezTo>
                          <a:pt x="46595" y="79820"/>
                          <a:pt x="704010" y="0"/>
                          <a:pt x="704010" y="0"/>
                        </a:cubicBezTo>
                        <a:cubicBezTo>
                          <a:pt x="704010" y="0"/>
                          <a:pt x="794307" y="770858"/>
                          <a:pt x="802594" y="936117"/>
                        </a:cubicBezTo>
                        <a:cubicBezTo>
                          <a:pt x="834408" y="1569434"/>
                          <a:pt x="811167" y="1804130"/>
                          <a:pt x="811167" y="1804130"/>
                        </a:cubicBezTo>
                        <a:cubicBezTo>
                          <a:pt x="664291" y="1911477"/>
                          <a:pt x="461599" y="1898809"/>
                          <a:pt x="296436" y="1843659"/>
                        </a:cubicBezTo>
                        <a:cubicBezTo>
                          <a:pt x="183850" y="1122045"/>
                          <a:pt x="-101233" y="808292"/>
                          <a:pt x="37070" y="78677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4" name="Freihandform: Form 53">
                    <a:extLst>
                      <a:ext uri="{FF2B5EF4-FFF2-40B4-BE49-F238E27FC236}">
                        <a16:creationId xmlns:a16="http://schemas.microsoft.com/office/drawing/2014/main" id="{120D8DD8-E28A-CDB4-8421-93C2C15D2854}"/>
                      </a:ext>
                    </a:extLst>
                  </p:cNvPr>
                  <p:cNvSpPr/>
                  <p:nvPr/>
                </p:nvSpPr>
                <p:spPr>
                  <a:xfrm>
                    <a:off x="2334164" y="4557019"/>
                    <a:ext cx="619855" cy="1372578"/>
                  </a:xfrm>
                  <a:custGeom>
                    <a:avLst/>
                    <a:gdLst>
                      <a:gd name="connsiteX0" fmla="*/ 104648 w 619855"/>
                      <a:gd name="connsiteY0" fmla="*/ 57557 h 1372578"/>
                      <a:gd name="connsiteX1" fmla="*/ 19494 w 619855"/>
                      <a:gd name="connsiteY1" fmla="*/ 1049776 h 1372578"/>
                      <a:gd name="connsiteX2" fmla="*/ 52165 w 619855"/>
                      <a:gd name="connsiteY2" fmla="*/ 1372197 h 1372578"/>
                      <a:gd name="connsiteX3" fmla="*/ 356013 w 619855"/>
                      <a:gd name="connsiteY3" fmla="*/ 1339050 h 1372578"/>
                      <a:gd name="connsiteX4" fmla="*/ 569182 w 619855"/>
                      <a:gd name="connsiteY4" fmla="*/ 1316572 h 1372578"/>
                      <a:gd name="connsiteX5" fmla="*/ 557466 w 619855"/>
                      <a:gd name="connsiteY5" fmla="*/ 861848 h 1372578"/>
                      <a:gd name="connsiteX6" fmla="*/ 619855 w 619855"/>
                      <a:gd name="connsiteY6" fmla="*/ 115945 h 1372578"/>
                      <a:gd name="connsiteX7" fmla="*/ 104553 w 619855"/>
                      <a:gd name="connsiteY7" fmla="*/ 57461 h 13725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19855" h="1372578">
                        <a:moveTo>
                          <a:pt x="104648" y="57557"/>
                        </a:moveTo>
                        <a:cubicBezTo>
                          <a:pt x="14065" y="416935"/>
                          <a:pt x="36830" y="870706"/>
                          <a:pt x="19494" y="1049776"/>
                        </a:cubicBezTo>
                        <a:cubicBezTo>
                          <a:pt x="8922" y="1159123"/>
                          <a:pt x="-32607" y="1383056"/>
                          <a:pt x="52165" y="1372197"/>
                        </a:cubicBezTo>
                        <a:cubicBezTo>
                          <a:pt x="115983" y="1358672"/>
                          <a:pt x="228187" y="1349718"/>
                          <a:pt x="356013" y="1339050"/>
                        </a:cubicBezTo>
                        <a:cubicBezTo>
                          <a:pt x="483838" y="1328287"/>
                          <a:pt x="569182" y="1316572"/>
                          <a:pt x="569182" y="1316572"/>
                        </a:cubicBezTo>
                        <a:cubicBezTo>
                          <a:pt x="569182" y="1316572"/>
                          <a:pt x="555752" y="917855"/>
                          <a:pt x="557466" y="861848"/>
                        </a:cubicBezTo>
                        <a:cubicBezTo>
                          <a:pt x="559181" y="805841"/>
                          <a:pt x="619855" y="115945"/>
                          <a:pt x="619855" y="115945"/>
                        </a:cubicBezTo>
                        <a:cubicBezTo>
                          <a:pt x="465550" y="5169"/>
                          <a:pt x="266668" y="-48933"/>
                          <a:pt x="104553" y="57461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5" name="Freihandform: Form 54">
                    <a:extLst>
                      <a:ext uri="{FF2B5EF4-FFF2-40B4-BE49-F238E27FC236}">
                        <a16:creationId xmlns:a16="http://schemas.microsoft.com/office/drawing/2014/main" id="{F0974AC9-AD8C-5DB5-7307-51CFDFD240A5}"/>
                      </a:ext>
                    </a:extLst>
                  </p:cNvPr>
                  <p:cNvSpPr/>
                  <p:nvPr/>
                </p:nvSpPr>
                <p:spPr>
                  <a:xfrm>
                    <a:off x="2435192" y="4398359"/>
                    <a:ext cx="519303" cy="519302"/>
                  </a:xfrm>
                  <a:custGeom>
                    <a:avLst/>
                    <a:gdLst>
                      <a:gd name="connsiteX0" fmla="*/ 519303 w 519303"/>
                      <a:gd name="connsiteY0" fmla="*/ 259651 h 519302"/>
                      <a:gd name="connsiteX1" fmla="*/ 259651 w 519303"/>
                      <a:gd name="connsiteY1" fmla="*/ 519303 h 519302"/>
                      <a:gd name="connsiteX2" fmla="*/ 0 w 519303"/>
                      <a:gd name="connsiteY2" fmla="*/ 259651 h 519302"/>
                      <a:gd name="connsiteX3" fmla="*/ 259651 w 519303"/>
                      <a:gd name="connsiteY3" fmla="*/ 0 h 519302"/>
                      <a:gd name="connsiteX4" fmla="*/ 519303 w 519303"/>
                      <a:gd name="connsiteY4" fmla="*/ 259651 h 519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9303" h="519302">
                        <a:moveTo>
                          <a:pt x="519303" y="259651"/>
                        </a:moveTo>
                        <a:cubicBezTo>
                          <a:pt x="519303" y="403053"/>
                          <a:pt x="403053" y="519303"/>
                          <a:pt x="259651" y="519303"/>
                        </a:cubicBezTo>
                        <a:cubicBezTo>
                          <a:pt x="116250" y="519303"/>
                          <a:pt x="0" y="403053"/>
                          <a:pt x="0" y="259651"/>
                        </a:cubicBezTo>
                        <a:cubicBezTo>
                          <a:pt x="0" y="116250"/>
                          <a:pt x="116250" y="0"/>
                          <a:pt x="259651" y="0"/>
                        </a:cubicBezTo>
                        <a:cubicBezTo>
                          <a:pt x="403053" y="0"/>
                          <a:pt x="519303" y="116250"/>
                          <a:pt x="519303" y="259651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6" name="Freihandform: Form 55">
                    <a:extLst>
                      <a:ext uri="{FF2B5EF4-FFF2-40B4-BE49-F238E27FC236}">
                        <a16:creationId xmlns:a16="http://schemas.microsoft.com/office/drawing/2014/main" id="{91869B8B-B734-0E12-9A9F-810136FA2952}"/>
                      </a:ext>
                    </a:extLst>
                  </p:cNvPr>
                  <p:cNvSpPr/>
                  <p:nvPr/>
                </p:nvSpPr>
                <p:spPr>
                  <a:xfrm>
                    <a:off x="2162261" y="2915792"/>
                    <a:ext cx="808712" cy="1916312"/>
                  </a:xfrm>
                  <a:custGeom>
                    <a:avLst/>
                    <a:gdLst>
                      <a:gd name="connsiteX0" fmla="*/ 138915 w 808712"/>
                      <a:gd name="connsiteY0" fmla="*/ 0 h 1916312"/>
                      <a:gd name="connsiteX1" fmla="*/ 808713 w 808712"/>
                      <a:gd name="connsiteY1" fmla="*/ 48196 h 1916312"/>
                      <a:gd name="connsiteX2" fmla="*/ 729465 w 808712"/>
                      <a:gd name="connsiteY2" fmla="*/ 986219 h 1916312"/>
                      <a:gd name="connsiteX3" fmla="*/ 567635 w 808712"/>
                      <a:gd name="connsiteY3" fmla="*/ 1871186 h 1916312"/>
                      <a:gd name="connsiteX4" fmla="*/ 58905 w 808712"/>
                      <a:gd name="connsiteY4" fmla="*/ 1834325 h 1916312"/>
                      <a:gd name="connsiteX5" fmla="*/ 138915 w 808712"/>
                      <a:gd name="connsiteY5" fmla="*/ 0 h 19163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08712" h="1916312">
                        <a:moveTo>
                          <a:pt x="138915" y="0"/>
                        </a:moveTo>
                        <a:cubicBezTo>
                          <a:pt x="147963" y="3048"/>
                          <a:pt x="808713" y="48196"/>
                          <a:pt x="808713" y="48196"/>
                        </a:cubicBezTo>
                        <a:cubicBezTo>
                          <a:pt x="808713" y="48196"/>
                          <a:pt x="752420" y="822293"/>
                          <a:pt x="729465" y="986219"/>
                        </a:cubicBezTo>
                        <a:cubicBezTo>
                          <a:pt x="641644" y="1614202"/>
                          <a:pt x="567635" y="1871186"/>
                          <a:pt x="567635" y="1871186"/>
                        </a:cubicBezTo>
                        <a:cubicBezTo>
                          <a:pt x="403138" y="1948910"/>
                          <a:pt x="210733" y="1919478"/>
                          <a:pt x="58905" y="1834325"/>
                        </a:cubicBezTo>
                        <a:cubicBezTo>
                          <a:pt x="84051" y="1104329"/>
                          <a:pt x="-134167" y="690658"/>
                          <a:pt x="138915" y="0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7" name="Freihandform: Form 56">
                    <a:extLst>
                      <a:ext uri="{FF2B5EF4-FFF2-40B4-BE49-F238E27FC236}">
                        <a16:creationId xmlns:a16="http://schemas.microsoft.com/office/drawing/2014/main" id="{27787EC0-12BB-0147-A8A7-33CB7F769B6C}"/>
                      </a:ext>
                    </a:extLst>
                  </p:cNvPr>
                  <p:cNvSpPr/>
                  <p:nvPr/>
                </p:nvSpPr>
                <p:spPr>
                  <a:xfrm>
                    <a:off x="2163652" y="4675131"/>
                    <a:ext cx="566148" cy="1315331"/>
                  </a:xfrm>
                  <a:custGeom>
                    <a:avLst/>
                    <a:gdLst>
                      <a:gd name="connsiteX0" fmla="*/ 65134 w 566148"/>
                      <a:gd name="connsiteY0" fmla="*/ 1315332 h 1315331"/>
                      <a:gd name="connsiteX1" fmla="*/ 555385 w 566148"/>
                      <a:gd name="connsiteY1" fmla="*/ 1261801 h 1315331"/>
                      <a:gd name="connsiteX2" fmla="*/ 566149 w 566148"/>
                      <a:gd name="connsiteY2" fmla="*/ 104800 h 1315331"/>
                      <a:gd name="connsiteX3" fmla="*/ 59133 w 566148"/>
                      <a:gd name="connsiteY3" fmla="*/ 64414 h 1315331"/>
                      <a:gd name="connsiteX4" fmla="*/ 1602 w 566148"/>
                      <a:gd name="connsiteY4" fmla="*/ 1061014 h 1315331"/>
                      <a:gd name="connsiteX5" fmla="*/ 65134 w 566148"/>
                      <a:gd name="connsiteY5" fmla="*/ 1315236 h 13153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66148" h="1315331">
                        <a:moveTo>
                          <a:pt x="65134" y="1315332"/>
                        </a:moveTo>
                        <a:lnTo>
                          <a:pt x="555385" y="1261801"/>
                        </a:lnTo>
                        <a:cubicBezTo>
                          <a:pt x="554623" y="1243228"/>
                          <a:pt x="566149" y="104800"/>
                          <a:pt x="566149" y="104800"/>
                        </a:cubicBezTo>
                        <a:cubicBezTo>
                          <a:pt x="408605" y="-1309"/>
                          <a:pt x="217915" y="-46838"/>
                          <a:pt x="59133" y="64414"/>
                        </a:cubicBezTo>
                        <a:cubicBezTo>
                          <a:pt x="-20496" y="426364"/>
                          <a:pt x="13603" y="881468"/>
                          <a:pt x="1602" y="1061014"/>
                        </a:cubicBezTo>
                        <a:cubicBezTo>
                          <a:pt x="-5447" y="1167599"/>
                          <a:pt x="9889" y="1270374"/>
                          <a:pt x="65134" y="131523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8" name="Freihandform: Form 57">
                    <a:extLst>
                      <a:ext uri="{FF2B5EF4-FFF2-40B4-BE49-F238E27FC236}">
                        <a16:creationId xmlns:a16="http://schemas.microsoft.com/office/drawing/2014/main" id="{0FC1C2B4-4B0A-362E-C4AD-8DC80CBF4811}"/>
                      </a:ext>
                    </a:extLst>
                  </p:cNvPr>
                  <p:cNvSpPr/>
                  <p:nvPr/>
                </p:nvSpPr>
                <p:spPr>
                  <a:xfrm>
                    <a:off x="1967227" y="1412557"/>
                    <a:ext cx="1160432" cy="2831687"/>
                  </a:xfrm>
                  <a:custGeom>
                    <a:avLst/>
                    <a:gdLst>
                      <a:gd name="connsiteX0" fmla="*/ 66391 w 1160432"/>
                      <a:gd name="connsiteY0" fmla="*/ 2215706 h 2831687"/>
                      <a:gd name="connsiteX1" fmla="*/ 44102 w 1160432"/>
                      <a:gd name="connsiteY1" fmla="*/ 2831687 h 2831687"/>
                      <a:gd name="connsiteX2" fmla="*/ 1160432 w 1160432"/>
                      <a:gd name="connsiteY2" fmla="*/ 2831687 h 2831687"/>
                      <a:gd name="connsiteX3" fmla="*/ 1117189 w 1160432"/>
                      <a:gd name="connsiteY3" fmla="*/ 1805940 h 2831687"/>
                      <a:gd name="connsiteX4" fmla="*/ 988316 w 1160432"/>
                      <a:gd name="connsiteY4" fmla="*/ 539782 h 2831687"/>
                      <a:gd name="connsiteX5" fmla="*/ 717520 w 1160432"/>
                      <a:gd name="connsiteY5" fmla="*/ 135826 h 2831687"/>
                      <a:gd name="connsiteX6" fmla="*/ 256700 w 1160432"/>
                      <a:gd name="connsiteY6" fmla="*/ 0 h 2831687"/>
                      <a:gd name="connsiteX7" fmla="*/ 2 w 1160432"/>
                      <a:gd name="connsiteY7" fmla="*/ 399288 h 2831687"/>
                      <a:gd name="connsiteX8" fmla="*/ 99062 w 1160432"/>
                      <a:gd name="connsiteY8" fmla="*/ 1187863 h 2831687"/>
                      <a:gd name="connsiteX9" fmla="*/ 66296 w 1160432"/>
                      <a:gd name="connsiteY9" fmla="*/ 2215706 h 28316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160432" h="2831687">
                        <a:moveTo>
                          <a:pt x="66391" y="2215706"/>
                        </a:moveTo>
                        <a:cubicBezTo>
                          <a:pt x="54675" y="2418779"/>
                          <a:pt x="47055" y="2707386"/>
                          <a:pt x="44102" y="2831687"/>
                        </a:cubicBezTo>
                        <a:lnTo>
                          <a:pt x="1160432" y="2831687"/>
                        </a:lnTo>
                        <a:cubicBezTo>
                          <a:pt x="1152908" y="2688717"/>
                          <a:pt x="1132810" y="2286953"/>
                          <a:pt x="1117189" y="1805940"/>
                        </a:cubicBezTo>
                        <a:cubicBezTo>
                          <a:pt x="1097663" y="1202817"/>
                          <a:pt x="1001174" y="634460"/>
                          <a:pt x="988316" y="539782"/>
                        </a:cubicBezTo>
                        <a:cubicBezTo>
                          <a:pt x="970218" y="405860"/>
                          <a:pt x="717520" y="135826"/>
                          <a:pt x="717520" y="135826"/>
                        </a:cubicBezTo>
                        <a:lnTo>
                          <a:pt x="256700" y="0"/>
                        </a:lnTo>
                        <a:cubicBezTo>
                          <a:pt x="256700" y="0"/>
                          <a:pt x="-760" y="184499"/>
                          <a:pt x="2" y="399288"/>
                        </a:cubicBezTo>
                        <a:cubicBezTo>
                          <a:pt x="668" y="575119"/>
                          <a:pt x="99062" y="1187863"/>
                          <a:pt x="99062" y="1187863"/>
                        </a:cubicBezTo>
                        <a:cubicBezTo>
                          <a:pt x="99062" y="1187863"/>
                          <a:pt x="81631" y="1950244"/>
                          <a:pt x="66296" y="221570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9" name="Freihandform: Form 58">
                    <a:extLst>
                      <a:ext uri="{FF2B5EF4-FFF2-40B4-BE49-F238E27FC236}">
                        <a16:creationId xmlns:a16="http://schemas.microsoft.com/office/drawing/2014/main" id="{F05D687E-3040-D3E2-23B8-5C8CD1D01BB9}"/>
                      </a:ext>
                    </a:extLst>
                  </p:cNvPr>
                  <p:cNvSpPr/>
                  <p:nvPr/>
                </p:nvSpPr>
                <p:spPr>
                  <a:xfrm>
                    <a:off x="2203544" y="3205162"/>
                    <a:ext cx="634746" cy="581406"/>
                  </a:xfrm>
                  <a:custGeom>
                    <a:avLst/>
                    <a:gdLst>
                      <a:gd name="connsiteX0" fmla="*/ 634651 w 634746"/>
                      <a:gd name="connsiteY0" fmla="*/ 508730 h 581406"/>
                      <a:gd name="connsiteX1" fmla="*/ 0 w 634746"/>
                      <a:gd name="connsiteY1" fmla="*/ 550545 h 581406"/>
                      <a:gd name="connsiteX2" fmla="*/ 48292 w 634746"/>
                      <a:gd name="connsiteY2" fmla="*/ 0 h 581406"/>
                      <a:gd name="connsiteX3" fmla="*/ 456533 w 634746"/>
                      <a:gd name="connsiteY3" fmla="*/ 3143 h 581406"/>
                      <a:gd name="connsiteX4" fmla="*/ 634746 w 634746"/>
                      <a:gd name="connsiteY4" fmla="*/ 508730 h 5814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34746" h="581406">
                        <a:moveTo>
                          <a:pt x="634651" y="508730"/>
                        </a:moveTo>
                        <a:cubicBezTo>
                          <a:pt x="600742" y="589407"/>
                          <a:pt x="143828" y="602266"/>
                          <a:pt x="0" y="550545"/>
                        </a:cubicBezTo>
                        <a:lnTo>
                          <a:pt x="48292" y="0"/>
                        </a:lnTo>
                        <a:lnTo>
                          <a:pt x="456533" y="3143"/>
                        </a:lnTo>
                        <a:lnTo>
                          <a:pt x="634746" y="50873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0" name="Freihandform: Form 59">
                    <a:extLst>
                      <a:ext uri="{FF2B5EF4-FFF2-40B4-BE49-F238E27FC236}">
                        <a16:creationId xmlns:a16="http://schemas.microsoft.com/office/drawing/2014/main" id="{431F0310-EFC0-75A4-A7CE-7ECAAF57B63C}"/>
                      </a:ext>
                    </a:extLst>
                  </p:cNvPr>
                  <p:cNvSpPr/>
                  <p:nvPr/>
                </p:nvSpPr>
                <p:spPr>
                  <a:xfrm>
                    <a:off x="2265362" y="3205162"/>
                    <a:ext cx="572833" cy="543657"/>
                  </a:xfrm>
                  <a:custGeom>
                    <a:avLst/>
                    <a:gdLst>
                      <a:gd name="connsiteX0" fmla="*/ 513302 w 572833"/>
                      <a:gd name="connsiteY0" fmla="*/ 0 h 543657"/>
                      <a:gd name="connsiteX1" fmla="*/ 572834 w 572833"/>
                      <a:gd name="connsiteY1" fmla="*/ 508730 h 543657"/>
                      <a:gd name="connsiteX2" fmla="*/ 0 w 572833"/>
                      <a:gd name="connsiteY2" fmla="*/ 518255 h 543657"/>
                      <a:gd name="connsiteX3" fmla="*/ 0 w 572833"/>
                      <a:gd name="connsiteY3" fmla="*/ 0 h 543657"/>
                      <a:gd name="connsiteX4" fmla="*/ 513302 w 572833"/>
                      <a:gd name="connsiteY4" fmla="*/ 0 h 5436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72833" h="543657">
                        <a:moveTo>
                          <a:pt x="513302" y="0"/>
                        </a:moveTo>
                        <a:cubicBezTo>
                          <a:pt x="513302" y="38005"/>
                          <a:pt x="572834" y="508730"/>
                          <a:pt x="572834" y="508730"/>
                        </a:cubicBezTo>
                        <a:cubicBezTo>
                          <a:pt x="397097" y="555022"/>
                          <a:pt x="204025" y="552260"/>
                          <a:pt x="0" y="518255"/>
                        </a:cubicBezTo>
                        <a:lnTo>
                          <a:pt x="0" y="0"/>
                        </a:lnTo>
                        <a:cubicBezTo>
                          <a:pt x="0" y="0"/>
                          <a:pt x="513302" y="0"/>
                          <a:pt x="513302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1" name="Freihandform: Form 60">
                    <a:extLst>
                      <a:ext uri="{FF2B5EF4-FFF2-40B4-BE49-F238E27FC236}">
                        <a16:creationId xmlns:a16="http://schemas.microsoft.com/office/drawing/2014/main" id="{153A0CF9-7A97-4D2D-05AF-6A4D5CA6854C}"/>
                      </a:ext>
                    </a:extLst>
                  </p:cNvPr>
                  <p:cNvSpPr/>
                  <p:nvPr/>
                </p:nvSpPr>
                <p:spPr>
                  <a:xfrm>
                    <a:off x="2049737" y="1674208"/>
                    <a:ext cx="709549" cy="1346632"/>
                  </a:xfrm>
                  <a:custGeom>
                    <a:avLst/>
                    <a:gdLst>
                      <a:gd name="connsiteX0" fmla="*/ 110944 w 709549"/>
                      <a:gd name="connsiteY0" fmla="*/ 1154241 h 1346632"/>
                      <a:gd name="connsiteX1" fmla="*/ 556048 w 709549"/>
                      <a:gd name="connsiteY1" fmla="*/ 1339883 h 1346632"/>
                      <a:gd name="connsiteX2" fmla="*/ 707686 w 709549"/>
                      <a:gd name="connsiteY2" fmla="*/ 1232727 h 1346632"/>
                      <a:gd name="connsiteX3" fmla="*/ 430413 w 709549"/>
                      <a:gd name="connsiteY3" fmla="*/ 837249 h 1346632"/>
                      <a:gd name="connsiteX4" fmla="*/ 319732 w 709549"/>
                      <a:gd name="connsiteY4" fmla="*/ 283560 h 1346632"/>
                      <a:gd name="connsiteX5" fmla="*/ 153426 w 709549"/>
                      <a:gd name="connsiteY5" fmla="*/ 3144 h 1346632"/>
                      <a:gd name="connsiteX6" fmla="*/ 110944 w 709549"/>
                      <a:gd name="connsiteY6" fmla="*/ 1154241 h 13466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09549" h="1346632">
                        <a:moveTo>
                          <a:pt x="110944" y="1154241"/>
                        </a:moveTo>
                        <a:cubicBezTo>
                          <a:pt x="110944" y="1154241"/>
                          <a:pt x="179143" y="1226154"/>
                          <a:pt x="556048" y="1339883"/>
                        </a:cubicBezTo>
                        <a:cubicBezTo>
                          <a:pt x="668633" y="1373887"/>
                          <a:pt x="702447" y="1270255"/>
                          <a:pt x="707686" y="1232727"/>
                        </a:cubicBezTo>
                        <a:cubicBezTo>
                          <a:pt x="724831" y="1108521"/>
                          <a:pt x="623008" y="983934"/>
                          <a:pt x="430413" y="837249"/>
                        </a:cubicBezTo>
                        <a:cubicBezTo>
                          <a:pt x="278870" y="721806"/>
                          <a:pt x="311541" y="523781"/>
                          <a:pt x="319732" y="283560"/>
                        </a:cubicBezTo>
                        <a:cubicBezTo>
                          <a:pt x="327924" y="43340"/>
                          <a:pt x="153426" y="3144"/>
                          <a:pt x="153426" y="3144"/>
                        </a:cubicBezTo>
                        <a:cubicBezTo>
                          <a:pt x="-28025" y="-65531"/>
                          <a:pt x="-56505" y="1012032"/>
                          <a:pt x="110944" y="1154241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2" name="Freihandform: Form 61">
                    <a:extLst>
                      <a:ext uri="{FF2B5EF4-FFF2-40B4-BE49-F238E27FC236}">
                        <a16:creationId xmlns:a16="http://schemas.microsoft.com/office/drawing/2014/main" id="{1F502FBD-3436-9F17-DD99-BFD654AF60C4}"/>
                      </a:ext>
                    </a:extLst>
                  </p:cNvPr>
                  <p:cNvSpPr/>
                  <p:nvPr/>
                </p:nvSpPr>
                <p:spPr>
                  <a:xfrm>
                    <a:off x="2542063" y="2036635"/>
                    <a:ext cx="268223" cy="262472"/>
                  </a:xfrm>
                  <a:custGeom>
                    <a:avLst/>
                    <a:gdLst>
                      <a:gd name="connsiteX0" fmla="*/ 268224 w 268223"/>
                      <a:gd name="connsiteY0" fmla="*/ 230600 h 262472"/>
                      <a:gd name="connsiteX1" fmla="*/ 0 w 268223"/>
                      <a:gd name="connsiteY1" fmla="*/ 253079 h 262472"/>
                      <a:gd name="connsiteX2" fmla="*/ 33909 w 268223"/>
                      <a:gd name="connsiteY2" fmla="*/ 0 h 262472"/>
                      <a:gd name="connsiteX3" fmla="*/ 215646 w 268223"/>
                      <a:gd name="connsiteY3" fmla="*/ 7525 h 262472"/>
                      <a:gd name="connsiteX4" fmla="*/ 268224 w 268223"/>
                      <a:gd name="connsiteY4" fmla="*/ 230600 h 2624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8223" h="262472">
                        <a:moveTo>
                          <a:pt x="268224" y="230600"/>
                        </a:moveTo>
                        <a:cubicBezTo>
                          <a:pt x="244888" y="246697"/>
                          <a:pt x="63246" y="278225"/>
                          <a:pt x="0" y="253079"/>
                        </a:cubicBezTo>
                        <a:lnTo>
                          <a:pt x="33909" y="0"/>
                        </a:lnTo>
                        <a:lnTo>
                          <a:pt x="215646" y="7525"/>
                        </a:lnTo>
                        <a:lnTo>
                          <a:pt x="268224" y="23060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3" name="Freihandform: Form 62">
                    <a:extLst>
                      <a:ext uri="{FF2B5EF4-FFF2-40B4-BE49-F238E27FC236}">
                        <a16:creationId xmlns:a16="http://schemas.microsoft.com/office/drawing/2014/main" id="{5CD46EC5-80E2-5729-5D18-833D02432D53}"/>
                      </a:ext>
                    </a:extLst>
                  </p:cNvPr>
                  <p:cNvSpPr/>
                  <p:nvPr/>
                </p:nvSpPr>
                <p:spPr>
                  <a:xfrm>
                    <a:off x="2577496" y="2040159"/>
                    <a:ext cx="232791" cy="230885"/>
                  </a:xfrm>
                  <a:custGeom>
                    <a:avLst/>
                    <a:gdLst>
                      <a:gd name="connsiteX0" fmla="*/ 228695 w 232791"/>
                      <a:gd name="connsiteY0" fmla="*/ 0 h 230885"/>
                      <a:gd name="connsiteX1" fmla="*/ 232791 w 232791"/>
                      <a:gd name="connsiteY1" fmla="*/ 227076 h 230885"/>
                      <a:gd name="connsiteX2" fmla="*/ 0 w 232791"/>
                      <a:gd name="connsiteY2" fmla="*/ 230886 h 230885"/>
                      <a:gd name="connsiteX3" fmla="*/ 0 w 232791"/>
                      <a:gd name="connsiteY3" fmla="*/ 0 h 230885"/>
                      <a:gd name="connsiteX4" fmla="*/ 228695 w 232791"/>
                      <a:gd name="connsiteY4" fmla="*/ 0 h 2308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2791" h="230885">
                        <a:moveTo>
                          <a:pt x="228695" y="0"/>
                        </a:moveTo>
                        <a:lnTo>
                          <a:pt x="232791" y="227076"/>
                        </a:lnTo>
                        <a:lnTo>
                          <a:pt x="0" y="230886"/>
                        </a:lnTo>
                        <a:lnTo>
                          <a:pt x="0" y="0"/>
                        </a:lnTo>
                        <a:lnTo>
                          <a:pt x="228695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4" name="Freihandform: Form 63">
                    <a:extLst>
                      <a:ext uri="{FF2B5EF4-FFF2-40B4-BE49-F238E27FC236}">
                        <a16:creationId xmlns:a16="http://schemas.microsoft.com/office/drawing/2014/main" id="{240FE88B-4EC9-C130-84EE-01DC32483728}"/>
                      </a:ext>
                    </a:extLst>
                  </p:cNvPr>
                  <p:cNvSpPr/>
                  <p:nvPr/>
                </p:nvSpPr>
                <p:spPr>
                  <a:xfrm>
                    <a:off x="2207830" y="1280636"/>
                    <a:ext cx="532914" cy="439864"/>
                  </a:xfrm>
                  <a:custGeom>
                    <a:avLst/>
                    <a:gdLst>
                      <a:gd name="connsiteX0" fmla="*/ 0 w 532914"/>
                      <a:gd name="connsiteY0" fmla="*/ 164973 h 439864"/>
                      <a:gd name="connsiteX1" fmla="*/ 40481 w 532914"/>
                      <a:gd name="connsiteY1" fmla="*/ 0 h 439864"/>
                      <a:gd name="connsiteX2" fmla="*/ 528733 w 532914"/>
                      <a:gd name="connsiteY2" fmla="*/ 274415 h 439864"/>
                      <a:gd name="connsiteX3" fmla="*/ 513017 w 532914"/>
                      <a:gd name="connsiteY3" fmla="*/ 439864 h 439864"/>
                      <a:gd name="connsiteX4" fmla="*/ 0 w 532914"/>
                      <a:gd name="connsiteY4" fmla="*/ 165068 h 4398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32914" h="439864">
                        <a:moveTo>
                          <a:pt x="0" y="164973"/>
                        </a:moveTo>
                        <a:lnTo>
                          <a:pt x="40481" y="0"/>
                        </a:lnTo>
                        <a:cubicBezTo>
                          <a:pt x="40481" y="0"/>
                          <a:pt x="461772" y="175260"/>
                          <a:pt x="528733" y="274415"/>
                        </a:cubicBezTo>
                        <a:cubicBezTo>
                          <a:pt x="543878" y="296799"/>
                          <a:pt x="513017" y="439864"/>
                          <a:pt x="513017" y="439864"/>
                        </a:cubicBezTo>
                        <a:lnTo>
                          <a:pt x="0" y="16506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5" name="Freihandform: Form 64">
                    <a:extLst>
                      <a:ext uri="{FF2B5EF4-FFF2-40B4-BE49-F238E27FC236}">
                        <a16:creationId xmlns:a16="http://schemas.microsoft.com/office/drawing/2014/main" id="{4B1DD315-4545-CACD-CBE3-8F742F1AE5A1}"/>
                      </a:ext>
                    </a:extLst>
                  </p:cNvPr>
                  <p:cNvSpPr/>
                  <p:nvPr/>
                </p:nvSpPr>
                <p:spPr>
                  <a:xfrm>
                    <a:off x="2218784" y="4529518"/>
                    <a:ext cx="511111" cy="511111"/>
                  </a:xfrm>
                  <a:custGeom>
                    <a:avLst/>
                    <a:gdLst>
                      <a:gd name="connsiteX0" fmla="*/ 511111 w 511111"/>
                      <a:gd name="connsiteY0" fmla="*/ 255556 h 511111"/>
                      <a:gd name="connsiteX1" fmla="*/ 255556 w 511111"/>
                      <a:gd name="connsiteY1" fmla="*/ 511111 h 511111"/>
                      <a:gd name="connsiteX2" fmla="*/ 0 w 511111"/>
                      <a:gd name="connsiteY2" fmla="*/ 255556 h 511111"/>
                      <a:gd name="connsiteX3" fmla="*/ 255556 w 511111"/>
                      <a:gd name="connsiteY3" fmla="*/ 0 h 511111"/>
                      <a:gd name="connsiteX4" fmla="*/ 511111 w 511111"/>
                      <a:gd name="connsiteY4" fmla="*/ 255556 h 5111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1111" h="511111">
                        <a:moveTo>
                          <a:pt x="511111" y="255556"/>
                        </a:moveTo>
                        <a:cubicBezTo>
                          <a:pt x="511111" y="396695"/>
                          <a:pt x="396695" y="511111"/>
                          <a:pt x="255556" y="511111"/>
                        </a:cubicBezTo>
                        <a:cubicBezTo>
                          <a:pt x="114416" y="511111"/>
                          <a:pt x="0" y="396695"/>
                          <a:pt x="0" y="255556"/>
                        </a:cubicBezTo>
                        <a:cubicBezTo>
                          <a:pt x="0" y="114416"/>
                          <a:pt x="114416" y="0"/>
                          <a:pt x="255556" y="0"/>
                        </a:cubicBezTo>
                        <a:cubicBezTo>
                          <a:pt x="396695" y="0"/>
                          <a:pt x="511111" y="114416"/>
                          <a:pt x="511111" y="25555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7" name="Grafik 23">
                  <a:extLst>
                    <a:ext uri="{FF2B5EF4-FFF2-40B4-BE49-F238E27FC236}">
                      <a16:creationId xmlns:a16="http://schemas.microsoft.com/office/drawing/2014/main" id="{8EC56D2C-D585-1A9E-17DE-EFD2716CE0EF}"/>
                    </a:ext>
                  </a:extLst>
                </p:cNvPr>
                <p:cNvGrpSpPr/>
                <p:nvPr/>
              </p:nvGrpSpPr>
              <p:grpSpPr>
                <a:xfrm>
                  <a:off x="2645951" y="2614089"/>
                  <a:ext cx="835086" cy="566403"/>
                  <a:chOff x="2645951" y="2614089"/>
                  <a:chExt cx="835086" cy="566403"/>
                </a:xfrm>
              </p:grpSpPr>
              <p:grpSp>
                <p:nvGrpSpPr>
                  <p:cNvPr id="45" name="Grafik 23">
                    <a:extLst>
                      <a:ext uri="{FF2B5EF4-FFF2-40B4-BE49-F238E27FC236}">
                        <a16:creationId xmlns:a16="http://schemas.microsoft.com/office/drawing/2014/main" id="{B23BB2C4-6A5D-09ED-26BF-23047718D075}"/>
                      </a:ext>
                    </a:extLst>
                  </p:cNvPr>
                  <p:cNvGrpSpPr/>
                  <p:nvPr/>
                </p:nvGrpSpPr>
                <p:grpSpPr>
                  <a:xfrm>
                    <a:off x="2748660" y="2614089"/>
                    <a:ext cx="732377" cy="566403"/>
                    <a:chOff x="2748660" y="2614089"/>
                    <a:chExt cx="732377" cy="566403"/>
                  </a:xfrm>
                </p:grpSpPr>
                <p:sp>
                  <p:nvSpPr>
                    <p:cNvPr id="47" name="Freihandform: Form 46">
                      <a:extLst>
                        <a:ext uri="{FF2B5EF4-FFF2-40B4-BE49-F238E27FC236}">
                          <a16:creationId xmlns:a16="http://schemas.microsoft.com/office/drawing/2014/main" id="{A75396D0-1B64-5663-DD42-ABAE6FD17A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22288" y="2658189"/>
                      <a:ext cx="411099" cy="129236"/>
                    </a:xfrm>
                    <a:custGeom>
                      <a:avLst/>
                      <a:gdLst>
                        <a:gd name="connsiteX0" fmla="*/ 95 w 411099"/>
                        <a:gd name="connsiteY0" fmla="*/ 59483 h 129236"/>
                        <a:gd name="connsiteX1" fmla="*/ 130111 w 411099"/>
                        <a:gd name="connsiteY1" fmla="*/ 714 h 129236"/>
                        <a:gd name="connsiteX2" fmla="*/ 235172 w 411099"/>
                        <a:gd name="connsiteY2" fmla="*/ 7858 h 129236"/>
                        <a:gd name="connsiteX3" fmla="*/ 411099 w 411099"/>
                        <a:gd name="connsiteY3" fmla="*/ 41481 h 129236"/>
                        <a:gd name="connsiteX4" fmla="*/ 393668 w 411099"/>
                        <a:gd name="connsiteY4" fmla="*/ 70723 h 129236"/>
                        <a:gd name="connsiteX5" fmla="*/ 184023 w 411099"/>
                        <a:gd name="connsiteY5" fmla="*/ 83010 h 129236"/>
                        <a:gd name="connsiteX6" fmla="*/ 92678 w 411099"/>
                        <a:gd name="connsiteY6" fmla="*/ 128921 h 129236"/>
                        <a:gd name="connsiteX7" fmla="*/ 0 w 411099"/>
                        <a:gd name="connsiteY7" fmla="*/ 59483 h 12923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11099" h="129236">
                          <a:moveTo>
                            <a:pt x="95" y="59483"/>
                          </a:moveTo>
                          <a:cubicBezTo>
                            <a:pt x="5429" y="57674"/>
                            <a:pt x="90964" y="4238"/>
                            <a:pt x="130111" y="714"/>
                          </a:cubicBezTo>
                          <a:cubicBezTo>
                            <a:pt x="169259" y="-2810"/>
                            <a:pt x="235172" y="7858"/>
                            <a:pt x="235172" y="7858"/>
                          </a:cubicBezTo>
                          <a:lnTo>
                            <a:pt x="411099" y="41481"/>
                          </a:lnTo>
                          <a:cubicBezTo>
                            <a:pt x="411099" y="41481"/>
                            <a:pt x="406717" y="58817"/>
                            <a:pt x="393668" y="70723"/>
                          </a:cubicBezTo>
                          <a:cubicBezTo>
                            <a:pt x="361759" y="99869"/>
                            <a:pt x="194691" y="68818"/>
                            <a:pt x="184023" y="83010"/>
                          </a:cubicBezTo>
                          <a:cubicBezTo>
                            <a:pt x="168021" y="104346"/>
                            <a:pt x="146113" y="132540"/>
                            <a:pt x="92678" y="128921"/>
                          </a:cubicBezTo>
                          <a:cubicBezTo>
                            <a:pt x="39243" y="125396"/>
                            <a:pt x="0" y="59483"/>
                            <a:pt x="0" y="59483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8" name="Freihandform: Form 47">
                      <a:extLst>
                        <a:ext uri="{FF2B5EF4-FFF2-40B4-BE49-F238E27FC236}">
                          <a16:creationId xmlns:a16="http://schemas.microsoft.com/office/drawing/2014/main" id="{5CACC649-62DB-BC31-0F7C-5B267E9E00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91726" y="2614089"/>
                      <a:ext cx="589311" cy="566403"/>
                    </a:xfrm>
                    <a:custGeom>
                      <a:avLst/>
                      <a:gdLst>
                        <a:gd name="connsiteX0" fmla="*/ 162687 w 589311"/>
                        <a:gd name="connsiteY0" fmla="*/ 25193 h 566403"/>
                        <a:gd name="connsiteX1" fmla="*/ 155924 w 589311"/>
                        <a:gd name="connsiteY1" fmla="*/ 115775 h 566403"/>
                        <a:gd name="connsiteX2" fmla="*/ 952 w 589311"/>
                        <a:gd name="connsiteY2" fmla="*/ 472677 h 566403"/>
                        <a:gd name="connsiteX3" fmla="*/ 0 w 589311"/>
                        <a:gd name="connsiteY3" fmla="*/ 475630 h 566403"/>
                        <a:gd name="connsiteX4" fmla="*/ 232505 w 589311"/>
                        <a:gd name="connsiteY4" fmla="*/ 566403 h 566403"/>
                        <a:gd name="connsiteX5" fmla="*/ 185452 w 589311"/>
                        <a:gd name="connsiteY5" fmla="*/ 423623 h 566403"/>
                        <a:gd name="connsiteX6" fmla="*/ 258223 w 589311"/>
                        <a:gd name="connsiteY6" fmla="*/ 198548 h 566403"/>
                        <a:gd name="connsiteX7" fmla="*/ 555117 w 589311"/>
                        <a:gd name="connsiteY7" fmla="*/ 206453 h 566403"/>
                        <a:gd name="connsiteX8" fmla="*/ 589312 w 589311"/>
                        <a:gd name="connsiteY8" fmla="*/ 35765 h 566403"/>
                        <a:gd name="connsiteX9" fmla="*/ 162687 w 589311"/>
                        <a:gd name="connsiteY9" fmla="*/ 25193 h 5664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589311" h="566403">
                          <a:moveTo>
                            <a:pt x="162687" y="25193"/>
                          </a:moveTo>
                          <a:cubicBezTo>
                            <a:pt x="119063" y="80247"/>
                            <a:pt x="155924" y="115775"/>
                            <a:pt x="155924" y="115775"/>
                          </a:cubicBezTo>
                          <a:lnTo>
                            <a:pt x="952" y="472677"/>
                          </a:lnTo>
                          <a:cubicBezTo>
                            <a:pt x="571" y="473630"/>
                            <a:pt x="286" y="474677"/>
                            <a:pt x="0" y="475630"/>
                          </a:cubicBezTo>
                          <a:lnTo>
                            <a:pt x="232505" y="566403"/>
                          </a:lnTo>
                          <a:cubicBezTo>
                            <a:pt x="252603" y="528779"/>
                            <a:pt x="196405" y="487631"/>
                            <a:pt x="185452" y="423623"/>
                          </a:cubicBezTo>
                          <a:cubicBezTo>
                            <a:pt x="172879" y="350281"/>
                            <a:pt x="258223" y="198548"/>
                            <a:pt x="258223" y="198548"/>
                          </a:cubicBezTo>
                          <a:cubicBezTo>
                            <a:pt x="258223" y="198548"/>
                            <a:pt x="484632" y="210740"/>
                            <a:pt x="555117" y="206453"/>
                          </a:cubicBezTo>
                          <a:lnTo>
                            <a:pt x="589312" y="35765"/>
                          </a:lnTo>
                          <a:cubicBezTo>
                            <a:pt x="532352" y="10905"/>
                            <a:pt x="202406" y="-24814"/>
                            <a:pt x="162687" y="25193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9" name="Freihandform: Form 48">
                      <a:extLst>
                        <a:ext uri="{FF2B5EF4-FFF2-40B4-BE49-F238E27FC236}">
                          <a16:creationId xmlns:a16="http://schemas.microsoft.com/office/drawing/2014/main" id="{8DDD72CB-5B87-D459-3FE6-FE1454A48AB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748660" y="2687954"/>
                      <a:ext cx="626027" cy="304133"/>
                    </a:xfrm>
                    <a:custGeom>
                      <a:avLst/>
                      <a:gdLst>
                        <a:gd name="connsiteX0" fmla="*/ 47244 w 626027"/>
                        <a:gd name="connsiteY0" fmla="*/ 0 h 304133"/>
                        <a:gd name="connsiteX1" fmla="*/ 244126 w 626027"/>
                        <a:gd name="connsiteY1" fmla="*/ 30956 h 304133"/>
                        <a:gd name="connsiteX2" fmla="*/ 438626 w 626027"/>
                        <a:gd name="connsiteY2" fmla="*/ 82106 h 304133"/>
                        <a:gd name="connsiteX3" fmla="*/ 527971 w 626027"/>
                        <a:gd name="connsiteY3" fmla="*/ 90202 h 304133"/>
                        <a:gd name="connsiteX4" fmla="*/ 624935 w 626027"/>
                        <a:gd name="connsiteY4" fmla="*/ 132874 h 304133"/>
                        <a:gd name="connsiteX5" fmla="*/ 542449 w 626027"/>
                        <a:gd name="connsiteY5" fmla="*/ 143542 h 304133"/>
                        <a:gd name="connsiteX6" fmla="*/ 490442 w 626027"/>
                        <a:gd name="connsiteY6" fmla="*/ 146399 h 304133"/>
                        <a:gd name="connsiteX7" fmla="*/ 488918 w 626027"/>
                        <a:gd name="connsiteY7" fmla="*/ 166021 h 304133"/>
                        <a:gd name="connsiteX8" fmla="*/ 467106 w 626027"/>
                        <a:gd name="connsiteY8" fmla="*/ 198120 h 304133"/>
                        <a:gd name="connsiteX9" fmla="*/ 417386 w 626027"/>
                        <a:gd name="connsiteY9" fmla="*/ 244221 h 304133"/>
                        <a:gd name="connsiteX10" fmla="*/ 366427 w 626027"/>
                        <a:gd name="connsiteY10" fmla="*/ 304133 h 304133"/>
                        <a:gd name="connsiteX11" fmla="*/ 231553 w 626027"/>
                        <a:gd name="connsiteY11" fmla="*/ 293370 h 304133"/>
                        <a:gd name="connsiteX12" fmla="*/ 0 w 626027"/>
                        <a:gd name="connsiteY12" fmla="*/ 168212 h 304133"/>
                        <a:gd name="connsiteX13" fmla="*/ 47339 w 626027"/>
                        <a:gd name="connsiteY13" fmla="*/ 0 h 3041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</a:cxnLst>
                      <a:rect l="l" t="t" r="r" b="b"/>
                      <a:pathLst>
                        <a:path w="626027" h="304133">
                          <a:moveTo>
                            <a:pt x="47244" y="0"/>
                          </a:moveTo>
                          <a:lnTo>
                            <a:pt x="244126" y="30956"/>
                          </a:lnTo>
                          <a:cubicBezTo>
                            <a:pt x="244126" y="30956"/>
                            <a:pt x="388430" y="66580"/>
                            <a:pt x="438626" y="82106"/>
                          </a:cubicBezTo>
                          <a:cubicBezTo>
                            <a:pt x="484823" y="86678"/>
                            <a:pt x="527971" y="90202"/>
                            <a:pt x="527971" y="90202"/>
                          </a:cubicBezTo>
                          <a:cubicBezTo>
                            <a:pt x="574167" y="84392"/>
                            <a:pt x="634936" y="97346"/>
                            <a:pt x="624935" y="132874"/>
                          </a:cubicBezTo>
                          <a:cubicBezTo>
                            <a:pt x="613315" y="135255"/>
                            <a:pt x="552736" y="142304"/>
                            <a:pt x="542449" y="143542"/>
                          </a:cubicBezTo>
                          <a:cubicBezTo>
                            <a:pt x="523685" y="145733"/>
                            <a:pt x="490442" y="146399"/>
                            <a:pt x="490442" y="146399"/>
                          </a:cubicBezTo>
                          <a:lnTo>
                            <a:pt x="488918" y="166021"/>
                          </a:lnTo>
                          <a:lnTo>
                            <a:pt x="467106" y="198120"/>
                          </a:lnTo>
                          <a:lnTo>
                            <a:pt x="417386" y="244221"/>
                          </a:lnTo>
                          <a:lnTo>
                            <a:pt x="366427" y="304133"/>
                          </a:lnTo>
                          <a:cubicBezTo>
                            <a:pt x="366427" y="304133"/>
                            <a:pt x="244697" y="292703"/>
                            <a:pt x="231553" y="293370"/>
                          </a:cubicBezTo>
                          <a:cubicBezTo>
                            <a:pt x="200787" y="294894"/>
                            <a:pt x="34100" y="193358"/>
                            <a:pt x="0" y="168212"/>
                          </a:cubicBezTo>
                          <a:cubicBezTo>
                            <a:pt x="6668" y="73533"/>
                            <a:pt x="47339" y="0"/>
                            <a:pt x="47339" y="0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0" name="Freihandform: Form 49">
                      <a:extLst>
                        <a:ext uri="{FF2B5EF4-FFF2-40B4-BE49-F238E27FC236}">
                          <a16:creationId xmlns:a16="http://schemas.microsoft.com/office/drawing/2014/main" id="{958BFC5A-EBD4-804D-2567-39B83DD280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78987" y="2815780"/>
                      <a:ext cx="160115" cy="36816"/>
                    </a:xfrm>
                    <a:custGeom>
                      <a:avLst/>
                      <a:gdLst>
                        <a:gd name="connsiteX0" fmla="*/ 160115 w 160115"/>
                        <a:gd name="connsiteY0" fmla="*/ 18669 h 36816"/>
                        <a:gd name="connsiteX1" fmla="*/ 55912 w 160115"/>
                        <a:gd name="connsiteY1" fmla="*/ 13335 h 36816"/>
                        <a:gd name="connsiteX2" fmla="*/ 0 w 160115"/>
                        <a:gd name="connsiteY2" fmla="*/ 0 h 36816"/>
                        <a:gd name="connsiteX3" fmla="*/ 79629 w 160115"/>
                        <a:gd name="connsiteY3" fmla="*/ 34671 h 36816"/>
                        <a:gd name="connsiteX4" fmla="*/ 158687 w 160115"/>
                        <a:gd name="connsiteY4" fmla="*/ 36576 h 36816"/>
                        <a:gd name="connsiteX5" fmla="*/ 160115 w 160115"/>
                        <a:gd name="connsiteY5" fmla="*/ 18669 h 3681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60115" h="36816">
                          <a:moveTo>
                            <a:pt x="160115" y="18669"/>
                          </a:moveTo>
                          <a:lnTo>
                            <a:pt x="55912" y="13335"/>
                          </a:lnTo>
                          <a:lnTo>
                            <a:pt x="0" y="0"/>
                          </a:lnTo>
                          <a:cubicBezTo>
                            <a:pt x="0" y="0"/>
                            <a:pt x="46958" y="31528"/>
                            <a:pt x="79629" y="34671"/>
                          </a:cubicBezTo>
                          <a:cubicBezTo>
                            <a:pt x="112300" y="37814"/>
                            <a:pt x="158687" y="36576"/>
                            <a:pt x="158687" y="36576"/>
                          </a:cubicBezTo>
                          <a:lnTo>
                            <a:pt x="160115" y="18669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46" name="Freihandform: Form 45">
                    <a:extLst>
                      <a:ext uri="{FF2B5EF4-FFF2-40B4-BE49-F238E27FC236}">
                        <a16:creationId xmlns:a16="http://schemas.microsoft.com/office/drawing/2014/main" id="{6112298D-247D-29C4-4B7A-39BCB86045FD}"/>
                      </a:ext>
                    </a:extLst>
                  </p:cNvPr>
                  <p:cNvSpPr/>
                  <p:nvPr/>
                </p:nvSpPr>
                <p:spPr>
                  <a:xfrm rot="-2247599">
                    <a:off x="2681100" y="2683664"/>
                    <a:ext cx="174878" cy="174878"/>
                  </a:xfrm>
                  <a:custGeom>
                    <a:avLst/>
                    <a:gdLst>
                      <a:gd name="connsiteX0" fmla="*/ 174879 w 174878"/>
                      <a:gd name="connsiteY0" fmla="*/ 87439 h 174878"/>
                      <a:gd name="connsiteX1" fmla="*/ 87439 w 174878"/>
                      <a:gd name="connsiteY1" fmla="*/ 174879 h 174878"/>
                      <a:gd name="connsiteX2" fmla="*/ 0 w 174878"/>
                      <a:gd name="connsiteY2" fmla="*/ 87439 h 174878"/>
                      <a:gd name="connsiteX3" fmla="*/ 87439 w 174878"/>
                      <a:gd name="connsiteY3" fmla="*/ 0 h 174878"/>
                      <a:gd name="connsiteX4" fmla="*/ 174879 w 174878"/>
                      <a:gd name="connsiteY4" fmla="*/ 87439 h 174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74878" h="174878">
                        <a:moveTo>
                          <a:pt x="174879" y="87439"/>
                        </a:moveTo>
                        <a:cubicBezTo>
                          <a:pt x="174879" y="135731"/>
                          <a:pt x="135731" y="174879"/>
                          <a:pt x="87439" y="174879"/>
                        </a:cubicBezTo>
                        <a:cubicBezTo>
                          <a:pt x="39148" y="174879"/>
                          <a:pt x="0" y="135731"/>
                          <a:pt x="0" y="87439"/>
                        </a:cubicBezTo>
                        <a:cubicBezTo>
                          <a:pt x="0" y="39148"/>
                          <a:pt x="39148" y="0"/>
                          <a:pt x="87439" y="0"/>
                        </a:cubicBezTo>
                        <a:cubicBezTo>
                          <a:pt x="135731" y="0"/>
                          <a:pt x="174879" y="39148"/>
                          <a:pt x="174879" y="87439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8" name="Grafik 23">
                  <a:extLst>
                    <a:ext uri="{FF2B5EF4-FFF2-40B4-BE49-F238E27FC236}">
                      <a16:creationId xmlns:a16="http://schemas.microsoft.com/office/drawing/2014/main" id="{24D6753B-A660-1546-E609-CC3350CC94CC}"/>
                    </a:ext>
                  </a:extLst>
                </p:cNvPr>
                <p:cNvGrpSpPr/>
                <p:nvPr/>
              </p:nvGrpSpPr>
              <p:grpSpPr>
                <a:xfrm>
                  <a:off x="1874837" y="2455926"/>
                  <a:ext cx="921353" cy="469868"/>
                  <a:chOff x="1874837" y="2455926"/>
                  <a:chExt cx="921353" cy="469868"/>
                </a:xfrm>
              </p:grpSpPr>
              <p:sp>
                <p:nvSpPr>
                  <p:cNvPr id="42" name="Freihandform: Form 41">
                    <a:extLst>
                      <a:ext uri="{FF2B5EF4-FFF2-40B4-BE49-F238E27FC236}">
                        <a16:creationId xmlns:a16="http://schemas.microsoft.com/office/drawing/2014/main" id="{2C91BD4B-9704-0357-51AB-81A4428F84F8}"/>
                      </a:ext>
                    </a:extLst>
                  </p:cNvPr>
                  <p:cNvSpPr/>
                  <p:nvPr/>
                </p:nvSpPr>
                <p:spPr>
                  <a:xfrm>
                    <a:off x="2638551" y="2652045"/>
                    <a:ext cx="157352" cy="204120"/>
                  </a:xfrm>
                  <a:custGeom>
                    <a:avLst/>
                    <a:gdLst>
                      <a:gd name="connsiteX0" fmla="*/ 110014 w 157352"/>
                      <a:gd name="connsiteY0" fmla="*/ 204121 h 204120"/>
                      <a:gd name="connsiteX1" fmla="*/ 157353 w 157352"/>
                      <a:gd name="connsiteY1" fmla="*/ 35909 h 204120"/>
                      <a:gd name="connsiteX2" fmla="*/ 46387 w 157352"/>
                      <a:gd name="connsiteY2" fmla="*/ 0 h 204120"/>
                      <a:gd name="connsiteX3" fmla="*/ 0 w 157352"/>
                      <a:gd name="connsiteY3" fmla="*/ 187928 h 204120"/>
                      <a:gd name="connsiteX4" fmla="*/ 110014 w 157352"/>
                      <a:gd name="connsiteY4" fmla="*/ 204121 h 2041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7352" h="204120">
                        <a:moveTo>
                          <a:pt x="110014" y="204121"/>
                        </a:moveTo>
                        <a:lnTo>
                          <a:pt x="157353" y="35909"/>
                        </a:lnTo>
                        <a:lnTo>
                          <a:pt x="46387" y="0"/>
                        </a:lnTo>
                        <a:lnTo>
                          <a:pt x="0" y="187928"/>
                        </a:lnTo>
                        <a:lnTo>
                          <a:pt x="110014" y="204121"/>
                        </a:ln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" name="Freihandform: Form 42">
                    <a:extLst>
                      <a:ext uri="{FF2B5EF4-FFF2-40B4-BE49-F238E27FC236}">
                        <a16:creationId xmlns:a16="http://schemas.microsoft.com/office/drawing/2014/main" id="{F1795315-E47A-1C48-FDF5-80F792449317}"/>
                      </a:ext>
                    </a:extLst>
                  </p:cNvPr>
                  <p:cNvSpPr/>
                  <p:nvPr/>
                </p:nvSpPr>
                <p:spPr>
                  <a:xfrm>
                    <a:off x="2012663" y="2463641"/>
                    <a:ext cx="783526" cy="462153"/>
                  </a:xfrm>
                  <a:custGeom>
                    <a:avLst/>
                    <a:gdLst>
                      <a:gd name="connsiteX0" fmla="*/ 0 w 783526"/>
                      <a:gd name="connsiteY0" fmla="*/ 334423 h 462153"/>
                      <a:gd name="connsiteX1" fmla="*/ 742188 w 783526"/>
                      <a:gd name="connsiteY1" fmla="*/ 462153 h 462153"/>
                      <a:gd name="connsiteX2" fmla="*/ 783527 w 783526"/>
                      <a:gd name="connsiteY2" fmla="*/ 163259 h 462153"/>
                      <a:gd name="connsiteX3" fmla="*/ 86201 w 783526"/>
                      <a:gd name="connsiteY3" fmla="*/ 0 h 462153"/>
                      <a:gd name="connsiteX4" fmla="*/ 0 w 783526"/>
                      <a:gd name="connsiteY4" fmla="*/ 334423 h 4621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83526" h="462153">
                        <a:moveTo>
                          <a:pt x="0" y="334423"/>
                        </a:moveTo>
                        <a:lnTo>
                          <a:pt x="742188" y="462153"/>
                        </a:lnTo>
                        <a:lnTo>
                          <a:pt x="783527" y="163259"/>
                        </a:lnTo>
                        <a:lnTo>
                          <a:pt x="86201" y="0"/>
                        </a:lnTo>
                        <a:lnTo>
                          <a:pt x="0" y="33442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" name="Freihandform: Form 43">
                    <a:extLst>
                      <a:ext uri="{FF2B5EF4-FFF2-40B4-BE49-F238E27FC236}">
                        <a16:creationId xmlns:a16="http://schemas.microsoft.com/office/drawing/2014/main" id="{C32774A8-BC16-6E8F-9572-684748869D2B}"/>
                      </a:ext>
                    </a:extLst>
                  </p:cNvPr>
                  <p:cNvSpPr/>
                  <p:nvPr/>
                </p:nvSpPr>
                <p:spPr>
                  <a:xfrm>
                    <a:off x="1874837" y="2455926"/>
                    <a:ext cx="345567" cy="345567"/>
                  </a:xfrm>
                  <a:custGeom>
                    <a:avLst/>
                    <a:gdLst>
                      <a:gd name="connsiteX0" fmla="*/ 345567 w 345567"/>
                      <a:gd name="connsiteY0" fmla="*/ 172783 h 345567"/>
                      <a:gd name="connsiteX1" fmla="*/ 172784 w 345567"/>
                      <a:gd name="connsiteY1" fmla="*/ 345567 h 345567"/>
                      <a:gd name="connsiteX2" fmla="*/ 0 w 345567"/>
                      <a:gd name="connsiteY2" fmla="*/ 172783 h 345567"/>
                      <a:gd name="connsiteX3" fmla="*/ 172784 w 345567"/>
                      <a:gd name="connsiteY3" fmla="*/ 0 h 345567"/>
                      <a:gd name="connsiteX4" fmla="*/ 345567 w 345567"/>
                      <a:gd name="connsiteY4" fmla="*/ 172783 h 3455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45567" h="345567">
                        <a:moveTo>
                          <a:pt x="345567" y="172783"/>
                        </a:moveTo>
                        <a:cubicBezTo>
                          <a:pt x="345567" y="268209"/>
                          <a:pt x="268209" y="345567"/>
                          <a:pt x="172784" y="345567"/>
                        </a:cubicBezTo>
                        <a:cubicBezTo>
                          <a:pt x="77358" y="345567"/>
                          <a:pt x="0" y="268209"/>
                          <a:pt x="0" y="172783"/>
                        </a:cubicBezTo>
                        <a:cubicBezTo>
                          <a:pt x="0" y="77358"/>
                          <a:pt x="77358" y="0"/>
                          <a:pt x="172784" y="0"/>
                        </a:cubicBezTo>
                        <a:cubicBezTo>
                          <a:pt x="268209" y="0"/>
                          <a:pt x="345567" y="77358"/>
                          <a:pt x="345567" y="17278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9" name="Grafik 23">
                  <a:extLst>
                    <a:ext uri="{FF2B5EF4-FFF2-40B4-BE49-F238E27FC236}">
                      <a16:creationId xmlns:a16="http://schemas.microsoft.com/office/drawing/2014/main" id="{CBB33A79-A1AB-B7A6-B0F2-B5EE19B51DE1}"/>
                    </a:ext>
                  </a:extLst>
                </p:cNvPr>
                <p:cNvGrpSpPr/>
                <p:nvPr/>
              </p:nvGrpSpPr>
              <p:grpSpPr>
                <a:xfrm>
                  <a:off x="1875789" y="1478509"/>
                  <a:ext cx="599222" cy="1188109"/>
                  <a:chOff x="1875789" y="1478509"/>
                  <a:chExt cx="599222" cy="1188109"/>
                </a:xfrm>
                <a:solidFill>
                  <a:srgbClr val="FFFFFF"/>
                </a:solidFill>
              </p:grpSpPr>
              <p:sp>
                <p:nvSpPr>
                  <p:cNvPr id="40" name="Freihandform: Form 39">
                    <a:extLst>
                      <a:ext uri="{FF2B5EF4-FFF2-40B4-BE49-F238E27FC236}">
                        <a16:creationId xmlns:a16="http://schemas.microsoft.com/office/drawing/2014/main" id="{9088A7B2-C4ED-8B81-E3D2-9F00A4B1DEFC}"/>
                      </a:ext>
                    </a:extLst>
                  </p:cNvPr>
                  <p:cNvSpPr/>
                  <p:nvPr/>
                </p:nvSpPr>
                <p:spPr>
                  <a:xfrm>
                    <a:off x="1875789" y="1699831"/>
                    <a:ext cx="512349" cy="966787"/>
                  </a:xfrm>
                  <a:custGeom>
                    <a:avLst/>
                    <a:gdLst>
                      <a:gd name="connsiteX0" fmla="*/ 115062 w 512349"/>
                      <a:gd name="connsiteY0" fmla="*/ 0 h 966787"/>
                      <a:gd name="connsiteX1" fmla="*/ 0 w 512349"/>
                      <a:gd name="connsiteY1" fmla="*/ 910971 h 966787"/>
                      <a:gd name="connsiteX2" fmla="*/ 340424 w 512349"/>
                      <a:gd name="connsiteY2" fmla="*/ 966788 h 966787"/>
                      <a:gd name="connsiteX3" fmla="*/ 512350 w 512349"/>
                      <a:gd name="connsiteY3" fmla="*/ 108204 h 966787"/>
                      <a:gd name="connsiteX4" fmla="*/ 115062 w 512349"/>
                      <a:gd name="connsiteY4" fmla="*/ 0 h 9667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2349" h="966787">
                        <a:moveTo>
                          <a:pt x="115062" y="0"/>
                        </a:moveTo>
                        <a:cubicBezTo>
                          <a:pt x="46673" y="214884"/>
                          <a:pt x="0" y="910971"/>
                          <a:pt x="0" y="910971"/>
                        </a:cubicBezTo>
                        <a:cubicBezTo>
                          <a:pt x="148495" y="945070"/>
                          <a:pt x="190024" y="966788"/>
                          <a:pt x="340424" y="966788"/>
                        </a:cubicBezTo>
                        <a:cubicBezTo>
                          <a:pt x="447485" y="721614"/>
                          <a:pt x="512350" y="108204"/>
                          <a:pt x="512350" y="108204"/>
                        </a:cubicBezTo>
                        <a:cubicBezTo>
                          <a:pt x="364046" y="68008"/>
                          <a:pt x="315373" y="50768"/>
                          <a:pt x="115062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1" name="Freihandform: Form 40">
                    <a:extLst>
                      <a:ext uri="{FF2B5EF4-FFF2-40B4-BE49-F238E27FC236}">
                        <a16:creationId xmlns:a16="http://schemas.microsoft.com/office/drawing/2014/main" id="{F977F1F7-8C82-5C20-4FD3-4E3A30CD37FF}"/>
                      </a:ext>
                    </a:extLst>
                  </p:cNvPr>
                  <p:cNvSpPr/>
                  <p:nvPr/>
                </p:nvSpPr>
                <p:spPr>
                  <a:xfrm rot="-2247599">
                    <a:off x="1979225" y="1561481"/>
                    <a:ext cx="412813" cy="412813"/>
                  </a:xfrm>
                  <a:custGeom>
                    <a:avLst/>
                    <a:gdLst>
                      <a:gd name="connsiteX0" fmla="*/ 412813 w 412813"/>
                      <a:gd name="connsiteY0" fmla="*/ 206407 h 412813"/>
                      <a:gd name="connsiteX1" fmla="*/ 206407 w 412813"/>
                      <a:gd name="connsiteY1" fmla="*/ 412813 h 412813"/>
                      <a:gd name="connsiteX2" fmla="*/ 0 w 412813"/>
                      <a:gd name="connsiteY2" fmla="*/ 206407 h 412813"/>
                      <a:gd name="connsiteX3" fmla="*/ 206407 w 412813"/>
                      <a:gd name="connsiteY3" fmla="*/ 0 h 412813"/>
                      <a:gd name="connsiteX4" fmla="*/ 412813 w 412813"/>
                      <a:gd name="connsiteY4" fmla="*/ 206407 h 4128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2813" h="412813">
                        <a:moveTo>
                          <a:pt x="412813" y="206407"/>
                        </a:moveTo>
                        <a:cubicBezTo>
                          <a:pt x="412813" y="320402"/>
                          <a:pt x="320402" y="412813"/>
                          <a:pt x="206407" y="412813"/>
                        </a:cubicBezTo>
                        <a:cubicBezTo>
                          <a:pt x="92411" y="412813"/>
                          <a:pt x="0" y="320402"/>
                          <a:pt x="0" y="206407"/>
                        </a:cubicBezTo>
                        <a:cubicBezTo>
                          <a:pt x="0" y="92411"/>
                          <a:pt x="92411" y="0"/>
                          <a:pt x="206407" y="0"/>
                        </a:cubicBezTo>
                        <a:cubicBezTo>
                          <a:pt x="320402" y="0"/>
                          <a:pt x="412813" y="92411"/>
                          <a:pt x="412813" y="20640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</p:grp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FFE8C45E-F75E-3A16-74D4-880852C972E3}"/>
                </a:ext>
              </a:extLst>
            </p:cNvPr>
            <p:cNvSpPr>
              <a:spLocks/>
            </p:cNvSpPr>
            <p:nvPr/>
          </p:nvSpPr>
          <p:spPr>
            <a:xfrm>
              <a:off x="9210675" y="1826246"/>
              <a:ext cx="53975" cy="906229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l"/>
              <a:endParaRPr lang="en-US" sz="1000" b="1">
                <a:solidFill>
                  <a:schemeClr val="tx1"/>
                </a:solidFill>
              </a:endParaRPr>
            </a:p>
          </p:txBody>
        </p:sp>
      </p:grpSp>
      <p:grpSp>
        <p:nvGrpSpPr>
          <p:cNvPr id="292" name="Gruppieren 291">
            <a:extLst>
              <a:ext uri="{FF2B5EF4-FFF2-40B4-BE49-F238E27FC236}">
                <a16:creationId xmlns:a16="http://schemas.microsoft.com/office/drawing/2014/main" id="{164396DD-7A36-EE9E-756F-23D95329D70D}"/>
              </a:ext>
            </a:extLst>
          </p:cNvPr>
          <p:cNvGrpSpPr>
            <a:grpSpLocks/>
          </p:cNvGrpSpPr>
          <p:nvPr/>
        </p:nvGrpSpPr>
        <p:grpSpPr>
          <a:xfrm>
            <a:off x="9210675" y="2912475"/>
            <a:ext cx="2201842" cy="906229"/>
            <a:chOff x="9210675" y="2912475"/>
            <a:chExt cx="2201842" cy="906229"/>
          </a:xfrm>
        </p:grpSpPr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3781E046-B386-DD8E-AA55-7E439761DD29}"/>
                </a:ext>
              </a:extLst>
            </p:cNvPr>
            <p:cNvSpPr>
              <a:spLocks/>
            </p:cNvSpPr>
            <p:nvPr/>
          </p:nvSpPr>
          <p:spPr>
            <a:xfrm>
              <a:off x="9210675" y="2912475"/>
              <a:ext cx="2201842" cy="90622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tlCol="0" anchor="t"/>
            <a:lstStyle/>
            <a:p>
              <a:r>
                <a:rPr lang="en-US" sz="1200" b="1" err="1">
                  <a:solidFill>
                    <a:schemeClr val="tx1"/>
                  </a:solidFill>
                </a:rPr>
                <a:t>Anwender</a:t>
              </a:r>
              <a:r>
                <a:rPr lang="en-US" sz="1200" b="1">
                  <a:solidFill>
                    <a:schemeClr val="tx1"/>
                  </a:solidFill>
                </a:rPr>
                <a:t>*</a:t>
              </a:r>
              <a:r>
                <a:rPr lang="en-US" sz="1200" b="1" err="1">
                  <a:solidFill>
                    <a:schemeClr val="tx1"/>
                  </a:solidFill>
                </a:rPr>
                <a:t>innen</a:t>
              </a:r>
              <a:endParaRPr lang="en-US" sz="1200" b="1">
                <a:solidFill>
                  <a:schemeClr val="tx1"/>
                </a:solidFill>
              </a:endParaRPr>
            </a:p>
            <a:p>
              <a:pPr algn="l"/>
              <a:endParaRPr lang="en-US" sz="1200" b="1">
                <a:solidFill>
                  <a:schemeClr val="tx1"/>
                </a:solidFill>
              </a:endParaRPr>
            </a:p>
          </p:txBody>
        </p:sp>
        <p:grpSp>
          <p:nvGrpSpPr>
            <p:cNvPr id="294" name="Gruppieren 293">
              <a:extLst>
                <a:ext uri="{FF2B5EF4-FFF2-40B4-BE49-F238E27FC236}">
                  <a16:creationId xmlns:a16="http://schemas.microsoft.com/office/drawing/2014/main" id="{D251761E-378F-6CF2-6D10-8FBC0E6A32A1}"/>
                </a:ext>
              </a:extLst>
            </p:cNvPr>
            <p:cNvGrpSpPr>
              <a:grpSpLocks/>
            </p:cNvGrpSpPr>
            <p:nvPr/>
          </p:nvGrpSpPr>
          <p:grpSpPr>
            <a:xfrm flipH="1">
              <a:off x="10699750" y="3003018"/>
              <a:ext cx="516340" cy="708249"/>
              <a:chOff x="9590362" y="1659724"/>
              <a:chExt cx="2578928" cy="3537443"/>
            </a:xfrm>
          </p:grpSpPr>
          <p:grpSp>
            <p:nvGrpSpPr>
              <p:cNvPr id="296" name="Grafik 297">
                <a:extLst>
                  <a:ext uri="{FF2B5EF4-FFF2-40B4-BE49-F238E27FC236}">
                    <a16:creationId xmlns:a16="http://schemas.microsoft.com/office/drawing/2014/main" id="{9284B4CF-21FB-811C-31A1-9A5C8AC0E4F8}"/>
                  </a:ext>
                </a:extLst>
              </p:cNvPr>
              <p:cNvGrpSpPr/>
              <p:nvPr/>
            </p:nvGrpSpPr>
            <p:grpSpPr>
              <a:xfrm>
                <a:off x="11138852" y="1928127"/>
                <a:ext cx="1030438" cy="3268937"/>
                <a:chOff x="11138852" y="1928127"/>
                <a:chExt cx="1030438" cy="3268937"/>
              </a:xfrm>
            </p:grpSpPr>
            <p:grpSp>
              <p:nvGrpSpPr>
                <p:cNvPr id="396" name="Grafik 297">
                  <a:extLst>
                    <a:ext uri="{FF2B5EF4-FFF2-40B4-BE49-F238E27FC236}">
                      <a16:creationId xmlns:a16="http://schemas.microsoft.com/office/drawing/2014/main" id="{9578732E-07B8-4581-E246-BB2D2EC8D1DD}"/>
                    </a:ext>
                  </a:extLst>
                </p:cNvPr>
                <p:cNvGrpSpPr/>
                <p:nvPr/>
              </p:nvGrpSpPr>
              <p:grpSpPr>
                <a:xfrm>
                  <a:off x="11876781" y="2514754"/>
                  <a:ext cx="292510" cy="1386761"/>
                  <a:chOff x="11876781" y="2514754"/>
                  <a:chExt cx="292510" cy="1386761"/>
                </a:xfrm>
              </p:grpSpPr>
              <p:grpSp>
                <p:nvGrpSpPr>
                  <p:cNvPr id="472" name="Grafik 297">
                    <a:extLst>
                      <a:ext uri="{FF2B5EF4-FFF2-40B4-BE49-F238E27FC236}">
                        <a16:creationId xmlns:a16="http://schemas.microsoft.com/office/drawing/2014/main" id="{5A746B6B-DCEC-F1A8-78EA-99CD27AE5E97}"/>
                      </a:ext>
                    </a:extLst>
                  </p:cNvPr>
                  <p:cNvGrpSpPr/>
                  <p:nvPr/>
                </p:nvGrpSpPr>
                <p:grpSpPr>
                  <a:xfrm>
                    <a:off x="11972799" y="3056405"/>
                    <a:ext cx="164676" cy="555321"/>
                    <a:chOff x="11972799" y="3056405"/>
                    <a:chExt cx="164676" cy="555321"/>
                  </a:xfrm>
                </p:grpSpPr>
                <p:sp>
                  <p:nvSpPr>
                    <p:cNvPr id="497" name="Freihandform: Form 496">
                      <a:extLst>
                        <a:ext uri="{FF2B5EF4-FFF2-40B4-BE49-F238E27FC236}">
                          <a16:creationId xmlns:a16="http://schemas.microsoft.com/office/drawing/2014/main" id="{D7F7AA36-FA9F-7D2A-C13E-88E7D464D72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72799" y="3137396"/>
                      <a:ext cx="164494" cy="474330"/>
                    </a:xfrm>
                    <a:custGeom>
                      <a:avLst/>
                      <a:gdLst>
                        <a:gd name="connsiteX0" fmla="*/ 108364 w 164494"/>
                        <a:gd name="connsiteY0" fmla="*/ 474331 h 474330"/>
                        <a:gd name="connsiteX1" fmla="*/ 24047 w 164494"/>
                        <a:gd name="connsiteY1" fmla="*/ 463686 h 474330"/>
                        <a:gd name="connsiteX2" fmla="*/ 1001 w 164494"/>
                        <a:gd name="connsiteY2" fmla="*/ 0 h 474330"/>
                        <a:gd name="connsiteX3" fmla="*/ 164495 w 164494"/>
                        <a:gd name="connsiteY3" fmla="*/ 9012 h 474330"/>
                        <a:gd name="connsiteX4" fmla="*/ 108364 w 164494"/>
                        <a:gd name="connsiteY4" fmla="*/ 474331 h 4743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64494" h="474330">
                          <a:moveTo>
                            <a:pt x="108364" y="474331"/>
                          </a:moveTo>
                          <a:lnTo>
                            <a:pt x="24047" y="463686"/>
                          </a:lnTo>
                          <a:cubicBezTo>
                            <a:pt x="24047" y="463686"/>
                            <a:pt x="-5773" y="46574"/>
                            <a:pt x="1001" y="0"/>
                          </a:cubicBezTo>
                          <a:lnTo>
                            <a:pt x="164495" y="9012"/>
                          </a:lnTo>
                          <a:cubicBezTo>
                            <a:pt x="144353" y="220350"/>
                            <a:pt x="121792" y="349911"/>
                            <a:pt x="108364" y="474331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98" name="Freihandform: Form 497">
                      <a:extLst>
                        <a:ext uri="{FF2B5EF4-FFF2-40B4-BE49-F238E27FC236}">
                          <a16:creationId xmlns:a16="http://schemas.microsoft.com/office/drawing/2014/main" id="{78601542-5A10-BFC8-125F-58F2972DFE4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74042" y="3056405"/>
                      <a:ext cx="163433" cy="163433"/>
                    </a:xfrm>
                    <a:custGeom>
                      <a:avLst/>
                      <a:gdLst>
                        <a:gd name="connsiteX0" fmla="*/ 163433 w 163433"/>
                        <a:gd name="connsiteY0" fmla="*/ 81717 h 163433"/>
                        <a:gd name="connsiteX1" fmla="*/ 81717 w 163433"/>
                        <a:gd name="connsiteY1" fmla="*/ 163433 h 163433"/>
                        <a:gd name="connsiteX2" fmla="*/ 0 w 163433"/>
                        <a:gd name="connsiteY2" fmla="*/ 81717 h 163433"/>
                        <a:gd name="connsiteX3" fmla="*/ 81717 w 163433"/>
                        <a:gd name="connsiteY3" fmla="*/ 0 h 163433"/>
                        <a:gd name="connsiteX4" fmla="*/ 163433 w 163433"/>
                        <a:gd name="connsiteY4" fmla="*/ 81717 h 1634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63433" h="163433">
                          <a:moveTo>
                            <a:pt x="163433" y="81717"/>
                          </a:moveTo>
                          <a:cubicBezTo>
                            <a:pt x="163433" y="126847"/>
                            <a:pt x="126848" y="163433"/>
                            <a:pt x="81717" y="163433"/>
                          </a:cubicBezTo>
                          <a:cubicBezTo>
                            <a:pt x="36586" y="163433"/>
                            <a:pt x="0" y="126847"/>
                            <a:pt x="0" y="81717"/>
                          </a:cubicBezTo>
                          <a:cubicBezTo>
                            <a:pt x="0" y="36586"/>
                            <a:pt x="36586" y="0"/>
                            <a:pt x="81717" y="0"/>
                          </a:cubicBezTo>
                          <a:cubicBezTo>
                            <a:pt x="126848" y="0"/>
                            <a:pt x="163433" y="36586"/>
                            <a:pt x="163433" y="81717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99" name="Freihandform: Form 498">
                      <a:extLst>
                        <a:ext uri="{FF2B5EF4-FFF2-40B4-BE49-F238E27FC236}">
                          <a16:creationId xmlns:a16="http://schemas.microsoft.com/office/drawing/2014/main" id="{D61AA457-C304-A37C-1370-9E27446376E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92974" y="3544769"/>
                      <a:ext cx="94962" cy="66957"/>
                    </a:xfrm>
                    <a:custGeom>
                      <a:avLst/>
                      <a:gdLst>
                        <a:gd name="connsiteX0" fmla="*/ 0 w 94962"/>
                        <a:gd name="connsiteY0" fmla="*/ 0 h 66957"/>
                        <a:gd name="connsiteX1" fmla="*/ 3932 w 94962"/>
                        <a:gd name="connsiteY1" fmla="*/ 56312 h 66957"/>
                        <a:gd name="connsiteX2" fmla="*/ 88249 w 94962"/>
                        <a:gd name="connsiteY2" fmla="*/ 66958 h 66957"/>
                        <a:gd name="connsiteX3" fmla="*/ 94963 w 94962"/>
                        <a:gd name="connsiteY3" fmla="*/ 9617 h 66957"/>
                        <a:gd name="connsiteX4" fmla="*/ 0 w 94962"/>
                        <a:gd name="connsiteY4" fmla="*/ 0 h 66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94962" h="66957">
                          <a:moveTo>
                            <a:pt x="0" y="0"/>
                          </a:moveTo>
                          <a:cubicBezTo>
                            <a:pt x="2359" y="34356"/>
                            <a:pt x="3932" y="56312"/>
                            <a:pt x="3932" y="56312"/>
                          </a:cubicBezTo>
                          <a:lnTo>
                            <a:pt x="88249" y="66958"/>
                          </a:lnTo>
                          <a:cubicBezTo>
                            <a:pt x="90305" y="48026"/>
                            <a:pt x="92543" y="29033"/>
                            <a:pt x="94963" y="9617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473" name="Freihandform: Form 472">
                    <a:extLst>
                      <a:ext uri="{FF2B5EF4-FFF2-40B4-BE49-F238E27FC236}">
                        <a16:creationId xmlns:a16="http://schemas.microsoft.com/office/drawing/2014/main" id="{D2724233-3D87-C192-0476-CC2401B196F5}"/>
                      </a:ext>
                    </a:extLst>
                  </p:cNvPr>
                  <p:cNvSpPr/>
                  <p:nvPr/>
                </p:nvSpPr>
                <p:spPr>
                  <a:xfrm>
                    <a:off x="11916157" y="2526609"/>
                    <a:ext cx="253134" cy="668188"/>
                  </a:xfrm>
                  <a:custGeom>
                    <a:avLst/>
                    <a:gdLst>
                      <a:gd name="connsiteX0" fmla="*/ 114258 w 253134"/>
                      <a:gd name="connsiteY0" fmla="*/ 0 h 668188"/>
                      <a:gd name="connsiteX1" fmla="*/ 194644 w 253134"/>
                      <a:gd name="connsiteY1" fmla="*/ 160409 h 668188"/>
                      <a:gd name="connsiteX2" fmla="*/ 253134 w 253134"/>
                      <a:gd name="connsiteY2" fmla="*/ 666434 h 668188"/>
                      <a:gd name="connsiteX3" fmla="*/ 41312 w 253134"/>
                      <a:gd name="connsiteY3" fmla="*/ 668189 h 668188"/>
                      <a:gd name="connsiteX4" fmla="*/ 0 w 253134"/>
                      <a:gd name="connsiteY4" fmla="*/ 175167 h 668188"/>
                      <a:gd name="connsiteX5" fmla="*/ 114198 w 253134"/>
                      <a:gd name="connsiteY5" fmla="*/ 0 h 6681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53134" h="668188">
                        <a:moveTo>
                          <a:pt x="114258" y="0"/>
                        </a:moveTo>
                        <a:cubicBezTo>
                          <a:pt x="114258" y="0"/>
                          <a:pt x="178192" y="18993"/>
                          <a:pt x="194644" y="160409"/>
                        </a:cubicBezTo>
                        <a:cubicBezTo>
                          <a:pt x="211096" y="301825"/>
                          <a:pt x="253134" y="666434"/>
                          <a:pt x="253134" y="666434"/>
                        </a:cubicBezTo>
                        <a:lnTo>
                          <a:pt x="41312" y="668189"/>
                        </a:lnTo>
                        <a:lnTo>
                          <a:pt x="0" y="175167"/>
                        </a:lnTo>
                        <a:lnTo>
                          <a:pt x="114198" y="0"/>
                        </a:ln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4" name="Freihandform: Form 473">
                    <a:extLst>
                      <a:ext uri="{FF2B5EF4-FFF2-40B4-BE49-F238E27FC236}">
                        <a16:creationId xmlns:a16="http://schemas.microsoft.com/office/drawing/2014/main" id="{0D058D8C-29B4-C12F-48E3-189B07EB2922}"/>
                      </a:ext>
                    </a:extLst>
                  </p:cNvPr>
                  <p:cNvSpPr/>
                  <p:nvPr/>
                </p:nvSpPr>
                <p:spPr>
                  <a:xfrm>
                    <a:off x="11876781" y="2514754"/>
                    <a:ext cx="210128" cy="210128"/>
                  </a:xfrm>
                  <a:custGeom>
                    <a:avLst/>
                    <a:gdLst>
                      <a:gd name="connsiteX0" fmla="*/ 210129 w 210128"/>
                      <a:gd name="connsiteY0" fmla="*/ 105064 h 210128"/>
                      <a:gd name="connsiteX1" fmla="*/ 105064 w 210128"/>
                      <a:gd name="connsiteY1" fmla="*/ 210128 h 210128"/>
                      <a:gd name="connsiteX2" fmla="*/ 0 w 210128"/>
                      <a:gd name="connsiteY2" fmla="*/ 105064 h 210128"/>
                      <a:gd name="connsiteX3" fmla="*/ 105064 w 210128"/>
                      <a:gd name="connsiteY3" fmla="*/ 0 h 210128"/>
                      <a:gd name="connsiteX4" fmla="*/ 210129 w 210128"/>
                      <a:gd name="connsiteY4" fmla="*/ 105064 h 2101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0128" h="210128">
                        <a:moveTo>
                          <a:pt x="210129" y="105064"/>
                        </a:moveTo>
                        <a:cubicBezTo>
                          <a:pt x="210129" y="163089"/>
                          <a:pt x="163089" y="210128"/>
                          <a:pt x="105064" y="210128"/>
                        </a:cubicBezTo>
                        <a:cubicBezTo>
                          <a:pt x="47039" y="210128"/>
                          <a:pt x="0" y="163089"/>
                          <a:pt x="0" y="105064"/>
                        </a:cubicBezTo>
                        <a:cubicBezTo>
                          <a:pt x="0" y="47039"/>
                          <a:pt x="47039" y="0"/>
                          <a:pt x="105064" y="0"/>
                        </a:cubicBezTo>
                        <a:cubicBezTo>
                          <a:pt x="163089" y="0"/>
                          <a:pt x="210129" y="47039"/>
                          <a:pt x="210129" y="105064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475" name="Grafik 297">
                    <a:extLst>
                      <a:ext uri="{FF2B5EF4-FFF2-40B4-BE49-F238E27FC236}">
                        <a16:creationId xmlns:a16="http://schemas.microsoft.com/office/drawing/2014/main" id="{94671865-C3D0-58A3-AC46-EBDC4446CB4B}"/>
                      </a:ext>
                    </a:extLst>
                  </p:cNvPr>
                  <p:cNvGrpSpPr/>
                  <p:nvPr/>
                </p:nvGrpSpPr>
                <p:grpSpPr>
                  <a:xfrm>
                    <a:off x="11946098" y="3566242"/>
                    <a:ext cx="143230" cy="335273"/>
                    <a:chOff x="11946098" y="3566242"/>
                    <a:chExt cx="143230" cy="335273"/>
                  </a:xfrm>
                  <a:solidFill>
                    <a:srgbClr val="02787D"/>
                  </a:solidFill>
                </p:grpSpPr>
                <p:grpSp>
                  <p:nvGrpSpPr>
                    <p:cNvPr id="476" name="Grafik 297">
                      <a:extLst>
                        <a:ext uri="{FF2B5EF4-FFF2-40B4-BE49-F238E27FC236}">
                          <a16:creationId xmlns:a16="http://schemas.microsoft.com/office/drawing/2014/main" id="{9BF71351-7366-F0B8-28D9-77B39CE653E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91897" y="3779147"/>
                      <a:ext cx="71060" cy="63636"/>
                      <a:chOff x="11991897" y="3779147"/>
                      <a:chExt cx="71060" cy="63636"/>
                    </a:xfrm>
                    <a:solidFill>
                      <a:srgbClr val="02787D"/>
                    </a:solidFill>
                  </p:grpSpPr>
                  <p:sp>
                    <p:nvSpPr>
                      <p:cNvPr id="495" name="Freihandform: Form 494">
                        <a:extLst>
                          <a:ext uri="{FF2B5EF4-FFF2-40B4-BE49-F238E27FC236}">
                            <a16:creationId xmlns:a16="http://schemas.microsoft.com/office/drawing/2014/main" id="{0D0A54FE-8DF5-23AC-1119-4E91E63492B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91897" y="3797206"/>
                        <a:ext cx="39028" cy="45577"/>
                      </a:xfrm>
                      <a:custGeom>
                        <a:avLst/>
                        <a:gdLst>
                          <a:gd name="connsiteX0" fmla="*/ 1924 w 39028"/>
                          <a:gd name="connsiteY0" fmla="*/ 45577 h 45577"/>
                          <a:gd name="connsiteX1" fmla="*/ 26179 w 39028"/>
                          <a:gd name="connsiteY1" fmla="*/ 33298 h 45577"/>
                          <a:gd name="connsiteX2" fmla="*/ 38759 w 39028"/>
                          <a:gd name="connsiteY2" fmla="*/ 6443 h 45577"/>
                          <a:gd name="connsiteX3" fmla="*/ 37005 w 39028"/>
                          <a:gd name="connsiteY3" fmla="*/ 31 h 45577"/>
                          <a:gd name="connsiteX4" fmla="*/ 9968 w 39028"/>
                          <a:gd name="connsiteY4" fmla="*/ 19568 h 45577"/>
                          <a:gd name="connsiteX5" fmla="*/ 1984 w 39028"/>
                          <a:gd name="connsiteY5" fmla="*/ 45577 h 45577"/>
                          <a:gd name="connsiteX6" fmla="*/ 1984 w 39028"/>
                          <a:gd name="connsiteY6" fmla="*/ 45577 h 455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9028" h="45577">
                            <a:moveTo>
                              <a:pt x="1924" y="45577"/>
                            </a:moveTo>
                            <a:lnTo>
                              <a:pt x="26179" y="33298"/>
                            </a:lnTo>
                            <a:cubicBezTo>
                              <a:pt x="35312" y="28460"/>
                              <a:pt x="40272" y="18721"/>
                              <a:pt x="38759" y="6443"/>
                            </a:cubicBezTo>
                            <a:cubicBezTo>
                              <a:pt x="38276" y="2511"/>
                              <a:pt x="37670" y="-332"/>
                              <a:pt x="37005" y="31"/>
                            </a:cubicBezTo>
                            <a:cubicBezTo>
                              <a:pt x="35614" y="636"/>
                              <a:pt x="24061" y="8923"/>
                              <a:pt x="9968" y="19568"/>
                            </a:cubicBezTo>
                            <a:cubicBezTo>
                              <a:pt x="1077" y="26343"/>
                              <a:pt x="-2613" y="32875"/>
                              <a:pt x="1984" y="45577"/>
                            </a:cubicBezTo>
                            <a:lnTo>
                              <a:pt x="1984" y="4557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96" name="Freihandform: Form 495">
                        <a:extLst>
                          <a:ext uri="{FF2B5EF4-FFF2-40B4-BE49-F238E27FC236}">
                            <a16:creationId xmlns:a16="http://schemas.microsoft.com/office/drawing/2014/main" id="{A60779A0-81D8-AB8C-C929-A8555EF3327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13756" y="3779147"/>
                        <a:ext cx="49201" cy="51418"/>
                      </a:xfrm>
                      <a:custGeom>
                        <a:avLst/>
                        <a:gdLst>
                          <a:gd name="connsiteX0" fmla="*/ 4320 w 49201"/>
                          <a:gd name="connsiteY0" fmla="*/ 51358 h 51418"/>
                          <a:gd name="connsiteX1" fmla="*/ 41518 w 49201"/>
                          <a:gd name="connsiteY1" fmla="*/ 30793 h 51418"/>
                          <a:gd name="connsiteX2" fmla="*/ 49019 w 49201"/>
                          <a:gd name="connsiteY2" fmla="*/ 24139 h 51418"/>
                          <a:gd name="connsiteX3" fmla="*/ 28454 w 49201"/>
                          <a:gd name="connsiteY3" fmla="*/ 5 h 51418"/>
                          <a:gd name="connsiteX4" fmla="*/ 6558 w 49201"/>
                          <a:gd name="connsiteY4" fmla="*/ 23655 h 51418"/>
                          <a:gd name="connsiteX5" fmla="*/ 4320 w 49201"/>
                          <a:gd name="connsiteY5" fmla="*/ 51418 h 51418"/>
                          <a:gd name="connsiteX6" fmla="*/ 4320 w 49201"/>
                          <a:gd name="connsiteY6" fmla="*/ 51418 h 514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9201" h="51418">
                            <a:moveTo>
                              <a:pt x="4320" y="51358"/>
                            </a:moveTo>
                            <a:lnTo>
                              <a:pt x="41518" y="30793"/>
                            </a:lnTo>
                            <a:cubicBezTo>
                              <a:pt x="46055" y="28071"/>
                              <a:pt x="47748" y="25712"/>
                              <a:pt x="49019" y="24139"/>
                            </a:cubicBezTo>
                            <a:cubicBezTo>
                              <a:pt x="50894" y="12163"/>
                              <a:pt x="37950" y="-297"/>
                              <a:pt x="28454" y="5"/>
                            </a:cubicBezTo>
                            <a:lnTo>
                              <a:pt x="6558" y="23655"/>
                            </a:lnTo>
                            <a:cubicBezTo>
                              <a:pt x="-2092" y="29825"/>
                              <a:pt x="-1487" y="39442"/>
                              <a:pt x="4320" y="51418"/>
                            </a:cubicBezTo>
                            <a:lnTo>
                              <a:pt x="4320" y="51418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77" name="Grafik 297">
                      <a:extLst>
                        <a:ext uri="{FF2B5EF4-FFF2-40B4-BE49-F238E27FC236}">
                          <a16:creationId xmlns:a16="http://schemas.microsoft.com/office/drawing/2014/main" id="{6B42BB35-4C29-D358-006C-88BFEEA1806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85158" y="3753599"/>
                      <a:ext cx="101447" cy="124931"/>
                      <a:chOff x="11985158" y="3753599"/>
                      <a:chExt cx="101447" cy="124931"/>
                    </a:xfrm>
                    <a:solidFill>
                      <a:srgbClr val="02787D"/>
                    </a:solidFill>
                  </p:grpSpPr>
                  <p:sp>
                    <p:nvSpPr>
                      <p:cNvPr id="492" name="Freihandform: Form 491">
                        <a:extLst>
                          <a:ext uri="{FF2B5EF4-FFF2-40B4-BE49-F238E27FC236}">
                            <a16:creationId xmlns:a16="http://schemas.microsoft.com/office/drawing/2014/main" id="{D44CB3A9-25ED-6F3A-6D6B-ED9C7E3BAB4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85158" y="3820113"/>
                        <a:ext cx="47131" cy="58418"/>
                      </a:xfrm>
                      <a:custGeom>
                        <a:avLst/>
                        <a:gdLst>
                          <a:gd name="connsiteX0" fmla="*/ 2493 w 47131"/>
                          <a:gd name="connsiteY0" fmla="*/ 58418 h 58418"/>
                          <a:gd name="connsiteX1" fmla="*/ 31768 w 47131"/>
                          <a:gd name="connsiteY1" fmla="*/ 40091 h 58418"/>
                          <a:gd name="connsiteX2" fmla="*/ 46768 w 47131"/>
                          <a:gd name="connsiteY2" fmla="*/ 7126 h 58418"/>
                          <a:gd name="connsiteX3" fmla="*/ 44530 w 47131"/>
                          <a:gd name="connsiteY3" fmla="*/ 49 h 58418"/>
                          <a:gd name="connsiteX4" fmla="*/ 11928 w 47131"/>
                          <a:gd name="connsiteY4" fmla="*/ 27207 h 58418"/>
                          <a:gd name="connsiteX5" fmla="*/ 2493 w 47131"/>
                          <a:gd name="connsiteY5" fmla="*/ 58418 h 58418"/>
                          <a:gd name="connsiteX6" fmla="*/ 2493 w 47131"/>
                          <a:gd name="connsiteY6" fmla="*/ 58418 h 584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7131" h="58418">
                            <a:moveTo>
                              <a:pt x="2493" y="58418"/>
                            </a:moveTo>
                            <a:lnTo>
                              <a:pt x="31768" y="40091"/>
                            </a:lnTo>
                            <a:cubicBezTo>
                              <a:pt x="42777" y="32953"/>
                              <a:pt x="48704" y="20917"/>
                              <a:pt x="46768" y="7126"/>
                            </a:cubicBezTo>
                            <a:cubicBezTo>
                              <a:pt x="46164" y="2710"/>
                              <a:pt x="45377" y="-435"/>
                              <a:pt x="44530" y="49"/>
                            </a:cubicBezTo>
                            <a:cubicBezTo>
                              <a:pt x="42897" y="1017"/>
                              <a:pt x="28925" y="12509"/>
                              <a:pt x="11928" y="27207"/>
                            </a:cubicBezTo>
                            <a:cubicBezTo>
                              <a:pt x="1223" y="36522"/>
                              <a:pt x="-3193" y="44627"/>
                              <a:pt x="2493" y="58418"/>
                            </a:cubicBezTo>
                            <a:lnTo>
                              <a:pt x="2493" y="58418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93" name="Freihandform: Form 492">
                        <a:extLst>
                          <a:ext uri="{FF2B5EF4-FFF2-40B4-BE49-F238E27FC236}">
                            <a16:creationId xmlns:a16="http://schemas.microsoft.com/office/drawing/2014/main" id="{CA17F6B4-8777-BD89-0B6A-08C8FD8B20C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10819" y="3786350"/>
                        <a:ext cx="62106" cy="74155"/>
                      </a:xfrm>
                      <a:custGeom>
                        <a:avLst/>
                        <a:gdLst>
                          <a:gd name="connsiteX0" fmla="*/ 5381 w 62106"/>
                          <a:gd name="connsiteY0" fmla="*/ 74156 h 74155"/>
                          <a:gd name="connsiteX1" fmla="*/ 50080 w 62106"/>
                          <a:gd name="connsiteY1" fmla="*/ 45546 h 74155"/>
                          <a:gd name="connsiteX2" fmla="*/ 55766 w 62106"/>
                          <a:gd name="connsiteY2" fmla="*/ 3569 h 74155"/>
                          <a:gd name="connsiteX3" fmla="*/ 50927 w 62106"/>
                          <a:gd name="connsiteY3" fmla="*/ 0 h 74155"/>
                          <a:gd name="connsiteX4" fmla="*/ 7801 w 62106"/>
                          <a:gd name="connsiteY4" fmla="*/ 41917 h 74155"/>
                          <a:gd name="connsiteX5" fmla="*/ 5381 w 62106"/>
                          <a:gd name="connsiteY5" fmla="*/ 74095 h 74155"/>
                          <a:gd name="connsiteX6" fmla="*/ 5381 w 62106"/>
                          <a:gd name="connsiteY6" fmla="*/ 74095 h 7415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2106" h="74155">
                            <a:moveTo>
                              <a:pt x="5381" y="74156"/>
                            </a:moveTo>
                            <a:lnTo>
                              <a:pt x="50080" y="45546"/>
                            </a:lnTo>
                            <a:cubicBezTo>
                              <a:pt x="63508" y="36776"/>
                              <a:pt x="66109" y="17601"/>
                              <a:pt x="55766" y="3569"/>
                            </a:cubicBezTo>
                            <a:lnTo>
                              <a:pt x="50927" y="0"/>
                            </a:lnTo>
                            <a:lnTo>
                              <a:pt x="7801" y="41917"/>
                            </a:lnTo>
                            <a:cubicBezTo>
                              <a:pt x="-2603" y="50506"/>
                              <a:pt x="-1756" y="61393"/>
                              <a:pt x="5381" y="74095"/>
                            </a:cubicBezTo>
                            <a:lnTo>
                              <a:pt x="5381" y="7409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94" name="Freihandform: Form 493">
                        <a:extLst>
                          <a:ext uri="{FF2B5EF4-FFF2-40B4-BE49-F238E27FC236}">
                            <a16:creationId xmlns:a16="http://schemas.microsoft.com/office/drawing/2014/main" id="{0478A856-9924-1136-99E1-B35019193B8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44011" y="3753599"/>
                        <a:ext cx="42594" cy="70796"/>
                      </a:xfrm>
                      <a:custGeom>
                        <a:avLst/>
                        <a:gdLst>
                          <a:gd name="connsiteX0" fmla="*/ 42595 w 42594"/>
                          <a:gd name="connsiteY0" fmla="*/ 9343 h 70796"/>
                          <a:gd name="connsiteX1" fmla="*/ 28139 w 42594"/>
                          <a:gd name="connsiteY1" fmla="*/ 64506 h 70796"/>
                          <a:gd name="connsiteX2" fmla="*/ 24207 w 42594"/>
                          <a:gd name="connsiteY2" fmla="*/ 70797 h 70796"/>
                          <a:gd name="connsiteX3" fmla="*/ 194 w 42594"/>
                          <a:gd name="connsiteY3" fmla="*/ 37167 h 70796"/>
                          <a:gd name="connsiteX4" fmla="*/ 2976 w 42594"/>
                          <a:gd name="connsiteY4" fmla="*/ 6561 h 70796"/>
                          <a:gd name="connsiteX5" fmla="*/ 42595 w 42594"/>
                          <a:gd name="connsiteY5" fmla="*/ 9343 h 7079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42594" h="70796">
                            <a:moveTo>
                              <a:pt x="42595" y="9343"/>
                            </a:moveTo>
                            <a:cubicBezTo>
                              <a:pt x="39813" y="20775"/>
                              <a:pt x="28139" y="64506"/>
                              <a:pt x="28139" y="64506"/>
                            </a:cubicBezTo>
                            <a:lnTo>
                              <a:pt x="24207" y="70797"/>
                            </a:lnTo>
                            <a:cubicBezTo>
                              <a:pt x="7997" y="67047"/>
                              <a:pt x="-1500" y="52409"/>
                              <a:pt x="194" y="37167"/>
                            </a:cubicBezTo>
                            <a:lnTo>
                              <a:pt x="2976" y="6561"/>
                            </a:lnTo>
                            <a:cubicBezTo>
                              <a:pt x="9751" y="-2633"/>
                              <a:pt x="39873" y="-2573"/>
                              <a:pt x="42595" y="9343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78" name="Grafik 297">
                      <a:extLst>
                        <a:ext uri="{FF2B5EF4-FFF2-40B4-BE49-F238E27FC236}">
                          <a16:creationId xmlns:a16="http://schemas.microsoft.com/office/drawing/2014/main" id="{7B5C5FD5-F915-5BFA-6DD5-0F4C8D251DD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90326" y="3742989"/>
                      <a:ext cx="85513" cy="158526"/>
                      <a:chOff x="11990326" y="3742989"/>
                      <a:chExt cx="85513" cy="158526"/>
                    </a:xfrm>
                    <a:solidFill>
                      <a:srgbClr val="02787D"/>
                    </a:solidFill>
                  </p:grpSpPr>
                  <p:sp>
                    <p:nvSpPr>
                      <p:cNvPr id="489" name="Freihandform: Form 488">
                        <a:extLst>
                          <a:ext uri="{FF2B5EF4-FFF2-40B4-BE49-F238E27FC236}">
                            <a16:creationId xmlns:a16="http://schemas.microsoft.com/office/drawing/2014/main" id="{CBA38A20-F3D3-BE1C-18F6-7EC3A75AA36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90326" y="3824551"/>
                        <a:ext cx="38110" cy="76964"/>
                      </a:xfrm>
                      <a:custGeom>
                        <a:avLst/>
                        <a:gdLst>
                          <a:gd name="connsiteX0" fmla="*/ 8575 w 38110"/>
                          <a:gd name="connsiteY0" fmla="*/ 76904 h 76964"/>
                          <a:gd name="connsiteX1" fmla="*/ 31076 w 38110"/>
                          <a:gd name="connsiteY1" fmla="*/ 46298 h 76964"/>
                          <a:gd name="connsiteX2" fmla="*/ 33012 w 38110"/>
                          <a:gd name="connsiteY2" fmla="*/ 6498 h 76964"/>
                          <a:gd name="connsiteX3" fmla="*/ 27870 w 38110"/>
                          <a:gd name="connsiteY3" fmla="*/ 147 h 76964"/>
                          <a:gd name="connsiteX4" fmla="*/ 5491 w 38110"/>
                          <a:gd name="connsiteY4" fmla="*/ 41157 h 76964"/>
                          <a:gd name="connsiteX5" fmla="*/ 8515 w 38110"/>
                          <a:gd name="connsiteY5" fmla="*/ 76964 h 76964"/>
                          <a:gd name="connsiteX6" fmla="*/ 8515 w 38110"/>
                          <a:gd name="connsiteY6" fmla="*/ 76964 h 769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8110" h="76964">
                            <a:moveTo>
                              <a:pt x="8575" y="76904"/>
                            </a:moveTo>
                            <a:lnTo>
                              <a:pt x="31076" y="46298"/>
                            </a:lnTo>
                            <a:cubicBezTo>
                              <a:pt x="39484" y="34563"/>
                              <a:pt x="40633" y="19805"/>
                              <a:pt x="33012" y="6498"/>
                            </a:cubicBezTo>
                            <a:cubicBezTo>
                              <a:pt x="30592" y="2204"/>
                              <a:pt x="28536" y="-700"/>
                              <a:pt x="27870" y="147"/>
                            </a:cubicBezTo>
                            <a:cubicBezTo>
                              <a:pt x="26540" y="1780"/>
                              <a:pt x="16922" y="19200"/>
                              <a:pt x="5491" y="41157"/>
                            </a:cubicBezTo>
                            <a:cubicBezTo>
                              <a:pt x="-1707" y="55008"/>
                              <a:pt x="-2917" y="65109"/>
                              <a:pt x="8515" y="76964"/>
                            </a:cubicBezTo>
                            <a:lnTo>
                              <a:pt x="8515" y="76964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90" name="Freihandform: Form 489">
                        <a:extLst>
                          <a:ext uri="{FF2B5EF4-FFF2-40B4-BE49-F238E27FC236}">
                            <a16:creationId xmlns:a16="http://schemas.microsoft.com/office/drawing/2014/main" id="{7FA20844-AE99-6EA3-9EB7-04498F9D114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05558" y="3796330"/>
                        <a:ext cx="52356" cy="76575"/>
                      </a:xfrm>
                      <a:custGeom>
                        <a:avLst/>
                        <a:gdLst>
                          <a:gd name="connsiteX0" fmla="*/ 14271 w 52356"/>
                          <a:gd name="connsiteY0" fmla="*/ 76575 h 76575"/>
                          <a:gd name="connsiteX1" fmla="*/ 48144 w 52356"/>
                          <a:gd name="connsiteY1" fmla="*/ 28852 h 76575"/>
                          <a:gd name="connsiteX2" fmla="*/ 29817 w 52356"/>
                          <a:gd name="connsiteY2" fmla="*/ 1815 h 76575"/>
                          <a:gd name="connsiteX3" fmla="*/ 27518 w 52356"/>
                          <a:gd name="connsiteY3" fmla="*/ 0 h 76575"/>
                          <a:gd name="connsiteX4" fmla="*/ 3384 w 52356"/>
                          <a:gd name="connsiteY4" fmla="*/ 42280 h 76575"/>
                          <a:gd name="connsiteX5" fmla="*/ 13425 w 52356"/>
                          <a:gd name="connsiteY5" fmla="*/ 75910 h 76575"/>
                          <a:gd name="connsiteX6" fmla="*/ 14271 w 52356"/>
                          <a:gd name="connsiteY6" fmla="*/ 76575 h 7657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2356" h="76575">
                            <a:moveTo>
                              <a:pt x="14271" y="76575"/>
                            </a:moveTo>
                            <a:lnTo>
                              <a:pt x="48144" y="28852"/>
                            </a:lnTo>
                            <a:cubicBezTo>
                              <a:pt x="58366" y="14396"/>
                              <a:pt x="49111" y="6714"/>
                              <a:pt x="29817" y="1815"/>
                            </a:cubicBezTo>
                            <a:lnTo>
                              <a:pt x="27518" y="0"/>
                            </a:lnTo>
                            <a:lnTo>
                              <a:pt x="3384" y="42280"/>
                            </a:lnTo>
                            <a:cubicBezTo>
                              <a:pt x="-3814" y="55284"/>
                              <a:pt x="904" y="65809"/>
                              <a:pt x="13425" y="75910"/>
                            </a:cubicBezTo>
                            <a:lnTo>
                              <a:pt x="14271" y="7657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91" name="Freihandform: Form 490">
                        <a:extLst>
                          <a:ext uri="{FF2B5EF4-FFF2-40B4-BE49-F238E27FC236}">
                            <a16:creationId xmlns:a16="http://schemas.microsoft.com/office/drawing/2014/main" id="{3838B43C-CAF3-B3A7-5C56-3CA784C7B4E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31820" y="3742989"/>
                        <a:ext cx="44019" cy="76991"/>
                      </a:xfrm>
                      <a:custGeom>
                        <a:avLst/>
                        <a:gdLst>
                          <a:gd name="connsiteX0" fmla="*/ 43959 w 44019"/>
                          <a:gd name="connsiteY0" fmla="*/ 12090 h 76991"/>
                          <a:gd name="connsiteX1" fmla="*/ 24725 w 44019"/>
                          <a:gd name="connsiteY1" fmla="*/ 76991 h 76991"/>
                          <a:gd name="connsiteX2" fmla="*/ 228 w 44019"/>
                          <a:gd name="connsiteY2" fmla="*/ 53886 h 76991"/>
                          <a:gd name="connsiteX3" fmla="*/ 4764 w 44019"/>
                          <a:gd name="connsiteY3" fmla="*/ 5981 h 76991"/>
                          <a:gd name="connsiteX4" fmla="*/ 44019 w 44019"/>
                          <a:gd name="connsiteY4" fmla="*/ 12150 h 7699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44019" h="76991">
                            <a:moveTo>
                              <a:pt x="43959" y="12090"/>
                            </a:moveTo>
                            <a:cubicBezTo>
                              <a:pt x="43778" y="13300"/>
                              <a:pt x="24725" y="76991"/>
                              <a:pt x="24725" y="76991"/>
                            </a:cubicBezTo>
                            <a:cubicBezTo>
                              <a:pt x="6881" y="72939"/>
                              <a:pt x="-1527" y="70640"/>
                              <a:pt x="228" y="53886"/>
                            </a:cubicBezTo>
                            <a:lnTo>
                              <a:pt x="4764" y="5981"/>
                            </a:lnTo>
                            <a:cubicBezTo>
                              <a:pt x="12143" y="-4181"/>
                              <a:pt x="40935" y="-915"/>
                              <a:pt x="44019" y="12150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79" name="Grafik 297">
                      <a:extLst>
                        <a:ext uri="{FF2B5EF4-FFF2-40B4-BE49-F238E27FC236}">
                          <a16:creationId xmlns:a16="http://schemas.microsoft.com/office/drawing/2014/main" id="{1C86CD88-0D93-9304-CA9D-474597A7505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87985" y="3749196"/>
                      <a:ext cx="74487" cy="151835"/>
                      <a:chOff x="11987985" y="3749196"/>
                      <a:chExt cx="74487" cy="151835"/>
                    </a:xfrm>
                    <a:solidFill>
                      <a:srgbClr val="02787D"/>
                    </a:solidFill>
                  </p:grpSpPr>
                  <p:sp>
                    <p:nvSpPr>
                      <p:cNvPr id="486" name="Freihandform: Form 485">
                        <a:extLst>
                          <a:ext uri="{FF2B5EF4-FFF2-40B4-BE49-F238E27FC236}">
                            <a16:creationId xmlns:a16="http://schemas.microsoft.com/office/drawing/2014/main" id="{BA4C2881-0267-D0FA-8B70-F574CC96876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87985" y="3830759"/>
                        <a:ext cx="34589" cy="70272"/>
                      </a:xfrm>
                      <a:custGeom>
                        <a:avLst/>
                        <a:gdLst>
                          <a:gd name="connsiteX0" fmla="*/ 10917 w 34589"/>
                          <a:gd name="connsiteY0" fmla="*/ 70273 h 70272"/>
                          <a:gd name="connsiteX1" fmla="*/ 29426 w 34589"/>
                          <a:gd name="connsiteY1" fmla="*/ 40393 h 70272"/>
                          <a:gd name="connsiteX2" fmla="*/ 27672 w 34589"/>
                          <a:gd name="connsiteY2" fmla="*/ 5371 h 70272"/>
                          <a:gd name="connsiteX3" fmla="*/ 21744 w 34589"/>
                          <a:gd name="connsiteY3" fmla="*/ 169 h 70272"/>
                          <a:gd name="connsiteX4" fmla="*/ 3356 w 34589"/>
                          <a:gd name="connsiteY4" fmla="*/ 38215 h 70272"/>
                          <a:gd name="connsiteX5" fmla="*/ 10978 w 34589"/>
                          <a:gd name="connsiteY5" fmla="*/ 70273 h 70272"/>
                          <a:gd name="connsiteX6" fmla="*/ 10978 w 34589"/>
                          <a:gd name="connsiteY6" fmla="*/ 70273 h 7027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4589" h="70272">
                            <a:moveTo>
                              <a:pt x="10917" y="70273"/>
                            </a:moveTo>
                            <a:lnTo>
                              <a:pt x="29426" y="40393"/>
                            </a:lnTo>
                            <a:cubicBezTo>
                              <a:pt x="36260" y="28961"/>
                              <a:pt x="36926" y="16743"/>
                              <a:pt x="27672" y="5371"/>
                            </a:cubicBezTo>
                            <a:cubicBezTo>
                              <a:pt x="24708" y="1742"/>
                              <a:pt x="22288" y="-677"/>
                              <a:pt x="21744" y="169"/>
                            </a:cubicBezTo>
                            <a:cubicBezTo>
                              <a:pt x="20655" y="1803"/>
                              <a:pt x="11885" y="17287"/>
                              <a:pt x="3356" y="38215"/>
                            </a:cubicBezTo>
                            <a:cubicBezTo>
                              <a:pt x="-2027" y="51461"/>
                              <a:pt x="-1906" y="60716"/>
                              <a:pt x="10978" y="70273"/>
                            </a:cubicBezTo>
                            <a:lnTo>
                              <a:pt x="10978" y="70273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7" name="Freihandform: Form 486">
                        <a:extLst>
                          <a:ext uri="{FF2B5EF4-FFF2-40B4-BE49-F238E27FC236}">
                            <a16:creationId xmlns:a16="http://schemas.microsoft.com/office/drawing/2014/main" id="{E413D98E-CF39-572A-2FDA-310587790AD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01678" y="3796330"/>
                        <a:ext cx="46919" cy="74881"/>
                      </a:xfrm>
                      <a:custGeom>
                        <a:avLst/>
                        <a:gdLst>
                          <a:gd name="connsiteX0" fmla="*/ 15672 w 46919"/>
                          <a:gd name="connsiteY0" fmla="*/ 74821 h 74881"/>
                          <a:gd name="connsiteX1" fmla="*/ 43556 w 46919"/>
                          <a:gd name="connsiteY1" fmla="*/ 28670 h 74881"/>
                          <a:gd name="connsiteX2" fmla="*/ 26741 w 46919"/>
                          <a:gd name="connsiteY2" fmla="*/ 0 h 74881"/>
                          <a:gd name="connsiteX3" fmla="*/ 22084 w 46919"/>
                          <a:gd name="connsiteY3" fmla="*/ 4960 h 74881"/>
                          <a:gd name="connsiteX4" fmla="*/ 2124 w 46919"/>
                          <a:gd name="connsiteY4" fmla="*/ 46393 h 74881"/>
                          <a:gd name="connsiteX5" fmla="*/ 15672 w 46919"/>
                          <a:gd name="connsiteY5" fmla="*/ 74881 h 74881"/>
                          <a:gd name="connsiteX6" fmla="*/ 15672 w 46919"/>
                          <a:gd name="connsiteY6" fmla="*/ 74881 h 74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6919" h="74881">
                            <a:moveTo>
                              <a:pt x="15672" y="74821"/>
                            </a:moveTo>
                            <a:lnTo>
                              <a:pt x="43556" y="28670"/>
                            </a:lnTo>
                            <a:cubicBezTo>
                              <a:pt x="51843" y="14577"/>
                              <a:pt x="44282" y="7561"/>
                              <a:pt x="26741" y="0"/>
                            </a:cubicBezTo>
                            <a:lnTo>
                              <a:pt x="22084" y="4960"/>
                            </a:lnTo>
                            <a:lnTo>
                              <a:pt x="2124" y="46393"/>
                            </a:lnTo>
                            <a:cubicBezTo>
                              <a:pt x="-3320" y="58853"/>
                              <a:pt x="1881" y="66958"/>
                              <a:pt x="15672" y="74881"/>
                            </a:cubicBezTo>
                            <a:lnTo>
                              <a:pt x="15672" y="74881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8" name="Freihandform: Form 487">
                        <a:extLst>
                          <a:ext uri="{FF2B5EF4-FFF2-40B4-BE49-F238E27FC236}">
                            <a16:creationId xmlns:a16="http://schemas.microsoft.com/office/drawing/2014/main" id="{E921B976-299E-25B3-29FD-E343664F874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23561" y="3749196"/>
                        <a:ext cx="38911" cy="69332"/>
                      </a:xfrm>
                      <a:custGeom>
                        <a:avLst/>
                        <a:gdLst>
                          <a:gd name="connsiteX0" fmla="*/ 38851 w 38911"/>
                          <a:gd name="connsiteY0" fmla="*/ 6729 h 69332"/>
                          <a:gd name="connsiteX1" fmla="*/ 24576 w 38911"/>
                          <a:gd name="connsiteY1" fmla="*/ 69332 h 69332"/>
                          <a:gd name="connsiteX2" fmla="*/ 19 w 38911"/>
                          <a:gd name="connsiteY2" fmla="*/ 54392 h 69332"/>
                          <a:gd name="connsiteX3" fmla="*/ 3950 w 38911"/>
                          <a:gd name="connsiteY3" fmla="*/ 9814 h 69332"/>
                          <a:gd name="connsiteX4" fmla="*/ 38911 w 38911"/>
                          <a:gd name="connsiteY4" fmla="*/ 6729 h 6933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38911" h="69332">
                            <a:moveTo>
                              <a:pt x="38851" y="6729"/>
                            </a:moveTo>
                            <a:cubicBezTo>
                              <a:pt x="38790" y="7818"/>
                              <a:pt x="24576" y="69332"/>
                              <a:pt x="24576" y="69332"/>
                            </a:cubicBezTo>
                            <a:cubicBezTo>
                              <a:pt x="6370" y="66611"/>
                              <a:pt x="-405" y="69756"/>
                              <a:pt x="19" y="54392"/>
                            </a:cubicBezTo>
                            <a:lnTo>
                              <a:pt x="3950" y="9814"/>
                            </a:lnTo>
                            <a:cubicBezTo>
                              <a:pt x="10543" y="197"/>
                              <a:pt x="34798" y="-4944"/>
                              <a:pt x="38911" y="6729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80" name="Grafik 297">
                      <a:extLst>
                        <a:ext uri="{FF2B5EF4-FFF2-40B4-BE49-F238E27FC236}">
                          <a16:creationId xmlns:a16="http://schemas.microsoft.com/office/drawing/2014/main" id="{F5648790-F497-012B-6DF4-CE83B0CCC74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46098" y="3618585"/>
                      <a:ext cx="105739" cy="213190"/>
                      <a:chOff x="11946098" y="3618585"/>
                      <a:chExt cx="105739" cy="213190"/>
                    </a:xfrm>
                    <a:solidFill>
                      <a:srgbClr val="02787D"/>
                    </a:solidFill>
                  </p:grpSpPr>
                  <p:sp>
                    <p:nvSpPr>
                      <p:cNvPr id="483" name="Freihandform: Form 482">
                        <a:extLst>
                          <a:ext uri="{FF2B5EF4-FFF2-40B4-BE49-F238E27FC236}">
                            <a16:creationId xmlns:a16="http://schemas.microsoft.com/office/drawing/2014/main" id="{6954A651-099E-D1CD-0197-E8D5342587F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58921" y="3744917"/>
                        <a:ext cx="32671" cy="86858"/>
                      </a:xfrm>
                      <a:custGeom>
                        <a:avLst/>
                        <a:gdLst>
                          <a:gd name="connsiteX0" fmla="*/ 12339 w 32671"/>
                          <a:gd name="connsiteY0" fmla="*/ 86858 h 86858"/>
                          <a:gd name="connsiteX1" fmla="*/ 0 w 32671"/>
                          <a:gd name="connsiteY1" fmla="*/ 44216 h 86858"/>
                          <a:gd name="connsiteX2" fmla="*/ 11673 w 32671"/>
                          <a:gd name="connsiteY2" fmla="*/ 2359 h 86858"/>
                          <a:gd name="connsiteX3" fmla="*/ 20202 w 32671"/>
                          <a:gd name="connsiteY3" fmla="*/ 1089 h 86858"/>
                          <a:gd name="connsiteX4" fmla="*/ 31997 w 32671"/>
                          <a:gd name="connsiteY4" fmla="*/ 52684 h 86858"/>
                          <a:gd name="connsiteX5" fmla="*/ 12399 w 32671"/>
                          <a:gd name="connsiteY5" fmla="*/ 86858 h 86858"/>
                          <a:gd name="connsiteX6" fmla="*/ 12399 w 32671"/>
                          <a:gd name="connsiteY6" fmla="*/ 86858 h 868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2671" h="86858">
                            <a:moveTo>
                              <a:pt x="12339" y="86858"/>
                            </a:moveTo>
                            <a:lnTo>
                              <a:pt x="0" y="44216"/>
                            </a:lnTo>
                            <a:cubicBezTo>
                              <a:pt x="1573" y="30304"/>
                              <a:pt x="3206" y="8771"/>
                              <a:pt x="11673" y="2359"/>
                            </a:cubicBezTo>
                            <a:cubicBezTo>
                              <a:pt x="16452" y="-1270"/>
                              <a:pt x="19779" y="121"/>
                              <a:pt x="20202" y="1089"/>
                            </a:cubicBezTo>
                            <a:cubicBezTo>
                              <a:pt x="23347" y="8226"/>
                              <a:pt x="28610" y="30909"/>
                              <a:pt x="31997" y="52684"/>
                            </a:cubicBezTo>
                            <a:cubicBezTo>
                              <a:pt x="34356" y="67805"/>
                              <a:pt x="31150" y="77906"/>
                              <a:pt x="12399" y="86858"/>
                            </a:cubicBezTo>
                            <a:lnTo>
                              <a:pt x="12399" y="86858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4" name="Freihandform: Form 483">
                        <a:extLst>
                          <a:ext uri="{FF2B5EF4-FFF2-40B4-BE49-F238E27FC236}">
                            <a16:creationId xmlns:a16="http://schemas.microsoft.com/office/drawing/2014/main" id="{D9177350-892C-97BD-F9D3-BF45668F494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46098" y="3716544"/>
                        <a:ext cx="49961" cy="74915"/>
                      </a:xfrm>
                      <a:custGeom>
                        <a:avLst/>
                        <a:gdLst>
                          <a:gd name="connsiteX0" fmla="*/ 0 w 49961"/>
                          <a:gd name="connsiteY0" fmla="*/ 6901 h 74915"/>
                          <a:gd name="connsiteX1" fmla="*/ 49961 w 49961"/>
                          <a:gd name="connsiteY1" fmla="*/ 13554 h 74915"/>
                          <a:gd name="connsiteX2" fmla="*/ 38651 w 49961"/>
                          <a:gd name="connsiteY2" fmla="*/ 49180 h 74915"/>
                          <a:gd name="connsiteX3" fmla="*/ 12823 w 49961"/>
                          <a:gd name="connsiteY3" fmla="*/ 72588 h 74915"/>
                          <a:gd name="connsiteX4" fmla="*/ 0 w 49961"/>
                          <a:gd name="connsiteY4" fmla="*/ 6901 h 7491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49961" h="74915">
                            <a:moveTo>
                              <a:pt x="0" y="6901"/>
                            </a:moveTo>
                            <a:cubicBezTo>
                              <a:pt x="16029" y="-11850"/>
                              <a:pt x="49961" y="13554"/>
                              <a:pt x="49961" y="13554"/>
                            </a:cubicBezTo>
                            <a:lnTo>
                              <a:pt x="38651" y="49180"/>
                            </a:lnTo>
                            <a:cubicBezTo>
                              <a:pt x="36836" y="64846"/>
                              <a:pt x="25404" y="81056"/>
                              <a:pt x="12823" y="72588"/>
                            </a:cubicBezTo>
                            <a:cubicBezTo>
                              <a:pt x="12823" y="72588"/>
                              <a:pt x="61" y="6175"/>
                              <a:pt x="0" y="6901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5" name="Freihandform: Form 484">
                        <a:extLst>
                          <a:ext uri="{FF2B5EF4-FFF2-40B4-BE49-F238E27FC236}">
                            <a16:creationId xmlns:a16="http://schemas.microsoft.com/office/drawing/2014/main" id="{D0A15BF6-C816-D4F7-AC7B-87193C2A248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46098" y="3618585"/>
                        <a:ext cx="105739" cy="122980"/>
                      </a:xfrm>
                      <a:custGeom>
                        <a:avLst/>
                        <a:gdLst>
                          <a:gd name="connsiteX0" fmla="*/ 13005 w 105739"/>
                          <a:gd name="connsiteY0" fmla="*/ 52237 h 122980"/>
                          <a:gd name="connsiteX1" fmla="*/ 0 w 105739"/>
                          <a:gd name="connsiteY1" fmla="*/ 104860 h 122980"/>
                          <a:gd name="connsiteX2" fmla="*/ 0 w 105739"/>
                          <a:gd name="connsiteY2" fmla="*/ 104860 h 122980"/>
                          <a:gd name="connsiteX3" fmla="*/ 49598 w 105739"/>
                          <a:gd name="connsiteY3" fmla="*/ 112360 h 122980"/>
                          <a:gd name="connsiteX4" fmla="*/ 96475 w 105739"/>
                          <a:gd name="connsiteY4" fmla="*/ 56532 h 122980"/>
                          <a:gd name="connsiteX5" fmla="*/ 47300 w 105739"/>
                          <a:gd name="connsiteY5" fmla="*/ 3244 h 122980"/>
                          <a:gd name="connsiteX6" fmla="*/ 12944 w 105739"/>
                          <a:gd name="connsiteY6" fmla="*/ 52237 h 12298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105739" h="122980">
                            <a:moveTo>
                              <a:pt x="13005" y="52237"/>
                            </a:moveTo>
                            <a:cubicBezTo>
                              <a:pt x="7561" y="66875"/>
                              <a:pt x="0" y="104860"/>
                              <a:pt x="0" y="104860"/>
                            </a:cubicBezTo>
                            <a:lnTo>
                              <a:pt x="0" y="104860"/>
                            </a:lnTo>
                            <a:cubicBezTo>
                              <a:pt x="5685" y="123853"/>
                              <a:pt x="34114" y="130385"/>
                              <a:pt x="49598" y="112360"/>
                            </a:cubicBezTo>
                            <a:cubicBezTo>
                              <a:pt x="49598" y="112360"/>
                              <a:pt x="65083" y="73286"/>
                              <a:pt x="96475" y="56532"/>
                            </a:cubicBezTo>
                            <a:cubicBezTo>
                              <a:pt x="123633" y="42015"/>
                              <a:pt x="86192" y="-13934"/>
                              <a:pt x="47300" y="3244"/>
                            </a:cubicBezTo>
                            <a:cubicBezTo>
                              <a:pt x="27642" y="23204"/>
                              <a:pt x="12944" y="52237"/>
                              <a:pt x="12944" y="52237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481" name="Freihandform: Form 480">
                      <a:extLst>
                        <a:ext uri="{FF2B5EF4-FFF2-40B4-BE49-F238E27FC236}">
                          <a16:creationId xmlns:a16="http://schemas.microsoft.com/office/drawing/2014/main" id="{333DA2CD-12C5-63E9-43BE-5F31092BFDF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52267" y="3601082"/>
                      <a:ext cx="137060" cy="179703"/>
                    </a:xfrm>
                    <a:custGeom>
                      <a:avLst/>
                      <a:gdLst>
                        <a:gd name="connsiteX0" fmla="*/ 137061 w 137060"/>
                        <a:gd name="connsiteY0" fmla="*/ 137243 h 179703"/>
                        <a:gd name="connsiteX1" fmla="*/ 128895 w 137060"/>
                        <a:gd name="connsiteY1" fmla="*/ 10645 h 179703"/>
                        <a:gd name="connsiteX2" fmla="*/ 44578 w 137060"/>
                        <a:gd name="connsiteY2" fmla="*/ 0 h 179703"/>
                        <a:gd name="connsiteX3" fmla="*/ 36352 w 137060"/>
                        <a:gd name="connsiteY3" fmla="*/ 21352 h 179703"/>
                        <a:gd name="connsiteX4" fmla="*/ 0 w 137060"/>
                        <a:gd name="connsiteY4" fmla="*/ 96778 h 179703"/>
                        <a:gd name="connsiteX5" fmla="*/ 45183 w 137060"/>
                        <a:gd name="connsiteY5" fmla="*/ 123633 h 179703"/>
                        <a:gd name="connsiteX6" fmla="*/ 74216 w 137060"/>
                        <a:gd name="connsiteY6" fmla="*/ 179704 h 179703"/>
                        <a:gd name="connsiteX7" fmla="*/ 134339 w 137060"/>
                        <a:gd name="connsiteY7" fmla="*/ 161921 h 179703"/>
                        <a:gd name="connsiteX8" fmla="*/ 137061 w 137060"/>
                        <a:gd name="connsiteY8" fmla="*/ 137303 h 1797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37060" h="179703">
                          <a:moveTo>
                            <a:pt x="137061" y="137243"/>
                          </a:moveTo>
                          <a:cubicBezTo>
                            <a:pt x="133130" y="104580"/>
                            <a:pt x="128774" y="66232"/>
                            <a:pt x="128895" y="10645"/>
                          </a:cubicBezTo>
                          <a:lnTo>
                            <a:pt x="44578" y="0"/>
                          </a:lnTo>
                          <a:cubicBezTo>
                            <a:pt x="42219" y="13972"/>
                            <a:pt x="38651" y="19537"/>
                            <a:pt x="36352" y="21352"/>
                          </a:cubicBezTo>
                          <a:cubicBezTo>
                            <a:pt x="1693" y="48510"/>
                            <a:pt x="0" y="96778"/>
                            <a:pt x="0" y="96778"/>
                          </a:cubicBezTo>
                          <a:cubicBezTo>
                            <a:pt x="61" y="101374"/>
                            <a:pt x="31331" y="97624"/>
                            <a:pt x="45183" y="123633"/>
                          </a:cubicBezTo>
                          <a:cubicBezTo>
                            <a:pt x="49115" y="131012"/>
                            <a:pt x="73671" y="141174"/>
                            <a:pt x="74216" y="179704"/>
                          </a:cubicBezTo>
                          <a:cubicBezTo>
                            <a:pt x="116435" y="145832"/>
                            <a:pt x="132585" y="160953"/>
                            <a:pt x="134339" y="161921"/>
                          </a:cubicBezTo>
                          <a:cubicBezTo>
                            <a:pt x="134823" y="152183"/>
                            <a:pt x="136759" y="143957"/>
                            <a:pt x="137061" y="137303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82" name="Freihandform: Form 481">
                      <a:extLst>
                        <a:ext uri="{FF2B5EF4-FFF2-40B4-BE49-F238E27FC236}">
                          <a16:creationId xmlns:a16="http://schemas.microsoft.com/office/drawing/2014/main" id="{9DB83458-369D-091D-78EE-84F6EC75270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96180" y="3566242"/>
                      <a:ext cx="85164" cy="85164"/>
                    </a:xfrm>
                    <a:custGeom>
                      <a:avLst/>
                      <a:gdLst>
                        <a:gd name="connsiteX0" fmla="*/ 85164 w 85164"/>
                        <a:gd name="connsiteY0" fmla="*/ 42582 h 85164"/>
                        <a:gd name="connsiteX1" fmla="*/ 42582 w 85164"/>
                        <a:gd name="connsiteY1" fmla="*/ 85164 h 85164"/>
                        <a:gd name="connsiteX2" fmla="*/ 0 w 85164"/>
                        <a:gd name="connsiteY2" fmla="*/ 42582 h 85164"/>
                        <a:gd name="connsiteX3" fmla="*/ 42582 w 85164"/>
                        <a:gd name="connsiteY3" fmla="*/ 0 h 85164"/>
                        <a:gd name="connsiteX4" fmla="*/ 85164 w 85164"/>
                        <a:gd name="connsiteY4" fmla="*/ 42582 h 851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5164" h="85164">
                          <a:moveTo>
                            <a:pt x="85164" y="42582"/>
                          </a:moveTo>
                          <a:cubicBezTo>
                            <a:pt x="85164" y="66100"/>
                            <a:pt x="66100" y="85164"/>
                            <a:pt x="42582" y="85164"/>
                          </a:cubicBezTo>
                          <a:cubicBezTo>
                            <a:pt x="19065" y="85164"/>
                            <a:pt x="0" y="66100"/>
                            <a:pt x="0" y="42582"/>
                          </a:cubicBezTo>
                          <a:cubicBezTo>
                            <a:pt x="0" y="19065"/>
                            <a:pt x="19064" y="0"/>
                            <a:pt x="42582" y="0"/>
                          </a:cubicBezTo>
                          <a:cubicBezTo>
                            <a:pt x="66099" y="0"/>
                            <a:pt x="85164" y="19065"/>
                            <a:pt x="85164" y="42582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sp>
              <p:nvSpPr>
                <p:cNvPr id="397" name="Freihandform: Form 396">
                  <a:extLst>
                    <a:ext uri="{FF2B5EF4-FFF2-40B4-BE49-F238E27FC236}">
                      <a16:creationId xmlns:a16="http://schemas.microsoft.com/office/drawing/2014/main" id="{5D1693F6-2AB2-B345-259B-A3082C2732A2}"/>
                    </a:ext>
                  </a:extLst>
                </p:cNvPr>
                <p:cNvSpPr/>
                <p:nvPr/>
              </p:nvSpPr>
              <p:spPr>
                <a:xfrm>
                  <a:off x="11321277" y="3386780"/>
                  <a:ext cx="363036" cy="363036"/>
                </a:xfrm>
                <a:custGeom>
                  <a:avLst/>
                  <a:gdLst>
                    <a:gd name="connsiteX0" fmla="*/ 363037 w 363036"/>
                    <a:gd name="connsiteY0" fmla="*/ 181518 h 363036"/>
                    <a:gd name="connsiteX1" fmla="*/ 181518 w 363036"/>
                    <a:gd name="connsiteY1" fmla="*/ 363037 h 363036"/>
                    <a:gd name="connsiteX2" fmla="*/ 0 w 363036"/>
                    <a:gd name="connsiteY2" fmla="*/ 181518 h 363036"/>
                    <a:gd name="connsiteX3" fmla="*/ 181518 w 363036"/>
                    <a:gd name="connsiteY3" fmla="*/ 0 h 363036"/>
                    <a:gd name="connsiteX4" fmla="*/ 363037 w 363036"/>
                    <a:gd name="connsiteY4" fmla="*/ 181518 h 3630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3036" h="363036">
                      <a:moveTo>
                        <a:pt x="363037" y="181518"/>
                      </a:moveTo>
                      <a:cubicBezTo>
                        <a:pt x="363037" y="281768"/>
                        <a:pt x="281768" y="363037"/>
                        <a:pt x="181518" y="363037"/>
                      </a:cubicBezTo>
                      <a:cubicBezTo>
                        <a:pt x="81268" y="363037"/>
                        <a:pt x="0" y="281768"/>
                        <a:pt x="0" y="181518"/>
                      </a:cubicBezTo>
                      <a:cubicBezTo>
                        <a:pt x="0" y="81269"/>
                        <a:pt x="81268" y="0"/>
                        <a:pt x="181518" y="0"/>
                      </a:cubicBezTo>
                      <a:cubicBezTo>
                        <a:pt x="281768" y="0"/>
                        <a:pt x="363037" y="81269"/>
                        <a:pt x="363037" y="181518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8" name="Freihandform: Form 397">
                  <a:extLst>
                    <a:ext uri="{FF2B5EF4-FFF2-40B4-BE49-F238E27FC236}">
                      <a16:creationId xmlns:a16="http://schemas.microsoft.com/office/drawing/2014/main" id="{C6062079-9E61-8B43-D0F3-EC59AE4FE667}"/>
                    </a:ext>
                  </a:extLst>
                </p:cNvPr>
                <p:cNvSpPr/>
                <p:nvPr/>
              </p:nvSpPr>
              <p:spPr>
                <a:xfrm>
                  <a:off x="11686068" y="3386780"/>
                  <a:ext cx="366302" cy="366303"/>
                </a:xfrm>
                <a:custGeom>
                  <a:avLst/>
                  <a:gdLst>
                    <a:gd name="connsiteX0" fmla="*/ 366303 w 366302"/>
                    <a:gd name="connsiteY0" fmla="*/ 183151 h 366303"/>
                    <a:gd name="connsiteX1" fmla="*/ 183151 w 366302"/>
                    <a:gd name="connsiteY1" fmla="*/ 366303 h 366303"/>
                    <a:gd name="connsiteX2" fmla="*/ -1 w 366302"/>
                    <a:gd name="connsiteY2" fmla="*/ 183151 h 366303"/>
                    <a:gd name="connsiteX3" fmla="*/ 183151 w 366302"/>
                    <a:gd name="connsiteY3" fmla="*/ 0 h 366303"/>
                    <a:gd name="connsiteX4" fmla="*/ 366303 w 366302"/>
                    <a:gd name="connsiteY4" fmla="*/ 183151 h 3663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6302" h="366303">
                      <a:moveTo>
                        <a:pt x="366303" y="183151"/>
                      </a:moveTo>
                      <a:cubicBezTo>
                        <a:pt x="366303" y="284303"/>
                        <a:pt x="284303" y="366303"/>
                        <a:pt x="183151" y="366303"/>
                      </a:cubicBezTo>
                      <a:cubicBezTo>
                        <a:pt x="82000" y="366303"/>
                        <a:pt x="-1" y="284303"/>
                        <a:pt x="-1" y="183151"/>
                      </a:cubicBezTo>
                      <a:cubicBezTo>
                        <a:pt x="-1" y="82000"/>
                        <a:pt x="81999" y="0"/>
                        <a:pt x="183151" y="0"/>
                      </a:cubicBezTo>
                      <a:cubicBezTo>
                        <a:pt x="284303" y="0"/>
                        <a:pt x="366303" y="82000"/>
                        <a:pt x="366303" y="183151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9" name="Freihandform: Form 398">
                  <a:extLst>
                    <a:ext uri="{FF2B5EF4-FFF2-40B4-BE49-F238E27FC236}">
                      <a16:creationId xmlns:a16="http://schemas.microsoft.com/office/drawing/2014/main" id="{91BF721C-1FA6-F883-5655-920F81EACB05}"/>
                    </a:ext>
                  </a:extLst>
                </p:cNvPr>
                <p:cNvSpPr/>
                <p:nvPr/>
              </p:nvSpPr>
              <p:spPr>
                <a:xfrm>
                  <a:off x="11431967" y="2413137"/>
                  <a:ext cx="543949" cy="331530"/>
                </a:xfrm>
                <a:custGeom>
                  <a:avLst/>
                  <a:gdLst>
                    <a:gd name="connsiteX0" fmla="*/ 255129 w 543949"/>
                    <a:gd name="connsiteY0" fmla="*/ 331524 h 331530"/>
                    <a:gd name="connsiteX1" fmla="*/ 543950 w 543949"/>
                    <a:gd name="connsiteY1" fmla="*/ 92544 h 331530"/>
                    <a:gd name="connsiteX2" fmla="*/ 374045 w 543949"/>
                    <a:gd name="connsiteY2" fmla="*/ 35929 h 331530"/>
                    <a:gd name="connsiteX3" fmla="*/ 254706 w 543949"/>
                    <a:gd name="connsiteY3" fmla="*/ 0 h 331530"/>
                    <a:gd name="connsiteX4" fmla="*/ 126960 w 543949"/>
                    <a:gd name="connsiteY4" fmla="*/ 37743 h 331530"/>
                    <a:gd name="connsiteX5" fmla="*/ 0 w 543949"/>
                    <a:gd name="connsiteY5" fmla="*/ 79720 h 331530"/>
                    <a:gd name="connsiteX6" fmla="*/ 255129 w 543949"/>
                    <a:gd name="connsiteY6" fmla="*/ 331524 h 331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43949" h="331530">
                      <a:moveTo>
                        <a:pt x="255129" y="331524"/>
                      </a:moveTo>
                      <a:cubicBezTo>
                        <a:pt x="466710" y="332975"/>
                        <a:pt x="543950" y="92544"/>
                        <a:pt x="543950" y="92544"/>
                      </a:cubicBezTo>
                      <a:lnTo>
                        <a:pt x="374045" y="35929"/>
                      </a:lnTo>
                      <a:lnTo>
                        <a:pt x="254706" y="0"/>
                      </a:lnTo>
                      <a:lnTo>
                        <a:pt x="126960" y="37743"/>
                      </a:lnTo>
                      <a:lnTo>
                        <a:pt x="0" y="79720"/>
                      </a:lnTo>
                      <a:cubicBezTo>
                        <a:pt x="0" y="79720"/>
                        <a:pt x="43610" y="330072"/>
                        <a:pt x="255129" y="331524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0" name="Freihandform: Form 399">
                  <a:extLst>
                    <a:ext uri="{FF2B5EF4-FFF2-40B4-BE49-F238E27FC236}">
                      <a16:creationId xmlns:a16="http://schemas.microsoft.com/office/drawing/2014/main" id="{6B6C24F6-A713-ED34-5199-084D5CA45DAA}"/>
                    </a:ext>
                  </a:extLst>
                </p:cNvPr>
                <p:cNvSpPr/>
                <p:nvPr/>
              </p:nvSpPr>
              <p:spPr>
                <a:xfrm>
                  <a:off x="11358295" y="2428077"/>
                  <a:ext cx="321746" cy="175911"/>
                </a:xfrm>
                <a:custGeom>
                  <a:avLst/>
                  <a:gdLst>
                    <a:gd name="connsiteX0" fmla="*/ 317370 w 321746"/>
                    <a:gd name="connsiteY0" fmla="*/ 148554 h 175911"/>
                    <a:gd name="connsiteX1" fmla="*/ 275514 w 321746"/>
                    <a:gd name="connsiteY1" fmla="*/ 15122 h 175911"/>
                    <a:gd name="connsiteX2" fmla="*/ 277752 w 321746"/>
                    <a:gd name="connsiteY2" fmla="*/ 0 h 175911"/>
                    <a:gd name="connsiteX3" fmla="*/ 200572 w 321746"/>
                    <a:gd name="connsiteY3" fmla="*/ 22803 h 175911"/>
                    <a:gd name="connsiteX4" fmla="*/ 0 w 321746"/>
                    <a:gd name="connsiteY4" fmla="*/ 89156 h 175911"/>
                    <a:gd name="connsiteX5" fmla="*/ 317310 w 321746"/>
                    <a:gd name="connsiteY5" fmla="*/ 148554 h 1759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1746" h="175911">
                      <a:moveTo>
                        <a:pt x="317370" y="148554"/>
                      </a:moveTo>
                      <a:cubicBezTo>
                        <a:pt x="338721" y="126113"/>
                        <a:pt x="274970" y="91757"/>
                        <a:pt x="275514" y="15122"/>
                      </a:cubicBezTo>
                      <a:cubicBezTo>
                        <a:pt x="275514" y="9496"/>
                        <a:pt x="276482" y="4597"/>
                        <a:pt x="277752" y="0"/>
                      </a:cubicBezTo>
                      <a:lnTo>
                        <a:pt x="200572" y="22803"/>
                      </a:lnTo>
                      <a:lnTo>
                        <a:pt x="0" y="89156"/>
                      </a:lnTo>
                      <a:cubicBezTo>
                        <a:pt x="21110" y="129682"/>
                        <a:pt x="138574" y="221621"/>
                        <a:pt x="317310" y="148554"/>
                      </a:cubicBez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1" name="Freihandform: Form 400">
                  <a:extLst>
                    <a:ext uri="{FF2B5EF4-FFF2-40B4-BE49-F238E27FC236}">
                      <a16:creationId xmlns:a16="http://schemas.microsoft.com/office/drawing/2014/main" id="{8B7F812C-1F41-1585-90B5-779E00AE0427}"/>
                    </a:ext>
                  </a:extLst>
                </p:cNvPr>
                <p:cNvSpPr/>
                <p:nvPr/>
              </p:nvSpPr>
              <p:spPr>
                <a:xfrm>
                  <a:off x="11594311" y="4818059"/>
                  <a:ext cx="146013" cy="183695"/>
                </a:xfrm>
                <a:custGeom>
                  <a:avLst/>
                  <a:gdLst>
                    <a:gd name="connsiteX0" fmla="*/ 0 w 146013"/>
                    <a:gd name="connsiteY0" fmla="*/ 18146 h 183695"/>
                    <a:gd name="connsiteX1" fmla="*/ 54558 w 146013"/>
                    <a:gd name="connsiteY1" fmla="*/ 183696 h 183695"/>
                    <a:gd name="connsiteX2" fmla="*/ 146013 w 146013"/>
                    <a:gd name="connsiteY2" fmla="*/ 170691 h 183695"/>
                    <a:gd name="connsiteX3" fmla="*/ 127807 w 146013"/>
                    <a:gd name="connsiteY3" fmla="*/ 0 h 183695"/>
                    <a:gd name="connsiteX4" fmla="*/ 0 w 146013"/>
                    <a:gd name="connsiteY4" fmla="*/ 18206 h 183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013" h="183695">
                      <a:moveTo>
                        <a:pt x="0" y="18146"/>
                      </a:moveTo>
                      <a:cubicBezTo>
                        <a:pt x="22501" y="79176"/>
                        <a:pt x="43308" y="138876"/>
                        <a:pt x="54558" y="183696"/>
                      </a:cubicBezTo>
                      <a:lnTo>
                        <a:pt x="146013" y="170691"/>
                      </a:lnTo>
                      <a:cubicBezTo>
                        <a:pt x="146013" y="170691"/>
                        <a:pt x="137484" y="91999"/>
                        <a:pt x="127807" y="0"/>
                      </a:cubicBezTo>
                      <a:lnTo>
                        <a:pt x="0" y="18206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2" name="Freihandform: Form 401">
                  <a:extLst>
                    <a:ext uri="{FF2B5EF4-FFF2-40B4-BE49-F238E27FC236}">
                      <a16:creationId xmlns:a16="http://schemas.microsoft.com/office/drawing/2014/main" id="{3C004ACE-922C-A14E-50C2-4A7BA7EFA0AA}"/>
                    </a:ext>
                  </a:extLst>
                </p:cNvPr>
                <p:cNvSpPr/>
                <p:nvPr/>
              </p:nvSpPr>
              <p:spPr>
                <a:xfrm>
                  <a:off x="11581075" y="4991110"/>
                  <a:ext cx="189371" cy="147888"/>
                </a:xfrm>
                <a:custGeom>
                  <a:avLst/>
                  <a:gdLst>
                    <a:gd name="connsiteX0" fmla="*/ 67492 w 189371"/>
                    <a:gd name="connsiteY0" fmla="*/ 8287 h 147888"/>
                    <a:gd name="connsiteX1" fmla="*/ 51 w 189371"/>
                    <a:gd name="connsiteY1" fmla="*/ 147888 h 147888"/>
                    <a:gd name="connsiteX2" fmla="*/ 189371 w 189371"/>
                    <a:gd name="connsiteY2" fmla="*/ 130892 h 147888"/>
                    <a:gd name="connsiteX3" fmla="*/ 159492 w 189371"/>
                    <a:gd name="connsiteY3" fmla="*/ 0 h 147888"/>
                    <a:gd name="connsiteX4" fmla="*/ 67492 w 189371"/>
                    <a:gd name="connsiteY4" fmla="*/ 8287 h 147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9371" h="147888">
                      <a:moveTo>
                        <a:pt x="67492" y="8287"/>
                      </a:moveTo>
                      <a:cubicBezTo>
                        <a:pt x="62775" y="101072"/>
                        <a:pt x="-2067" y="123815"/>
                        <a:pt x="51" y="147888"/>
                      </a:cubicBezTo>
                      <a:lnTo>
                        <a:pt x="189371" y="130892"/>
                      </a:lnTo>
                      <a:cubicBezTo>
                        <a:pt x="173766" y="80023"/>
                        <a:pt x="167899" y="41675"/>
                        <a:pt x="159492" y="0"/>
                      </a:cubicBezTo>
                      <a:lnTo>
                        <a:pt x="67492" y="8287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3" name="Freihandform: Form 402">
                  <a:extLst>
                    <a:ext uri="{FF2B5EF4-FFF2-40B4-BE49-F238E27FC236}">
                      <a16:creationId xmlns:a16="http://schemas.microsoft.com/office/drawing/2014/main" id="{A0C2FD48-664B-A170-8B7F-E6CD83D4E7E5}"/>
                    </a:ext>
                  </a:extLst>
                </p:cNvPr>
                <p:cNvSpPr/>
                <p:nvPr/>
              </p:nvSpPr>
              <p:spPr>
                <a:xfrm>
                  <a:off x="11320709" y="3561947"/>
                  <a:ext cx="366367" cy="731577"/>
                </a:xfrm>
                <a:custGeom>
                  <a:avLst/>
                  <a:gdLst>
                    <a:gd name="connsiteX0" fmla="*/ 342557 w 366367"/>
                    <a:gd name="connsiteY0" fmla="*/ 731517 h 731577"/>
                    <a:gd name="connsiteX1" fmla="*/ 128799 w 366367"/>
                    <a:gd name="connsiteY1" fmla="*/ 731517 h 731577"/>
                    <a:gd name="connsiteX2" fmla="*/ 72124 w 366367"/>
                    <a:gd name="connsiteY2" fmla="*/ 522659 h 731577"/>
                    <a:gd name="connsiteX3" fmla="*/ 14481 w 366367"/>
                    <a:gd name="connsiteY3" fmla="*/ 210612 h 731577"/>
                    <a:gd name="connsiteX4" fmla="*/ 387 w 366367"/>
                    <a:gd name="connsiteY4" fmla="*/ 8589 h 731577"/>
                    <a:gd name="connsiteX5" fmla="*/ 363484 w 366367"/>
                    <a:gd name="connsiteY5" fmla="*/ 0 h 731577"/>
                    <a:gd name="connsiteX6" fmla="*/ 342557 w 366367"/>
                    <a:gd name="connsiteY6" fmla="*/ 731578 h 7315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66367" h="731577">
                      <a:moveTo>
                        <a:pt x="342557" y="731517"/>
                      </a:moveTo>
                      <a:lnTo>
                        <a:pt x="128799" y="731517"/>
                      </a:lnTo>
                      <a:cubicBezTo>
                        <a:pt x="128799" y="731517"/>
                        <a:pt x="93778" y="595303"/>
                        <a:pt x="72124" y="522659"/>
                      </a:cubicBezTo>
                      <a:cubicBezTo>
                        <a:pt x="50470" y="450016"/>
                        <a:pt x="25489" y="306361"/>
                        <a:pt x="14481" y="210612"/>
                      </a:cubicBezTo>
                      <a:cubicBezTo>
                        <a:pt x="6436" y="140932"/>
                        <a:pt x="-1911" y="69377"/>
                        <a:pt x="387" y="8589"/>
                      </a:cubicBezTo>
                      <a:cubicBezTo>
                        <a:pt x="68011" y="8589"/>
                        <a:pt x="363484" y="0"/>
                        <a:pt x="363484" y="0"/>
                      </a:cubicBezTo>
                      <a:cubicBezTo>
                        <a:pt x="372981" y="258215"/>
                        <a:pt x="357194" y="476327"/>
                        <a:pt x="342557" y="731578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4" name="Freihandform: Form 403">
                  <a:extLst>
                    <a:ext uri="{FF2B5EF4-FFF2-40B4-BE49-F238E27FC236}">
                      <a16:creationId xmlns:a16="http://schemas.microsoft.com/office/drawing/2014/main" id="{2A3671DA-1753-9F3A-8625-E40F73A9E48D}"/>
                    </a:ext>
                  </a:extLst>
                </p:cNvPr>
                <p:cNvSpPr/>
                <p:nvPr/>
              </p:nvSpPr>
              <p:spPr>
                <a:xfrm>
                  <a:off x="11450391" y="4277496"/>
                  <a:ext cx="296163" cy="619860"/>
                </a:xfrm>
                <a:custGeom>
                  <a:avLst/>
                  <a:gdLst>
                    <a:gd name="connsiteX0" fmla="*/ 296103 w 296163"/>
                    <a:gd name="connsiteY0" fmla="*/ 592399 h 619860"/>
                    <a:gd name="connsiteX1" fmla="*/ 103152 w 296163"/>
                    <a:gd name="connsiteY1" fmla="*/ 619860 h 619860"/>
                    <a:gd name="connsiteX2" fmla="*/ 265 w 296163"/>
                    <a:gd name="connsiteY2" fmla="*/ 30122 h 619860"/>
                    <a:gd name="connsiteX3" fmla="*/ 211906 w 296163"/>
                    <a:gd name="connsiteY3" fmla="*/ 0 h 619860"/>
                    <a:gd name="connsiteX4" fmla="*/ 263017 w 296163"/>
                    <a:gd name="connsiteY4" fmla="*/ 265594 h 619860"/>
                    <a:gd name="connsiteX5" fmla="*/ 296163 w 296163"/>
                    <a:gd name="connsiteY5" fmla="*/ 592399 h 6198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96163" h="619860">
                      <a:moveTo>
                        <a:pt x="296103" y="592399"/>
                      </a:moveTo>
                      <a:lnTo>
                        <a:pt x="103152" y="619860"/>
                      </a:lnTo>
                      <a:cubicBezTo>
                        <a:pt x="-10380" y="409853"/>
                        <a:pt x="265" y="30122"/>
                        <a:pt x="265" y="30122"/>
                      </a:cubicBezTo>
                      <a:lnTo>
                        <a:pt x="211906" y="0"/>
                      </a:lnTo>
                      <a:cubicBezTo>
                        <a:pt x="211906" y="0"/>
                        <a:pt x="257452" y="182547"/>
                        <a:pt x="263017" y="265594"/>
                      </a:cubicBezTo>
                      <a:cubicBezTo>
                        <a:pt x="268521" y="348641"/>
                        <a:pt x="296163" y="592399"/>
                        <a:pt x="296163" y="592399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5" name="Freihandform: Form 404">
                  <a:extLst>
                    <a:ext uri="{FF2B5EF4-FFF2-40B4-BE49-F238E27FC236}">
                      <a16:creationId xmlns:a16="http://schemas.microsoft.com/office/drawing/2014/main" id="{5B1664C5-59D9-1881-2D03-98040E2F2DE2}"/>
                    </a:ext>
                  </a:extLst>
                </p:cNvPr>
                <p:cNvSpPr/>
                <p:nvPr/>
              </p:nvSpPr>
              <p:spPr>
                <a:xfrm>
                  <a:off x="11449508" y="4184348"/>
                  <a:ext cx="213757" cy="213757"/>
                </a:xfrm>
                <a:custGeom>
                  <a:avLst/>
                  <a:gdLst>
                    <a:gd name="connsiteX0" fmla="*/ 213757 w 213757"/>
                    <a:gd name="connsiteY0" fmla="*/ 106879 h 213757"/>
                    <a:gd name="connsiteX1" fmla="*/ 106878 w 213757"/>
                    <a:gd name="connsiteY1" fmla="*/ 213757 h 213757"/>
                    <a:gd name="connsiteX2" fmla="*/ 0 w 213757"/>
                    <a:gd name="connsiteY2" fmla="*/ 106879 h 213757"/>
                    <a:gd name="connsiteX3" fmla="*/ 106878 w 213757"/>
                    <a:gd name="connsiteY3" fmla="*/ 0 h 213757"/>
                    <a:gd name="connsiteX4" fmla="*/ 213757 w 213757"/>
                    <a:gd name="connsiteY4" fmla="*/ 106879 h 2137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3757" h="213757">
                      <a:moveTo>
                        <a:pt x="213757" y="106879"/>
                      </a:moveTo>
                      <a:cubicBezTo>
                        <a:pt x="213757" y="165906"/>
                        <a:pt x="165906" y="213757"/>
                        <a:pt x="106878" y="213757"/>
                      </a:cubicBezTo>
                      <a:cubicBezTo>
                        <a:pt x="47851" y="213757"/>
                        <a:pt x="0" y="165906"/>
                        <a:pt x="0" y="106879"/>
                      </a:cubicBezTo>
                      <a:cubicBezTo>
                        <a:pt x="0" y="47851"/>
                        <a:pt x="47851" y="0"/>
                        <a:pt x="106878" y="0"/>
                      </a:cubicBezTo>
                      <a:cubicBezTo>
                        <a:pt x="165906" y="0"/>
                        <a:pt x="213757" y="47851"/>
                        <a:pt x="213757" y="106879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6" name="Freihandform: Form 405">
                  <a:extLst>
                    <a:ext uri="{FF2B5EF4-FFF2-40B4-BE49-F238E27FC236}">
                      <a16:creationId xmlns:a16="http://schemas.microsoft.com/office/drawing/2014/main" id="{3A62A0F7-2B2E-D326-716D-AF7105B8AE02}"/>
                    </a:ext>
                  </a:extLst>
                </p:cNvPr>
                <p:cNvSpPr/>
                <p:nvPr/>
              </p:nvSpPr>
              <p:spPr>
                <a:xfrm>
                  <a:off x="11648386" y="4949556"/>
                  <a:ext cx="91454" cy="91454"/>
                </a:xfrm>
                <a:custGeom>
                  <a:avLst/>
                  <a:gdLst>
                    <a:gd name="connsiteX0" fmla="*/ 91455 w 91454"/>
                    <a:gd name="connsiteY0" fmla="*/ 45727 h 91454"/>
                    <a:gd name="connsiteX1" fmla="*/ 45727 w 91454"/>
                    <a:gd name="connsiteY1" fmla="*/ 91455 h 91454"/>
                    <a:gd name="connsiteX2" fmla="*/ 0 w 91454"/>
                    <a:gd name="connsiteY2" fmla="*/ 45727 h 91454"/>
                    <a:gd name="connsiteX3" fmla="*/ 45727 w 91454"/>
                    <a:gd name="connsiteY3" fmla="*/ 0 h 91454"/>
                    <a:gd name="connsiteX4" fmla="*/ 91455 w 91454"/>
                    <a:gd name="connsiteY4" fmla="*/ 45727 h 91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1454" h="91454">
                      <a:moveTo>
                        <a:pt x="91455" y="45727"/>
                      </a:moveTo>
                      <a:cubicBezTo>
                        <a:pt x="91455" y="70982"/>
                        <a:pt x="70982" y="91455"/>
                        <a:pt x="45727" y="91455"/>
                      </a:cubicBezTo>
                      <a:cubicBezTo>
                        <a:pt x="20473" y="91455"/>
                        <a:pt x="0" y="70982"/>
                        <a:pt x="0" y="45727"/>
                      </a:cubicBezTo>
                      <a:cubicBezTo>
                        <a:pt x="0" y="20473"/>
                        <a:pt x="20473" y="0"/>
                        <a:pt x="45727" y="0"/>
                      </a:cubicBezTo>
                      <a:cubicBezTo>
                        <a:pt x="70982" y="0"/>
                        <a:pt x="91455" y="20473"/>
                        <a:pt x="91455" y="45727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7" name="Freihandform: Form 406">
                  <a:extLst>
                    <a:ext uri="{FF2B5EF4-FFF2-40B4-BE49-F238E27FC236}">
                      <a16:creationId xmlns:a16="http://schemas.microsoft.com/office/drawing/2014/main" id="{7097CF14-21FD-53D5-FBAB-23930E4C7CEA}"/>
                    </a:ext>
                  </a:extLst>
                </p:cNvPr>
                <p:cNvSpPr/>
                <p:nvPr/>
              </p:nvSpPr>
              <p:spPr>
                <a:xfrm>
                  <a:off x="11556024" y="5109420"/>
                  <a:ext cx="230361" cy="86010"/>
                </a:xfrm>
                <a:custGeom>
                  <a:avLst/>
                  <a:gdLst>
                    <a:gd name="connsiteX0" fmla="*/ 0 w 230361"/>
                    <a:gd name="connsiteY0" fmla="*/ 20323 h 86010"/>
                    <a:gd name="connsiteX1" fmla="*/ 4476 w 230361"/>
                    <a:gd name="connsiteY1" fmla="*/ 69922 h 86010"/>
                    <a:gd name="connsiteX2" fmla="*/ 16573 w 230361"/>
                    <a:gd name="connsiteY2" fmla="*/ 86011 h 86010"/>
                    <a:gd name="connsiteX3" fmla="*/ 221621 w 230361"/>
                    <a:gd name="connsiteY3" fmla="*/ 67563 h 86010"/>
                    <a:gd name="connsiteX4" fmla="*/ 230270 w 230361"/>
                    <a:gd name="connsiteY4" fmla="*/ 49719 h 86010"/>
                    <a:gd name="connsiteX5" fmla="*/ 225794 w 230361"/>
                    <a:gd name="connsiteY5" fmla="*/ 0 h 86010"/>
                    <a:gd name="connsiteX6" fmla="*/ 0 w 230361"/>
                    <a:gd name="connsiteY6" fmla="*/ 20323 h 860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0361" h="86010">
                      <a:moveTo>
                        <a:pt x="0" y="20323"/>
                      </a:moveTo>
                      <a:lnTo>
                        <a:pt x="4476" y="69922"/>
                      </a:lnTo>
                      <a:cubicBezTo>
                        <a:pt x="5202" y="77906"/>
                        <a:pt x="10222" y="84378"/>
                        <a:pt x="16573" y="86011"/>
                      </a:cubicBezTo>
                      <a:lnTo>
                        <a:pt x="221621" y="67563"/>
                      </a:lnTo>
                      <a:cubicBezTo>
                        <a:pt x="227367" y="64660"/>
                        <a:pt x="230996" y="57522"/>
                        <a:pt x="230270" y="49719"/>
                      </a:cubicBezTo>
                      <a:lnTo>
                        <a:pt x="225794" y="0"/>
                      </a:lnTo>
                      <a:lnTo>
                        <a:pt x="0" y="20323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8" name="Freihandform: Form 407">
                  <a:extLst>
                    <a:ext uri="{FF2B5EF4-FFF2-40B4-BE49-F238E27FC236}">
                      <a16:creationId xmlns:a16="http://schemas.microsoft.com/office/drawing/2014/main" id="{E96DE0FB-E27E-A79B-234C-996677D3EB49}"/>
                    </a:ext>
                  </a:extLst>
                </p:cNvPr>
                <p:cNvSpPr/>
                <p:nvPr/>
              </p:nvSpPr>
              <p:spPr>
                <a:xfrm>
                  <a:off x="11556024" y="5028991"/>
                  <a:ext cx="225793" cy="104076"/>
                </a:xfrm>
                <a:custGeom>
                  <a:avLst/>
                  <a:gdLst>
                    <a:gd name="connsiteX0" fmla="*/ 225794 w 225793"/>
                    <a:gd name="connsiteY0" fmla="*/ 80429 h 104076"/>
                    <a:gd name="connsiteX1" fmla="*/ 192527 w 225793"/>
                    <a:gd name="connsiteY1" fmla="*/ 3068 h 104076"/>
                    <a:gd name="connsiteX2" fmla="*/ 181397 w 225793"/>
                    <a:gd name="connsiteY2" fmla="*/ 29197 h 104076"/>
                    <a:gd name="connsiteX3" fmla="*/ 61151 w 225793"/>
                    <a:gd name="connsiteY3" fmla="*/ 26959 h 104076"/>
                    <a:gd name="connsiteX4" fmla="*/ 0 w 225793"/>
                    <a:gd name="connsiteY4" fmla="*/ 100752 h 104076"/>
                    <a:gd name="connsiteX5" fmla="*/ 225794 w 225793"/>
                    <a:gd name="connsiteY5" fmla="*/ 80429 h 1040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25793" h="104076">
                      <a:moveTo>
                        <a:pt x="225794" y="80429"/>
                      </a:moveTo>
                      <a:cubicBezTo>
                        <a:pt x="223193" y="41537"/>
                        <a:pt x="217386" y="12382"/>
                        <a:pt x="192527" y="3068"/>
                      </a:cubicBezTo>
                      <a:lnTo>
                        <a:pt x="181397" y="29197"/>
                      </a:lnTo>
                      <a:cubicBezTo>
                        <a:pt x="181397" y="29197"/>
                        <a:pt x="88370" y="-34978"/>
                        <a:pt x="61151" y="26959"/>
                      </a:cubicBezTo>
                      <a:cubicBezTo>
                        <a:pt x="38045" y="79522"/>
                        <a:pt x="6956" y="63130"/>
                        <a:pt x="0" y="100752"/>
                      </a:cubicBezTo>
                      <a:cubicBezTo>
                        <a:pt x="25102" y="110067"/>
                        <a:pt x="198454" y="98696"/>
                        <a:pt x="225794" y="80429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9" name="Freihandform: Form 408">
                  <a:extLst>
                    <a:ext uri="{FF2B5EF4-FFF2-40B4-BE49-F238E27FC236}">
                      <a16:creationId xmlns:a16="http://schemas.microsoft.com/office/drawing/2014/main" id="{8E414BD5-CF36-471D-7644-99B9B59747F2}"/>
                    </a:ext>
                  </a:extLst>
                </p:cNvPr>
                <p:cNvSpPr/>
                <p:nvPr/>
              </p:nvSpPr>
              <p:spPr>
                <a:xfrm>
                  <a:off x="11727198" y="4837112"/>
                  <a:ext cx="129077" cy="171538"/>
                </a:xfrm>
                <a:custGeom>
                  <a:avLst/>
                  <a:gdLst>
                    <a:gd name="connsiteX0" fmla="*/ 0 w 129077"/>
                    <a:gd name="connsiteY0" fmla="*/ 0 h 171538"/>
                    <a:gd name="connsiteX1" fmla="*/ 6049 w 129077"/>
                    <a:gd name="connsiteY1" fmla="*/ 171538 h 171538"/>
                    <a:gd name="connsiteX2" fmla="*/ 98411 w 129077"/>
                    <a:gd name="connsiteY2" fmla="*/ 171538 h 171538"/>
                    <a:gd name="connsiteX3" fmla="*/ 129078 w 129077"/>
                    <a:gd name="connsiteY3" fmla="*/ 0 h 171538"/>
                    <a:gd name="connsiteX4" fmla="*/ 0 w 129077"/>
                    <a:gd name="connsiteY4" fmla="*/ 0 h 171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9077" h="171538">
                      <a:moveTo>
                        <a:pt x="0" y="0"/>
                      </a:moveTo>
                      <a:cubicBezTo>
                        <a:pt x="3448" y="92423"/>
                        <a:pt x="6049" y="171538"/>
                        <a:pt x="6049" y="171538"/>
                      </a:cubicBezTo>
                      <a:lnTo>
                        <a:pt x="98411" y="171538"/>
                      </a:lnTo>
                      <a:cubicBezTo>
                        <a:pt x="103250" y="125629"/>
                        <a:pt x="115408" y="63571"/>
                        <a:pt x="1290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0" name="Freihandform: Form 409">
                  <a:extLst>
                    <a:ext uri="{FF2B5EF4-FFF2-40B4-BE49-F238E27FC236}">
                      <a16:creationId xmlns:a16="http://schemas.microsoft.com/office/drawing/2014/main" id="{F5B8BB06-D3F0-0A6D-2899-FA299C525244}"/>
                    </a:ext>
                  </a:extLst>
                </p:cNvPr>
                <p:cNvSpPr/>
                <p:nvPr/>
              </p:nvSpPr>
              <p:spPr>
                <a:xfrm>
                  <a:off x="11715162" y="5008650"/>
                  <a:ext cx="190107" cy="133008"/>
                </a:xfrm>
                <a:custGeom>
                  <a:avLst/>
                  <a:gdLst>
                    <a:gd name="connsiteX0" fmla="*/ 110447 w 190107"/>
                    <a:gd name="connsiteY0" fmla="*/ 0 h 133008"/>
                    <a:gd name="connsiteX1" fmla="*/ 190108 w 190107"/>
                    <a:gd name="connsiteY1" fmla="*/ 133009 h 133008"/>
                    <a:gd name="connsiteX2" fmla="*/ 0 w 190107"/>
                    <a:gd name="connsiteY2" fmla="*/ 133009 h 133008"/>
                    <a:gd name="connsiteX3" fmla="*/ 18085 w 190107"/>
                    <a:gd name="connsiteY3" fmla="*/ 0 h 133008"/>
                    <a:gd name="connsiteX4" fmla="*/ 110447 w 190107"/>
                    <a:gd name="connsiteY4" fmla="*/ 0 h 133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0107" h="133008">
                      <a:moveTo>
                        <a:pt x="110447" y="0"/>
                      </a:moveTo>
                      <a:cubicBezTo>
                        <a:pt x="123452" y="91999"/>
                        <a:pt x="190108" y="108875"/>
                        <a:pt x="190108" y="133009"/>
                      </a:cubicBezTo>
                      <a:lnTo>
                        <a:pt x="0" y="133009"/>
                      </a:lnTo>
                      <a:cubicBezTo>
                        <a:pt x="11009" y="80930"/>
                        <a:pt x="13428" y="42219"/>
                        <a:pt x="18085" y="0"/>
                      </a:cubicBezTo>
                      <a:lnTo>
                        <a:pt x="110447" y="0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1" name="Freihandform: Form 410">
                  <a:extLst>
                    <a:ext uri="{FF2B5EF4-FFF2-40B4-BE49-F238E27FC236}">
                      <a16:creationId xmlns:a16="http://schemas.microsoft.com/office/drawing/2014/main" id="{7B9D6E9B-81AC-2170-C515-78C9756ACA8D}"/>
                    </a:ext>
                  </a:extLst>
                </p:cNvPr>
                <p:cNvSpPr/>
                <p:nvPr/>
              </p:nvSpPr>
              <p:spPr>
                <a:xfrm>
                  <a:off x="11683757" y="3561887"/>
                  <a:ext cx="368614" cy="731577"/>
                </a:xfrm>
                <a:custGeom>
                  <a:avLst/>
                  <a:gdLst>
                    <a:gd name="connsiteX0" fmla="*/ 26627 w 368614"/>
                    <a:gd name="connsiteY0" fmla="*/ 731578 h 731577"/>
                    <a:gd name="connsiteX1" fmla="*/ 240385 w 368614"/>
                    <a:gd name="connsiteY1" fmla="*/ 731578 h 731577"/>
                    <a:gd name="connsiteX2" fmla="*/ 297060 w 368614"/>
                    <a:gd name="connsiteY2" fmla="*/ 522720 h 731577"/>
                    <a:gd name="connsiteX3" fmla="*/ 354703 w 368614"/>
                    <a:gd name="connsiteY3" fmla="*/ 210673 h 731577"/>
                    <a:gd name="connsiteX4" fmla="*/ 368615 w 368614"/>
                    <a:gd name="connsiteY4" fmla="*/ 12279 h 731577"/>
                    <a:gd name="connsiteX5" fmla="*/ 2553 w 368614"/>
                    <a:gd name="connsiteY5" fmla="*/ 0 h 731577"/>
                    <a:gd name="connsiteX6" fmla="*/ 26688 w 368614"/>
                    <a:gd name="connsiteY6" fmla="*/ 731578 h 7315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68614" h="731577">
                      <a:moveTo>
                        <a:pt x="26627" y="731578"/>
                      </a:moveTo>
                      <a:lnTo>
                        <a:pt x="240385" y="731578"/>
                      </a:lnTo>
                      <a:cubicBezTo>
                        <a:pt x="240385" y="731578"/>
                        <a:pt x="275406" y="595363"/>
                        <a:pt x="297060" y="522720"/>
                      </a:cubicBezTo>
                      <a:cubicBezTo>
                        <a:pt x="318714" y="450076"/>
                        <a:pt x="343694" y="306422"/>
                        <a:pt x="354703" y="210673"/>
                      </a:cubicBezTo>
                      <a:cubicBezTo>
                        <a:pt x="361175" y="154723"/>
                        <a:pt x="366377" y="69861"/>
                        <a:pt x="368615" y="12279"/>
                      </a:cubicBezTo>
                      <a:cubicBezTo>
                        <a:pt x="233126" y="9254"/>
                        <a:pt x="2553" y="0"/>
                        <a:pt x="2553" y="0"/>
                      </a:cubicBezTo>
                      <a:cubicBezTo>
                        <a:pt x="-6943" y="258215"/>
                        <a:pt x="12050" y="476327"/>
                        <a:pt x="26688" y="731578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2" name="Freihandform: Form 411">
                  <a:extLst>
                    <a:ext uri="{FF2B5EF4-FFF2-40B4-BE49-F238E27FC236}">
                      <a16:creationId xmlns:a16="http://schemas.microsoft.com/office/drawing/2014/main" id="{749AD6DB-399F-6024-51E5-4F1F3360EAC7}"/>
                    </a:ext>
                  </a:extLst>
                </p:cNvPr>
                <p:cNvSpPr/>
                <p:nvPr/>
              </p:nvSpPr>
              <p:spPr>
                <a:xfrm>
                  <a:off x="11695905" y="4293465"/>
                  <a:ext cx="251767" cy="598387"/>
                </a:xfrm>
                <a:custGeom>
                  <a:avLst/>
                  <a:gdLst>
                    <a:gd name="connsiteX0" fmla="*/ 14479 w 251767"/>
                    <a:gd name="connsiteY0" fmla="*/ 598387 h 598387"/>
                    <a:gd name="connsiteX1" fmla="*/ 209365 w 251767"/>
                    <a:gd name="connsiteY1" fmla="*/ 598387 h 598387"/>
                    <a:gd name="connsiteX2" fmla="*/ 228176 w 251767"/>
                    <a:gd name="connsiteY2" fmla="*/ 0 h 598387"/>
                    <a:gd name="connsiteX3" fmla="*/ 14419 w 251767"/>
                    <a:gd name="connsiteY3" fmla="*/ 0 h 598387"/>
                    <a:gd name="connsiteX4" fmla="*/ 1233 w 251767"/>
                    <a:gd name="connsiteY4" fmla="*/ 270130 h 598387"/>
                    <a:gd name="connsiteX5" fmla="*/ 14419 w 251767"/>
                    <a:gd name="connsiteY5" fmla="*/ 598387 h 598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51767" h="598387">
                      <a:moveTo>
                        <a:pt x="14479" y="598387"/>
                      </a:moveTo>
                      <a:lnTo>
                        <a:pt x="209365" y="598387"/>
                      </a:lnTo>
                      <a:cubicBezTo>
                        <a:pt x="292170" y="374529"/>
                        <a:pt x="228176" y="0"/>
                        <a:pt x="228176" y="0"/>
                      </a:cubicBezTo>
                      <a:lnTo>
                        <a:pt x="14419" y="0"/>
                      </a:lnTo>
                      <a:cubicBezTo>
                        <a:pt x="14419" y="0"/>
                        <a:pt x="-4998" y="187143"/>
                        <a:pt x="1233" y="270130"/>
                      </a:cubicBezTo>
                      <a:cubicBezTo>
                        <a:pt x="7463" y="353177"/>
                        <a:pt x="14419" y="598387"/>
                        <a:pt x="14419" y="598387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3" name="Freihandform: Form 412">
                  <a:extLst>
                    <a:ext uri="{FF2B5EF4-FFF2-40B4-BE49-F238E27FC236}">
                      <a16:creationId xmlns:a16="http://schemas.microsoft.com/office/drawing/2014/main" id="{5A3FDD78-02C8-00B4-3E1A-41CC15213049}"/>
                    </a:ext>
                  </a:extLst>
                </p:cNvPr>
                <p:cNvSpPr/>
                <p:nvPr/>
              </p:nvSpPr>
              <p:spPr>
                <a:xfrm>
                  <a:off x="11734215" y="4962923"/>
                  <a:ext cx="91454" cy="91454"/>
                </a:xfrm>
                <a:custGeom>
                  <a:avLst/>
                  <a:gdLst>
                    <a:gd name="connsiteX0" fmla="*/ 91455 w 91454"/>
                    <a:gd name="connsiteY0" fmla="*/ 45727 h 91454"/>
                    <a:gd name="connsiteX1" fmla="*/ 45727 w 91454"/>
                    <a:gd name="connsiteY1" fmla="*/ 91455 h 91454"/>
                    <a:gd name="connsiteX2" fmla="*/ -1 w 91454"/>
                    <a:gd name="connsiteY2" fmla="*/ 45727 h 91454"/>
                    <a:gd name="connsiteX3" fmla="*/ 45727 w 91454"/>
                    <a:gd name="connsiteY3" fmla="*/ 0 h 91454"/>
                    <a:gd name="connsiteX4" fmla="*/ 91455 w 91454"/>
                    <a:gd name="connsiteY4" fmla="*/ 45727 h 91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1454" h="91454">
                      <a:moveTo>
                        <a:pt x="91455" y="45727"/>
                      </a:moveTo>
                      <a:cubicBezTo>
                        <a:pt x="91455" y="70982"/>
                        <a:pt x="70982" y="91455"/>
                        <a:pt x="45727" y="91455"/>
                      </a:cubicBezTo>
                      <a:cubicBezTo>
                        <a:pt x="20472" y="91455"/>
                        <a:pt x="-1" y="70982"/>
                        <a:pt x="-1" y="45727"/>
                      </a:cubicBezTo>
                      <a:cubicBezTo>
                        <a:pt x="-1" y="20473"/>
                        <a:pt x="20472" y="0"/>
                        <a:pt x="45727" y="0"/>
                      </a:cubicBezTo>
                      <a:cubicBezTo>
                        <a:pt x="70982" y="0"/>
                        <a:pt x="91455" y="20473"/>
                        <a:pt x="91455" y="45727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4" name="Freihandform: Form 413">
                  <a:extLst>
                    <a:ext uri="{FF2B5EF4-FFF2-40B4-BE49-F238E27FC236}">
                      <a16:creationId xmlns:a16="http://schemas.microsoft.com/office/drawing/2014/main" id="{EA8E8FCA-910B-F61D-6116-B51697F3BACE}"/>
                    </a:ext>
                  </a:extLst>
                </p:cNvPr>
                <p:cNvSpPr/>
                <p:nvPr/>
              </p:nvSpPr>
              <p:spPr>
                <a:xfrm>
                  <a:off x="11702823" y="5130167"/>
                  <a:ext cx="226701" cy="66897"/>
                </a:xfrm>
                <a:custGeom>
                  <a:avLst/>
                  <a:gdLst>
                    <a:gd name="connsiteX0" fmla="*/ 226641 w 226701"/>
                    <a:gd name="connsiteY0" fmla="*/ 0 h 66897"/>
                    <a:gd name="connsiteX1" fmla="*/ 226641 w 226701"/>
                    <a:gd name="connsiteY1" fmla="*/ 49780 h 66897"/>
                    <a:gd name="connsiteX2" fmla="*/ 216056 w 226701"/>
                    <a:gd name="connsiteY2" fmla="*/ 66897 h 66897"/>
                    <a:gd name="connsiteX3" fmla="*/ 10222 w 226701"/>
                    <a:gd name="connsiteY3" fmla="*/ 66897 h 66897"/>
                    <a:gd name="connsiteX4" fmla="*/ 0 w 226701"/>
                    <a:gd name="connsiteY4" fmla="*/ 49901 h 66897"/>
                    <a:gd name="connsiteX5" fmla="*/ 0 w 226701"/>
                    <a:gd name="connsiteY5" fmla="*/ 0 h 66897"/>
                    <a:gd name="connsiteX6" fmla="*/ 226701 w 226701"/>
                    <a:gd name="connsiteY6" fmla="*/ 0 h 668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26701" h="66897">
                      <a:moveTo>
                        <a:pt x="226641" y="0"/>
                      </a:moveTo>
                      <a:lnTo>
                        <a:pt x="226641" y="49780"/>
                      </a:lnTo>
                      <a:cubicBezTo>
                        <a:pt x="226641" y="57764"/>
                        <a:pt x="222225" y="64660"/>
                        <a:pt x="216056" y="66897"/>
                      </a:cubicBezTo>
                      <a:lnTo>
                        <a:pt x="10222" y="66897"/>
                      </a:lnTo>
                      <a:cubicBezTo>
                        <a:pt x="4234" y="64538"/>
                        <a:pt x="0" y="57703"/>
                        <a:pt x="0" y="49901"/>
                      </a:cubicBezTo>
                      <a:lnTo>
                        <a:pt x="0" y="0"/>
                      </a:lnTo>
                      <a:lnTo>
                        <a:pt x="226701" y="0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5" name="Freihandform: Form 414">
                  <a:extLst>
                    <a:ext uri="{FF2B5EF4-FFF2-40B4-BE49-F238E27FC236}">
                      <a16:creationId xmlns:a16="http://schemas.microsoft.com/office/drawing/2014/main" id="{3BFD9260-BEFA-3CBD-AD4E-30F7F9289562}"/>
                    </a:ext>
                  </a:extLst>
                </p:cNvPr>
                <p:cNvSpPr/>
                <p:nvPr/>
              </p:nvSpPr>
              <p:spPr>
                <a:xfrm>
                  <a:off x="11702690" y="5038831"/>
                  <a:ext cx="226834" cy="101604"/>
                </a:xfrm>
                <a:custGeom>
                  <a:avLst/>
                  <a:gdLst>
                    <a:gd name="connsiteX0" fmla="*/ 133 w 226834"/>
                    <a:gd name="connsiteY0" fmla="*/ 91336 h 101604"/>
                    <a:gd name="connsiteX1" fmla="*/ 26323 w 226834"/>
                    <a:gd name="connsiteY1" fmla="*/ 11313 h 101604"/>
                    <a:gd name="connsiteX2" fmla="*/ 39751 w 226834"/>
                    <a:gd name="connsiteY2" fmla="*/ 36354 h 101604"/>
                    <a:gd name="connsiteX3" fmla="*/ 159332 w 226834"/>
                    <a:gd name="connsiteY3" fmla="*/ 23350 h 101604"/>
                    <a:gd name="connsiteX4" fmla="*/ 226834 w 226834"/>
                    <a:gd name="connsiteY4" fmla="*/ 91336 h 101604"/>
                    <a:gd name="connsiteX5" fmla="*/ 133 w 226834"/>
                    <a:gd name="connsiteY5" fmla="*/ 91336 h 1016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26834" h="101604">
                      <a:moveTo>
                        <a:pt x="133" y="91336"/>
                      </a:moveTo>
                      <a:cubicBezTo>
                        <a:pt x="-774" y="52383"/>
                        <a:pt x="2432" y="22806"/>
                        <a:pt x="26323" y="11313"/>
                      </a:cubicBezTo>
                      <a:lnTo>
                        <a:pt x="39751" y="36354"/>
                      </a:lnTo>
                      <a:cubicBezTo>
                        <a:pt x="39751" y="36354"/>
                        <a:pt x="126669" y="-35926"/>
                        <a:pt x="159332" y="23350"/>
                      </a:cubicBezTo>
                      <a:cubicBezTo>
                        <a:pt x="187034" y="73614"/>
                        <a:pt x="216551" y="54500"/>
                        <a:pt x="226834" y="91336"/>
                      </a:cubicBezTo>
                      <a:cubicBezTo>
                        <a:pt x="202640" y="102829"/>
                        <a:pt x="29045" y="107062"/>
                        <a:pt x="133" y="91336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6" name="Freihandform: Form 415">
                  <a:extLst>
                    <a:ext uri="{FF2B5EF4-FFF2-40B4-BE49-F238E27FC236}">
                      <a16:creationId xmlns:a16="http://schemas.microsoft.com/office/drawing/2014/main" id="{76A534CF-A92F-D8F2-4BFE-D5F84471D716}"/>
                    </a:ext>
                  </a:extLst>
                </p:cNvPr>
                <p:cNvSpPr/>
                <p:nvPr/>
              </p:nvSpPr>
              <p:spPr>
                <a:xfrm>
                  <a:off x="11684193" y="3561887"/>
                  <a:ext cx="367936" cy="83591"/>
                </a:xfrm>
                <a:custGeom>
                  <a:avLst/>
                  <a:gdLst>
                    <a:gd name="connsiteX0" fmla="*/ 0 w 367936"/>
                    <a:gd name="connsiteY0" fmla="*/ 83592 h 83591"/>
                    <a:gd name="connsiteX1" fmla="*/ 365758 w 367936"/>
                    <a:gd name="connsiteY1" fmla="*/ 62784 h 83591"/>
                    <a:gd name="connsiteX2" fmla="*/ 365758 w 367936"/>
                    <a:gd name="connsiteY2" fmla="*/ 62784 h 83591"/>
                    <a:gd name="connsiteX3" fmla="*/ 367937 w 367936"/>
                    <a:gd name="connsiteY3" fmla="*/ 12279 h 83591"/>
                    <a:gd name="connsiteX4" fmla="*/ 2057 w 367936"/>
                    <a:gd name="connsiteY4" fmla="*/ 0 h 83591"/>
                    <a:gd name="connsiteX5" fmla="*/ 0 w 367936"/>
                    <a:gd name="connsiteY5" fmla="*/ 83592 h 835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67936" h="83591">
                      <a:moveTo>
                        <a:pt x="0" y="83592"/>
                      </a:moveTo>
                      <a:cubicBezTo>
                        <a:pt x="107786" y="70527"/>
                        <a:pt x="252892" y="50506"/>
                        <a:pt x="365758" y="62784"/>
                      </a:cubicBezTo>
                      <a:lnTo>
                        <a:pt x="365758" y="62784"/>
                      </a:lnTo>
                      <a:cubicBezTo>
                        <a:pt x="366666" y="45606"/>
                        <a:pt x="367392" y="27158"/>
                        <a:pt x="367937" y="12279"/>
                      </a:cubicBezTo>
                      <a:cubicBezTo>
                        <a:pt x="232448" y="9254"/>
                        <a:pt x="2057" y="0"/>
                        <a:pt x="2057" y="0"/>
                      </a:cubicBezTo>
                      <a:cubicBezTo>
                        <a:pt x="1029" y="28368"/>
                        <a:pt x="363" y="56131"/>
                        <a:pt x="0" y="83592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7" name="Freihandform: Form 416">
                  <a:extLst>
                    <a:ext uri="{FF2B5EF4-FFF2-40B4-BE49-F238E27FC236}">
                      <a16:creationId xmlns:a16="http://schemas.microsoft.com/office/drawing/2014/main" id="{BC92AC54-5A40-B902-E1C5-07CF948942F5}"/>
                    </a:ext>
                  </a:extLst>
                </p:cNvPr>
                <p:cNvSpPr/>
                <p:nvPr/>
              </p:nvSpPr>
              <p:spPr>
                <a:xfrm>
                  <a:off x="11320727" y="3561826"/>
                  <a:ext cx="365643" cy="143049"/>
                </a:xfrm>
                <a:custGeom>
                  <a:avLst/>
                  <a:gdLst>
                    <a:gd name="connsiteX0" fmla="*/ 363466 w 365643"/>
                    <a:gd name="connsiteY0" fmla="*/ 61 h 143049"/>
                    <a:gd name="connsiteX1" fmla="*/ 368 w 365643"/>
                    <a:gd name="connsiteY1" fmla="*/ 8650 h 143049"/>
                    <a:gd name="connsiteX2" fmla="*/ 7022 w 365643"/>
                    <a:gd name="connsiteY2" fmla="*/ 143049 h 143049"/>
                    <a:gd name="connsiteX3" fmla="*/ 365643 w 365643"/>
                    <a:gd name="connsiteY3" fmla="*/ 83592 h 143049"/>
                    <a:gd name="connsiteX4" fmla="*/ 363466 w 365643"/>
                    <a:gd name="connsiteY4" fmla="*/ 0 h 143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5643" h="143049">
                      <a:moveTo>
                        <a:pt x="363466" y="61"/>
                      </a:moveTo>
                      <a:cubicBezTo>
                        <a:pt x="363466" y="61"/>
                        <a:pt x="68052" y="8650"/>
                        <a:pt x="368" y="8650"/>
                      </a:cubicBezTo>
                      <a:cubicBezTo>
                        <a:pt x="-1144" y="49841"/>
                        <a:pt x="2183" y="95931"/>
                        <a:pt x="7022" y="143049"/>
                      </a:cubicBezTo>
                      <a:cubicBezTo>
                        <a:pt x="89222" y="125387"/>
                        <a:pt x="233602" y="100104"/>
                        <a:pt x="365643" y="83592"/>
                      </a:cubicBezTo>
                      <a:cubicBezTo>
                        <a:pt x="365159" y="56131"/>
                        <a:pt x="364494" y="28368"/>
                        <a:pt x="363466" y="0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8" name="Freihandform: Form 417">
                  <a:extLst>
                    <a:ext uri="{FF2B5EF4-FFF2-40B4-BE49-F238E27FC236}">
                      <a16:creationId xmlns:a16="http://schemas.microsoft.com/office/drawing/2014/main" id="{D1BBD0C4-B4EC-C9C5-DC52-94BF133CFDFC}"/>
                    </a:ext>
                  </a:extLst>
                </p:cNvPr>
                <p:cNvSpPr/>
                <p:nvPr/>
              </p:nvSpPr>
              <p:spPr>
                <a:xfrm>
                  <a:off x="11710384" y="4184348"/>
                  <a:ext cx="213757" cy="213757"/>
                </a:xfrm>
                <a:custGeom>
                  <a:avLst/>
                  <a:gdLst>
                    <a:gd name="connsiteX0" fmla="*/ 213757 w 213757"/>
                    <a:gd name="connsiteY0" fmla="*/ 106879 h 213757"/>
                    <a:gd name="connsiteX1" fmla="*/ 106879 w 213757"/>
                    <a:gd name="connsiteY1" fmla="*/ 213757 h 213757"/>
                    <a:gd name="connsiteX2" fmla="*/ 0 w 213757"/>
                    <a:gd name="connsiteY2" fmla="*/ 106879 h 213757"/>
                    <a:gd name="connsiteX3" fmla="*/ 106879 w 213757"/>
                    <a:gd name="connsiteY3" fmla="*/ 0 h 213757"/>
                    <a:gd name="connsiteX4" fmla="*/ 213757 w 213757"/>
                    <a:gd name="connsiteY4" fmla="*/ 106879 h 2137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3757" h="213757">
                      <a:moveTo>
                        <a:pt x="213757" y="106879"/>
                      </a:moveTo>
                      <a:cubicBezTo>
                        <a:pt x="213757" y="165906"/>
                        <a:pt x="165906" y="213757"/>
                        <a:pt x="106879" y="213757"/>
                      </a:cubicBezTo>
                      <a:cubicBezTo>
                        <a:pt x="47851" y="213757"/>
                        <a:pt x="0" y="165906"/>
                        <a:pt x="0" y="106879"/>
                      </a:cubicBezTo>
                      <a:cubicBezTo>
                        <a:pt x="0" y="47851"/>
                        <a:pt x="47851" y="0"/>
                        <a:pt x="106879" y="0"/>
                      </a:cubicBezTo>
                      <a:cubicBezTo>
                        <a:pt x="165906" y="0"/>
                        <a:pt x="213757" y="47851"/>
                        <a:pt x="213757" y="106879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419" name="Grafik 297">
                  <a:extLst>
                    <a:ext uri="{FF2B5EF4-FFF2-40B4-BE49-F238E27FC236}">
                      <a16:creationId xmlns:a16="http://schemas.microsoft.com/office/drawing/2014/main" id="{254A80B0-B949-C963-AB73-446BDA7F3BFC}"/>
                    </a:ext>
                  </a:extLst>
                </p:cNvPr>
                <p:cNvGrpSpPr/>
                <p:nvPr/>
              </p:nvGrpSpPr>
              <p:grpSpPr>
                <a:xfrm>
                  <a:off x="11174966" y="3045397"/>
                  <a:ext cx="164094" cy="552660"/>
                  <a:chOff x="11174966" y="3045397"/>
                  <a:chExt cx="164094" cy="552660"/>
                </a:xfrm>
              </p:grpSpPr>
              <p:sp>
                <p:nvSpPr>
                  <p:cNvPr id="469" name="Freihandform: Form 468">
                    <a:extLst>
                      <a:ext uri="{FF2B5EF4-FFF2-40B4-BE49-F238E27FC236}">
                        <a16:creationId xmlns:a16="http://schemas.microsoft.com/office/drawing/2014/main" id="{3067988B-F9BB-D885-5F5C-AF6027E7391E}"/>
                      </a:ext>
                    </a:extLst>
                  </p:cNvPr>
                  <p:cNvSpPr/>
                  <p:nvPr/>
                </p:nvSpPr>
                <p:spPr>
                  <a:xfrm>
                    <a:off x="11174966" y="3125964"/>
                    <a:ext cx="163973" cy="472093"/>
                  </a:xfrm>
                  <a:custGeom>
                    <a:avLst/>
                    <a:gdLst>
                      <a:gd name="connsiteX0" fmla="*/ 9130 w 163973"/>
                      <a:gd name="connsiteY0" fmla="*/ 472093 h 472093"/>
                      <a:gd name="connsiteX1" fmla="*/ 94294 w 163973"/>
                      <a:gd name="connsiteY1" fmla="*/ 468161 h 472093"/>
                      <a:gd name="connsiteX2" fmla="*/ 163974 w 163973"/>
                      <a:gd name="connsiteY2" fmla="*/ 9133 h 472093"/>
                      <a:gd name="connsiteX3" fmla="*/ 118 w 163973"/>
                      <a:gd name="connsiteY3" fmla="*/ 0 h 472093"/>
                      <a:gd name="connsiteX4" fmla="*/ 9130 w 163973"/>
                      <a:gd name="connsiteY4" fmla="*/ 472093 h 4720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3973" h="472093">
                        <a:moveTo>
                          <a:pt x="9130" y="472093"/>
                        </a:moveTo>
                        <a:lnTo>
                          <a:pt x="94294" y="468161"/>
                        </a:lnTo>
                        <a:cubicBezTo>
                          <a:pt x="94294" y="468161"/>
                          <a:pt x="161071" y="61151"/>
                          <a:pt x="163974" y="9133"/>
                        </a:cubicBezTo>
                        <a:lnTo>
                          <a:pt x="118" y="0"/>
                        </a:lnTo>
                        <a:cubicBezTo>
                          <a:pt x="-1153" y="212306"/>
                          <a:pt x="8283" y="346887"/>
                          <a:pt x="9130" y="472093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0" name="Freihandform: Form 469">
                    <a:extLst>
                      <a:ext uri="{FF2B5EF4-FFF2-40B4-BE49-F238E27FC236}">
                        <a16:creationId xmlns:a16="http://schemas.microsoft.com/office/drawing/2014/main" id="{FE72CF60-A1B0-EE3F-B517-816372FE89DB}"/>
                      </a:ext>
                    </a:extLst>
                  </p:cNvPr>
                  <p:cNvSpPr/>
                  <p:nvPr/>
                </p:nvSpPr>
                <p:spPr>
                  <a:xfrm>
                    <a:off x="11175143" y="3045397"/>
                    <a:ext cx="163916" cy="163916"/>
                  </a:xfrm>
                  <a:custGeom>
                    <a:avLst/>
                    <a:gdLst>
                      <a:gd name="connsiteX0" fmla="*/ 163917 w 163916"/>
                      <a:gd name="connsiteY0" fmla="*/ 81959 h 163916"/>
                      <a:gd name="connsiteX1" fmla="*/ 81958 w 163916"/>
                      <a:gd name="connsiteY1" fmla="*/ 163917 h 163916"/>
                      <a:gd name="connsiteX2" fmla="*/ 0 w 163916"/>
                      <a:gd name="connsiteY2" fmla="*/ 81958 h 163916"/>
                      <a:gd name="connsiteX3" fmla="*/ 81958 w 163916"/>
                      <a:gd name="connsiteY3" fmla="*/ 0 h 163916"/>
                      <a:gd name="connsiteX4" fmla="*/ 163917 w 163916"/>
                      <a:gd name="connsiteY4" fmla="*/ 81959 h 1639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3916" h="163916">
                        <a:moveTo>
                          <a:pt x="163917" y="81959"/>
                        </a:moveTo>
                        <a:cubicBezTo>
                          <a:pt x="163917" y="127223"/>
                          <a:pt x="127223" y="163917"/>
                          <a:pt x="81958" y="163917"/>
                        </a:cubicBezTo>
                        <a:cubicBezTo>
                          <a:pt x="36694" y="163917"/>
                          <a:pt x="0" y="127223"/>
                          <a:pt x="0" y="81958"/>
                        </a:cubicBezTo>
                        <a:cubicBezTo>
                          <a:pt x="0" y="36694"/>
                          <a:pt x="36694" y="0"/>
                          <a:pt x="81958" y="0"/>
                        </a:cubicBezTo>
                        <a:cubicBezTo>
                          <a:pt x="127222" y="0"/>
                          <a:pt x="163917" y="36694"/>
                          <a:pt x="163917" y="81959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1" name="Freihandform: Form 470">
                    <a:extLst>
                      <a:ext uri="{FF2B5EF4-FFF2-40B4-BE49-F238E27FC236}">
                        <a16:creationId xmlns:a16="http://schemas.microsoft.com/office/drawing/2014/main" id="{91A8B287-6146-339F-A41B-82E471EC7612}"/>
                      </a:ext>
                    </a:extLst>
                  </p:cNvPr>
                  <p:cNvSpPr/>
                  <p:nvPr/>
                </p:nvSpPr>
                <p:spPr>
                  <a:xfrm>
                    <a:off x="11183128" y="3538055"/>
                    <a:ext cx="95265" cy="60002"/>
                  </a:xfrm>
                  <a:custGeom>
                    <a:avLst/>
                    <a:gdLst>
                      <a:gd name="connsiteX0" fmla="*/ 0 w 95265"/>
                      <a:gd name="connsiteY0" fmla="*/ 61 h 60002"/>
                      <a:gd name="connsiteX1" fmla="*/ 968 w 95265"/>
                      <a:gd name="connsiteY1" fmla="*/ 60002 h 60002"/>
                      <a:gd name="connsiteX2" fmla="*/ 86132 w 95265"/>
                      <a:gd name="connsiteY2" fmla="*/ 56070 h 60002"/>
                      <a:gd name="connsiteX3" fmla="*/ 95265 w 95265"/>
                      <a:gd name="connsiteY3" fmla="*/ 0 h 60002"/>
                      <a:gd name="connsiteX4" fmla="*/ 61 w 95265"/>
                      <a:gd name="connsiteY4" fmla="*/ 0 h 600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5265" h="60002">
                        <a:moveTo>
                          <a:pt x="0" y="61"/>
                        </a:moveTo>
                        <a:cubicBezTo>
                          <a:pt x="484" y="20444"/>
                          <a:pt x="847" y="40344"/>
                          <a:pt x="968" y="60002"/>
                        </a:cubicBezTo>
                        <a:lnTo>
                          <a:pt x="86132" y="56070"/>
                        </a:lnTo>
                        <a:cubicBezTo>
                          <a:pt x="86132" y="56070"/>
                          <a:pt x="89700" y="34235"/>
                          <a:pt x="95265" y="0"/>
                        </a:cubicBezTo>
                        <a:lnTo>
                          <a:pt x="61" y="0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20" name="Grafik 297">
                  <a:extLst>
                    <a:ext uri="{FF2B5EF4-FFF2-40B4-BE49-F238E27FC236}">
                      <a16:creationId xmlns:a16="http://schemas.microsoft.com/office/drawing/2014/main" id="{6CD0E612-483E-3B74-C9B2-8C6DA611BA78}"/>
                    </a:ext>
                  </a:extLst>
                </p:cNvPr>
                <p:cNvGrpSpPr/>
                <p:nvPr/>
              </p:nvGrpSpPr>
              <p:grpSpPr>
                <a:xfrm>
                  <a:off x="11138852" y="2513423"/>
                  <a:ext cx="352330" cy="680527"/>
                  <a:chOff x="11138852" y="2513423"/>
                  <a:chExt cx="352330" cy="680527"/>
                </a:xfrm>
              </p:grpSpPr>
              <p:sp>
                <p:nvSpPr>
                  <p:cNvPr id="466" name="Freihandform: Form 465">
                    <a:extLst>
                      <a:ext uri="{FF2B5EF4-FFF2-40B4-BE49-F238E27FC236}">
                        <a16:creationId xmlns:a16="http://schemas.microsoft.com/office/drawing/2014/main" id="{1AD35B41-35EC-ABD6-0078-34420700B4BC}"/>
                      </a:ext>
                    </a:extLst>
                  </p:cNvPr>
                  <p:cNvSpPr/>
                  <p:nvPr/>
                </p:nvSpPr>
                <p:spPr>
                  <a:xfrm>
                    <a:off x="11279482" y="2513423"/>
                    <a:ext cx="211700" cy="211700"/>
                  </a:xfrm>
                  <a:custGeom>
                    <a:avLst/>
                    <a:gdLst>
                      <a:gd name="connsiteX0" fmla="*/ 211701 w 211700"/>
                      <a:gd name="connsiteY0" fmla="*/ 105850 h 211700"/>
                      <a:gd name="connsiteX1" fmla="*/ 105851 w 211700"/>
                      <a:gd name="connsiteY1" fmla="*/ 211701 h 211700"/>
                      <a:gd name="connsiteX2" fmla="*/ 0 w 211700"/>
                      <a:gd name="connsiteY2" fmla="*/ 105850 h 211700"/>
                      <a:gd name="connsiteX3" fmla="*/ 105851 w 211700"/>
                      <a:gd name="connsiteY3" fmla="*/ 0 h 211700"/>
                      <a:gd name="connsiteX4" fmla="*/ 211701 w 211700"/>
                      <a:gd name="connsiteY4" fmla="*/ 105850 h 2117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1700" h="211700">
                        <a:moveTo>
                          <a:pt x="211701" y="105850"/>
                        </a:moveTo>
                        <a:cubicBezTo>
                          <a:pt x="211701" y="164310"/>
                          <a:pt x="164311" y="211701"/>
                          <a:pt x="105851" y="211701"/>
                        </a:cubicBezTo>
                        <a:cubicBezTo>
                          <a:pt x="47391" y="211701"/>
                          <a:pt x="0" y="164310"/>
                          <a:pt x="0" y="105850"/>
                        </a:cubicBezTo>
                        <a:cubicBezTo>
                          <a:pt x="0" y="47391"/>
                          <a:pt x="47391" y="0"/>
                          <a:pt x="105851" y="0"/>
                        </a:cubicBezTo>
                        <a:cubicBezTo>
                          <a:pt x="164311" y="0"/>
                          <a:pt x="211701" y="47391"/>
                          <a:pt x="211701" y="105850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7" name="Freihandform: Form 466">
                    <a:extLst>
                      <a:ext uri="{FF2B5EF4-FFF2-40B4-BE49-F238E27FC236}">
                        <a16:creationId xmlns:a16="http://schemas.microsoft.com/office/drawing/2014/main" id="{55B5DEB9-FECA-55C9-59AE-0F9E5E33F961}"/>
                      </a:ext>
                    </a:extLst>
                  </p:cNvPr>
                  <p:cNvSpPr/>
                  <p:nvPr/>
                </p:nvSpPr>
                <p:spPr>
                  <a:xfrm>
                    <a:off x="11138852" y="2521286"/>
                    <a:ext cx="309748" cy="672604"/>
                  </a:xfrm>
                  <a:custGeom>
                    <a:avLst/>
                    <a:gdLst>
                      <a:gd name="connsiteX0" fmla="*/ 206196 w 309748"/>
                      <a:gd name="connsiteY0" fmla="*/ 61 h 672604"/>
                      <a:gd name="connsiteX1" fmla="*/ 109237 w 309748"/>
                      <a:gd name="connsiteY1" fmla="*/ 151941 h 672604"/>
                      <a:gd name="connsiteX2" fmla="*/ 0 w 309748"/>
                      <a:gd name="connsiteY2" fmla="*/ 649498 h 672604"/>
                      <a:gd name="connsiteX3" fmla="*/ 210551 w 309748"/>
                      <a:gd name="connsiteY3" fmla="*/ 672604 h 672604"/>
                      <a:gd name="connsiteX4" fmla="*/ 309748 w 309748"/>
                      <a:gd name="connsiteY4" fmla="*/ 182668 h 672604"/>
                      <a:gd name="connsiteX5" fmla="*/ 206196 w 309748"/>
                      <a:gd name="connsiteY5" fmla="*/ 0 h 6726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748" h="672604">
                        <a:moveTo>
                          <a:pt x="206196" y="61"/>
                        </a:moveTo>
                        <a:cubicBezTo>
                          <a:pt x="206196" y="61"/>
                          <a:pt x="139541" y="14880"/>
                          <a:pt x="109237" y="151941"/>
                        </a:cubicBezTo>
                        <a:cubicBezTo>
                          <a:pt x="78511" y="290938"/>
                          <a:pt x="0" y="649498"/>
                          <a:pt x="0" y="649498"/>
                        </a:cubicBezTo>
                        <a:lnTo>
                          <a:pt x="210551" y="672604"/>
                        </a:lnTo>
                        <a:lnTo>
                          <a:pt x="309748" y="182668"/>
                        </a:lnTo>
                        <a:lnTo>
                          <a:pt x="206196" y="0"/>
                        </a:ln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8" name="Freihandform: Form 467">
                    <a:extLst>
                      <a:ext uri="{FF2B5EF4-FFF2-40B4-BE49-F238E27FC236}">
                        <a16:creationId xmlns:a16="http://schemas.microsoft.com/office/drawing/2014/main" id="{1E162BFD-CDED-A071-C898-04F9FA4D3BB2}"/>
                      </a:ext>
                    </a:extLst>
                  </p:cNvPr>
                  <p:cNvSpPr/>
                  <p:nvPr/>
                </p:nvSpPr>
                <p:spPr>
                  <a:xfrm>
                    <a:off x="11220790" y="2704014"/>
                    <a:ext cx="227870" cy="489936"/>
                  </a:xfrm>
                  <a:custGeom>
                    <a:avLst/>
                    <a:gdLst>
                      <a:gd name="connsiteX0" fmla="*/ 68853 w 227870"/>
                      <a:gd name="connsiteY0" fmla="*/ 234202 h 489936"/>
                      <a:gd name="connsiteX1" fmla="*/ 46050 w 227870"/>
                      <a:gd name="connsiteY1" fmla="*/ 411426 h 489936"/>
                      <a:gd name="connsiteX2" fmla="*/ 1290 w 227870"/>
                      <a:gd name="connsiteY2" fmla="*/ 475964 h 489936"/>
                      <a:gd name="connsiteX3" fmla="*/ 128674 w 227870"/>
                      <a:gd name="connsiteY3" fmla="*/ 489936 h 489936"/>
                      <a:gd name="connsiteX4" fmla="*/ 227871 w 227870"/>
                      <a:gd name="connsiteY4" fmla="*/ 0 h 489936"/>
                      <a:gd name="connsiteX5" fmla="*/ 68913 w 227870"/>
                      <a:gd name="connsiteY5" fmla="*/ 234202 h 4899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27870" h="489936">
                        <a:moveTo>
                          <a:pt x="68853" y="234202"/>
                        </a:moveTo>
                        <a:cubicBezTo>
                          <a:pt x="96495" y="346403"/>
                          <a:pt x="103996" y="388804"/>
                          <a:pt x="46050" y="411426"/>
                        </a:cubicBezTo>
                        <a:cubicBezTo>
                          <a:pt x="-11896" y="434047"/>
                          <a:pt x="1290" y="475964"/>
                          <a:pt x="1290" y="475964"/>
                        </a:cubicBezTo>
                        <a:lnTo>
                          <a:pt x="128674" y="489936"/>
                        </a:lnTo>
                        <a:lnTo>
                          <a:pt x="227871" y="0"/>
                        </a:lnTo>
                        <a:cubicBezTo>
                          <a:pt x="227871" y="0"/>
                          <a:pt x="43207" y="129742"/>
                          <a:pt x="68913" y="234202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421" name="Freihandform: Form 420">
                  <a:extLst>
                    <a:ext uri="{FF2B5EF4-FFF2-40B4-BE49-F238E27FC236}">
                      <a16:creationId xmlns:a16="http://schemas.microsoft.com/office/drawing/2014/main" id="{07E143CD-05A0-5F74-D2E1-34D7A5396F3A}"/>
                    </a:ext>
                  </a:extLst>
                </p:cNvPr>
                <p:cNvSpPr/>
                <p:nvPr/>
              </p:nvSpPr>
              <p:spPr>
                <a:xfrm>
                  <a:off x="11592799" y="2187522"/>
                  <a:ext cx="184482" cy="347094"/>
                </a:xfrm>
                <a:custGeom>
                  <a:avLst/>
                  <a:gdLst>
                    <a:gd name="connsiteX0" fmla="*/ 0 w 184482"/>
                    <a:gd name="connsiteY0" fmla="*/ 298440 h 347094"/>
                    <a:gd name="connsiteX1" fmla="*/ 184482 w 184482"/>
                    <a:gd name="connsiteY1" fmla="*/ 298440 h 347094"/>
                    <a:gd name="connsiteX2" fmla="*/ 184482 w 184482"/>
                    <a:gd name="connsiteY2" fmla="*/ 60307 h 347094"/>
                    <a:gd name="connsiteX3" fmla="*/ 0 w 184482"/>
                    <a:gd name="connsiteY3" fmla="*/ 60307 h 347094"/>
                    <a:gd name="connsiteX4" fmla="*/ 0 w 184482"/>
                    <a:gd name="connsiteY4" fmla="*/ 298440 h 3470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4482" h="347094">
                      <a:moveTo>
                        <a:pt x="0" y="298440"/>
                      </a:moveTo>
                      <a:cubicBezTo>
                        <a:pt x="32058" y="362858"/>
                        <a:pt x="146739" y="363765"/>
                        <a:pt x="184482" y="298440"/>
                      </a:cubicBezTo>
                      <a:lnTo>
                        <a:pt x="184482" y="60307"/>
                      </a:lnTo>
                      <a:cubicBezTo>
                        <a:pt x="151820" y="-29091"/>
                        <a:pt x="13488" y="-10583"/>
                        <a:pt x="0" y="60307"/>
                      </a:cubicBezTo>
                      <a:lnTo>
                        <a:pt x="0" y="298440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2" name="Freihandform: Form 421">
                  <a:extLst>
                    <a:ext uri="{FF2B5EF4-FFF2-40B4-BE49-F238E27FC236}">
                      <a16:creationId xmlns:a16="http://schemas.microsoft.com/office/drawing/2014/main" id="{FA59B36F-8C94-F193-5215-8D427E728501}"/>
                    </a:ext>
                  </a:extLst>
                </p:cNvPr>
                <p:cNvSpPr/>
                <p:nvPr/>
              </p:nvSpPr>
              <p:spPr>
                <a:xfrm>
                  <a:off x="11592799" y="2187522"/>
                  <a:ext cx="184482" cy="345619"/>
                </a:xfrm>
                <a:custGeom>
                  <a:avLst/>
                  <a:gdLst>
                    <a:gd name="connsiteX0" fmla="*/ 184482 w 184482"/>
                    <a:gd name="connsiteY0" fmla="*/ 60307 h 345619"/>
                    <a:gd name="connsiteX1" fmla="*/ 0 w 184482"/>
                    <a:gd name="connsiteY1" fmla="*/ 60307 h 345619"/>
                    <a:gd name="connsiteX2" fmla="*/ 0 w 184482"/>
                    <a:gd name="connsiteY2" fmla="*/ 298440 h 345619"/>
                    <a:gd name="connsiteX3" fmla="*/ 0 w 184482"/>
                    <a:gd name="connsiteY3" fmla="*/ 298440 h 345619"/>
                    <a:gd name="connsiteX4" fmla="*/ 5141 w 184482"/>
                    <a:gd name="connsiteY4" fmla="*/ 307090 h 345619"/>
                    <a:gd name="connsiteX5" fmla="*/ 6109 w 184482"/>
                    <a:gd name="connsiteY5" fmla="*/ 308541 h 345619"/>
                    <a:gd name="connsiteX6" fmla="*/ 12097 w 184482"/>
                    <a:gd name="connsiteY6" fmla="*/ 315981 h 345619"/>
                    <a:gd name="connsiteX7" fmla="*/ 13247 w 184482"/>
                    <a:gd name="connsiteY7" fmla="*/ 317191 h 345619"/>
                    <a:gd name="connsiteX8" fmla="*/ 28852 w 184482"/>
                    <a:gd name="connsiteY8" fmla="*/ 330014 h 345619"/>
                    <a:gd name="connsiteX9" fmla="*/ 29759 w 184482"/>
                    <a:gd name="connsiteY9" fmla="*/ 330619 h 345619"/>
                    <a:gd name="connsiteX10" fmla="*/ 38832 w 184482"/>
                    <a:gd name="connsiteY10" fmla="*/ 335639 h 345619"/>
                    <a:gd name="connsiteX11" fmla="*/ 39498 w 184482"/>
                    <a:gd name="connsiteY11" fmla="*/ 335941 h 345619"/>
                    <a:gd name="connsiteX12" fmla="*/ 60304 w 184482"/>
                    <a:gd name="connsiteY12" fmla="*/ 343381 h 345619"/>
                    <a:gd name="connsiteX13" fmla="*/ 60365 w 184482"/>
                    <a:gd name="connsiteY13" fmla="*/ 343381 h 345619"/>
                    <a:gd name="connsiteX14" fmla="*/ 71615 w 184482"/>
                    <a:gd name="connsiteY14" fmla="*/ 345619 h 345619"/>
                    <a:gd name="connsiteX15" fmla="*/ 71615 w 184482"/>
                    <a:gd name="connsiteY15" fmla="*/ 345619 h 345619"/>
                    <a:gd name="connsiteX16" fmla="*/ 41010 w 184482"/>
                    <a:gd name="connsiteY16" fmla="*/ 255556 h 345619"/>
                    <a:gd name="connsiteX17" fmla="*/ 91273 w 184482"/>
                    <a:gd name="connsiteY17" fmla="*/ 220474 h 345619"/>
                    <a:gd name="connsiteX18" fmla="*/ 184422 w 184482"/>
                    <a:gd name="connsiteY18" fmla="*/ 110329 h 345619"/>
                    <a:gd name="connsiteX19" fmla="*/ 184422 w 184482"/>
                    <a:gd name="connsiteY19" fmla="*/ 60246 h 3456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84482" h="345619">
                      <a:moveTo>
                        <a:pt x="184482" y="60307"/>
                      </a:moveTo>
                      <a:cubicBezTo>
                        <a:pt x="151820" y="-29091"/>
                        <a:pt x="13488" y="-10583"/>
                        <a:pt x="0" y="60307"/>
                      </a:cubicBezTo>
                      <a:lnTo>
                        <a:pt x="0" y="298440"/>
                      </a:lnTo>
                      <a:cubicBezTo>
                        <a:pt x="0" y="298440"/>
                        <a:pt x="0" y="298440"/>
                        <a:pt x="0" y="298440"/>
                      </a:cubicBezTo>
                      <a:cubicBezTo>
                        <a:pt x="1512" y="301465"/>
                        <a:pt x="3266" y="304307"/>
                        <a:pt x="5141" y="307090"/>
                      </a:cubicBezTo>
                      <a:cubicBezTo>
                        <a:pt x="5444" y="307574"/>
                        <a:pt x="5806" y="308057"/>
                        <a:pt x="6109" y="308541"/>
                      </a:cubicBezTo>
                      <a:cubicBezTo>
                        <a:pt x="7985" y="311142"/>
                        <a:pt x="9980" y="313622"/>
                        <a:pt x="12097" y="315981"/>
                      </a:cubicBezTo>
                      <a:cubicBezTo>
                        <a:pt x="12460" y="316405"/>
                        <a:pt x="12823" y="316767"/>
                        <a:pt x="13247" y="317191"/>
                      </a:cubicBezTo>
                      <a:cubicBezTo>
                        <a:pt x="17904" y="322030"/>
                        <a:pt x="23106" y="326324"/>
                        <a:pt x="28852" y="330014"/>
                      </a:cubicBezTo>
                      <a:cubicBezTo>
                        <a:pt x="29155" y="330195"/>
                        <a:pt x="29457" y="330437"/>
                        <a:pt x="29759" y="330619"/>
                      </a:cubicBezTo>
                      <a:cubicBezTo>
                        <a:pt x="32663" y="332433"/>
                        <a:pt x="35687" y="334127"/>
                        <a:pt x="38832" y="335639"/>
                      </a:cubicBezTo>
                      <a:cubicBezTo>
                        <a:pt x="39074" y="335760"/>
                        <a:pt x="39316" y="335881"/>
                        <a:pt x="39498" y="335941"/>
                      </a:cubicBezTo>
                      <a:cubicBezTo>
                        <a:pt x="46090" y="339087"/>
                        <a:pt x="53046" y="341567"/>
                        <a:pt x="60304" y="343381"/>
                      </a:cubicBezTo>
                      <a:cubicBezTo>
                        <a:pt x="60304" y="343381"/>
                        <a:pt x="60304" y="343381"/>
                        <a:pt x="60365" y="343381"/>
                      </a:cubicBezTo>
                      <a:cubicBezTo>
                        <a:pt x="64054" y="344289"/>
                        <a:pt x="67805" y="345075"/>
                        <a:pt x="71615" y="345619"/>
                      </a:cubicBezTo>
                      <a:cubicBezTo>
                        <a:pt x="71615" y="345619"/>
                        <a:pt x="71615" y="345619"/>
                        <a:pt x="71615" y="345619"/>
                      </a:cubicBezTo>
                      <a:cubicBezTo>
                        <a:pt x="58066" y="324328"/>
                        <a:pt x="40707" y="295779"/>
                        <a:pt x="41010" y="255556"/>
                      </a:cubicBezTo>
                      <a:cubicBezTo>
                        <a:pt x="41191" y="236079"/>
                        <a:pt x="55345" y="222349"/>
                        <a:pt x="91273" y="220474"/>
                      </a:cubicBezTo>
                      <a:cubicBezTo>
                        <a:pt x="151397" y="217389"/>
                        <a:pt x="179038" y="128535"/>
                        <a:pt x="184422" y="110329"/>
                      </a:cubicBezTo>
                      <a:lnTo>
                        <a:pt x="184422" y="60246"/>
                      </a:ln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3" name="Freihandform: Form 422">
                  <a:extLst>
                    <a:ext uri="{FF2B5EF4-FFF2-40B4-BE49-F238E27FC236}">
                      <a16:creationId xmlns:a16="http://schemas.microsoft.com/office/drawing/2014/main" id="{245897CB-0FD8-09A7-EB6F-67164128DC70}"/>
                    </a:ext>
                  </a:extLst>
                </p:cNvPr>
                <p:cNvSpPr/>
                <p:nvPr/>
              </p:nvSpPr>
              <p:spPr>
                <a:xfrm>
                  <a:off x="11554257" y="2045063"/>
                  <a:ext cx="261685" cy="343154"/>
                </a:xfrm>
                <a:custGeom>
                  <a:avLst/>
                  <a:gdLst>
                    <a:gd name="connsiteX0" fmla="*/ 260888 w 261685"/>
                    <a:gd name="connsiteY0" fmla="*/ 115908 h 343154"/>
                    <a:gd name="connsiteX1" fmla="*/ 226713 w 261685"/>
                    <a:gd name="connsiteY1" fmla="*/ 30200 h 343154"/>
                    <a:gd name="connsiteX2" fmla="*/ 130843 w 261685"/>
                    <a:gd name="connsiteY2" fmla="*/ 17 h 343154"/>
                    <a:gd name="connsiteX3" fmla="*/ 34973 w 261685"/>
                    <a:gd name="connsiteY3" fmla="*/ 30200 h 343154"/>
                    <a:gd name="connsiteX4" fmla="*/ 798 w 261685"/>
                    <a:gd name="connsiteY4" fmla="*/ 115908 h 343154"/>
                    <a:gd name="connsiteX5" fmla="*/ 1342 w 261685"/>
                    <a:gd name="connsiteY5" fmla="*/ 197806 h 343154"/>
                    <a:gd name="connsiteX6" fmla="*/ 40235 w 261685"/>
                    <a:gd name="connsiteY6" fmla="*/ 289080 h 343154"/>
                    <a:gd name="connsiteX7" fmla="*/ 130843 w 261685"/>
                    <a:gd name="connsiteY7" fmla="*/ 343154 h 343154"/>
                    <a:gd name="connsiteX8" fmla="*/ 221451 w 261685"/>
                    <a:gd name="connsiteY8" fmla="*/ 289080 h 343154"/>
                    <a:gd name="connsiteX9" fmla="*/ 260344 w 261685"/>
                    <a:gd name="connsiteY9" fmla="*/ 197806 h 343154"/>
                    <a:gd name="connsiteX10" fmla="*/ 260888 w 261685"/>
                    <a:gd name="connsiteY10" fmla="*/ 115908 h 343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61685" h="343154">
                      <a:moveTo>
                        <a:pt x="260888" y="115908"/>
                      </a:moveTo>
                      <a:cubicBezTo>
                        <a:pt x="260888" y="115908"/>
                        <a:pt x="257803" y="64798"/>
                        <a:pt x="226713" y="30200"/>
                      </a:cubicBezTo>
                      <a:cubicBezTo>
                        <a:pt x="201067" y="1711"/>
                        <a:pt x="148566" y="-225"/>
                        <a:pt x="130843" y="17"/>
                      </a:cubicBezTo>
                      <a:cubicBezTo>
                        <a:pt x="113120" y="-164"/>
                        <a:pt x="60558" y="1711"/>
                        <a:pt x="34973" y="30200"/>
                      </a:cubicBezTo>
                      <a:cubicBezTo>
                        <a:pt x="3883" y="64798"/>
                        <a:pt x="798" y="115908"/>
                        <a:pt x="798" y="115908"/>
                      </a:cubicBezTo>
                      <a:cubicBezTo>
                        <a:pt x="798" y="115908"/>
                        <a:pt x="-1319" y="174943"/>
                        <a:pt x="1342" y="197806"/>
                      </a:cubicBezTo>
                      <a:cubicBezTo>
                        <a:pt x="4004" y="220610"/>
                        <a:pt x="1221" y="251941"/>
                        <a:pt x="40235" y="289080"/>
                      </a:cubicBezTo>
                      <a:cubicBezTo>
                        <a:pt x="78341" y="325371"/>
                        <a:pt x="104411" y="342307"/>
                        <a:pt x="130843" y="343154"/>
                      </a:cubicBezTo>
                      <a:cubicBezTo>
                        <a:pt x="157275" y="342368"/>
                        <a:pt x="183345" y="325371"/>
                        <a:pt x="221451" y="289080"/>
                      </a:cubicBezTo>
                      <a:cubicBezTo>
                        <a:pt x="260465" y="251881"/>
                        <a:pt x="257742" y="220610"/>
                        <a:pt x="260344" y="197806"/>
                      </a:cubicBezTo>
                      <a:cubicBezTo>
                        <a:pt x="263005" y="175003"/>
                        <a:pt x="260888" y="115908"/>
                        <a:pt x="260888" y="115908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4" name="Freihandform: Form 423">
                  <a:extLst>
                    <a:ext uri="{FF2B5EF4-FFF2-40B4-BE49-F238E27FC236}">
                      <a16:creationId xmlns:a16="http://schemas.microsoft.com/office/drawing/2014/main" id="{F7AF7D23-C810-A4A7-055C-1CA2C9186128}"/>
                    </a:ext>
                  </a:extLst>
                </p:cNvPr>
                <p:cNvSpPr/>
                <p:nvPr/>
              </p:nvSpPr>
              <p:spPr>
                <a:xfrm rot="-3871802">
                  <a:off x="11747236" y="2163336"/>
                  <a:ext cx="128714" cy="86011"/>
                </a:xfrm>
                <a:custGeom>
                  <a:avLst/>
                  <a:gdLst>
                    <a:gd name="connsiteX0" fmla="*/ 128714 w 128714"/>
                    <a:gd name="connsiteY0" fmla="*/ 43006 h 86011"/>
                    <a:gd name="connsiteX1" fmla="*/ 64357 w 128714"/>
                    <a:gd name="connsiteY1" fmla="*/ 86011 h 86011"/>
                    <a:gd name="connsiteX2" fmla="*/ 0 w 128714"/>
                    <a:gd name="connsiteY2" fmla="*/ 43006 h 86011"/>
                    <a:gd name="connsiteX3" fmla="*/ 64357 w 128714"/>
                    <a:gd name="connsiteY3" fmla="*/ 0 h 86011"/>
                    <a:gd name="connsiteX4" fmla="*/ 128714 w 128714"/>
                    <a:gd name="connsiteY4" fmla="*/ 43006 h 860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8714" h="86011">
                      <a:moveTo>
                        <a:pt x="128714" y="43006"/>
                      </a:moveTo>
                      <a:cubicBezTo>
                        <a:pt x="128714" y="66757"/>
                        <a:pt x="99900" y="86011"/>
                        <a:pt x="64357" y="86011"/>
                      </a:cubicBezTo>
                      <a:cubicBezTo>
                        <a:pt x="28813" y="86011"/>
                        <a:pt x="0" y="66757"/>
                        <a:pt x="0" y="43006"/>
                      </a:cubicBezTo>
                      <a:cubicBezTo>
                        <a:pt x="0" y="19254"/>
                        <a:pt x="28813" y="0"/>
                        <a:pt x="64357" y="0"/>
                      </a:cubicBezTo>
                      <a:cubicBezTo>
                        <a:pt x="99900" y="0"/>
                        <a:pt x="128714" y="19254"/>
                        <a:pt x="128714" y="43006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5" name="Freihandform: Form 424">
                  <a:extLst>
                    <a:ext uri="{FF2B5EF4-FFF2-40B4-BE49-F238E27FC236}">
                      <a16:creationId xmlns:a16="http://schemas.microsoft.com/office/drawing/2014/main" id="{D7A1615C-A0C6-8E09-6F90-38103B099CA5}"/>
                    </a:ext>
                  </a:extLst>
                </p:cNvPr>
                <p:cNvSpPr/>
                <p:nvPr/>
              </p:nvSpPr>
              <p:spPr>
                <a:xfrm rot="-1168199">
                  <a:off x="11511939" y="2141862"/>
                  <a:ext cx="86252" cy="128230"/>
                </a:xfrm>
                <a:custGeom>
                  <a:avLst/>
                  <a:gdLst>
                    <a:gd name="connsiteX0" fmla="*/ 86253 w 86252"/>
                    <a:gd name="connsiteY0" fmla="*/ 64115 h 128230"/>
                    <a:gd name="connsiteX1" fmla="*/ 43127 w 86252"/>
                    <a:gd name="connsiteY1" fmla="*/ 128230 h 128230"/>
                    <a:gd name="connsiteX2" fmla="*/ 0 w 86252"/>
                    <a:gd name="connsiteY2" fmla="*/ 64115 h 128230"/>
                    <a:gd name="connsiteX3" fmla="*/ 43127 w 86252"/>
                    <a:gd name="connsiteY3" fmla="*/ 0 h 128230"/>
                    <a:gd name="connsiteX4" fmla="*/ 86253 w 86252"/>
                    <a:gd name="connsiteY4" fmla="*/ 64115 h 128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6252" h="128230">
                      <a:moveTo>
                        <a:pt x="86253" y="64115"/>
                      </a:moveTo>
                      <a:cubicBezTo>
                        <a:pt x="86253" y="99525"/>
                        <a:pt x="66944" y="128230"/>
                        <a:pt x="43127" y="128230"/>
                      </a:cubicBezTo>
                      <a:cubicBezTo>
                        <a:pt x="19309" y="128230"/>
                        <a:pt x="0" y="99525"/>
                        <a:pt x="0" y="64115"/>
                      </a:cubicBezTo>
                      <a:cubicBezTo>
                        <a:pt x="0" y="28705"/>
                        <a:pt x="19309" y="0"/>
                        <a:pt x="43127" y="0"/>
                      </a:cubicBezTo>
                      <a:cubicBezTo>
                        <a:pt x="66944" y="0"/>
                        <a:pt x="86253" y="28705"/>
                        <a:pt x="86253" y="64115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6" name="Freihandform: Form 425">
                  <a:extLst>
                    <a:ext uri="{FF2B5EF4-FFF2-40B4-BE49-F238E27FC236}">
                      <a16:creationId xmlns:a16="http://schemas.microsoft.com/office/drawing/2014/main" id="{2842904A-1931-709C-6B3F-CDED6B3E55B4}"/>
                    </a:ext>
                  </a:extLst>
                </p:cNvPr>
                <p:cNvSpPr/>
                <p:nvPr/>
              </p:nvSpPr>
              <p:spPr>
                <a:xfrm>
                  <a:off x="11518704" y="1942617"/>
                  <a:ext cx="332793" cy="347915"/>
                </a:xfrm>
                <a:custGeom>
                  <a:avLst/>
                  <a:gdLst>
                    <a:gd name="connsiteX0" fmla="*/ 332794 w 332793"/>
                    <a:gd name="connsiteY0" fmla="*/ 173958 h 347915"/>
                    <a:gd name="connsiteX1" fmla="*/ 166397 w 332793"/>
                    <a:gd name="connsiteY1" fmla="*/ 347915 h 347915"/>
                    <a:gd name="connsiteX2" fmla="*/ 0 w 332793"/>
                    <a:gd name="connsiteY2" fmla="*/ 173958 h 347915"/>
                    <a:gd name="connsiteX3" fmla="*/ 166397 w 332793"/>
                    <a:gd name="connsiteY3" fmla="*/ 0 h 347915"/>
                    <a:gd name="connsiteX4" fmla="*/ 332794 w 332793"/>
                    <a:gd name="connsiteY4" fmla="*/ 173958 h 347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793" h="347915">
                      <a:moveTo>
                        <a:pt x="332794" y="173958"/>
                      </a:moveTo>
                      <a:cubicBezTo>
                        <a:pt x="332794" y="270032"/>
                        <a:pt x="258295" y="347915"/>
                        <a:pt x="166397" y="347915"/>
                      </a:cubicBezTo>
                      <a:cubicBezTo>
                        <a:pt x="74498" y="347915"/>
                        <a:pt x="0" y="270032"/>
                        <a:pt x="0" y="173958"/>
                      </a:cubicBezTo>
                      <a:cubicBezTo>
                        <a:pt x="0" y="77883"/>
                        <a:pt x="74498" y="0"/>
                        <a:pt x="166397" y="0"/>
                      </a:cubicBezTo>
                      <a:cubicBezTo>
                        <a:pt x="258295" y="0"/>
                        <a:pt x="332794" y="77883"/>
                        <a:pt x="332794" y="173958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7" name="Freihandform: Form 426">
                  <a:extLst>
                    <a:ext uri="{FF2B5EF4-FFF2-40B4-BE49-F238E27FC236}">
                      <a16:creationId xmlns:a16="http://schemas.microsoft.com/office/drawing/2014/main" id="{47CC4084-15C7-B9E6-5EB4-7F29779A6217}"/>
                    </a:ext>
                  </a:extLst>
                </p:cNvPr>
                <p:cNvSpPr/>
                <p:nvPr/>
              </p:nvSpPr>
              <p:spPr>
                <a:xfrm>
                  <a:off x="11511370" y="1945641"/>
                  <a:ext cx="328272" cy="250230"/>
                </a:xfrm>
                <a:custGeom>
                  <a:avLst/>
                  <a:gdLst>
                    <a:gd name="connsiteX0" fmla="*/ 165625 w 328272"/>
                    <a:gd name="connsiteY0" fmla="*/ 78874 h 250230"/>
                    <a:gd name="connsiteX1" fmla="*/ 304198 w 328272"/>
                    <a:gd name="connsiteY1" fmla="*/ 250230 h 250230"/>
                    <a:gd name="connsiteX2" fmla="*/ 328272 w 328272"/>
                    <a:gd name="connsiteY2" fmla="*/ 173958 h 250230"/>
                    <a:gd name="connsiteX3" fmla="*/ 164839 w 328272"/>
                    <a:gd name="connsiteY3" fmla="*/ 0 h 250230"/>
                    <a:gd name="connsiteX4" fmla="*/ 54331 w 328272"/>
                    <a:gd name="connsiteY4" fmla="*/ 45788 h 250230"/>
                    <a:gd name="connsiteX5" fmla="*/ 20277 w 328272"/>
                    <a:gd name="connsiteY5" fmla="*/ 236561 h 250230"/>
                    <a:gd name="connsiteX6" fmla="*/ 165625 w 328272"/>
                    <a:gd name="connsiteY6" fmla="*/ 78874 h 250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8272" h="250230">
                      <a:moveTo>
                        <a:pt x="165625" y="78874"/>
                      </a:moveTo>
                      <a:cubicBezTo>
                        <a:pt x="284057" y="86374"/>
                        <a:pt x="269540" y="183756"/>
                        <a:pt x="304198" y="250230"/>
                      </a:cubicBezTo>
                      <a:cubicBezTo>
                        <a:pt x="310731" y="231419"/>
                        <a:pt x="328272" y="195188"/>
                        <a:pt x="328272" y="173958"/>
                      </a:cubicBezTo>
                      <a:cubicBezTo>
                        <a:pt x="328272" y="77845"/>
                        <a:pt x="255083" y="0"/>
                        <a:pt x="164839" y="0"/>
                      </a:cubicBezTo>
                      <a:cubicBezTo>
                        <a:pt x="122257" y="0"/>
                        <a:pt x="83424" y="17359"/>
                        <a:pt x="54331" y="45788"/>
                      </a:cubicBezTo>
                      <a:cubicBezTo>
                        <a:pt x="10841" y="66958"/>
                        <a:pt x="-23454" y="158655"/>
                        <a:pt x="20277" y="236561"/>
                      </a:cubicBezTo>
                      <a:cubicBezTo>
                        <a:pt x="62860" y="195007"/>
                        <a:pt x="58988" y="72160"/>
                        <a:pt x="165625" y="78874"/>
                      </a:cubicBezTo>
                      <a:close/>
                    </a:path>
                  </a:pathLst>
                </a:custGeom>
                <a:solidFill>
                  <a:srgbClr val="C09066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8" name="Freihandform: Form 427">
                  <a:extLst>
                    <a:ext uri="{FF2B5EF4-FFF2-40B4-BE49-F238E27FC236}">
                      <a16:creationId xmlns:a16="http://schemas.microsoft.com/office/drawing/2014/main" id="{11DB289C-2F40-CF08-DD20-137761ADA0ED}"/>
                    </a:ext>
                  </a:extLst>
                </p:cNvPr>
                <p:cNvSpPr/>
                <p:nvPr/>
              </p:nvSpPr>
              <p:spPr>
                <a:xfrm>
                  <a:off x="11653285" y="2232163"/>
                  <a:ext cx="48738" cy="19839"/>
                </a:xfrm>
                <a:custGeom>
                  <a:avLst/>
                  <a:gdLst>
                    <a:gd name="connsiteX0" fmla="*/ 665 w 48738"/>
                    <a:gd name="connsiteY0" fmla="*/ 0 h 19839"/>
                    <a:gd name="connsiteX1" fmla="*/ 22138 w 48738"/>
                    <a:gd name="connsiteY1" fmla="*/ 6532 h 19839"/>
                    <a:gd name="connsiteX2" fmla="*/ 48147 w 48738"/>
                    <a:gd name="connsiteY2" fmla="*/ 0 h 19839"/>
                    <a:gd name="connsiteX3" fmla="*/ 48147 w 48738"/>
                    <a:gd name="connsiteY3" fmla="*/ 5686 h 19839"/>
                    <a:gd name="connsiteX4" fmla="*/ 22985 w 48738"/>
                    <a:gd name="connsiteY4" fmla="*/ 19839 h 19839"/>
                    <a:gd name="connsiteX5" fmla="*/ 726 w 48738"/>
                    <a:gd name="connsiteY5" fmla="*/ 6291 h 19839"/>
                    <a:gd name="connsiteX6" fmla="*/ 726 w 48738"/>
                    <a:gd name="connsiteY6" fmla="*/ 0 h 198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8738" h="19839">
                      <a:moveTo>
                        <a:pt x="665" y="0"/>
                      </a:moveTo>
                      <a:cubicBezTo>
                        <a:pt x="665" y="0"/>
                        <a:pt x="6835" y="6532"/>
                        <a:pt x="22138" y="6532"/>
                      </a:cubicBezTo>
                      <a:cubicBezTo>
                        <a:pt x="41493" y="6532"/>
                        <a:pt x="48147" y="0"/>
                        <a:pt x="48147" y="0"/>
                      </a:cubicBezTo>
                      <a:cubicBezTo>
                        <a:pt x="48147" y="0"/>
                        <a:pt x="49478" y="1936"/>
                        <a:pt x="48147" y="5686"/>
                      </a:cubicBezTo>
                      <a:cubicBezTo>
                        <a:pt x="47179" y="8347"/>
                        <a:pt x="38772" y="19839"/>
                        <a:pt x="22985" y="19839"/>
                      </a:cubicBezTo>
                      <a:cubicBezTo>
                        <a:pt x="10646" y="19839"/>
                        <a:pt x="2359" y="10162"/>
                        <a:pt x="726" y="6291"/>
                      </a:cubicBezTo>
                      <a:cubicBezTo>
                        <a:pt x="-907" y="2419"/>
                        <a:pt x="726" y="0"/>
                        <a:pt x="726" y="0"/>
                      </a:cubicBez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9" name="Freihandform: Form 428">
                  <a:extLst>
                    <a:ext uri="{FF2B5EF4-FFF2-40B4-BE49-F238E27FC236}">
                      <a16:creationId xmlns:a16="http://schemas.microsoft.com/office/drawing/2014/main" id="{D62FC733-9ADD-EB8A-895E-3250D3D17CB8}"/>
                    </a:ext>
                  </a:extLst>
                </p:cNvPr>
                <p:cNvSpPr/>
                <p:nvPr/>
              </p:nvSpPr>
              <p:spPr>
                <a:xfrm>
                  <a:off x="11697217" y="2129414"/>
                  <a:ext cx="86717" cy="29137"/>
                </a:xfrm>
                <a:custGeom>
                  <a:avLst/>
                  <a:gdLst>
                    <a:gd name="connsiteX0" fmla="*/ 67725 w 86717"/>
                    <a:gd name="connsiteY0" fmla="*/ 10931 h 29137"/>
                    <a:gd name="connsiteX1" fmla="*/ 34518 w 86717"/>
                    <a:gd name="connsiteY1" fmla="*/ 467 h 29137"/>
                    <a:gd name="connsiteX2" fmla="*/ 34518 w 86717"/>
                    <a:gd name="connsiteY2" fmla="*/ 467 h 29137"/>
                    <a:gd name="connsiteX3" fmla="*/ 4760 w 86717"/>
                    <a:gd name="connsiteY3" fmla="*/ 3854 h 29137"/>
                    <a:gd name="connsiteX4" fmla="*/ 2643 w 86717"/>
                    <a:gd name="connsiteY4" fmla="*/ 5487 h 29137"/>
                    <a:gd name="connsiteX5" fmla="*/ 8631 w 86717"/>
                    <a:gd name="connsiteY5" fmla="*/ 20609 h 29137"/>
                    <a:gd name="connsiteX6" fmla="*/ 25567 w 86717"/>
                    <a:gd name="connsiteY6" fmla="*/ 19036 h 29137"/>
                    <a:gd name="connsiteX7" fmla="*/ 65306 w 86717"/>
                    <a:gd name="connsiteY7" fmla="*/ 21335 h 29137"/>
                    <a:gd name="connsiteX8" fmla="*/ 86718 w 86717"/>
                    <a:gd name="connsiteY8" fmla="*/ 29137 h 29137"/>
                    <a:gd name="connsiteX9" fmla="*/ 67665 w 86717"/>
                    <a:gd name="connsiteY9" fmla="*/ 10991 h 29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6717" h="29137">
                      <a:moveTo>
                        <a:pt x="67725" y="10931"/>
                      </a:moveTo>
                      <a:cubicBezTo>
                        <a:pt x="56233" y="3612"/>
                        <a:pt x="43773" y="830"/>
                        <a:pt x="34518" y="467"/>
                      </a:cubicBezTo>
                      <a:lnTo>
                        <a:pt x="34518" y="467"/>
                      </a:lnTo>
                      <a:cubicBezTo>
                        <a:pt x="18671" y="-1106"/>
                        <a:pt x="8207" y="1616"/>
                        <a:pt x="4760" y="3854"/>
                      </a:cubicBezTo>
                      <a:cubicBezTo>
                        <a:pt x="3973" y="4399"/>
                        <a:pt x="3248" y="4943"/>
                        <a:pt x="2643" y="5487"/>
                      </a:cubicBezTo>
                      <a:cubicBezTo>
                        <a:pt x="-2983" y="10871"/>
                        <a:pt x="1010" y="20790"/>
                        <a:pt x="8631" y="20609"/>
                      </a:cubicBezTo>
                      <a:cubicBezTo>
                        <a:pt x="12139" y="20548"/>
                        <a:pt x="20668" y="19580"/>
                        <a:pt x="25567" y="19036"/>
                      </a:cubicBezTo>
                      <a:cubicBezTo>
                        <a:pt x="34095" y="18129"/>
                        <a:pt x="58350" y="19399"/>
                        <a:pt x="65306" y="21335"/>
                      </a:cubicBezTo>
                      <a:cubicBezTo>
                        <a:pt x="78916" y="25024"/>
                        <a:pt x="86718" y="29137"/>
                        <a:pt x="86718" y="29137"/>
                      </a:cubicBezTo>
                      <a:cubicBezTo>
                        <a:pt x="86718" y="29137"/>
                        <a:pt x="83028" y="20790"/>
                        <a:pt x="67665" y="10991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0" name="Freihandform: Form 429">
                  <a:extLst>
                    <a:ext uri="{FF2B5EF4-FFF2-40B4-BE49-F238E27FC236}">
                      <a16:creationId xmlns:a16="http://schemas.microsoft.com/office/drawing/2014/main" id="{8ACAC81A-C909-2C02-CA2A-5CAC3C99FB83}"/>
                    </a:ext>
                  </a:extLst>
                </p:cNvPr>
                <p:cNvSpPr/>
                <p:nvPr/>
              </p:nvSpPr>
              <p:spPr>
                <a:xfrm>
                  <a:off x="11633687" y="2269845"/>
                  <a:ext cx="95568" cy="44941"/>
                </a:xfrm>
                <a:custGeom>
                  <a:avLst/>
                  <a:gdLst>
                    <a:gd name="connsiteX0" fmla="*/ 0 w 95568"/>
                    <a:gd name="connsiteY0" fmla="*/ 4961 h 44941"/>
                    <a:gd name="connsiteX1" fmla="*/ 36170 w 95568"/>
                    <a:gd name="connsiteY1" fmla="*/ 545 h 44941"/>
                    <a:gd name="connsiteX2" fmla="*/ 45607 w 95568"/>
                    <a:gd name="connsiteY2" fmla="*/ 3630 h 44941"/>
                    <a:gd name="connsiteX3" fmla="*/ 54498 w 95568"/>
                    <a:gd name="connsiteY3" fmla="*/ 1 h 44941"/>
                    <a:gd name="connsiteX4" fmla="*/ 95568 w 95568"/>
                    <a:gd name="connsiteY4" fmla="*/ 5263 h 44941"/>
                    <a:gd name="connsiteX5" fmla="*/ 44396 w 95568"/>
                    <a:gd name="connsiteY5" fmla="*/ 44942 h 44941"/>
                    <a:gd name="connsiteX6" fmla="*/ 61 w 95568"/>
                    <a:gd name="connsiteY6" fmla="*/ 4900 h 449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5568" h="44941">
                      <a:moveTo>
                        <a:pt x="0" y="4961"/>
                      </a:moveTo>
                      <a:cubicBezTo>
                        <a:pt x="0" y="4961"/>
                        <a:pt x="12339" y="2602"/>
                        <a:pt x="36170" y="545"/>
                      </a:cubicBezTo>
                      <a:cubicBezTo>
                        <a:pt x="38046" y="364"/>
                        <a:pt x="40163" y="3811"/>
                        <a:pt x="45607" y="3630"/>
                      </a:cubicBezTo>
                      <a:cubicBezTo>
                        <a:pt x="52139" y="3448"/>
                        <a:pt x="52381" y="-60"/>
                        <a:pt x="54498" y="1"/>
                      </a:cubicBezTo>
                      <a:cubicBezTo>
                        <a:pt x="80144" y="908"/>
                        <a:pt x="95568" y="5263"/>
                        <a:pt x="95568" y="5263"/>
                      </a:cubicBezTo>
                      <a:cubicBezTo>
                        <a:pt x="95568" y="5263"/>
                        <a:pt x="82865" y="44942"/>
                        <a:pt x="44396" y="44942"/>
                      </a:cubicBezTo>
                      <a:cubicBezTo>
                        <a:pt x="9799" y="44942"/>
                        <a:pt x="61" y="4900"/>
                        <a:pt x="61" y="4900"/>
                      </a:cubicBez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1" name="Freihandform: Form 430">
                  <a:extLst>
                    <a:ext uri="{FF2B5EF4-FFF2-40B4-BE49-F238E27FC236}">
                      <a16:creationId xmlns:a16="http://schemas.microsoft.com/office/drawing/2014/main" id="{FCB2066D-1F53-8F65-0871-64C8D203F859}"/>
                    </a:ext>
                  </a:extLst>
                </p:cNvPr>
                <p:cNvSpPr/>
                <p:nvPr/>
              </p:nvSpPr>
              <p:spPr>
                <a:xfrm rot="-5166000">
                  <a:off x="11600716" y="2174957"/>
                  <a:ext cx="24920" cy="23468"/>
                </a:xfrm>
                <a:custGeom>
                  <a:avLst/>
                  <a:gdLst>
                    <a:gd name="connsiteX0" fmla="*/ 24920 w 24920"/>
                    <a:gd name="connsiteY0" fmla="*/ 11734 h 23468"/>
                    <a:gd name="connsiteX1" fmla="*/ 12459 w 24920"/>
                    <a:gd name="connsiteY1" fmla="*/ 23469 h 23468"/>
                    <a:gd name="connsiteX2" fmla="*/ -1 w 24920"/>
                    <a:gd name="connsiteY2" fmla="*/ 11734 h 23468"/>
                    <a:gd name="connsiteX3" fmla="*/ 12459 w 24920"/>
                    <a:gd name="connsiteY3" fmla="*/ 0 h 23468"/>
                    <a:gd name="connsiteX4" fmla="*/ 24920 w 24920"/>
                    <a:gd name="connsiteY4" fmla="*/ 11734 h 234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920" h="23468">
                      <a:moveTo>
                        <a:pt x="24920" y="11734"/>
                      </a:moveTo>
                      <a:cubicBezTo>
                        <a:pt x="24920" y="18215"/>
                        <a:pt x="19342" y="23469"/>
                        <a:pt x="12459" y="23469"/>
                      </a:cubicBezTo>
                      <a:cubicBezTo>
                        <a:pt x="5578" y="23469"/>
                        <a:pt x="-1" y="18215"/>
                        <a:pt x="-1" y="11734"/>
                      </a:cubicBezTo>
                      <a:cubicBezTo>
                        <a:pt x="-1" y="5254"/>
                        <a:pt x="5577" y="0"/>
                        <a:pt x="12459" y="0"/>
                      </a:cubicBezTo>
                      <a:cubicBezTo>
                        <a:pt x="19341" y="0"/>
                        <a:pt x="24920" y="5254"/>
                        <a:pt x="24920" y="11734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2" name="Freihandform: Form 431">
                  <a:extLst>
                    <a:ext uri="{FF2B5EF4-FFF2-40B4-BE49-F238E27FC236}">
                      <a16:creationId xmlns:a16="http://schemas.microsoft.com/office/drawing/2014/main" id="{E6D4D04F-2123-A5E0-F059-08DE74C6C3F1}"/>
                    </a:ext>
                  </a:extLst>
                </p:cNvPr>
                <p:cNvSpPr/>
                <p:nvPr/>
              </p:nvSpPr>
              <p:spPr>
                <a:xfrm>
                  <a:off x="11570056" y="2130443"/>
                  <a:ext cx="86657" cy="29137"/>
                </a:xfrm>
                <a:custGeom>
                  <a:avLst/>
                  <a:gdLst>
                    <a:gd name="connsiteX0" fmla="*/ 19053 w 86657"/>
                    <a:gd name="connsiteY0" fmla="*/ 10931 h 29137"/>
                    <a:gd name="connsiteX1" fmla="*/ 52199 w 86657"/>
                    <a:gd name="connsiteY1" fmla="*/ 467 h 29137"/>
                    <a:gd name="connsiteX2" fmla="*/ 52199 w 86657"/>
                    <a:gd name="connsiteY2" fmla="*/ 467 h 29137"/>
                    <a:gd name="connsiteX3" fmla="*/ 81898 w 86657"/>
                    <a:gd name="connsiteY3" fmla="*/ 3854 h 29137"/>
                    <a:gd name="connsiteX4" fmla="*/ 84015 w 86657"/>
                    <a:gd name="connsiteY4" fmla="*/ 5487 h 29137"/>
                    <a:gd name="connsiteX5" fmla="*/ 78027 w 86657"/>
                    <a:gd name="connsiteY5" fmla="*/ 20609 h 29137"/>
                    <a:gd name="connsiteX6" fmla="*/ 61151 w 86657"/>
                    <a:gd name="connsiteY6" fmla="*/ 19036 h 29137"/>
                    <a:gd name="connsiteX7" fmla="*/ 21412 w 86657"/>
                    <a:gd name="connsiteY7" fmla="*/ 21335 h 29137"/>
                    <a:gd name="connsiteX8" fmla="*/ 0 w 86657"/>
                    <a:gd name="connsiteY8" fmla="*/ 29137 h 29137"/>
                    <a:gd name="connsiteX9" fmla="*/ 18993 w 86657"/>
                    <a:gd name="connsiteY9" fmla="*/ 10991 h 29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6657" h="29137">
                      <a:moveTo>
                        <a:pt x="19053" y="10931"/>
                      </a:moveTo>
                      <a:cubicBezTo>
                        <a:pt x="30546" y="3612"/>
                        <a:pt x="43005" y="830"/>
                        <a:pt x="52199" y="467"/>
                      </a:cubicBezTo>
                      <a:lnTo>
                        <a:pt x="52199" y="467"/>
                      </a:lnTo>
                      <a:cubicBezTo>
                        <a:pt x="67986" y="-1106"/>
                        <a:pt x="78511" y="1616"/>
                        <a:pt x="81898" y="3854"/>
                      </a:cubicBezTo>
                      <a:cubicBezTo>
                        <a:pt x="82685" y="4399"/>
                        <a:pt x="83410" y="4943"/>
                        <a:pt x="84015" y="5487"/>
                      </a:cubicBezTo>
                      <a:cubicBezTo>
                        <a:pt x="89641" y="10871"/>
                        <a:pt x="85648" y="20790"/>
                        <a:pt x="78027" y="20609"/>
                      </a:cubicBezTo>
                      <a:cubicBezTo>
                        <a:pt x="74519" y="20548"/>
                        <a:pt x="65990" y="19581"/>
                        <a:pt x="61151" y="19036"/>
                      </a:cubicBezTo>
                      <a:cubicBezTo>
                        <a:pt x="52623" y="18129"/>
                        <a:pt x="28368" y="19399"/>
                        <a:pt x="21412" y="21335"/>
                      </a:cubicBezTo>
                      <a:cubicBezTo>
                        <a:pt x="7803" y="25024"/>
                        <a:pt x="0" y="29137"/>
                        <a:pt x="0" y="29137"/>
                      </a:cubicBezTo>
                      <a:cubicBezTo>
                        <a:pt x="0" y="29137"/>
                        <a:pt x="3690" y="20790"/>
                        <a:pt x="18993" y="10991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3" name="Freihandform: Form 432">
                  <a:extLst>
                    <a:ext uri="{FF2B5EF4-FFF2-40B4-BE49-F238E27FC236}">
                      <a16:creationId xmlns:a16="http://schemas.microsoft.com/office/drawing/2014/main" id="{F8A28D57-E002-B021-EBB4-1EF3773767E0}"/>
                    </a:ext>
                  </a:extLst>
                </p:cNvPr>
                <p:cNvSpPr/>
                <p:nvPr/>
              </p:nvSpPr>
              <p:spPr>
                <a:xfrm>
                  <a:off x="11580553" y="2168491"/>
                  <a:ext cx="64100" cy="16950"/>
                </a:xfrm>
                <a:custGeom>
                  <a:avLst/>
                  <a:gdLst>
                    <a:gd name="connsiteX0" fmla="*/ 2085 w 64100"/>
                    <a:gd name="connsiteY0" fmla="*/ 10989 h 16950"/>
                    <a:gd name="connsiteX1" fmla="*/ 28637 w 64100"/>
                    <a:gd name="connsiteY1" fmla="*/ 101 h 16950"/>
                    <a:gd name="connsiteX2" fmla="*/ 62631 w 64100"/>
                    <a:gd name="connsiteY2" fmla="*/ 10807 h 16950"/>
                    <a:gd name="connsiteX3" fmla="*/ 60574 w 64100"/>
                    <a:gd name="connsiteY3" fmla="*/ 16614 h 16950"/>
                    <a:gd name="connsiteX4" fmla="*/ 33598 w 64100"/>
                    <a:gd name="connsiteY4" fmla="*/ 7178 h 16950"/>
                    <a:gd name="connsiteX5" fmla="*/ 6742 w 64100"/>
                    <a:gd name="connsiteY5" fmla="*/ 13166 h 16950"/>
                    <a:gd name="connsiteX6" fmla="*/ 814 w 64100"/>
                    <a:gd name="connsiteY6" fmla="*/ 15767 h 16950"/>
                    <a:gd name="connsiteX7" fmla="*/ 2085 w 64100"/>
                    <a:gd name="connsiteY7" fmla="*/ 10928 h 16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4100" h="16950">
                      <a:moveTo>
                        <a:pt x="2085" y="10989"/>
                      </a:moveTo>
                      <a:cubicBezTo>
                        <a:pt x="5049" y="7965"/>
                        <a:pt x="14847" y="888"/>
                        <a:pt x="28637" y="101"/>
                      </a:cubicBezTo>
                      <a:cubicBezTo>
                        <a:pt x="47449" y="-927"/>
                        <a:pt x="58215" y="6090"/>
                        <a:pt x="62631" y="10807"/>
                      </a:cubicBezTo>
                      <a:cubicBezTo>
                        <a:pt x="65837" y="14255"/>
                        <a:pt x="63175" y="18126"/>
                        <a:pt x="60574" y="16614"/>
                      </a:cubicBezTo>
                      <a:cubicBezTo>
                        <a:pt x="53800" y="12743"/>
                        <a:pt x="50171" y="9174"/>
                        <a:pt x="33598" y="7178"/>
                      </a:cubicBezTo>
                      <a:cubicBezTo>
                        <a:pt x="21984" y="5787"/>
                        <a:pt x="10976" y="10807"/>
                        <a:pt x="6742" y="13166"/>
                      </a:cubicBezTo>
                      <a:cubicBezTo>
                        <a:pt x="3476" y="14981"/>
                        <a:pt x="1843" y="16493"/>
                        <a:pt x="814" y="15767"/>
                      </a:cubicBezTo>
                      <a:cubicBezTo>
                        <a:pt x="-1000" y="14437"/>
                        <a:pt x="573" y="12501"/>
                        <a:pt x="2085" y="1092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4" name="Freihandform: Form 433">
                  <a:extLst>
                    <a:ext uri="{FF2B5EF4-FFF2-40B4-BE49-F238E27FC236}">
                      <a16:creationId xmlns:a16="http://schemas.microsoft.com/office/drawing/2014/main" id="{5B6DA4F7-B3FD-BA8F-12FC-1839E1E91EE5}"/>
                    </a:ext>
                  </a:extLst>
                </p:cNvPr>
                <p:cNvSpPr/>
                <p:nvPr/>
              </p:nvSpPr>
              <p:spPr>
                <a:xfrm rot="-234000">
                  <a:off x="11725754" y="2174535"/>
                  <a:ext cx="23468" cy="24920"/>
                </a:xfrm>
                <a:custGeom>
                  <a:avLst/>
                  <a:gdLst>
                    <a:gd name="connsiteX0" fmla="*/ 23468 w 23468"/>
                    <a:gd name="connsiteY0" fmla="*/ 12460 h 24920"/>
                    <a:gd name="connsiteX1" fmla="*/ 11734 w 23468"/>
                    <a:gd name="connsiteY1" fmla="*/ 24920 h 24920"/>
                    <a:gd name="connsiteX2" fmla="*/ 1 w 23468"/>
                    <a:gd name="connsiteY2" fmla="*/ 12460 h 24920"/>
                    <a:gd name="connsiteX3" fmla="*/ 11734 w 23468"/>
                    <a:gd name="connsiteY3" fmla="*/ 0 h 24920"/>
                    <a:gd name="connsiteX4" fmla="*/ 23468 w 23468"/>
                    <a:gd name="connsiteY4" fmla="*/ 12460 h 249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468" h="24920">
                      <a:moveTo>
                        <a:pt x="23468" y="12460"/>
                      </a:moveTo>
                      <a:cubicBezTo>
                        <a:pt x="23468" y="19342"/>
                        <a:pt x="18215" y="24920"/>
                        <a:pt x="11734" y="24920"/>
                      </a:cubicBezTo>
                      <a:cubicBezTo>
                        <a:pt x="5254" y="24920"/>
                        <a:pt x="1" y="19342"/>
                        <a:pt x="1" y="12460"/>
                      </a:cubicBezTo>
                      <a:cubicBezTo>
                        <a:pt x="1" y="5579"/>
                        <a:pt x="5254" y="0"/>
                        <a:pt x="11734" y="0"/>
                      </a:cubicBezTo>
                      <a:cubicBezTo>
                        <a:pt x="18215" y="0"/>
                        <a:pt x="23468" y="5579"/>
                        <a:pt x="23468" y="12460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5" name="Freihandform: Form 434">
                  <a:extLst>
                    <a:ext uri="{FF2B5EF4-FFF2-40B4-BE49-F238E27FC236}">
                      <a16:creationId xmlns:a16="http://schemas.microsoft.com/office/drawing/2014/main" id="{529D2417-B19C-AB4C-AE06-4DFFD7F6C750}"/>
                    </a:ext>
                  </a:extLst>
                </p:cNvPr>
                <p:cNvSpPr/>
                <p:nvPr/>
              </p:nvSpPr>
              <p:spPr>
                <a:xfrm>
                  <a:off x="11706252" y="2168491"/>
                  <a:ext cx="64101" cy="16950"/>
                </a:xfrm>
                <a:custGeom>
                  <a:avLst/>
                  <a:gdLst>
                    <a:gd name="connsiteX0" fmla="*/ 62017 w 64101"/>
                    <a:gd name="connsiteY0" fmla="*/ 10989 h 16950"/>
                    <a:gd name="connsiteX1" fmla="*/ 35463 w 64101"/>
                    <a:gd name="connsiteY1" fmla="*/ 101 h 16950"/>
                    <a:gd name="connsiteX2" fmla="*/ 1470 w 64101"/>
                    <a:gd name="connsiteY2" fmla="*/ 10807 h 16950"/>
                    <a:gd name="connsiteX3" fmla="*/ 3526 w 64101"/>
                    <a:gd name="connsiteY3" fmla="*/ 16614 h 16950"/>
                    <a:gd name="connsiteX4" fmla="*/ 30504 w 64101"/>
                    <a:gd name="connsiteY4" fmla="*/ 7178 h 16950"/>
                    <a:gd name="connsiteX5" fmla="*/ 57359 w 64101"/>
                    <a:gd name="connsiteY5" fmla="*/ 13166 h 16950"/>
                    <a:gd name="connsiteX6" fmla="*/ 63287 w 64101"/>
                    <a:gd name="connsiteY6" fmla="*/ 15767 h 16950"/>
                    <a:gd name="connsiteX7" fmla="*/ 62017 w 64101"/>
                    <a:gd name="connsiteY7" fmla="*/ 10928 h 16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4101" h="16950">
                      <a:moveTo>
                        <a:pt x="62017" y="10989"/>
                      </a:moveTo>
                      <a:cubicBezTo>
                        <a:pt x="59053" y="7965"/>
                        <a:pt x="49254" y="888"/>
                        <a:pt x="35463" y="101"/>
                      </a:cubicBezTo>
                      <a:cubicBezTo>
                        <a:pt x="16652" y="-927"/>
                        <a:pt x="5885" y="6090"/>
                        <a:pt x="1470" y="10807"/>
                      </a:cubicBezTo>
                      <a:cubicBezTo>
                        <a:pt x="-1736" y="14255"/>
                        <a:pt x="926" y="18126"/>
                        <a:pt x="3526" y="16614"/>
                      </a:cubicBezTo>
                      <a:cubicBezTo>
                        <a:pt x="10301" y="12743"/>
                        <a:pt x="13931" y="9174"/>
                        <a:pt x="30504" y="7178"/>
                      </a:cubicBezTo>
                      <a:cubicBezTo>
                        <a:pt x="42116" y="5787"/>
                        <a:pt x="53125" y="10807"/>
                        <a:pt x="57359" y="13166"/>
                      </a:cubicBezTo>
                      <a:cubicBezTo>
                        <a:pt x="60625" y="14981"/>
                        <a:pt x="62259" y="16493"/>
                        <a:pt x="63287" y="15767"/>
                      </a:cubicBezTo>
                      <a:cubicBezTo>
                        <a:pt x="65101" y="14437"/>
                        <a:pt x="63529" y="12501"/>
                        <a:pt x="62017" y="1092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6" name="Freihandform: Form 435">
                  <a:extLst>
                    <a:ext uri="{FF2B5EF4-FFF2-40B4-BE49-F238E27FC236}">
                      <a16:creationId xmlns:a16="http://schemas.microsoft.com/office/drawing/2014/main" id="{8E6CB3BF-B38B-0D33-638C-E3406A7E3FA9}"/>
                    </a:ext>
                  </a:extLst>
                </p:cNvPr>
                <p:cNvSpPr/>
                <p:nvPr/>
              </p:nvSpPr>
              <p:spPr>
                <a:xfrm>
                  <a:off x="11643728" y="2279947"/>
                  <a:ext cx="75425" cy="18026"/>
                </a:xfrm>
                <a:custGeom>
                  <a:avLst/>
                  <a:gdLst>
                    <a:gd name="connsiteX0" fmla="*/ 61 w 75425"/>
                    <a:gd name="connsiteY0" fmla="*/ 0 h 18026"/>
                    <a:gd name="connsiteX1" fmla="*/ 75426 w 75425"/>
                    <a:gd name="connsiteY1" fmla="*/ 0 h 18026"/>
                    <a:gd name="connsiteX2" fmla="*/ 36533 w 75425"/>
                    <a:gd name="connsiteY2" fmla="*/ 18025 h 18026"/>
                    <a:gd name="connsiteX3" fmla="*/ 0 w 75425"/>
                    <a:gd name="connsiteY3" fmla="*/ 0 h 18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5425" h="18026">
                      <a:moveTo>
                        <a:pt x="61" y="0"/>
                      </a:moveTo>
                      <a:cubicBezTo>
                        <a:pt x="28731" y="3266"/>
                        <a:pt x="42340" y="3145"/>
                        <a:pt x="75426" y="0"/>
                      </a:cubicBezTo>
                      <a:cubicBezTo>
                        <a:pt x="75426" y="0"/>
                        <a:pt x="64054" y="17843"/>
                        <a:pt x="36533" y="18025"/>
                      </a:cubicBezTo>
                      <a:cubicBezTo>
                        <a:pt x="19355" y="18146"/>
                        <a:pt x="9012" y="10646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7" name="Freihandform: Form 436">
                  <a:extLst>
                    <a:ext uri="{FF2B5EF4-FFF2-40B4-BE49-F238E27FC236}">
                      <a16:creationId xmlns:a16="http://schemas.microsoft.com/office/drawing/2014/main" id="{19320AE6-4B7A-A16F-D575-2AAFAFFE7139}"/>
                    </a:ext>
                  </a:extLst>
                </p:cNvPr>
                <p:cNvSpPr/>
                <p:nvPr/>
              </p:nvSpPr>
              <p:spPr>
                <a:xfrm>
                  <a:off x="11573867" y="1928127"/>
                  <a:ext cx="300796" cy="234231"/>
                </a:xfrm>
                <a:custGeom>
                  <a:avLst/>
                  <a:gdLst>
                    <a:gd name="connsiteX0" fmla="*/ 61 w 300796"/>
                    <a:gd name="connsiteY0" fmla="*/ 61185 h 234231"/>
                    <a:gd name="connsiteX1" fmla="*/ 196458 w 300796"/>
                    <a:gd name="connsiteY1" fmla="*/ 219417 h 234231"/>
                    <a:gd name="connsiteX2" fmla="*/ 300797 w 300796"/>
                    <a:gd name="connsiteY2" fmla="*/ 230123 h 234231"/>
                    <a:gd name="connsiteX3" fmla="*/ 275090 w 300796"/>
                    <a:gd name="connsiteY3" fmla="*/ 135220 h 234231"/>
                    <a:gd name="connsiteX4" fmla="*/ 0 w 300796"/>
                    <a:gd name="connsiteY4" fmla="*/ 61185 h 2342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0796" h="234231">
                      <a:moveTo>
                        <a:pt x="61" y="61185"/>
                      </a:moveTo>
                      <a:cubicBezTo>
                        <a:pt x="-2843" y="129172"/>
                        <a:pt x="103250" y="194254"/>
                        <a:pt x="196458" y="219417"/>
                      </a:cubicBezTo>
                      <a:cubicBezTo>
                        <a:pt x="289667" y="244518"/>
                        <a:pt x="300797" y="230123"/>
                        <a:pt x="300797" y="230123"/>
                      </a:cubicBezTo>
                      <a:cubicBezTo>
                        <a:pt x="300797" y="230123"/>
                        <a:pt x="277812" y="221836"/>
                        <a:pt x="275090" y="135220"/>
                      </a:cubicBezTo>
                      <a:cubicBezTo>
                        <a:pt x="272005" y="37354"/>
                        <a:pt x="118129" y="-70735"/>
                        <a:pt x="0" y="61185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8" name="Freihandform: Form 437">
                  <a:extLst>
                    <a:ext uri="{FF2B5EF4-FFF2-40B4-BE49-F238E27FC236}">
                      <a16:creationId xmlns:a16="http://schemas.microsoft.com/office/drawing/2014/main" id="{A0E215A1-9C02-60DF-999E-CBF7FA7D4AFC}"/>
                    </a:ext>
                  </a:extLst>
                </p:cNvPr>
                <p:cNvSpPr/>
                <p:nvPr/>
              </p:nvSpPr>
              <p:spPr>
                <a:xfrm>
                  <a:off x="11301257" y="2440900"/>
                  <a:ext cx="766961" cy="1169315"/>
                </a:xfrm>
                <a:custGeom>
                  <a:avLst/>
                  <a:gdLst>
                    <a:gd name="connsiteX0" fmla="*/ 110749 w 766961"/>
                    <a:gd name="connsiteY0" fmla="*/ 634680 h 1169315"/>
                    <a:gd name="connsiteX1" fmla="*/ 0 w 766961"/>
                    <a:gd name="connsiteY1" fmla="*/ 1169315 h 1169315"/>
                    <a:gd name="connsiteX2" fmla="*/ 766962 w 766961"/>
                    <a:gd name="connsiteY2" fmla="*/ 1169315 h 1169315"/>
                    <a:gd name="connsiteX3" fmla="*/ 659962 w 766961"/>
                    <a:gd name="connsiteY3" fmla="*/ 653794 h 1169315"/>
                    <a:gd name="connsiteX4" fmla="*/ 722565 w 766961"/>
                    <a:gd name="connsiteY4" fmla="*/ 82625 h 1169315"/>
                    <a:gd name="connsiteX5" fmla="*/ 508929 w 766961"/>
                    <a:gd name="connsiteY5" fmla="*/ 908 h 1169315"/>
                    <a:gd name="connsiteX6" fmla="*/ 494594 w 766961"/>
                    <a:gd name="connsiteY6" fmla="*/ 5384 h 1169315"/>
                    <a:gd name="connsiteX7" fmla="*/ 380094 w 766961"/>
                    <a:gd name="connsiteY7" fmla="*/ 133130 h 1169315"/>
                    <a:gd name="connsiteX8" fmla="*/ 272368 w 766961"/>
                    <a:gd name="connsiteY8" fmla="*/ 5082 h 1169315"/>
                    <a:gd name="connsiteX9" fmla="*/ 261360 w 766961"/>
                    <a:gd name="connsiteY9" fmla="*/ 1452 h 1169315"/>
                    <a:gd name="connsiteX10" fmla="*/ 45909 w 766961"/>
                    <a:gd name="connsiteY10" fmla="*/ 79721 h 1169315"/>
                    <a:gd name="connsiteX11" fmla="*/ 110871 w 766961"/>
                    <a:gd name="connsiteY11" fmla="*/ 634801 h 1169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766961" h="1169315">
                      <a:moveTo>
                        <a:pt x="110749" y="634680"/>
                      </a:moveTo>
                      <a:cubicBezTo>
                        <a:pt x="21351" y="876745"/>
                        <a:pt x="3145" y="1117539"/>
                        <a:pt x="0" y="1169315"/>
                      </a:cubicBezTo>
                      <a:lnTo>
                        <a:pt x="766962" y="1169315"/>
                      </a:lnTo>
                      <a:cubicBezTo>
                        <a:pt x="762849" y="1116995"/>
                        <a:pt x="736597" y="804464"/>
                        <a:pt x="659962" y="653794"/>
                      </a:cubicBezTo>
                      <a:cubicBezTo>
                        <a:pt x="619436" y="574134"/>
                        <a:pt x="722565" y="82625"/>
                        <a:pt x="722565" y="82625"/>
                      </a:cubicBezTo>
                      <a:cubicBezTo>
                        <a:pt x="640788" y="50023"/>
                        <a:pt x="609517" y="37381"/>
                        <a:pt x="508929" y="908"/>
                      </a:cubicBezTo>
                      <a:cubicBezTo>
                        <a:pt x="503425" y="-1088"/>
                        <a:pt x="497497" y="122"/>
                        <a:pt x="494594" y="5384"/>
                      </a:cubicBezTo>
                      <a:cubicBezTo>
                        <a:pt x="476568" y="38409"/>
                        <a:pt x="414450" y="134884"/>
                        <a:pt x="380094" y="133130"/>
                      </a:cubicBezTo>
                      <a:cubicBezTo>
                        <a:pt x="339870" y="131013"/>
                        <a:pt x="286461" y="35748"/>
                        <a:pt x="272368" y="5082"/>
                      </a:cubicBezTo>
                      <a:cubicBezTo>
                        <a:pt x="270372" y="727"/>
                        <a:pt x="265714" y="-181"/>
                        <a:pt x="261360" y="1452"/>
                      </a:cubicBezTo>
                      <a:cubicBezTo>
                        <a:pt x="177829" y="32240"/>
                        <a:pt x="141537" y="44700"/>
                        <a:pt x="45909" y="79721"/>
                      </a:cubicBezTo>
                      <a:cubicBezTo>
                        <a:pt x="45909" y="79721"/>
                        <a:pt x="113532" y="475420"/>
                        <a:pt x="110871" y="634801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9" name="Freihandform: Form 438">
                  <a:extLst>
                    <a:ext uri="{FF2B5EF4-FFF2-40B4-BE49-F238E27FC236}">
                      <a16:creationId xmlns:a16="http://schemas.microsoft.com/office/drawing/2014/main" id="{3B29B9A3-ADF4-02F6-40B9-85326DB13CC0}"/>
                    </a:ext>
                  </a:extLst>
                </p:cNvPr>
                <p:cNvSpPr/>
                <p:nvPr/>
              </p:nvSpPr>
              <p:spPr>
                <a:xfrm>
                  <a:off x="11815932" y="2760992"/>
                  <a:ext cx="126173" cy="70405"/>
                </a:xfrm>
                <a:custGeom>
                  <a:avLst/>
                  <a:gdLst>
                    <a:gd name="connsiteX0" fmla="*/ 0 w 126173"/>
                    <a:gd name="connsiteY0" fmla="*/ 0 h 70405"/>
                    <a:gd name="connsiteX1" fmla="*/ 126174 w 126173"/>
                    <a:gd name="connsiteY1" fmla="*/ 0 h 70405"/>
                    <a:gd name="connsiteX2" fmla="*/ 126174 w 126173"/>
                    <a:gd name="connsiteY2" fmla="*/ 70406 h 70405"/>
                    <a:gd name="connsiteX3" fmla="*/ 0 w 126173"/>
                    <a:gd name="connsiteY3" fmla="*/ 70406 h 70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6173" h="70405">
                      <a:moveTo>
                        <a:pt x="0" y="0"/>
                      </a:moveTo>
                      <a:lnTo>
                        <a:pt x="126174" y="0"/>
                      </a:lnTo>
                      <a:lnTo>
                        <a:pt x="126174" y="70406"/>
                      </a:lnTo>
                      <a:lnTo>
                        <a:pt x="0" y="7040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0" name="Freihandform: Form 439">
                  <a:extLst>
                    <a:ext uri="{FF2B5EF4-FFF2-40B4-BE49-F238E27FC236}">
                      <a16:creationId xmlns:a16="http://schemas.microsoft.com/office/drawing/2014/main" id="{9DFE3A5F-96DA-DBF2-6D77-6A61FFE38191}"/>
                    </a:ext>
                  </a:extLst>
                </p:cNvPr>
                <p:cNvSpPr/>
                <p:nvPr/>
              </p:nvSpPr>
              <p:spPr>
                <a:xfrm>
                  <a:off x="11765212" y="2760932"/>
                  <a:ext cx="162195" cy="183574"/>
                </a:xfrm>
                <a:custGeom>
                  <a:avLst/>
                  <a:gdLst>
                    <a:gd name="connsiteX0" fmla="*/ 16183 w 162195"/>
                    <a:gd name="connsiteY0" fmla="*/ 60 h 183574"/>
                    <a:gd name="connsiteX1" fmla="*/ 16848 w 162195"/>
                    <a:gd name="connsiteY1" fmla="*/ 136517 h 183574"/>
                    <a:gd name="connsiteX2" fmla="*/ 95601 w 162195"/>
                    <a:gd name="connsiteY2" fmla="*/ 176075 h 183574"/>
                    <a:gd name="connsiteX3" fmla="*/ 162196 w 162195"/>
                    <a:gd name="connsiteY3" fmla="*/ 171538 h 183574"/>
                    <a:gd name="connsiteX4" fmla="*/ 162196 w 162195"/>
                    <a:gd name="connsiteY4" fmla="*/ 171538 h 183574"/>
                    <a:gd name="connsiteX5" fmla="*/ 94936 w 162195"/>
                    <a:gd name="connsiteY5" fmla="*/ 183575 h 183574"/>
                    <a:gd name="connsiteX6" fmla="*/ 7472 w 162195"/>
                    <a:gd name="connsiteY6" fmla="*/ 143836 h 183574"/>
                    <a:gd name="connsiteX7" fmla="*/ 577 w 162195"/>
                    <a:gd name="connsiteY7" fmla="*/ 6170 h 183574"/>
                    <a:gd name="connsiteX8" fmla="*/ 16183 w 162195"/>
                    <a:gd name="connsiteY8" fmla="*/ 0 h 1835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2195" h="183574">
                      <a:moveTo>
                        <a:pt x="16183" y="60"/>
                      </a:moveTo>
                      <a:lnTo>
                        <a:pt x="16848" y="136517"/>
                      </a:lnTo>
                      <a:lnTo>
                        <a:pt x="95601" y="176075"/>
                      </a:lnTo>
                      <a:lnTo>
                        <a:pt x="162196" y="171538"/>
                      </a:lnTo>
                      <a:lnTo>
                        <a:pt x="162196" y="171538"/>
                      </a:lnTo>
                      <a:lnTo>
                        <a:pt x="94936" y="183575"/>
                      </a:lnTo>
                      <a:cubicBezTo>
                        <a:pt x="94936" y="183575"/>
                        <a:pt x="12191" y="148795"/>
                        <a:pt x="7472" y="143836"/>
                      </a:cubicBezTo>
                      <a:cubicBezTo>
                        <a:pt x="2754" y="138876"/>
                        <a:pt x="-1600" y="10404"/>
                        <a:pt x="577" y="6170"/>
                      </a:cubicBezTo>
                      <a:cubicBezTo>
                        <a:pt x="2754" y="1936"/>
                        <a:pt x="16183" y="0"/>
                        <a:pt x="16183" y="0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1" name="Freihandform: Form 440">
                  <a:extLst>
                    <a:ext uri="{FF2B5EF4-FFF2-40B4-BE49-F238E27FC236}">
                      <a16:creationId xmlns:a16="http://schemas.microsoft.com/office/drawing/2014/main" id="{5FFA8577-DF53-8934-8FD6-2F709CD57E54}"/>
                    </a:ext>
                  </a:extLst>
                </p:cNvPr>
                <p:cNvSpPr/>
                <p:nvPr/>
              </p:nvSpPr>
              <p:spPr>
                <a:xfrm>
                  <a:off x="11431785" y="2402008"/>
                  <a:ext cx="233899" cy="653611"/>
                </a:xfrm>
                <a:custGeom>
                  <a:avLst/>
                  <a:gdLst>
                    <a:gd name="connsiteX0" fmla="*/ 217266 w 233899"/>
                    <a:gd name="connsiteY0" fmla="*/ 603287 h 653611"/>
                    <a:gd name="connsiteX1" fmla="*/ 217266 w 233899"/>
                    <a:gd name="connsiteY1" fmla="*/ 493082 h 653611"/>
                    <a:gd name="connsiteX2" fmla="*/ 124661 w 233899"/>
                    <a:gd name="connsiteY2" fmla="*/ 304607 h 653611"/>
                    <a:gd name="connsiteX3" fmla="*/ 80870 w 233899"/>
                    <a:gd name="connsiteY3" fmla="*/ 163191 h 653611"/>
                    <a:gd name="connsiteX4" fmla="*/ 56615 w 233899"/>
                    <a:gd name="connsiteY4" fmla="*/ 111778 h 653611"/>
                    <a:gd name="connsiteX5" fmla="*/ 74639 w 233899"/>
                    <a:gd name="connsiteY5" fmla="*/ 45848 h 653611"/>
                    <a:gd name="connsiteX6" fmla="*/ 160953 w 233899"/>
                    <a:gd name="connsiteY6" fmla="*/ 12097 h 653611"/>
                    <a:gd name="connsiteX7" fmla="*/ 160953 w 233899"/>
                    <a:gd name="connsiteY7" fmla="*/ 0 h 653611"/>
                    <a:gd name="connsiteX8" fmla="*/ 65627 w 233899"/>
                    <a:gd name="connsiteY8" fmla="*/ 37743 h 653611"/>
                    <a:gd name="connsiteX9" fmla="*/ 44518 w 233899"/>
                    <a:gd name="connsiteY9" fmla="*/ 113048 h 653611"/>
                    <a:gd name="connsiteX10" fmla="*/ 71192 w 233899"/>
                    <a:gd name="connsiteY10" fmla="*/ 170570 h 653611"/>
                    <a:gd name="connsiteX11" fmla="*/ 112443 w 233899"/>
                    <a:gd name="connsiteY11" fmla="*/ 304668 h 653611"/>
                    <a:gd name="connsiteX12" fmla="*/ 20021 w 233899"/>
                    <a:gd name="connsiteY12" fmla="*/ 493082 h 653611"/>
                    <a:gd name="connsiteX13" fmla="*/ 20021 w 233899"/>
                    <a:gd name="connsiteY13" fmla="*/ 602259 h 653611"/>
                    <a:gd name="connsiteX14" fmla="*/ 0 w 233899"/>
                    <a:gd name="connsiteY14" fmla="*/ 627542 h 653611"/>
                    <a:gd name="connsiteX15" fmla="*/ 26070 w 233899"/>
                    <a:gd name="connsiteY15" fmla="*/ 653611 h 653611"/>
                    <a:gd name="connsiteX16" fmla="*/ 52139 w 233899"/>
                    <a:gd name="connsiteY16" fmla="*/ 627542 h 653611"/>
                    <a:gd name="connsiteX17" fmla="*/ 32118 w 233899"/>
                    <a:gd name="connsiteY17" fmla="*/ 602259 h 653611"/>
                    <a:gd name="connsiteX18" fmla="*/ 32118 w 233899"/>
                    <a:gd name="connsiteY18" fmla="*/ 493082 h 653611"/>
                    <a:gd name="connsiteX19" fmla="*/ 118552 w 233899"/>
                    <a:gd name="connsiteY19" fmla="*/ 406647 h 653611"/>
                    <a:gd name="connsiteX20" fmla="*/ 204987 w 233899"/>
                    <a:gd name="connsiteY20" fmla="*/ 493082 h 653611"/>
                    <a:gd name="connsiteX21" fmla="*/ 204987 w 233899"/>
                    <a:gd name="connsiteY21" fmla="*/ 601775 h 653611"/>
                    <a:gd name="connsiteX22" fmla="*/ 181761 w 233899"/>
                    <a:gd name="connsiteY22" fmla="*/ 627542 h 653611"/>
                    <a:gd name="connsiteX23" fmla="*/ 207830 w 233899"/>
                    <a:gd name="connsiteY23" fmla="*/ 653611 h 653611"/>
                    <a:gd name="connsiteX24" fmla="*/ 233899 w 233899"/>
                    <a:gd name="connsiteY24" fmla="*/ 627542 h 653611"/>
                    <a:gd name="connsiteX25" fmla="*/ 217145 w 233899"/>
                    <a:gd name="connsiteY25" fmla="*/ 603287 h 653611"/>
                    <a:gd name="connsiteX26" fmla="*/ 118734 w 233899"/>
                    <a:gd name="connsiteY26" fmla="*/ 394550 h 653611"/>
                    <a:gd name="connsiteX27" fmla="*/ 43308 w 233899"/>
                    <a:gd name="connsiteY27" fmla="*/ 429813 h 653611"/>
                    <a:gd name="connsiteX28" fmla="*/ 118734 w 233899"/>
                    <a:gd name="connsiteY28" fmla="*/ 316221 h 653611"/>
                    <a:gd name="connsiteX29" fmla="*/ 194160 w 233899"/>
                    <a:gd name="connsiteY29" fmla="*/ 429813 h 653611"/>
                    <a:gd name="connsiteX30" fmla="*/ 118734 w 233899"/>
                    <a:gd name="connsiteY30" fmla="*/ 394550 h 6536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233899" h="653611">
                      <a:moveTo>
                        <a:pt x="217266" y="603287"/>
                      </a:moveTo>
                      <a:lnTo>
                        <a:pt x="217266" y="493082"/>
                      </a:lnTo>
                      <a:cubicBezTo>
                        <a:pt x="217266" y="447596"/>
                        <a:pt x="180127" y="313741"/>
                        <a:pt x="124661" y="304607"/>
                      </a:cubicBezTo>
                      <a:cubicBezTo>
                        <a:pt x="123634" y="218838"/>
                        <a:pt x="99983" y="187990"/>
                        <a:pt x="80870" y="163191"/>
                      </a:cubicBezTo>
                      <a:cubicBezTo>
                        <a:pt x="68712" y="147404"/>
                        <a:pt x="59095" y="134944"/>
                        <a:pt x="56615" y="111778"/>
                      </a:cubicBezTo>
                      <a:cubicBezTo>
                        <a:pt x="53712" y="84559"/>
                        <a:pt x="59821" y="62422"/>
                        <a:pt x="74639" y="45848"/>
                      </a:cubicBezTo>
                      <a:cubicBezTo>
                        <a:pt x="104459" y="12581"/>
                        <a:pt x="160409" y="12097"/>
                        <a:pt x="160953" y="12097"/>
                      </a:cubicBezTo>
                      <a:lnTo>
                        <a:pt x="160953" y="0"/>
                      </a:lnTo>
                      <a:cubicBezTo>
                        <a:pt x="158413" y="0"/>
                        <a:pt x="99137" y="484"/>
                        <a:pt x="65627" y="37743"/>
                      </a:cubicBezTo>
                      <a:cubicBezTo>
                        <a:pt x="48389" y="56978"/>
                        <a:pt x="41252" y="82321"/>
                        <a:pt x="44518" y="113048"/>
                      </a:cubicBezTo>
                      <a:cubicBezTo>
                        <a:pt x="47360" y="139662"/>
                        <a:pt x="58913" y="154663"/>
                        <a:pt x="71192" y="170570"/>
                      </a:cubicBezTo>
                      <a:cubicBezTo>
                        <a:pt x="90124" y="195128"/>
                        <a:pt x="111536" y="223072"/>
                        <a:pt x="112443" y="304668"/>
                      </a:cubicBezTo>
                      <a:cubicBezTo>
                        <a:pt x="57099" y="314043"/>
                        <a:pt x="20021" y="447657"/>
                        <a:pt x="20021" y="493082"/>
                      </a:cubicBezTo>
                      <a:lnTo>
                        <a:pt x="20021" y="602259"/>
                      </a:lnTo>
                      <a:cubicBezTo>
                        <a:pt x="8589" y="604981"/>
                        <a:pt x="0" y="615263"/>
                        <a:pt x="0" y="627542"/>
                      </a:cubicBezTo>
                      <a:cubicBezTo>
                        <a:pt x="0" y="641938"/>
                        <a:pt x="11674" y="653611"/>
                        <a:pt x="26070" y="653611"/>
                      </a:cubicBezTo>
                      <a:cubicBezTo>
                        <a:pt x="40465" y="653611"/>
                        <a:pt x="52139" y="641938"/>
                        <a:pt x="52139" y="627542"/>
                      </a:cubicBezTo>
                      <a:cubicBezTo>
                        <a:pt x="52139" y="615263"/>
                        <a:pt x="43610" y="604981"/>
                        <a:pt x="32118" y="602259"/>
                      </a:cubicBezTo>
                      <a:lnTo>
                        <a:pt x="32118" y="493082"/>
                      </a:lnTo>
                      <a:cubicBezTo>
                        <a:pt x="32118" y="445419"/>
                        <a:pt x="70889" y="406647"/>
                        <a:pt x="118552" y="406647"/>
                      </a:cubicBezTo>
                      <a:cubicBezTo>
                        <a:pt x="166215" y="406647"/>
                        <a:pt x="204987" y="445419"/>
                        <a:pt x="204987" y="493082"/>
                      </a:cubicBezTo>
                      <a:lnTo>
                        <a:pt x="204987" y="601775"/>
                      </a:lnTo>
                      <a:cubicBezTo>
                        <a:pt x="191922" y="603166"/>
                        <a:pt x="181761" y="614114"/>
                        <a:pt x="181761" y="627542"/>
                      </a:cubicBezTo>
                      <a:cubicBezTo>
                        <a:pt x="181761" y="641938"/>
                        <a:pt x="193434" y="653611"/>
                        <a:pt x="207830" y="653611"/>
                      </a:cubicBezTo>
                      <a:cubicBezTo>
                        <a:pt x="222225" y="653611"/>
                        <a:pt x="233899" y="641938"/>
                        <a:pt x="233899" y="627542"/>
                      </a:cubicBezTo>
                      <a:cubicBezTo>
                        <a:pt x="233899" y="616412"/>
                        <a:pt x="226943" y="607037"/>
                        <a:pt x="217145" y="603287"/>
                      </a:cubicBezTo>
                      <a:close/>
                      <a:moveTo>
                        <a:pt x="118734" y="394550"/>
                      </a:moveTo>
                      <a:cubicBezTo>
                        <a:pt x="88491" y="394550"/>
                        <a:pt x="61393" y="408280"/>
                        <a:pt x="43308" y="429813"/>
                      </a:cubicBezTo>
                      <a:cubicBezTo>
                        <a:pt x="58490" y="376162"/>
                        <a:pt x="87644" y="316221"/>
                        <a:pt x="118734" y="316221"/>
                      </a:cubicBezTo>
                      <a:cubicBezTo>
                        <a:pt x="149824" y="316221"/>
                        <a:pt x="178978" y="376223"/>
                        <a:pt x="194160" y="429813"/>
                      </a:cubicBezTo>
                      <a:cubicBezTo>
                        <a:pt x="176075" y="408280"/>
                        <a:pt x="148977" y="394550"/>
                        <a:pt x="118734" y="394550"/>
                      </a:cubicBezTo>
                      <a:close/>
                    </a:path>
                  </a:pathLst>
                </a:custGeom>
                <a:solidFill>
                  <a:srgbClr val="F19E6A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2" name="Freihandform: Form 441">
                  <a:extLst>
                    <a:ext uri="{FF2B5EF4-FFF2-40B4-BE49-F238E27FC236}">
                      <a16:creationId xmlns:a16="http://schemas.microsoft.com/office/drawing/2014/main" id="{33CC9305-BC45-2C3F-19DA-92B618D61B4F}"/>
                    </a:ext>
                  </a:extLst>
                </p:cNvPr>
                <p:cNvSpPr/>
                <p:nvPr/>
              </p:nvSpPr>
              <p:spPr>
                <a:xfrm>
                  <a:off x="11738570" y="2401947"/>
                  <a:ext cx="135445" cy="330434"/>
                </a:xfrm>
                <a:custGeom>
                  <a:avLst/>
                  <a:gdLst>
                    <a:gd name="connsiteX0" fmla="*/ 135428 w 135445"/>
                    <a:gd name="connsiteY0" fmla="*/ 85830 h 330434"/>
                    <a:gd name="connsiteX1" fmla="*/ 113653 w 135445"/>
                    <a:gd name="connsiteY1" fmla="*/ 27158 h 330434"/>
                    <a:gd name="connsiteX2" fmla="*/ 38651 w 135445"/>
                    <a:gd name="connsiteY2" fmla="*/ 0 h 330434"/>
                    <a:gd name="connsiteX3" fmla="*/ 38651 w 135445"/>
                    <a:gd name="connsiteY3" fmla="*/ 12097 h 330434"/>
                    <a:gd name="connsiteX4" fmla="*/ 105004 w 135445"/>
                    <a:gd name="connsiteY4" fmla="*/ 35626 h 330434"/>
                    <a:gd name="connsiteX5" fmla="*/ 123270 w 135445"/>
                    <a:gd name="connsiteY5" fmla="*/ 85588 h 330434"/>
                    <a:gd name="connsiteX6" fmla="*/ 87463 w 135445"/>
                    <a:gd name="connsiteY6" fmla="*/ 150671 h 330434"/>
                    <a:gd name="connsiteX7" fmla="*/ 37623 w 135445"/>
                    <a:gd name="connsiteY7" fmla="*/ 252045 h 330434"/>
                    <a:gd name="connsiteX8" fmla="*/ 0 w 135445"/>
                    <a:gd name="connsiteY8" fmla="*/ 291179 h 330434"/>
                    <a:gd name="connsiteX9" fmla="*/ 39255 w 135445"/>
                    <a:gd name="connsiteY9" fmla="*/ 330435 h 330434"/>
                    <a:gd name="connsiteX10" fmla="*/ 78511 w 135445"/>
                    <a:gd name="connsiteY10" fmla="*/ 291179 h 330434"/>
                    <a:gd name="connsiteX11" fmla="*/ 49720 w 135445"/>
                    <a:gd name="connsiteY11" fmla="*/ 253376 h 330434"/>
                    <a:gd name="connsiteX12" fmla="*/ 96173 w 135445"/>
                    <a:gd name="connsiteY12" fmla="*/ 159078 h 330434"/>
                    <a:gd name="connsiteX13" fmla="*/ 135428 w 135445"/>
                    <a:gd name="connsiteY13" fmla="*/ 85769 h 330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35445" h="330434">
                      <a:moveTo>
                        <a:pt x="135428" y="85830"/>
                      </a:moveTo>
                      <a:cubicBezTo>
                        <a:pt x="135852" y="62422"/>
                        <a:pt x="128352" y="42098"/>
                        <a:pt x="113653" y="27158"/>
                      </a:cubicBezTo>
                      <a:cubicBezTo>
                        <a:pt x="96476" y="9617"/>
                        <a:pt x="69862" y="0"/>
                        <a:pt x="38651" y="0"/>
                      </a:cubicBezTo>
                      <a:lnTo>
                        <a:pt x="38651" y="12097"/>
                      </a:lnTo>
                      <a:cubicBezTo>
                        <a:pt x="66535" y="12097"/>
                        <a:pt x="90124" y="20444"/>
                        <a:pt x="105004" y="35626"/>
                      </a:cubicBezTo>
                      <a:cubicBezTo>
                        <a:pt x="117525" y="48389"/>
                        <a:pt x="123694" y="65204"/>
                        <a:pt x="123270" y="85588"/>
                      </a:cubicBezTo>
                      <a:cubicBezTo>
                        <a:pt x="122726" y="114500"/>
                        <a:pt x="106395" y="131255"/>
                        <a:pt x="87463" y="150671"/>
                      </a:cubicBezTo>
                      <a:cubicBezTo>
                        <a:pt x="64720" y="174079"/>
                        <a:pt x="39376" y="200209"/>
                        <a:pt x="37623" y="252045"/>
                      </a:cubicBezTo>
                      <a:cubicBezTo>
                        <a:pt x="16694" y="252892"/>
                        <a:pt x="0" y="270070"/>
                        <a:pt x="0" y="291179"/>
                      </a:cubicBezTo>
                      <a:cubicBezTo>
                        <a:pt x="0" y="312289"/>
                        <a:pt x="17541" y="330435"/>
                        <a:pt x="39255" y="330435"/>
                      </a:cubicBezTo>
                      <a:cubicBezTo>
                        <a:pt x="60970" y="330435"/>
                        <a:pt x="78511" y="312894"/>
                        <a:pt x="78511" y="291179"/>
                      </a:cubicBezTo>
                      <a:cubicBezTo>
                        <a:pt x="78511" y="273155"/>
                        <a:pt x="66293" y="257973"/>
                        <a:pt x="49720" y="253376"/>
                      </a:cubicBezTo>
                      <a:cubicBezTo>
                        <a:pt x="51051" y="205531"/>
                        <a:pt x="73914" y="181942"/>
                        <a:pt x="96173" y="159078"/>
                      </a:cubicBezTo>
                      <a:cubicBezTo>
                        <a:pt x="116012" y="138694"/>
                        <a:pt x="134763" y="119460"/>
                        <a:pt x="135428" y="85769"/>
                      </a:cubicBezTo>
                      <a:close/>
                    </a:path>
                  </a:pathLst>
                </a:custGeom>
                <a:solidFill>
                  <a:srgbClr val="F19E6A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443" name="Grafik 297">
                  <a:extLst>
                    <a:ext uri="{FF2B5EF4-FFF2-40B4-BE49-F238E27FC236}">
                      <a16:creationId xmlns:a16="http://schemas.microsoft.com/office/drawing/2014/main" id="{921105DA-6B9A-53B5-6256-760167C19FA2}"/>
                    </a:ext>
                  </a:extLst>
                </p:cNvPr>
                <p:cNvGrpSpPr/>
                <p:nvPr/>
              </p:nvGrpSpPr>
              <p:grpSpPr>
                <a:xfrm>
                  <a:off x="11163281" y="3555052"/>
                  <a:ext cx="144145" cy="337753"/>
                  <a:chOff x="11163281" y="3555052"/>
                  <a:chExt cx="144145" cy="337753"/>
                </a:xfrm>
                <a:solidFill>
                  <a:srgbClr val="02787D"/>
                </a:solidFill>
              </p:grpSpPr>
              <p:grpSp>
                <p:nvGrpSpPr>
                  <p:cNvPr id="445" name="Grafik 297">
                    <a:extLst>
                      <a:ext uri="{FF2B5EF4-FFF2-40B4-BE49-F238E27FC236}">
                        <a16:creationId xmlns:a16="http://schemas.microsoft.com/office/drawing/2014/main" id="{E5D241FA-A85C-B170-483D-EA2B7D27B6A9}"/>
                      </a:ext>
                    </a:extLst>
                  </p:cNvPr>
                  <p:cNvGrpSpPr/>
                  <p:nvPr/>
                </p:nvGrpSpPr>
                <p:grpSpPr>
                  <a:xfrm>
                    <a:off x="11183347" y="3766601"/>
                    <a:ext cx="67615" cy="68318"/>
                    <a:chOff x="11183347" y="3766601"/>
                    <a:chExt cx="67615" cy="68318"/>
                  </a:xfrm>
                  <a:solidFill>
                    <a:srgbClr val="02787D"/>
                  </a:solidFill>
                </p:grpSpPr>
                <p:sp>
                  <p:nvSpPr>
                    <p:cNvPr id="464" name="Freihandform: Form 463">
                      <a:extLst>
                        <a:ext uri="{FF2B5EF4-FFF2-40B4-BE49-F238E27FC236}">
                          <a16:creationId xmlns:a16="http://schemas.microsoft.com/office/drawing/2014/main" id="{93E5A806-8184-43C6-395E-A447E79FFD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4392" y="3786015"/>
                      <a:ext cx="36570" cy="48905"/>
                    </a:xfrm>
                    <a:custGeom>
                      <a:avLst/>
                      <a:gdLst>
                        <a:gd name="connsiteX0" fmla="*/ 33515 w 36570"/>
                        <a:gd name="connsiteY0" fmla="*/ 48845 h 48905"/>
                        <a:gd name="connsiteX1" fmla="*/ 10652 w 36570"/>
                        <a:gd name="connsiteY1" fmla="*/ 34207 h 48905"/>
                        <a:gd name="connsiteX2" fmla="*/ 853 w 36570"/>
                        <a:gd name="connsiteY2" fmla="*/ 6262 h 48905"/>
                        <a:gd name="connsiteX3" fmla="*/ 3272 w 36570"/>
                        <a:gd name="connsiteY3" fmla="*/ 32 h 48905"/>
                        <a:gd name="connsiteX4" fmla="*/ 28193 w 36570"/>
                        <a:gd name="connsiteY4" fmla="*/ 22231 h 48905"/>
                        <a:gd name="connsiteX5" fmla="*/ 33515 w 36570"/>
                        <a:gd name="connsiteY5" fmla="*/ 48905 h 48905"/>
                        <a:gd name="connsiteX6" fmla="*/ 33515 w 36570"/>
                        <a:gd name="connsiteY6" fmla="*/ 48905 h 4890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6570" h="48905">
                          <a:moveTo>
                            <a:pt x="33515" y="48845"/>
                          </a:moveTo>
                          <a:lnTo>
                            <a:pt x="10652" y="34207"/>
                          </a:lnTo>
                          <a:cubicBezTo>
                            <a:pt x="2063" y="28521"/>
                            <a:pt x="-1869" y="18299"/>
                            <a:pt x="853" y="6262"/>
                          </a:cubicBezTo>
                          <a:cubicBezTo>
                            <a:pt x="1700" y="2391"/>
                            <a:pt x="2607" y="-330"/>
                            <a:pt x="3272" y="32"/>
                          </a:cubicBezTo>
                          <a:cubicBezTo>
                            <a:pt x="4604" y="758"/>
                            <a:pt x="15249" y="10194"/>
                            <a:pt x="28193" y="22231"/>
                          </a:cubicBezTo>
                          <a:cubicBezTo>
                            <a:pt x="36359" y="29852"/>
                            <a:pt x="39383" y="36747"/>
                            <a:pt x="33515" y="48905"/>
                          </a:cubicBezTo>
                          <a:lnTo>
                            <a:pt x="33515" y="48905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65" name="Freihandform: Form 464">
                      <a:extLst>
                        <a:ext uri="{FF2B5EF4-FFF2-40B4-BE49-F238E27FC236}">
                          <a16:creationId xmlns:a16="http://schemas.microsoft.com/office/drawing/2014/main" id="{D9A18559-9D6F-98C7-87C2-731C2249477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83347" y="3766601"/>
                      <a:ext cx="47654" cy="53620"/>
                    </a:xfrm>
                    <a:custGeom>
                      <a:avLst/>
                      <a:gdLst>
                        <a:gd name="connsiteX0" fmla="*/ 41698 w 47654"/>
                        <a:gd name="connsiteY0" fmla="*/ 53621 h 53620"/>
                        <a:gd name="connsiteX1" fmla="*/ 6797 w 47654"/>
                        <a:gd name="connsiteY1" fmla="*/ 29426 h 53620"/>
                        <a:gd name="connsiteX2" fmla="*/ 23 w 47654"/>
                        <a:gd name="connsiteY2" fmla="*/ 22047 h 53620"/>
                        <a:gd name="connsiteX3" fmla="*/ 22946 w 47654"/>
                        <a:gd name="connsiteY3" fmla="*/ 91 h 53620"/>
                        <a:gd name="connsiteX4" fmla="*/ 42302 w 47654"/>
                        <a:gd name="connsiteY4" fmla="*/ 25797 h 53620"/>
                        <a:gd name="connsiteX5" fmla="*/ 41698 w 47654"/>
                        <a:gd name="connsiteY5" fmla="*/ 53621 h 53620"/>
                        <a:gd name="connsiteX6" fmla="*/ 41698 w 47654"/>
                        <a:gd name="connsiteY6" fmla="*/ 53621 h 536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7654" h="53620">
                          <a:moveTo>
                            <a:pt x="41698" y="53621"/>
                          </a:moveTo>
                          <a:lnTo>
                            <a:pt x="6797" y="29426"/>
                          </a:lnTo>
                          <a:cubicBezTo>
                            <a:pt x="2563" y="26221"/>
                            <a:pt x="1111" y="23741"/>
                            <a:pt x="23" y="22047"/>
                          </a:cubicBezTo>
                          <a:cubicBezTo>
                            <a:pt x="-643" y="9950"/>
                            <a:pt x="13511" y="-1119"/>
                            <a:pt x="22946" y="91"/>
                          </a:cubicBezTo>
                          <a:lnTo>
                            <a:pt x="42302" y="25797"/>
                          </a:lnTo>
                          <a:cubicBezTo>
                            <a:pt x="50286" y="32814"/>
                            <a:pt x="48713" y="42310"/>
                            <a:pt x="41698" y="53621"/>
                          </a:cubicBezTo>
                          <a:lnTo>
                            <a:pt x="41698" y="53621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446" name="Grafik 297">
                    <a:extLst>
                      <a:ext uri="{FF2B5EF4-FFF2-40B4-BE49-F238E27FC236}">
                        <a16:creationId xmlns:a16="http://schemas.microsoft.com/office/drawing/2014/main" id="{D2675847-A0ED-50B5-868C-56E795ADD334}"/>
                      </a:ext>
                    </a:extLst>
                  </p:cNvPr>
                  <p:cNvGrpSpPr/>
                  <p:nvPr/>
                </p:nvGrpSpPr>
                <p:grpSpPr>
                  <a:xfrm>
                    <a:off x="11163288" y="3738619"/>
                    <a:ext cx="90846" cy="132471"/>
                    <a:chOff x="11163288" y="3738619"/>
                    <a:chExt cx="90846" cy="132471"/>
                  </a:xfrm>
                  <a:solidFill>
                    <a:srgbClr val="02787D"/>
                  </a:solidFill>
                </p:grpSpPr>
                <p:sp>
                  <p:nvSpPr>
                    <p:cNvPr id="461" name="Freihandform: Form 460">
                      <a:extLst>
                        <a:ext uri="{FF2B5EF4-FFF2-40B4-BE49-F238E27FC236}">
                          <a16:creationId xmlns:a16="http://schemas.microsoft.com/office/drawing/2014/main" id="{E7C3B9BB-AAD8-BC15-1E0D-906FB1C5EAB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0554" y="3808727"/>
                      <a:ext cx="43580" cy="62363"/>
                    </a:xfrm>
                    <a:custGeom>
                      <a:avLst/>
                      <a:gdLst>
                        <a:gd name="connsiteX0" fmla="*/ 39895 w 43580"/>
                        <a:gd name="connsiteY0" fmla="*/ 62364 h 62363"/>
                        <a:gd name="connsiteX1" fmla="*/ 12615 w 43580"/>
                        <a:gd name="connsiteY1" fmla="*/ 41194 h 62363"/>
                        <a:gd name="connsiteX2" fmla="*/ 1062 w 43580"/>
                        <a:gd name="connsiteY2" fmla="*/ 6898 h 62363"/>
                        <a:gd name="connsiteX3" fmla="*/ 3966 w 43580"/>
                        <a:gd name="connsiteY3" fmla="*/ 63 h 62363"/>
                        <a:gd name="connsiteX4" fmla="*/ 33664 w 43580"/>
                        <a:gd name="connsiteY4" fmla="*/ 30367 h 62363"/>
                        <a:gd name="connsiteX5" fmla="*/ 39895 w 43580"/>
                        <a:gd name="connsiteY5" fmla="*/ 62364 h 62363"/>
                        <a:gd name="connsiteX6" fmla="*/ 39895 w 43580"/>
                        <a:gd name="connsiteY6" fmla="*/ 62364 h 6236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3580" h="62363">
                          <a:moveTo>
                            <a:pt x="39895" y="62364"/>
                          </a:moveTo>
                          <a:lnTo>
                            <a:pt x="12615" y="41194"/>
                          </a:lnTo>
                          <a:cubicBezTo>
                            <a:pt x="2394" y="32968"/>
                            <a:pt x="-2264" y="20447"/>
                            <a:pt x="1062" y="6898"/>
                          </a:cubicBezTo>
                          <a:cubicBezTo>
                            <a:pt x="2151" y="2543"/>
                            <a:pt x="3179" y="-481"/>
                            <a:pt x="3966" y="63"/>
                          </a:cubicBezTo>
                          <a:cubicBezTo>
                            <a:pt x="5538" y="1152"/>
                            <a:pt x="18241" y="14036"/>
                            <a:pt x="33664" y="30367"/>
                          </a:cubicBezTo>
                          <a:cubicBezTo>
                            <a:pt x="43403" y="40710"/>
                            <a:pt x="46911" y="49238"/>
                            <a:pt x="39895" y="62364"/>
                          </a:cubicBezTo>
                          <a:lnTo>
                            <a:pt x="39895" y="62364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62" name="Freihandform: Form 461">
                      <a:extLst>
                        <a:ext uri="{FF2B5EF4-FFF2-40B4-BE49-F238E27FC236}">
                          <a16:creationId xmlns:a16="http://schemas.microsoft.com/office/drawing/2014/main" id="{4F4741EA-26CC-783B-C918-0D1C6D0F80B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72474" y="3771894"/>
                      <a:ext cx="58537" cy="78389"/>
                    </a:xfrm>
                    <a:custGeom>
                      <a:avLst/>
                      <a:gdLst>
                        <a:gd name="connsiteX0" fmla="*/ 51360 w 58537"/>
                        <a:gd name="connsiteY0" fmla="*/ 78390 h 78389"/>
                        <a:gd name="connsiteX1" fmla="*/ 9807 w 58537"/>
                        <a:gd name="connsiteY1" fmla="*/ 45425 h 78389"/>
                        <a:gd name="connsiteX2" fmla="*/ 8415 w 58537"/>
                        <a:gd name="connsiteY2" fmla="*/ 3085 h 78389"/>
                        <a:gd name="connsiteX3" fmla="*/ 13557 w 58537"/>
                        <a:gd name="connsiteY3" fmla="*/ 0 h 78389"/>
                        <a:gd name="connsiteX4" fmla="*/ 52207 w 58537"/>
                        <a:gd name="connsiteY4" fmla="*/ 46030 h 78389"/>
                        <a:gd name="connsiteX5" fmla="*/ 51360 w 58537"/>
                        <a:gd name="connsiteY5" fmla="*/ 78329 h 78389"/>
                        <a:gd name="connsiteX6" fmla="*/ 51360 w 58537"/>
                        <a:gd name="connsiteY6" fmla="*/ 78329 h 7838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58537" h="78389">
                          <a:moveTo>
                            <a:pt x="51360" y="78390"/>
                          </a:moveTo>
                          <a:lnTo>
                            <a:pt x="9807" y="45425"/>
                          </a:lnTo>
                          <a:cubicBezTo>
                            <a:pt x="-2714" y="35324"/>
                            <a:pt x="-3319" y="15968"/>
                            <a:pt x="8415" y="3085"/>
                          </a:cubicBezTo>
                          <a:lnTo>
                            <a:pt x="13557" y="0"/>
                          </a:lnTo>
                          <a:lnTo>
                            <a:pt x="52207" y="46030"/>
                          </a:lnTo>
                          <a:cubicBezTo>
                            <a:pt x="61703" y="55587"/>
                            <a:pt x="59768" y="66414"/>
                            <a:pt x="51360" y="78329"/>
                          </a:cubicBezTo>
                          <a:lnTo>
                            <a:pt x="51360" y="78329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63" name="Freihandform: Form 462">
                      <a:extLst>
                        <a:ext uri="{FF2B5EF4-FFF2-40B4-BE49-F238E27FC236}">
                          <a16:creationId xmlns:a16="http://schemas.microsoft.com/office/drawing/2014/main" id="{B78D742F-6148-EFF6-3FED-54603F665F0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63288" y="3738619"/>
                      <a:ext cx="39981" cy="70534"/>
                    </a:xfrm>
                    <a:custGeom>
                      <a:avLst/>
                      <a:gdLst>
                        <a:gd name="connsiteX0" fmla="*/ 61 w 39981"/>
                        <a:gd name="connsiteY0" fmla="*/ 7508 h 70534"/>
                        <a:gd name="connsiteX1" fmla="*/ 9133 w 39981"/>
                        <a:gd name="connsiteY1" fmla="*/ 63881 h 70534"/>
                        <a:gd name="connsiteX2" fmla="*/ 12400 w 39981"/>
                        <a:gd name="connsiteY2" fmla="*/ 70534 h 70534"/>
                        <a:gd name="connsiteX3" fmla="*/ 39679 w 39981"/>
                        <a:gd name="connsiteY3" fmla="*/ 39444 h 70534"/>
                        <a:gd name="connsiteX4" fmla="*/ 39981 w 39981"/>
                        <a:gd name="connsiteY4" fmla="*/ 8718 h 70534"/>
                        <a:gd name="connsiteX5" fmla="*/ 0 w 39981"/>
                        <a:gd name="connsiteY5" fmla="*/ 7447 h 705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39981" h="70534">
                          <a:moveTo>
                            <a:pt x="61" y="7508"/>
                          </a:moveTo>
                          <a:cubicBezTo>
                            <a:pt x="1633" y="19121"/>
                            <a:pt x="9133" y="63881"/>
                            <a:pt x="9133" y="63881"/>
                          </a:cubicBezTo>
                          <a:lnTo>
                            <a:pt x="12400" y="70534"/>
                          </a:lnTo>
                          <a:cubicBezTo>
                            <a:pt x="28912" y="68417"/>
                            <a:pt x="39860" y="54808"/>
                            <a:pt x="39679" y="39444"/>
                          </a:cubicBezTo>
                          <a:lnTo>
                            <a:pt x="39981" y="8718"/>
                          </a:lnTo>
                          <a:cubicBezTo>
                            <a:pt x="34175" y="-1142"/>
                            <a:pt x="3871" y="-4045"/>
                            <a:pt x="0" y="7447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447" name="Grafik 297">
                    <a:extLst>
                      <a:ext uri="{FF2B5EF4-FFF2-40B4-BE49-F238E27FC236}">
                        <a16:creationId xmlns:a16="http://schemas.microsoft.com/office/drawing/2014/main" id="{6DDCA80F-1496-8E9E-EB2A-67DF25C11116}"/>
                      </a:ext>
                    </a:extLst>
                  </p:cNvPr>
                  <p:cNvGrpSpPr/>
                  <p:nvPr/>
                </p:nvGrpSpPr>
                <p:grpSpPr>
                  <a:xfrm>
                    <a:off x="11175204" y="3729413"/>
                    <a:ext cx="72144" cy="163391"/>
                    <a:chOff x="11175204" y="3729413"/>
                    <a:chExt cx="72144" cy="163391"/>
                  </a:xfrm>
                  <a:solidFill>
                    <a:srgbClr val="02787D"/>
                  </a:solidFill>
                </p:grpSpPr>
                <p:sp>
                  <p:nvSpPr>
                    <p:cNvPr id="458" name="Freihandform: Form 457">
                      <a:extLst>
                        <a:ext uri="{FF2B5EF4-FFF2-40B4-BE49-F238E27FC236}">
                          <a16:creationId xmlns:a16="http://schemas.microsoft.com/office/drawing/2014/main" id="{05DC0CB0-D14E-9D1E-2DD2-95F59C957E3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2650" y="3814241"/>
                      <a:ext cx="34698" cy="78564"/>
                    </a:xfrm>
                    <a:custGeom>
                      <a:avLst/>
                      <a:gdLst>
                        <a:gd name="connsiteX0" fmla="*/ 24310 w 34698"/>
                        <a:gd name="connsiteY0" fmla="*/ 78504 h 78564"/>
                        <a:gd name="connsiteX1" fmla="*/ 5015 w 34698"/>
                        <a:gd name="connsiteY1" fmla="*/ 45781 h 78564"/>
                        <a:gd name="connsiteX2" fmla="*/ 7072 w 34698"/>
                        <a:gd name="connsiteY2" fmla="*/ 5982 h 78564"/>
                        <a:gd name="connsiteX3" fmla="*/ 12818 w 34698"/>
                        <a:gd name="connsiteY3" fmla="*/ 175 h 78564"/>
                        <a:gd name="connsiteX4" fmla="*/ 30903 w 34698"/>
                        <a:gd name="connsiteY4" fmla="*/ 43241 h 78564"/>
                        <a:gd name="connsiteX5" fmla="*/ 24310 w 34698"/>
                        <a:gd name="connsiteY5" fmla="*/ 78565 h 78564"/>
                        <a:gd name="connsiteX6" fmla="*/ 24310 w 34698"/>
                        <a:gd name="connsiteY6" fmla="*/ 78565 h 785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4698" h="78564">
                          <a:moveTo>
                            <a:pt x="24310" y="78504"/>
                          </a:moveTo>
                          <a:lnTo>
                            <a:pt x="5015" y="45781"/>
                          </a:lnTo>
                          <a:cubicBezTo>
                            <a:pt x="-2122" y="33261"/>
                            <a:pt x="-1820" y="18502"/>
                            <a:pt x="7072" y="5982"/>
                          </a:cubicBezTo>
                          <a:cubicBezTo>
                            <a:pt x="9915" y="1990"/>
                            <a:pt x="12213" y="-732"/>
                            <a:pt x="12818" y="175"/>
                          </a:cubicBezTo>
                          <a:cubicBezTo>
                            <a:pt x="13967" y="1929"/>
                            <a:pt x="21770" y="20256"/>
                            <a:pt x="30903" y="43241"/>
                          </a:cubicBezTo>
                          <a:cubicBezTo>
                            <a:pt x="36710" y="57758"/>
                            <a:pt x="36831" y="67919"/>
                            <a:pt x="24310" y="78565"/>
                          </a:cubicBezTo>
                          <a:lnTo>
                            <a:pt x="24310" y="78565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59" name="Freihandform: Form 458">
                      <a:extLst>
                        <a:ext uri="{FF2B5EF4-FFF2-40B4-BE49-F238E27FC236}">
                          <a16:creationId xmlns:a16="http://schemas.microsoft.com/office/drawing/2014/main" id="{B42D7D66-B5AF-D6E4-A1DF-773073EEA40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86914" y="3784717"/>
                      <a:ext cx="48550" cy="77543"/>
                    </a:xfrm>
                    <a:custGeom>
                      <a:avLst/>
                      <a:gdLst>
                        <a:gd name="connsiteX0" fmla="*/ 32082 w 48550"/>
                        <a:gd name="connsiteY0" fmla="*/ 77543 h 77543"/>
                        <a:gd name="connsiteX1" fmla="*/ 3169 w 48550"/>
                        <a:gd name="connsiteY1" fmla="*/ 26614 h 77543"/>
                        <a:gd name="connsiteX2" fmla="*/ 24097 w 48550"/>
                        <a:gd name="connsiteY2" fmla="*/ 1573 h 77543"/>
                        <a:gd name="connsiteX3" fmla="*/ 26577 w 48550"/>
                        <a:gd name="connsiteY3" fmla="*/ 0 h 77543"/>
                        <a:gd name="connsiteX4" fmla="*/ 46296 w 48550"/>
                        <a:gd name="connsiteY4" fmla="*/ 44457 h 77543"/>
                        <a:gd name="connsiteX5" fmla="*/ 32928 w 48550"/>
                        <a:gd name="connsiteY5" fmla="*/ 76938 h 77543"/>
                        <a:gd name="connsiteX6" fmla="*/ 32021 w 48550"/>
                        <a:gd name="connsiteY6" fmla="*/ 77543 h 7754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8550" h="77543">
                          <a:moveTo>
                            <a:pt x="32082" y="77543"/>
                          </a:moveTo>
                          <a:lnTo>
                            <a:pt x="3169" y="26614"/>
                          </a:lnTo>
                          <a:cubicBezTo>
                            <a:pt x="-5541" y="11190"/>
                            <a:pt x="4439" y="4476"/>
                            <a:pt x="24097" y="1573"/>
                          </a:cubicBezTo>
                          <a:lnTo>
                            <a:pt x="26577" y="0"/>
                          </a:lnTo>
                          <a:lnTo>
                            <a:pt x="46296" y="44457"/>
                          </a:lnTo>
                          <a:cubicBezTo>
                            <a:pt x="52102" y="58127"/>
                            <a:pt x="46356" y="68107"/>
                            <a:pt x="32928" y="76938"/>
                          </a:cubicBezTo>
                          <a:lnTo>
                            <a:pt x="32021" y="77543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60" name="Freihandform: Form 459">
                      <a:extLst>
                        <a:ext uri="{FF2B5EF4-FFF2-40B4-BE49-F238E27FC236}">
                          <a16:creationId xmlns:a16="http://schemas.microsoft.com/office/drawing/2014/main" id="{DC0C5722-6B24-DFEC-1DA3-E7B5EEB6AFC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75204" y="3729413"/>
                      <a:ext cx="39679" cy="76473"/>
                    </a:xfrm>
                    <a:custGeom>
                      <a:avLst/>
                      <a:gdLst>
                        <a:gd name="connsiteX0" fmla="*/ 0 w 39679"/>
                        <a:gd name="connsiteY0" fmla="*/ 10000 h 76473"/>
                        <a:gd name="connsiteX1" fmla="*/ 12642 w 39679"/>
                        <a:gd name="connsiteY1" fmla="*/ 76474 h 76473"/>
                        <a:gd name="connsiteX2" fmla="*/ 39376 w 39679"/>
                        <a:gd name="connsiteY2" fmla="*/ 55908 h 76473"/>
                        <a:gd name="connsiteX3" fmla="*/ 39679 w 39679"/>
                        <a:gd name="connsiteY3" fmla="*/ 7762 h 76473"/>
                        <a:gd name="connsiteX4" fmla="*/ 0 w 39679"/>
                        <a:gd name="connsiteY4" fmla="*/ 9939 h 764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9679" h="76473">
                          <a:moveTo>
                            <a:pt x="0" y="10000"/>
                          </a:moveTo>
                          <a:cubicBezTo>
                            <a:pt x="0" y="11209"/>
                            <a:pt x="12642" y="76474"/>
                            <a:pt x="12642" y="76474"/>
                          </a:cubicBezTo>
                          <a:cubicBezTo>
                            <a:pt x="30848" y="74236"/>
                            <a:pt x="39376" y="72844"/>
                            <a:pt x="39376" y="55908"/>
                          </a:cubicBezTo>
                          <a:lnTo>
                            <a:pt x="39679" y="7762"/>
                          </a:lnTo>
                          <a:cubicBezTo>
                            <a:pt x="33388" y="-3126"/>
                            <a:pt x="4356" y="-2702"/>
                            <a:pt x="0" y="9939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448" name="Grafik 297">
                    <a:extLst>
                      <a:ext uri="{FF2B5EF4-FFF2-40B4-BE49-F238E27FC236}">
                        <a16:creationId xmlns:a16="http://schemas.microsoft.com/office/drawing/2014/main" id="{65FF5F40-DDB3-FD1F-C2F7-5AF162B85B70}"/>
                      </a:ext>
                    </a:extLst>
                  </p:cNvPr>
                  <p:cNvGrpSpPr/>
                  <p:nvPr/>
                </p:nvGrpSpPr>
                <p:grpSpPr>
                  <a:xfrm>
                    <a:off x="11188390" y="3736015"/>
                    <a:ext cx="61520" cy="156366"/>
                    <a:chOff x="11188390" y="3736015"/>
                    <a:chExt cx="61520" cy="156366"/>
                  </a:xfrm>
                  <a:solidFill>
                    <a:srgbClr val="02787D"/>
                  </a:solidFill>
                </p:grpSpPr>
                <p:sp>
                  <p:nvSpPr>
                    <p:cNvPr id="455" name="Freihandform: Form 454">
                      <a:extLst>
                        <a:ext uri="{FF2B5EF4-FFF2-40B4-BE49-F238E27FC236}">
                          <a16:creationId xmlns:a16="http://schemas.microsoft.com/office/drawing/2014/main" id="{30FC2C87-1182-5061-A1DD-331D8E39EE6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8103" y="3821286"/>
                      <a:ext cx="31807" cy="71096"/>
                    </a:xfrm>
                    <a:custGeom>
                      <a:avLst/>
                      <a:gdLst>
                        <a:gd name="connsiteX0" fmla="*/ 18917 w 31807"/>
                        <a:gd name="connsiteY0" fmla="*/ 71096 h 71096"/>
                        <a:gd name="connsiteX1" fmla="*/ 3554 w 31807"/>
                        <a:gd name="connsiteY1" fmla="*/ 39462 h 71096"/>
                        <a:gd name="connsiteX2" fmla="*/ 8877 w 31807"/>
                        <a:gd name="connsiteY2" fmla="*/ 4804 h 71096"/>
                        <a:gd name="connsiteX3" fmla="*/ 15288 w 31807"/>
                        <a:gd name="connsiteY3" fmla="*/ 207 h 71096"/>
                        <a:gd name="connsiteX4" fmla="*/ 29744 w 31807"/>
                        <a:gd name="connsiteY4" fmla="*/ 39946 h 71096"/>
                        <a:gd name="connsiteX5" fmla="*/ 18917 w 31807"/>
                        <a:gd name="connsiteY5" fmla="*/ 71096 h 71096"/>
                        <a:gd name="connsiteX6" fmla="*/ 18917 w 31807"/>
                        <a:gd name="connsiteY6" fmla="*/ 71096 h 7109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1807" h="71096">
                          <a:moveTo>
                            <a:pt x="18917" y="71096"/>
                          </a:moveTo>
                          <a:lnTo>
                            <a:pt x="3554" y="39462"/>
                          </a:lnTo>
                          <a:cubicBezTo>
                            <a:pt x="-2072" y="27365"/>
                            <a:pt x="-1527" y="15147"/>
                            <a:pt x="8877" y="4804"/>
                          </a:cubicBezTo>
                          <a:cubicBezTo>
                            <a:pt x="12204" y="1477"/>
                            <a:pt x="14804" y="-701"/>
                            <a:pt x="15288" y="207"/>
                          </a:cubicBezTo>
                          <a:cubicBezTo>
                            <a:pt x="16195" y="1900"/>
                            <a:pt x="23333" y="18232"/>
                            <a:pt x="29744" y="39946"/>
                          </a:cubicBezTo>
                          <a:cubicBezTo>
                            <a:pt x="33797" y="53676"/>
                            <a:pt x="32708" y="62870"/>
                            <a:pt x="18917" y="71096"/>
                          </a:cubicBezTo>
                          <a:lnTo>
                            <a:pt x="18917" y="71096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56" name="Freihandform: Form 455">
                      <a:extLst>
                        <a:ext uri="{FF2B5EF4-FFF2-40B4-BE49-F238E27FC236}">
                          <a16:creationId xmlns:a16="http://schemas.microsoft.com/office/drawing/2014/main" id="{02EC018E-37FD-109C-8A65-7585C0EA4B8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96102" y="3785140"/>
                      <a:ext cx="43119" cy="75607"/>
                    </a:xfrm>
                    <a:custGeom>
                      <a:avLst/>
                      <a:gdLst>
                        <a:gd name="connsiteX0" fmla="*/ 25495 w 43119"/>
                        <a:gd name="connsiteY0" fmla="*/ 75607 h 75607"/>
                        <a:gd name="connsiteX1" fmla="*/ 2389 w 43119"/>
                        <a:gd name="connsiteY1" fmla="*/ 26856 h 75607"/>
                        <a:gd name="connsiteX2" fmla="*/ 21987 w 43119"/>
                        <a:gd name="connsiteY2" fmla="*/ 0 h 75607"/>
                        <a:gd name="connsiteX3" fmla="*/ 26099 w 43119"/>
                        <a:gd name="connsiteY3" fmla="*/ 5444 h 75607"/>
                        <a:gd name="connsiteX4" fmla="*/ 41826 w 43119"/>
                        <a:gd name="connsiteY4" fmla="*/ 48631 h 75607"/>
                        <a:gd name="connsiteX5" fmla="*/ 25495 w 43119"/>
                        <a:gd name="connsiteY5" fmla="*/ 75607 h 75607"/>
                        <a:gd name="connsiteX6" fmla="*/ 25495 w 43119"/>
                        <a:gd name="connsiteY6" fmla="*/ 75607 h 756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3119" h="75607">
                          <a:moveTo>
                            <a:pt x="25495" y="75607"/>
                          </a:moveTo>
                          <a:lnTo>
                            <a:pt x="2389" y="26856"/>
                          </a:lnTo>
                          <a:cubicBezTo>
                            <a:pt x="-4446" y="12037"/>
                            <a:pt x="3780" y="5746"/>
                            <a:pt x="21987" y="0"/>
                          </a:cubicBezTo>
                          <a:lnTo>
                            <a:pt x="26099" y="5444"/>
                          </a:lnTo>
                          <a:lnTo>
                            <a:pt x="41826" y="48631"/>
                          </a:lnTo>
                          <a:cubicBezTo>
                            <a:pt x="46000" y="61575"/>
                            <a:pt x="39951" y="69075"/>
                            <a:pt x="25495" y="75607"/>
                          </a:cubicBezTo>
                          <a:lnTo>
                            <a:pt x="25495" y="75607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57" name="Freihandform: Form 456">
                      <a:extLst>
                        <a:ext uri="{FF2B5EF4-FFF2-40B4-BE49-F238E27FC236}">
                          <a16:creationId xmlns:a16="http://schemas.microsoft.com/office/drawing/2014/main" id="{7A8024B4-D5A5-B021-7F69-0119297941D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88390" y="3736015"/>
                      <a:ext cx="34476" cy="69266"/>
                    </a:xfrm>
                    <a:custGeom>
                      <a:avLst/>
                      <a:gdLst>
                        <a:gd name="connsiteX0" fmla="*/ 0 w 34476"/>
                        <a:gd name="connsiteY0" fmla="*/ 5575 h 69266"/>
                        <a:gd name="connsiteX1" fmla="*/ 7924 w 34476"/>
                        <a:gd name="connsiteY1" fmla="*/ 69267 h 69266"/>
                        <a:gd name="connsiteX2" fmla="*/ 33872 w 34476"/>
                        <a:gd name="connsiteY2" fmla="*/ 56867 h 69266"/>
                        <a:gd name="connsiteX3" fmla="*/ 34477 w 34476"/>
                        <a:gd name="connsiteY3" fmla="*/ 12168 h 69266"/>
                        <a:gd name="connsiteX4" fmla="*/ 0 w 34476"/>
                        <a:gd name="connsiteY4" fmla="*/ 5575 h 6926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4476" h="69266">
                          <a:moveTo>
                            <a:pt x="0" y="5575"/>
                          </a:moveTo>
                          <a:cubicBezTo>
                            <a:pt x="0" y="6724"/>
                            <a:pt x="7924" y="69267"/>
                            <a:pt x="7924" y="69267"/>
                          </a:cubicBezTo>
                          <a:cubicBezTo>
                            <a:pt x="26311" y="68420"/>
                            <a:pt x="32723" y="72170"/>
                            <a:pt x="33872" y="56867"/>
                          </a:cubicBezTo>
                          <a:lnTo>
                            <a:pt x="34477" y="12168"/>
                          </a:lnTo>
                          <a:cubicBezTo>
                            <a:pt x="28912" y="1946"/>
                            <a:pt x="5262" y="-5675"/>
                            <a:pt x="0" y="557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449" name="Grafik 297">
                    <a:extLst>
                      <a:ext uri="{FF2B5EF4-FFF2-40B4-BE49-F238E27FC236}">
                        <a16:creationId xmlns:a16="http://schemas.microsoft.com/office/drawing/2014/main" id="{09C241DB-509D-73EF-E303-B7701DCF505D}"/>
                      </a:ext>
                    </a:extLst>
                  </p:cNvPr>
                  <p:cNvGrpSpPr/>
                  <p:nvPr/>
                </p:nvGrpSpPr>
                <p:grpSpPr>
                  <a:xfrm>
                    <a:off x="11208616" y="3610134"/>
                    <a:ext cx="98810" cy="216076"/>
                    <a:chOff x="11208616" y="3610134"/>
                    <a:chExt cx="98810" cy="216076"/>
                  </a:xfrm>
                  <a:solidFill>
                    <a:srgbClr val="02787D"/>
                  </a:solidFill>
                </p:grpSpPr>
                <p:sp>
                  <p:nvSpPr>
                    <p:cNvPr id="452" name="Freihandform: Form 451">
                      <a:extLst>
                        <a:ext uri="{FF2B5EF4-FFF2-40B4-BE49-F238E27FC236}">
                          <a16:creationId xmlns:a16="http://schemas.microsoft.com/office/drawing/2014/main" id="{979F990F-9500-979C-E2E5-D1023B480FB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53713" y="3739314"/>
                      <a:ext cx="34296" cy="86896"/>
                    </a:xfrm>
                    <a:custGeom>
                      <a:avLst/>
                      <a:gdLst>
                        <a:gd name="connsiteX0" fmla="*/ 17724 w 34296"/>
                        <a:gd name="connsiteY0" fmla="*/ 86896 h 86896"/>
                        <a:gd name="connsiteX1" fmla="*/ 34297 w 34296"/>
                        <a:gd name="connsiteY1" fmla="*/ 45766 h 86896"/>
                        <a:gd name="connsiteX2" fmla="*/ 26918 w 34296"/>
                        <a:gd name="connsiteY2" fmla="*/ 2942 h 86896"/>
                        <a:gd name="connsiteX3" fmla="*/ 18571 w 34296"/>
                        <a:gd name="connsiteY3" fmla="*/ 825 h 86896"/>
                        <a:gd name="connsiteX4" fmla="*/ 1634 w 34296"/>
                        <a:gd name="connsiteY4" fmla="*/ 50968 h 86896"/>
                        <a:gd name="connsiteX5" fmla="*/ 17724 w 34296"/>
                        <a:gd name="connsiteY5" fmla="*/ 86896 h 86896"/>
                        <a:gd name="connsiteX6" fmla="*/ 17724 w 34296"/>
                        <a:gd name="connsiteY6" fmla="*/ 86896 h 8689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4296" h="86896">
                          <a:moveTo>
                            <a:pt x="17724" y="86896"/>
                          </a:moveTo>
                          <a:lnTo>
                            <a:pt x="34297" y="45766"/>
                          </a:lnTo>
                          <a:cubicBezTo>
                            <a:pt x="34176" y="31794"/>
                            <a:pt x="34660" y="10140"/>
                            <a:pt x="26918" y="2942"/>
                          </a:cubicBezTo>
                          <a:cubicBezTo>
                            <a:pt x="22503" y="-1111"/>
                            <a:pt x="19115" y="-82"/>
                            <a:pt x="18571" y="825"/>
                          </a:cubicBezTo>
                          <a:cubicBezTo>
                            <a:pt x="14760" y="7599"/>
                            <a:pt x="7199" y="29616"/>
                            <a:pt x="1634" y="50968"/>
                          </a:cubicBezTo>
                          <a:cubicBezTo>
                            <a:pt x="-2236" y="65787"/>
                            <a:pt x="-119" y="76190"/>
                            <a:pt x="17724" y="86896"/>
                          </a:cubicBezTo>
                          <a:lnTo>
                            <a:pt x="17724" y="86896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53" name="Freihandform: Form 452">
                      <a:extLst>
                        <a:ext uri="{FF2B5EF4-FFF2-40B4-BE49-F238E27FC236}">
                          <a16:creationId xmlns:a16="http://schemas.microsoft.com/office/drawing/2014/main" id="{51804AB6-D27A-71AC-D560-AFCAF8824A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57041" y="3712410"/>
                      <a:ext cx="50385" cy="74325"/>
                    </a:xfrm>
                    <a:custGeom>
                      <a:avLst/>
                      <a:gdLst>
                        <a:gd name="connsiteX0" fmla="*/ 50385 w 50385"/>
                        <a:gd name="connsiteY0" fmla="*/ 8615 h 74325"/>
                        <a:gd name="connsiteX1" fmla="*/ 0 w 50385"/>
                        <a:gd name="connsiteY1" fmla="*/ 10188 h 74325"/>
                        <a:gd name="connsiteX2" fmla="*/ 7682 w 50385"/>
                        <a:gd name="connsiteY2" fmla="*/ 46782 h 74325"/>
                        <a:gd name="connsiteX3" fmla="*/ 31029 w 50385"/>
                        <a:gd name="connsiteY3" fmla="*/ 72670 h 74325"/>
                        <a:gd name="connsiteX4" fmla="*/ 50385 w 50385"/>
                        <a:gd name="connsiteY4" fmla="*/ 8615 h 743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0385" h="74325">
                          <a:moveTo>
                            <a:pt x="50385" y="8615"/>
                          </a:moveTo>
                          <a:cubicBezTo>
                            <a:pt x="36352" y="-11648"/>
                            <a:pt x="0" y="10188"/>
                            <a:pt x="0" y="10188"/>
                          </a:cubicBezTo>
                          <a:lnTo>
                            <a:pt x="7682" y="46782"/>
                          </a:lnTo>
                          <a:cubicBezTo>
                            <a:pt x="7924" y="62508"/>
                            <a:pt x="17602" y="79807"/>
                            <a:pt x="31029" y="72670"/>
                          </a:cubicBezTo>
                          <a:cubicBezTo>
                            <a:pt x="31029" y="72670"/>
                            <a:pt x="50385" y="7890"/>
                            <a:pt x="50385" y="861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54" name="Freihandform: Form 453">
                      <a:extLst>
                        <a:ext uri="{FF2B5EF4-FFF2-40B4-BE49-F238E27FC236}">
                          <a16:creationId xmlns:a16="http://schemas.microsoft.com/office/drawing/2014/main" id="{5E60D9DC-108A-0E13-D200-8184B8851A5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08616" y="3610134"/>
                      <a:ext cx="98810" cy="121421"/>
                    </a:xfrm>
                    <a:custGeom>
                      <a:avLst/>
                      <a:gdLst>
                        <a:gd name="connsiteX0" fmla="*/ 91190 w 98810"/>
                        <a:gd name="connsiteY0" fmla="*/ 57180 h 121421"/>
                        <a:gd name="connsiteX1" fmla="*/ 98811 w 98810"/>
                        <a:gd name="connsiteY1" fmla="*/ 110831 h 121421"/>
                        <a:gd name="connsiteX2" fmla="*/ 98811 w 98810"/>
                        <a:gd name="connsiteY2" fmla="*/ 110831 h 121421"/>
                        <a:gd name="connsiteX3" fmla="*/ 48728 w 98810"/>
                        <a:gd name="connsiteY3" fmla="*/ 113311 h 121421"/>
                        <a:gd name="connsiteX4" fmla="*/ 7719 w 98810"/>
                        <a:gd name="connsiteY4" fmla="*/ 53006 h 121421"/>
                        <a:gd name="connsiteX5" fmla="*/ 62035 w 98810"/>
                        <a:gd name="connsiteY5" fmla="*/ 4920 h 121421"/>
                        <a:gd name="connsiteX6" fmla="*/ 91250 w 98810"/>
                        <a:gd name="connsiteY6" fmla="*/ 57119 h 1214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98810" h="121421">
                          <a:moveTo>
                            <a:pt x="91190" y="57180"/>
                          </a:moveTo>
                          <a:cubicBezTo>
                            <a:pt x="95121" y="72241"/>
                            <a:pt x="98811" y="110831"/>
                            <a:pt x="98811" y="110831"/>
                          </a:cubicBezTo>
                          <a:lnTo>
                            <a:pt x="98811" y="110831"/>
                          </a:lnTo>
                          <a:cubicBezTo>
                            <a:pt x="75463" y="113311"/>
                            <a:pt x="78427" y="131759"/>
                            <a:pt x="48728" y="113311"/>
                          </a:cubicBezTo>
                          <a:cubicBezTo>
                            <a:pt x="48728" y="113311"/>
                            <a:pt x="37296" y="72906"/>
                            <a:pt x="7719" y="53006"/>
                          </a:cubicBezTo>
                          <a:cubicBezTo>
                            <a:pt x="-17806" y="35828"/>
                            <a:pt x="25078" y="-16069"/>
                            <a:pt x="62035" y="4920"/>
                          </a:cubicBezTo>
                          <a:cubicBezTo>
                            <a:pt x="79576" y="26755"/>
                            <a:pt x="91250" y="57119"/>
                            <a:pt x="91250" y="57119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450" name="Freihandform: Form 449">
                    <a:extLst>
                      <a:ext uri="{FF2B5EF4-FFF2-40B4-BE49-F238E27FC236}">
                        <a16:creationId xmlns:a16="http://schemas.microsoft.com/office/drawing/2014/main" id="{F5B0342F-C8C3-54EF-0B3E-9DD475579ADD}"/>
                      </a:ext>
                    </a:extLst>
                  </p:cNvPr>
                  <p:cNvSpPr/>
                  <p:nvPr/>
                </p:nvSpPr>
                <p:spPr>
                  <a:xfrm>
                    <a:off x="11163281" y="3594186"/>
                    <a:ext cx="140662" cy="175772"/>
                  </a:xfrm>
                  <a:custGeom>
                    <a:avLst/>
                    <a:gdLst>
                      <a:gd name="connsiteX0" fmla="*/ 128 w 140662"/>
                      <a:gd name="connsiteY0" fmla="*/ 127202 h 175772"/>
                      <a:gd name="connsiteX1" fmla="*/ 20995 w 140662"/>
                      <a:gd name="connsiteY1" fmla="*/ 2057 h 175772"/>
                      <a:gd name="connsiteX2" fmla="*/ 105978 w 140662"/>
                      <a:gd name="connsiteY2" fmla="*/ 0 h 175772"/>
                      <a:gd name="connsiteX3" fmla="*/ 112027 w 140662"/>
                      <a:gd name="connsiteY3" fmla="*/ 22077 h 175772"/>
                      <a:gd name="connsiteX4" fmla="*/ 140576 w 140662"/>
                      <a:gd name="connsiteY4" fmla="*/ 100770 h 175772"/>
                      <a:gd name="connsiteX5" fmla="*/ 92913 w 140662"/>
                      <a:gd name="connsiteY5" fmla="*/ 122968 h 175772"/>
                      <a:gd name="connsiteX6" fmla="*/ 58376 w 140662"/>
                      <a:gd name="connsiteY6" fmla="*/ 175772 h 175772"/>
                      <a:gd name="connsiteX7" fmla="*/ 67 w 140662"/>
                      <a:gd name="connsiteY7" fmla="*/ 152001 h 175772"/>
                      <a:gd name="connsiteX8" fmla="*/ 67 w 140662"/>
                      <a:gd name="connsiteY8" fmla="*/ 127263 h 1757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40662" h="175772">
                        <a:moveTo>
                          <a:pt x="128" y="127202"/>
                        </a:moveTo>
                        <a:cubicBezTo>
                          <a:pt x="7326" y="95144"/>
                          <a:pt x="15491" y="57341"/>
                          <a:pt x="20995" y="2057"/>
                        </a:cubicBezTo>
                        <a:lnTo>
                          <a:pt x="105978" y="0"/>
                        </a:lnTo>
                        <a:cubicBezTo>
                          <a:pt x="106160" y="16089"/>
                          <a:pt x="109910" y="20021"/>
                          <a:pt x="112027" y="22077"/>
                        </a:cubicBezTo>
                        <a:cubicBezTo>
                          <a:pt x="143721" y="52562"/>
                          <a:pt x="140576" y="100770"/>
                          <a:pt x="140576" y="100770"/>
                        </a:cubicBezTo>
                        <a:cubicBezTo>
                          <a:pt x="140032" y="105306"/>
                          <a:pt x="109366" y="98411"/>
                          <a:pt x="92913" y="122968"/>
                        </a:cubicBezTo>
                        <a:cubicBezTo>
                          <a:pt x="88255" y="129863"/>
                          <a:pt x="62791" y="137545"/>
                          <a:pt x="58376" y="175772"/>
                        </a:cubicBezTo>
                        <a:cubicBezTo>
                          <a:pt x="19786" y="137848"/>
                          <a:pt x="1943" y="151215"/>
                          <a:pt x="67" y="152001"/>
                        </a:cubicBezTo>
                        <a:cubicBezTo>
                          <a:pt x="611" y="142263"/>
                          <a:pt x="-235" y="133855"/>
                          <a:pt x="67" y="127263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1" name="Freihandform: Form 450">
                    <a:extLst>
                      <a:ext uri="{FF2B5EF4-FFF2-40B4-BE49-F238E27FC236}">
                        <a16:creationId xmlns:a16="http://schemas.microsoft.com/office/drawing/2014/main" id="{713FAC71-5277-06AE-D3FA-BC9B9B95E5BC}"/>
                      </a:ext>
                    </a:extLst>
                  </p:cNvPr>
                  <p:cNvSpPr/>
                  <p:nvPr/>
                </p:nvSpPr>
                <p:spPr>
                  <a:xfrm>
                    <a:off x="11184216" y="3555052"/>
                    <a:ext cx="85164" cy="85164"/>
                  </a:xfrm>
                  <a:custGeom>
                    <a:avLst/>
                    <a:gdLst>
                      <a:gd name="connsiteX0" fmla="*/ 85164 w 85164"/>
                      <a:gd name="connsiteY0" fmla="*/ 42582 h 85164"/>
                      <a:gd name="connsiteX1" fmla="*/ 42582 w 85164"/>
                      <a:gd name="connsiteY1" fmla="*/ 85164 h 85164"/>
                      <a:gd name="connsiteX2" fmla="*/ 0 w 85164"/>
                      <a:gd name="connsiteY2" fmla="*/ 42582 h 85164"/>
                      <a:gd name="connsiteX3" fmla="*/ 42582 w 85164"/>
                      <a:gd name="connsiteY3" fmla="*/ 0 h 85164"/>
                      <a:gd name="connsiteX4" fmla="*/ 85164 w 85164"/>
                      <a:gd name="connsiteY4" fmla="*/ 42582 h 85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5164" h="85164">
                        <a:moveTo>
                          <a:pt x="85164" y="42582"/>
                        </a:moveTo>
                        <a:cubicBezTo>
                          <a:pt x="85164" y="66100"/>
                          <a:pt x="66100" y="85164"/>
                          <a:pt x="42582" y="85164"/>
                        </a:cubicBezTo>
                        <a:cubicBezTo>
                          <a:pt x="19065" y="85164"/>
                          <a:pt x="0" y="66100"/>
                          <a:pt x="0" y="42582"/>
                        </a:cubicBezTo>
                        <a:cubicBezTo>
                          <a:pt x="0" y="19065"/>
                          <a:pt x="19064" y="0"/>
                          <a:pt x="42582" y="0"/>
                        </a:cubicBezTo>
                        <a:cubicBezTo>
                          <a:pt x="66099" y="0"/>
                          <a:pt x="85164" y="19065"/>
                          <a:pt x="85164" y="42582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444" name="Freihandform: Form 443">
                  <a:extLst>
                    <a:ext uri="{FF2B5EF4-FFF2-40B4-BE49-F238E27FC236}">
                      <a16:creationId xmlns:a16="http://schemas.microsoft.com/office/drawing/2014/main" id="{7ED8417F-5509-6E2C-E02B-A39A48D89210}"/>
                    </a:ext>
                  </a:extLst>
                </p:cNvPr>
                <p:cNvSpPr/>
                <p:nvPr/>
              </p:nvSpPr>
              <p:spPr>
                <a:xfrm>
                  <a:off x="11554269" y="2207424"/>
                  <a:ext cx="268013" cy="182791"/>
                </a:xfrm>
                <a:custGeom>
                  <a:avLst/>
                  <a:gdLst>
                    <a:gd name="connsiteX0" fmla="*/ 0 w 268013"/>
                    <a:gd name="connsiteY0" fmla="*/ 0 h 182791"/>
                    <a:gd name="connsiteX1" fmla="*/ 9133 w 268013"/>
                    <a:gd name="connsiteY1" fmla="*/ 120125 h 182791"/>
                    <a:gd name="connsiteX2" fmla="*/ 135186 w 268013"/>
                    <a:gd name="connsiteY2" fmla="*/ 182789 h 182791"/>
                    <a:gd name="connsiteX3" fmla="*/ 259606 w 268013"/>
                    <a:gd name="connsiteY3" fmla="*/ 101374 h 182791"/>
                    <a:gd name="connsiteX4" fmla="*/ 268014 w 268013"/>
                    <a:gd name="connsiteY4" fmla="*/ 7440 h 182791"/>
                    <a:gd name="connsiteX5" fmla="*/ 0 w 268013"/>
                    <a:gd name="connsiteY5" fmla="*/ 121 h 182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68013" h="182791">
                      <a:moveTo>
                        <a:pt x="0" y="0"/>
                      </a:moveTo>
                      <a:cubicBezTo>
                        <a:pt x="1694" y="2903"/>
                        <a:pt x="9133" y="120125"/>
                        <a:pt x="9133" y="120125"/>
                      </a:cubicBezTo>
                      <a:cubicBezTo>
                        <a:pt x="9133" y="120125"/>
                        <a:pt x="13670" y="182244"/>
                        <a:pt x="135186" y="182789"/>
                      </a:cubicBezTo>
                      <a:cubicBezTo>
                        <a:pt x="268014" y="183333"/>
                        <a:pt x="259606" y="101374"/>
                        <a:pt x="259606" y="101374"/>
                      </a:cubicBezTo>
                      <a:lnTo>
                        <a:pt x="268014" y="7440"/>
                      </a:lnTo>
                      <a:cubicBezTo>
                        <a:pt x="182547" y="25646"/>
                        <a:pt x="96838" y="27219"/>
                        <a:pt x="0" y="121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297" name="Grafik 297">
                <a:extLst>
                  <a:ext uri="{FF2B5EF4-FFF2-40B4-BE49-F238E27FC236}">
                    <a16:creationId xmlns:a16="http://schemas.microsoft.com/office/drawing/2014/main" id="{927C0C34-2044-C0D4-8158-E4C6FFEDD2EF}"/>
                  </a:ext>
                </a:extLst>
              </p:cNvPr>
              <p:cNvGrpSpPr/>
              <p:nvPr/>
            </p:nvGrpSpPr>
            <p:grpSpPr>
              <a:xfrm>
                <a:off x="9590362" y="1659724"/>
                <a:ext cx="1540851" cy="3537443"/>
                <a:chOff x="48" y="1659724"/>
                <a:chExt cx="1540851" cy="3537443"/>
              </a:xfrm>
            </p:grpSpPr>
            <p:grpSp>
              <p:nvGrpSpPr>
                <p:cNvPr id="298" name="Grafik 297">
                  <a:extLst>
                    <a:ext uri="{FF2B5EF4-FFF2-40B4-BE49-F238E27FC236}">
                      <a16:creationId xmlns:a16="http://schemas.microsoft.com/office/drawing/2014/main" id="{5AF804FC-035B-9832-B441-B42817A8E46A}"/>
                    </a:ext>
                  </a:extLst>
                </p:cNvPr>
                <p:cNvGrpSpPr/>
                <p:nvPr/>
              </p:nvGrpSpPr>
              <p:grpSpPr>
                <a:xfrm>
                  <a:off x="134278" y="3425249"/>
                  <a:ext cx="206694" cy="389892"/>
                  <a:chOff x="134278" y="3425249"/>
                  <a:chExt cx="206694" cy="389892"/>
                </a:xfrm>
                <a:solidFill>
                  <a:srgbClr val="02787D"/>
                </a:solidFill>
              </p:grpSpPr>
              <p:sp>
                <p:nvSpPr>
                  <p:cNvPr id="374" name="Freihandform: Form 373">
                    <a:extLst>
                      <a:ext uri="{FF2B5EF4-FFF2-40B4-BE49-F238E27FC236}">
                        <a16:creationId xmlns:a16="http://schemas.microsoft.com/office/drawing/2014/main" id="{B62E30D2-A55B-916B-9843-7D54C653D1E8}"/>
                      </a:ext>
                    </a:extLst>
                  </p:cNvPr>
                  <p:cNvSpPr/>
                  <p:nvPr/>
                </p:nvSpPr>
                <p:spPr>
                  <a:xfrm>
                    <a:off x="194341" y="3425249"/>
                    <a:ext cx="116254" cy="116254"/>
                  </a:xfrm>
                  <a:custGeom>
                    <a:avLst/>
                    <a:gdLst>
                      <a:gd name="connsiteX0" fmla="*/ 116254 w 116254"/>
                      <a:gd name="connsiteY0" fmla="*/ 58127 h 116254"/>
                      <a:gd name="connsiteX1" fmla="*/ 58127 w 116254"/>
                      <a:gd name="connsiteY1" fmla="*/ 116254 h 116254"/>
                      <a:gd name="connsiteX2" fmla="*/ 0 w 116254"/>
                      <a:gd name="connsiteY2" fmla="*/ 58127 h 116254"/>
                      <a:gd name="connsiteX3" fmla="*/ 58127 w 116254"/>
                      <a:gd name="connsiteY3" fmla="*/ 0 h 116254"/>
                      <a:gd name="connsiteX4" fmla="*/ 116254 w 116254"/>
                      <a:gd name="connsiteY4" fmla="*/ 58127 h 1162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6254" h="116254">
                        <a:moveTo>
                          <a:pt x="116254" y="58127"/>
                        </a:moveTo>
                        <a:cubicBezTo>
                          <a:pt x="116254" y="90230"/>
                          <a:pt x="90230" y="116254"/>
                          <a:pt x="58127" y="116254"/>
                        </a:cubicBezTo>
                        <a:cubicBezTo>
                          <a:pt x="26024" y="116254"/>
                          <a:pt x="0" y="90229"/>
                          <a:pt x="0" y="58127"/>
                        </a:cubicBezTo>
                        <a:cubicBezTo>
                          <a:pt x="0" y="26024"/>
                          <a:pt x="26024" y="0"/>
                          <a:pt x="58127" y="0"/>
                        </a:cubicBezTo>
                        <a:cubicBezTo>
                          <a:pt x="90230" y="0"/>
                          <a:pt x="116254" y="26024"/>
                          <a:pt x="116254" y="58127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375" name="Grafik 297">
                    <a:extLst>
                      <a:ext uri="{FF2B5EF4-FFF2-40B4-BE49-F238E27FC236}">
                        <a16:creationId xmlns:a16="http://schemas.microsoft.com/office/drawing/2014/main" id="{70871012-445C-2334-2562-886E82B51C51}"/>
                      </a:ext>
                    </a:extLst>
                  </p:cNvPr>
                  <p:cNvGrpSpPr/>
                  <p:nvPr/>
                </p:nvGrpSpPr>
                <p:grpSpPr>
                  <a:xfrm>
                    <a:off x="134278" y="3462369"/>
                    <a:ext cx="206694" cy="352772"/>
                    <a:chOff x="134278" y="3462369"/>
                    <a:chExt cx="206694" cy="352772"/>
                  </a:xfrm>
                  <a:solidFill>
                    <a:srgbClr val="02787D"/>
                  </a:solidFill>
                </p:grpSpPr>
                <p:grpSp>
                  <p:nvGrpSpPr>
                    <p:cNvPr id="376" name="Grafik 297">
                      <a:extLst>
                        <a:ext uri="{FF2B5EF4-FFF2-40B4-BE49-F238E27FC236}">
                          <a16:creationId xmlns:a16="http://schemas.microsoft.com/office/drawing/2014/main" id="{0DBC79CF-BDE6-09E2-6966-5F3C819CB61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17870" y="3649645"/>
                      <a:ext cx="45684" cy="153097"/>
                      <a:chOff x="217870" y="3649645"/>
                      <a:chExt cx="45684" cy="153097"/>
                    </a:xfrm>
                    <a:solidFill>
                      <a:srgbClr val="02787D"/>
                    </a:solidFill>
                  </p:grpSpPr>
                  <p:sp>
                    <p:nvSpPr>
                      <p:cNvPr id="393" name="Freihandform: Form 392">
                        <a:extLst>
                          <a:ext uri="{FF2B5EF4-FFF2-40B4-BE49-F238E27FC236}">
                            <a16:creationId xmlns:a16="http://schemas.microsoft.com/office/drawing/2014/main" id="{DC745C5D-6140-A240-95C3-3FE33C0EE70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17870" y="3649645"/>
                        <a:ext cx="45684" cy="70664"/>
                      </a:xfrm>
                      <a:custGeom>
                        <a:avLst/>
                        <a:gdLst>
                          <a:gd name="connsiteX0" fmla="*/ 0 w 45684"/>
                          <a:gd name="connsiteY0" fmla="*/ 57227 h 70664"/>
                          <a:gd name="connsiteX1" fmla="*/ 18388 w 45684"/>
                          <a:gd name="connsiteY1" fmla="*/ 70655 h 70664"/>
                          <a:gd name="connsiteX2" fmla="*/ 36050 w 45684"/>
                          <a:gd name="connsiteY2" fmla="*/ 55594 h 70664"/>
                          <a:gd name="connsiteX3" fmla="*/ 45485 w 45684"/>
                          <a:gd name="connsiteY3" fmla="*/ 18818 h 70664"/>
                          <a:gd name="connsiteX4" fmla="*/ 32300 w 45684"/>
                          <a:gd name="connsiteY4" fmla="*/ 914 h 70664"/>
                          <a:gd name="connsiteX5" fmla="*/ 9073 w 45684"/>
                          <a:gd name="connsiteY5" fmla="*/ 13435 h 70664"/>
                          <a:gd name="connsiteX6" fmla="*/ 0 w 45684"/>
                          <a:gd name="connsiteY6" fmla="*/ 57227 h 706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5684" h="70664">
                            <a:moveTo>
                              <a:pt x="0" y="57227"/>
                            </a:moveTo>
                            <a:cubicBezTo>
                              <a:pt x="0" y="57227"/>
                              <a:pt x="5262" y="71078"/>
                              <a:pt x="18388" y="70655"/>
                            </a:cubicBezTo>
                            <a:cubicBezTo>
                              <a:pt x="32179" y="70231"/>
                              <a:pt x="36050" y="55594"/>
                              <a:pt x="36050" y="55594"/>
                            </a:cubicBezTo>
                            <a:lnTo>
                              <a:pt x="45485" y="18818"/>
                            </a:lnTo>
                            <a:cubicBezTo>
                              <a:pt x="46816" y="7568"/>
                              <a:pt x="41372" y="2971"/>
                              <a:pt x="32300" y="914"/>
                            </a:cubicBezTo>
                            <a:cubicBezTo>
                              <a:pt x="23287" y="-1566"/>
                              <a:pt x="12339" y="491"/>
                              <a:pt x="9073" y="13435"/>
                            </a:cubicBezTo>
                            <a:lnTo>
                              <a:pt x="0" y="5722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94" name="Freihandform: Form 393">
                        <a:extLst>
                          <a:ext uri="{FF2B5EF4-FFF2-40B4-BE49-F238E27FC236}">
                            <a16:creationId xmlns:a16="http://schemas.microsoft.com/office/drawing/2014/main" id="{38C23715-1B6F-909C-CFC9-0D715540739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17870" y="3693202"/>
                        <a:ext cx="36856" cy="56556"/>
                      </a:xfrm>
                      <a:custGeom>
                        <a:avLst/>
                        <a:gdLst>
                          <a:gd name="connsiteX0" fmla="*/ 7016 w 36856"/>
                          <a:gd name="connsiteY0" fmla="*/ 49175 h 56556"/>
                          <a:gd name="connsiteX1" fmla="*/ 22985 w 36856"/>
                          <a:gd name="connsiteY1" fmla="*/ 56554 h 56556"/>
                          <a:gd name="connsiteX2" fmla="*/ 36775 w 36856"/>
                          <a:gd name="connsiteY2" fmla="*/ 43187 h 56556"/>
                          <a:gd name="connsiteX3" fmla="*/ 36110 w 36856"/>
                          <a:gd name="connsiteY3" fmla="*/ 12037 h 56556"/>
                          <a:gd name="connsiteX4" fmla="*/ 19356 w 36856"/>
                          <a:gd name="connsiteY4" fmla="*/ 0 h 56556"/>
                          <a:gd name="connsiteX5" fmla="*/ 0 w 36856"/>
                          <a:gd name="connsiteY5" fmla="*/ 13670 h 56556"/>
                          <a:gd name="connsiteX6" fmla="*/ 6956 w 36856"/>
                          <a:gd name="connsiteY6" fmla="*/ 49175 h 5655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6856" h="56556">
                            <a:moveTo>
                              <a:pt x="7016" y="49175"/>
                            </a:moveTo>
                            <a:cubicBezTo>
                              <a:pt x="7016" y="49175"/>
                              <a:pt x="7198" y="56192"/>
                              <a:pt x="22985" y="56554"/>
                            </a:cubicBezTo>
                            <a:cubicBezTo>
                              <a:pt x="38772" y="56736"/>
                              <a:pt x="36775" y="43187"/>
                              <a:pt x="36775" y="43187"/>
                            </a:cubicBezTo>
                            <a:lnTo>
                              <a:pt x="36110" y="12037"/>
                            </a:lnTo>
                            <a:cubicBezTo>
                              <a:pt x="32179" y="4899"/>
                              <a:pt x="31392" y="0"/>
                              <a:pt x="19356" y="0"/>
                            </a:cubicBezTo>
                            <a:cubicBezTo>
                              <a:pt x="8649" y="665"/>
                              <a:pt x="4234" y="6653"/>
                              <a:pt x="0" y="13670"/>
                            </a:cubicBezTo>
                            <a:lnTo>
                              <a:pt x="6956" y="4917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95" name="Freihandform: Form 394">
                        <a:extLst>
                          <a:ext uri="{FF2B5EF4-FFF2-40B4-BE49-F238E27FC236}">
                            <a16:creationId xmlns:a16="http://schemas.microsoft.com/office/drawing/2014/main" id="{3F13B0FC-A293-D8B5-A979-70D067B3CD2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24826" y="3726462"/>
                        <a:ext cx="35970" cy="76279"/>
                      </a:xfrm>
                      <a:custGeom>
                        <a:avLst/>
                        <a:gdLst>
                          <a:gd name="connsiteX0" fmla="*/ 10404 w 35970"/>
                          <a:gd name="connsiteY0" fmla="*/ 52086 h 76279"/>
                          <a:gd name="connsiteX1" fmla="*/ 18146 w 35970"/>
                          <a:gd name="connsiteY1" fmla="*/ 76280 h 76279"/>
                          <a:gd name="connsiteX2" fmla="*/ 35747 w 35970"/>
                          <a:gd name="connsiteY2" fmla="*/ 41319 h 76279"/>
                          <a:gd name="connsiteX3" fmla="*/ 30062 w 35970"/>
                          <a:gd name="connsiteY3" fmla="*/ 10713 h 76279"/>
                          <a:gd name="connsiteX4" fmla="*/ 11795 w 35970"/>
                          <a:gd name="connsiteY4" fmla="*/ 854 h 76279"/>
                          <a:gd name="connsiteX5" fmla="*/ 0 w 35970"/>
                          <a:gd name="connsiteY5" fmla="*/ 15915 h 76279"/>
                          <a:gd name="connsiteX6" fmla="*/ 10343 w 35970"/>
                          <a:gd name="connsiteY6" fmla="*/ 52146 h 7627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5970" h="76279">
                            <a:moveTo>
                              <a:pt x="10404" y="52086"/>
                            </a:moveTo>
                            <a:lnTo>
                              <a:pt x="18146" y="76280"/>
                            </a:lnTo>
                            <a:cubicBezTo>
                              <a:pt x="33993" y="72106"/>
                              <a:pt x="36896" y="53779"/>
                              <a:pt x="35747" y="41319"/>
                            </a:cubicBezTo>
                            <a:cubicBezTo>
                              <a:pt x="34598" y="28859"/>
                              <a:pt x="30062" y="10713"/>
                              <a:pt x="30062" y="10713"/>
                            </a:cubicBezTo>
                            <a:cubicBezTo>
                              <a:pt x="26372" y="-477"/>
                              <a:pt x="17420" y="-1082"/>
                              <a:pt x="11795" y="854"/>
                            </a:cubicBezTo>
                            <a:cubicBezTo>
                              <a:pt x="5625" y="2971"/>
                              <a:pt x="0" y="6963"/>
                              <a:pt x="0" y="15915"/>
                            </a:cubicBezTo>
                            <a:lnTo>
                              <a:pt x="10343" y="52146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377" name="Grafik 297">
                      <a:extLst>
                        <a:ext uri="{FF2B5EF4-FFF2-40B4-BE49-F238E27FC236}">
                          <a16:creationId xmlns:a16="http://schemas.microsoft.com/office/drawing/2014/main" id="{342E00E7-D866-114B-CC60-A07FF83BA5C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85994" y="3644681"/>
                      <a:ext cx="53203" cy="170460"/>
                      <a:chOff x="185994" y="3644681"/>
                      <a:chExt cx="53203" cy="170460"/>
                    </a:xfrm>
                    <a:solidFill>
                      <a:srgbClr val="02787D"/>
                    </a:solidFill>
                  </p:grpSpPr>
                  <p:sp>
                    <p:nvSpPr>
                      <p:cNvPr id="390" name="Freihandform: Form 389">
                        <a:extLst>
                          <a:ext uri="{FF2B5EF4-FFF2-40B4-BE49-F238E27FC236}">
                            <a16:creationId xmlns:a16="http://schemas.microsoft.com/office/drawing/2014/main" id="{5BB51302-811E-BAC7-E123-27B29E2CE6A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85994" y="3644681"/>
                        <a:ext cx="50168" cy="77084"/>
                      </a:xfrm>
                      <a:custGeom>
                        <a:avLst/>
                        <a:gdLst>
                          <a:gd name="connsiteX0" fmla="*/ 0 w 50168"/>
                          <a:gd name="connsiteY0" fmla="*/ 63098 h 77084"/>
                          <a:gd name="connsiteX1" fmla="*/ 18932 w 50168"/>
                          <a:gd name="connsiteY1" fmla="*/ 77070 h 77084"/>
                          <a:gd name="connsiteX2" fmla="*/ 38892 w 50168"/>
                          <a:gd name="connsiteY2" fmla="*/ 63702 h 77084"/>
                          <a:gd name="connsiteX3" fmla="*/ 49840 w 50168"/>
                          <a:gd name="connsiteY3" fmla="*/ 20999 h 77084"/>
                          <a:gd name="connsiteX4" fmla="*/ 38106 w 50168"/>
                          <a:gd name="connsiteY4" fmla="*/ 918 h 77084"/>
                          <a:gd name="connsiteX5" fmla="*/ 10041 w 50168"/>
                          <a:gd name="connsiteY5" fmla="*/ 15072 h 77084"/>
                          <a:gd name="connsiteX6" fmla="*/ 60 w 50168"/>
                          <a:gd name="connsiteY6" fmla="*/ 63037 h 7708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0168" h="77084">
                            <a:moveTo>
                              <a:pt x="0" y="63098"/>
                            </a:moveTo>
                            <a:cubicBezTo>
                              <a:pt x="0" y="63098"/>
                              <a:pt x="3932" y="77614"/>
                              <a:pt x="18932" y="77070"/>
                            </a:cubicBezTo>
                            <a:cubicBezTo>
                              <a:pt x="34054" y="76525"/>
                              <a:pt x="38892" y="63702"/>
                              <a:pt x="38892" y="63702"/>
                            </a:cubicBezTo>
                            <a:lnTo>
                              <a:pt x="49840" y="20999"/>
                            </a:lnTo>
                            <a:cubicBezTo>
                              <a:pt x="51292" y="8721"/>
                              <a:pt x="48026" y="3156"/>
                              <a:pt x="38106" y="918"/>
                            </a:cubicBezTo>
                            <a:cubicBezTo>
                              <a:pt x="28247" y="-1743"/>
                              <a:pt x="13549" y="918"/>
                              <a:pt x="10041" y="15072"/>
                            </a:cubicBezTo>
                            <a:lnTo>
                              <a:pt x="60" y="6303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91" name="Freihandform: Form 390">
                        <a:extLst>
                          <a:ext uri="{FF2B5EF4-FFF2-40B4-BE49-F238E27FC236}">
                            <a16:creationId xmlns:a16="http://schemas.microsoft.com/office/drawing/2014/main" id="{D6804A44-924D-4FA2-4D3F-BDA5CC0855A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86054" y="3694653"/>
                        <a:ext cx="41227" cy="66339"/>
                      </a:xfrm>
                      <a:custGeom>
                        <a:avLst/>
                        <a:gdLst>
                          <a:gd name="connsiteX0" fmla="*/ 6291 w 41227"/>
                          <a:gd name="connsiteY0" fmla="*/ 58248 h 66339"/>
                          <a:gd name="connsiteX1" fmla="*/ 29699 w 41227"/>
                          <a:gd name="connsiteY1" fmla="*/ 64478 h 66339"/>
                          <a:gd name="connsiteX2" fmla="*/ 40284 w 41227"/>
                          <a:gd name="connsiteY2" fmla="*/ 45485 h 66339"/>
                          <a:gd name="connsiteX3" fmla="*/ 38832 w 41227"/>
                          <a:gd name="connsiteY3" fmla="*/ 13730 h 66339"/>
                          <a:gd name="connsiteX4" fmla="*/ 21533 w 41227"/>
                          <a:gd name="connsiteY4" fmla="*/ 0 h 66339"/>
                          <a:gd name="connsiteX5" fmla="*/ 0 w 41227"/>
                          <a:gd name="connsiteY5" fmla="*/ 13065 h 66339"/>
                          <a:gd name="connsiteX6" fmla="*/ 6351 w 41227"/>
                          <a:gd name="connsiteY6" fmla="*/ 58187 h 6633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1227" h="66339">
                            <a:moveTo>
                              <a:pt x="6291" y="58248"/>
                            </a:moveTo>
                            <a:cubicBezTo>
                              <a:pt x="6291" y="58248"/>
                              <a:pt x="12279" y="71010"/>
                              <a:pt x="29699" y="64478"/>
                            </a:cubicBezTo>
                            <a:cubicBezTo>
                              <a:pt x="45909" y="58429"/>
                              <a:pt x="40284" y="45485"/>
                              <a:pt x="40284" y="45485"/>
                            </a:cubicBezTo>
                            <a:lnTo>
                              <a:pt x="38832" y="13730"/>
                            </a:lnTo>
                            <a:cubicBezTo>
                              <a:pt x="36957" y="5323"/>
                              <a:pt x="31392" y="0"/>
                              <a:pt x="21533" y="0"/>
                            </a:cubicBezTo>
                            <a:cubicBezTo>
                              <a:pt x="7258" y="0"/>
                              <a:pt x="2964" y="4657"/>
                              <a:pt x="0" y="13065"/>
                            </a:cubicBezTo>
                            <a:lnTo>
                              <a:pt x="6351" y="5818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92" name="Freihandform: Form 391">
                        <a:extLst>
                          <a:ext uri="{FF2B5EF4-FFF2-40B4-BE49-F238E27FC236}">
                            <a16:creationId xmlns:a16="http://schemas.microsoft.com/office/drawing/2014/main" id="{8D16B2A2-CF67-5181-B58A-77017C7F9C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92405" y="3728005"/>
                        <a:ext cx="46792" cy="87136"/>
                      </a:xfrm>
                      <a:custGeom>
                        <a:avLst/>
                        <a:gdLst>
                          <a:gd name="connsiteX0" fmla="*/ 19356 w 46792"/>
                          <a:gd name="connsiteY0" fmla="*/ 61974 h 87136"/>
                          <a:gd name="connsiteX1" fmla="*/ 31271 w 46792"/>
                          <a:gd name="connsiteY1" fmla="*/ 87136 h 87136"/>
                          <a:gd name="connsiteX2" fmla="*/ 45364 w 46792"/>
                          <a:gd name="connsiteY2" fmla="*/ 46671 h 87136"/>
                          <a:gd name="connsiteX3" fmla="*/ 32783 w 46792"/>
                          <a:gd name="connsiteY3" fmla="*/ 9351 h 87136"/>
                          <a:gd name="connsiteX4" fmla="*/ 7682 w 46792"/>
                          <a:gd name="connsiteY4" fmla="*/ 702 h 87136"/>
                          <a:gd name="connsiteX5" fmla="*/ 0 w 46792"/>
                          <a:gd name="connsiteY5" fmla="*/ 25017 h 87136"/>
                          <a:gd name="connsiteX6" fmla="*/ 19416 w 46792"/>
                          <a:gd name="connsiteY6" fmla="*/ 62035 h 8713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6792" h="87136">
                            <a:moveTo>
                              <a:pt x="19356" y="61974"/>
                            </a:moveTo>
                            <a:lnTo>
                              <a:pt x="31271" y="87136"/>
                            </a:lnTo>
                            <a:cubicBezTo>
                              <a:pt x="47844" y="80362"/>
                              <a:pt x="48389" y="59978"/>
                              <a:pt x="45364" y="46671"/>
                            </a:cubicBezTo>
                            <a:cubicBezTo>
                              <a:pt x="42340" y="33304"/>
                              <a:pt x="32783" y="9351"/>
                              <a:pt x="32783" y="9351"/>
                            </a:cubicBezTo>
                            <a:cubicBezTo>
                              <a:pt x="26130" y="3666"/>
                              <a:pt x="14275" y="-2020"/>
                              <a:pt x="7682" y="702"/>
                            </a:cubicBezTo>
                            <a:cubicBezTo>
                              <a:pt x="1089" y="3363"/>
                              <a:pt x="726" y="16307"/>
                              <a:pt x="0" y="25017"/>
                            </a:cubicBezTo>
                            <a:lnTo>
                              <a:pt x="19416" y="6203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378" name="Grafik 297">
                      <a:extLst>
                        <a:ext uri="{FF2B5EF4-FFF2-40B4-BE49-F238E27FC236}">
                          <a16:creationId xmlns:a16="http://schemas.microsoft.com/office/drawing/2014/main" id="{D600102E-9F79-CE5C-3E9A-14BE157720E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1880" y="3632666"/>
                      <a:ext cx="59919" cy="164209"/>
                      <a:chOff x="151880" y="3632666"/>
                      <a:chExt cx="59919" cy="164209"/>
                    </a:xfrm>
                    <a:solidFill>
                      <a:srgbClr val="02787D"/>
                    </a:solidFill>
                  </p:grpSpPr>
                  <p:sp>
                    <p:nvSpPr>
                      <p:cNvPr id="387" name="Freihandform: Form 386">
                        <a:extLst>
                          <a:ext uri="{FF2B5EF4-FFF2-40B4-BE49-F238E27FC236}">
                            <a16:creationId xmlns:a16="http://schemas.microsoft.com/office/drawing/2014/main" id="{336F0EC2-1F1D-7588-365F-0CF6AD8455E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880" y="3632666"/>
                        <a:ext cx="47698" cy="76503"/>
                      </a:xfrm>
                      <a:custGeom>
                        <a:avLst/>
                        <a:gdLst>
                          <a:gd name="connsiteX0" fmla="*/ 0 w 47698"/>
                          <a:gd name="connsiteY0" fmla="*/ 67492 h 76503"/>
                          <a:gd name="connsiteX1" fmla="*/ 20505 w 47698"/>
                          <a:gd name="connsiteY1" fmla="*/ 76202 h 76503"/>
                          <a:gd name="connsiteX2" fmla="*/ 37562 w 47698"/>
                          <a:gd name="connsiteY2" fmla="*/ 60355 h 76503"/>
                          <a:gd name="connsiteX3" fmla="*/ 47542 w 47698"/>
                          <a:gd name="connsiteY3" fmla="*/ 21160 h 76503"/>
                          <a:gd name="connsiteX4" fmla="*/ 36231 w 47698"/>
                          <a:gd name="connsiteY4" fmla="*/ 897 h 76503"/>
                          <a:gd name="connsiteX5" fmla="*/ 8770 w 47698"/>
                          <a:gd name="connsiteY5" fmla="*/ 14748 h 76503"/>
                          <a:gd name="connsiteX6" fmla="*/ 0 w 47698"/>
                          <a:gd name="connsiteY6" fmla="*/ 67492 h 7650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7698" h="76503">
                            <a:moveTo>
                              <a:pt x="0" y="67492"/>
                            </a:moveTo>
                            <a:cubicBezTo>
                              <a:pt x="0" y="67492"/>
                              <a:pt x="4960" y="78440"/>
                              <a:pt x="20505" y="76202"/>
                            </a:cubicBezTo>
                            <a:cubicBezTo>
                              <a:pt x="35142" y="74085"/>
                              <a:pt x="37562" y="60355"/>
                              <a:pt x="37562" y="60355"/>
                            </a:cubicBezTo>
                            <a:lnTo>
                              <a:pt x="47542" y="21160"/>
                            </a:lnTo>
                            <a:cubicBezTo>
                              <a:pt x="48389" y="11361"/>
                              <a:pt x="45969" y="3074"/>
                              <a:pt x="36231" y="897"/>
                            </a:cubicBezTo>
                            <a:cubicBezTo>
                              <a:pt x="26614" y="-1704"/>
                              <a:pt x="12218" y="897"/>
                              <a:pt x="8770" y="14748"/>
                            </a:cubicBezTo>
                            <a:lnTo>
                              <a:pt x="0" y="67492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8" name="Freihandform: Form 387">
                        <a:extLst>
                          <a:ext uri="{FF2B5EF4-FFF2-40B4-BE49-F238E27FC236}">
                            <a16:creationId xmlns:a16="http://schemas.microsoft.com/office/drawing/2014/main" id="{A0B01653-3D8D-0354-8143-0BE0DBC8BAB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880" y="3683991"/>
                        <a:ext cx="48902" cy="63864"/>
                      </a:xfrm>
                      <a:custGeom>
                        <a:avLst/>
                        <a:gdLst>
                          <a:gd name="connsiteX0" fmla="*/ 18267 w 48902"/>
                          <a:gd name="connsiteY0" fmla="*/ 55603 h 63864"/>
                          <a:gd name="connsiteX1" fmla="*/ 38772 w 48902"/>
                          <a:gd name="connsiteY1" fmla="*/ 62801 h 63864"/>
                          <a:gd name="connsiteX2" fmla="*/ 46877 w 48902"/>
                          <a:gd name="connsiteY2" fmla="*/ 37276 h 63864"/>
                          <a:gd name="connsiteX3" fmla="*/ 37562 w 48902"/>
                          <a:gd name="connsiteY3" fmla="*/ 9089 h 63864"/>
                          <a:gd name="connsiteX4" fmla="*/ 19295 w 48902"/>
                          <a:gd name="connsiteY4" fmla="*/ 319 h 63864"/>
                          <a:gd name="connsiteX5" fmla="*/ 0 w 48902"/>
                          <a:gd name="connsiteY5" fmla="*/ 16227 h 63864"/>
                          <a:gd name="connsiteX6" fmla="*/ 18267 w 48902"/>
                          <a:gd name="connsiteY6" fmla="*/ 55603 h 638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8902" h="63864">
                            <a:moveTo>
                              <a:pt x="18267" y="55603"/>
                            </a:moveTo>
                            <a:cubicBezTo>
                              <a:pt x="18267" y="55603"/>
                              <a:pt x="22561" y="67398"/>
                              <a:pt x="38772" y="62801"/>
                            </a:cubicBezTo>
                            <a:cubicBezTo>
                              <a:pt x="54982" y="58083"/>
                              <a:pt x="46877" y="37276"/>
                              <a:pt x="46877" y="37276"/>
                            </a:cubicBezTo>
                            <a:lnTo>
                              <a:pt x="37562" y="9089"/>
                            </a:lnTo>
                            <a:cubicBezTo>
                              <a:pt x="35324" y="137"/>
                              <a:pt x="28065" y="-649"/>
                              <a:pt x="19295" y="319"/>
                            </a:cubicBezTo>
                            <a:cubicBezTo>
                              <a:pt x="10525" y="1287"/>
                              <a:pt x="2117" y="7759"/>
                              <a:pt x="0" y="16227"/>
                            </a:cubicBezTo>
                            <a:lnTo>
                              <a:pt x="18267" y="55603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9" name="Freihandform: Form 388">
                        <a:extLst>
                          <a:ext uri="{FF2B5EF4-FFF2-40B4-BE49-F238E27FC236}">
                            <a16:creationId xmlns:a16="http://schemas.microsoft.com/office/drawing/2014/main" id="{F57E6995-FCF7-6DD1-7569-F3E4023E3BF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68150" y="3716396"/>
                        <a:ext cx="43649" cy="80478"/>
                      </a:xfrm>
                      <a:custGeom>
                        <a:avLst/>
                        <a:gdLst>
                          <a:gd name="connsiteX0" fmla="*/ 16815 w 43649"/>
                          <a:gd name="connsiteY0" fmla="*/ 55800 h 80478"/>
                          <a:gd name="connsiteX1" fmla="*/ 28307 w 43649"/>
                          <a:gd name="connsiteY1" fmla="*/ 80479 h 80478"/>
                          <a:gd name="connsiteX2" fmla="*/ 42340 w 43649"/>
                          <a:gd name="connsiteY2" fmla="*/ 40981 h 80478"/>
                          <a:gd name="connsiteX3" fmla="*/ 30606 w 43649"/>
                          <a:gd name="connsiteY3" fmla="*/ 4871 h 80478"/>
                          <a:gd name="connsiteX4" fmla="*/ 10162 w 43649"/>
                          <a:gd name="connsiteY4" fmla="*/ 1605 h 80478"/>
                          <a:gd name="connsiteX5" fmla="*/ 0 w 43649"/>
                          <a:gd name="connsiteY5" fmla="*/ 18722 h 80478"/>
                          <a:gd name="connsiteX6" fmla="*/ 16876 w 43649"/>
                          <a:gd name="connsiteY6" fmla="*/ 55861 h 8047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3649" h="80478">
                            <a:moveTo>
                              <a:pt x="16815" y="55800"/>
                            </a:moveTo>
                            <a:lnTo>
                              <a:pt x="28307" y="80479"/>
                            </a:lnTo>
                            <a:cubicBezTo>
                              <a:pt x="44578" y="73946"/>
                              <a:pt x="45183" y="54046"/>
                              <a:pt x="42340" y="40981"/>
                            </a:cubicBezTo>
                            <a:cubicBezTo>
                              <a:pt x="39497" y="27916"/>
                              <a:pt x="30606" y="4871"/>
                              <a:pt x="30606" y="4871"/>
                            </a:cubicBezTo>
                            <a:cubicBezTo>
                              <a:pt x="24134" y="-694"/>
                              <a:pt x="16634" y="-1057"/>
                              <a:pt x="10162" y="1605"/>
                            </a:cubicBezTo>
                            <a:cubicBezTo>
                              <a:pt x="3690" y="4206"/>
                              <a:pt x="786" y="10194"/>
                              <a:pt x="0" y="18722"/>
                            </a:cubicBezTo>
                            <a:lnTo>
                              <a:pt x="16876" y="55861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379" name="Grafik 297">
                      <a:extLst>
                        <a:ext uri="{FF2B5EF4-FFF2-40B4-BE49-F238E27FC236}">
                          <a16:creationId xmlns:a16="http://schemas.microsoft.com/office/drawing/2014/main" id="{3A54D1CF-86D3-0BCE-CCA9-7ED6278BF42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278" y="3599477"/>
                      <a:ext cx="56322" cy="153424"/>
                      <a:chOff x="134278" y="3599477"/>
                      <a:chExt cx="56322" cy="153424"/>
                    </a:xfrm>
                    <a:solidFill>
                      <a:srgbClr val="02787D"/>
                    </a:solidFill>
                  </p:grpSpPr>
                  <p:sp>
                    <p:nvSpPr>
                      <p:cNvPr id="384" name="Freihandform: Form 383">
                        <a:extLst>
                          <a:ext uri="{FF2B5EF4-FFF2-40B4-BE49-F238E27FC236}">
                            <a16:creationId xmlns:a16="http://schemas.microsoft.com/office/drawing/2014/main" id="{6904FA68-5AC9-A1AD-3D37-27446A5FCF3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278" y="3599477"/>
                        <a:ext cx="44676" cy="72318"/>
                      </a:xfrm>
                      <a:custGeom>
                        <a:avLst/>
                        <a:gdLst>
                          <a:gd name="connsiteX0" fmla="*/ 0 w 44676"/>
                          <a:gd name="connsiteY0" fmla="*/ 63301 h 72318"/>
                          <a:gd name="connsiteX1" fmla="*/ 19537 w 44676"/>
                          <a:gd name="connsiteY1" fmla="*/ 72071 h 72318"/>
                          <a:gd name="connsiteX2" fmla="*/ 34719 w 44676"/>
                          <a:gd name="connsiteY2" fmla="*/ 55256 h 72318"/>
                          <a:gd name="connsiteX3" fmla="*/ 44397 w 44676"/>
                          <a:gd name="connsiteY3" fmla="*/ 19085 h 72318"/>
                          <a:gd name="connsiteX4" fmla="*/ 33570 w 44676"/>
                          <a:gd name="connsiteY4" fmla="*/ 819 h 72318"/>
                          <a:gd name="connsiteX5" fmla="*/ 7984 w 44676"/>
                          <a:gd name="connsiteY5" fmla="*/ 13884 h 72318"/>
                          <a:gd name="connsiteX6" fmla="*/ 60 w 44676"/>
                          <a:gd name="connsiteY6" fmla="*/ 63301 h 723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4676" h="72318">
                            <a:moveTo>
                              <a:pt x="0" y="63301"/>
                            </a:moveTo>
                            <a:cubicBezTo>
                              <a:pt x="0" y="63301"/>
                              <a:pt x="5867" y="74067"/>
                              <a:pt x="19537" y="72071"/>
                            </a:cubicBezTo>
                            <a:cubicBezTo>
                              <a:pt x="32904" y="70075"/>
                              <a:pt x="34719" y="55256"/>
                              <a:pt x="34719" y="55256"/>
                            </a:cubicBezTo>
                            <a:lnTo>
                              <a:pt x="44397" y="19085"/>
                            </a:lnTo>
                            <a:cubicBezTo>
                              <a:pt x="45667" y="7835"/>
                              <a:pt x="42703" y="2815"/>
                              <a:pt x="33570" y="819"/>
                            </a:cubicBezTo>
                            <a:cubicBezTo>
                              <a:pt x="24557" y="-1601"/>
                              <a:pt x="11129" y="940"/>
                              <a:pt x="7984" y="13884"/>
                            </a:cubicBezTo>
                            <a:lnTo>
                              <a:pt x="60" y="63301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5" name="Freihandform: Form 384">
                        <a:extLst>
                          <a:ext uri="{FF2B5EF4-FFF2-40B4-BE49-F238E27FC236}">
                            <a16:creationId xmlns:a16="http://schemas.microsoft.com/office/drawing/2014/main" id="{2B55A4C6-C4E6-9158-CA2A-05C02240492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339" y="3644143"/>
                        <a:ext cx="45538" cy="61600"/>
                      </a:xfrm>
                      <a:custGeom>
                        <a:avLst/>
                        <a:gdLst>
                          <a:gd name="connsiteX0" fmla="*/ 17239 w 45538"/>
                          <a:gd name="connsiteY0" fmla="*/ 55349 h 61600"/>
                          <a:gd name="connsiteX1" fmla="*/ 35808 w 45538"/>
                          <a:gd name="connsiteY1" fmla="*/ 60430 h 61600"/>
                          <a:gd name="connsiteX2" fmla="*/ 43913 w 45538"/>
                          <a:gd name="connsiteY2" fmla="*/ 39562 h 61600"/>
                          <a:gd name="connsiteX3" fmla="*/ 34719 w 45538"/>
                          <a:gd name="connsiteY3" fmla="*/ 10590 h 61600"/>
                          <a:gd name="connsiteX4" fmla="*/ 13972 w 45538"/>
                          <a:gd name="connsiteY4" fmla="*/ 1033 h 61600"/>
                          <a:gd name="connsiteX5" fmla="*/ 0 w 45538"/>
                          <a:gd name="connsiteY5" fmla="*/ 18634 h 61600"/>
                          <a:gd name="connsiteX6" fmla="*/ 17239 w 45538"/>
                          <a:gd name="connsiteY6" fmla="*/ 55349 h 616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5538" h="61600">
                            <a:moveTo>
                              <a:pt x="17239" y="55349"/>
                            </a:moveTo>
                            <a:cubicBezTo>
                              <a:pt x="17239" y="55349"/>
                              <a:pt x="20686" y="64846"/>
                              <a:pt x="35808" y="60430"/>
                            </a:cubicBezTo>
                            <a:cubicBezTo>
                              <a:pt x="50929" y="55894"/>
                              <a:pt x="43913" y="39562"/>
                              <a:pt x="43913" y="39562"/>
                            </a:cubicBezTo>
                            <a:lnTo>
                              <a:pt x="34719" y="10590"/>
                            </a:lnTo>
                            <a:cubicBezTo>
                              <a:pt x="31029" y="3513"/>
                              <a:pt x="24920" y="-2475"/>
                              <a:pt x="13972" y="1033"/>
                            </a:cubicBezTo>
                            <a:cubicBezTo>
                              <a:pt x="3932" y="4843"/>
                              <a:pt x="1936" y="10711"/>
                              <a:pt x="0" y="18634"/>
                            </a:cubicBezTo>
                            <a:lnTo>
                              <a:pt x="17239" y="55349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6" name="Freihandform: Form 385">
                        <a:extLst>
                          <a:ext uri="{FF2B5EF4-FFF2-40B4-BE49-F238E27FC236}">
                            <a16:creationId xmlns:a16="http://schemas.microsoft.com/office/drawing/2014/main" id="{F04E47F2-574F-419C-EE52-236D47D194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581" y="3678059"/>
                        <a:ext cx="41019" cy="74842"/>
                      </a:xfrm>
                      <a:custGeom>
                        <a:avLst/>
                        <a:gdLst>
                          <a:gd name="connsiteX0" fmla="*/ 15968 w 41019"/>
                          <a:gd name="connsiteY0" fmla="*/ 51858 h 74842"/>
                          <a:gd name="connsiteX1" fmla="*/ 26795 w 41019"/>
                          <a:gd name="connsiteY1" fmla="*/ 74842 h 74842"/>
                          <a:gd name="connsiteX2" fmla="*/ 39739 w 41019"/>
                          <a:gd name="connsiteY2" fmla="*/ 37825 h 74842"/>
                          <a:gd name="connsiteX3" fmla="*/ 28610 w 41019"/>
                          <a:gd name="connsiteY3" fmla="*/ 5586 h 74842"/>
                          <a:gd name="connsiteX4" fmla="*/ 9436 w 41019"/>
                          <a:gd name="connsiteY4" fmla="*/ 1110 h 74842"/>
                          <a:gd name="connsiteX5" fmla="*/ 0 w 41019"/>
                          <a:gd name="connsiteY5" fmla="*/ 17139 h 74842"/>
                          <a:gd name="connsiteX6" fmla="*/ 15968 w 41019"/>
                          <a:gd name="connsiteY6" fmla="*/ 51797 h 7484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1019" h="74842">
                            <a:moveTo>
                              <a:pt x="15968" y="51858"/>
                            </a:moveTo>
                            <a:lnTo>
                              <a:pt x="26795" y="74842"/>
                            </a:lnTo>
                            <a:cubicBezTo>
                              <a:pt x="41977" y="68673"/>
                              <a:pt x="42461" y="50043"/>
                              <a:pt x="39739" y="37825"/>
                            </a:cubicBezTo>
                            <a:cubicBezTo>
                              <a:pt x="37017" y="25607"/>
                              <a:pt x="28610" y="5586"/>
                              <a:pt x="28610" y="5586"/>
                            </a:cubicBezTo>
                            <a:cubicBezTo>
                              <a:pt x="22561" y="384"/>
                              <a:pt x="15484" y="-1370"/>
                              <a:pt x="9436" y="1110"/>
                            </a:cubicBezTo>
                            <a:cubicBezTo>
                              <a:pt x="3387" y="3530"/>
                              <a:pt x="726" y="9155"/>
                              <a:pt x="0" y="17139"/>
                            </a:cubicBezTo>
                            <a:lnTo>
                              <a:pt x="15968" y="5179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380" name="Freihandform: Form 379">
                      <a:extLst>
                        <a:ext uri="{FF2B5EF4-FFF2-40B4-BE49-F238E27FC236}">
                          <a16:creationId xmlns:a16="http://schemas.microsoft.com/office/drawing/2014/main" id="{B4E3B899-ACE4-FA80-07CD-8294DD70167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537" y="3462369"/>
                      <a:ext cx="174817" cy="206099"/>
                    </a:xfrm>
                    <a:custGeom>
                      <a:avLst/>
                      <a:gdLst>
                        <a:gd name="connsiteX0" fmla="*/ 52804 w 174817"/>
                        <a:gd name="connsiteY0" fmla="*/ 17257 h 206099"/>
                        <a:gd name="connsiteX1" fmla="*/ 23831 w 174817"/>
                        <a:gd name="connsiteY1" fmla="*/ 59174 h 206099"/>
                        <a:gd name="connsiteX2" fmla="*/ 0 w 174817"/>
                        <a:gd name="connsiteY2" fmla="*/ 154742 h 206099"/>
                        <a:gd name="connsiteX3" fmla="*/ 121879 w 174817"/>
                        <a:gd name="connsiteY3" fmla="*/ 206034 h 206099"/>
                        <a:gd name="connsiteX4" fmla="*/ 137787 w 174817"/>
                        <a:gd name="connsiteY4" fmla="*/ 181174 h 206099"/>
                        <a:gd name="connsiteX5" fmla="*/ 174623 w 174817"/>
                        <a:gd name="connsiteY5" fmla="*/ 68670 h 206099"/>
                        <a:gd name="connsiteX6" fmla="*/ 168332 w 174817"/>
                        <a:gd name="connsiteY6" fmla="*/ 27721 h 206099"/>
                        <a:gd name="connsiteX7" fmla="*/ 52804 w 174817"/>
                        <a:gd name="connsiteY7" fmla="*/ 17257 h 2060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74817" h="206099">
                          <a:moveTo>
                            <a:pt x="52804" y="17257"/>
                          </a:moveTo>
                          <a:cubicBezTo>
                            <a:pt x="38892" y="30201"/>
                            <a:pt x="35021" y="36068"/>
                            <a:pt x="23831" y="59174"/>
                          </a:cubicBezTo>
                          <a:cubicBezTo>
                            <a:pt x="3327" y="112462"/>
                            <a:pt x="302" y="153472"/>
                            <a:pt x="0" y="154742"/>
                          </a:cubicBezTo>
                          <a:cubicBezTo>
                            <a:pt x="1210" y="158129"/>
                            <a:pt x="24920" y="208151"/>
                            <a:pt x="121879" y="206034"/>
                          </a:cubicBezTo>
                          <a:cubicBezTo>
                            <a:pt x="127988" y="172585"/>
                            <a:pt x="137666" y="181235"/>
                            <a:pt x="137787" y="181174"/>
                          </a:cubicBezTo>
                          <a:cubicBezTo>
                            <a:pt x="137787" y="181174"/>
                            <a:pt x="167667" y="127886"/>
                            <a:pt x="174623" y="68670"/>
                          </a:cubicBezTo>
                          <a:cubicBezTo>
                            <a:pt x="176135" y="55847"/>
                            <a:pt x="168332" y="27721"/>
                            <a:pt x="168332" y="27721"/>
                          </a:cubicBezTo>
                          <a:cubicBezTo>
                            <a:pt x="164038" y="-5667"/>
                            <a:pt x="76152" y="-8570"/>
                            <a:pt x="52804" y="17257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1" name="Freihandform: Form 380">
                      <a:extLst>
                        <a:ext uri="{FF2B5EF4-FFF2-40B4-BE49-F238E27FC236}">
                          <a16:creationId xmlns:a16="http://schemas.microsoft.com/office/drawing/2014/main" id="{21F0CE4B-EE57-C4AA-0271-42CF3B2E450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3920" y="3485840"/>
                      <a:ext cx="87053" cy="155308"/>
                    </a:xfrm>
                    <a:custGeom>
                      <a:avLst/>
                      <a:gdLst>
                        <a:gd name="connsiteX0" fmla="*/ 55950 w 87053"/>
                        <a:gd name="connsiteY0" fmla="*/ 4250 h 155308"/>
                        <a:gd name="connsiteX1" fmla="*/ 85043 w 87053"/>
                        <a:gd name="connsiteY1" fmla="*/ 131331 h 155308"/>
                        <a:gd name="connsiteX2" fmla="*/ 21835 w 87053"/>
                        <a:gd name="connsiteY2" fmla="*/ 146150 h 155308"/>
                        <a:gd name="connsiteX3" fmla="*/ 0 w 87053"/>
                        <a:gd name="connsiteY3" fmla="*/ 76107 h 155308"/>
                        <a:gd name="connsiteX4" fmla="*/ 55950 w 87053"/>
                        <a:gd name="connsiteY4" fmla="*/ 4190 h 15530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7053" h="155308">
                          <a:moveTo>
                            <a:pt x="55950" y="4250"/>
                          </a:moveTo>
                          <a:cubicBezTo>
                            <a:pt x="77120" y="30682"/>
                            <a:pt x="92785" y="95644"/>
                            <a:pt x="85043" y="131331"/>
                          </a:cubicBezTo>
                          <a:cubicBezTo>
                            <a:pt x="80507" y="158368"/>
                            <a:pt x="26916" y="161392"/>
                            <a:pt x="21835" y="146150"/>
                          </a:cubicBezTo>
                          <a:cubicBezTo>
                            <a:pt x="21835" y="146150"/>
                            <a:pt x="0" y="101028"/>
                            <a:pt x="0" y="76107"/>
                          </a:cubicBezTo>
                          <a:cubicBezTo>
                            <a:pt x="0" y="30924"/>
                            <a:pt x="41312" y="-14138"/>
                            <a:pt x="55950" y="4190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2" name="Freihandform: Form 381">
                      <a:extLst>
                        <a:ext uri="{FF2B5EF4-FFF2-40B4-BE49-F238E27FC236}">
                          <a16:creationId xmlns:a16="http://schemas.microsoft.com/office/drawing/2014/main" id="{18A2F557-E287-48BC-3017-8F79F3A43C8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67523" y="3590194"/>
                      <a:ext cx="71027" cy="149944"/>
                    </a:xfrm>
                    <a:custGeom>
                      <a:avLst/>
                      <a:gdLst>
                        <a:gd name="connsiteX0" fmla="*/ 70956 w 71027"/>
                        <a:gd name="connsiteY0" fmla="*/ 29336 h 149944"/>
                        <a:gd name="connsiteX1" fmla="*/ 51722 w 71027"/>
                        <a:gd name="connsiteY1" fmla="*/ 90910 h 149944"/>
                        <a:gd name="connsiteX2" fmla="*/ 14704 w 71027"/>
                        <a:gd name="connsiteY2" fmla="*/ 149945 h 149944"/>
                        <a:gd name="connsiteX3" fmla="*/ 6 w 71027"/>
                        <a:gd name="connsiteY3" fmla="*/ 123996 h 149944"/>
                        <a:gd name="connsiteX4" fmla="*/ 16035 w 71027"/>
                        <a:gd name="connsiteY4" fmla="*/ 85346 h 149944"/>
                        <a:gd name="connsiteX5" fmla="*/ 8293 w 71027"/>
                        <a:gd name="connsiteY5" fmla="*/ 41796 h 149944"/>
                        <a:gd name="connsiteX6" fmla="*/ 34725 w 71027"/>
                        <a:gd name="connsiteY6" fmla="*/ 423 h 149944"/>
                        <a:gd name="connsiteX7" fmla="*/ 71017 w 71027"/>
                        <a:gd name="connsiteY7" fmla="*/ 29275 h 14994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71027" h="149944">
                          <a:moveTo>
                            <a:pt x="70956" y="29336"/>
                          </a:moveTo>
                          <a:lnTo>
                            <a:pt x="51722" y="90910"/>
                          </a:lnTo>
                          <a:lnTo>
                            <a:pt x="14704" y="149945"/>
                          </a:lnTo>
                          <a:cubicBezTo>
                            <a:pt x="14704" y="149945"/>
                            <a:pt x="974" y="147646"/>
                            <a:pt x="6" y="123996"/>
                          </a:cubicBezTo>
                          <a:cubicBezTo>
                            <a:pt x="-296" y="117040"/>
                            <a:pt x="10349" y="98108"/>
                            <a:pt x="16035" y="85346"/>
                          </a:cubicBezTo>
                          <a:cubicBezTo>
                            <a:pt x="16398" y="62664"/>
                            <a:pt x="8293" y="41796"/>
                            <a:pt x="8293" y="41796"/>
                          </a:cubicBezTo>
                          <a:cubicBezTo>
                            <a:pt x="8293" y="41796"/>
                            <a:pt x="10652" y="4416"/>
                            <a:pt x="34725" y="423"/>
                          </a:cubicBezTo>
                          <a:cubicBezTo>
                            <a:pt x="55895" y="-3085"/>
                            <a:pt x="71501" y="15968"/>
                            <a:pt x="71017" y="2927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3" name="Freihandform: Form 382">
                      <a:extLst>
                        <a:ext uri="{FF2B5EF4-FFF2-40B4-BE49-F238E27FC236}">
                          <a16:creationId xmlns:a16="http://schemas.microsoft.com/office/drawing/2014/main" id="{48C6E9F4-D681-D7E9-610D-AB750CF54BD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78856" y="3541362"/>
                      <a:ext cx="93208" cy="118390"/>
                    </a:xfrm>
                    <a:custGeom>
                      <a:avLst/>
                      <a:gdLst>
                        <a:gd name="connsiteX0" fmla="*/ 66837 w 93208"/>
                        <a:gd name="connsiteY0" fmla="*/ 23609 h 118390"/>
                        <a:gd name="connsiteX1" fmla="*/ 37078 w 93208"/>
                        <a:gd name="connsiteY1" fmla="*/ 17198 h 118390"/>
                        <a:gd name="connsiteX2" fmla="*/ 0 w 93208"/>
                        <a:gd name="connsiteY2" fmla="*/ 74478 h 118390"/>
                        <a:gd name="connsiteX3" fmla="*/ 86374 w 93208"/>
                        <a:gd name="connsiteY3" fmla="*/ 118391 h 118390"/>
                        <a:gd name="connsiteX4" fmla="*/ 93209 w 93208"/>
                        <a:gd name="connsiteY4" fmla="*/ 103390 h 118390"/>
                        <a:gd name="connsiteX5" fmla="*/ 66837 w 93208"/>
                        <a:gd name="connsiteY5" fmla="*/ 23609 h 11839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93208" h="118390">
                          <a:moveTo>
                            <a:pt x="66837" y="23609"/>
                          </a:moveTo>
                          <a:cubicBezTo>
                            <a:pt x="69861" y="-2400"/>
                            <a:pt x="47844" y="-10263"/>
                            <a:pt x="37078" y="17198"/>
                          </a:cubicBezTo>
                          <a:cubicBezTo>
                            <a:pt x="29941" y="35344"/>
                            <a:pt x="32904" y="48711"/>
                            <a:pt x="0" y="74478"/>
                          </a:cubicBezTo>
                          <a:cubicBezTo>
                            <a:pt x="35445" y="68792"/>
                            <a:pt x="57401" y="83490"/>
                            <a:pt x="86374" y="118391"/>
                          </a:cubicBezTo>
                          <a:cubicBezTo>
                            <a:pt x="90547" y="107080"/>
                            <a:pt x="93148" y="103390"/>
                            <a:pt x="93209" y="103390"/>
                          </a:cubicBezTo>
                          <a:cubicBezTo>
                            <a:pt x="79600" y="95345"/>
                            <a:pt x="62059" y="64619"/>
                            <a:pt x="66837" y="23609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grpSp>
              <p:nvGrpSpPr>
                <p:cNvPr id="299" name="Grafik 297">
                  <a:extLst>
                    <a:ext uri="{FF2B5EF4-FFF2-40B4-BE49-F238E27FC236}">
                      <a16:creationId xmlns:a16="http://schemas.microsoft.com/office/drawing/2014/main" id="{22A7C3B6-19A4-6AA1-E001-153A7DF84BC3}"/>
                    </a:ext>
                  </a:extLst>
                </p:cNvPr>
                <p:cNvGrpSpPr/>
                <p:nvPr/>
              </p:nvGrpSpPr>
              <p:grpSpPr>
                <a:xfrm>
                  <a:off x="194280" y="2857225"/>
                  <a:ext cx="247629" cy="636603"/>
                  <a:chOff x="194280" y="2857225"/>
                  <a:chExt cx="247629" cy="636603"/>
                </a:xfrm>
              </p:grpSpPr>
              <p:sp>
                <p:nvSpPr>
                  <p:cNvPr id="371" name="Freihandform: Form 370">
                    <a:extLst>
                      <a:ext uri="{FF2B5EF4-FFF2-40B4-BE49-F238E27FC236}">
                        <a16:creationId xmlns:a16="http://schemas.microsoft.com/office/drawing/2014/main" id="{60A9F935-6DF7-8317-C07A-FE6A9D1F07F3}"/>
                      </a:ext>
                    </a:extLst>
                  </p:cNvPr>
                  <p:cNvSpPr/>
                  <p:nvPr/>
                </p:nvSpPr>
                <p:spPr>
                  <a:xfrm>
                    <a:off x="194280" y="2955333"/>
                    <a:ext cx="244484" cy="537175"/>
                  </a:xfrm>
                  <a:custGeom>
                    <a:avLst/>
                    <a:gdLst>
                      <a:gd name="connsiteX0" fmla="*/ 0 w 244484"/>
                      <a:gd name="connsiteY0" fmla="*/ 526712 h 537175"/>
                      <a:gd name="connsiteX1" fmla="*/ 115589 w 244484"/>
                      <a:gd name="connsiteY1" fmla="*/ 537176 h 537175"/>
                      <a:gd name="connsiteX2" fmla="*/ 244484 w 244484"/>
                      <a:gd name="connsiteY2" fmla="*/ 34356 h 537175"/>
                      <a:gd name="connsiteX3" fmla="*/ 34114 w 244484"/>
                      <a:gd name="connsiteY3" fmla="*/ 0 h 537175"/>
                      <a:gd name="connsiteX4" fmla="*/ 0 w 244484"/>
                      <a:gd name="connsiteY4" fmla="*/ 526712 h 537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4484" h="537175">
                        <a:moveTo>
                          <a:pt x="0" y="526712"/>
                        </a:moveTo>
                        <a:lnTo>
                          <a:pt x="115589" y="537176"/>
                        </a:lnTo>
                        <a:lnTo>
                          <a:pt x="244484" y="34356"/>
                        </a:lnTo>
                        <a:lnTo>
                          <a:pt x="34114" y="0"/>
                        </a:lnTo>
                        <a:lnTo>
                          <a:pt x="0" y="526712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72" name="Freihandform: Form 371">
                    <a:extLst>
                      <a:ext uri="{FF2B5EF4-FFF2-40B4-BE49-F238E27FC236}">
                        <a16:creationId xmlns:a16="http://schemas.microsoft.com/office/drawing/2014/main" id="{999A3468-6CF5-AFFC-D07C-0DF15928E6B3}"/>
                      </a:ext>
                    </a:extLst>
                  </p:cNvPr>
                  <p:cNvSpPr/>
                  <p:nvPr/>
                </p:nvSpPr>
                <p:spPr>
                  <a:xfrm>
                    <a:off x="228032" y="2857225"/>
                    <a:ext cx="213878" cy="213878"/>
                  </a:xfrm>
                  <a:custGeom>
                    <a:avLst/>
                    <a:gdLst>
                      <a:gd name="connsiteX0" fmla="*/ 213878 w 213878"/>
                      <a:gd name="connsiteY0" fmla="*/ 106939 h 213878"/>
                      <a:gd name="connsiteX1" fmla="*/ 106939 w 213878"/>
                      <a:gd name="connsiteY1" fmla="*/ 213878 h 213878"/>
                      <a:gd name="connsiteX2" fmla="*/ 0 w 213878"/>
                      <a:gd name="connsiteY2" fmla="*/ 106939 h 213878"/>
                      <a:gd name="connsiteX3" fmla="*/ 106939 w 213878"/>
                      <a:gd name="connsiteY3" fmla="*/ 0 h 213878"/>
                      <a:gd name="connsiteX4" fmla="*/ 213878 w 213878"/>
                      <a:gd name="connsiteY4" fmla="*/ 106939 h 21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3878" h="213878">
                        <a:moveTo>
                          <a:pt x="213878" y="106939"/>
                        </a:moveTo>
                        <a:cubicBezTo>
                          <a:pt x="213878" y="166000"/>
                          <a:pt x="166000" y="213878"/>
                          <a:pt x="106939" y="213878"/>
                        </a:cubicBezTo>
                        <a:cubicBezTo>
                          <a:pt x="47878" y="213878"/>
                          <a:pt x="0" y="166000"/>
                          <a:pt x="0" y="106939"/>
                        </a:cubicBezTo>
                        <a:cubicBezTo>
                          <a:pt x="0" y="47878"/>
                          <a:pt x="47878" y="0"/>
                          <a:pt x="106939" y="0"/>
                        </a:cubicBezTo>
                        <a:cubicBezTo>
                          <a:pt x="166000" y="0"/>
                          <a:pt x="213878" y="47878"/>
                          <a:pt x="213878" y="106939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73" name="Freihandform: Form 372">
                    <a:extLst>
                      <a:ext uri="{FF2B5EF4-FFF2-40B4-BE49-F238E27FC236}">
                        <a16:creationId xmlns:a16="http://schemas.microsoft.com/office/drawing/2014/main" id="{6727B32A-BC7E-6C2C-1844-793ADC888B9D}"/>
                      </a:ext>
                    </a:extLst>
                  </p:cNvPr>
                  <p:cNvSpPr/>
                  <p:nvPr/>
                </p:nvSpPr>
                <p:spPr>
                  <a:xfrm>
                    <a:off x="194280" y="3406377"/>
                    <a:ext cx="134944" cy="87451"/>
                  </a:xfrm>
                  <a:custGeom>
                    <a:avLst/>
                    <a:gdLst>
                      <a:gd name="connsiteX0" fmla="*/ 4899 w 134944"/>
                      <a:gd name="connsiteY0" fmla="*/ 0 h 87451"/>
                      <a:gd name="connsiteX1" fmla="*/ 0 w 134944"/>
                      <a:gd name="connsiteY1" fmla="*/ 75607 h 87451"/>
                      <a:gd name="connsiteX2" fmla="*/ 115528 w 134944"/>
                      <a:gd name="connsiteY2" fmla="*/ 86071 h 87451"/>
                      <a:gd name="connsiteX3" fmla="*/ 134944 w 134944"/>
                      <a:gd name="connsiteY3" fmla="*/ 10283 h 87451"/>
                      <a:gd name="connsiteX4" fmla="*/ 4839 w 134944"/>
                      <a:gd name="connsiteY4" fmla="*/ 0 h 874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4944" h="87451">
                        <a:moveTo>
                          <a:pt x="4899" y="0"/>
                        </a:moveTo>
                        <a:lnTo>
                          <a:pt x="0" y="75607"/>
                        </a:lnTo>
                        <a:cubicBezTo>
                          <a:pt x="36655" y="86676"/>
                          <a:pt x="75305" y="89519"/>
                          <a:pt x="115528" y="86071"/>
                        </a:cubicBezTo>
                        <a:lnTo>
                          <a:pt x="134944" y="10283"/>
                        </a:lnTo>
                        <a:lnTo>
                          <a:pt x="4839" y="0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00" name="Grafik 297">
                  <a:extLst>
                    <a:ext uri="{FF2B5EF4-FFF2-40B4-BE49-F238E27FC236}">
                      <a16:creationId xmlns:a16="http://schemas.microsoft.com/office/drawing/2014/main" id="{7BFDEC2C-205F-E91F-DE2D-6F71A1217DA3}"/>
                    </a:ext>
                  </a:extLst>
                </p:cNvPr>
                <p:cNvGrpSpPr/>
                <p:nvPr/>
              </p:nvGrpSpPr>
              <p:grpSpPr>
                <a:xfrm>
                  <a:off x="228455" y="2290411"/>
                  <a:ext cx="494351" cy="698612"/>
                  <a:chOff x="228455" y="2290411"/>
                  <a:chExt cx="494351" cy="698612"/>
                </a:xfrm>
              </p:grpSpPr>
              <p:sp>
                <p:nvSpPr>
                  <p:cNvPr id="368" name="Freihandform: Form 367">
                    <a:extLst>
                      <a:ext uri="{FF2B5EF4-FFF2-40B4-BE49-F238E27FC236}">
                        <a16:creationId xmlns:a16="http://schemas.microsoft.com/office/drawing/2014/main" id="{F8B0B162-CF66-F9A8-49F3-097FD0BD40DB}"/>
                      </a:ext>
                    </a:extLst>
                  </p:cNvPr>
                  <p:cNvSpPr/>
                  <p:nvPr/>
                </p:nvSpPr>
                <p:spPr>
                  <a:xfrm>
                    <a:off x="237467" y="2772000"/>
                    <a:ext cx="265472" cy="217023"/>
                  </a:xfrm>
                  <a:custGeom>
                    <a:avLst/>
                    <a:gdLst>
                      <a:gd name="connsiteX0" fmla="*/ 0 w 265472"/>
                      <a:gd name="connsiteY0" fmla="*/ 148191 h 217023"/>
                      <a:gd name="connsiteX1" fmla="*/ 201297 w 265472"/>
                      <a:gd name="connsiteY1" fmla="*/ 217024 h 217023"/>
                      <a:gd name="connsiteX2" fmla="*/ 265473 w 265472"/>
                      <a:gd name="connsiteY2" fmla="*/ 95084 h 217023"/>
                      <a:gd name="connsiteX3" fmla="*/ 65567 w 265472"/>
                      <a:gd name="connsiteY3" fmla="*/ 0 h 217023"/>
                      <a:gd name="connsiteX4" fmla="*/ 0 w 265472"/>
                      <a:gd name="connsiteY4" fmla="*/ 148191 h 2170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5472" h="217023">
                        <a:moveTo>
                          <a:pt x="0" y="148191"/>
                        </a:moveTo>
                        <a:lnTo>
                          <a:pt x="201297" y="217024"/>
                        </a:lnTo>
                        <a:lnTo>
                          <a:pt x="265473" y="95084"/>
                        </a:lnTo>
                        <a:lnTo>
                          <a:pt x="65567" y="0"/>
                        </a:lnTo>
                        <a:lnTo>
                          <a:pt x="0" y="148191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69" name="Freihandform: Form 368">
                    <a:extLst>
                      <a:ext uri="{FF2B5EF4-FFF2-40B4-BE49-F238E27FC236}">
                        <a16:creationId xmlns:a16="http://schemas.microsoft.com/office/drawing/2014/main" id="{D5B20DB2-3D96-046C-F88F-20EF2C86453D}"/>
                      </a:ext>
                    </a:extLst>
                  </p:cNvPr>
                  <p:cNvSpPr/>
                  <p:nvPr/>
                </p:nvSpPr>
                <p:spPr>
                  <a:xfrm>
                    <a:off x="228455" y="2356643"/>
                    <a:ext cx="479532" cy="616231"/>
                  </a:xfrm>
                  <a:custGeom>
                    <a:avLst/>
                    <a:gdLst>
                      <a:gd name="connsiteX0" fmla="*/ 213576 w 479532"/>
                      <a:gd name="connsiteY0" fmla="*/ 60 h 616231"/>
                      <a:gd name="connsiteX1" fmla="*/ 0 w 479532"/>
                      <a:gd name="connsiteY1" fmla="*/ 525321 h 616231"/>
                      <a:gd name="connsiteX2" fmla="*/ 252347 w 479532"/>
                      <a:gd name="connsiteY2" fmla="*/ 616231 h 616231"/>
                      <a:gd name="connsiteX3" fmla="*/ 479533 w 479532"/>
                      <a:gd name="connsiteY3" fmla="*/ 153574 h 616231"/>
                      <a:gd name="connsiteX4" fmla="*/ 213515 w 479532"/>
                      <a:gd name="connsiteY4" fmla="*/ 0 h 6162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79532" h="616231">
                        <a:moveTo>
                          <a:pt x="213576" y="60"/>
                        </a:moveTo>
                        <a:cubicBezTo>
                          <a:pt x="130650" y="109963"/>
                          <a:pt x="0" y="525321"/>
                          <a:pt x="0" y="525321"/>
                        </a:cubicBezTo>
                        <a:lnTo>
                          <a:pt x="252347" y="616231"/>
                        </a:lnTo>
                        <a:lnTo>
                          <a:pt x="479533" y="153574"/>
                        </a:lnTo>
                        <a:cubicBezTo>
                          <a:pt x="397272" y="103854"/>
                          <a:pt x="353359" y="77785"/>
                          <a:pt x="213515" y="0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70" name="Freihandform: Form 369">
                    <a:extLst>
                      <a:ext uri="{FF2B5EF4-FFF2-40B4-BE49-F238E27FC236}">
                        <a16:creationId xmlns:a16="http://schemas.microsoft.com/office/drawing/2014/main" id="{BCD23535-DD67-3E98-F64A-FF60FBD69AFC}"/>
                      </a:ext>
                    </a:extLst>
                  </p:cNvPr>
                  <p:cNvSpPr/>
                  <p:nvPr/>
                </p:nvSpPr>
                <p:spPr>
                  <a:xfrm>
                    <a:off x="414570" y="2290411"/>
                    <a:ext cx="308236" cy="308236"/>
                  </a:xfrm>
                  <a:custGeom>
                    <a:avLst/>
                    <a:gdLst>
                      <a:gd name="connsiteX0" fmla="*/ 308236 w 308236"/>
                      <a:gd name="connsiteY0" fmla="*/ 154118 h 308236"/>
                      <a:gd name="connsiteX1" fmla="*/ 154118 w 308236"/>
                      <a:gd name="connsiteY1" fmla="*/ 308237 h 308236"/>
                      <a:gd name="connsiteX2" fmla="*/ 0 w 308236"/>
                      <a:gd name="connsiteY2" fmla="*/ 154118 h 308236"/>
                      <a:gd name="connsiteX3" fmla="*/ 154118 w 308236"/>
                      <a:gd name="connsiteY3" fmla="*/ 0 h 308236"/>
                      <a:gd name="connsiteX4" fmla="*/ 308236 w 308236"/>
                      <a:gd name="connsiteY4" fmla="*/ 154118 h 3082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8236" h="308236">
                        <a:moveTo>
                          <a:pt x="308236" y="154118"/>
                        </a:moveTo>
                        <a:cubicBezTo>
                          <a:pt x="308236" y="239235"/>
                          <a:pt x="239235" y="308237"/>
                          <a:pt x="154118" y="308237"/>
                        </a:cubicBezTo>
                        <a:cubicBezTo>
                          <a:pt x="69001" y="308237"/>
                          <a:pt x="0" y="239235"/>
                          <a:pt x="0" y="154118"/>
                        </a:cubicBezTo>
                        <a:cubicBezTo>
                          <a:pt x="0" y="69001"/>
                          <a:pt x="69001" y="0"/>
                          <a:pt x="154118" y="0"/>
                        </a:cubicBezTo>
                        <a:cubicBezTo>
                          <a:pt x="239235" y="0"/>
                          <a:pt x="308236" y="69001"/>
                          <a:pt x="308236" y="15411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01" name="Grafik 297">
                  <a:extLst>
                    <a:ext uri="{FF2B5EF4-FFF2-40B4-BE49-F238E27FC236}">
                      <a16:creationId xmlns:a16="http://schemas.microsoft.com/office/drawing/2014/main" id="{82D88F16-CDC8-B4CB-7B41-CAA74B8B50A8}"/>
                    </a:ext>
                  </a:extLst>
                </p:cNvPr>
                <p:cNvGrpSpPr/>
                <p:nvPr/>
              </p:nvGrpSpPr>
              <p:grpSpPr>
                <a:xfrm>
                  <a:off x="1011981" y="4899413"/>
                  <a:ext cx="528917" cy="254497"/>
                  <a:chOff x="1011981" y="4899413"/>
                  <a:chExt cx="528917" cy="254497"/>
                </a:xfrm>
              </p:grpSpPr>
              <p:sp>
                <p:nvSpPr>
                  <p:cNvPr id="366" name="Freihandform: Form 365">
                    <a:extLst>
                      <a:ext uri="{FF2B5EF4-FFF2-40B4-BE49-F238E27FC236}">
                        <a16:creationId xmlns:a16="http://schemas.microsoft.com/office/drawing/2014/main" id="{C02BE976-48AA-F8D2-EB13-C2232949AF19}"/>
                      </a:ext>
                    </a:extLst>
                  </p:cNvPr>
                  <p:cNvSpPr/>
                  <p:nvPr/>
                </p:nvSpPr>
                <p:spPr>
                  <a:xfrm>
                    <a:off x="1011981" y="4899413"/>
                    <a:ext cx="527136" cy="243225"/>
                  </a:xfrm>
                  <a:custGeom>
                    <a:avLst/>
                    <a:gdLst>
                      <a:gd name="connsiteX0" fmla="*/ 14162 w 527136"/>
                      <a:gd name="connsiteY0" fmla="*/ 88430 h 243225"/>
                      <a:gd name="connsiteX1" fmla="*/ 5876 w 527136"/>
                      <a:gd name="connsiteY1" fmla="*/ 184845 h 243225"/>
                      <a:gd name="connsiteX2" fmla="*/ 25776 w 527136"/>
                      <a:gd name="connsiteY2" fmla="*/ 233778 h 243225"/>
                      <a:gd name="connsiteX3" fmla="*/ 45071 w 527136"/>
                      <a:gd name="connsiteY3" fmla="*/ 242609 h 243225"/>
                      <a:gd name="connsiteX4" fmla="*/ 505550 w 527136"/>
                      <a:gd name="connsiteY4" fmla="*/ 72281 h 243225"/>
                      <a:gd name="connsiteX5" fmla="*/ 490066 w 527136"/>
                      <a:gd name="connsiteY5" fmla="*/ 0 h 243225"/>
                      <a:gd name="connsiteX6" fmla="*/ 307822 w 527136"/>
                      <a:gd name="connsiteY6" fmla="*/ 27824 h 243225"/>
                      <a:gd name="connsiteX7" fmla="*/ 169309 w 527136"/>
                      <a:gd name="connsiteY7" fmla="*/ 18811 h 243225"/>
                      <a:gd name="connsiteX8" fmla="*/ 146506 w 527136"/>
                      <a:gd name="connsiteY8" fmla="*/ 63510 h 243225"/>
                      <a:gd name="connsiteX9" fmla="*/ 14223 w 527136"/>
                      <a:gd name="connsiteY9" fmla="*/ 88491 h 2432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527136" h="243225">
                        <a:moveTo>
                          <a:pt x="14162" y="88430"/>
                        </a:moveTo>
                        <a:cubicBezTo>
                          <a:pt x="14162" y="88430"/>
                          <a:pt x="-11121" y="138876"/>
                          <a:pt x="5876" y="184845"/>
                        </a:cubicBezTo>
                        <a:cubicBezTo>
                          <a:pt x="14646" y="208616"/>
                          <a:pt x="21360" y="224222"/>
                          <a:pt x="25776" y="233778"/>
                        </a:cubicBezTo>
                        <a:cubicBezTo>
                          <a:pt x="29163" y="241037"/>
                          <a:pt x="37329" y="244787"/>
                          <a:pt x="45071" y="242609"/>
                        </a:cubicBezTo>
                        <a:cubicBezTo>
                          <a:pt x="110819" y="223980"/>
                          <a:pt x="446516" y="134702"/>
                          <a:pt x="505550" y="72281"/>
                        </a:cubicBezTo>
                        <a:cubicBezTo>
                          <a:pt x="561923" y="12702"/>
                          <a:pt x="490066" y="0"/>
                          <a:pt x="490066" y="0"/>
                        </a:cubicBezTo>
                        <a:cubicBezTo>
                          <a:pt x="490066" y="0"/>
                          <a:pt x="389599" y="46454"/>
                          <a:pt x="307822" y="27824"/>
                        </a:cubicBezTo>
                        <a:cubicBezTo>
                          <a:pt x="234997" y="11251"/>
                          <a:pt x="178926" y="11614"/>
                          <a:pt x="169309" y="18811"/>
                        </a:cubicBezTo>
                        <a:cubicBezTo>
                          <a:pt x="159692" y="26009"/>
                          <a:pt x="161506" y="44336"/>
                          <a:pt x="146506" y="63510"/>
                        </a:cubicBezTo>
                        <a:cubicBezTo>
                          <a:pt x="131505" y="82685"/>
                          <a:pt x="23840" y="79963"/>
                          <a:pt x="14223" y="88491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67" name="Freihandform: Form 366">
                    <a:extLst>
                      <a:ext uri="{FF2B5EF4-FFF2-40B4-BE49-F238E27FC236}">
                        <a16:creationId xmlns:a16="http://schemas.microsoft.com/office/drawing/2014/main" id="{AD43ED9A-FAED-F84E-DAD7-623945CEE197}"/>
                      </a:ext>
                    </a:extLst>
                  </p:cNvPr>
                  <p:cNvSpPr/>
                  <p:nvPr/>
                </p:nvSpPr>
                <p:spPr>
                  <a:xfrm>
                    <a:off x="1023059" y="4902195"/>
                    <a:ext cx="517840" cy="251715"/>
                  </a:xfrm>
                  <a:custGeom>
                    <a:avLst/>
                    <a:gdLst>
                      <a:gd name="connsiteX0" fmla="*/ 37380 w 517840"/>
                      <a:gd name="connsiteY0" fmla="*/ 251077 h 251715"/>
                      <a:gd name="connsiteX1" fmla="*/ 432596 w 517840"/>
                      <a:gd name="connsiteY1" fmla="*/ 120004 h 251715"/>
                      <a:gd name="connsiteX2" fmla="*/ 496469 w 517840"/>
                      <a:gd name="connsiteY2" fmla="*/ 74761 h 251715"/>
                      <a:gd name="connsiteX3" fmla="*/ 489694 w 517840"/>
                      <a:gd name="connsiteY3" fmla="*/ 0 h 251715"/>
                      <a:gd name="connsiteX4" fmla="*/ 474149 w 517840"/>
                      <a:gd name="connsiteY4" fmla="*/ 33146 h 251715"/>
                      <a:gd name="connsiteX5" fmla="*/ 0 w 517840"/>
                      <a:gd name="connsiteY5" fmla="*/ 196035 h 251715"/>
                      <a:gd name="connsiteX6" fmla="*/ 17964 w 517840"/>
                      <a:gd name="connsiteY6" fmla="*/ 242186 h 251715"/>
                      <a:gd name="connsiteX7" fmla="*/ 37320 w 517840"/>
                      <a:gd name="connsiteY7" fmla="*/ 251077 h 2517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17840" h="251715">
                        <a:moveTo>
                          <a:pt x="37380" y="251077"/>
                        </a:moveTo>
                        <a:cubicBezTo>
                          <a:pt x="38832" y="250654"/>
                          <a:pt x="431386" y="120609"/>
                          <a:pt x="432596" y="120004"/>
                        </a:cubicBezTo>
                        <a:cubicBezTo>
                          <a:pt x="466407" y="105004"/>
                          <a:pt x="484734" y="87221"/>
                          <a:pt x="496469" y="74761"/>
                        </a:cubicBezTo>
                        <a:cubicBezTo>
                          <a:pt x="538688" y="30122"/>
                          <a:pt x="508506" y="4234"/>
                          <a:pt x="489694" y="0"/>
                        </a:cubicBezTo>
                        <a:cubicBezTo>
                          <a:pt x="486428" y="7319"/>
                          <a:pt x="483283" y="23469"/>
                          <a:pt x="474149" y="33146"/>
                        </a:cubicBezTo>
                        <a:cubicBezTo>
                          <a:pt x="411788" y="99076"/>
                          <a:pt x="41856" y="185631"/>
                          <a:pt x="0" y="196035"/>
                        </a:cubicBezTo>
                        <a:cubicBezTo>
                          <a:pt x="7621" y="216298"/>
                          <a:pt x="13972" y="233476"/>
                          <a:pt x="17964" y="242186"/>
                        </a:cubicBezTo>
                        <a:cubicBezTo>
                          <a:pt x="21352" y="249505"/>
                          <a:pt x="29517" y="253315"/>
                          <a:pt x="37320" y="251077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02" name="Grafik 297">
                  <a:extLst>
                    <a:ext uri="{FF2B5EF4-FFF2-40B4-BE49-F238E27FC236}">
                      <a16:creationId xmlns:a16="http://schemas.microsoft.com/office/drawing/2014/main" id="{1C74776A-F8AF-0D0E-353A-5B7B312BCC49}"/>
                    </a:ext>
                  </a:extLst>
                </p:cNvPr>
                <p:cNvGrpSpPr/>
                <p:nvPr/>
              </p:nvGrpSpPr>
              <p:grpSpPr>
                <a:xfrm>
                  <a:off x="741194" y="4087994"/>
                  <a:ext cx="551329" cy="969001"/>
                  <a:chOff x="741194" y="4087994"/>
                  <a:chExt cx="551329" cy="969001"/>
                </a:xfrm>
                <a:solidFill>
                  <a:srgbClr val="02787D"/>
                </a:solidFill>
              </p:grpSpPr>
              <p:sp>
                <p:nvSpPr>
                  <p:cNvPr id="364" name="Freihandform: Form 363">
                    <a:extLst>
                      <a:ext uri="{FF2B5EF4-FFF2-40B4-BE49-F238E27FC236}">
                        <a16:creationId xmlns:a16="http://schemas.microsoft.com/office/drawing/2014/main" id="{83DBE230-2334-9466-922C-1E46C1BFDD1D}"/>
                      </a:ext>
                    </a:extLst>
                  </p:cNvPr>
                  <p:cNvSpPr/>
                  <p:nvPr/>
                </p:nvSpPr>
                <p:spPr>
                  <a:xfrm>
                    <a:off x="753352" y="4197221"/>
                    <a:ext cx="539171" cy="859774"/>
                  </a:xfrm>
                  <a:custGeom>
                    <a:avLst/>
                    <a:gdLst>
                      <a:gd name="connsiteX0" fmla="*/ 258638 w 539171"/>
                      <a:gd name="connsiteY0" fmla="*/ 859637 h 859774"/>
                      <a:gd name="connsiteX1" fmla="*/ 539172 w 539171"/>
                      <a:gd name="connsiteY1" fmla="*/ 728141 h 859774"/>
                      <a:gd name="connsiteX2" fmla="*/ 437253 w 539171"/>
                      <a:gd name="connsiteY2" fmla="*/ 484685 h 859774"/>
                      <a:gd name="connsiteX3" fmla="*/ 309930 w 539171"/>
                      <a:gd name="connsiteY3" fmla="*/ 10535 h 859774"/>
                      <a:gd name="connsiteX4" fmla="*/ 0 w 539171"/>
                      <a:gd name="connsiteY4" fmla="*/ 117172 h 859774"/>
                      <a:gd name="connsiteX5" fmla="*/ 169905 w 539171"/>
                      <a:gd name="connsiteY5" fmla="*/ 715257 h 859774"/>
                      <a:gd name="connsiteX6" fmla="*/ 258638 w 539171"/>
                      <a:gd name="connsiteY6" fmla="*/ 859637 h 8597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39171" h="859774">
                        <a:moveTo>
                          <a:pt x="258638" y="859637"/>
                        </a:moveTo>
                        <a:lnTo>
                          <a:pt x="539172" y="728141"/>
                        </a:lnTo>
                        <a:cubicBezTo>
                          <a:pt x="539172" y="728141"/>
                          <a:pt x="448685" y="518133"/>
                          <a:pt x="437253" y="484685"/>
                        </a:cubicBezTo>
                        <a:cubicBezTo>
                          <a:pt x="425821" y="451236"/>
                          <a:pt x="309930" y="10535"/>
                          <a:pt x="309930" y="10535"/>
                        </a:cubicBezTo>
                        <a:cubicBezTo>
                          <a:pt x="194099" y="-20676"/>
                          <a:pt x="72160" y="18217"/>
                          <a:pt x="0" y="117172"/>
                        </a:cubicBezTo>
                        <a:cubicBezTo>
                          <a:pt x="26372" y="349740"/>
                          <a:pt x="140327" y="605535"/>
                          <a:pt x="169905" y="715257"/>
                        </a:cubicBezTo>
                        <a:cubicBezTo>
                          <a:pt x="187930" y="782276"/>
                          <a:pt x="222407" y="863569"/>
                          <a:pt x="258638" y="859637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65" name="Freihandform: Form 364">
                    <a:extLst>
                      <a:ext uri="{FF2B5EF4-FFF2-40B4-BE49-F238E27FC236}">
                        <a16:creationId xmlns:a16="http://schemas.microsoft.com/office/drawing/2014/main" id="{DD90210D-FF74-A982-AE47-AD42ED076352}"/>
                      </a:ext>
                    </a:extLst>
                  </p:cNvPr>
                  <p:cNvSpPr/>
                  <p:nvPr/>
                </p:nvSpPr>
                <p:spPr>
                  <a:xfrm>
                    <a:off x="741194" y="4087994"/>
                    <a:ext cx="328196" cy="328196"/>
                  </a:xfrm>
                  <a:custGeom>
                    <a:avLst/>
                    <a:gdLst>
                      <a:gd name="connsiteX0" fmla="*/ 328197 w 328196"/>
                      <a:gd name="connsiteY0" fmla="*/ 164098 h 328196"/>
                      <a:gd name="connsiteX1" fmla="*/ 164098 w 328196"/>
                      <a:gd name="connsiteY1" fmla="*/ 328197 h 328196"/>
                      <a:gd name="connsiteX2" fmla="*/ 0 w 328196"/>
                      <a:gd name="connsiteY2" fmla="*/ 164098 h 328196"/>
                      <a:gd name="connsiteX3" fmla="*/ 164098 w 328196"/>
                      <a:gd name="connsiteY3" fmla="*/ 0 h 328196"/>
                      <a:gd name="connsiteX4" fmla="*/ 328197 w 328196"/>
                      <a:gd name="connsiteY4" fmla="*/ 164098 h 3281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8196" h="328196">
                        <a:moveTo>
                          <a:pt x="328197" y="164098"/>
                        </a:moveTo>
                        <a:cubicBezTo>
                          <a:pt x="328197" y="254727"/>
                          <a:pt x="254727" y="328197"/>
                          <a:pt x="164098" y="328197"/>
                        </a:cubicBezTo>
                        <a:cubicBezTo>
                          <a:pt x="73469" y="328197"/>
                          <a:pt x="0" y="254727"/>
                          <a:pt x="0" y="164098"/>
                        </a:cubicBezTo>
                        <a:cubicBezTo>
                          <a:pt x="0" y="73469"/>
                          <a:pt x="73469" y="0"/>
                          <a:pt x="164098" y="0"/>
                        </a:cubicBezTo>
                        <a:cubicBezTo>
                          <a:pt x="254727" y="0"/>
                          <a:pt x="328197" y="73469"/>
                          <a:pt x="328197" y="16409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03" name="Grafik 297">
                  <a:extLst>
                    <a:ext uri="{FF2B5EF4-FFF2-40B4-BE49-F238E27FC236}">
                      <a16:creationId xmlns:a16="http://schemas.microsoft.com/office/drawing/2014/main" id="{48B07769-F97C-FB5D-404E-FB5B0DDAC6A0}"/>
                    </a:ext>
                  </a:extLst>
                </p:cNvPr>
                <p:cNvGrpSpPr/>
                <p:nvPr/>
              </p:nvGrpSpPr>
              <p:grpSpPr>
                <a:xfrm>
                  <a:off x="415417" y="3058220"/>
                  <a:ext cx="647865" cy="1260991"/>
                  <a:chOff x="415417" y="3058220"/>
                  <a:chExt cx="647865" cy="1260991"/>
                </a:xfrm>
                <a:solidFill>
                  <a:srgbClr val="02787D"/>
                </a:solidFill>
              </p:grpSpPr>
              <p:sp>
                <p:nvSpPr>
                  <p:cNvPr id="362" name="Freihandform: Form 361">
                    <a:extLst>
                      <a:ext uri="{FF2B5EF4-FFF2-40B4-BE49-F238E27FC236}">
                        <a16:creationId xmlns:a16="http://schemas.microsoft.com/office/drawing/2014/main" id="{4077C0A8-568E-E3B6-DA8B-5B98D99E59E5}"/>
                      </a:ext>
                    </a:extLst>
                  </p:cNvPr>
                  <p:cNvSpPr/>
                  <p:nvPr/>
                </p:nvSpPr>
                <p:spPr>
                  <a:xfrm>
                    <a:off x="422857" y="3262239"/>
                    <a:ext cx="640425" cy="1056972"/>
                  </a:xfrm>
                  <a:custGeom>
                    <a:avLst/>
                    <a:gdLst>
                      <a:gd name="connsiteX0" fmla="*/ 60 w 640425"/>
                      <a:gd name="connsiteY0" fmla="*/ 100588 h 1056972"/>
                      <a:gd name="connsiteX1" fmla="*/ 478021 w 640425"/>
                      <a:gd name="connsiteY1" fmla="*/ 0 h 1056972"/>
                      <a:gd name="connsiteX2" fmla="*/ 559616 w 640425"/>
                      <a:gd name="connsiteY2" fmla="*/ 405861 h 1056972"/>
                      <a:gd name="connsiteX3" fmla="*/ 640425 w 640425"/>
                      <a:gd name="connsiteY3" fmla="*/ 945517 h 1056972"/>
                      <a:gd name="connsiteX4" fmla="*/ 330616 w 640425"/>
                      <a:gd name="connsiteY4" fmla="*/ 1052396 h 1056972"/>
                      <a:gd name="connsiteX5" fmla="*/ 0 w 640425"/>
                      <a:gd name="connsiteY5" fmla="*/ 100588 h 10569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40425" h="1056972">
                        <a:moveTo>
                          <a:pt x="60" y="100588"/>
                        </a:moveTo>
                        <a:cubicBezTo>
                          <a:pt x="6049" y="100588"/>
                          <a:pt x="478021" y="0"/>
                          <a:pt x="478021" y="0"/>
                        </a:cubicBezTo>
                        <a:cubicBezTo>
                          <a:pt x="478021" y="0"/>
                          <a:pt x="539837" y="303216"/>
                          <a:pt x="559616" y="405861"/>
                        </a:cubicBezTo>
                        <a:cubicBezTo>
                          <a:pt x="635466" y="799141"/>
                          <a:pt x="640425" y="945517"/>
                          <a:pt x="640425" y="945517"/>
                        </a:cubicBezTo>
                        <a:cubicBezTo>
                          <a:pt x="558043" y="1025600"/>
                          <a:pt x="438765" y="1072295"/>
                          <a:pt x="330616" y="1052396"/>
                        </a:cubicBezTo>
                        <a:cubicBezTo>
                          <a:pt x="265654" y="932149"/>
                          <a:pt x="64055" y="315555"/>
                          <a:pt x="0" y="10058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63" name="Freihandform: Form 362">
                    <a:extLst>
                      <a:ext uri="{FF2B5EF4-FFF2-40B4-BE49-F238E27FC236}">
                        <a16:creationId xmlns:a16="http://schemas.microsoft.com/office/drawing/2014/main" id="{C44CA022-F9A1-F247-30D1-8887E10DCE64}"/>
                      </a:ext>
                    </a:extLst>
                  </p:cNvPr>
                  <p:cNvSpPr/>
                  <p:nvPr/>
                </p:nvSpPr>
                <p:spPr>
                  <a:xfrm>
                    <a:off x="415417" y="3058220"/>
                    <a:ext cx="488847" cy="488847"/>
                  </a:xfrm>
                  <a:custGeom>
                    <a:avLst/>
                    <a:gdLst>
                      <a:gd name="connsiteX0" fmla="*/ 488848 w 488847"/>
                      <a:gd name="connsiteY0" fmla="*/ 244424 h 488847"/>
                      <a:gd name="connsiteX1" fmla="*/ 244424 w 488847"/>
                      <a:gd name="connsiteY1" fmla="*/ 488848 h 488847"/>
                      <a:gd name="connsiteX2" fmla="*/ 0 w 488847"/>
                      <a:gd name="connsiteY2" fmla="*/ 244424 h 488847"/>
                      <a:gd name="connsiteX3" fmla="*/ 244424 w 488847"/>
                      <a:gd name="connsiteY3" fmla="*/ 0 h 488847"/>
                      <a:gd name="connsiteX4" fmla="*/ 488848 w 488847"/>
                      <a:gd name="connsiteY4" fmla="*/ 244424 h 4888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88847" h="488847">
                        <a:moveTo>
                          <a:pt x="488848" y="244424"/>
                        </a:moveTo>
                        <a:cubicBezTo>
                          <a:pt x="488848" y="379415"/>
                          <a:pt x="379415" y="488848"/>
                          <a:pt x="244424" y="488848"/>
                        </a:cubicBezTo>
                        <a:cubicBezTo>
                          <a:pt x="109432" y="488848"/>
                          <a:pt x="0" y="379415"/>
                          <a:pt x="0" y="244424"/>
                        </a:cubicBezTo>
                        <a:cubicBezTo>
                          <a:pt x="0" y="109432"/>
                          <a:pt x="109432" y="0"/>
                          <a:pt x="244424" y="0"/>
                        </a:cubicBezTo>
                        <a:cubicBezTo>
                          <a:pt x="379415" y="0"/>
                          <a:pt x="488848" y="109432"/>
                          <a:pt x="488848" y="244424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04" name="Grafik 297">
                  <a:extLst>
                    <a:ext uri="{FF2B5EF4-FFF2-40B4-BE49-F238E27FC236}">
                      <a16:creationId xmlns:a16="http://schemas.microsoft.com/office/drawing/2014/main" id="{21A62794-9F76-A4A2-6C67-80EDE807CC18}"/>
                    </a:ext>
                  </a:extLst>
                </p:cNvPr>
                <p:cNvGrpSpPr/>
                <p:nvPr/>
              </p:nvGrpSpPr>
              <p:grpSpPr>
                <a:xfrm>
                  <a:off x="48" y="4970823"/>
                  <a:ext cx="543691" cy="226344"/>
                  <a:chOff x="48" y="4970823"/>
                  <a:chExt cx="543691" cy="226344"/>
                </a:xfrm>
              </p:grpSpPr>
              <p:sp>
                <p:nvSpPr>
                  <p:cNvPr id="360" name="Freihandform: Form 359">
                    <a:extLst>
                      <a:ext uri="{FF2B5EF4-FFF2-40B4-BE49-F238E27FC236}">
                        <a16:creationId xmlns:a16="http://schemas.microsoft.com/office/drawing/2014/main" id="{06147F06-5CEF-7DC0-FA88-EF0643FB5ACE}"/>
                      </a:ext>
                    </a:extLst>
                  </p:cNvPr>
                  <p:cNvSpPr/>
                  <p:nvPr/>
                </p:nvSpPr>
                <p:spPr>
                  <a:xfrm>
                    <a:off x="2105" y="4970823"/>
                    <a:ext cx="540897" cy="215866"/>
                  </a:xfrm>
                  <a:custGeom>
                    <a:avLst/>
                    <a:gdLst>
                      <a:gd name="connsiteX0" fmla="*/ 55780 w 540897"/>
                      <a:gd name="connsiteY0" fmla="*/ 23 h 215866"/>
                      <a:gd name="connsiteX1" fmla="*/ 4548 w 540897"/>
                      <a:gd name="connsiteY1" fmla="*/ 82163 h 215866"/>
                      <a:gd name="connsiteX2" fmla="*/ 12 w 540897"/>
                      <a:gd name="connsiteY2" fmla="*/ 134786 h 215866"/>
                      <a:gd name="connsiteX3" fmla="*/ 13198 w 540897"/>
                      <a:gd name="connsiteY3" fmla="*/ 151420 h 215866"/>
                      <a:gd name="connsiteX4" fmla="*/ 500775 w 540897"/>
                      <a:gd name="connsiteY4" fmla="*/ 209244 h 215866"/>
                      <a:gd name="connsiteX5" fmla="*/ 519889 w 540897"/>
                      <a:gd name="connsiteY5" fmla="*/ 137810 h 215866"/>
                      <a:gd name="connsiteX6" fmla="*/ 344903 w 540897"/>
                      <a:gd name="connsiteY6" fmla="*/ 79683 h 215866"/>
                      <a:gd name="connsiteX7" fmla="*/ 225685 w 540897"/>
                      <a:gd name="connsiteY7" fmla="*/ 8612 h 215866"/>
                      <a:gd name="connsiteX8" fmla="*/ 185038 w 540897"/>
                      <a:gd name="connsiteY8" fmla="*/ 38069 h 215866"/>
                      <a:gd name="connsiteX9" fmla="*/ 55901 w 540897"/>
                      <a:gd name="connsiteY9" fmla="*/ 144 h 2158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540897" h="215866">
                        <a:moveTo>
                          <a:pt x="55780" y="23"/>
                        </a:moveTo>
                        <a:cubicBezTo>
                          <a:pt x="55780" y="23"/>
                          <a:pt x="10294" y="33472"/>
                          <a:pt x="4548" y="82163"/>
                        </a:cubicBezTo>
                        <a:cubicBezTo>
                          <a:pt x="1524" y="107386"/>
                          <a:pt x="435" y="124322"/>
                          <a:pt x="12" y="134786"/>
                        </a:cubicBezTo>
                        <a:cubicBezTo>
                          <a:pt x="-291" y="142831"/>
                          <a:pt x="5274" y="149847"/>
                          <a:pt x="13198" y="151420"/>
                        </a:cubicBezTo>
                        <a:cubicBezTo>
                          <a:pt x="80216" y="164727"/>
                          <a:pt x="419784" y="237975"/>
                          <a:pt x="500775" y="209244"/>
                        </a:cubicBezTo>
                        <a:cubicBezTo>
                          <a:pt x="578076" y="181844"/>
                          <a:pt x="519889" y="137810"/>
                          <a:pt x="519889" y="137810"/>
                        </a:cubicBezTo>
                        <a:cubicBezTo>
                          <a:pt x="519889" y="137810"/>
                          <a:pt x="409260" y="133455"/>
                          <a:pt x="344903" y="79683"/>
                        </a:cubicBezTo>
                        <a:cubicBezTo>
                          <a:pt x="287623" y="31778"/>
                          <a:pt x="237480" y="6616"/>
                          <a:pt x="225685" y="8612"/>
                        </a:cubicBezTo>
                        <a:cubicBezTo>
                          <a:pt x="213830" y="10608"/>
                          <a:pt x="207116" y="27786"/>
                          <a:pt x="185038" y="38069"/>
                        </a:cubicBezTo>
                        <a:cubicBezTo>
                          <a:pt x="162961" y="48352"/>
                          <a:pt x="68361" y="-3061"/>
                          <a:pt x="55901" y="144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61" name="Freihandform: Form 360">
                    <a:extLst>
                      <a:ext uri="{FF2B5EF4-FFF2-40B4-BE49-F238E27FC236}">
                        <a16:creationId xmlns:a16="http://schemas.microsoft.com/office/drawing/2014/main" id="{9E0FB81F-5696-1E18-0F47-DF1C6B6886A6}"/>
                      </a:ext>
                    </a:extLst>
                  </p:cNvPr>
                  <p:cNvSpPr/>
                  <p:nvPr/>
                </p:nvSpPr>
                <p:spPr>
                  <a:xfrm>
                    <a:off x="48" y="5067745"/>
                    <a:ext cx="543691" cy="129422"/>
                  </a:xfrm>
                  <a:custGeom>
                    <a:avLst/>
                    <a:gdLst>
                      <a:gd name="connsiteX0" fmla="*/ 13137 w 543691"/>
                      <a:gd name="connsiteY0" fmla="*/ 65990 h 129422"/>
                      <a:gd name="connsiteX1" fmla="*/ 424744 w 543691"/>
                      <a:gd name="connsiteY1" fmla="*/ 129077 h 129422"/>
                      <a:gd name="connsiteX2" fmla="*/ 502227 w 543691"/>
                      <a:gd name="connsiteY2" fmla="*/ 117887 h 129422"/>
                      <a:gd name="connsiteX3" fmla="*/ 530232 w 543691"/>
                      <a:gd name="connsiteY3" fmla="*/ 48208 h 129422"/>
                      <a:gd name="connsiteX4" fmla="*/ 501319 w 543691"/>
                      <a:gd name="connsiteY4" fmla="*/ 70648 h 129422"/>
                      <a:gd name="connsiteX5" fmla="*/ 4972 w 543691"/>
                      <a:gd name="connsiteY5" fmla="*/ 0 h 129422"/>
                      <a:gd name="connsiteX6" fmla="*/ 12 w 543691"/>
                      <a:gd name="connsiteY6" fmla="*/ 49236 h 129422"/>
                      <a:gd name="connsiteX7" fmla="*/ 13198 w 543691"/>
                      <a:gd name="connsiteY7" fmla="*/ 65930 h 129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43691" h="129422">
                        <a:moveTo>
                          <a:pt x="13137" y="65990"/>
                        </a:moveTo>
                        <a:cubicBezTo>
                          <a:pt x="14649" y="66293"/>
                          <a:pt x="423353" y="129017"/>
                          <a:pt x="424744" y="129077"/>
                        </a:cubicBezTo>
                        <a:cubicBezTo>
                          <a:pt x="461701" y="131134"/>
                          <a:pt x="486077" y="123573"/>
                          <a:pt x="502227" y="117887"/>
                        </a:cubicBezTo>
                        <a:cubicBezTo>
                          <a:pt x="560112" y="97322"/>
                          <a:pt x="544990" y="60547"/>
                          <a:pt x="530232" y="48208"/>
                        </a:cubicBezTo>
                        <a:cubicBezTo>
                          <a:pt x="524002" y="53228"/>
                          <a:pt x="513840" y="66232"/>
                          <a:pt x="501319" y="70648"/>
                        </a:cubicBezTo>
                        <a:cubicBezTo>
                          <a:pt x="415792" y="101012"/>
                          <a:pt x="46949" y="9799"/>
                          <a:pt x="4972" y="0"/>
                        </a:cubicBezTo>
                        <a:cubicBezTo>
                          <a:pt x="2552" y="21533"/>
                          <a:pt x="375" y="39679"/>
                          <a:pt x="12" y="49236"/>
                        </a:cubicBezTo>
                        <a:cubicBezTo>
                          <a:pt x="-291" y="57280"/>
                          <a:pt x="5274" y="64357"/>
                          <a:pt x="13198" y="65930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05" name="Grafik 297">
                  <a:extLst>
                    <a:ext uri="{FF2B5EF4-FFF2-40B4-BE49-F238E27FC236}">
                      <a16:creationId xmlns:a16="http://schemas.microsoft.com/office/drawing/2014/main" id="{328DF018-93E4-E444-C9A8-BAC59D6A8123}"/>
                    </a:ext>
                  </a:extLst>
                </p:cNvPr>
                <p:cNvGrpSpPr/>
                <p:nvPr/>
              </p:nvGrpSpPr>
              <p:grpSpPr>
                <a:xfrm>
                  <a:off x="16751" y="4091502"/>
                  <a:ext cx="531069" cy="960275"/>
                  <a:chOff x="16751" y="4091502"/>
                  <a:chExt cx="531069" cy="960275"/>
                </a:xfrm>
                <a:solidFill>
                  <a:srgbClr val="009999"/>
                </a:solidFill>
              </p:grpSpPr>
              <p:sp>
                <p:nvSpPr>
                  <p:cNvPr id="358" name="Freihandform: Form 357">
                    <a:extLst>
                      <a:ext uri="{FF2B5EF4-FFF2-40B4-BE49-F238E27FC236}">
                        <a16:creationId xmlns:a16="http://schemas.microsoft.com/office/drawing/2014/main" id="{F4F7FE46-6127-4EEC-6F05-AF38E94A2187}"/>
                      </a:ext>
                    </a:extLst>
                  </p:cNvPr>
                  <p:cNvSpPr/>
                  <p:nvPr/>
                </p:nvSpPr>
                <p:spPr>
                  <a:xfrm>
                    <a:off x="16751" y="4199963"/>
                    <a:ext cx="525868" cy="851813"/>
                  </a:xfrm>
                  <a:custGeom>
                    <a:avLst/>
                    <a:gdLst>
                      <a:gd name="connsiteX0" fmla="*/ 206926 w 525868"/>
                      <a:gd name="connsiteY0" fmla="*/ 20132 h 851813"/>
                      <a:gd name="connsiteX1" fmla="*/ 29944 w 525868"/>
                      <a:gd name="connsiteY1" fmla="*/ 616221 h 851813"/>
                      <a:gd name="connsiteX2" fmla="*/ 9802 w 525868"/>
                      <a:gd name="connsiteY2" fmla="*/ 803788 h 851813"/>
                      <a:gd name="connsiteX3" fmla="*/ 331406 w 525868"/>
                      <a:gd name="connsiteY3" fmla="*/ 851814 h 851813"/>
                      <a:gd name="connsiteX4" fmla="*/ 384634 w 525868"/>
                      <a:gd name="connsiteY4" fmla="*/ 568498 h 851813"/>
                      <a:gd name="connsiteX5" fmla="*/ 525868 w 525868"/>
                      <a:gd name="connsiteY5" fmla="*/ 96042 h 851813"/>
                      <a:gd name="connsiteX6" fmla="*/ 206926 w 525868"/>
                      <a:gd name="connsiteY6" fmla="*/ 20071 h 8518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25868" h="851813">
                        <a:moveTo>
                          <a:pt x="206926" y="20132"/>
                        </a:moveTo>
                        <a:cubicBezTo>
                          <a:pt x="104463" y="230623"/>
                          <a:pt x="63816" y="507770"/>
                          <a:pt x="29944" y="616221"/>
                        </a:cubicBezTo>
                        <a:cubicBezTo>
                          <a:pt x="9258" y="682453"/>
                          <a:pt x="-13425" y="774271"/>
                          <a:pt x="9802" y="803788"/>
                        </a:cubicBezTo>
                        <a:lnTo>
                          <a:pt x="331406" y="851814"/>
                        </a:lnTo>
                        <a:cubicBezTo>
                          <a:pt x="331406" y="851814"/>
                          <a:pt x="365762" y="636605"/>
                          <a:pt x="384634" y="568498"/>
                        </a:cubicBezTo>
                        <a:cubicBezTo>
                          <a:pt x="394069" y="534383"/>
                          <a:pt x="525868" y="96042"/>
                          <a:pt x="525868" y="96042"/>
                        </a:cubicBezTo>
                        <a:cubicBezTo>
                          <a:pt x="444817" y="7611"/>
                          <a:pt x="320881" y="-24749"/>
                          <a:pt x="206926" y="20071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9" name="Freihandform: Form 358">
                    <a:extLst>
                      <a:ext uri="{FF2B5EF4-FFF2-40B4-BE49-F238E27FC236}">
                        <a16:creationId xmlns:a16="http://schemas.microsoft.com/office/drawing/2014/main" id="{9E357091-33DC-17FD-B267-D6C15C6D04D9}"/>
                      </a:ext>
                    </a:extLst>
                  </p:cNvPr>
                  <p:cNvSpPr/>
                  <p:nvPr/>
                </p:nvSpPr>
                <p:spPr>
                  <a:xfrm>
                    <a:off x="220350" y="4091502"/>
                    <a:ext cx="327470" cy="327471"/>
                  </a:xfrm>
                  <a:custGeom>
                    <a:avLst/>
                    <a:gdLst>
                      <a:gd name="connsiteX0" fmla="*/ 327471 w 327470"/>
                      <a:gd name="connsiteY0" fmla="*/ 163736 h 327471"/>
                      <a:gd name="connsiteX1" fmla="*/ 163735 w 327470"/>
                      <a:gd name="connsiteY1" fmla="*/ 327471 h 327471"/>
                      <a:gd name="connsiteX2" fmla="*/ 0 w 327470"/>
                      <a:gd name="connsiteY2" fmla="*/ 163736 h 327471"/>
                      <a:gd name="connsiteX3" fmla="*/ 163735 w 327470"/>
                      <a:gd name="connsiteY3" fmla="*/ 0 h 327471"/>
                      <a:gd name="connsiteX4" fmla="*/ 327471 w 327470"/>
                      <a:gd name="connsiteY4" fmla="*/ 163736 h 3274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7470" h="327471">
                        <a:moveTo>
                          <a:pt x="327471" y="163736"/>
                        </a:moveTo>
                        <a:cubicBezTo>
                          <a:pt x="327471" y="254164"/>
                          <a:pt x="254164" y="327471"/>
                          <a:pt x="163735" y="327471"/>
                        </a:cubicBezTo>
                        <a:cubicBezTo>
                          <a:pt x="73307" y="327471"/>
                          <a:pt x="0" y="254164"/>
                          <a:pt x="0" y="163736"/>
                        </a:cubicBezTo>
                        <a:cubicBezTo>
                          <a:pt x="0" y="73307"/>
                          <a:pt x="73307" y="0"/>
                          <a:pt x="163735" y="0"/>
                        </a:cubicBezTo>
                        <a:cubicBezTo>
                          <a:pt x="254164" y="0"/>
                          <a:pt x="327471" y="73307"/>
                          <a:pt x="327471" y="16373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06" name="Grafik 297">
                  <a:extLst>
                    <a:ext uri="{FF2B5EF4-FFF2-40B4-BE49-F238E27FC236}">
                      <a16:creationId xmlns:a16="http://schemas.microsoft.com/office/drawing/2014/main" id="{2A0FAC9D-0546-25E5-714E-2D45E42CDA54}"/>
                    </a:ext>
                  </a:extLst>
                </p:cNvPr>
                <p:cNvGrpSpPr/>
                <p:nvPr/>
              </p:nvGrpSpPr>
              <p:grpSpPr>
                <a:xfrm>
                  <a:off x="223798" y="3058220"/>
                  <a:ext cx="680467" cy="1246379"/>
                  <a:chOff x="223798" y="3058220"/>
                  <a:chExt cx="680467" cy="1246379"/>
                </a:xfrm>
              </p:grpSpPr>
              <p:sp>
                <p:nvSpPr>
                  <p:cNvPr id="355" name="Freihandform: Form 354">
                    <a:extLst>
                      <a:ext uri="{FF2B5EF4-FFF2-40B4-BE49-F238E27FC236}">
                        <a16:creationId xmlns:a16="http://schemas.microsoft.com/office/drawing/2014/main" id="{A4F52CD9-A2E7-5FC7-5AB8-5372A5ABDCC5}"/>
                      </a:ext>
                    </a:extLst>
                  </p:cNvPr>
                  <p:cNvSpPr/>
                  <p:nvPr/>
                </p:nvSpPr>
                <p:spPr>
                  <a:xfrm>
                    <a:off x="415417" y="3058220"/>
                    <a:ext cx="488847" cy="488847"/>
                  </a:xfrm>
                  <a:custGeom>
                    <a:avLst/>
                    <a:gdLst>
                      <a:gd name="connsiteX0" fmla="*/ 488848 w 488847"/>
                      <a:gd name="connsiteY0" fmla="*/ 244424 h 488847"/>
                      <a:gd name="connsiteX1" fmla="*/ 244424 w 488847"/>
                      <a:gd name="connsiteY1" fmla="*/ 488848 h 488847"/>
                      <a:gd name="connsiteX2" fmla="*/ 0 w 488847"/>
                      <a:gd name="connsiteY2" fmla="*/ 244424 h 488847"/>
                      <a:gd name="connsiteX3" fmla="*/ 244424 w 488847"/>
                      <a:gd name="connsiteY3" fmla="*/ 0 h 488847"/>
                      <a:gd name="connsiteX4" fmla="*/ 488848 w 488847"/>
                      <a:gd name="connsiteY4" fmla="*/ 244424 h 4888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88847" h="488847">
                        <a:moveTo>
                          <a:pt x="488848" y="244424"/>
                        </a:moveTo>
                        <a:cubicBezTo>
                          <a:pt x="488848" y="379415"/>
                          <a:pt x="379415" y="488848"/>
                          <a:pt x="244424" y="488848"/>
                        </a:cubicBezTo>
                        <a:cubicBezTo>
                          <a:pt x="109432" y="488848"/>
                          <a:pt x="0" y="379415"/>
                          <a:pt x="0" y="244424"/>
                        </a:cubicBezTo>
                        <a:cubicBezTo>
                          <a:pt x="0" y="109432"/>
                          <a:pt x="109432" y="0"/>
                          <a:pt x="244424" y="0"/>
                        </a:cubicBezTo>
                        <a:cubicBezTo>
                          <a:pt x="379415" y="0"/>
                          <a:pt x="488848" y="109432"/>
                          <a:pt x="488848" y="244424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6" name="Freihandform: Form 355">
                    <a:extLst>
                      <a:ext uri="{FF2B5EF4-FFF2-40B4-BE49-F238E27FC236}">
                        <a16:creationId xmlns:a16="http://schemas.microsoft.com/office/drawing/2014/main" id="{7D3A2BBA-4E5F-43CA-7C38-1FE74461237C}"/>
                      </a:ext>
                    </a:extLst>
                  </p:cNvPr>
                  <p:cNvSpPr/>
                  <p:nvPr/>
                </p:nvSpPr>
                <p:spPr>
                  <a:xfrm>
                    <a:off x="223798" y="3286434"/>
                    <a:ext cx="674539" cy="1018166"/>
                  </a:xfrm>
                  <a:custGeom>
                    <a:avLst/>
                    <a:gdLst>
                      <a:gd name="connsiteX0" fmla="*/ 192164 w 674539"/>
                      <a:gd name="connsiteY0" fmla="*/ 0 h 1018166"/>
                      <a:gd name="connsiteX1" fmla="*/ 674539 w 674539"/>
                      <a:gd name="connsiteY1" fmla="*/ 69740 h 1018166"/>
                      <a:gd name="connsiteX2" fmla="*/ 540321 w 674539"/>
                      <a:gd name="connsiteY2" fmla="*/ 510865 h 1018166"/>
                      <a:gd name="connsiteX3" fmla="*/ 318942 w 674539"/>
                      <a:gd name="connsiteY3" fmla="*/ 1009632 h 1018166"/>
                      <a:gd name="connsiteX4" fmla="*/ 0 w 674539"/>
                      <a:gd name="connsiteY4" fmla="*/ 933661 h 1018166"/>
                      <a:gd name="connsiteX5" fmla="*/ 192164 w 674539"/>
                      <a:gd name="connsiteY5" fmla="*/ 0 h 1018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4539" h="1018166">
                        <a:moveTo>
                          <a:pt x="192164" y="0"/>
                        </a:moveTo>
                        <a:cubicBezTo>
                          <a:pt x="197245" y="3206"/>
                          <a:pt x="674539" y="69740"/>
                          <a:pt x="674539" y="69740"/>
                        </a:cubicBezTo>
                        <a:cubicBezTo>
                          <a:pt x="674539" y="69740"/>
                          <a:pt x="578609" y="413603"/>
                          <a:pt x="540321" y="510865"/>
                        </a:cubicBezTo>
                        <a:cubicBezTo>
                          <a:pt x="393522" y="883519"/>
                          <a:pt x="318942" y="1009632"/>
                          <a:pt x="318942" y="1009632"/>
                        </a:cubicBezTo>
                        <a:cubicBezTo>
                          <a:pt x="206439" y="1033040"/>
                          <a:pt x="80567" y="1008483"/>
                          <a:pt x="0" y="933661"/>
                        </a:cubicBezTo>
                        <a:cubicBezTo>
                          <a:pt x="9617" y="797326"/>
                          <a:pt x="136577" y="272429"/>
                          <a:pt x="192164" y="0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7" name="Freihandform: Form 356">
                    <a:extLst>
                      <a:ext uri="{FF2B5EF4-FFF2-40B4-BE49-F238E27FC236}">
                        <a16:creationId xmlns:a16="http://schemas.microsoft.com/office/drawing/2014/main" id="{059F8501-52CD-0797-0C74-A9F7009F64CD}"/>
                      </a:ext>
                    </a:extLst>
                  </p:cNvPr>
                  <p:cNvSpPr/>
                  <p:nvPr/>
                </p:nvSpPr>
                <p:spPr>
                  <a:xfrm>
                    <a:off x="378884" y="3286434"/>
                    <a:ext cx="519392" cy="173110"/>
                  </a:xfrm>
                  <a:custGeom>
                    <a:avLst/>
                    <a:gdLst>
                      <a:gd name="connsiteX0" fmla="*/ 490239 w 519392"/>
                      <a:gd name="connsiteY0" fmla="*/ 172566 h 173110"/>
                      <a:gd name="connsiteX1" fmla="*/ 519393 w 519392"/>
                      <a:gd name="connsiteY1" fmla="*/ 69740 h 173110"/>
                      <a:gd name="connsiteX2" fmla="*/ 37017 w 519392"/>
                      <a:gd name="connsiteY2" fmla="*/ 0 h 173110"/>
                      <a:gd name="connsiteX3" fmla="*/ 0 w 519392"/>
                      <a:gd name="connsiteY3" fmla="*/ 173111 h 173110"/>
                      <a:gd name="connsiteX4" fmla="*/ 490178 w 519392"/>
                      <a:gd name="connsiteY4" fmla="*/ 172566 h 1731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9392" h="173110">
                        <a:moveTo>
                          <a:pt x="490239" y="172566"/>
                        </a:moveTo>
                        <a:cubicBezTo>
                          <a:pt x="507417" y="112685"/>
                          <a:pt x="519393" y="69740"/>
                          <a:pt x="519393" y="69740"/>
                        </a:cubicBezTo>
                        <a:cubicBezTo>
                          <a:pt x="519393" y="69740"/>
                          <a:pt x="42098" y="3206"/>
                          <a:pt x="37017" y="0"/>
                        </a:cubicBezTo>
                        <a:cubicBezTo>
                          <a:pt x="26735" y="50385"/>
                          <a:pt x="13972" y="109480"/>
                          <a:pt x="0" y="173111"/>
                        </a:cubicBezTo>
                        <a:cubicBezTo>
                          <a:pt x="109963" y="109782"/>
                          <a:pt x="360012" y="115468"/>
                          <a:pt x="490178" y="172566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07" name="Grafik 297">
                  <a:extLst>
                    <a:ext uri="{FF2B5EF4-FFF2-40B4-BE49-F238E27FC236}">
                      <a16:creationId xmlns:a16="http://schemas.microsoft.com/office/drawing/2014/main" id="{F861563F-5442-F1B3-01CA-C0BE3A0BE78F}"/>
                    </a:ext>
                  </a:extLst>
                </p:cNvPr>
                <p:cNvGrpSpPr/>
                <p:nvPr/>
              </p:nvGrpSpPr>
              <p:grpSpPr>
                <a:xfrm>
                  <a:off x="477899" y="1918236"/>
                  <a:ext cx="322234" cy="429852"/>
                  <a:chOff x="477899" y="1918236"/>
                  <a:chExt cx="322234" cy="429852"/>
                </a:xfrm>
              </p:grpSpPr>
              <p:sp>
                <p:nvSpPr>
                  <p:cNvPr id="353" name="Freihandform: Form 352">
                    <a:extLst>
                      <a:ext uri="{FF2B5EF4-FFF2-40B4-BE49-F238E27FC236}">
                        <a16:creationId xmlns:a16="http://schemas.microsoft.com/office/drawing/2014/main" id="{0B40C760-CA8E-3929-8BC9-6E9111D8B535}"/>
                      </a:ext>
                    </a:extLst>
                  </p:cNvPr>
                  <p:cNvSpPr/>
                  <p:nvPr/>
                </p:nvSpPr>
                <p:spPr>
                  <a:xfrm>
                    <a:off x="477899" y="1918236"/>
                    <a:ext cx="322234" cy="429852"/>
                  </a:xfrm>
                  <a:custGeom>
                    <a:avLst/>
                    <a:gdLst>
                      <a:gd name="connsiteX0" fmla="*/ 0 w 322234"/>
                      <a:gd name="connsiteY0" fmla="*/ 329049 h 429852"/>
                      <a:gd name="connsiteX1" fmla="*/ 227972 w 322234"/>
                      <a:gd name="connsiteY1" fmla="*/ 410342 h 429852"/>
                      <a:gd name="connsiteX2" fmla="*/ 314043 w 322234"/>
                      <a:gd name="connsiteY2" fmla="*/ 168943 h 429852"/>
                      <a:gd name="connsiteX3" fmla="*/ 86071 w 322234"/>
                      <a:gd name="connsiteY3" fmla="*/ 87649 h 429852"/>
                      <a:gd name="connsiteX4" fmla="*/ 0 w 322234"/>
                      <a:gd name="connsiteY4" fmla="*/ 329049 h 4298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2234" h="429852">
                        <a:moveTo>
                          <a:pt x="0" y="329049"/>
                        </a:moveTo>
                        <a:cubicBezTo>
                          <a:pt x="16331" y="408467"/>
                          <a:pt x="157687" y="459941"/>
                          <a:pt x="227972" y="410342"/>
                        </a:cubicBezTo>
                        <a:lnTo>
                          <a:pt x="314043" y="168943"/>
                        </a:lnTo>
                        <a:cubicBezTo>
                          <a:pt x="366968" y="-5076"/>
                          <a:pt x="148493" y="-65441"/>
                          <a:pt x="86071" y="87649"/>
                        </a:cubicBezTo>
                        <a:lnTo>
                          <a:pt x="0" y="329049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4" name="Freihandform: Form 353">
                    <a:extLst>
                      <a:ext uri="{FF2B5EF4-FFF2-40B4-BE49-F238E27FC236}">
                        <a16:creationId xmlns:a16="http://schemas.microsoft.com/office/drawing/2014/main" id="{8E27AC9E-0577-233D-F8D6-81C87A1A5F03}"/>
                      </a:ext>
                    </a:extLst>
                  </p:cNvPr>
                  <p:cNvSpPr/>
                  <p:nvPr/>
                </p:nvSpPr>
                <p:spPr>
                  <a:xfrm>
                    <a:off x="663707" y="2057624"/>
                    <a:ext cx="118237" cy="209535"/>
                  </a:xfrm>
                  <a:custGeom>
                    <a:avLst/>
                    <a:gdLst>
                      <a:gd name="connsiteX0" fmla="*/ 64060 w 118237"/>
                      <a:gd name="connsiteY0" fmla="*/ 209500 h 209535"/>
                      <a:gd name="connsiteX1" fmla="*/ 114505 w 118237"/>
                      <a:gd name="connsiteY1" fmla="*/ 68567 h 209535"/>
                      <a:gd name="connsiteX2" fmla="*/ 10772 w 118237"/>
                      <a:gd name="connsiteY2" fmla="*/ 97903 h 209535"/>
                      <a:gd name="connsiteX3" fmla="*/ 21599 w 118237"/>
                      <a:gd name="connsiteY3" fmla="*/ 160325 h 209535"/>
                      <a:gd name="connsiteX4" fmla="*/ 64060 w 118237"/>
                      <a:gd name="connsiteY4" fmla="*/ 209500 h 2095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8237" h="209535">
                        <a:moveTo>
                          <a:pt x="64060" y="209500"/>
                        </a:moveTo>
                        <a:lnTo>
                          <a:pt x="114505" y="68567"/>
                        </a:lnTo>
                        <a:cubicBezTo>
                          <a:pt x="147168" y="-43816"/>
                          <a:pt x="-46871" y="-6677"/>
                          <a:pt x="10772" y="97903"/>
                        </a:cubicBezTo>
                        <a:cubicBezTo>
                          <a:pt x="22990" y="118226"/>
                          <a:pt x="26256" y="127360"/>
                          <a:pt x="21599" y="160325"/>
                        </a:cubicBezTo>
                        <a:cubicBezTo>
                          <a:pt x="14159" y="212645"/>
                          <a:pt x="64060" y="209500"/>
                          <a:pt x="64060" y="20950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08" name="Grafik 297">
                  <a:extLst>
                    <a:ext uri="{FF2B5EF4-FFF2-40B4-BE49-F238E27FC236}">
                      <a16:creationId xmlns:a16="http://schemas.microsoft.com/office/drawing/2014/main" id="{E6D084B3-ED39-EC4D-F038-20E584B36B3D}"/>
                    </a:ext>
                  </a:extLst>
                </p:cNvPr>
                <p:cNvGrpSpPr/>
                <p:nvPr/>
              </p:nvGrpSpPr>
              <p:grpSpPr>
                <a:xfrm>
                  <a:off x="443945" y="1659724"/>
                  <a:ext cx="481759" cy="506110"/>
                  <a:chOff x="443945" y="1659724"/>
                  <a:chExt cx="481759" cy="506110"/>
                </a:xfrm>
              </p:grpSpPr>
              <p:sp>
                <p:nvSpPr>
                  <p:cNvPr id="343" name="Freihandform: Form 342">
                    <a:extLst>
                      <a:ext uri="{FF2B5EF4-FFF2-40B4-BE49-F238E27FC236}">
                        <a16:creationId xmlns:a16="http://schemas.microsoft.com/office/drawing/2014/main" id="{6CF76F08-8B75-C259-8F43-5D19420580DF}"/>
                      </a:ext>
                    </a:extLst>
                  </p:cNvPr>
                  <p:cNvSpPr/>
                  <p:nvPr/>
                </p:nvSpPr>
                <p:spPr>
                  <a:xfrm rot="-274200">
                    <a:off x="468855" y="1719942"/>
                    <a:ext cx="390981" cy="349246"/>
                  </a:xfrm>
                  <a:custGeom>
                    <a:avLst/>
                    <a:gdLst>
                      <a:gd name="connsiteX0" fmla="*/ 390981 w 390981"/>
                      <a:gd name="connsiteY0" fmla="*/ 174623 h 349246"/>
                      <a:gd name="connsiteX1" fmla="*/ 195491 w 390981"/>
                      <a:gd name="connsiteY1" fmla="*/ 349246 h 349246"/>
                      <a:gd name="connsiteX2" fmla="*/ 0 w 390981"/>
                      <a:gd name="connsiteY2" fmla="*/ 174623 h 349246"/>
                      <a:gd name="connsiteX3" fmla="*/ 195491 w 390981"/>
                      <a:gd name="connsiteY3" fmla="*/ 0 h 349246"/>
                      <a:gd name="connsiteX4" fmla="*/ 390981 w 390981"/>
                      <a:gd name="connsiteY4" fmla="*/ 174623 h 3492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0981" h="349246">
                        <a:moveTo>
                          <a:pt x="390981" y="174623"/>
                        </a:moveTo>
                        <a:cubicBezTo>
                          <a:pt x="390981" y="271065"/>
                          <a:pt x="303457" y="349246"/>
                          <a:pt x="195491" y="349246"/>
                        </a:cubicBezTo>
                        <a:cubicBezTo>
                          <a:pt x="87524" y="349246"/>
                          <a:pt x="0" y="271065"/>
                          <a:pt x="0" y="174623"/>
                        </a:cubicBezTo>
                        <a:cubicBezTo>
                          <a:pt x="0" y="78181"/>
                          <a:pt x="87524" y="0"/>
                          <a:pt x="195491" y="0"/>
                        </a:cubicBezTo>
                        <a:cubicBezTo>
                          <a:pt x="303457" y="0"/>
                          <a:pt x="390981" y="78181"/>
                          <a:pt x="390981" y="174623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4" name="Freihandform: Form 343">
                    <a:extLst>
                      <a:ext uri="{FF2B5EF4-FFF2-40B4-BE49-F238E27FC236}">
                        <a16:creationId xmlns:a16="http://schemas.microsoft.com/office/drawing/2014/main" id="{AE58BD2C-1C60-5D17-B46C-8CACA5D29368}"/>
                      </a:ext>
                    </a:extLst>
                  </p:cNvPr>
                  <p:cNvSpPr/>
                  <p:nvPr/>
                </p:nvSpPr>
                <p:spPr>
                  <a:xfrm>
                    <a:off x="650224" y="1870436"/>
                    <a:ext cx="272366" cy="292635"/>
                  </a:xfrm>
                  <a:custGeom>
                    <a:avLst/>
                    <a:gdLst>
                      <a:gd name="connsiteX0" fmla="*/ 232448 w 272366"/>
                      <a:gd name="connsiteY0" fmla="*/ 139925 h 292635"/>
                      <a:gd name="connsiteX1" fmla="*/ 268255 w 272366"/>
                      <a:gd name="connsiteY1" fmla="*/ 105629 h 292635"/>
                      <a:gd name="connsiteX2" fmla="*/ 209221 w 272366"/>
                      <a:gd name="connsiteY2" fmla="*/ 13570 h 292635"/>
                      <a:gd name="connsiteX3" fmla="*/ 0 w 272366"/>
                      <a:gd name="connsiteY3" fmla="*/ 86153 h 292635"/>
                      <a:gd name="connsiteX4" fmla="*/ 24073 w 272366"/>
                      <a:gd name="connsiteY4" fmla="*/ 213899 h 292635"/>
                      <a:gd name="connsiteX5" fmla="*/ 114560 w 272366"/>
                      <a:gd name="connsiteY5" fmla="*/ 292531 h 292635"/>
                      <a:gd name="connsiteX6" fmla="*/ 204624 w 272366"/>
                      <a:gd name="connsiteY6" fmla="*/ 285878 h 292635"/>
                      <a:gd name="connsiteX7" fmla="*/ 232448 w 272366"/>
                      <a:gd name="connsiteY7" fmla="*/ 242509 h 292635"/>
                      <a:gd name="connsiteX8" fmla="*/ 230996 w 272366"/>
                      <a:gd name="connsiteY8" fmla="*/ 222004 h 292635"/>
                      <a:gd name="connsiteX9" fmla="*/ 230996 w 272366"/>
                      <a:gd name="connsiteY9" fmla="*/ 222186 h 292635"/>
                      <a:gd name="connsiteX10" fmla="*/ 234383 w 272366"/>
                      <a:gd name="connsiteY10" fmla="*/ 207125 h 292635"/>
                      <a:gd name="connsiteX11" fmla="*/ 227730 w 272366"/>
                      <a:gd name="connsiteY11" fmla="*/ 186681 h 292635"/>
                      <a:gd name="connsiteX12" fmla="*/ 227730 w 272366"/>
                      <a:gd name="connsiteY12" fmla="*/ 186681 h 292635"/>
                      <a:gd name="connsiteX13" fmla="*/ 235230 w 272366"/>
                      <a:gd name="connsiteY13" fmla="*/ 170107 h 292635"/>
                      <a:gd name="connsiteX14" fmla="*/ 232508 w 272366"/>
                      <a:gd name="connsiteY14" fmla="*/ 139925 h 2926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72366" h="292635">
                        <a:moveTo>
                          <a:pt x="232448" y="139925"/>
                        </a:moveTo>
                        <a:cubicBezTo>
                          <a:pt x="244545" y="136356"/>
                          <a:pt x="285312" y="122868"/>
                          <a:pt x="268255" y="105629"/>
                        </a:cubicBezTo>
                        <a:cubicBezTo>
                          <a:pt x="239282" y="76415"/>
                          <a:pt x="213697" y="23792"/>
                          <a:pt x="209221" y="13570"/>
                        </a:cubicBezTo>
                        <a:cubicBezTo>
                          <a:pt x="208072" y="2682"/>
                          <a:pt x="16815" y="-33125"/>
                          <a:pt x="0" y="86153"/>
                        </a:cubicBezTo>
                        <a:cubicBezTo>
                          <a:pt x="0" y="86153"/>
                          <a:pt x="0" y="150691"/>
                          <a:pt x="24073" y="213899"/>
                        </a:cubicBezTo>
                        <a:cubicBezTo>
                          <a:pt x="29820" y="229021"/>
                          <a:pt x="73128" y="291261"/>
                          <a:pt x="114560" y="292531"/>
                        </a:cubicBezTo>
                        <a:cubicBezTo>
                          <a:pt x="150005" y="293620"/>
                          <a:pt x="204624" y="285878"/>
                          <a:pt x="204624" y="285878"/>
                        </a:cubicBezTo>
                        <a:cubicBezTo>
                          <a:pt x="204624" y="285878"/>
                          <a:pt x="232690" y="278982"/>
                          <a:pt x="232448" y="242509"/>
                        </a:cubicBezTo>
                        <a:cubicBezTo>
                          <a:pt x="232448" y="239666"/>
                          <a:pt x="231903" y="232347"/>
                          <a:pt x="230996" y="222004"/>
                        </a:cubicBezTo>
                        <a:lnTo>
                          <a:pt x="230996" y="222186"/>
                        </a:lnTo>
                        <a:cubicBezTo>
                          <a:pt x="230996" y="222186"/>
                          <a:pt x="230996" y="216137"/>
                          <a:pt x="234383" y="207125"/>
                        </a:cubicBezTo>
                        <a:cubicBezTo>
                          <a:pt x="238496" y="196056"/>
                          <a:pt x="239403" y="186197"/>
                          <a:pt x="227730" y="186681"/>
                        </a:cubicBezTo>
                        <a:lnTo>
                          <a:pt x="227730" y="186681"/>
                        </a:lnTo>
                        <a:cubicBezTo>
                          <a:pt x="236077" y="184382"/>
                          <a:pt x="236923" y="173858"/>
                          <a:pt x="235230" y="170107"/>
                        </a:cubicBezTo>
                        <a:cubicBezTo>
                          <a:pt x="230331" y="159401"/>
                          <a:pt x="229423" y="140832"/>
                          <a:pt x="232508" y="139925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5" name="Freihandform: Form 344">
                    <a:extLst>
                      <a:ext uri="{FF2B5EF4-FFF2-40B4-BE49-F238E27FC236}">
                        <a16:creationId xmlns:a16="http://schemas.microsoft.com/office/drawing/2014/main" id="{F18E8A81-D7E5-FFDE-FBB8-7918DF7F3506}"/>
                      </a:ext>
                    </a:extLst>
                  </p:cNvPr>
                  <p:cNvSpPr/>
                  <p:nvPr/>
                </p:nvSpPr>
                <p:spPr>
                  <a:xfrm>
                    <a:off x="837065" y="1919511"/>
                    <a:ext cx="21653" cy="31694"/>
                  </a:xfrm>
                  <a:custGeom>
                    <a:avLst/>
                    <a:gdLst>
                      <a:gd name="connsiteX0" fmla="*/ 21654 w 21653"/>
                      <a:gd name="connsiteY0" fmla="*/ 15847 h 31694"/>
                      <a:gd name="connsiteX1" fmla="*/ 10827 w 21653"/>
                      <a:gd name="connsiteY1" fmla="*/ 31695 h 31694"/>
                      <a:gd name="connsiteX2" fmla="*/ 0 w 21653"/>
                      <a:gd name="connsiteY2" fmla="*/ 15847 h 31694"/>
                      <a:gd name="connsiteX3" fmla="*/ 10827 w 21653"/>
                      <a:gd name="connsiteY3" fmla="*/ 0 h 31694"/>
                      <a:gd name="connsiteX4" fmla="*/ 21654 w 21653"/>
                      <a:gd name="connsiteY4" fmla="*/ 15847 h 316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653" h="31694">
                        <a:moveTo>
                          <a:pt x="21654" y="15847"/>
                        </a:moveTo>
                        <a:cubicBezTo>
                          <a:pt x="21654" y="24600"/>
                          <a:pt x="16807" y="31695"/>
                          <a:pt x="10827" y="31695"/>
                        </a:cubicBezTo>
                        <a:cubicBezTo>
                          <a:pt x="4847" y="31695"/>
                          <a:pt x="0" y="24600"/>
                          <a:pt x="0" y="15847"/>
                        </a:cubicBezTo>
                        <a:cubicBezTo>
                          <a:pt x="0" y="7095"/>
                          <a:pt x="4847" y="0"/>
                          <a:pt x="10827" y="0"/>
                        </a:cubicBezTo>
                        <a:cubicBezTo>
                          <a:pt x="16807" y="0"/>
                          <a:pt x="21654" y="7095"/>
                          <a:pt x="21654" y="15847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6" name="Freihandform: Form 345">
                    <a:extLst>
                      <a:ext uri="{FF2B5EF4-FFF2-40B4-BE49-F238E27FC236}">
                        <a16:creationId xmlns:a16="http://schemas.microsoft.com/office/drawing/2014/main" id="{4152F2C8-B5CE-5F5A-A746-912D591CFE0E}"/>
                      </a:ext>
                    </a:extLst>
                  </p:cNvPr>
                  <p:cNvSpPr/>
                  <p:nvPr/>
                </p:nvSpPr>
                <p:spPr>
                  <a:xfrm>
                    <a:off x="767336" y="1853119"/>
                    <a:ext cx="83261" cy="40843"/>
                  </a:xfrm>
                  <a:custGeom>
                    <a:avLst/>
                    <a:gdLst>
                      <a:gd name="connsiteX0" fmla="*/ 16139 w 83261"/>
                      <a:gd name="connsiteY0" fmla="*/ 19455 h 40843"/>
                      <a:gd name="connsiteX1" fmla="*/ 47047 w 83261"/>
                      <a:gd name="connsiteY1" fmla="*/ 3245 h 40843"/>
                      <a:gd name="connsiteX2" fmla="*/ 47047 w 83261"/>
                      <a:gd name="connsiteY2" fmla="*/ 3245 h 40843"/>
                      <a:gd name="connsiteX3" fmla="*/ 77048 w 83261"/>
                      <a:gd name="connsiteY3" fmla="*/ 1249 h 40843"/>
                      <a:gd name="connsiteX4" fmla="*/ 79407 w 83261"/>
                      <a:gd name="connsiteY4" fmla="*/ 2519 h 40843"/>
                      <a:gd name="connsiteX5" fmla="*/ 76201 w 83261"/>
                      <a:gd name="connsiteY5" fmla="*/ 18427 h 40843"/>
                      <a:gd name="connsiteX6" fmla="*/ 59205 w 83261"/>
                      <a:gd name="connsiteY6" fmla="*/ 19939 h 40843"/>
                      <a:gd name="connsiteX7" fmla="*/ 20312 w 83261"/>
                      <a:gd name="connsiteY7" fmla="*/ 29254 h 40843"/>
                      <a:gd name="connsiteX8" fmla="*/ 533 w 83261"/>
                      <a:gd name="connsiteY8" fmla="*/ 40746 h 40843"/>
                      <a:gd name="connsiteX9" fmla="*/ 16139 w 83261"/>
                      <a:gd name="connsiteY9" fmla="*/ 19515 h 408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83261" h="40843">
                        <a:moveTo>
                          <a:pt x="16139" y="19455"/>
                        </a:moveTo>
                        <a:cubicBezTo>
                          <a:pt x="26179" y="10201"/>
                          <a:pt x="38034" y="5241"/>
                          <a:pt x="47047" y="3245"/>
                        </a:cubicBezTo>
                        <a:lnTo>
                          <a:pt x="47047" y="3245"/>
                        </a:lnTo>
                        <a:cubicBezTo>
                          <a:pt x="62410" y="-1110"/>
                          <a:pt x="73237" y="-324"/>
                          <a:pt x="77048" y="1249"/>
                        </a:cubicBezTo>
                        <a:cubicBezTo>
                          <a:pt x="77955" y="1612"/>
                          <a:pt x="78742" y="2035"/>
                          <a:pt x="79407" y="2519"/>
                        </a:cubicBezTo>
                        <a:cubicBezTo>
                          <a:pt x="85939" y="6813"/>
                          <a:pt x="83701" y="17277"/>
                          <a:pt x="76201" y="18427"/>
                        </a:cubicBezTo>
                        <a:cubicBezTo>
                          <a:pt x="72753" y="18971"/>
                          <a:pt x="64104" y="19576"/>
                          <a:pt x="59205" y="19939"/>
                        </a:cubicBezTo>
                        <a:cubicBezTo>
                          <a:pt x="50616" y="20604"/>
                          <a:pt x="26845" y="26169"/>
                          <a:pt x="20312" y="29254"/>
                        </a:cubicBezTo>
                        <a:cubicBezTo>
                          <a:pt x="7489" y="35302"/>
                          <a:pt x="2711" y="41714"/>
                          <a:pt x="533" y="40746"/>
                        </a:cubicBezTo>
                        <a:cubicBezTo>
                          <a:pt x="-1644" y="39778"/>
                          <a:pt x="2711" y="31854"/>
                          <a:pt x="16139" y="1951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7" name="Freihandform: Form 346">
                    <a:extLst>
                      <a:ext uri="{FF2B5EF4-FFF2-40B4-BE49-F238E27FC236}">
                        <a16:creationId xmlns:a16="http://schemas.microsoft.com/office/drawing/2014/main" id="{4F6B81F4-4CCE-8B62-4E04-BA2DC8A11162}"/>
                      </a:ext>
                    </a:extLst>
                  </p:cNvPr>
                  <p:cNvSpPr/>
                  <p:nvPr/>
                </p:nvSpPr>
                <p:spPr>
                  <a:xfrm>
                    <a:off x="806812" y="1909914"/>
                    <a:ext cx="51859" cy="18055"/>
                  </a:xfrm>
                  <a:custGeom>
                    <a:avLst/>
                    <a:gdLst>
                      <a:gd name="connsiteX0" fmla="*/ 312 w 51859"/>
                      <a:gd name="connsiteY0" fmla="*/ 14496 h 18055"/>
                      <a:gd name="connsiteX1" fmla="*/ 38176 w 51859"/>
                      <a:gd name="connsiteY1" fmla="*/ 40 h 18055"/>
                      <a:gd name="connsiteX2" fmla="*/ 45192 w 51859"/>
                      <a:gd name="connsiteY2" fmla="*/ 10625 h 18055"/>
                      <a:gd name="connsiteX3" fmla="*/ 8840 w 51859"/>
                      <a:gd name="connsiteY3" fmla="*/ 17520 h 18055"/>
                      <a:gd name="connsiteX4" fmla="*/ 312 w 51859"/>
                      <a:gd name="connsiteY4" fmla="*/ 14496 h 180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859" h="18055">
                        <a:moveTo>
                          <a:pt x="312" y="14496"/>
                        </a:moveTo>
                        <a:cubicBezTo>
                          <a:pt x="1824" y="12258"/>
                          <a:pt x="20454" y="887"/>
                          <a:pt x="38176" y="40"/>
                        </a:cubicBezTo>
                        <a:cubicBezTo>
                          <a:pt x="52935" y="-686"/>
                          <a:pt x="56503" y="8689"/>
                          <a:pt x="45192" y="10625"/>
                        </a:cubicBezTo>
                        <a:cubicBezTo>
                          <a:pt x="31281" y="12984"/>
                          <a:pt x="14707" y="15887"/>
                          <a:pt x="8840" y="17520"/>
                        </a:cubicBezTo>
                        <a:cubicBezTo>
                          <a:pt x="2973" y="19154"/>
                          <a:pt x="-1200" y="16734"/>
                          <a:pt x="312" y="1449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8" name="Freihandform: Form 347">
                    <a:extLst>
                      <a:ext uri="{FF2B5EF4-FFF2-40B4-BE49-F238E27FC236}">
                        <a16:creationId xmlns:a16="http://schemas.microsoft.com/office/drawing/2014/main" id="{9ECDDDB2-FF46-B2DE-A1B7-99E2E5F4A74A}"/>
                      </a:ext>
                    </a:extLst>
                  </p:cNvPr>
                  <p:cNvSpPr/>
                  <p:nvPr/>
                </p:nvSpPr>
                <p:spPr>
                  <a:xfrm>
                    <a:off x="701939" y="1951595"/>
                    <a:ext cx="223765" cy="214238"/>
                  </a:xfrm>
                  <a:custGeom>
                    <a:avLst/>
                    <a:gdLst>
                      <a:gd name="connsiteX0" fmla="*/ 15303 w 223765"/>
                      <a:gd name="connsiteY0" fmla="*/ 20962 h 214238"/>
                      <a:gd name="connsiteX1" fmla="*/ 0 w 223765"/>
                      <a:gd name="connsiteY1" fmla="*/ 121490 h 214238"/>
                      <a:gd name="connsiteX2" fmla="*/ 62784 w 223765"/>
                      <a:gd name="connsiteY2" fmla="*/ 211432 h 214238"/>
                      <a:gd name="connsiteX3" fmla="*/ 191378 w 223765"/>
                      <a:gd name="connsiteY3" fmla="*/ 203690 h 214238"/>
                      <a:gd name="connsiteX4" fmla="*/ 211459 w 223765"/>
                      <a:gd name="connsiteY4" fmla="*/ 3300 h 214238"/>
                      <a:gd name="connsiteX5" fmla="*/ 15242 w 223765"/>
                      <a:gd name="connsiteY5" fmla="*/ 20962 h 2142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23765" h="214238">
                        <a:moveTo>
                          <a:pt x="15303" y="20962"/>
                        </a:moveTo>
                        <a:lnTo>
                          <a:pt x="0" y="121490"/>
                        </a:lnTo>
                        <a:cubicBezTo>
                          <a:pt x="0" y="121490"/>
                          <a:pt x="9617" y="172358"/>
                          <a:pt x="62784" y="211432"/>
                        </a:cubicBezTo>
                        <a:cubicBezTo>
                          <a:pt x="117403" y="220808"/>
                          <a:pt x="191378" y="203690"/>
                          <a:pt x="191378" y="203690"/>
                        </a:cubicBezTo>
                        <a:cubicBezTo>
                          <a:pt x="191378" y="203690"/>
                          <a:pt x="248053" y="74492"/>
                          <a:pt x="211459" y="3300"/>
                        </a:cubicBezTo>
                        <a:cubicBezTo>
                          <a:pt x="205713" y="-9946"/>
                          <a:pt x="15242" y="20962"/>
                          <a:pt x="15242" y="20962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9" name="Freihandform: Form 348">
                    <a:extLst>
                      <a:ext uri="{FF2B5EF4-FFF2-40B4-BE49-F238E27FC236}">
                        <a16:creationId xmlns:a16="http://schemas.microsoft.com/office/drawing/2014/main" id="{6845FE39-09D4-39DA-AFD1-ED459BC0E218}"/>
                      </a:ext>
                    </a:extLst>
                  </p:cNvPr>
                  <p:cNvSpPr/>
                  <p:nvPr/>
                </p:nvSpPr>
                <p:spPr>
                  <a:xfrm>
                    <a:off x="601944" y="1942055"/>
                    <a:ext cx="146387" cy="143187"/>
                  </a:xfrm>
                  <a:custGeom>
                    <a:avLst/>
                    <a:gdLst>
                      <a:gd name="connsiteX0" fmla="*/ 108282 w 146387"/>
                      <a:gd name="connsiteY0" fmla="*/ 143127 h 143187"/>
                      <a:gd name="connsiteX1" fmla="*/ 28259 w 146387"/>
                      <a:gd name="connsiteY1" fmla="*/ 110586 h 143187"/>
                      <a:gd name="connsiteX2" fmla="*/ 133 w 146387"/>
                      <a:gd name="connsiteY2" fmla="*/ 68185 h 143187"/>
                      <a:gd name="connsiteX3" fmla="*/ 30134 w 146387"/>
                      <a:gd name="connsiteY3" fmla="*/ 8304 h 143187"/>
                      <a:gd name="connsiteX4" fmla="*/ 120500 w 146387"/>
                      <a:gd name="connsiteY4" fmla="*/ 31893 h 143187"/>
                      <a:gd name="connsiteX5" fmla="*/ 146388 w 146387"/>
                      <a:gd name="connsiteY5" fmla="*/ 49555 h 143187"/>
                      <a:gd name="connsiteX6" fmla="*/ 108282 w 146387"/>
                      <a:gd name="connsiteY6" fmla="*/ 143188 h 143187"/>
                      <a:gd name="connsiteX7" fmla="*/ 55417 w 146387"/>
                      <a:gd name="connsiteY7" fmla="*/ 12961 h 143187"/>
                      <a:gd name="connsiteX8" fmla="*/ 38118 w 146387"/>
                      <a:gd name="connsiteY8" fmla="*/ 18587 h 143187"/>
                      <a:gd name="connsiteX9" fmla="*/ 13137 w 146387"/>
                      <a:gd name="connsiteY9" fmla="*/ 67278 h 143187"/>
                      <a:gd name="connsiteX10" fmla="*/ 34731 w 146387"/>
                      <a:gd name="connsiteY10" fmla="*/ 99275 h 143187"/>
                      <a:gd name="connsiteX11" fmla="*/ 101084 w 146387"/>
                      <a:gd name="connsiteY11" fmla="*/ 128066 h 143187"/>
                      <a:gd name="connsiteX12" fmla="*/ 130057 w 146387"/>
                      <a:gd name="connsiteY12" fmla="*/ 53971 h 143187"/>
                      <a:gd name="connsiteX13" fmla="*/ 112092 w 146387"/>
                      <a:gd name="connsiteY13" fmla="*/ 41632 h 143187"/>
                      <a:gd name="connsiteX14" fmla="*/ 55477 w 146387"/>
                      <a:gd name="connsiteY14" fmla="*/ 12901 h 1431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146387" h="143187">
                        <a:moveTo>
                          <a:pt x="108282" y="143127"/>
                        </a:moveTo>
                        <a:cubicBezTo>
                          <a:pt x="108282" y="143127"/>
                          <a:pt x="66546" y="132300"/>
                          <a:pt x="28259" y="110586"/>
                        </a:cubicBezTo>
                        <a:cubicBezTo>
                          <a:pt x="11383" y="100968"/>
                          <a:pt x="1403" y="85907"/>
                          <a:pt x="133" y="68185"/>
                        </a:cubicBezTo>
                        <a:cubicBezTo>
                          <a:pt x="-1379" y="46652"/>
                          <a:pt x="10113" y="23667"/>
                          <a:pt x="30134" y="8304"/>
                        </a:cubicBezTo>
                        <a:cubicBezTo>
                          <a:pt x="64671" y="-18249"/>
                          <a:pt x="115056" y="26934"/>
                          <a:pt x="120500" y="31893"/>
                        </a:cubicBezTo>
                        <a:lnTo>
                          <a:pt x="146388" y="49555"/>
                        </a:lnTo>
                        <a:lnTo>
                          <a:pt x="108282" y="143188"/>
                        </a:lnTo>
                        <a:close/>
                        <a:moveTo>
                          <a:pt x="55417" y="12961"/>
                        </a:moveTo>
                        <a:cubicBezTo>
                          <a:pt x="49247" y="12961"/>
                          <a:pt x="43320" y="14594"/>
                          <a:pt x="38118" y="18587"/>
                        </a:cubicBezTo>
                        <a:cubicBezTo>
                          <a:pt x="21484" y="31349"/>
                          <a:pt x="11928" y="50039"/>
                          <a:pt x="13137" y="67278"/>
                        </a:cubicBezTo>
                        <a:cubicBezTo>
                          <a:pt x="14045" y="80766"/>
                          <a:pt x="21545" y="91835"/>
                          <a:pt x="34731" y="99275"/>
                        </a:cubicBezTo>
                        <a:cubicBezTo>
                          <a:pt x="62494" y="115062"/>
                          <a:pt x="91043" y="125284"/>
                          <a:pt x="101084" y="128066"/>
                        </a:cubicBezTo>
                        <a:lnTo>
                          <a:pt x="130057" y="53971"/>
                        </a:lnTo>
                        <a:lnTo>
                          <a:pt x="112092" y="41632"/>
                        </a:lnTo>
                        <a:cubicBezTo>
                          <a:pt x="111729" y="41269"/>
                          <a:pt x="81365" y="12901"/>
                          <a:pt x="55477" y="12901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0" name="Freihandform: Form 349">
                    <a:extLst>
                      <a:ext uri="{FF2B5EF4-FFF2-40B4-BE49-F238E27FC236}">
                        <a16:creationId xmlns:a16="http://schemas.microsoft.com/office/drawing/2014/main" id="{A3A26ACD-40A2-5F24-4A8A-287F6268C4F8}"/>
                      </a:ext>
                    </a:extLst>
                  </p:cNvPr>
                  <p:cNvSpPr/>
                  <p:nvPr/>
                </p:nvSpPr>
                <p:spPr>
                  <a:xfrm>
                    <a:off x="443945" y="1659724"/>
                    <a:ext cx="397535" cy="386565"/>
                  </a:xfrm>
                  <a:custGeom>
                    <a:avLst/>
                    <a:gdLst>
                      <a:gd name="connsiteX0" fmla="*/ 105690 w 397535"/>
                      <a:gd name="connsiteY0" fmla="*/ 386566 h 386565"/>
                      <a:gd name="connsiteX1" fmla="*/ 397535 w 397535"/>
                      <a:gd name="connsiteY1" fmla="*/ 158352 h 386565"/>
                      <a:gd name="connsiteX2" fmla="*/ 206279 w 397535"/>
                      <a:gd name="connsiteY2" fmla="*/ 0 h 386565"/>
                      <a:gd name="connsiteX3" fmla="*/ 263 w 397535"/>
                      <a:gd name="connsiteY3" fmla="*/ 246057 h 386565"/>
                      <a:gd name="connsiteX4" fmla="*/ 105690 w 397535"/>
                      <a:gd name="connsiteY4" fmla="*/ 386505 h 3865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7535" h="386565">
                        <a:moveTo>
                          <a:pt x="105690" y="386566"/>
                        </a:moveTo>
                        <a:cubicBezTo>
                          <a:pt x="207972" y="341504"/>
                          <a:pt x="277894" y="163917"/>
                          <a:pt x="397535" y="158352"/>
                        </a:cubicBezTo>
                        <a:cubicBezTo>
                          <a:pt x="393785" y="80688"/>
                          <a:pt x="324650" y="0"/>
                          <a:pt x="206279" y="0"/>
                        </a:cubicBezTo>
                        <a:cubicBezTo>
                          <a:pt x="155107" y="0"/>
                          <a:pt x="-7418" y="149945"/>
                          <a:pt x="263" y="246057"/>
                        </a:cubicBezTo>
                        <a:cubicBezTo>
                          <a:pt x="4195" y="295172"/>
                          <a:pt x="66495" y="357774"/>
                          <a:pt x="105690" y="386505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1" name="Freihandform: Form 350">
                    <a:extLst>
                      <a:ext uri="{FF2B5EF4-FFF2-40B4-BE49-F238E27FC236}">
                        <a16:creationId xmlns:a16="http://schemas.microsoft.com/office/drawing/2014/main" id="{4D1F1F3C-5F49-F96D-9F45-8CB29515CD0A}"/>
                      </a:ext>
                    </a:extLst>
                  </p:cNvPr>
                  <p:cNvSpPr/>
                  <p:nvPr/>
                </p:nvSpPr>
                <p:spPr>
                  <a:xfrm>
                    <a:off x="618710" y="1863562"/>
                    <a:ext cx="284700" cy="113350"/>
                  </a:xfrm>
                  <a:custGeom>
                    <a:avLst/>
                    <a:gdLst>
                      <a:gd name="connsiteX0" fmla="*/ 115589 w 284700"/>
                      <a:gd name="connsiteY0" fmla="*/ 113351 h 113350"/>
                      <a:gd name="connsiteX1" fmla="*/ 106032 w 284700"/>
                      <a:gd name="connsiteY1" fmla="*/ 59579 h 113350"/>
                      <a:gd name="connsiteX2" fmla="*/ 4415 w 284700"/>
                      <a:gd name="connsiteY2" fmla="*/ 86737 h 113350"/>
                      <a:gd name="connsiteX3" fmla="*/ 0 w 284700"/>
                      <a:gd name="connsiteY3" fmla="*/ 70224 h 113350"/>
                      <a:gd name="connsiteX4" fmla="*/ 262993 w 284700"/>
                      <a:gd name="connsiteY4" fmla="*/ 0 h 113350"/>
                      <a:gd name="connsiteX5" fmla="*/ 266320 w 284700"/>
                      <a:gd name="connsiteY5" fmla="*/ 5444 h 113350"/>
                      <a:gd name="connsiteX6" fmla="*/ 279748 w 284700"/>
                      <a:gd name="connsiteY6" fmla="*/ 97685 h 113350"/>
                      <a:gd name="connsiteX7" fmla="*/ 278114 w 284700"/>
                      <a:gd name="connsiteY7" fmla="*/ 103491 h 113350"/>
                      <a:gd name="connsiteX8" fmla="*/ 115649 w 284700"/>
                      <a:gd name="connsiteY8" fmla="*/ 113290 h 113350"/>
                      <a:gd name="connsiteX9" fmla="*/ 122545 w 284700"/>
                      <a:gd name="connsiteY9" fmla="*/ 55163 h 113350"/>
                      <a:gd name="connsiteX10" fmla="*/ 129742 w 284700"/>
                      <a:gd name="connsiteY10" fmla="*/ 95386 h 113350"/>
                      <a:gd name="connsiteX11" fmla="*/ 264808 w 284700"/>
                      <a:gd name="connsiteY11" fmla="*/ 87221 h 113350"/>
                      <a:gd name="connsiteX12" fmla="*/ 254888 w 284700"/>
                      <a:gd name="connsiteY12" fmla="*/ 19839 h 113350"/>
                      <a:gd name="connsiteX13" fmla="*/ 122545 w 284700"/>
                      <a:gd name="connsiteY13" fmla="*/ 55163 h 113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284700" h="113350">
                        <a:moveTo>
                          <a:pt x="115589" y="113351"/>
                        </a:moveTo>
                        <a:lnTo>
                          <a:pt x="106032" y="59579"/>
                        </a:lnTo>
                        <a:lnTo>
                          <a:pt x="4415" y="86737"/>
                        </a:lnTo>
                        <a:lnTo>
                          <a:pt x="0" y="70224"/>
                        </a:lnTo>
                        <a:lnTo>
                          <a:pt x="262993" y="0"/>
                        </a:lnTo>
                        <a:lnTo>
                          <a:pt x="266320" y="5444"/>
                        </a:lnTo>
                        <a:cubicBezTo>
                          <a:pt x="285252" y="36655"/>
                          <a:pt x="289244" y="64236"/>
                          <a:pt x="279748" y="97685"/>
                        </a:cubicBezTo>
                        <a:lnTo>
                          <a:pt x="278114" y="103491"/>
                        </a:lnTo>
                        <a:lnTo>
                          <a:pt x="115649" y="113290"/>
                        </a:lnTo>
                        <a:close/>
                        <a:moveTo>
                          <a:pt x="122545" y="55163"/>
                        </a:moveTo>
                        <a:lnTo>
                          <a:pt x="129742" y="95386"/>
                        </a:lnTo>
                        <a:lnTo>
                          <a:pt x="264808" y="87221"/>
                        </a:lnTo>
                        <a:cubicBezTo>
                          <a:pt x="270614" y="62724"/>
                          <a:pt x="267711" y="43006"/>
                          <a:pt x="254888" y="19839"/>
                        </a:cubicBezTo>
                        <a:lnTo>
                          <a:pt x="122545" y="55163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2" name="Freihandform: Form 351">
                    <a:extLst>
                      <a:ext uri="{FF2B5EF4-FFF2-40B4-BE49-F238E27FC236}">
                        <a16:creationId xmlns:a16="http://schemas.microsoft.com/office/drawing/2014/main" id="{7818D5F4-B065-1118-1F02-EE58D7555E62}"/>
                      </a:ext>
                    </a:extLst>
                  </p:cNvPr>
                  <p:cNvSpPr/>
                  <p:nvPr/>
                </p:nvSpPr>
                <p:spPr>
                  <a:xfrm rot="-1304998">
                    <a:off x="588752" y="1930189"/>
                    <a:ext cx="87099" cy="135004"/>
                  </a:xfrm>
                  <a:custGeom>
                    <a:avLst/>
                    <a:gdLst>
                      <a:gd name="connsiteX0" fmla="*/ 87100 w 87099"/>
                      <a:gd name="connsiteY0" fmla="*/ 67502 h 135004"/>
                      <a:gd name="connsiteX1" fmla="*/ 43550 w 87099"/>
                      <a:gd name="connsiteY1" fmla="*/ 135005 h 135004"/>
                      <a:gd name="connsiteX2" fmla="*/ 0 w 87099"/>
                      <a:gd name="connsiteY2" fmla="*/ 67502 h 135004"/>
                      <a:gd name="connsiteX3" fmla="*/ 43550 w 87099"/>
                      <a:gd name="connsiteY3" fmla="*/ 0 h 135004"/>
                      <a:gd name="connsiteX4" fmla="*/ 87100 w 87099"/>
                      <a:gd name="connsiteY4" fmla="*/ 67502 h 1350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7099" h="135004">
                        <a:moveTo>
                          <a:pt x="87100" y="67502"/>
                        </a:moveTo>
                        <a:cubicBezTo>
                          <a:pt x="87100" y="104783"/>
                          <a:pt x="67602" y="135005"/>
                          <a:pt x="43550" y="135005"/>
                        </a:cubicBezTo>
                        <a:cubicBezTo>
                          <a:pt x="19498" y="135005"/>
                          <a:pt x="0" y="104783"/>
                          <a:pt x="0" y="67502"/>
                        </a:cubicBezTo>
                        <a:cubicBezTo>
                          <a:pt x="0" y="30222"/>
                          <a:pt x="19498" y="0"/>
                          <a:pt x="43550" y="0"/>
                        </a:cubicBezTo>
                        <a:cubicBezTo>
                          <a:pt x="67602" y="0"/>
                          <a:pt x="87100" y="30222"/>
                          <a:pt x="87100" y="67502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09" name="Grafik 297">
                  <a:extLst>
                    <a:ext uri="{FF2B5EF4-FFF2-40B4-BE49-F238E27FC236}">
                      <a16:creationId xmlns:a16="http://schemas.microsoft.com/office/drawing/2014/main" id="{E03C75B1-E2B2-45D5-366C-077E6D18C65B}"/>
                    </a:ext>
                  </a:extLst>
                </p:cNvPr>
                <p:cNvGrpSpPr/>
                <p:nvPr/>
              </p:nvGrpSpPr>
              <p:grpSpPr>
                <a:xfrm>
                  <a:off x="372895" y="2175735"/>
                  <a:ext cx="581693" cy="1213887"/>
                  <a:chOff x="372895" y="2175735"/>
                  <a:chExt cx="581693" cy="1213887"/>
                </a:xfrm>
              </p:grpSpPr>
              <p:sp>
                <p:nvSpPr>
                  <p:cNvPr id="341" name="Freihandform: Form 340">
                    <a:extLst>
                      <a:ext uri="{FF2B5EF4-FFF2-40B4-BE49-F238E27FC236}">
                        <a16:creationId xmlns:a16="http://schemas.microsoft.com/office/drawing/2014/main" id="{BB196FD5-0C8B-844B-6C30-C17DBC6DD749}"/>
                      </a:ext>
                    </a:extLst>
                  </p:cNvPr>
                  <p:cNvSpPr/>
                  <p:nvPr/>
                </p:nvSpPr>
                <p:spPr>
                  <a:xfrm>
                    <a:off x="372895" y="2175735"/>
                    <a:ext cx="581693" cy="1213887"/>
                  </a:xfrm>
                  <a:custGeom>
                    <a:avLst/>
                    <a:gdLst>
                      <a:gd name="connsiteX0" fmla="*/ 0 w 581693"/>
                      <a:gd name="connsiteY0" fmla="*/ 1177656 h 1213887"/>
                      <a:gd name="connsiteX1" fmla="*/ 561189 w 581693"/>
                      <a:gd name="connsiteY1" fmla="*/ 1213888 h 1213887"/>
                      <a:gd name="connsiteX2" fmla="*/ 579637 w 581693"/>
                      <a:gd name="connsiteY2" fmla="*/ 480616 h 1213887"/>
                      <a:gd name="connsiteX3" fmla="*/ 434894 w 581693"/>
                      <a:gd name="connsiteY3" fmla="*/ 178610 h 1213887"/>
                      <a:gd name="connsiteX4" fmla="*/ 342230 w 581693"/>
                      <a:gd name="connsiteY4" fmla="*/ 70158 h 1213887"/>
                      <a:gd name="connsiteX5" fmla="*/ 125871 w 581693"/>
                      <a:gd name="connsiteY5" fmla="*/ 2535 h 1213887"/>
                      <a:gd name="connsiteX6" fmla="*/ 49296 w 581693"/>
                      <a:gd name="connsiteY6" fmla="*/ 803248 h 1213887"/>
                      <a:gd name="connsiteX7" fmla="*/ 0 w 581693"/>
                      <a:gd name="connsiteY7" fmla="*/ 1177596 h 12138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81693" h="1213887">
                        <a:moveTo>
                          <a:pt x="0" y="1177656"/>
                        </a:moveTo>
                        <a:lnTo>
                          <a:pt x="561189" y="1213888"/>
                        </a:lnTo>
                        <a:cubicBezTo>
                          <a:pt x="571229" y="1059769"/>
                          <a:pt x="587440" y="576063"/>
                          <a:pt x="579637" y="480616"/>
                        </a:cubicBezTo>
                        <a:cubicBezTo>
                          <a:pt x="567782" y="336055"/>
                          <a:pt x="434894" y="178610"/>
                          <a:pt x="434894" y="178610"/>
                        </a:cubicBezTo>
                        <a:cubicBezTo>
                          <a:pt x="434894" y="178610"/>
                          <a:pt x="368964" y="95502"/>
                          <a:pt x="342230" y="70158"/>
                        </a:cubicBezTo>
                        <a:cubicBezTo>
                          <a:pt x="338661" y="66771"/>
                          <a:pt x="237226" y="-15308"/>
                          <a:pt x="125871" y="2535"/>
                        </a:cubicBezTo>
                        <a:cubicBezTo>
                          <a:pt x="-63692" y="199477"/>
                          <a:pt x="37259" y="683668"/>
                          <a:pt x="49296" y="803248"/>
                        </a:cubicBezTo>
                        <a:cubicBezTo>
                          <a:pt x="60184" y="911397"/>
                          <a:pt x="8408" y="1132050"/>
                          <a:pt x="0" y="117759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2" name="Freihandform: Form 341">
                    <a:extLst>
                      <a:ext uri="{FF2B5EF4-FFF2-40B4-BE49-F238E27FC236}">
                        <a16:creationId xmlns:a16="http://schemas.microsoft.com/office/drawing/2014/main" id="{E330D271-3A56-F78A-F4A4-7168D880E9E2}"/>
                      </a:ext>
                    </a:extLst>
                  </p:cNvPr>
                  <p:cNvSpPr/>
                  <p:nvPr/>
                </p:nvSpPr>
                <p:spPr>
                  <a:xfrm>
                    <a:off x="431918" y="2368973"/>
                    <a:ext cx="299871" cy="833700"/>
                  </a:xfrm>
                  <a:custGeom>
                    <a:avLst/>
                    <a:gdLst>
                      <a:gd name="connsiteX0" fmla="*/ 214737 w 299871"/>
                      <a:gd name="connsiteY0" fmla="*/ 243586 h 833700"/>
                      <a:gd name="connsiteX1" fmla="*/ 69934 w 299871"/>
                      <a:gd name="connsiteY1" fmla="*/ 12953 h 833700"/>
                      <a:gd name="connsiteX2" fmla="*/ 11625 w 299871"/>
                      <a:gd name="connsiteY2" fmla="*/ 413612 h 833700"/>
                      <a:gd name="connsiteX3" fmla="*/ 173062 w 299871"/>
                      <a:gd name="connsiteY3" fmla="*/ 832175 h 833700"/>
                      <a:gd name="connsiteX4" fmla="*/ 214737 w 299871"/>
                      <a:gd name="connsiteY4" fmla="*/ 243586 h 8337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9871" h="833700">
                        <a:moveTo>
                          <a:pt x="214737" y="243586"/>
                        </a:moveTo>
                        <a:cubicBezTo>
                          <a:pt x="198890" y="90315"/>
                          <a:pt x="116205" y="-42815"/>
                          <a:pt x="69934" y="12953"/>
                        </a:cubicBezTo>
                        <a:cubicBezTo>
                          <a:pt x="-45111" y="208323"/>
                          <a:pt x="17976" y="260462"/>
                          <a:pt x="11625" y="413612"/>
                        </a:cubicBezTo>
                        <a:cubicBezTo>
                          <a:pt x="2915" y="624103"/>
                          <a:pt x="31404" y="854676"/>
                          <a:pt x="173062" y="832175"/>
                        </a:cubicBezTo>
                        <a:cubicBezTo>
                          <a:pt x="424200" y="792315"/>
                          <a:pt x="226895" y="361473"/>
                          <a:pt x="214737" y="243586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10" name="Grafik 297">
                  <a:extLst>
                    <a:ext uri="{FF2B5EF4-FFF2-40B4-BE49-F238E27FC236}">
                      <a16:creationId xmlns:a16="http://schemas.microsoft.com/office/drawing/2014/main" id="{9E64B8EE-B510-621C-FB76-B8C02A5F2046}"/>
                    </a:ext>
                  </a:extLst>
                </p:cNvPr>
                <p:cNvGrpSpPr/>
                <p:nvPr/>
              </p:nvGrpSpPr>
              <p:grpSpPr>
                <a:xfrm>
                  <a:off x="1054754" y="3219161"/>
                  <a:ext cx="382210" cy="209656"/>
                  <a:chOff x="1054754" y="3219161"/>
                  <a:chExt cx="382210" cy="209656"/>
                </a:xfrm>
                <a:solidFill>
                  <a:srgbClr val="02787D"/>
                </a:solidFill>
              </p:grpSpPr>
              <p:sp>
                <p:nvSpPr>
                  <p:cNvPr id="319" name="Freihandform: Form 318">
                    <a:extLst>
                      <a:ext uri="{FF2B5EF4-FFF2-40B4-BE49-F238E27FC236}">
                        <a16:creationId xmlns:a16="http://schemas.microsoft.com/office/drawing/2014/main" id="{90E94422-9213-855F-0AE6-4D302AABEF87}"/>
                      </a:ext>
                    </a:extLst>
                  </p:cNvPr>
                  <p:cNvSpPr/>
                  <p:nvPr/>
                </p:nvSpPr>
                <p:spPr>
                  <a:xfrm>
                    <a:off x="1054754" y="3240041"/>
                    <a:ext cx="118915" cy="118915"/>
                  </a:xfrm>
                  <a:custGeom>
                    <a:avLst/>
                    <a:gdLst>
                      <a:gd name="connsiteX0" fmla="*/ 118915 w 118915"/>
                      <a:gd name="connsiteY0" fmla="*/ 59458 h 118915"/>
                      <a:gd name="connsiteX1" fmla="*/ 59458 w 118915"/>
                      <a:gd name="connsiteY1" fmla="*/ 118915 h 118915"/>
                      <a:gd name="connsiteX2" fmla="*/ 0 w 118915"/>
                      <a:gd name="connsiteY2" fmla="*/ 59458 h 118915"/>
                      <a:gd name="connsiteX3" fmla="*/ 59458 w 118915"/>
                      <a:gd name="connsiteY3" fmla="*/ 0 h 118915"/>
                      <a:gd name="connsiteX4" fmla="*/ 118915 w 118915"/>
                      <a:gd name="connsiteY4" fmla="*/ 59458 h 118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8915" h="118915">
                        <a:moveTo>
                          <a:pt x="118915" y="59458"/>
                        </a:moveTo>
                        <a:cubicBezTo>
                          <a:pt x="118915" y="92295"/>
                          <a:pt x="92295" y="118915"/>
                          <a:pt x="59458" y="118915"/>
                        </a:cubicBezTo>
                        <a:cubicBezTo>
                          <a:pt x="26620" y="118915"/>
                          <a:pt x="0" y="92295"/>
                          <a:pt x="0" y="59458"/>
                        </a:cubicBezTo>
                        <a:cubicBezTo>
                          <a:pt x="0" y="26620"/>
                          <a:pt x="26620" y="0"/>
                          <a:pt x="59458" y="0"/>
                        </a:cubicBezTo>
                        <a:cubicBezTo>
                          <a:pt x="92295" y="0"/>
                          <a:pt x="118915" y="26620"/>
                          <a:pt x="118915" y="5945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320" name="Grafik 297">
                    <a:extLst>
                      <a:ext uri="{FF2B5EF4-FFF2-40B4-BE49-F238E27FC236}">
                        <a16:creationId xmlns:a16="http://schemas.microsoft.com/office/drawing/2014/main" id="{24C74E94-52E9-2C2A-D37A-79370A019D49}"/>
                      </a:ext>
                    </a:extLst>
                  </p:cNvPr>
                  <p:cNvGrpSpPr/>
                  <p:nvPr/>
                </p:nvGrpSpPr>
                <p:grpSpPr>
                  <a:xfrm>
                    <a:off x="1069820" y="3219161"/>
                    <a:ext cx="367143" cy="209656"/>
                    <a:chOff x="1069820" y="3219161"/>
                    <a:chExt cx="367143" cy="209656"/>
                  </a:xfrm>
                  <a:solidFill>
                    <a:srgbClr val="02787D"/>
                  </a:solidFill>
                </p:grpSpPr>
                <p:grpSp>
                  <p:nvGrpSpPr>
                    <p:cNvPr id="321" name="Grafik 297">
                      <a:extLst>
                        <a:ext uri="{FF2B5EF4-FFF2-40B4-BE49-F238E27FC236}">
                          <a16:creationId xmlns:a16="http://schemas.microsoft.com/office/drawing/2014/main" id="{DBB9C109-D1AD-9662-C09E-785C646D12E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64829" y="3326989"/>
                      <a:ext cx="172135" cy="51322"/>
                      <a:chOff x="1264829" y="3326989"/>
                      <a:chExt cx="172135" cy="51322"/>
                    </a:xfrm>
                    <a:solidFill>
                      <a:srgbClr val="02787D"/>
                    </a:solidFill>
                  </p:grpSpPr>
                  <p:sp>
                    <p:nvSpPr>
                      <p:cNvPr id="337" name="Freihandform: Form 336">
                        <a:extLst>
                          <a:ext uri="{FF2B5EF4-FFF2-40B4-BE49-F238E27FC236}">
                            <a16:creationId xmlns:a16="http://schemas.microsoft.com/office/drawing/2014/main" id="{547EF264-29EE-E1B6-E240-0A6EC01EBD8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64829" y="3326989"/>
                        <a:ext cx="79232" cy="51322"/>
                      </a:xfrm>
                      <a:custGeom>
                        <a:avLst/>
                        <a:gdLst>
                          <a:gd name="connsiteX0" fmla="*/ 63865 w 79232"/>
                          <a:gd name="connsiteY0" fmla="*/ 51323 h 51322"/>
                          <a:gd name="connsiteX1" fmla="*/ 79229 w 79232"/>
                          <a:gd name="connsiteY1" fmla="*/ 30999 h 51322"/>
                          <a:gd name="connsiteX2" fmla="*/ 65559 w 79232"/>
                          <a:gd name="connsiteY2" fmla="*/ 12551 h 51322"/>
                          <a:gd name="connsiteX3" fmla="*/ 23158 w 79232"/>
                          <a:gd name="connsiteY3" fmla="*/ 514 h 51322"/>
                          <a:gd name="connsiteX4" fmla="*/ 900 w 79232"/>
                          <a:gd name="connsiteY4" fmla="*/ 14668 h 51322"/>
                          <a:gd name="connsiteX5" fmla="*/ 16202 w 79232"/>
                          <a:gd name="connsiteY5" fmla="*/ 40133 h 51322"/>
                          <a:gd name="connsiteX6" fmla="*/ 63865 w 79232"/>
                          <a:gd name="connsiteY6" fmla="*/ 51323 h 5132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9232" h="51322">
                            <a:moveTo>
                              <a:pt x="63865" y="51323"/>
                            </a:moveTo>
                            <a:cubicBezTo>
                              <a:pt x="63865" y="51323"/>
                              <a:pt x="78987" y="46544"/>
                              <a:pt x="79229" y="30999"/>
                            </a:cubicBezTo>
                            <a:cubicBezTo>
                              <a:pt x="79471" y="15878"/>
                              <a:pt x="65559" y="12551"/>
                              <a:pt x="65559" y="12551"/>
                            </a:cubicBezTo>
                            <a:lnTo>
                              <a:pt x="23158" y="514"/>
                            </a:lnTo>
                            <a:cubicBezTo>
                              <a:pt x="11243" y="-1966"/>
                              <a:pt x="3440" y="4809"/>
                              <a:pt x="900" y="14668"/>
                            </a:cubicBezTo>
                            <a:cubicBezTo>
                              <a:pt x="-2064" y="24467"/>
                              <a:pt x="2109" y="36262"/>
                              <a:pt x="16202" y="40133"/>
                            </a:cubicBezTo>
                            <a:lnTo>
                              <a:pt x="63865" y="51323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38" name="Freihandform: Form 337">
                        <a:extLst>
                          <a:ext uri="{FF2B5EF4-FFF2-40B4-BE49-F238E27FC236}">
                            <a16:creationId xmlns:a16="http://schemas.microsoft.com/office/drawing/2014/main" id="{3DD4DF3D-3CD5-9097-2A82-67A49E264FD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6113" y="3336851"/>
                        <a:ext cx="66300" cy="41461"/>
                      </a:xfrm>
                      <a:custGeom>
                        <a:avLst/>
                        <a:gdLst>
                          <a:gd name="connsiteX0" fmla="*/ 57099 w 66300"/>
                          <a:gd name="connsiteY0" fmla="*/ 34384 h 41461"/>
                          <a:gd name="connsiteX1" fmla="*/ 65325 w 66300"/>
                          <a:gd name="connsiteY1" fmla="*/ 14424 h 41461"/>
                          <a:gd name="connsiteX2" fmla="*/ 51534 w 66300"/>
                          <a:gd name="connsiteY2" fmla="*/ 89 h 41461"/>
                          <a:gd name="connsiteX3" fmla="*/ 14275 w 66300"/>
                          <a:gd name="connsiteY3" fmla="*/ 2629 h 41461"/>
                          <a:gd name="connsiteX4" fmla="*/ 0 w 66300"/>
                          <a:gd name="connsiteY4" fmla="*/ 21319 h 41461"/>
                          <a:gd name="connsiteX5" fmla="*/ 12581 w 66300"/>
                          <a:gd name="connsiteY5" fmla="*/ 41461 h 41461"/>
                          <a:gd name="connsiteX6" fmla="*/ 57099 w 66300"/>
                          <a:gd name="connsiteY6" fmla="*/ 34384 h 4146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6300" h="41461">
                            <a:moveTo>
                              <a:pt x="57099" y="34384"/>
                            </a:moveTo>
                            <a:cubicBezTo>
                              <a:pt x="57099" y="34384"/>
                              <a:pt x="69861" y="28880"/>
                              <a:pt x="65325" y="14424"/>
                            </a:cubicBezTo>
                            <a:cubicBezTo>
                              <a:pt x="60184" y="-2028"/>
                              <a:pt x="51534" y="89"/>
                              <a:pt x="51534" y="89"/>
                            </a:cubicBezTo>
                            <a:lnTo>
                              <a:pt x="14275" y="2629"/>
                            </a:lnTo>
                            <a:cubicBezTo>
                              <a:pt x="5202" y="2629"/>
                              <a:pt x="61" y="13759"/>
                              <a:pt x="0" y="21319"/>
                            </a:cubicBezTo>
                            <a:cubicBezTo>
                              <a:pt x="423" y="33054"/>
                              <a:pt x="2057" y="38074"/>
                              <a:pt x="12581" y="41461"/>
                            </a:cubicBezTo>
                            <a:lnTo>
                              <a:pt x="57099" y="34384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39" name="Freihandform: Form 338">
                        <a:extLst>
                          <a:ext uri="{FF2B5EF4-FFF2-40B4-BE49-F238E27FC236}">
                            <a16:creationId xmlns:a16="http://schemas.microsoft.com/office/drawing/2014/main" id="{000FF707-44C7-4E16-7E2A-4C924293768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780" y="3327234"/>
                        <a:ext cx="82184" cy="44013"/>
                      </a:xfrm>
                      <a:custGeom>
                        <a:avLst/>
                        <a:gdLst>
                          <a:gd name="connsiteX0" fmla="*/ 56720 w 82184"/>
                          <a:gd name="connsiteY0" fmla="*/ 27489 h 44013"/>
                          <a:gd name="connsiteX1" fmla="*/ 82185 w 82184"/>
                          <a:gd name="connsiteY1" fmla="*/ 16238 h 44013"/>
                          <a:gd name="connsiteX2" fmla="*/ 42082 w 82184"/>
                          <a:gd name="connsiteY2" fmla="*/ 1117 h 44013"/>
                          <a:gd name="connsiteX3" fmla="*/ 12868 w 82184"/>
                          <a:gd name="connsiteY3" fmla="*/ 9706 h 44013"/>
                          <a:gd name="connsiteX4" fmla="*/ 165 w 82184"/>
                          <a:gd name="connsiteY4" fmla="*/ 29484 h 44013"/>
                          <a:gd name="connsiteX5" fmla="*/ 18432 w 82184"/>
                          <a:gd name="connsiteY5" fmla="*/ 44001 h 44013"/>
                          <a:gd name="connsiteX6" fmla="*/ 56720 w 82184"/>
                          <a:gd name="connsiteY6" fmla="*/ 27489 h 440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82184" h="44013">
                            <a:moveTo>
                              <a:pt x="56720" y="27489"/>
                            </a:moveTo>
                            <a:lnTo>
                              <a:pt x="82185" y="16238"/>
                            </a:lnTo>
                            <a:cubicBezTo>
                              <a:pt x="75833" y="-517"/>
                              <a:pt x="55510" y="-1545"/>
                              <a:pt x="42082" y="1117"/>
                            </a:cubicBezTo>
                            <a:cubicBezTo>
                              <a:pt x="28654" y="3778"/>
                              <a:pt x="12868" y="9706"/>
                              <a:pt x="12868" y="9706"/>
                            </a:cubicBezTo>
                            <a:cubicBezTo>
                              <a:pt x="3916" y="11460"/>
                              <a:pt x="-984" y="19988"/>
                              <a:pt x="165" y="29484"/>
                            </a:cubicBezTo>
                            <a:cubicBezTo>
                              <a:pt x="1315" y="38981"/>
                              <a:pt x="9299" y="44304"/>
                              <a:pt x="18432" y="44001"/>
                            </a:cubicBezTo>
                            <a:lnTo>
                              <a:pt x="56720" y="27489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40" name="Freihandform: Form 339">
                        <a:extLst>
                          <a:ext uri="{FF2B5EF4-FFF2-40B4-BE49-F238E27FC236}">
                            <a16:creationId xmlns:a16="http://schemas.microsoft.com/office/drawing/2014/main" id="{A1DB9C41-F5E9-49F7-EC4B-3CDB24C962E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85508" y="3327201"/>
                        <a:ext cx="103672" cy="28807"/>
                      </a:xfrm>
                      <a:custGeom>
                        <a:avLst/>
                        <a:gdLst>
                          <a:gd name="connsiteX0" fmla="*/ 103673 w 103672"/>
                          <a:gd name="connsiteY0" fmla="*/ 2964 h 28807"/>
                          <a:gd name="connsiteX1" fmla="*/ 82140 w 103672"/>
                          <a:gd name="connsiteY1" fmla="*/ 9799 h 28807"/>
                          <a:gd name="connsiteX2" fmla="*/ 44881 w 103672"/>
                          <a:gd name="connsiteY2" fmla="*/ 12339 h 28807"/>
                          <a:gd name="connsiteX3" fmla="*/ 2480 w 103672"/>
                          <a:gd name="connsiteY3" fmla="*/ 302 h 28807"/>
                          <a:gd name="connsiteX4" fmla="*/ 0 w 103672"/>
                          <a:gd name="connsiteY4" fmla="*/ 0 h 28807"/>
                          <a:gd name="connsiteX5" fmla="*/ 16573 w 103672"/>
                          <a:gd name="connsiteY5" fmla="*/ 22864 h 28807"/>
                          <a:gd name="connsiteX6" fmla="*/ 63510 w 103672"/>
                          <a:gd name="connsiteY6" fmla="*/ 26916 h 28807"/>
                          <a:gd name="connsiteX7" fmla="*/ 103673 w 103672"/>
                          <a:gd name="connsiteY7" fmla="*/ 3024 h 28807"/>
                          <a:gd name="connsiteX8" fmla="*/ 103673 w 103672"/>
                          <a:gd name="connsiteY8" fmla="*/ 3024 h 2880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03672" h="28807">
                            <a:moveTo>
                              <a:pt x="103673" y="2964"/>
                            </a:moveTo>
                            <a:cubicBezTo>
                              <a:pt x="92544" y="5867"/>
                              <a:pt x="82140" y="9799"/>
                              <a:pt x="82140" y="9799"/>
                            </a:cubicBezTo>
                            <a:lnTo>
                              <a:pt x="44881" y="12339"/>
                            </a:lnTo>
                            <a:lnTo>
                              <a:pt x="2480" y="302"/>
                            </a:lnTo>
                            <a:cubicBezTo>
                              <a:pt x="1633" y="121"/>
                              <a:pt x="847" y="121"/>
                              <a:pt x="0" y="0"/>
                            </a:cubicBezTo>
                            <a:cubicBezTo>
                              <a:pt x="0" y="0"/>
                              <a:pt x="7803" y="19718"/>
                              <a:pt x="16573" y="22864"/>
                            </a:cubicBezTo>
                            <a:cubicBezTo>
                              <a:pt x="25404" y="26009"/>
                              <a:pt x="32844" y="31815"/>
                              <a:pt x="63510" y="26916"/>
                            </a:cubicBezTo>
                            <a:cubicBezTo>
                              <a:pt x="84196" y="23589"/>
                              <a:pt x="103673" y="3024"/>
                              <a:pt x="103673" y="3024"/>
                            </a:cubicBezTo>
                            <a:lnTo>
                              <a:pt x="103673" y="3024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322" name="Grafik 297">
                      <a:extLst>
                        <a:ext uri="{FF2B5EF4-FFF2-40B4-BE49-F238E27FC236}">
                          <a16:creationId xmlns:a16="http://schemas.microsoft.com/office/drawing/2014/main" id="{FDF38E4E-F5DA-FC25-FF23-7E60E2A4A8A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50636" y="3354113"/>
                      <a:ext cx="167214" cy="58191"/>
                      <a:chOff x="1250636" y="3354113"/>
                      <a:chExt cx="167214" cy="58191"/>
                    </a:xfrm>
                    <a:solidFill>
                      <a:srgbClr val="02787D"/>
                    </a:solidFill>
                  </p:grpSpPr>
                  <p:sp>
                    <p:nvSpPr>
                      <p:cNvPr id="334" name="Freihandform: Form 333">
                        <a:extLst>
                          <a:ext uri="{FF2B5EF4-FFF2-40B4-BE49-F238E27FC236}">
                            <a16:creationId xmlns:a16="http://schemas.microsoft.com/office/drawing/2014/main" id="{75EA16F1-5D37-6231-793B-DF036B4DB1F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50636" y="3363067"/>
                        <a:ext cx="81268" cy="49237"/>
                      </a:xfrm>
                      <a:custGeom>
                        <a:avLst/>
                        <a:gdLst>
                          <a:gd name="connsiteX0" fmla="*/ 69530 w 81268"/>
                          <a:gd name="connsiteY0" fmla="*/ 49177 h 49237"/>
                          <a:gd name="connsiteX1" fmla="*/ 81022 w 81268"/>
                          <a:gd name="connsiteY1" fmla="*/ 30426 h 49237"/>
                          <a:gd name="connsiteX2" fmla="*/ 64993 w 81268"/>
                          <a:gd name="connsiteY2" fmla="*/ 11131 h 49237"/>
                          <a:gd name="connsiteX3" fmla="*/ 23803 w 81268"/>
                          <a:gd name="connsiteY3" fmla="*/ 304 h 49237"/>
                          <a:gd name="connsiteX4" fmla="*/ 757 w 81268"/>
                          <a:gd name="connsiteY4" fmla="*/ 14216 h 49237"/>
                          <a:gd name="connsiteX5" fmla="*/ 17089 w 81268"/>
                          <a:gd name="connsiteY5" fmla="*/ 39076 h 49237"/>
                          <a:gd name="connsiteX6" fmla="*/ 69590 w 81268"/>
                          <a:gd name="connsiteY6" fmla="*/ 49237 h 492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81268" h="49237">
                            <a:moveTo>
                              <a:pt x="69530" y="49177"/>
                            </a:moveTo>
                            <a:cubicBezTo>
                              <a:pt x="69530" y="49177"/>
                              <a:pt x="83260" y="45003"/>
                              <a:pt x="81022" y="30426"/>
                            </a:cubicBezTo>
                            <a:cubicBezTo>
                              <a:pt x="78361" y="12885"/>
                              <a:pt x="64993" y="11131"/>
                              <a:pt x="64993" y="11131"/>
                            </a:cubicBezTo>
                            <a:lnTo>
                              <a:pt x="23803" y="304"/>
                            </a:lnTo>
                            <a:cubicBezTo>
                              <a:pt x="11826" y="-1450"/>
                              <a:pt x="3177" y="4538"/>
                              <a:pt x="757" y="14216"/>
                            </a:cubicBezTo>
                            <a:cubicBezTo>
                              <a:pt x="-2146" y="23773"/>
                              <a:pt x="3298" y="35265"/>
                              <a:pt x="17089" y="39076"/>
                            </a:cubicBezTo>
                            <a:lnTo>
                              <a:pt x="69590" y="4923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35" name="Freihandform: Form 334">
                        <a:extLst>
                          <a:ext uri="{FF2B5EF4-FFF2-40B4-BE49-F238E27FC236}">
                            <a16:creationId xmlns:a16="http://schemas.microsoft.com/office/drawing/2014/main" id="{EC370C6E-0589-9E50-1AC5-8314BC3307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3585" y="3362437"/>
                        <a:ext cx="66097" cy="49807"/>
                      </a:xfrm>
                      <a:custGeom>
                        <a:avLst/>
                        <a:gdLst>
                          <a:gd name="connsiteX0" fmla="*/ 56441 w 66097"/>
                          <a:gd name="connsiteY0" fmla="*/ 32569 h 49807"/>
                          <a:gd name="connsiteX1" fmla="*/ 65272 w 66097"/>
                          <a:gd name="connsiteY1" fmla="*/ 13093 h 49807"/>
                          <a:gd name="connsiteX2" fmla="*/ 48578 w 66097"/>
                          <a:gd name="connsiteY2" fmla="*/ 330 h 49807"/>
                          <a:gd name="connsiteX3" fmla="*/ 11621 w 66097"/>
                          <a:gd name="connsiteY3" fmla="*/ 11762 h 49807"/>
                          <a:gd name="connsiteX4" fmla="*/ 68 w 66097"/>
                          <a:gd name="connsiteY4" fmla="*/ 31057 h 49807"/>
                          <a:gd name="connsiteX5" fmla="*/ 16581 w 66097"/>
                          <a:gd name="connsiteY5" fmla="*/ 49808 h 49807"/>
                          <a:gd name="connsiteX6" fmla="*/ 56441 w 66097"/>
                          <a:gd name="connsiteY6" fmla="*/ 32569 h 4980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6097" h="49807">
                            <a:moveTo>
                              <a:pt x="56441" y="32569"/>
                            </a:moveTo>
                            <a:cubicBezTo>
                              <a:pt x="56441" y="32569"/>
                              <a:pt x="69445" y="29424"/>
                              <a:pt x="65272" y="13093"/>
                            </a:cubicBezTo>
                            <a:cubicBezTo>
                              <a:pt x="60977" y="-3239"/>
                              <a:pt x="48578" y="330"/>
                              <a:pt x="48578" y="330"/>
                            </a:cubicBezTo>
                            <a:lnTo>
                              <a:pt x="11621" y="11762"/>
                            </a:lnTo>
                            <a:cubicBezTo>
                              <a:pt x="5391" y="17871"/>
                              <a:pt x="673" y="23194"/>
                              <a:pt x="68" y="31057"/>
                            </a:cubicBezTo>
                            <a:cubicBezTo>
                              <a:pt x="-537" y="38920"/>
                              <a:pt x="2729" y="47751"/>
                              <a:pt x="16581" y="49808"/>
                            </a:cubicBezTo>
                            <a:lnTo>
                              <a:pt x="56441" y="32569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36" name="Freihandform: Form 335">
                        <a:extLst>
                          <a:ext uri="{FF2B5EF4-FFF2-40B4-BE49-F238E27FC236}">
                            <a16:creationId xmlns:a16="http://schemas.microsoft.com/office/drawing/2014/main" id="{7A428920-81D0-CF63-81F4-ECE705E466D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3092" y="3354113"/>
                        <a:ext cx="74758" cy="40567"/>
                      </a:xfrm>
                      <a:custGeom>
                        <a:avLst/>
                        <a:gdLst>
                          <a:gd name="connsiteX0" fmla="*/ 49839 w 74758"/>
                          <a:gd name="connsiteY0" fmla="*/ 26920 h 40567"/>
                          <a:gd name="connsiteX1" fmla="*/ 74759 w 74758"/>
                          <a:gd name="connsiteY1" fmla="*/ 16093 h 40567"/>
                          <a:gd name="connsiteX2" fmla="*/ 35685 w 74758"/>
                          <a:gd name="connsiteY2" fmla="*/ 1032 h 40567"/>
                          <a:gd name="connsiteX3" fmla="*/ 7498 w 74758"/>
                          <a:gd name="connsiteY3" fmla="*/ 9137 h 40567"/>
                          <a:gd name="connsiteX4" fmla="*/ 845 w 74758"/>
                          <a:gd name="connsiteY4" fmla="*/ 28977 h 40567"/>
                          <a:gd name="connsiteX5" fmla="*/ 18507 w 74758"/>
                          <a:gd name="connsiteY5" fmla="*/ 40348 h 40567"/>
                          <a:gd name="connsiteX6" fmla="*/ 49899 w 74758"/>
                          <a:gd name="connsiteY6" fmla="*/ 26920 h 4056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4758" h="40567">
                            <a:moveTo>
                              <a:pt x="49839" y="26920"/>
                            </a:moveTo>
                            <a:lnTo>
                              <a:pt x="74759" y="16093"/>
                            </a:lnTo>
                            <a:cubicBezTo>
                              <a:pt x="68650" y="-359"/>
                              <a:pt x="48810" y="-1508"/>
                              <a:pt x="35685" y="1032"/>
                            </a:cubicBezTo>
                            <a:cubicBezTo>
                              <a:pt x="22559" y="3572"/>
                              <a:pt x="7498" y="9137"/>
                              <a:pt x="7498" y="9137"/>
                            </a:cubicBezTo>
                            <a:cubicBezTo>
                              <a:pt x="-1030" y="14400"/>
                              <a:pt x="-667" y="22202"/>
                              <a:pt x="845" y="28977"/>
                            </a:cubicBezTo>
                            <a:cubicBezTo>
                              <a:pt x="2599" y="36840"/>
                              <a:pt x="9676" y="41679"/>
                              <a:pt x="18507" y="40348"/>
                            </a:cubicBezTo>
                            <a:lnTo>
                              <a:pt x="49899" y="26920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323" name="Grafik 297">
                      <a:extLst>
                        <a:ext uri="{FF2B5EF4-FFF2-40B4-BE49-F238E27FC236}">
                          <a16:creationId xmlns:a16="http://schemas.microsoft.com/office/drawing/2014/main" id="{74409FED-2756-34DD-D88A-DE6D9AE9149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19789" y="3374219"/>
                      <a:ext cx="153786" cy="54598"/>
                      <a:chOff x="1219789" y="3374219"/>
                      <a:chExt cx="153786" cy="54598"/>
                    </a:xfrm>
                    <a:solidFill>
                      <a:srgbClr val="02787D"/>
                    </a:solidFill>
                  </p:grpSpPr>
                  <p:sp>
                    <p:nvSpPr>
                      <p:cNvPr id="331" name="Freihandform: Form 330">
                        <a:extLst>
                          <a:ext uri="{FF2B5EF4-FFF2-40B4-BE49-F238E27FC236}">
                            <a16:creationId xmlns:a16="http://schemas.microsoft.com/office/drawing/2014/main" id="{F1724FBE-4FC8-5C1A-2EC4-1AA8A52559D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19789" y="3382861"/>
                        <a:ext cx="71114" cy="45956"/>
                      </a:xfrm>
                      <a:custGeom>
                        <a:avLst/>
                        <a:gdLst>
                          <a:gd name="connsiteX0" fmla="*/ 62513 w 71114"/>
                          <a:gd name="connsiteY0" fmla="*/ 45956 h 45956"/>
                          <a:gd name="connsiteX1" fmla="*/ 70195 w 71114"/>
                          <a:gd name="connsiteY1" fmla="*/ 29746 h 45956"/>
                          <a:gd name="connsiteX2" fmla="*/ 65537 w 71114"/>
                          <a:gd name="connsiteY2" fmla="*/ 13233 h 45956"/>
                          <a:gd name="connsiteX3" fmla="*/ 19568 w 71114"/>
                          <a:gd name="connsiteY3" fmla="*/ 410 h 45956"/>
                          <a:gd name="connsiteX4" fmla="*/ 999 w 71114"/>
                          <a:gd name="connsiteY4" fmla="*/ 10753 h 45956"/>
                          <a:gd name="connsiteX5" fmla="*/ 13399 w 71114"/>
                          <a:gd name="connsiteY5" fmla="*/ 36702 h 45956"/>
                          <a:gd name="connsiteX6" fmla="*/ 62513 w 71114"/>
                          <a:gd name="connsiteY6" fmla="*/ 45956 h 4595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1114" h="45956">
                            <a:moveTo>
                              <a:pt x="62513" y="45956"/>
                            </a:moveTo>
                            <a:cubicBezTo>
                              <a:pt x="62513" y="45956"/>
                              <a:pt x="66566" y="43053"/>
                              <a:pt x="70195" y="29746"/>
                            </a:cubicBezTo>
                            <a:cubicBezTo>
                              <a:pt x="73824" y="16379"/>
                              <a:pt x="65537" y="13233"/>
                              <a:pt x="65537" y="13233"/>
                            </a:cubicBezTo>
                            <a:lnTo>
                              <a:pt x="19568" y="410"/>
                            </a:lnTo>
                            <a:cubicBezTo>
                              <a:pt x="8378" y="-1162"/>
                              <a:pt x="3237" y="1681"/>
                              <a:pt x="999" y="10753"/>
                            </a:cubicBezTo>
                            <a:cubicBezTo>
                              <a:pt x="-1662" y="19705"/>
                              <a:pt x="515" y="33194"/>
                              <a:pt x="13399" y="36702"/>
                            </a:cubicBezTo>
                            <a:lnTo>
                              <a:pt x="62513" y="45956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32" name="Freihandform: Form 331">
                        <a:extLst>
                          <a:ext uri="{FF2B5EF4-FFF2-40B4-BE49-F238E27FC236}">
                            <a16:creationId xmlns:a16="http://schemas.microsoft.com/office/drawing/2014/main" id="{4F7BEF09-6F16-B408-08BB-978008D8752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70181" y="3381975"/>
                        <a:ext cx="59305" cy="46842"/>
                      </a:xfrm>
                      <a:custGeom>
                        <a:avLst/>
                        <a:gdLst>
                          <a:gd name="connsiteX0" fmla="*/ 49320 w 59305"/>
                          <a:gd name="connsiteY0" fmla="*/ 30572 h 46842"/>
                          <a:gd name="connsiteX1" fmla="*/ 58574 w 59305"/>
                          <a:gd name="connsiteY1" fmla="*/ 11338 h 46842"/>
                          <a:gd name="connsiteX2" fmla="*/ 41154 w 59305"/>
                          <a:gd name="connsiteY2" fmla="*/ 632 h 46842"/>
                          <a:gd name="connsiteX3" fmla="*/ 13330 w 59305"/>
                          <a:gd name="connsiteY3" fmla="*/ 13636 h 46842"/>
                          <a:gd name="connsiteX4" fmla="*/ 23 w 59305"/>
                          <a:gd name="connsiteY4" fmla="*/ 28213 h 46842"/>
                          <a:gd name="connsiteX5" fmla="*/ 12121 w 59305"/>
                          <a:gd name="connsiteY5" fmla="*/ 46843 h 46842"/>
                          <a:gd name="connsiteX6" fmla="*/ 49320 w 59305"/>
                          <a:gd name="connsiteY6" fmla="*/ 30572 h 4684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9305" h="46842">
                            <a:moveTo>
                              <a:pt x="49320" y="30572"/>
                            </a:moveTo>
                            <a:cubicBezTo>
                              <a:pt x="49320" y="30572"/>
                              <a:pt x="62506" y="26641"/>
                              <a:pt x="58574" y="11338"/>
                            </a:cubicBezTo>
                            <a:cubicBezTo>
                              <a:pt x="54461" y="-3905"/>
                              <a:pt x="41154" y="632"/>
                              <a:pt x="41154" y="632"/>
                            </a:cubicBezTo>
                            <a:lnTo>
                              <a:pt x="13330" y="13636"/>
                            </a:lnTo>
                            <a:cubicBezTo>
                              <a:pt x="5467" y="14967"/>
                              <a:pt x="326" y="15511"/>
                              <a:pt x="23" y="28213"/>
                            </a:cubicBezTo>
                            <a:cubicBezTo>
                              <a:pt x="-279" y="40915"/>
                              <a:pt x="2261" y="44968"/>
                              <a:pt x="12121" y="46843"/>
                            </a:cubicBezTo>
                            <a:lnTo>
                              <a:pt x="49320" y="30572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33" name="Freihandform: Form 332">
                        <a:extLst>
                          <a:ext uri="{FF2B5EF4-FFF2-40B4-BE49-F238E27FC236}">
                            <a16:creationId xmlns:a16="http://schemas.microsoft.com/office/drawing/2014/main" id="{93137302-A148-7565-A7F6-3EE6EDB034D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4207" y="3374219"/>
                        <a:ext cx="69368" cy="38586"/>
                      </a:xfrm>
                      <a:custGeom>
                        <a:avLst/>
                        <a:gdLst>
                          <a:gd name="connsiteX0" fmla="*/ 46081 w 69368"/>
                          <a:gd name="connsiteY0" fmla="*/ 25142 h 38586"/>
                          <a:gd name="connsiteX1" fmla="*/ 69368 w 69368"/>
                          <a:gd name="connsiteY1" fmla="*/ 14920 h 38586"/>
                          <a:gd name="connsiteX2" fmla="*/ 32714 w 69368"/>
                          <a:gd name="connsiteY2" fmla="*/ 1008 h 38586"/>
                          <a:gd name="connsiteX3" fmla="*/ 7128 w 69368"/>
                          <a:gd name="connsiteY3" fmla="*/ 8447 h 38586"/>
                          <a:gd name="connsiteX4" fmla="*/ 656 w 69368"/>
                          <a:gd name="connsiteY4" fmla="*/ 23569 h 38586"/>
                          <a:gd name="connsiteX5" fmla="*/ 15294 w 69368"/>
                          <a:gd name="connsiteY5" fmla="*/ 38388 h 38586"/>
                          <a:gd name="connsiteX6" fmla="*/ 46081 w 69368"/>
                          <a:gd name="connsiteY6" fmla="*/ 25142 h 385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9368" h="38586">
                            <a:moveTo>
                              <a:pt x="46081" y="25142"/>
                            </a:moveTo>
                            <a:lnTo>
                              <a:pt x="69368" y="14920"/>
                            </a:lnTo>
                            <a:cubicBezTo>
                              <a:pt x="63562" y="-444"/>
                              <a:pt x="44992" y="-1412"/>
                              <a:pt x="32714" y="1008"/>
                            </a:cubicBezTo>
                            <a:cubicBezTo>
                              <a:pt x="20435" y="3427"/>
                              <a:pt x="7128" y="8447"/>
                              <a:pt x="7128" y="8447"/>
                            </a:cubicBezTo>
                            <a:cubicBezTo>
                              <a:pt x="-917" y="12863"/>
                              <a:pt x="-554" y="17157"/>
                              <a:pt x="656" y="23569"/>
                            </a:cubicBezTo>
                            <a:cubicBezTo>
                              <a:pt x="1926" y="30585"/>
                              <a:pt x="7128" y="40082"/>
                              <a:pt x="15294" y="38388"/>
                            </a:cubicBezTo>
                            <a:lnTo>
                              <a:pt x="46081" y="25142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324" name="Freihandform: Form 323">
                      <a:extLst>
                        <a:ext uri="{FF2B5EF4-FFF2-40B4-BE49-F238E27FC236}">
                          <a16:creationId xmlns:a16="http://schemas.microsoft.com/office/drawing/2014/main" id="{4D0725C9-5A08-15B1-AAE3-71F69F9E03C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9820" y="3243005"/>
                      <a:ext cx="221554" cy="177405"/>
                    </a:xfrm>
                    <a:custGeom>
                      <a:avLst/>
                      <a:gdLst>
                        <a:gd name="connsiteX0" fmla="*/ 8644 w 221554"/>
                        <a:gd name="connsiteY0" fmla="*/ 104036 h 177405"/>
                        <a:gd name="connsiteX1" fmla="*/ 72154 w 221554"/>
                        <a:gd name="connsiteY1" fmla="*/ 151094 h 177405"/>
                        <a:gd name="connsiteX2" fmla="*/ 167056 w 221554"/>
                        <a:gd name="connsiteY2" fmla="*/ 177405 h 177405"/>
                        <a:gd name="connsiteX3" fmla="*/ 221554 w 221554"/>
                        <a:gd name="connsiteY3" fmla="*/ 56917 h 177405"/>
                        <a:gd name="connsiteX4" fmla="*/ 195001 w 221554"/>
                        <a:gd name="connsiteY4" fmla="*/ 39739 h 177405"/>
                        <a:gd name="connsiteX5" fmla="*/ 58968 w 221554"/>
                        <a:gd name="connsiteY5" fmla="*/ 0 h 177405"/>
                        <a:gd name="connsiteX6" fmla="*/ 8644 w 221554"/>
                        <a:gd name="connsiteY6" fmla="*/ 104096 h 17740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221554" h="177405">
                          <a:moveTo>
                            <a:pt x="8644" y="104036"/>
                          </a:moveTo>
                          <a:cubicBezTo>
                            <a:pt x="21890" y="119339"/>
                            <a:pt x="47415" y="136396"/>
                            <a:pt x="72154" y="151094"/>
                          </a:cubicBezTo>
                          <a:cubicBezTo>
                            <a:pt x="124898" y="172990"/>
                            <a:pt x="165786" y="177103"/>
                            <a:pt x="167056" y="177405"/>
                          </a:cubicBezTo>
                          <a:cubicBezTo>
                            <a:pt x="170504" y="176317"/>
                            <a:pt x="221131" y="153876"/>
                            <a:pt x="221554" y="56917"/>
                          </a:cubicBezTo>
                          <a:cubicBezTo>
                            <a:pt x="188287" y="49961"/>
                            <a:pt x="195061" y="39860"/>
                            <a:pt x="195001" y="39739"/>
                          </a:cubicBezTo>
                          <a:lnTo>
                            <a:pt x="58968" y="0"/>
                          </a:lnTo>
                          <a:cubicBezTo>
                            <a:pt x="22011" y="0"/>
                            <a:pt x="-17970" y="83229"/>
                            <a:pt x="8644" y="104096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25" name="Freihandform: Form 324">
                      <a:extLst>
                        <a:ext uri="{FF2B5EF4-FFF2-40B4-BE49-F238E27FC236}">
                          <a16:creationId xmlns:a16="http://schemas.microsoft.com/office/drawing/2014/main" id="{728D1809-B7B9-E1E5-435D-79C96056AC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0941" y="3219161"/>
                      <a:ext cx="147269" cy="87642"/>
                    </a:xfrm>
                    <a:custGeom>
                      <a:avLst/>
                      <a:gdLst>
                        <a:gd name="connsiteX0" fmla="*/ 8271 w 147269"/>
                        <a:gd name="connsiteY0" fmla="*/ 22815 h 87642"/>
                        <a:gd name="connsiteX1" fmla="*/ 123497 w 147269"/>
                        <a:gd name="connsiteY1" fmla="*/ 4428 h 87642"/>
                        <a:gd name="connsiteX2" fmla="*/ 134384 w 147269"/>
                        <a:gd name="connsiteY2" fmla="*/ 67454 h 87642"/>
                        <a:gd name="connsiteX3" fmla="*/ 63797 w 147269"/>
                        <a:gd name="connsiteY3" fmla="*/ 87475 h 87642"/>
                        <a:gd name="connsiteX4" fmla="*/ 8271 w 147269"/>
                        <a:gd name="connsiteY4" fmla="*/ 22815 h 8764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47269" h="87642">
                          <a:moveTo>
                            <a:pt x="8271" y="22815"/>
                          </a:moveTo>
                          <a:cubicBezTo>
                            <a:pt x="41720" y="-1258"/>
                            <a:pt x="87992" y="-4222"/>
                            <a:pt x="123497" y="4428"/>
                          </a:cubicBezTo>
                          <a:cubicBezTo>
                            <a:pt x="157006" y="18763"/>
                            <a:pt x="149687" y="62797"/>
                            <a:pt x="134384" y="67454"/>
                          </a:cubicBezTo>
                          <a:cubicBezTo>
                            <a:pt x="134384" y="67454"/>
                            <a:pt x="88717" y="86023"/>
                            <a:pt x="63797" y="87475"/>
                          </a:cubicBezTo>
                          <a:cubicBezTo>
                            <a:pt x="1073" y="91044"/>
                            <a:pt x="-10722" y="36546"/>
                            <a:pt x="8271" y="2281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26" name="Freihandform: Form 325">
                      <a:extLst>
                        <a:ext uri="{FF2B5EF4-FFF2-40B4-BE49-F238E27FC236}">
                          <a16:creationId xmlns:a16="http://schemas.microsoft.com/office/drawing/2014/main" id="{63C62AF5-6E90-25DE-23C1-E28382EDD37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14311" y="3223039"/>
                      <a:ext cx="149283" cy="73980"/>
                    </a:xfrm>
                    <a:custGeom>
                      <a:avLst/>
                      <a:gdLst>
                        <a:gd name="connsiteX0" fmla="*/ 30126 w 149283"/>
                        <a:gd name="connsiteY0" fmla="*/ 550 h 73980"/>
                        <a:gd name="connsiteX1" fmla="*/ 91217 w 149283"/>
                        <a:gd name="connsiteY1" fmla="*/ 21417 h 73980"/>
                        <a:gd name="connsiteX2" fmla="*/ 149284 w 149283"/>
                        <a:gd name="connsiteY2" fmla="*/ 59947 h 73980"/>
                        <a:gd name="connsiteX3" fmla="*/ 122912 w 149283"/>
                        <a:gd name="connsiteY3" fmla="*/ 73979 h 73980"/>
                        <a:gd name="connsiteX4" fmla="*/ 84685 w 149283"/>
                        <a:gd name="connsiteY4" fmla="*/ 56983 h 73980"/>
                        <a:gd name="connsiteX5" fmla="*/ 50510 w 149283"/>
                        <a:gd name="connsiteY5" fmla="*/ 59705 h 73980"/>
                        <a:gd name="connsiteX6" fmla="*/ 4 w 149283"/>
                        <a:gd name="connsiteY6" fmla="*/ 27526 h 73980"/>
                        <a:gd name="connsiteX7" fmla="*/ 30126 w 149283"/>
                        <a:gd name="connsiteY7" fmla="*/ 550 h 7398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49283" h="73980">
                          <a:moveTo>
                            <a:pt x="30126" y="550"/>
                          </a:moveTo>
                          <a:lnTo>
                            <a:pt x="91217" y="21417"/>
                          </a:lnTo>
                          <a:lnTo>
                            <a:pt x="149284" y="59947"/>
                          </a:lnTo>
                          <a:cubicBezTo>
                            <a:pt x="149284" y="59947"/>
                            <a:pt x="146622" y="73617"/>
                            <a:pt x="122912" y="73979"/>
                          </a:cubicBezTo>
                          <a:cubicBezTo>
                            <a:pt x="115956" y="74101"/>
                            <a:pt x="97266" y="62911"/>
                            <a:pt x="84685" y="56983"/>
                          </a:cubicBezTo>
                          <a:cubicBezTo>
                            <a:pt x="62002" y="56076"/>
                            <a:pt x="50510" y="59705"/>
                            <a:pt x="50510" y="59705"/>
                          </a:cubicBezTo>
                          <a:cubicBezTo>
                            <a:pt x="50510" y="59705"/>
                            <a:pt x="791" y="61398"/>
                            <a:pt x="4" y="27526"/>
                          </a:cubicBezTo>
                          <a:cubicBezTo>
                            <a:pt x="-359" y="12405"/>
                            <a:pt x="21900" y="-3140"/>
                            <a:pt x="30126" y="550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327" name="Grafik 297">
                      <a:extLst>
                        <a:ext uri="{FF2B5EF4-FFF2-40B4-BE49-F238E27FC236}">
                          <a16:creationId xmlns:a16="http://schemas.microsoft.com/office/drawing/2014/main" id="{7D2EF351-6B15-B0B5-AB42-F2734E92CA0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66882" y="3299490"/>
                      <a:ext cx="158227" cy="46280"/>
                      <a:chOff x="1266882" y="3299490"/>
                      <a:chExt cx="158227" cy="46280"/>
                    </a:xfrm>
                    <a:solidFill>
                      <a:srgbClr val="02787D"/>
                    </a:solidFill>
                  </p:grpSpPr>
                  <p:sp>
                    <p:nvSpPr>
                      <p:cNvPr id="328" name="Freihandform: Form 327">
                        <a:extLst>
                          <a:ext uri="{FF2B5EF4-FFF2-40B4-BE49-F238E27FC236}">
                            <a16:creationId xmlns:a16="http://schemas.microsoft.com/office/drawing/2014/main" id="{D4DF96E4-720D-40BC-0F98-D3302EED618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66882" y="3299490"/>
                        <a:ext cx="75457" cy="46280"/>
                      </a:xfrm>
                      <a:custGeom>
                        <a:avLst/>
                        <a:gdLst>
                          <a:gd name="connsiteX0" fmla="*/ 58849 w 75457"/>
                          <a:gd name="connsiteY0" fmla="*/ 46280 h 46280"/>
                          <a:gd name="connsiteX1" fmla="*/ 74938 w 75457"/>
                          <a:gd name="connsiteY1" fmla="*/ 30009 h 46280"/>
                          <a:gd name="connsiteX2" fmla="*/ 61450 w 75457"/>
                          <a:gd name="connsiteY2" fmla="*/ 10956 h 46280"/>
                          <a:gd name="connsiteX3" fmla="*/ 24432 w 75457"/>
                          <a:gd name="connsiteY3" fmla="*/ 432 h 46280"/>
                          <a:gd name="connsiteX4" fmla="*/ 540 w 75457"/>
                          <a:gd name="connsiteY4" fmla="*/ 10775 h 46280"/>
                          <a:gd name="connsiteX5" fmla="*/ 18142 w 75457"/>
                          <a:gd name="connsiteY5" fmla="*/ 36663 h 46280"/>
                          <a:gd name="connsiteX6" fmla="*/ 58849 w 75457"/>
                          <a:gd name="connsiteY6" fmla="*/ 46220 h 4628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5457" h="46280">
                            <a:moveTo>
                              <a:pt x="58849" y="46280"/>
                            </a:moveTo>
                            <a:cubicBezTo>
                              <a:pt x="58849" y="46280"/>
                              <a:pt x="71248" y="43316"/>
                              <a:pt x="74938" y="30009"/>
                            </a:cubicBezTo>
                            <a:cubicBezTo>
                              <a:pt x="78628" y="16703"/>
                              <a:pt x="61450" y="10956"/>
                              <a:pt x="61450" y="10956"/>
                            </a:cubicBezTo>
                            <a:lnTo>
                              <a:pt x="24432" y="432"/>
                            </a:lnTo>
                            <a:cubicBezTo>
                              <a:pt x="13242" y="-1201"/>
                              <a:pt x="2778" y="1702"/>
                              <a:pt x="540" y="10775"/>
                            </a:cubicBezTo>
                            <a:cubicBezTo>
                              <a:pt x="-2121" y="19727"/>
                              <a:pt x="5258" y="33094"/>
                              <a:pt x="18142" y="36663"/>
                            </a:cubicBezTo>
                            <a:lnTo>
                              <a:pt x="58849" y="46220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29" name="Freihandform: Form 328">
                        <a:extLst>
                          <a:ext uri="{FF2B5EF4-FFF2-40B4-BE49-F238E27FC236}">
                            <a16:creationId xmlns:a16="http://schemas.microsoft.com/office/drawing/2014/main" id="{0095FD6B-15C7-ADE7-2499-4732D8B2F98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0046" y="3310251"/>
                        <a:ext cx="65362" cy="35519"/>
                      </a:xfrm>
                      <a:custGeom>
                        <a:avLst/>
                        <a:gdLst>
                          <a:gd name="connsiteX0" fmla="*/ 54214 w 65362"/>
                          <a:gd name="connsiteY0" fmla="*/ 30137 h 35519"/>
                          <a:gd name="connsiteX1" fmla="*/ 65344 w 65362"/>
                          <a:gd name="connsiteY1" fmla="*/ 13926 h 35519"/>
                          <a:gd name="connsiteX2" fmla="*/ 51311 w 65362"/>
                          <a:gd name="connsiteY2" fmla="*/ 75 h 35519"/>
                          <a:gd name="connsiteX3" fmla="*/ 17741 w 65362"/>
                          <a:gd name="connsiteY3" fmla="*/ 75 h 35519"/>
                          <a:gd name="connsiteX4" fmla="*/ 382 w 65362"/>
                          <a:gd name="connsiteY4" fmla="*/ 16709 h 35519"/>
                          <a:gd name="connsiteX5" fmla="*/ 15685 w 65362"/>
                          <a:gd name="connsiteY5" fmla="*/ 35520 h 35519"/>
                          <a:gd name="connsiteX6" fmla="*/ 54214 w 65362"/>
                          <a:gd name="connsiteY6" fmla="*/ 30137 h 3551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5362" h="35519">
                            <a:moveTo>
                              <a:pt x="54214" y="30137"/>
                            </a:moveTo>
                            <a:cubicBezTo>
                              <a:pt x="54214" y="30137"/>
                              <a:pt x="64557" y="29653"/>
                              <a:pt x="65344" y="13926"/>
                            </a:cubicBezTo>
                            <a:cubicBezTo>
                              <a:pt x="65949" y="-1861"/>
                              <a:pt x="51311" y="75"/>
                              <a:pt x="51311" y="75"/>
                            </a:cubicBezTo>
                            <a:lnTo>
                              <a:pt x="17741" y="75"/>
                            </a:lnTo>
                            <a:cubicBezTo>
                              <a:pt x="6128" y="982"/>
                              <a:pt x="2680" y="4793"/>
                              <a:pt x="382" y="16709"/>
                            </a:cubicBezTo>
                            <a:cubicBezTo>
                              <a:pt x="-1856" y="28624"/>
                              <a:pt x="6068" y="33282"/>
                              <a:pt x="15685" y="35520"/>
                            </a:cubicBezTo>
                            <a:lnTo>
                              <a:pt x="54214" y="3013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30" name="Freihandform: Form 329">
                        <a:extLst>
                          <a:ext uri="{FF2B5EF4-FFF2-40B4-BE49-F238E27FC236}">
                            <a16:creationId xmlns:a16="http://schemas.microsoft.com/office/drawing/2014/main" id="{12C34326-E129-A363-5D51-3A1F26478D4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9145" y="3305185"/>
                        <a:ext cx="75964" cy="35201"/>
                      </a:xfrm>
                      <a:custGeom>
                        <a:avLst/>
                        <a:gdLst>
                          <a:gd name="connsiteX0" fmla="*/ 51588 w 75964"/>
                          <a:gd name="connsiteY0" fmla="*/ 25766 h 35201"/>
                          <a:gd name="connsiteX1" fmla="*/ 75964 w 75964"/>
                          <a:gd name="connsiteY1" fmla="*/ 18628 h 35201"/>
                          <a:gd name="connsiteX2" fmla="*/ 41427 w 75964"/>
                          <a:gd name="connsiteY2" fmla="*/ 120 h 35201"/>
                          <a:gd name="connsiteX3" fmla="*/ 12151 w 75964"/>
                          <a:gd name="connsiteY3" fmla="*/ 5080 h 35201"/>
                          <a:gd name="connsiteX4" fmla="*/ 54 w 75964"/>
                          <a:gd name="connsiteY4" fmla="*/ 20987 h 35201"/>
                          <a:gd name="connsiteX5" fmla="*/ 15055 w 75964"/>
                          <a:gd name="connsiteY5" fmla="*/ 35202 h 35201"/>
                          <a:gd name="connsiteX6" fmla="*/ 51528 w 75964"/>
                          <a:gd name="connsiteY6" fmla="*/ 25766 h 3520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5964" h="35201">
                            <a:moveTo>
                              <a:pt x="51588" y="25766"/>
                            </a:moveTo>
                            <a:lnTo>
                              <a:pt x="75964" y="18628"/>
                            </a:lnTo>
                            <a:cubicBezTo>
                              <a:pt x="72214" y="2660"/>
                              <a:pt x="53947" y="-727"/>
                              <a:pt x="41427" y="120"/>
                            </a:cubicBezTo>
                            <a:cubicBezTo>
                              <a:pt x="28967" y="906"/>
                              <a:pt x="12151" y="5080"/>
                              <a:pt x="12151" y="5080"/>
                            </a:cubicBezTo>
                            <a:cubicBezTo>
                              <a:pt x="3925" y="8285"/>
                              <a:pt x="-551" y="12761"/>
                              <a:pt x="54" y="20987"/>
                            </a:cubicBezTo>
                            <a:cubicBezTo>
                              <a:pt x="538" y="27520"/>
                              <a:pt x="5559" y="34294"/>
                              <a:pt x="15055" y="35202"/>
                            </a:cubicBezTo>
                            <a:lnTo>
                              <a:pt x="51528" y="25766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</p:grpSp>
            </p:grpSp>
            <p:grpSp>
              <p:nvGrpSpPr>
                <p:cNvPr id="311" name="Grafik 297">
                  <a:extLst>
                    <a:ext uri="{FF2B5EF4-FFF2-40B4-BE49-F238E27FC236}">
                      <a16:creationId xmlns:a16="http://schemas.microsoft.com/office/drawing/2014/main" id="{F42848E1-2A27-B35C-86D9-E0D12291CF92}"/>
                    </a:ext>
                  </a:extLst>
                </p:cNvPr>
                <p:cNvGrpSpPr/>
                <p:nvPr/>
              </p:nvGrpSpPr>
              <p:grpSpPr>
                <a:xfrm>
                  <a:off x="541712" y="2906158"/>
                  <a:ext cx="587500" cy="440882"/>
                  <a:chOff x="541712" y="2906158"/>
                  <a:chExt cx="587500" cy="440882"/>
                </a:xfrm>
              </p:grpSpPr>
              <p:sp>
                <p:nvSpPr>
                  <p:cNvPr id="316" name="Freihandform: Form 315">
                    <a:extLst>
                      <a:ext uri="{FF2B5EF4-FFF2-40B4-BE49-F238E27FC236}">
                        <a16:creationId xmlns:a16="http://schemas.microsoft.com/office/drawing/2014/main" id="{8963FA50-23E6-8072-BB47-2A77CC3D826A}"/>
                      </a:ext>
                    </a:extLst>
                  </p:cNvPr>
                  <p:cNvSpPr/>
                  <p:nvPr/>
                </p:nvSpPr>
                <p:spPr>
                  <a:xfrm>
                    <a:off x="598145" y="2926300"/>
                    <a:ext cx="531066" cy="420740"/>
                  </a:xfrm>
                  <a:custGeom>
                    <a:avLst/>
                    <a:gdLst>
                      <a:gd name="connsiteX0" fmla="*/ 480319 w 531066"/>
                      <a:gd name="connsiteY0" fmla="*/ 420740 h 420740"/>
                      <a:gd name="connsiteX1" fmla="*/ 531067 w 531066"/>
                      <a:gd name="connsiteY1" fmla="*/ 315676 h 420740"/>
                      <a:gd name="connsiteX2" fmla="*/ 112927 w 531066"/>
                      <a:gd name="connsiteY2" fmla="*/ 0 h 420740"/>
                      <a:gd name="connsiteX3" fmla="*/ 0 w 531066"/>
                      <a:gd name="connsiteY3" fmla="*/ 181035 h 420740"/>
                      <a:gd name="connsiteX4" fmla="*/ 480319 w 531066"/>
                      <a:gd name="connsiteY4" fmla="*/ 420740 h 4207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31066" h="420740">
                        <a:moveTo>
                          <a:pt x="480319" y="420740"/>
                        </a:moveTo>
                        <a:lnTo>
                          <a:pt x="531067" y="315676"/>
                        </a:lnTo>
                        <a:lnTo>
                          <a:pt x="112927" y="0"/>
                        </a:lnTo>
                        <a:lnTo>
                          <a:pt x="0" y="181035"/>
                        </a:lnTo>
                        <a:lnTo>
                          <a:pt x="480319" y="420740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17" name="Freihandform: Form 316">
                    <a:extLst>
                      <a:ext uri="{FF2B5EF4-FFF2-40B4-BE49-F238E27FC236}">
                        <a16:creationId xmlns:a16="http://schemas.microsoft.com/office/drawing/2014/main" id="{7FE88317-5323-4F76-8823-BBBBBB7735DD}"/>
                      </a:ext>
                    </a:extLst>
                  </p:cNvPr>
                  <p:cNvSpPr/>
                  <p:nvPr/>
                </p:nvSpPr>
                <p:spPr>
                  <a:xfrm>
                    <a:off x="541712" y="2906158"/>
                    <a:ext cx="213878" cy="213878"/>
                  </a:xfrm>
                  <a:custGeom>
                    <a:avLst/>
                    <a:gdLst>
                      <a:gd name="connsiteX0" fmla="*/ 213878 w 213878"/>
                      <a:gd name="connsiteY0" fmla="*/ 106939 h 213878"/>
                      <a:gd name="connsiteX1" fmla="*/ 106939 w 213878"/>
                      <a:gd name="connsiteY1" fmla="*/ 213878 h 213878"/>
                      <a:gd name="connsiteX2" fmla="*/ 0 w 213878"/>
                      <a:gd name="connsiteY2" fmla="*/ 106939 h 213878"/>
                      <a:gd name="connsiteX3" fmla="*/ 106939 w 213878"/>
                      <a:gd name="connsiteY3" fmla="*/ 0 h 213878"/>
                      <a:gd name="connsiteX4" fmla="*/ 213878 w 213878"/>
                      <a:gd name="connsiteY4" fmla="*/ 106939 h 21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3878" h="213878">
                        <a:moveTo>
                          <a:pt x="213878" y="106939"/>
                        </a:moveTo>
                        <a:cubicBezTo>
                          <a:pt x="213878" y="166000"/>
                          <a:pt x="166000" y="213878"/>
                          <a:pt x="106939" y="213878"/>
                        </a:cubicBezTo>
                        <a:cubicBezTo>
                          <a:pt x="47878" y="213878"/>
                          <a:pt x="0" y="166000"/>
                          <a:pt x="0" y="106939"/>
                        </a:cubicBezTo>
                        <a:cubicBezTo>
                          <a:pt x="0" y="47878"/>
                          <a:pt x="47878" y="0"/>
                          <a:pt x="106939" y="0"/>
                        </a:cubicBezTo>
                        <a:cubicBezTo>
                          <a:pt x="166000" y="0"/>
                          <a:pt x="213878" y="47878"/>
                          <a:pt x="213878" y="106939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18" name="Freihandform: Form 317">
                    <a:extLst>
                      <a:ext uri="{FF2B5EF4-FFF2-40B4-BE49-F238E27FC236}">
                        <a16:creationId xmlns:a16="http://schemas.microsoft.com/office/drawing/2014/main" id="{59F7EA46-CE4F-DF45-3B5B-95F82441DD7D}"/>
                      </a:ext>
                    </a:extLst>
                  </p:cNvPr>
                  <p:cNvSpPr/>
                  <p:nvPr/>
                </p:nvSpPr>
                <p:spPr>
                  <a:xfrm>
                    <a:off x="1001586" y="3186390"/>
                    <a:ext cx="127625" cy="160650"/>
                  </a:xfrm>
                  <a:custGeom>
                    <a:avLst/>
                    <a:gdLst>
                      <a:gd name="connsiteX0" fmla="*/ 53953 w 127625"/>
                      <a:gd name="connsiteY0" fmla="*/ 0 h 160650"/>
                      <a:gd name="connsiteX1" fmla="*/ 0 w 127625"/>
                      <a:gd name="connsiteY1" fmla="*/ 122121 h 160650"/>
                      <a:gd name="connsiteX2" fmla="*/ 76878 w 127625"/>
                      <a:gd name="connsiteY2" fmla="*/ 160651 h 160650"/>
                      <a:gd name="connsiteX3" fmla="*/ 127625 w 127625"/>
                      <a:gd name="connsiteY3" fmla="*/ 55587 h 160650"/>
                      <a:gd name="connsiteX4" fmla="*/ 53953 w 127625"/>
                      <a:gd name="connsiteY4" fmla="*/ 60 h 1606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7625" h="160650">
                        <a:moveTo>
                          <a:pt x="53953" y="0"/>
                        </a:moveTo>
                        <a:cubicBezTo>
                          <a:pt x="35505" y="41493"/>
                          <a:pt x="15182" y="87523"/>
                          <a:pt x="0" y="122121"/>
                        </a:cubicBezTo>
                        <a:lnTo>
                          <a:pt x="76878" y="160651"/>
                        </a:lnTo>
                        <a:cubicBezTo>
                          <a:pt x="102403" y="136094"/>
                          <a:pt x="118250" y="99802"/>
                          <a:pt x="127625" y="55587"/>
                        </a:cubicBezTo>
                        <a:lnTo>
                          <a:pt x="53953" y="60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12" name="Grafik 297">
                  <a:extLst>
                    <a:ext uri="{FF2B5EF4-FFF2-40B4-BE49-F238E27FC236}">
                      <a16:creationId xmlns:a16="http://schemas.microsoft.com/office/drawing/2014/main" id="{323B837E-9FD1-FEA7-3046-C40EF22E42AC}"/>
                    </a:ext>
                  </a:extLst>
                </p:cNvPr>
                <p:cNvGrpSpPr/>
                <p:nvPr/>
              </p:nvGrpSpPr>
              <p:grpSpPr>
                <a:xfrm>
                  <a:off x="469794" y="2286298"/>
                  <a:ext cx="311744" cy="732303"/>
                  <a:chOff x="469794" y="2286298"/>
                  <a:chExt cx="311744" cy="732303"/>
                </a:xfrm>
              </p:grpSpPr>
              <p:sp>
                <p:nvSpPr>
                  <p:cNvPr id="313" name="Freihandform: Form 312">
                    <a:extLst>
                      <a:ext uri="{FF2B5EF4-FFF2-40B4-BE49-F238E27FC236}">
                        <a16:creationId xmlns:a16="http://schemas.microsoft.com/office/drawing/2014/main" id="{7A077E9A-8B59-F582-1F5C-095A27137E58}"/>
                      </a:ext>
                    </a:extLst>
                  </p:cNvPr>
                  <p:cNvSpPr/>
                  <p:nvPr/>
                </p:nvSpPr>
                <p:spPr>
                  <a:xfrm>
                    <a:off x="469794" y="2286298"/>
                    <a:ext cx="308236" cy="308236"/>
                  </a:xfrm>
                  <a:custGeom>
                    <a:avLst/>
                    <a:gdLst>
                      <a:gd name="connsiteX0" fmla="*/ 308236 w 308236"/>
                      <a:gd name="connsiteY0" fmla="*/ 154118 h 308236"/>
                      <a:gd name="connsiteX1" fmla="*/ 154118 w 308236"/>
                      <a:gd name="connsiteY1" fmla="*/ 308236 h 308236"/>
                      <a:gd name="connsiteX2" fmla="*/ 0 w 308236"/>
                      <a:gd name="connsiteY2" fmla="*/ 154118 h 308236"/>
                      <a:gd name="connsiteX3" fmla="*/ 154118 w 308236"/>
                      <a:gd name="connsiteY3" fmla="*/ 0 h 308236"/>
                      <a:gd name="connsiteX4" fmla="*/ 308236 w 308236"/>
                      <a:gd name="connsiteY4" fmla="*/ 154118 h 3082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8236" h="308236">
                        <a:moveTo>
                          <a:pt x="308236" y="154118"/>
                        </a:moveTo>
                        <a:cubicBezTo>
                          <a:pt x="308236" y="239235"/>
                          <a:pt x="239235" y="308236"/>
                          <a:pt x="154118" y="308236"/>
                        </a:cubicBezTo>
                        <a:cubicBezTo>
                          <a:pt x="69001" y="308236"/>
                          <a:pt x="0" y="239235"/>
                          <a:pt x="0" y="154118"/>
                        </a:cubicBezTo>
                        <a:cubicBezTo>
                          <a:pt x="0" y="69001"/>
                          <a:pt x="69001" y="0"/>
                          <a:pt x="154118" y="0"/>
                        </a:cubicBezTo>
                        <a:cubicBezTo>
                          <a:pt x="239235" y="0"/>
                          <a:pt x="308236" y="69001"/>
                          <a:pt x="308236" y="154118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14" name="Freihandform: Form 313">
                    <a:extLst>
                      <a:ext uri="{FF2B5EF4-FFF2-40B4-BE49-F238E27FC236}">
                        <a16:creationId xmlns:a16="http://schemas.microsoft.com/office/drawing/2014/main" id="{358F208F-B013-A01F-24CF-2F4D54CB3FE5}"/>
                      </a:ext>
                    </a:extLst>
                  </p:cNvPr>
                  <p:cNvSpPr/>
                  <p:nvPr/>
                </p:nvSpPr>
                <p:spPr>
                  <a:xfrm>
                    <a:off x="519030" y="2805268"/>
                    <a:ext cx="245331" cy="213333"/>
                  </a:xfrm>
                  <a:custGeom>
                    <a:avLst/>
                    <a:gdLst>
                      <a:gd name="connsiteX0" fmla="*/ 22864 w 245331"/>
                      <a:gd name="connsiteY0" fmla="*/ 213334 h 213333"/>
                      <a:gd name="connsiteX1" fmla="*/ 236319 w 245331"/>
                      <a:gd name="connsiteY1" fmla="*/ 203354 h 213333"/>
                      <a:gd name="connsiteX2" fmla="*/ 245331 w 245331"/>
                      <a:gd name="connsiteY2" fmla="*/ 0 h 213333"/>
                      <a:gd name="connsiteX3" fmla="*/ 0 w 245331"/>
                      <a:gd name="connsiteY3" fmla="*/ 5807 h 213333"/>
                      <a:gd name="connsiteX4" fmla="*/ 22864 w 245331"/>
                      <a:gd name="connsiteY4" fmla="*/ 213334 h 2133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5331" h="213333">
                        <a:moveTo>
                          <a:pt x="22864" y="213334"/>
                        </a:moveTo>
                        <a:lnTo>
                          <a:pt x="236319" y="203354"/>
                        </a:lnTo>
                        <a:lnTo>
                          <a:pt x="245331" y="0"/>
                        </a:lnTo>
                        <a:lnTo>
                          <a:pt x="0" y="5807"/>
                        </a:lnTo>
                        <a:lnTo>
                          <a:pt x="22864" y="213334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15" name="Freihandform: Form 314">
                    <a:extLst>
                      <a:ext uri="{FF2B5EF4-FFF2-40B4-BE49-F238E27FC236}">
                        <a16:creationId xmlns:a16="http://schemas.microsoft.com/office/drawing/2014/main" id="{56FA87D7-064D-1ADC-52D7-B1B91B6565AB}"/>
                      </a:ext>
                    </a:extLst>
                  </p:cNvPr>
                  <p:cNvSpPr/>
                  <p:nvPr/>
                </p:nvSpPr>
                <p:spPr>
                  <a:xfrm>
                    <a:off x="470096" y="2439751"/>
                    <a:ext cx="311442" cy="552236"/>
                  </a:xfrm>
                  <a:custGeom>
                    <a:avLst/>
                    <a:gdLst>
                      <a:gd name="connsiteX0" fmla="*/ 0 w 311442"/>
                      <a:gd name="connsiteY0" fmla="*/ 10041 h 552236"/>
                      <a:gd name="connsiteX1" fmla="*/ 46211 w 311442"/>
                      <a:gd name="connsiteY1" fmla="*/ 552237 h 552236"/>
                      <a:gd name="connsiteX2" fmla="*/ 311442 w 311442"/>
                      <a:gd name="connsiteY2" fmla="*/ 512195 h 552236"/>
                      <a:gd name="connsiteX3" fmla="*/ 307995 w 311442"/>
                      <a:gd name="connsiteY3" fmla="*/ 0 h 552236"/>
                      <a:gd name="connsiteX4" fmla="*/ 0 w 311442"/>
                      <a:gd name="connsiteY4" fmla="*/ 10041 h 5522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1442" h="552236">
                        <a:moveTo>
                          <a:pt x="0" y="10041"/>
                        </a:moveTo>
                        <a:cubicBezTo>
                          <a:pt x="4899" y="166881"/>
                          <a:pt x="46211" y="552237"/>
                          <a:pt x="46211" y="552237"/>
                        </a:cubicBezTo>
                        <a:lnTo>
                          <a:pt x="311442" y="512195"/>
                        </a:lnTo>
                        <a:lnTo>
                          <a:pt x="307995" y="0"/>
                        </a:lnTo>
                        <a:cubicBezTo>
                          <a:pt x="195551" y="3024"/>
                          <a:pt x="153876" y="4718"/>
                          <a:pt x="0" y="10041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</p:grp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DC7524BC-AF4D-AAC5-E41A-865FE449CF58}"/>
                </a:ext>
              </a:extLst>
            </p:cNvPr>
            <p:cNvSpPr>
              <a:spLocks/>
            </p:cNvSpPr>
            <p:nvPr/>
          </p:nvSpPr>
          <p:spPr>
            <a:xfrm>
              <a:off x="9210675" y="2912475"/>
              <a:ext cx="53975" cy="906229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l"/>
              <a:endParaRPr lang="en-US" sz="1000" b="1">
                <a:solidFill>
                  <a:schemeClr val="tx1"/>
                </a:solidFill>
              </a:endParaRPr>
            </a:p>
          </p:txBody>
        </p:sp>
      </p:grpSp>
      <p:cxnSp>
        <p:nvCxnSpPr>
          <p:cNvPr id="500" name="Gerader Verbinder 499">
            <a:extLst>
              <a:ext uri="{FF2B5EF4-FFF2-40B4-BE49-F238E27FC236}">
                <a16:creationId xmlns:a16="http://schemas.microsoft.com/office/drawing/2014/main" id="{8D94FAE1-D8F0-DCA7-992B-97574EC8EAC2}"/>
              </a:ext>
            </a:extLst>
          </p:cNvPr>
          <p:cNvCxnSpPr>
            <a:cxnSpLocks/>
          </p:cNvCxnSpPr>
          <p:nvPr/>
        </p:nvCxnSpPr>
        <p:spPr>
          <a:xfrm>
            <a:off x="3176" y="6194425"/>
            <a:ext cx="7388224" cy="0"/>
          </a:xfrm>
          <a:prstGeom prst="line">
            <a:avLst/>
          </a:prstGeom>
          <a:ln w="12700" cap="rnd">
            <a:gradFill flip="none" rotWithShape="1">
              <a:gsLst>
                <a:gs pos="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0" scaled="1"/>
              <a:tileRect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1" name="Gruppieren 500">
            <a:extLst>
              <a:ext uri="{FF2B5EF4-FFF2-40B4-BE49-F238E27FC236}">
                <a16:creationId xmlns:a16="http://schemas.microsoft.com/office/drawing/2014/main" id="{CF0CBEDE-1177-E007-693F-CBCBB737260E}"/>
              </a:ext>
            </a:extLst>
          </p:cNvPr>
          <p:cNvGrpSpPr>
            <a:grpSpLocks/>
          </p:cNvGrpSpPr>
          <p:nvPr/>
        </p:nvGrpSpPr>
        <p:grpSpPr>
          <a:xfrm>
            <a:off x="9210675" y="3998704"/>
            <a:ext cx="2201842" cy="906229"/>
            <a:chOff x="9210675" y="3998704"/>
            <a:chExt cx="2201842" cy="906229"/>
          </a:xfrm>
        </p:grpSpPr>
        <p:sp>
          <p:nvSpPr>
            <p:cNvPr id="502" name="Rechteck 501">
              <a:extLst>
                <a:ext uri="{FF2B5EF4-FFF2-40B4-BE49-F238E27FC236}">
                  <a16:creationId xmlns:a16="http://schemas.microsoft.com/office/drawing/2014/main" id="{1E4093CE-C402-BF86-1294-2F52A7B0ACCE}"/>
                </a:ext>
              </a:extLst>
            </p:cNvPr>
            <p:cNvSpPr>
              <a:spLocks/>
            </p:cNvSpPr>
            <p:nvPr/>
          </p:nvSpPr>
          <p:spPr>
            <a:xfrm>
              <a:off x="9210675" y="3998704"/>
              <a:ext cx="2201842" cy="90622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tlCol="0" anchor="t"/>
            <a:lstStyle/>
            <a:p>
              <a:pPr algn="l"/>
              <a:r>
                <a:rPr lang="en-US" sz="1200" b="1" err="1">
                  <a:solidFill>
                    <a:schemeClr val="tx1"/>
                  </a:solidFill>
                </a:rPr>
                <a:t>Patientinnen</a:t>
              </a:r>
              <a:r>
                <a:rPr lang="en-US" sz="1200" b="1">
                  <a:solidFill>
                    <a:schemeClr val="tx1"/>
                  </a:solidFill>
                </a:rPr>
                <a:t> &amp; </a:t>
              </a:r>
              <a:br>
                <a:rPr lang="en-US" sz="1200" b="1">
                  <a:solidFill>
                    <a:schemeClr val="tx1"/>
                  </a:solidFill>
                </a:rPr>
              </a:br>
              <a:r>
                <a:rPr lang="en-US" sz="1200" b="1" err="1">
                  <a:solidFill>
                    <a:schemeClr val="tx1"/>
                  </a:solidFill>
                </a:rPr>
                <a:t>Patienten</a:t>
              </a:r>
              <a:endParaRPr lang="en-US" sz="1200" b="1">
                <a:solidFill>
                  <a:schemeClr val="tx1"/>
                </a:solidFill>
              </a:endParaRPr>
            </a:p>
          </p:txBody>
        </p:sp>
        <p:sp>
          <p:nvSpPr>
            <p:cNvPr id="503" name="Rechteck 502">
              <a:extLst>
                <a:ext uri="{FF2B5EF4-FFF2-40B4-BE49-F238E27FC236}">
                  <a16:creationId xmlns:a16="http://schemas.microsoft.com/office/drawing/2014/main" id="{B69C7FD8-8D04-3CB6-1CE1-03794A940B85}"/>
                </a:ext>
              </a:extLst>
            </p:cNvPr>
            <p:cNvSpPr>
              <a:spLocks/>
            </p:cNvSpPr>
            <p:nvPr/>
          </p:nvSpPr>
          <p:spPr>
            <a:xfrm>
              <a:off x="9210675" y="3998704"/>
              <a:ext cx="53975" cy="906229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l"/>
              <a:endParaRPr lang="en-US" sz="1000" b="1">
                <a:solidFill>
                  <a:schemeClr val="tx1"/>
                </a:solidFill>
              </a:endParaRPr>
            </a:p>
          </p:txBody>
        </p:sp>
        <p:grpSp>
          <p:nvGrpSpPr>
            <p:cNvPr id="504" name="Gruppieren 503">
              <a:extLst>
                <a:ext uri="{FF2B5EF4-FFF2-40B4-BE49-F238E27FC236}">
                  <a16:creationId xmlns:a16="http://schemas.microsoft.com/office/drawing/2014/main" id="{356E2BE9-FE87-5A18-D104-1C3A427FCB73}"/>
                </a:ext>
              </a:extLst>
            </p:cNvPr>
            <p:cNvGrpSpPr/>
            <p:nvPr/>
          </p:nvGrpSpPr>
          <p:grpSpPr>
            <a:xfrm>
              <a:off x="10614025" y="4114800"/>
              <a:ext cx="694387" cy="666750"/>
              <a:chOff x="10614025" y="4114800"/>
              <a:chExt cx="694387" cy="666750"/>
            </a:xfrm>
          </p:grpSpPr>
          <p:pic>
            <p:nvPicPr>
              <p:cNvPr id="505" name="Grafik 504">
                <a:extLst>
                  <a:ext uri="{FF2B5EF4-FFF2-40B4-BE49-F238E27FC236}">
                    <a16:creationId xmlns:a16="http://schemas.microsoft.com/office/drawing/2014/main" id="{F89115B5-4E8A-C838-2ADD-65BDD47843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10829366" y="4114800"/>
                <a:ext cx="229159" cy="666750"/>
              </a:xfrm>
              <a:prstGeom prst="rect">
                <a:avLst/>
              </a:prstGeom>
            </p:spPr>
          </p:pic>
          <p:pic>
            <p:nvPicPr>
              <p:cNvPr id="506" name="Grafik 505">
                <a:extLst>
                  <a:ext uri="{FF2B5EF4-FFF2-40B4-BE49-F238E27FC236}">
                    <a16:creationId xmlns:a16="http://schemas.microsoft.com/office/drawing/2014/main" id="{2E7AE062-73A9-980E-3E45-986B05ADC8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 flipH="1">
                <a:off x="10954885" y="4257593"/>
                <a:ext cx="353527" cy="523957"/>
              </a:xfrm>
              <a:prstGeom prst="rect">
                <a:avLst/>
              </a:prstGeom>
            </p:spPr>
          </p:pic>
          <p:pic>
            <p:nvPicPr>
              <p:cNvPr id="507" name="Grafik 506">
                <a:extLst>
                  <a:ext uri="{FF2B5EF4-FFF2-40B4-BE49-F238E27FC236}">
                    <a16:creationId xmlns:a16="http://schemas.microsoft.com/office/drawing/2014/main" id="{8E2628DD-326A-2BF3-CE8E-6137E7B917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10614025" y="4185045"/>
                <a:ext cx="208431" cy="596505"/>
              </a:xfrm>
              <a:prstGeom prst="rect">
                <a:avLst/>
              </a:prstGeom>
            </p:spPr>
          </p:pic>
        </p:grpSp>
      </p:grpSp>
      <p:sp>
        <p:nvSpPr>
          <p:cNvPr id="508" name="Rechteck 507">
            <a:extLst>
              <a:ext uri="{FF2B5EF4-FFF2-40B4-BE49-F238E27FC236}">
                <a16:creationId xmlns:a16="http://schemas.microsoft.com/office/drawing/2014/main" id="{BBB6CEC7-ADF3-F86B-4D46-B67FB8F60A3B}"/>
              </a:ext>
            </a:extLst>
          </p:cNvPr>
          <p:cNvSpPr>
            <a:spLocks/>
          </p:cNvSpPr>
          <p:nvPr/>
        </p:nvSpPr>
        <p:spPr>
          <a:xfrm>
            <a:off x="9210675" y="1826246"/>
            <a:ext cx="2201842" cy="906229"/>
          </a:xfrm>
          <a:prstGeom prst="rect">
            <a:avLst/>
          </a:prstGeom>
          <a:solidFill>
            <a:schemeClr val="bg1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8139CD8-AC40-77D1-6E52-E31786C39F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erminmanagement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9EF75A0-B7C4-89F3-E3CC-A085D892ABD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5A13111-3C5D-36AA-0A3F-4EF0B808C05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pt-BR"/>
              <a:t>A91GER-H-001672-E4</a:t>
            </a:r>
            <a:endParaRPr lang="de-DE"/>
          </a:p>
        </p:txBody>
      </p:sp>
      <p:sp>
        <p:nvSpPr>
          <p:cNvPr id="516" name="Rechteck 515">
            <a:extLst>
              <a:ext uri="{FF2B5EF4-FFF2-40B4-BE49-F238E27FC236}">
                <a16:creationId xmlns:a16="http://schemas.microsoft.com/office/drawing/2014/main" id="{E7D847F7-F1D4-2E7A-C3AC-006CF3292B76}"/>
              </a:ext>
            </a:extLst>
          </p:cNvPr>
          <p:cNvSpPr>
            <a:spLocks/>
          </p:cNvSpPr>
          <p:nvPr/>
        </p:nvSpPr>
        <p:spPr>
          <a:xfrm>
            <a:off x="9210675" y="2912475"/>
            <a:ext cx="2201842" cy="906229"/>
          </a:xfrm>
          <a:prstGeom prst="rect">
            <a:avLst/>
          </a:prstGeom>
          <a:solidFill>
            <a:schemeClr val="bg1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17" name="Grafik 516">
            <a:extLst>
              <a:ext uri="{FF2B5EF4-FFF2-40B4-BE49-F238E27FC236}">
                <a16:creationId xmlns:a16="http://schemas.microsoft.com/office/drawing/2014/main" id="{BB04D2D4-A810-F4BB-D168-076DDF2C4A6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01613" y="1667167"/>
            <a:ext cx="7308851" cy="2979372"/>
          </a:xfrm>
          <a:prstGeom prst="rect">
            <a:avLst/>
          </a:prstGeom>
        </p:spPr>
      </p:pic>
      <p:sp>
        <p:nvSpPr>
          <p:cNvPr id="3" name="TextBox 5">
            <a:extLst>
              <a:ext uri="{FF2B5EF4-FFF2-40B4-BE49-F238E27FC236}">
                <a16:creationId xmlns:a16="http://schemas.microsoft.com/office/drawing/2014/main" id="{FBF40639-A6B3-BD81-51D5-738DF88D23E6}"/>
              </a:ext>
            </a:extLst>
          </p:cNvPr>
          <p:cNvSpPr txBox="1"/>
          <p:nvPr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15</a:t>
            </a:fld>
            <a:endParaRPr lang="de-DE" sz="1000" b="1" i="0" u="none" kern="1200" spc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5" name="Restricted">
            <a:extLst>
              <a:ext uri="{FF2B5EF4-FFF2-40B4-BE49-F238E27FC236}">
                <a16:creationId xmlns:a16="http://schemas.microsoft.com/office/drawing/2014/main" id="{A326D31B-FAC6-90E6-8143-8AA1B5C22393}"/>
              </a:ext>
            </a:extLst>
          </p:cNvPr>
          <p:cNvSpPr txBox="1"/>
          <p:nvPr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de-DE" sz="1000">
                <a:solidFill>
                  <a:schemeClr val="tx1"/>
                </a:solidFill>
              </a:rPr>
              <a:t>Frei verwendbar © Siemens Healthineers, 2023</a:t>
            </a:r>
          </a:p>
        </p:txBody>
      </p:sp>
    </p:spTree>
    <p:extLst>
      <p:ext uri="{BB962C8B-B14F-4D97-AF65-F5344CB8AC3E}">
        <p14:creationId xmlns:p14="http://schemas.microsoft.com/office/powerpoint/2010/main" val="9088383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DE2BF8E-9F0A-36F9-646C-51030E7EBF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4182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DE2BF8E-9F0A-36F9-646C-51030E7EBF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">
            <a:extLst>
              <a:ext uri="{FF2B5EF4-FFF2-40B4-BE49-F238E27FC236}">
                <a16:creationId xmlns:a16="http://schemas.microsoft.com/office/drawing/2014/main" id="{3012D3A5-99C9-0384-D0A4-3E9EE094BFD4}"/>
              </a:ext>
            </a:extLst>
          </p:cNvPr>
          <p:cNvPicPr>
            <a:picLocks/>
          </p:cNvPicPr>
          <p:nvPr/>
        </p:nvPicPr>
        <p:blipFill rotWithShape="1">
          <a:blip r:embed="rId5"/>
          <a:srcRect t="537" b="11745"/>
          <a:stretch/>
        </p:blipFill>
        <p:spPr>
          <a:xfrm>
            <a:off x="539999" y="1622425"/>
            <a:ext cx="4044081" cy="4572000"/>
          </a:xfrm>
          <a:prstGeom prst="rect">
            <a:avLst/>
          </a:prstGeom>
          <a:noFill/>
        </p:spPr>
      </p:pic>
      <p:pic>
        <p:nvPicPr>
          <p:cNvPr id="11" name="Picture 8">
            <a:extLst>
              <a:ext uri="{FF2B5EF4-FFF2-40B4-BE49-F238E27FC236}">
                <a16:creationId xmlns:a16="http://schemas.microsoft.com/office/drawing/2014/main" id="{7C10E8FF-3B19-2406-2D60-F14E78753051}"/>
              </a:ext>
            </a:extLst>
          </p:cNvPr>
          <p:cNvPicPr>
            <a:picLocks/>
          </p:cNvPicPr>
          <p:nvPr/>
        </p:nvPicPr>
        <p:blipFill rotWithShape="1">
          <a:blip r:embed="rId6"/>
          <a:srcRect l="923" r="15603"/>
          <a:stretch/>
        </p:blipFill>
        <p:spPr>
          <a:xfrm>
            <a:off x="4764082" y="1622425"/>
            <a:ext cx="4044081" cy="4572000"/>
          </a:xfrm>
          <a:prstGeom prst="rect">
            <a:avLst/>
          </a:prstGeom>
          <a:noFill/>
        </p:spPr>
      </p:pic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B4DAB4CF-D155-5819-7FCC-33164BEB32C4}"/>
              </a:ext>
            </a:extLst>
          </p:cNvPr>
          <p:cNvGrpSpPr>
            <a:grpSpLocks/>
          </p:cNvGrpSpPr>
          <p:nvPr/>
        </p:nvGrpSpPr>
        <p:grpSpPr>
          <a:xfrm>
            <a:off x="8994773" y="1619250"/>
            <a:ext cx="3175003" cy="5238751"/>
            <a:chOff x="8994773" y="1619250"/>
            <a:chExt cx="3175003" cy="5238751"/>
          </a:xfrm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CE036405-9DEE-4DD3-39F2-0AC3ABE64240}"/>
                </a:ext>
              </a:extLst>
            </p:cNvPr>
            <p:cNvSpPr/>
            <p:nvPr/>
          </p:nvSpPr>
          <p:spPr>
            <a:xfrm>
              <a:off x="8994773" y="1619250"/>
              <a:ext cx="3175003" cy="5238751"/>
            </a:xfrm>
            <a:custGeom>
              <a:avLst/>
              <a:gdLst>
                <a:gd name="connsiteX0" fmla="*/ 2641103 w 3175003"/>
                <a:gd name="connsiteY0" fmla="*/ 0 h 5238751"/>
                <a:gd name="connsiteX1" fmla="*/ 3175003 w 3175003"/>
                <a:gd name="connsiteY1" fmla="*/ 1401789 h 5238751"/>
                <a:gd name="connsiteX2" fmla="*/ 3175003 w 3175003"/>
                <a:gd name="connsiteY2" fmla="*/ 5238751 h 5238751"/>
                <a:gd name="connsiteX3" fmla="*/ 252737 w 3175003"/>
                <a:gd name="connsiteY3" fmla="*/ 5238751 h 5238751"/>
                <a:gd name="connsiteX4" fmla="*/ 0 w 3175003"/>
                <a:gd name="connsiteY4" fmla="*/ 4575174 h 5238751"/>
                <a:gd name="connsiteX5" fmla="*/ 2641103 w 3175003"/>
                <a:gd name="connsiteY5" fmla="*/ 4575174 h 5238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5003" h="5238751">
                  <a:moveTo>
                    <a:pt x="2641103" y="0"/>
                  </a:moveTo>
                  <a:lnTo>
                    <a:pt x="3175003" y="1401789"/>
                  </a:lnTo>
                  <a:lnTo>
                    <a:pt x="3175003" y="5238751"/>
                  </a:lnTo>
                  <a:lnTo>
                    <a:pt x="252737" y="5238751"/>
                  </a:lnTo>
                  <a:lnTo>
                    <a:pt x="0" y="4575174"/>
                  </a:lnTo>
                  <a:lnTo>
                    <a:pt x="2641103" y="4575174"/>
                  </a:lnTo>
                  <a:close/>
                </a:path>
              </a:pathLst>
            </a:custGeom>
            <a:pattFill prst="wdDnDiag">
              <a:fgClr>
                <a:srgbClr val="ECECEC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C1BE696C-B604-7C12-5038-B4A7237903B6}"/>
                </a:ext>
              </a:extLst>
            </p:cNvPr>
            <p:cNvSpPr txBox="1">
              <a:spLocks/>
            </p:cNvSpPr>
            <p:nvPr/>
          </p:nvSpPr>
          <p:spPr>
            <a:xfrm>
              <a:off x="8994774" y="1619250"/>
              <a:ext cx="2633663" cy="4575175"/>
            </a:xfrm>
            <a:prstGeom prst="rect">
              <a:avLst/>
            </a:prstGeom>
            <a:solidFill>
              <a:srgbClr val="ECECEC"/>
            </a:solidFill>
            <a:effectLst>
              <a:outerShdw blurRad="50800" dist="38100" dir="2700000" algn="tl" rotWithShape="0">
                <a:prstClr val="black">
                  <a:alpha val="8000"/>
                </a:prstClr>
              </a:outerShdw>
            </a:effectLst>
          </p:spPr>
          <p:txBody>
            <a:bodyPr wrap="square" lIns="180000" tIns="144000" rIns="180000" bIns="0" rtlCol="0" anchor="t">
              <a:noAutofit/>
            </a:bodyPr>
            <a:lstStyle/>
            <a:p>
              <a:pPr>
                <a:spcAft>
                  <a:spcPts val="300"/>
                </a:spcAft>
              </a:pPr>
              <a:endParaRPr lang="de-DE" sz="4400"/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3E51D652-32A0-6192-C70D-0009DAE8466F}"/>
              </a:ext>
            </a:extLst>
          </p:cNvPr>
          <p:cNvGrpSpPr>
            <a:grpSpLocks/>
          </p:cNvGrpSpPr>
          <p:nvPr/>
        </p:nvGrpSpPr>
        <p:grpSpPr>
          <a:xfrm>
            <a:off x="9210675" y="1826246"/>
            <a:ext cx="2201842" cy="906229"/>
            <a:chOff x="9210675" y="1826246"/>
            <a:chExt cx="2201842" cy="906229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CC89BF69-3F15-CE31-64EA-3555446D5753}"/>
                </a:ext>
              </a:extLst>
            </p:cNvPr>
            <p:cNvSpPr>
              <a:spLocks/>
            </p:cNvSpPr>
            <p:nvPr/>
          </p:nvSpPr>
          <p:spPr>
            <a:xfrm>
              <a:off x="9210675" y="1826246"/>
              <a:ext cx="2201842" cy="90622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tlCol="0" anchor="t"/>
            <a:lstStyle/>
            <a:p>
              <a:pPr algn="l"/>
              <a:r>
                <a:rPr lang="en-US" sz="1200" b="1" err="1">
                  <a:solidFill>
                    <a:schemeClr val="tx1"/>
                  </a:solidFill>
                </a:rPr>
                <a:t>Medizinische</a:t>
              </a:r>
              <a:r>
                <a:rPr lang="en-US" sz="1200" b="1">
                  <a:solidFill>
                    <a:schemeClr val="tx1"/>
                  </a:solidFill>
                </a:rPr>
                <a:t> </a:t>
              </a:r>
              <a:br>
                <a:rPr lang="en-US" sz="1200" b="1">
                  <a:solidFill>
                    <a:schemeClr val="tx1"/>
                  </a:solidFill>
                </a:rPr>
              </a:br>
              <a:r>
                <a:rPr lang="en-US" sz="1200" b="1">
                  <a:solidFill>
                    <a:schemeClr val="tx1"/>
                  </a:solidFill>
                </a:rPr>
                <a:t>Partner</a:t>
              </a:r>
            </a:p>
          </p:txBody>
        </p:sp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A329EC6D-8FD1-F39F-ABB6-AA4E93D0F046}"/>
                </a:ext>
              </a:extLst>
            </p:cNvPr>
            <p:cNvGrpSpPr/>
            <p:nvPr/>
          </p:nvGrpSpPr>
          <p:grpSpPr>
            <a:xfrm>
              <a:off x="10463363" y="1936376"/>
              <a:ext cx="788837" cy="693056"/>
              <a:chOff x="9291637" y="1854304"/>
              <a:chExt cx="950913" cy="835453"/>
            </a:xfrm>
          </p:grpSpPr>
          <p:grpSp>
            <p:nvGrpSpPr>
              <p:cNvPr id="28" name="Gruppieren 27">
                <a:extLst>
                  <a:ext uri="{FF2B5EF4-FFF2-40B4-BE49-F238E27FC236}">
                    <a16:creationId xmlns:a16="http://schemas.microsoft.com/office/drawing/2014/main" id="{AF992148-C376-B6B0-431A-AFF9AFE7F2D0}"/>
                  </a:ext>
                </a:extLst>
              </p:cNvPr>
              <p:cNvGrpSpPr/>
              <p:nvPr/>
            </p:nvGrpSpPr>
            <p:grpSpPr>
              <a:xfrm>
                <a:off x="9956732" y="1880092"/>
                <a:ext cx="285818" cy="809665"/>
                <a:chOff x="8386350" y="7360423"/>
                <a:chExt cx="1906395" cy="5400434"/>
              </a:xfrm>
            </p:grpSpPr>
            <p:grpSp>
              <p:nvGrpSpPr>
                <p:cNvPr id="140" name="Grafik 23">
                  <a:extLst>
                    <a:ext uri="{FF2B5EF4-FFF2-40B4-BE49-F238E27FC236}">
                      <a16:creationId xmlns:a16="http://schemas.microsoft.com/office/drawing/2014/main" id="{A7D20C28-445D-0B8E-4031-95EBF51CA730}"/>
                    </a:ext>
                  </a:extLst>
                </p:cNvPr>
                <p:cNvGrpSpPr/>
                <p:nvPr/>
              </p:nvGrpSpPr>
              <p:grpSpPr>
                <a:xfrm>
                  <a:off x="8386350" y="7360423"/>
                  <a:ext cx="1583022" cy="5400434"/>
                  <a:chOff x="8386350" y="781823"/>
                  <a:chExt cx="1583022" cy="5400434"/>
                </a:xfrm>
              </p:grpSpPr>
              <p:sp>
                <p:nvSpPr>
                  <p:cNvPr id="230" name="Freihandform: Form 229">
                    <a:extLst>
                      <a:ext uri="{FF2B5EF4-FFF2-40B4-BE49-F238E27FC236}">
                        <a16:creationId xmlns:a16="http://schemas.microsoft.com/office/drawing/2014/main" id="{AF6B68C9-AB33-AAF0-757E-9F004BD89D0B}"/>
                      </a:ext>
                    </a:extLst>
                  </p:cNvPr>
                  <p:cNvSpPr/>
                  <p:nvPr/>
                </p:nvSpPr>
                <p:spPr>
                  <a:xfrm>
                    <a:off x="9182798" y="5806059"/>
                    <a:ext cx="145732" cy="145732"/>
                  </a:xfrm>
                  <a:custGeom>
                    <a:avLst/>
                    <a:gdLst>
                      <a:gd name="connsiteX0" fmla="*/ 145732 w 145732"/>
                      <a:gd name="connsiteY0" fmla="*/ 72866 h 145732"/>
                      <a:gd name="connsiteX1" fmla="*/ 72866 w 145732"/>
                      <a:gd name="connsiteY1" fmla="*/ 145733 h 145732"/>
                      <a:gd name="connsiteX2" fmla="*/ -1 w 145732"/>
                      <a:gd name="connsiteY2" fmla="*/ 72866 h 145732"/>
                      <a:gd name="connsiteX3" fmla="*/ 72866 w 145732"/>
                      <a:gd name="connsiteY3" fmla="*/ 0 h 145732"/>
                      <a:gd name="connsiteX4" fmla="*/ 145732 w 145732"/>
                      <a:gd name="connsiteY4" fmla="*/ 72866 h 1457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5732" h="145732">
                        <a:moveTo>
                          <a:pt x="145732" y="72866"/>
                        </a:moveTo>
                        <a:cubicBezTo>
                          <a:pt x="145732" y="113109"/>
                          <a:pt x="113109" y="145733"/>
                          <a:pt x="72866" y="145733"/>
                        </a:cubicBezTo>
                        <a:cubicBezTo>
                          <a:pt x="32623" y="145733"/>
                          <a:pt x="-1" y="113109"/>
                          <a:pt x="-1" y="72866"/>
                        </a:cubicBezTo>
                        <a:cubicBezTo>
                          <a:pt x="-1" y="32624"/>
                          <a:pt x="32623" y="0"/>
                          <a:pt x="72866" y="0"/>
                        </a:cubicBezTo>
                        <a:cubicBezTo>
                          <a:pt x="113109" y="0"/>
                          <a:pt x="145732" y="32624"/>
                          <a:pt x="145732" y="7286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1" name="Freihandform: Form 230">
                    <a:extLst>
                      <a:ext uri="{FF2B5EF4-FFF2-40B4-BE49-F238E27FC236}">
                        <a16:creationId xmlns:a16="http://schemas.microsoft.com/office/drawing/2014/main" id="{403596FA-AB0A-D5FF-2108-732DA0BA7166}"/>
                      </a:ext>
                    </a:extLst>
                  </p:cNvPr>
                  <p:cNvSpPr/>
                  <p:nvPr/>
                </p:nvSpPr>
                <p:spPr>
                  <a:xfrm>
                    <a:off x="9365963" y="5825680"/>
                    <a:ext cx="145732" cy="145732"/>
                  </a:xfrm>
                  <a:custGeom>
                    <a:avLst/>
                    <a:gdLst>
                      <a:gd name="connsiteX0" fmla="*/ 145733 w 145732"/>
                      <a:gd name="connsiteY0" fmla="*/ 72866 h 145732"/>
                      <a:gd name="connsiteX1" fmla="*/ 72866 w 145732"/>
                      <a:gd name="connsiteY1" fmla="*/ 145733 h 145732"/>
                      <a:gd name="connsiteX2" fmla="*/ 0 w 145732"/>
                      <a:gd name="connsiteY2" fmla="*/ 72866 h 145732"/>
                      <a:gd name="connsiteX3" fmla="*/ 72866 w 145732"/>
                      <a:gd name="connsiteY3" fmla="*/ 0 h 145732"/>
                      <a:gd name="connsiteX4" fmla="*/ 145733 w 145732"/>
                      <a:gd name="connsiteY4" fmla="*/ 72866 h 1457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5732" h="145732">
                        <a:moveTo>
                          <a:pt x="145733" y="72866"/>
                        </a:moveTo>
                        <a:cubicBezTo>
                          <a:pt x="145733" y="113109"/>
                          <a:pt x="113109" y="145733"/>
                          <a:pt x="72866" y="145733"/>
                        </a:cubicBezTo>
                        <a:cubicBezTo>
                          <a:pt x="32623" y="145733"/>
                          <a:pt x="0" y="113109"/>
                          <a:pt x="0" y="72866"/>
                        </a:cubicBezTo>
                        <a:cubicBezTo>
                          <a:pt x="0" y="32624"/>
                          <a:pt x="32623" y="0"/>
                          <a:pt x="72866" y="0"/>
                        </a:cubicBezTo>
                        <a:cubicBezTo>
                          <a:pt x="113109" y="0"/>
                          <a:pt x="145733" y="32624"/>
                          <a:pt x="145733" y="7286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2" name="Freihandform: Form 231">
                    <a:extLst>
                      <a:ext uri="{FF2B5EF4-FFF2-40B4-BE49-F238E27FC236}">
                        <a16:creationId xmlns:a16="http://schemas.microsoft.com/office/drawing/2014/main" id="{F56FFCA4-D5E6-8521-6AC6-DFCA91A9590D}"/>
                      </a:ext>
                    </a:extLst>
                  </p:cNvPr>
                  <p:cNvSpPr/>
                  <p:nvPr/>
                </p:nvSpPr>
                <p:spPr>
                  <a:xfrm>
                    <a:off x="8938672" y="4682013"/>
                    <a:ext cx="389953" cy="1217787"/>
                  </a:xfrm>
                  <a:custGeom>
                    <a:avLst/>
                    <a:gdLst>
                      <a:gd name="connsiteX0" fmla="*/ 389954 w 389953"/>
                      <a:gd name="connsiteY0" fmla="*/ 1196054 h 1217787"/>
                      <a:gd name="connsiteX1" fmla="*/ 245079 w 389953"/>
                      <a:gd name="connsiteY1" fmla="*/ 1208532 h 1217787"/>
                      <a:gd name="connsiteX2" fmla="*/ 52388 w 389953"/>
                      <a:gd name="connsiteY2" fmla="*/ 579406 h 1217787"/>
                      <a:gd name="connsiteX3" fmla="*/ 0 w 389953"/>
                      <a:gd name="connsiteY3" fmla="*/ 44863 h 1217787"/>
                      <a:gd name="connsiteX4" fmla="*/ 306705 w 389953"/>
                      <a:gd name="connsiteY4" fmla="*/ 0 h 1217787"/>
                      <a:gd name="connsiteX5" fmla="*/ 316039 w 389953"/>
                      <a:gd name="connsiteY5" fmla="*/ 166878 h 1217787"/>
                      <a:gd name="connsiteX6" fmla="*/ 351091 w 389953"/>
                      <a:gd name="connsiteY6" fmla="*/ 480251 h 1217787"/>
                      <a:gd name="connsiteX7" fmla="*/ 361760 w 389953"/>
                      <a:gd name="connsiteY7" fmla="*/ 876681 h 1217787"/>
                      <a:gd name="connsiteX8" fmla="*/ 389858 w 389953"/>
                      <a:gd name="connsiteY8" fmla="*/ 1195959 h 12177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89953" h="1217787">
                        <a:moveTo>
                          <a:pt x="389954" y="1196054"/>
                        </a:moveTo>
                        <a:cubicBezTo>
                          <a:pt x="339471" y="1220438"/>
                          <a:pt x="293561" y="1223867"/>
                          <a:pt x="245079" y="1208532"/>
                        </a:cubicBezTo>
                        <a:cubicBezTo>
                          <a:pt x="209550" y="1038987"/>
                          <a:pt x="96964" y="734759"/>
                          <a:pt x="52388" y="579406"/>
                        </a:cubicBezTo>
                        <a:cubicBezTo>
                          <a:pt x="7715" y="423767"/>
                          <a:pt x="0" y="44863"/>
                          <a:pt x="0" y="44863"/>
                        </a:cubicBezTo>
                        <a:lnTo>
                          <a:pt x="306705" y="0"/>
                        </a:lnTo>
                        <a:lnTo>
                          <a:pt x="316039" y="166878"/>
                        </a:lnTo>
                        <a:cubicBezTo>
                          <a:pt x="316039" y="166878"/>
                          <a:pt x="347472" y="345662"/>
                          <a:pt x="351091" y="480251"/>
                        </a:cubicBezTo>
                        <a:cubicBezTo>
                          <a:pt x="354711" y="614839"/>
                          <a:pt x="361760" y="876681"/>
                          <a:pt x="361760" y="876681"/>
                        </a:cubicBezTo>
                        <a:lnTo>
                          <a:pt x="389858" y="1195959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3" name="Freihandform: Form 232">
                    <a:extLst>
                      <a:ext uri="{FF2B5EF4-FFF2-40B4-BE49-F238E27FC236}">
                        <a16:creationId xmlns:a16="http://schemas.microsoft.com/office/drawing/2014/main" id="{98DAE782-5245-C9FC-9559-64D65F9DF957}"/>
                      </a:ext>
                    </a:extLst>
                  </p:cNvPr>
                  <p:cNvSpPr/>
                  <p:nvPr/>
                </p:nvSpPr>
                <p:spPr>
                  <a:xfrm>
                    <a:off x="8936291" y="4539329"/>
                    <a:ext cx="309943" cy="318515"/>
                  </a:xfrm>
                  <a:custGeom>
                    <a:avLst/>
                    <a:gdLst>
                      <a:gd name="connsiteX0" fmla="*/ 309944 w 309943"/>
                      <a:gd name="connsiteY0" fmla="*/ 159258 h 318515"/>
                      <a:gd name="connsiteX1" fmla="*/ 154972 w 309943"/>
                      <a:gd name="connsiteY1" fmla="*/ 318516 h 318515"/>
                      <a:gd name="connsiteX2" fmla="*/ 0 w 309943"/>
                      <a:gd name="connsiteY2" fmla="*/ 159258 h 318515"/>
                      <a:gd name="connsiteX3" fmla="*/ 154972 w 309943"/>
                      <a:gd name="connsiteY3" fmla="*/ 0 h 318515"/>
                      <a:gd name="connsiteX4" fmla="*/ 309944 w 309943"/>
                      <a:gd name="connsiteY4" fmla="*/ 159258 h 3185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9943" h="318515">
                        <a:moveTo>
                          <a:pt x="309944" y="159258"/>
                        </a:moveTo>
                        <a:cubicBezTo>
                          <a:pt x="309944" y="247214"/>
                          <a:pt x="240561" y="318516"/>
                          <a:pt x="154972" y="318516"/>
                        </a:cubicBezTo>
                        <a:cubicBezTo>
                          <a:pt x="69383" y="318516"/>
                          <a:pt x="0" y="247214"/>
                          <a:pt x="0" y="159258"/>
                        </a:cubicBezTo>
                        <a:cubicBezTo>
                          <a:pt x="0" y="71302"/>
                          <a:pt x="69383" y="0"/>
                          <a:pt x="154972" y="0"/>
                        </a:cubicBezTo>
                        <a:cubicBezTo>
                          <a:pt x="240560" y="0"/>
                          <a:pt x="309944" y="71302"/>
                          <a:pt x="309944" y="159258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4" name="Freihandform: Form 233">
                    <a:extLst>
                      <a:ext uri="{FF2B5EF4-FFF2-40B4-BE49-F238E27FC236}">
                        <a16:creationId xmlns:a16="http://schemas.microsoft.com/office/drawing/2014/main" id="{CB95C252-7688-6203-BD14-522C8D5D1E9D}"/>
                      </a:ext>
                    </a:extLst>
                  </p:cNvPr>
                  <p:cNvSpPr/>
                  <p:nvPr/>
                </p:nvSpPr>
                <p:spPr>
                  <a:xfrm>
                    <a:off x="9325196" y="4544758"/>
                    <a:ext cx="311086" cy="311086"/>
                  </a:xfrm>
                  <a:custGeom>
                    <a:avLst/>
                    <a:gdLst>
                      <a:gd name="connsiteX0" fmla="*/ 311086 w 311086"/>
                      <a:gd name="connsiteY0" fmla="*/ 155543 h 311086"/>
                      <a:gd name="connsiteX1" fmla="*/ 155543 w 311086"/>
                      <a:gd name="connsiteY1" fmla="*/ 311086 h 311086"/>
                      <a:gd name="connsiteX2" fmla="*/ -1 w 311086"/>
                      <a:gd name="connsiteY2" fmla="*/ 155543 h 311086"/>
                      <a:gd name="connsiteX3" fmla="*/ 155543 w 311086"/>
                      <a:gd name="connsiteY3" fmla="*/ 0 h 311086"/>
                      <a:gd name="connsiteX4" fmla="*/ 311086 w 311086"/>
                      <a:gd name="connsiteY4" fmla="*/ 155543 h 3110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1086" h="311086">
                        <a:moveTo>
                          <a:pt x="311086" y="155543"/>
                        </a:moveTo>
                        <a:cubicBezTo>
                          <a:pt x="311086" y="241447"/>
                          <a:pt x="241447" y="311086"/>
                          <a:pt x="155543" y="311086"/>
                        </a:cubicBezTo>
                        <a:cubicBezTo>
                          <a:pt x="69639" y="311086"/>
                          <a:pt x="-1" y="241447"/>
                          <a:pt x="-1" y="155543"/>
                        </a:cubicBezTo>
                        <a:cubicBezTo>
                          <a:pt x="-1" y="69639"/>
                          <a:pt x="69639" y="0"/>
                          <a:pt x="155543" y="0"/>
                        </a:cubicBezTo>
                        <a:cubicBezTo>
                          <a:pt x="241447" y="0"/>
                          <a:pt x="311086" y="69639"/>
                          <a:pt x="311086" y="155543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5" name="Freihandform: Form 234">
                    <a:extLst>
                      <a:ext uri="{FF2B5EF4-FFF2-40B4-BE49-F238E27FC236}">
                        <a16:creationId xmlns:a16="http://schemas.microsoft.com/office/drawing/2014/main" id="{582E1E5A-412E-0277-81EE-15F50747586D}"/>
                      </a:ext>
                    </a:extLst>
                  </p:cNvPr>
                  <p:cNvSpPr/>
                  <p:nvPr/>
                </p:nvSpPr>
                <p:spPr>
                  <a:xfrm>
                    <a:off x="9111551" y="5873591"/>
                    <a:ext cx="251269" cy="207930"/>
                  </a:xfrm>
                  <a:custGeom>
                    <a:avLst/>
                    <a:gdLst>
                      <a:gd name="connsiteX0" fmla="*/ 72294 w 251269"/>
                      <a:gd name="connsiteY0" fmla="*/ 0 h 207930"/>
                      <a:gd name="connsiteX1" fmla="*/ 0 w 251269"/>
                      <a:gd name="connsiteY1" fmla="*/ 201549 h 207930"/>
                      <a:gd name="connsiteX2" fmla="*/ 251270 w 251269"/>
                      <a:gd name="connsiteY2" fmla="*/ 207930 h 207930"/>
                      <a:gd name="connsiteX3" fmla="*/ 216789 w 251269"/>
                      <a:gd name="connsiteY3" fmla="*/ 3334 h 207930"/>
                      <a:gd name="connsiteX4" fmla="*/ 72294 w 251269"/>
                      <a:gd name="connsiteY4" fmla="*/ 95 h 2079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51269" h="207930">
                        <a:moveTo>
                          <a:pt x="72294" y="0"/>
                        </a:moveTo>
                        <a:cubicBezTo>
                          <a:pt x="56579" y="148399"/>
                          <a:pt x="952" y="162496"/>
                          <a:pt x="0" y="201549"/>
                        </a:cubicBezTo>
                        <a:lnTo>
                          <a:pt x="251270" y="207930"/>
                        </a:lnTo>
                        <a:cubicBezTo>
                          <a:pt x="246126" y="145922"/>
                          <a:pt x="216789" y="118300"/>
                          <a:pt x="216789" y="3334"/>
                        </a:cubicBezTo>
                        <a:lnTo>
                          <a:pt x="72294" y="95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6" name="Freihandform: Form 235">
                    <a:extLst>
                      <a:ext uri="{FF2B5EF4-FFF2-40B4-BE49-F238E27FC236}">
                        <a16:creationId xmlns:a16="http://schemas.microsoft.com/office/drawing/2014/main" id="{235B6161-4F2A-BFA0-EA8D-E7963653ED56}"/>
                      </a:ext>
                    </a:extLst>
                  </p:cNvPr>
                  <p:cNvSpPr/>
                  <p:nvPr/>
                </p:nvSpPr>
                <p:spPr>
                  <a:xfrm>
                    <a:off x="9040208" y="6087713"/>
                    <a:ext cx="343280" cy="94544"/>
                  </a:xfrm>
                  <a:custGeom>
                    <a:avLst/>
                    <a:gdLst>
                      <a:gd name="connsiteX0" fmla="*/ 322326 w 343280"/>
                      <a:gd name="connsiteY0" fmla="*/ 89821 h 94544"/>
                      <a:gd name="connsiteX1" fmla="*/ 21145 w 343280"/>
                      <a:gd name="connsiteY1" fmla="*/ 89630 h 94544"/>
                      <a:gd name="connsiteX2" fmla="*/ 0 w 343280"/>
                      <a:gd name="connsiteY2" fmla="*/ 60960 h 94544"/>
                      <a:gd name="connsiteX3" fmla="*/ 0 w 343280"/>
                      <a:gd name="connsiteY3" fmla="*/ 0 h 94544"/>
                      <a:gd name="connsiteX4" fmla="*/ 343281 w 343280"/>
                      <a:gd name="connsiteY4" fmla="*/ 0 h 94544"/>
                      <a:gd name="connsiteX5" fmla="*/ 343281 w 343280"/>
                      <a:gd name="connsiteY5" fmla="*/ 61150 h 94544"/>
                      <a:gd name="connsiteX6" fmla="*/ 322326 w 343280"/>
                      <a:gd name="connsiteY6" fmla="*/ 89821 h 945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43280" h="94544">
                        <a:moveTo>
                          <a:pt x="322326" y="89821"/>
                        </a:moveTo>
                        <a:cubicBezTo>
                          <a:pt x="218218" y="97822"/>
                          <a:pt x="135160" y="94202"/>
                          <a:pt x="21145" y="89630"/>
                        </a:cubicBezTo>
                        <a:cubicBezTo>
                          <a:pt x="8954" y="89154"/>
                          <a:pt x="0" y="75533"/>
                          <a:pt x="0" y="60960"/>
                        </a:cubicBezTo>
                        <a:lnTo>
                          <a:pt x="0" y="0"/>
                        </a:lnTo>
                        <a:cubicBezTo>
                          <a:pt x="0" y="0"/>
                          <a:pt x="343281" y="0"/>
                          <a:pt x="343281" y="0"/>
                        </a:cubicBezTo>
                        <a:lnTo>
                          <a:pt x="343281" y="61150"/>
                        </a:lnTo>
                        <a:cubicBezTo>
                          <a:pt x="343281" y="75629"/>
                          <a:pt x="334423" y="88868"/>
                          <a:pt x="322326" y="89821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7" name="Freihandform: Form 236">
                    <a:extLst>
                      <a:ext uri="{FF2B5EF4-FFF2-40B4-BE49-F238E27FC236}">
                        <a16:creationId xmlns:a16="http://schemas.microsoft.com/office/drawing/2014/main" id="{53EAEBB2-E62C-8585-9798-36FB7D41FA82}"/>
                      </a:ext>
                    </a:extLst>
                  </p:cNvPr>
                  <p:cNvSpPr/>
                  <p:nvPr/>
                </p:nvSpPr>
                <p:spPr>
                  <a:xfrm>
                    <a:off x="9040208" y="5934550"/>
                    <a:ext cx="343280" cy="181734"/>
                  </a:xfrm>
                  <a:custGeom>
                    <a:avLst/>
                    <a:gdLst>
                      <a:gd name="connsiteX0" fmla="*/ 343281 w 343280"/>
                      <a:gd name="connsiteY0" fmla="*/ 153163 h 181734"/>
                      <a:gd name="connsiteX1" fmla="*/ 294227 w 343280"/>
                      <a:gd name="connsiteY1" fmla="*/ 23147 h 181734"/>
                      <a:gd name="connsiteX2" fmla="*/ 279273 w 343280"/>
                      <a:gd name="connsiteY2" fmla="*/ 64199 h 181734"/>
                      <a:gd name="connsiteX3" fmla="*/ 98964 w 343280"/>
                      <a:gd name="connsiteY3" fmla="*/ 59628 h 181734"/>
                      <a:gd name="connsiteX4" fmla="*/ 0 w 343280"/>
                      <a:gd name="connsiteY4" fmla="*/ 153163 h 181734"/>
                      <a:gd name="connsiteX5" fmla="*/ 343281 w 343280"/>
                      <a:gd name="connsiteY5" fmla="*/ 153163 h 1817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43280" h="181734">
                        <a:moveTo>
                          <a:pt x="343281" y="153163"/>
                        </a:moveTo>
                        <a:cubicBezTo>
                          <a:pt x="303847" y="73344"/>
                          <a:pt x="306133" y="10193"/>
                          <a:pt x="294227" y="23147"/>
                        </a:cubicBezTo>
                        <a:cubicBezTo>
                          <a:pt x="301276" y="53055"/>
                          <a:pt x="295656" y="65914"/>
                          <a:pt x="279273" y="64199"/>
                        </a:cubicBezTo>
                        <a:cubicBezTo>
                          <a:pt x="279273" y="64199"/>
                          <a:pt x="167544" y="-77151"/>
                          <a:pt x="98964" y="59628"/>
                        </a:cubicBezTo>
                        <a:cubicBezTo>
                          <a:pt x="57340" y="142591"/>
                          <a:pt x="4096" y="120397"/>
                          <a:pt x="0" y="153163"/>
                        </a:cubicBezTo>
                        <a:cubicBezTo>
                          <a:pt x="16478" y="185738"/>
                          <a:pt x="323945" y="196406"/>
                          <a:pt x="343281" y="15316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8" name="Freihandform: Form 237">
                    <a:extLst>
                      <a:ext uri="{FF2B5EF4-FFF2-40B4-BE49-F238E27FC236}">
                        <a16:creationId xmlns:a16="http://schemas.microsoft.com/office/drawing/2014/main" id="{AB828524-95EC-FB49-C6FA-E0900B3F2277}"/>
                      </a:ext>
                    </a:extLst>
                  </p:cNvPr>
                  <p:cNvSpPr/>
                  <p:nvPr/>
                </p:nvSpPr>
                <p:spPr>
                  <a:xfrm>
                    <a:off x="9324879" y="4677727"/>
                    <a:ext cx="326797" cy="1236394"/>
                  </a:xfrm>
                  <a:custGeom>
                    <a:avLst/>
                    <a:gdLst>
                      <a:gd name="connsiteX0" fmla="*/ 41084 w 326797"/>
                      <a:gd name="connsiteY0" fmla="*/ 1218819 h 1236394"/>
                      <a:gd name="connsiteX1" fmla="*/ 186626 w 326797"/>
                      <a:gd name="connsiteY1" fmla="*/ 1215199 h 1236394"/>
                      <a:gd name="connsiteX2" fmla="*/ 315405 w 326797"/>
                      <a:gd name="connsiteY2" fmla="*/ 571024 h 1236394"/>
                      <a:gd name="connsiteX3" fmla="*/ 309594 w 326797"/>
                      <a:gd name="connsiteY3" fmla="*/ 0 h 1236394"/>
                      <a:gd name="connsiteX4" fmla="*/ 222 w 326797"/>
                      <a:gd name="connsiteY4" fmla="*/ 286 h 1236394"/>
                      <a:gd name="connsiteX5" fmla="*/ 8033 w 326797"/>
                      <a:gd name="connsiteY5" fmla="*/ 502825 h 1236394"/>
                      <a:gd name="connsiteX6" fmla="*/ 37655 w 326797"/>
                      <a:gd name="connsiteY6" fmla="*/ 898302 h 1236394"/>
                      <a:gd name="connsiteX7" fmla="*/ 40989 w 326797"/>
                      <a:gd name="connsiteY7" fmla="*/ 1218819 h 12363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797" h="1236394">
                        <a:moveTo>
                          <a:pt x="41084" y="1218819"/>
                        </a:moveTo>
                        <a:cubicBezTo>
                          <a:pt x="93853" y="1243870"/>
                          <a:pt x="140049" y="1241679"/>
                          <a:pt x="186626" y="1215199"/>
                        </a:cubicBezTo>
                        <a:cubicBezTo>
                          <a:pt x="204724" y="1042892"/>
                          <a:pt x="286830" y="730091"/>
                          <a:pt x="315405" y="571024"/>
                        </a:cubicBezTo>
                        <a:cubicBezTo>
                          <a:pt x="344075" y="411575"/>
                          <a:pt x="309594" y="0"/>
                          <a:pt x="309594" y="0"/>
                        </a:cubicBezTo>
                        <a:lnTo>
                          <a:pt x="222" y="286"/>
                        </a:lnTo>
                        <a:cubicBezTo>
                          <a:pt x="222" y="286"/>
                          <a:pt x="-2064" y="368617"/>
                          <a:pt x="8033" y="502825"/>
                        </a:cubicBezTo>
                        <a:cubicBezTo>
                          <a:pt x="18129" y="637032"/>
                          <a:pt x="37655" y="898302"/>
                          <a:pt x="37655" y="898302"/>
                        </a:cubicBezTo>
                        <a:lnTo>
                          <a:pt x="40989" y="1218819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9" name="Freihandform: Form 238">
                    <a:extLst>
                      <a:ext uri="{FF2B5EF4-FFF2-40B4-BE49-F238E27FC236}">
                        <a16:creationId xmlns:a16="http://schemas.microsoft.com/office/drawing/2014/main" id="{E06A96F6-5D51-D94E-9DA6-482238B1AB69}"/>
                      </a:ext>
                    </a:extLst>
                  </p:cNvPr>
                  <p:cNvSpPr/>
                  <p:nvPr/>
                </p:nvSpPr>
                <p:spPr>
                  <a:xfrm>
                    <a:off x="9333007" y="5892926"/>
                    <a:ext cx="284035" cy="215074"/>
                  </a:xfrm>
                  <a:custGeom>
                    <a:avLst/>
                    <a:gdLst>
                      <a:gd name="connsiteX0" fmla="*/ 178498 w 284035"/>
                      <a:gd name="connsiteY0" fmla="*/ 0 h 215074"/>
                      <a:gd name="connsiteX1" fmla="*/ 284036 w 284035"/>
                      <a:gd name="connsiteY1" fmla="*/ 215075 h 215074"/>
                      <a:gd name="connsiteX2" fmla="*/ 0 w 284035"/>
                      <a:gd name="connsiteY2" fmla="*/ 215075 h 215074"/>
                      <a:gd name="connsiteX3" fmla="*/ 32956 w 284035"/>
                      <a:gd name="connsiteY3" fmla="*/ 4477 h 215074"/>
                      <a:gd name="connsiteX4" fmla="*/ 178594 w 284035"/>
                      <a:gd name="connsiteY4" fmla="*/ 0 h 2150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84035" h="215074">
                        <a:moveTo>
                          <a:pt x="178498" y="0"/>
                        </a:moveTo>
                        <a:cubicBezTo>
                          <a:pt x="199549" y="148685"/>
                          <a:pt x="284036" y="176022"/>
                          <a:pt x="284036" y="215075"/>
                        </a:cubicBezTo>
                        <a:lnTo>
                          <a:pt x="0" y="215075"/>
                        </a:lnTo>
                        <a:cubicBezTo>
                          <a:pt x="0" y="139637"/>
                          <a:pt x="37529" y="86963"/>
                          <a:pt x="32956" y="4477"/>
                        </a:cubicBezTo>
                        <a:lnTo>
                          <a:pt x="178594" y="0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0" name="Freihandform: Form 239">
                    <a:extLst>
                      <a:ext uri="{FF2B5EF4-FFF2-40B4-BE49-F238E27FC236}">
                        <a16:creationId xmlns:a16="http://schemas.microsoft.com/office/drawing/2014/main" id="{FF102003-ACBE-C281-1BC9-51DFEB0B663C}"/>
                      </a:ext>
                    </a:extLst>
                  </p:cNvPr>
                  <p:cNvSpPr/>
                  <p:nvPr/>
                </p:nvSpPr>
                <p:spPr>
                  <a:xfrm>
                    <a:off x="9312909" y="6089332"/>
                    <a:ext cx="343280" cy="92916"/>
                  </a:xfrm>
                  <a:custGeom>
                    <a:avLst/>
                    <a:gdLst>
                      <a:gd name="connsiteX0" fmla="*/ 20955 w 343280"/>
                      <a:gd name="connsiteY0" fmla="*/ 89821 h 92916"/>
                      <a:gd name="connsiteX1" fmla="*/ 322135 w 343280"/>
                      <a:gd name="connsiteY1" fmla="*/ 89631 h 92916"/>
                      <a:gd name="connsiteX2" fmla="*/ 343281 w 343280"/>
                      <a:gd name="connsiteY2" fmla="*/ 60960 h 92916"/>
                      <a:gd name="connsiteX3" fmla="*/ 343281 w 343280"/>
                      <a:gd name="connsiteY3" fmla="*/ 0 h 92916"/>
                      <a:gd name="connsiteX4" fmla="*/ 0 w 343280"/>
                      <a:gd name="connsiteY4" fmla="*/ 0 h 92916"/>
                      <a:gd name="connsiteX5" fmla="*/ 0 w 343280"/>
                      <a:gd name="connsiteY5" fmla="*/ 61150 h 92916"/>
                      <a:gd name="connsiteX6" fmla="*/ 20955 w 343280"/>
                      <a:gd name="connsiteY6" fmla="*/ 89821 h 929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43280" h="92916">
                        <a:moveTo>
                          <a:pt x="20955" y="89821"/>
                        </a:moveTo>
                        <a:cubicBezTo>
                          <a:pt x="138969" y="93345"/>
                          <a:pt x="221932" y="94583"/>
                          <a:pt x="322135" y="89631"/>
                        </a:cubicBezTo>
                        <a:cubicBezTo>
                          <a:pt x="334327" y="89059"/>
                          <a:pt x="343281" y="75533"/>
                          <a:pt x="343281" y="60960"/>
                        </a:cubicBezTo>
                        <a:lnTo>
                          <a:pt x="343281" y="0"/>
                        </a:lnTo>
                        <a:cubicBezTo>
                          <a:pt x="343281" y="0"/>
                          <a:pt x="0" y="0"/>
                          <a:pt x="0" y="0"/>
                        </a:cubicBezTo>
                        <a:lnTo>
                          <a:pt x="0" y="61150"/>
                        </a:lnTo>
                        <a:cubicBezTo>
                          <a:pt x="0" y="75629"/>
                          <a:pt x="8858" y="89440"/>
                          <a:pt x="20955" y="89821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1" name="Freihandform: Form 240">
                    <a:extLst>
                      <a:ext uri="{FF2B5EF4-FFF2-40B4-BE49-F238E27FC236}">
                        <a16:creationId xmlns:a16="http://schemas.microsoft.com/office/drawing/2014/main" id="{55FCFA17-57F6-2E12-0877-62AEA7652B5E}"/>
                      </a:ext>
                    </a:extLst>
                  </p:cNvPr>
                  <p:cNvSpPr/>
                  <p:nvPr/>
                </p:nvSpPr>
                <p:spPr>
                  <a:xfrm>
                    <a:off x="9312909" y="5936264"/>
                    <a:ext cx="343280" cy="181734"/>
                  </a:xfrm>
                  <a:custGeom>
                    <a:avLst/>
                    <a:gdLst>
                      <a:gd name="connsiteX0" fmla="*/ 0 w 343280"/>
                      <a:gd name="connsiteY0" fmla="*/ 153163 h 181734"/>
                      <a:gd name="connsiteX1" fmla="*/ 49053 w 343280"/>
                      <a:gd name="connsiteY1" fmla="*/ 23147 h 181734"/>
                      <a:gd name="connsiteX2" fmla="*/ 64008 w 343280"/>
                      <a:gd name="connsiteY2" fmla="*/ 64199 h 181734"/>
                      <a:gd name="connsiteX3" fmla="*/ 244316 w 343280"/>
                      <a:gd name="connsiteY3" fmla="*/ 59628 h 181734"/>
                      <a:gd name="connsiteX4" fmla="*/ 343281 w 343280"/>
                      <a:gd name="connsiteY4" fmla="*/ 153163 h 181734"/>
                      <a:gd name="connsiteX5" fmla="*/ 0 w 343280"/>
                      <a:gd name="connsiteY5" fmla="*/ 153163 h 1817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43280" h="181734">
                        <a:moveTo>
                          <a:pt x="0" y="153163"/>
                        </a:moveTo>
                        <a:cubicBezTo>
                          <a:pt x="39433" y="73344"/>
                          <a:pt x="37147" y="10193"/>
                          <a:pt x="49053" y="23147"/>
                        </a:cubicBezTo>
                        <a:cubicBezTo>
                          <a:pt x="42005" y="53055"/>
                          <a:pt x="47625" y="65914"/>
                          <a:pt x="64008" y="64199"/>
                        </a:cubicBezTo>
                        <a:cubicBezTo>
                          <a:pt x="64008" y="64199"/>
                          <a:pt x="175736" y="-77151"/>
                          <a:pt x="244316" y="59628"/>
                        </a:cubicBezTo>
                        <a:cubicBezTo>
                          <a:pt x="285940" y="142591"/>
                          <a:pt x="339185" y="120397"/>
                          <a:pt x="343281" y="153163"/>
                        </a:cubicBezTo>
                        <a:cubicBezTo>
                          <a:pt x="326803" y="185738"/>
                          <a:pt x="19335" y="196406"/>
                          <a:pt x="0" y="15316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2" name="Freihandform: Form 241">
                    <a:extLst>
                      <a:ext uri="{FF2B5EF4-FFF2-40B4-BE49-F238E27FC236}">
                        <a16:creationId xmlns:a16="http://schemas.microsoft.com/office/drawing/2014/main" id="{71495F35-25E0-206D-11D2-FC89D5B57B9F}"/>
                      </a:ext>
                    </a:extLst>
                  </p:cNvPr>
                  <p:cNvSpPr/>
                  <p:nvPr/>
                </p:nvSpPr>
                <p:spPr>
                  <a:xfrm>
                    <a:off x="8692641" y="2714148"/>
                    <a:ext cx="1197659" cy="1963864"/>
                  </a:xfrm>
                  <a:custGeom>
                    <a:avLst/>
                    <a:gdLst>
                      <a:gd name="connsiteX0" fmla="*/ 1130998 w 1197659"/>
                      <a:gd name="connsiteY0" fmla="*/ 302133 h 1963864"/>
                      <a:gd name="connsiteX1" fmla="*/ 919353 w 1197659"/>
                      <a:gd name="connsiteY1" fmla="*/ 1429 h 1963864"/>
                      <a:gd name="connsiteX2" fmla="*/ 598075 w 1197659"/>
                      <a:gd name="connsiteY2" fmla="*/ 0 h 1963864"/>
                      <a:gd name="connsiteX3" fmla="*/ 598075 w 1197659"/>
                      <a:gd name="connsiteY3" fmla="*/ 0 h 1963864"/>
                      <a:gd name="connsiteX4" fmla="*/ 594646 w 1197659"/>
                      <a:gd name="connsiteY4" fmla="*/ 0 h 1963864"/>
                      <a:gd name="connsiteX5" fmla="*/ 591216 w 1197659"/>
                      <a:gd name="connsiteY5" fmla="*/ 0 h 1963864"/>
                      <a:gd name="connsiteX6" fmla="*/ 591216 w 1197659"/>
                      <a:gd name="connsiteY6" fmla="*/ 0 h 1963864"/>
                      <a:gd name="connsiteX7" fmla="*/ 269938 w 1197659"/>
                      <a:gd name="connsiteY7" fmla="*/ 1429 h 1963864"/>
                      <a:gd name="connsiteX8" fmla="*/ 65531 w 1197659"/>
                      <a:gd name="connsiteY8" fmla="*/ 316421 h 1963864"/>
                      <a:gd name="connsiteX9" fmla="*/ 0 w 1197659"/>
                      <a:gd name="connsiteY9" fmla="*/ 635127 h 1963864"/>
                      <a:gd name="connsiteX10" fmla="*/ 24384 w 1197659"/>
                      <a:gd name="connsiteY10" fmla="*/ 1062895 h 1963864"/>
                      <a:gd name="connsiteX11" fmla="*/ 117634 w 1197659"/>
                      <a:gd name="connsiteY11" fmla="*/ 1567434 h 1963864"/>
                      <a:gd name="connsiteX12" fmla="*/ 209264 w 1197659"/>
                      <a:gd name="connsiteY12" fmla="*/ 1963865 h 1963864"/>
                      <a:gd name="connsiteX13" fmla="*/ 978217 w 1197659"/>
                      <a:gd name="connsiteY13" fmla="*/ 1963865 h 1963864"/>
                      <a:gd name="connsiteX14" fmla="*/ 1069848 w 1197659"/>
                      <a:gd name="connsiteY14" fmla="*/ 1567434 h 1963864"/>
                      <a:gd name="connsiteX15" fmla="*/ 1163098 w 1197659"/>
                      <a:gd name="connsiteY15" fmla="*/ 1062895 h 1963864"/>
                      <a:gd name="connsiteX16" fmla="*/ 1131189 w 1197659"/>
                      <a:gd name="connsiteY16" fmla="*/ 302133 h 19638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1197659" h="1963864">
                        <a:moveTo>
                          <a:pt x="1130998" y="302133"/>
                        </a:moveTo>
                        <a:cubicBezTo>
                          <a:pt x="1066895" y="164021"/>
                          <a:pt x="919353" y="1429"/>
                          <a:pt x="919353" y="1429"/>
                        </a:cubicBezTo>
                        <a:lnTo>
                          <a:pt x="598075" y="0"/>
                        </a:lnTo>
                        <a:lnTo>
                          <a:pt x="598075" y="0"/>
                        </a:lnTo>
                        <a:cubicBezTo>
                          <a:pt x="598075" y="0"/>
                          <a:pt x="594646" y="0"/>
                          <a:pt x="594646" y="0"/>
                        </a:cubicBezTo>
                        <a:lnTo>
                          <a:pt x="591216" y="0"/>
                        </a:lnTo>
                        <a:cubicBezTo>
                          <a:pt x="591216" y="0"/>
                          <a:pt x="591216" y="0"/>
                          <a:pt x="591216" y="0"/>
                        </a:cubicBezTo>
                        <a:lnTo>
                          <a:pt x="269938" y="1429"/>
                        </a:lnTo>
                        <a:cubicBezTo>
                          <a:pt x="269938" y="1429"/>
                          <a:pt x="120205" y="174308"/>
                          <a:pt x="65531" y="316421"/>
                        </a:cubicBezTo>
                        <a:cubicBezTo>
                          <a:pt x="10953" y="458534"/>
                          <a:pt x="0" y="635127"/>
                          <a:pt x="0" y="635127"/>
                        </a:cubicBezTo>
                        <a:cubicBezTo>
                          <a:pt x="0" y="635127"/>
                          <a:pt x="6477" y="908114"/>
                          <a:pt x="24384" y="1062895"/>
                        </a:cubicBezTo>
                        <a:cubicBezTo>
                          <a:pt x="42196" y="1217676"/>
                          <a:pt x="82677" y="1449991"/>
                          <a:pt x="117634" y="1567434"/>
                        </a:cubicBezTo>
                        <a:cubicBezTo>
                          <a:pt x="152590" y="1684877"/>
                          <a:pt x="209264" y="1963865"/>
                          <a:pt x="209264" y="1963865"/>
                        </a:cubicBezTo>
                        <a:lnTo>
                          <a:pt x="978217" y="1963865"/>
                        </a:lnTo>
                        <a:cubicBezTo>
                          <a:pt x="978217" y="1963865"/>
                          <a:pt x="1034891" y="1684973"/>
                          <a:pt x="1069848" y="1567434"/>
                        </a:cubicBezTo>
                        <a:cubicBezTo>
                          <a:pt x="1104805" y="1449991"/>
                          <a:pt x="1134999" y="1216152"/>
                          <a:pt x="1163098" y="1062895"/>
                        </a:cubicBezTo>
                        <a:cubicBezTo>
                          <a:pt x="1214818" y="780859"/>
                          <a:pt x="1211866" y="476059"/>
                          <a:pt x="1131189" y="302133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3" name="Freihandform: Form 242">
                    <a:extLst>
                      <a:ext uri="{FF2B5EF4-FFF2-40B4-BE49-F238E27FC236}">
                        <a16:creationId xmlns:a16="http://schemas.microsoft.com/office/drawing/2014/main" id="{8D109147-BA1F-DAFC-35E6-99ACCE99A8B0}"/>
                      </a:ext>
                    </a:extLst>
                  </p:cNvPr>
                  <p:cNvSpPr/>
                  <p:nvPr/>
                </p:nvSpPr>
                <p:spPr>
                  <a:xfrm>
                    <a:off x="8910483" y="810018"/>
                    <a:ext cx="817969" cy="1046717"/>
                  </a:xfrm>
                  <a:custGeom>
                    <a:avLst/>
                    <a:gdLst>
                      <a:gd name="connsiteX0" fmla="*/ 720465 w 817969"/>
                      <a:gd name="connsiteY0" fmla="*/ 892765 h 1046717"/>
                      <a:gd name="connsiteX1" fmla="*/ 679603 w 817969"/>
                      <a:gd name="connsiteY1" fmla="*/ 349364 h 1046717"/>
                      <a:gd name="connsiteX2" fmla="*/ 351467 w 817969"/>
                      <a:gd name="connsiteY2" fmla="*/ 1321 h 1046717"/>
                      <a:gd name="connsiteX3" fmla="*/ 212974 w 817969"/>
                      <a:gd name="connsiteY3" fmla="*/ 66472 h 1046717"/>
                      <a:gd name="connsiteX4" fmla="*/ 25522 w 817969"/>
                      <a:gd name="connsiteY4" fmla="*/ 310312 h 1046717"/>
                      <a:gd name="connsiteX5" fmla="*/ 68956 w 817969"/>
                      <a:gd name="connsiteY5" fmla="*/ 866857 h 1046717"/>
                      <a:gd name="connsiteX6" fmla="*/ 720465 w 817969"/>
                      <a:gd name="connsiteY6" fmla="*/ 892765 h 10467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17969" h="1046717">
                        <a:moveTo>
                          <a:pt x="720465" y="892765"/>
                        </a:moveTo>
                        <a:cubicBezTo>
                          <a:pt x="720465" y="892765"/>
                          <a:pt x="964972" y="672262"/>
                          <a:pt x="679603" y="349364"/>
                        </a:cubicBezTo>
                        <a:cubicBezTo>
                          <a:pt x="593307" y="251733"/>
                          <a:pt x="546444" y="-21254"/>
                          <a:pt x="351467" y="1321"/>
                        </a:cubicBezTo>
                        <a:cubicBezTo>
                          <a:pt x="299555" y="8560"/>
                          <a:pt x="250502" y="23038"/>
                          <a:pt x="212974" y="66472"/>
                        </a:cubicBezTo>
                        <a:cubicBezTo>
                          <a:pt x="212974" y="66472"/>
                          <a:pt x="81243" y="74568"/>
                          <a:pt x="25522" y="310312"/>
                        </a:cubicBezTo>
                        <a:cubicBezTo>
                          <a:pt x="-22008" y="511480"/>
                          <a:pt x="-672" y="769036"/>
                          <a:pt x="68956" y="866857"/>
                        </a:cubicBezTo>
                        <a:cubicBezTo>
                          <a:pt x="228975" y="1099363"/>
                          <a:pt x="446907" y="1104792"/>
                          <a:pt x="720465" y="89276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4" name="Freihandform: Form 243">
                    <a:extLst>
                      <a:ext uri="{FF2B5EF4-FFF2-40B4-BE49-F238E27FC236}">
                        <a16:creationId xmlns:a16="http://schemas.microsoft.com/office/drawing/2014/main" id="{00951843-9498-BADA-6F62-477CEFAC73B5}"/>
                      </a:ext>
                    </a:extLst>
                  </p:cNvPr>
                  <p:cNvSpPr/>
                  <p:nvPr/>
                </p:nvSpPr>
                <p:spPr>
                  <a:xfrm>
                    <a:off x="9143174" y="1311973"/>
                    <a:ext cx="298227" cy="463654"/>
                  </a:xfrm>
                  <a:custGeom>
                    <a:avLst/>
                    <a:gdLst>
                      <a:gd name="connsiteX0" fmla="*/ 0 w 298227"/>
                      <a:gd name="connsiteY0" fmla="*/ 385001 h 463654"/>
                      <a:gd name="connsiteX1" fmla="*/ 298228 w 298227"/>
                      <a:gd name="connsiteY1" fmla="*/ 385001 h 463654"/>
                      <a:gd name="connsiteX2" fmla="*/ 298228 w 298227"/>
                      <a:gd name="connsiteY2" fmla="*/ 0 h 463654"/>
                      <a:gd name="connsiteX3" fmla="*/ 0 w 298227"/>
                      <a:gd name="connsiteY3" fmla="*/ 0 h 463654"/>
                      <a:gd name="connsiteX4" fmla="*/ 0 w 298227"/>
                      <a:gd name="connsiteY4" fmla="*/ 385001 h 4636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8227" h="463654">
                        <a:moveTo>
                          <a:pt x="0" y="385001"/>
                        </a:moveTo>
                        <a:cubicBezTo>
                          <a:pt x="51816" y="489109"/>
                          <a:pt x="237172" y="490633"/>
                          <a:pt x="298228" y="385001"/>
                        </a:cubicBezTo>
                        <a:lnTo>
                          <a:pt x="298228" y="0"/>
                        </a:lnTo>
                        <a:lnTo>
                          <a:pt x="0" y="0"/>
                        </a:lnTo>
                        <a:cubicBezTo>
                          <a:pt x="0" y="0"/>
                          <a:pt x="0" y="385001"/>
                          <a:pt x="0" y="385001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5" name="Freihandform: Form 244">
                    <a:extLst>
                      <a:ext uri="{FF2B5EF4-FFF2-40B4-BE49-F238E27FC236}">
                        <a16:creationId xmlns:a16="http://schemas.microsoft.com/office/drawing/2014/main" id="{FBF257C8-5CE7-FF84-CCE0-91F0C0F51576}"/>
                      </a:ext>
                    </a:extLst>
                  </p:cNvPr>
                  <p:cNvSpPr/>
                  <p:nvPr/>
                </p:nvSpPr>
                <p:spPr>
                  <a:xfrm>
                    <a:off x="9054877" y="1366837"/>
                    <a:ext cx="361378" cy="476350"/>
                  </a:xfrm>
                  <a:custGeom>
                    <a:avLst/>
                    <a:gdLst>
                      <a:gd name="connsiteX0" fmla="*/ 361379 w 361378"/>
                      <a:gd name="connsiteY0" fmla="*/ 0 h 476350"/>
                      <a:gd name="connsiteX1" fmla="*/ 347186 w 361378"/>
                      <a:gd name="connsiteY1" fmla="*/ 72295 h 476350"/>
                      <a:gd name="connsiteX2" fmla="*/ 224790 w 361378"/>
                      <a:gd name="connsiteY2" fmla="*/ 204121 h 476350"/>
                      <a:gd name="connsiteX3" fmla="*/ 143542 w 361378"/>
                      <a:gd name="connsiteY3" fmla="*/ 260890 h 476350"/>
                      <a:gd name="connsiteX4" fmla="*/ 220313 w 361378"/>
                      <a:gd name="connsiteY4" fmla="*/ 473012 h 476350"/>
                      <a:gd name="connsiteX5" fmla="*/ 0 w 361378"/>
                      <a:gd name="connsiteY5" fmla="*/ 278987 h 476350"/>
                      <a:gd name="connsiteX6" fmla="*/ 88106 w 361378"/>
                      <a:gd name="connsiteY6" fmla="*/ 244888 h 476350"/>
                      <a:gd name="connsiteX7" fmla="*/ 88106 w 361378"/>
                      <a:gd name="connsiteY7" fmla="*/ 0 h 476350"/>
                      <a:gd name="connsiteX8" fmla="*/ 361379 w 361378"/>
                      <a:gd name="connsiteY8" fmla="*/ 0 h 476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61378" h="476350">
                        <a:moveTo>
                          <a:pt x="361379" y="0"/>
                        </a:moveTo>
                        <a:lnTo>
                          <a:pt x="347186" y="72295"/>
                        </a:lnTo>
                        <a:cubicBezTo>
                          <a:pt x="347186" y="72295"/>
                          <a:pt x="321945" y="199168"/>
                          <a:pt x="224790" y="204121"/>
                        </a:cubicBezTo>
                        <a:cubicBezTo>
                          <a:pt x="166688" y="207073"/>
                          <a:pt x="143827" y="229362"/>
                          <a:pt x="143542" y="260890"/>
                        </a:cubicBezTo>
                        <a:cubicBezTo>
                          <a:pt x="142590" y="384810"/>
                          <a:pt x="240030" y="440627"/>
                          <a:pt x="220313" y="473012"/>
                        </a:cubicBezTo>
                        <a:cubicBezTo>
                          <a:pt x="147733" y="501110"/>
                          <a:pt x="34100" y="344519"/>
                          <a:pt x="0" y="278987"/>
                        </a:cubicBezTo>
                        <a:lnTo>
                          <a:pt x="88106" y="244888"/>
                        </a:lnTo>
                        <a:lnTo>
                          <a:pt x="88106" y="0"/>
                        </a:lnTo>
                        <a:lnTo>
                          <a:pt x="361379" y="0"/>
                        </a:ln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6" name="Freihandform: Form 245">
                    <a:extLst>
                      <a:ext uri="{FF2B5EF4-FFF2-40B4-BE49-F238E27FC236}">
                        <a16:creationId xmlns:a16="http://schemas.microsoft.com/office/drawing/2014/main" id="{BFDD38C4-0A97-C26D-87A7-CA0E0DE285E6}"/>
                      </a:ext>
                    </a:extLst>
                  </p:cNvPr>
                  <p:cNvSpPr/>
                  <p:nvPr/>
                </p:nvSpPr>
                <p:spPr>
                  <a:xfrm>
                    <a:off x="9092333" y="984096"/>
                    <a:ext cx="400153" cy="557524"/>
                  </a:xfrm>
                  <a:custGeom>
                    <a:avLst/>
                    <a:gdLst>
                      <a:gd name="connsiteX0" fmla="*/ 398979 w 400153"/>
                      <a:gd name="connsiteY0" fmla="*/ 188336 h 557524"/>
                      <a:gd name="connsiteX1" fmla="*/ 346687 w 400153"/>
                      <a:gd name="connsiteY1" fmla="*/ 49080 h 557524"/>
                      <a:gd name="connsiteX2" fmla="*/ 200097 w 400153"/>
                      <a:gd name="connsiteY2" fmla="*/ 26 h 557524"/>
                      <a:gd name="connsiteX3" fmla="*/ 53507 w 400153"/>
                      <a:gd name="connsiteY3" fmla="*/ 49080 h 557524"/>
                      <a:gd name="connsiteX4" fmla="*/ 1215 w 400153"/>
                      <a:gd name="connsiteY4" fmla="*/ 188336 h 557524"/>
                      <a:gd name="connsiteX5" fmla="*/ 2073 w 400153"/>
                      <a:gd name="connsiteY5" fmla="*/ 321400 h 557524"/>
                      <a:gd name="connsiteX6" fmla="*/ 61604 w 400153"/>
                      <a:gd name="connsiteY6" fmla="*/ 469704 h 557524"/>
                      <a:gd name="connsiteX7" fmla="*/ 200097 w 400153"/>
                      <a:gd name="connsiteY7" fmla="*/ 557525 h 557524"/>
                      <a:gd name="connsiteX8" fmla="*/ 338591 w 400153"/>
                      <a:gd name="connsiteY8" fmla="*/ 469704 h 557524"/>
                      <a:gd name="connsiteX9" fmla="*/ 398122 w 400153"/>
                      <a:gd name="connsiteY9" fmla="*/ 321400 h 557524"/>
                      <a:gd name="connsiteX10" fmla="*/ 398979 w 400153"/>
                      <a:gd name="connsiteY10" fmla="*/ 188336 h 5575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400153" h="557524">
                        <a:moveTo>
                          <a:pt x="398979" y="188336"/>
                        </a:moveTo>
                        <a:cubicBezTo>
                          <a:pt x="398979" y="188336"/>
                          <a:pt x="394217" y="105278"/>
                          <a:pt x="346687" y="49080"/>
                        </a:cubicBezTo>
                        <a:cubicBezTo>
                          <a:pt x="307540" y="2789"/>
                          <a:pt x="227148" y="-355"/>
                          <a:pt x="200097" y="26"/>
                        </a:cubicBezTo>
                        <a:cubicBezTo>
                          <a:pt x="173046" y="-355"/>
                          <a:pt x="92655" y="2789"/>
                          <a:pt x="53507" y="49080"/>
                        </a:cubicBezTo>
                        <a:cubicBezTo>
                          <a:pt x="5978" y="105278"/>
                          <a:pt x="1215" y="188336"/>
                          <a:pt x="1215" y="188336"/>
                        </a:cubicBezTo>
                        <a:cubicBezTo>
                          <a:pt x="1215" y="188336"/>
                          <a:pt x="-2023" y="284252"/>
                          <a:pt x="2073" y="321400"/>
                        </a:cubicBezTo>
                        <a:cubicBezTo>
                          <a:pt x="6073" y="358452"/>
                          <a:pt x="1882" y="409316"/>
                          <a:pt x="61604" y="469704"/>
                        </a:cubicBezTo>
                        <a:cubicBezTo>
                          <a:pt x="119802" y="528664"/>
                          <a:pt x="159711" y="556191"/>
                          <a:pt x="200097" y="557525"/>
                        </a:cubicBezTo>
                        <a:cubicBezTo>
                          <a:pt x="240483" y="556191"/>
                          <a:pt x="280393" y="528664"/>
                          <a:pt x="338591" y="469704"/>
                        </a:cubicBezTo>
                        <a:cubicBezTo>
                          <a:pt x="398217" y="409316"/>
                          <a:pt x="394026" y="358452"/>
                          <a:pt x="398122" y="321400"/>
                        </a:cubicBezTo>
                        <a:cubicBezTo>
                          <a:pt x="402123" y="284348"/>
                          <a:pt x="398979" y="188336"/>
                          <a:pt x="398979" y="18833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7" name="Freihandform: Form 246">
                    <a:extLst>
                      <a:ext uri="{FF2B5EF4-FFF2-40B4-BE49-F238E27FC236}">
                        <a16:creationId xmlns:a16="http://schemas.microsoft.com/office/drawing/2014/main" id="{C00D27BC-0B8A-1274-E514-27415C21A764}"/>
                      </a:ext>
                    </a:extLst>
                  </p:cNvPr>
                  <p:cNvSpPr/>
                  <p:nvPr/>
                </p:nvSpPr>
                <p:spPr>
                  <a:xfrm rot="-3581400">
                    <a:off x="9397508" y="1182954"/>
                    <a:ext cx="196214" cy="136778"/>
                  </a:xfrm>
                  <a:custGeom>
                    <a:avLst/>
                    <a:gdLst>
                      <a:gd name="connsiteX0" fmla="*/ 196215 w 196214"/>
                      <a:gd name="connsiteY0" fmla="*/ 68389 h 136778"/>
                      <a:gd name="connsiteX1" fmla="*/ 98107 w 196214"/>
                      <a:gd name="connsiteY1" fmla="*/ 136779 h 136778"/>
                      <a:gd name="connsiteX2" fmla="*/ 0 w 196214"/>
                      <a:gd name="connsiteY2" fmla="*/ 68389 h 136778"/>
                      <a:gd name="connsiteX3" fmla="*/ 98107 w 196214"/>
                      <a:gd name="connsiteY3" fmla="*/ 0 h 136778"/>
                      <a:gd name="connsiteX4" fmla="*/ 196215 w 196214"/>
                      <a:gd name="connsiteY4" fmla="*/ 68389 h 1367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6214" h="136778">
                        <a:moveTo>
                          <a:pt x="196215" y="68389"/>
                        </a:moveTo>
                        <a:cubicBezTo>
                          <a:pt x="196215" y="106160"/>
                          <a:pt x="152291" y="136779"/>
                          <a:pt x="98107" y="136779"/>
                        </a:cubicBezTo>
                        <a:cubicBezTo>
                          <a:pt x="43924" y="136779"/>
                          <a:pt x="0" y="106160"/>
                          <a:pt x="0" y="68389"/>
                        </a:cubicBezTo>
                        <a:cubicBezTo>
                          <a:pt x="0" y="30619"/>
                          <a:pt x="43924" y="0"/>
                          <a:pt x="98107" y="0"/>
                        </a:cubicBezTo>
                        <a:cubicBezTo>
                          <a:pt x="152291" y="0"/>
                          <a:pt x="196215" y="30619"/>
                          <a:pt x="196215" y="68389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8" name="Freihandform: Form 247">
                    <a:extLst>
                      <a:ext uri="{FF2B5EF4-FFF2-40B4-BE49-F238E27FC236}">
                        <a16:creationId xmlns:a16="http://schemas.microsoft.com/office/drawing/2014/main" id="{BFF9B805-C4D6-FC36-6C2C-171F9843D5AB}"/>
                      </a:ext>
                    </a:extLst>
                  </p:cNvPr>
                  <p:cNvSpPr/>
                  <p:nvPr/>
                </p:nvSpPr>
                <p:spPr>
                  <a:xfrm rot="-1416000">
                    <a:off x="9013384" y="1154698"/>
                    <a:ext cx="138112" cy="194310"/>
                  </a:xfrm>
                  <a:custGeom>
                    <a:avLst/>
                    <a:gdLst>
                      <a:gd name="connsiteX0" fmla="*/ 138113 w 138112"/>
                      <a:gd name="connsiteY0" fmla="*/ 97155 h 194310"/>
                      <a:gd name="connsiteX1" fmla="*/ 69056 w 138112"/>
                      <a:gd name="connsiteY1" fmla="*/ 194310 h 194310"/>
                      <a:gd name="connsiteX2" fmla="*/ 0 w 138112"/>
                      <a:gd name="connsiteY2" fmla="*/ 97155 h 194310"/>
                      <a:gd name="connsiteX3" fmla="*/ 69056 w 138112"/>
                      <a:gd name="connsiteY3" fmla="*/ 0 h 194310"/>
                      <a:gd name="connsiteX4" fmla="*/ 138113 w 138112"/>
                      <a:gd name="connsiteY4" fmla="*/ 97155 h 1943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8112" h="194310">
                        <a:moveTo>
                          <a:pt x="138113" y="97155"/>
                        </a:moveTo>
                        <a:cubicBezTo>
                          <a:pt x="138113" y="150812"/>
                          <a:pt x="107195" y="194310"/>
                          <a:pt x="69056" y="194310"/>
                        </a:cubicBezTo>
                        <a:cubicBezTo>
                          <a:pt x="30917" y="194310"/>
                          <a:pt x="0" y="150812"/>
                          <a:pt x="0" y="97155"/>
                        </a:cubicBezTo>
                        <a:cubicBezTo>
                          <a:pt x="0" y="43498"/>
                          <a:pt x="30917" y="0"/>
                          <a:pt x="69056" y="0"/>
                        </a:cubicBezTo>
                        <a:cubicBezTo>
                          <a:pt x="107195" y="0"/>
                          <a:pt x="138113" y="43498"/>
                          <a:pt x="138113" y="97155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9" name="Freihandform: Form 248">
                    <a:extLst>
                      <a:ext uri="{FF2B5EF4-FFF2-40B4-BE49-F238E27FC236}">
                        <a16:creationId xmlns:a16="http://schemas.microsoft.com/office/drawing/2014/main" id="{0740BBEF-8514-10D8-3BA8-16648AD7CDA3}"/>
                      </a:ext>
                    </a:extLst>
                  </p:cNvPr>
                  <p:cNvSpPr/>
                  <p:nvPr/>
                </p:nvSpPr>
                <p:spPr>
                  <a:xfrm>
                    <a:off x="9023349" y="818483"/>
                    <a:ext cx="538162" cy="562546"/>
                  </a:xfrm>
                  <a:custGeom>
                    <a:avLst/>
                    <a:gdLst>
                      <a:gd name="connsiteX0" fmla="*/ 538163 w 538162"/>
                      <a:gd name="connsiteY0" fmla="*/ 281273 h 562546"/>
                      <a:gd name="connsiteX1" fmla="*/ 269081 w 538162"/>
                      <a:gd name="connsiteY1" fmla="*/ 562547 h 562546"/>
                      <a:gd name="connsiteX2" fmla="*/ 0 w 538162"/>
                      <a:gd name="connsiteY2" fmla="*/ 281273 h 562546"/>
                      <a:gd name="connsiteX3" fmla="*/ 269081 w 538162"/>
                      <a:gd name="connsiteY3" fmla="*/ 0 h 562546"/>
                      <a:gd name="connsiteX4" fmla="*/ 538163 w 538162"/>
                      <a:gd name="connsiteY4" fmla="*/ 281273 h 5625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38162" h="562546">
                        <a:moveTo>
                          <a:pt x="538163" y="281273"/>
                        </a:moveTo>
                        <a:cubicBezTo>
                          <a:pt x="538163" y="436616"/>
                          <a:pt x="417691" y="562547"/>
                          <a:pt x="269081" y="562547"/>
                        </a:cubicBezTo>
                        <a:cubicBezTo>
                          <a:pt x="120472" y="562547"/>
                          <a:pt x="0" y="436616"/>
                          <a:pt x="0" y="281273"/>
                        </a:cubicBezTo>
                        <a:cubicBezTo>
                          <a:pt x="0" y="125930"/>
                          <a:pt x="120472" y="0"/>
                          <a:pt x="269081" y="0"/>
                        </a:cubicBezTo>
                        <a:cubicBezTo>
                          <a:pt x="417691" y="0"/>
                          <a:pt x="538163" y="125930"/>
                          <a:pt x="538163" y="281273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0" name="Freihandform: Form 249">
                    <a:extLst>
                      <a:ext uri="{FF2B5EF4-FFF2-40B4-BE49-F238E27FC236}">
                        <a16:creationId xmlns:a16="http://schemas.microsoft.com/office/drawing/2014/main" id="{DE27DF41-8EA3-49EF-3EC4-8E976B7C22EE}"/>
                      </a:ext>
                    </a:extLst>
                  </p:cNvPr>
                  <p:cNvSpPr/>
                  <p:nvPr/>
                </p:nvSpPr>
                <p:spPr>
                  <a:xfrm>
                    <a:off x="9011639" y="823245"/>
                    <a:ext cx="530631" cy="404621"/>
                  </a:xfrm>
                  <a:custGeom>
                    <a:avLst/>
                    <a:gdLst>
                      <a:gd name="connsiteX0" fmla="*/ 267647 w 530631"/>
                      <a:gd name="connsiteY0" fmla="*/ 127540 h 404621"/>
                      <a:gd name="connsiteX1" fmla="*/ 491770 w 530631"/>
                      <a:gd name="connsiteY1" fmla="*/ 404622 h 404621"/>
                      <a:gd name="connsiteX2" fmla="*/ 530632 w 530631"/>
                      <a:gd name="connsiteY2" fmla="*/ 281273 h 404621"/>
                      <a:gd name="connsiteX3" fmla="*/ 266408 w 530631"/>
                      <a:gd name="connsiteY3" fmla="*/ 0 h 404621"/>
                      <a:gd name="connsiteX4" fmla="*/ 87814 w 530631"/>
                      <a:gd name="connsiteY4" fmla="*/ 74009 h 404621"/>
                      <a:gd name="connsiteX5" fmla="*/ 54382 w 530631"/>
                      <a:gd name="connsiteY5" fmla="*/ 389858 h 404621"/>
                      <a:gd name="connsiteX6" fmla="*/ 267647 w 530631"/>
                      <a:gd name="connsiteY6" fmla="*/ 127540 h 4046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30631" h="404621">
                        <a:moveTo>
                          <a:pt x="267647" y="127540"/>
                        </a:moveTo>
                        <a:cubicBezTo>
                          <a:pt x="459099" y="139637"/>
                          <a:pt x="435572" y="297085"/>
                          <a:pt x="491770" y="404622"/>
                        </a:cubicBezTo>
                        <a:cubicBezTo>
                          <a:pt x="502343" y="374142"/>
                          <a:pt x="530632" y="315659"/>
                          <a:pt x="530632" y="281273"/>
                        </a:cubicBezTo>
                        <a:cubicBezTo>
                          <a:pt x="530632" y="125920"/>
                          <a:pt x="412331" y="0"/>
                          <a:pt x="266408" y="0"/>
                        </a:cubicBezTo>
                        <a:cubicBezTo>
                          <a:pt x="197543" y="0"/>
                          <a:pt x="134773" y="28004"/>
                          <a:pt x="87814" y="74009"/>
                        </a:cubicBezTo>
                        <a:cubicBezTo>
                          <a:pt x="17520" y="108204"/>
                          <a:pt x="-51250" y="297085"/>
                          <a:pt x="54382" y="389858"/>
                        </a:cubicBezTo>
                        <a:cubicBezTo>
                          <a:pt x="94958" y="311753"/>
                          <a:pt x="95244" y="116681"/>
                          <a:pt x="267647" y="127540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1" name="Freihandform: Form 250">
                    <a:extLst>
                      <a:ext uri="{FF2B5EF4-FFF2-40B4-BE49-F238E27FC236}">
                        <a16:creationId xmlns:a16="http://schemas.microsoft.com/office/drawing/2014/main" id="{8C3A2D9E-39B9-A52E-9554-C30A05F2FC0B}"/>
                      </a:ext>
                    </a:extLst>
                  </p:cNvPr>
                  <p:cNvSpPr/>
                  <p:nvPr/>
                </p:nvSpPr>
                <p:spPr>
                  <a:xfrm>
                    <a:off x="9240995" y="1305210"/>
                    <a:ext cx="78793" cy="32099"/>
                  </a:xfrm>
                  <a:custGeom>
                    <a:avLst/>
                    <a:gdLst>
                      <a:gd name="connsiteX0" fmla="*/ 1143 w 78793"/>
                      <a:gd name="connsiteY0" fmla="*/ 0 h 32099"/>
                      <a:gd name="connsiteX1" fmla="*/ 35814 w 78793"/>
                      <a:gd name="connsiteY1" fmla="*/ 10573 h 32099"/>
                      <a:gd name="connsiteX2" fmla="*/ 77820 w 78793"/>
                      <a:gd name="connsiteY2" fmla="*/ 0 h 32099"/>
                      <a:gd name="connsiteX3" fmla="*/ 77820 w 78793"/>
                      <a:gd name="connsiteY3" fmla="*/ 9239 h 32099"/>
                      <a:gd name="connsiteX4" fmla="*/ 37148 w 78793"/>
                      <a:gd name="connsiteY4" fmla="*/ 32099 h 32099"/>
                      <a:gd name="connsiteX5" fmla="*/ 1143 w 78793"/>
                      <a:gd name="connsiteY5" fmla="*/ 10192 h 32099"/>
                      <a:gd name="connsiteX6" fmla="*/ 1143 w 78793"/>
                      <a:gd name="connsiteY6" fmla="*/ 95 h 320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793" h="32099">
                        <a:moveTo>
                          <a:pt x="1143" y="0"/>
                        </a:moveTo>
                        <a:cubicBezTo>
                          <a:pt x="1143" y="0"/>
                          <a:pt x="11049" y="10573"/>
                          <a:pt x="35814" y="10573"/>
                        </a:cubicBezTo>
                        <a:cubicBezTo>
                          <a:pt x="67152" y="10573"/>
                          <a:pt x="77820" y="0"/>
                          <a:pt x="77820" y="0"/>
                        </a:cubicBezTo>
                        <a:cubicBezTo>
                          <a:pt x="77820" y="0"/>
                          <a:pt x="80010" y="3143"/>
                          <a:pt x="77820" y="9239"/>
                        </a:cubicBezTo>
                        <a:cubicBezTo>
                          <a:pt x="76295" y="13525"/>
                          <a:pt x="62675" y="32099"/>
                          <a:pt x="37148" y="32099"/>
                        </a:cubicBezTo>
                        <a:cubicBezTo>
                          <a:pt x="17240" y="32099"/>
                          <a:pt x="3715" y="16383"/>
                          <a:pt x="1143" y="10192"/>
                        </a:cubicBezTo>
                        <a:cubicBezTo>
                          <a:pt x="-1429" y="4000"/>
                          <a:pt x="1143" y="95"/>
                          <a:pt x="1143" y="95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2" name="Freihandform: Form 251">
                    <a:extLst>
                      <a:ext uri="{FF2B5EF4-FFF2-40B4-BE49-F238E27FC236}">
                        <a16:creationId xmlns:a16="http://schemas.microsoft.com/office/drawing/2014/main" id="{74786843-13B7-DBD2-5766-BA3944031626}"/>
                      </a:ext>
                    </a:extLst>
                  </p:cNvPr>
                  <p:cNvSpPr/>
                  <p:nvPr/>
                </p:nvSpPr>
                <p:spPr>
                  <a:xfrm>
                    <a:off x="9312056" y="1120425"/>
                    <a:ext cx="140203" cy="47053"/>
                  </a:xfrm>
                  <a:custGeom>
                    <a:avLst/>
                    <a:gdLst>
                      <a:gd name="connsiteX0" fmla="*/ 109438 w 140203"/>
                      <a:gd name="connsiteY0" fmla="*/ 17716 h 47053"/>
                      <a:gd name="connsiteX1" fmla="*/ 55812 w 140203"/>
                      <a:gd name="connsiteY1" fmla="*/ 762 h 47053"/>
                      <a:gd name="connsiteX2" fmla="*/ 55812 w 140203"/>
                      <a:gd name="connsiteY2" fmla="*/ 762 h 47053"/>
                      <a:gd name="connsiteX3" fmla="*/ 7711 w 140203"/>
                      <a:gd name="connsiteY3" fmla="*/ 6191 h 47053"/>
                      <a:gd name="connsiteX4" fmla="*/ 4282 w 140203"/>
                      <a:gd name="connsiteY4" fmla="*/ 8858 h 47053"/>
                      <a:gd name="connsiteX5" fmla="*/ 13902 w 140203"/>
                      <a:gd name="connsiteY5" fmla="*/ 33242 h 47053"/>
                      <a:gd name="connsiteX6" fmla="*/ 41239 w 140203"/>
                      <a:gd name="connsiteY6" fmla="*/ 30766 h 47053"/>
                      <a:gd name="connsiteX7" fmla="*/ 105533 w 140203"/>
                      <a:gd name="connsiteY7" fmla="*/ 34480 h 47053"/>
                      <a:gd name="connsiteX8" fmla="*/ 140204 w 140203"/>
                      <a:gd name="connsiteY8" fmla="*/ 47053 h 47053"/>
                      <a:gd name="connsiteX9" fmla="*/ 109438 w 140203"/>
                      <a:gd name="connsiteY9" fmla="*/ 17716 h 470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40203" h="47053">
                        <a:moveTo>
                          <a:pt x="109438" y="17716"/>
                        </a:moveTo>
                        <a:cubicBezTo>
                          <a:pt x="90864" y="5905"/>
                          <a:pt x="70671" y="1429"/>
                          <a:pt x="55812" y="762"/>
                        </a:cubicBezTo>
                        <a:lnTo>
                          <a:pt x="55812" y="762"/>
                        </a:lnTo>
                        <a:cubicBezTo>
                          <a:pt x="30285" y="-1810"/>
                          <a:pt x="13236" y="2667"/>
                          <a:pt x="7711" y="6191"/>
                        </a:cubicBezTo>
                        <a:cubicBezTo>
                          <a:pt x="6377" y="7048"/>
                          <a:pt x="5234" y="7906"/>
                          <a:pt x="4282" y="8858"/>
                        </a:cubicBezTo>
                        <a:cubicBezTo>
                          <a:pt x="-4862" y="17526"/>
                          <a:pt x="1710" y="33623"/>
                          <a:pt x="13902" y="33242"/>
                        </a:cubicBezTo>
                        <a:cubicBezTo>
                          <a:pt x="19522" y="33147"/>
                          <a:pt x="33333" y="31528"/>
                          <a:pt x="41239" y="30766"/>
                        </a:cubicBezTo>
                        <a:cubicBezTo>
                          <a:pt x="55050" y="29337"/>
                          <a:pt x="94293" y="31432"/>
                          <a:pt x="105533" y="34480"/>
                        </a:cubicBezTo>
                        <a:cubicBezTo>
                          <a:pt x="127536" y="40481"/>
                          <a:pt x="140204" y="47053"/>
                          <a:pt x="140204" y="47053"/>
                        </a:cubicBezTo>
                        <a:cubicBezTo>
                          <a:pt x="140204" y="47053"/>
                          <a:pt x="134203" y="33528"/>
                          <a:pt x="109438" y="1771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3" name="Freihandform: Form 252">
                    <a:extLst>
                      <a:ext uri="{FF2B5EF4-FFF2-40B4-BE49-F238E27FC236}">
                        <a16:creationId xmlns:a16="http://schemas.microsoft.com/office/drawing/2014/main" id="{26CE7D3F-1586-89D9-445A-E09EABC1699A}"/>
                      </a:ext>
                    </a:extLst>
                  </p:cNvPr>
                  <p:cNvSpPr/>
                  <p:nvPr/>
                </p:nvSpPr>
                <p:spPr>
                  <a:xfrm rot="-5166000">
                    <a:off x="9156216" y="1194137"/>
                    <a:ext cx="40385" cy="37909"/>
                  </a:xfrm>
                  <a:custGeom>
                    <a:avLst/>
                    <a:gdLst>
                      <a:gd name="connsiteX0" fmla="*/ 40386 w 40385"/>
                      <a:gd name="connsiteY0" fmla="*/ 18955 h 37909"/>
                      <a:gd name="connsiteX1" fmla="*/ 20193 w 40385"/>
                      <a:gd name="connsiteY1" fmla="*/ 37910 h 37909"/>
                      <a:gd name="connsiteX2" fmla="*/ 0 w 40385"/>
                      <a:gd name="connsiteY2" fmla="*/ 18955 h 37909"/>
                      <a:gd name="connsiteX3" fmla="*/ 20193 w 40385"/>
                      <a:gd name="connsiteY3" fmla="*/ 0 h 37909"/>
                      <a:gd name="connsiteX4" fmla="*/ 40386 w 40385"/>
                      <a:gd name="connsiteY4" fmla="*/ 18955 h 379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385" h="37909">
                        <a:moveTo>
                          <a:pt x="40386" y="18955"/>
                        </a:moveTo>
                        <a:cubicBezTo>
                          <a:pt x="40386" y="29423"/>
                          <a:pt x="31345" y="37910"/>
                          <a:pt x="20193" y="37910"/>
                        </a:cubicBezTo>
                        <a:cubicBezTo>
                          <a:pt x="9041" y="37910"/>
                          <a:pt x="0" y="29423"/>
                          <a:pt x="0" y="18955"/>
                        </a:cubicBezTo>
                        <a:cubicBezTo>
                          <a:pt x="0" y="8486"/>
                          <a:pt x="9041" y="0"/>
                          <a:pt x="20193" y="0"/>
                        </a:cubicBezTo>
                        <a:cubicBezTo>
                          <a:pt x="31345" y="0"/>
                          <a:pt x="40386" y="8486"/>
                          <a:pt x="40386" y="18955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4" name="Freihandform: Form 253">
                    <a:extLst>
                      <a:ext uri="{FF2B5EF4-FFF2-40B4-BE49-F238E27FC236}">
                        <a16:creationId xmlns:a16="http://schemas.microsoft.com/office/drawing/2014/main" id="{0ABA1064-C75C-65C6-836E-699AF9004ECB}"/>
                      </a:ext>
                    </a:extLst>
                  </p:cNvPr>
                  <p:cNvSpPr/>
                  <p:nvPr/>
                </p:nvSpPr>
                <p:spPr>
                  <a:xfrm>
                    <a:off x="9106502" y="1122045"/>
                    <a:ext cx="140013" cy="47053"/>
                  </a:xfrm>
                  <a:custGeom>
                    <a:avLst/>
                    <a:gdLst>
                      <a:gd name="connsiteX0" fmla="*/ 30766 w 140013"/>
                      <a:gd name="connsiteY0" fmla="*/ 17716 h 47053"/>
                      <a:gd name="connsiteX1" fmla="*/ 84297 w 140013"/>
                      <a:gd name="connsiteY1" fmla="*/ 762 h 47053"/>
                      <a:gd name="connsiteX2" fmla="*/ 84297 w 140013"/>
                      <a:gd name="connsiteY2" fmla="*/ 762 h 47053"/>
                      <a:gd name="connsiteX3" fmla="*/ 132302 w 140013"/>
                      <a:gd name="connsiteY3" fmla="*/ 6191 h 47053"/>
                      <a:gd name="connsiteX4" fmla="*/ 135731 w 140013"/>
                      <a:gd name="connsiteY4" fmla="*/ 8858 h 47053"/>
                      <a:gd name="connsiteX5" fmla="*/ 126111 w 140013"/>
                      <a:gd name="connsiteY5" fmla="*/ 33242 h 47053"/>
                      <a:gd name="connsiteX6" fmla="*/ 98774 w 140013"/>
                      <a:gd name="connsiteY6" fmla="*/ 30766 h 47053"/>
                      <a:gd name="connsiteX7" fmla="*/ 34576 w 140013"/>
                      <a:gd name="connsiteY7" fmla="*/ 34480 h 47053"/>
                      <a:gd name="connsiteX8" fmla="*/ 0 w 140013"/>
                      <a:gd name="connsiteY8" fmla="*/ 47053 h 47053"/>
                      <a:gd name="connsiteX9" fmla="*/ 30766 w 140013"/>
                      <a:gd name="connsiteY9" fmla="*/ 17716 h 470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40013" h="47053">
                        <a:moveTo>
                          <a:pt x="30766" y="17716"/>
                        </a:moveTo>
                        <a:cubicBezTo>
                          <a:pt x="49339" y="5905"/>
                          <a:pt x="69438" y="1429"/>
                          <a:pt x="84297" y="762"/>
                        </a:cubicBezTo>
                        <a:lnTo>
                          <a:pt x="84297" y="762"/>
                        </a:lnTo>
                        <a:cubicBezTo>
                          <a:pt x="109824" y="-1810"/>
                          <a:pt x="126778" y="2667"/>
                          <a:pt x="132302" y="6191"/>
                        </a:cubicBezTo>
                        <a:cubicBezTo>
                          <a:pt x="133636" y="7048"/>
                          <a:pt x="134684" y="7906"/>
                          <a:pt x="135731" y="8858"/>
                        </a:cubicBezTo>
                        <a:cubicBezTo>
                          <a:pt x="144875" y="17526"/>
                          <a:pt x="138303" y="33623"/>
                          <a:pt x="126111" y="33242"/>
                        </a:cubicBezTo>
                        <a:cubicBezTo>
                          <a:pt x="120491" y="33147"/>
                          <a:pt x="106680" y="31528"/>
                          <a:pt x="98774" y="30766"/>
                        </a:cubicBezTo>
                        <a:cubicBezTo>
                          <a:pt x="84963" y="29337"/>
                          <a:pt x="45815" y="31432"/>
                          <a:pt x="34576" y="34480"/>
                        </a:cubicBezTo>
                        <a:cubicBezTo>
                          <a:pt x="12573" y="40481"/>
                          <a:pt x="0" y="47053"/>
                          <a:pt x="0" y="47053"/>
                        </a:cubicBezTo>
                        <a:cubicBezTo>
                          <a:pt x="0" y="47053"/>
                          <a:pt x="6001" y="33528"/>
                          <a:pt x="30766" y="1771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5" name="Freihandform: Form 254">
                    <a:extLst>
                      <a:ext uri="{FF2B5EF4-FFF2-40B4-BE49-F238E27FC236}">
                        <a16:creationId xmlns:a16="http://schemas.microsoft.com/office/drawing/2014/main" id="{2E1505E7-E1FF-ED02-7DAC-6284D5299875}"/>
                      </a:ext>
                    </a:extLst>
                  </p:cNvPr>
                  <p:cNvSpPr/>
                  <p:nvPr/>
                </p:nvSpPr>
                <p:spPr>
                  <a:xfrm>
                    <a:off x="9123564" y="1183592"/>
                    <a:ext cx="103635" cy="27457"/>
                  </a:xfrm>
                  <a:custGeom>
                    <a:avLst/>
                    <a:gdLst>
                      <a:gd name="connsiteX0" fmla="*/ 3227 w 103635"/>
                      <a:gd name="connsiteY0" fmla="*/ 17795 h 27457"/>
                      <a:gd name="connsiteX1" fmla="*/ 46185 w 103635"/>
                      <a:gd name="connsiteY1" fmla="*/ 174 h 27457"/>
                      <a:gd name="connsiteX2" fmla="*/ 101239 w 103635"/>
                      <a:gd name="connsiteY2" fmla="*/ 17509 h 27457"/>
                      <a:gd name="connsiteX3" fmla="*/ 97905 w 103635"/>
                      <a:gd name="connsiteY3" fmla="*/ 26939 h 27457"/>
                      <a:gd name="connsiteX4" fmla="*/ 54281 w 103635"/>
                      <a:gd name="connsiteY4" fmla="*/ 11699 h 27457"/>
                      <a:gd name="connsiteX5" fmla="*/ 10847 w 103635"/>
                      <a:gd name="connsiteY5" fmla="*/ 21415 h 27457"/>
                      <a:gd name="connsiteX6" fmla="*/ 1322 w 103635"/>
                      <a:gd name="connsiteY6" fmla="*/ 25606 h 27457"/>
                      <a:gd name="connsiteX7" fmla="*/ 3417 w 103635"/>
                      <a:gd name="connsiteY7" fmla="*/ 17795 h 274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03635" h="27457">
                        <a:moveTo>
                          <a:pt x="3227" y="17795"/>
                        </a:moveTo>
                        <a:cubicBezTo>
                          <a:pt x="7989" y="12938"/>
                          <a:pt x="23896" y="1412"/>
                          <a:pt x="46185" y="174"/>
                        </a:cubicBezTo>
                        <a:cubicBezTo>
                          <a:pt x="76569" y="-1541"/>
                          <a:pt x="94000" y="9794"/>
                          <a:pt x="101239" y="17509"/>
                        </a:cubicBezTo>
                        <a:cubicBezTo>
                          <a:pt x="106478" y="23034"/>
                          <a:pt x="102096" y="29321"/>
                          <a:pt x="97905" y="26939"/>
                        </a:cubicBezTo>
                        <a:cubicBezTo>
                          <a:pt x="86952" y="20748"/>
                          <a:pt x="81046" y="14843"/>
                          <a:pt x="54281" y="11699"/>
                        </a:cubicBezTo>
                        <a:cubicBezTo>
                          <a:pt x="35517" y="9413"/>
                          <a:pt x="17705" y="17605"/>
                          <a:pt x="10847" y="21415"/>
                        </a:cubicBezTo>
                        <a:cubicBezTo>
                          <a:pt x="5608" y="24368"/>
                          <a:pt x="2941" y="26844"/>
                          <a:pt x="1322" y="25606"/>
                        </a:cubicBezTo>
                        <a:cubicBezTo>
                          <a:pt x="-1631" y="23415"/>
                          <a:pt x="941" y="20272"/>
                          <a:pt x="3417" y="17795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6" name="Freihandform: Form 255">
                    <a:extLst>
                      <a:ext uri="{FF2B5EF4-FFF2-40B4-BE49-F238E27FC236}">
                        <a16:creationId xmlns:a16="http://schemas.microsoft.com/office/drawing/2014/main" id="{07428370-27AD-2FCA-CD19-4A9185F00233}"/>
                      </a:ext>
                    </a:extLst>
                  </p:cNvPr>
                  <p:cNvSpPr/>
                  <p:nvPr/>
                </p:nvSpPr>
                <p:spPr>
                  <a:xfrm rot="-234000">
                    <a:off x="9358240" y="1193075"/>
                    <a:ext cx="37909" cy="40385"/>
                  </a:xfrm>
                  <a:custGeom>
                    <a:avLst/>
                    <a:gdLst>
                      <a:gd name="connsiteX0" fmla="*/ 37910 w 37909"/>
                      <a:gd name="connsiteY0" fmla="*/ 20193 h 40385"/>
                      <a:gd name="connsiteX1" fmla="*/ 18955 w 37909"/>
                      <a:gd name="connsiteY1" fmla="*/ 40386 h 40385"/>
                      <a:gd name="connsiteX2" fmla="*/ 0 w 37909"/>
                      <a:gd name="connsiteY2" fmla="*/ 20193 h 40385"/>
                      <a:gd name="connsiteX3" fmla="*/ 18955 w 37909"/>
                      <a:gd name="connsiteY3" fmla="*/ 0 h 40385"/>
                      <a:gd name="connsiteX4" fmla="*/ 37910 w 37909"/>
                      <a:gd name="connsiteY4" fmla="*/ 20193 h 403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7909" h="40385">
                        <a:moveTo>
                          <a:pt x="37910" y="20193"/>
                        </a:moveTo>
                        <a:cubicBezTo>
                          <a:pt x="37910" y="31345"/>
                          <a:pt x="29424" y="40386"/>
                          <a:pt x="18955" y="40386"/>
                        </a:cubicBezTo>
                        <a:cubicBezTo>
                          <a:pt x="8486" y="40386"/>
                          <a:pt x="0" y="31345"/>
                          <a:pt x="0" y="20193"/>
                        </a:cubicBezTo>
                        <a:cubicBezTo>
                          <a:pt x="0" y="9041"/>
                          <a:pt x="8486" y="0"/>
                          <a:pt x="18955" y="0"/>
                        </a:cubicBezTo>
                        <a:cubicBezTo>
                          <a:pt x="29424" y="0"/>
                          <a:pt x="37910" y="9041"/>
                          <a:pt x="37910" y="20193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7" name="Freihandform: Form 256">
                    <a:extLst>
                      <a:ext uri="{FF2B5EF4-FFF2-40B4-BE49-F238E27FC236}">
                        <a16:creationId xmlns:a16="http://schemas.microsoft.com/office/drawing/2014/main" id="{7F00906F-747B-2B90-4236-7FA2D6C18FCE}"/>
                      </a:ext>
                    </a:extLst>
                  </p:cNvPr>
                  <p:cNvSpPr/>
                  <p:nvPr/>
                </p:nvSpPr>
                <p:spPr>
                  <a:xfrm>
                    <a:off x="9326515" y="1183592"/>
                    <a:ext cx="103634" cy="27457"/>
                  </a:xfrm>
                  <a:custGeom>
                    <a:avLst/>
                    <a:gdLst>
                      <a:gd name="connsiteX0" fmla="*/ 100408 w 103634"/>
                      <a:gd name="connsiteY0" fmla="*/ 17795 h 27457"/>
                      <a:gd name="connsiteX1" fmla="*/ 57450 w 103634"/>
                      <a:gd name="connsiteY1" fmla="*/ 174 h 27457"/>
                      <a:gd name="connsiteX2" fmla="*/ 2396 w 103634"/>
                      <a:gd name="connsiteY2" fmla="*/ 17509 h 27457"/>
                      <a:gd name="connsiteX3" fmla="*/ 5730 w 103634"/>
                      <a:gd name="connsiteY3" fmla="*/ 26939 h 27457"/>
                      <a:gd name="connsiteX4" fmla="*/ 49354 w 103634"/>
                      <a:gd name="connsiteY4" fmla="*/ 11699 h 27457"/>
                      <a:gd name="connsiteX5" fmla="*/ 92788 w 103634"/>
                      <a:gd name="connsiteY5" fmla="*/ 21415 h 27457"/>
                      <a:gd name="connsiteX6" fmla="*/ 102313 w 103634"/>
                      <a:gd name="connsiteY6" fmla="*/ 25606 h 27457"/>
                      <a:gd name="connsiteX7" fmla="*/ 100218 w 103634"/>
                      <a:gd name="connsiteY7" fmla="*/ 17795 h 274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03634" h="27457">
                        <a:moveTo>
                          <a:pt x="100408" y="17795"/>
                        </a:moveTo>
                        <a:cubicBezTo>
                          <a:pt x="95646" y="12938"/>
                          <a:pt x="79739" y="1412"/>
                          <a:pt x="57450" y="174"/>
                        </a:cubicBezTo>
                        <a:cubicBezTo>
                          <a:pt x="27066" y="-1541"/>
                          <a:pt x="9635" y="9794"/>
                          <a:pt x="2396" y="17509"/>
                        </a:cubicBezTo>
                        <a:cubicBezTo>
                          <a:pt x="-2842" y="23034"/>
                          <a:pt x="1539" y="29321"/>
                          <a:pt x="5730" y="26939"/>
                        </a:cubicBezTo>
                        <a:cubicBezTo>
                          <a:pt x="16684" y="20748"/>
                          <a:pt x="22589" y="14843"/>
                          <a:pt x="49354" y="11699"/>
                        </a:cubicBezTo>
                        <a:cubicBezTo>
                          <a:pt x="68118" y="9413"/>
                          <a:pt x="85930" y="17605"/>
                          <a:pt x="92788" y="21415"/>
                        </a:cubicBezTo>
                        <a:cubicBezTo>
                          <a:pt x="98027" y="24368"/>
                          <a:pt x="100694" y="26844"/>
                          <a:pt x="102313" y="25606"/>
                        </a:cubicBezTo>
                        <a:cubicBezTo>
                          <a:pt x="105266" y="23415"/>
                          <a:pt x="102694" y="20272"/>
                          <a:pt x="100218" y="17795"/>
                        </a:cubicBezTo>
                        <a:close/>
                      </a:path>
                    </a:pathLst>
                  </a:custGeom>
                  <a:solidFill>
                    <a:srgbClr val="28150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8" name="Freihandform: Form 257">
                    <a:extLst>
                      <a:ext uri="{FF2B5EF4-FFF2-40B4-BE49-F238E27FC236}">
                        <a16:creationId xmlns:a16="http://schemas.microsoft.com/office/drawing/2014/main" id="{4A6AD6FA-4446-B65E-4D84-A3659C9BE90C}"/>
                      </a:ext>
                    </a:extLst>
                  </p:cNvPr>
                  <p:cNvSpPr/>
                  <p:nvPr/>
                </p:nvSpPr>
                <p:spPr>
                  <a:xfrm>
                    <a:off x="9123366" y="781823"/>
                    <a:ext cx="508630" cy="429280"/>
                  </a:xfrm>
                  <a:custGeom>
                    <a:avLst/>
                    <a:gdLst>
                      <a:gd name="connsiteX0" fmla="*/ 91 w 508630"/>
                      <a:gd name="connsiteY0" fmla="*/ 94667 h 429280"/>
                      <a:gd name="connsiteX1" fmla="*/ 318131 w 508630"/>
                      <a:gd name="connsiteY1" fmla="*/ 352223 h 429280"/>
                      <a:gd name="connsiteX2" fmla="*/ 508631 w 508630"/>
                      <a:gd name="connsiteY2" fmla="*/ 429281 h 429280"/>
                      <a:gd name="connsiteX3" fmla="*/ 449956 w 508630"/>
                      <a:gd name="connsiteY3" fmla="*/ 231446 h 429280"/>
                      <a:gd name="connsiteX4" fmla="*/ 91 w 508630"/>
                      <a:gd name="connsiteY4" fmla="*/ 94667 h 4292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8630" h="429280">
                        <a:moveTo>
                          <a:pt x="91" y="94667"/>
                        </a:moveTo>
                        <a:cubicBezTo>
                          <a:pt x="-4576" y="204586"/>
                          <a:pt x="171731" y="297931"/>
                          <a:pt x="318131" y="352223"/>
                        </a:cubicBezTo>
                        <a:cubicBezTo>
                          <a:pt x="464530" y="406516"/>
                          <a:pt x="508631" y="429281"/>
                          <a:pt x="508631" y="429281"/>
                        </a:cubicBezTo>
                        <a:cubicBezTo>
                          <a:pt x="508631" y="429281"/>
                          <a:pt x="454338" y="371464"/>
                          <a:pt x="449956" y="231446"/>
                        </a:cubicBezTo>
                        <a:cubicBezTo>
                          <a:pt x="445003" y="73236"/>
                          <a:pt x="191067" y="-118597"/>
                          <a:pt x="91" y="94667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259" name="Grafik 23">
                    <a:extLst>
                      <a:ext uri="{FF2B5EF4-FFF2-40B4-BE49-F238E27FC236}">
                        <a16:creationId xmlns:a16="http://schemas.microsoft.com/office/drawing/2014/main" id="{94B8A1DB-75A0-5973-084D-465050F02D29}"/>
                      </a:ext>
                    </a:extLst>
                  </p:cNvPr>
                  <p:cNvGrpSpPr/>
                  <p:nvPr/>
                </p:nvGrpSpPr>
                <p:grpSpPr>
                  <a:xfrm>
                    <a:off x="8395080" y="3305841"/>
                    <a:ext cx="234464" cy="670178"/>
                    <a:chOff x="8395080" y="3305841"/>
                    <a:chExt cx="234464" cy="670178"/>
                  </a:xfrm>
                  <a:solidFill>
                    <a:srgbClr val="8A5942"/>
                  </a:solidFill>
                </p:grpSpPr>
                <p:sp>
                  <p:nvSpPr>
                    <p:cNvPr id="272" name="Freihandform: Form 271">
                      <a:extLst>
                        <a:ext uri="{FF2B5EF4-FFF2-40B4-BE49-F238E27FC236}">
                          <a16:creationId xmlns:a16="http://schemas.microsoft.com/office/drawing/2014/main" id="{9E4028E3-F216-3F54-4A17-9C90FE0311E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33275" y="3305841"/>
                      <a:ext cx="191738" cy="211264"/>
                    </a:xfrm>
                    <a:custGeom>
                      <a:avLst/>
                      <a:gdLst>
                        <a:gd name="connsiteX0" fmla="*/ 95 w 191738"/>
                        <a:gd name="connsiteY0" fmla="*/ 0 h 211264"/>
                        <a:gd name="connsiteX1" fmla="*/ 21431 w 191738"/>
                        <a:gd name="connsiteY1" fmla="*/ 211264 h 211264"/>
                        <a:gd name="connsiteX2" fmla="*/ 156782 w 191738"/>
                        <a:gd name="connsiteY2" fmla="*/ 200406 h 211264"/>
                        <a:gd name="connsiteX3" fmla="*/ 191738 w 191738"/>
                        <a:gd name="connsiteY3" fmla="*/ 10763 h 211264"/>
                        <a:gd name="connsiteX4" fmla="*/ 0 w 191738"/>
                        <a:gd name="connsiteY4" fmla="*/ 0 h 2112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91738" h="211264">
                          <a:moveTo>
                            <a:pt x="95" y="0"/>
                          </a:moveTo>
                          <a:cubicBezTo>
                            <a:pt x="5239" y="79629"/>
                            <a:pt x="13525" y="148495"/>
                            <a:pt x="21431" y="211264"/>
                          </a:cubicBezTo>
                          <a:lnTo>
                            <a:pt x="156782" y="200406"/>
                          </a:lnTo>
                          <a:cubicBezTo>
                            <a:pt x="156782" y="200406"/>
                            <a:pt x="172212" y="119158"/>
                            <a:pt x="191738" y="10763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273" name="Grafik 23">
                      <a:extLst>
                        <a:ext uri="{FF2B5EF4-FFF2-40B4-BE49-F238E27FC236}">
                          <a16:creationId xmlns:a16="http://schemas.microsoft.com/office/drawing/2014/main" id="{006008AC-5E1D-288A-0582-BE0907DAD82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395080" y="3436239"/>
                      <a:ext cx="234464" cy="539781"/>
                      <a:chOff x="8395080" y="3436239"/>
                      <a:chExt cx="234464" cy="539781"/>
                    </a:xfrm>
                    <a:solidFill>
                      <a:srgbClr val="8A5942"/>
                    </a:solidFill>
                  </p:grpSpPr>
                  <p:sp>
                    <p:nvSpPr>
                      <p:cNvPr id="274" name="Freihandform: Form 273">
                        <a:extLst>
                          <a:ext uri="{FF2B5EF4-FFF2-40B4-BE49-F238E27FC236}">
                            <a16:creationId xmlns:a16="http://schemas.microsoft.com/office/drawing/2014/main" id="{0BE91111-8F44-3114-21D8-58D5EDD133C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66681" y="3802691"/>
                        <a:ext cx="54546" cy="83127"/>
                      </a:xfrm>
                      <a:custGeom>
                        <a:avLst/>
                        <a:gdLst>
                          <a:gd name="connsiteX0" fmla="*/ 47557 w 54546"/>
                          <a:gd name="connsiteY0" fmla="*/ 83128 h 83127"/>
                          <a:gd name="connsiteX1" fmla="*/ 13648 w 54546"/>
                          <a:gd name="connsiteY1" fmla="*/ 55791 h 83127"/>
                          <a:gd name="connsiteX2" fmla="*/ 2885 w 54546"/>
                          <a:gd name="connsiteY2" fmla="*/ 9595 h 83127"/>
                          <a:gd name="connsiteX3" fmla="*/ 7838 w 54546"/>
                          <a:gd name="connsiteY3" fmla="*/ 70 h 83127"/>
                          <a:gd name="connsiteX4" fmla="*/ 43747 w 54546"/>
                          <a:gd name="connsiteY4" fmla="*/ 39694 h 83127"/>
                          <a:gd name="connsiteX5" fmla="*/ 47557 w 54546"/>
                          <a:gd name="connsiteY5" fmla="*/ 83128 h 83127"/>
                          <a:gd name="connsiteX6" fmla="*/ 47557 w 54546"/>
                          <a:gd name="connsiteY6" fmla="*/ 83128 h 831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4546" h="83127">
                            <a:moveTo>
                              <a:pt x="47557" y="83128"/>
                            </a:moveTo>
                            <a:lnTo>
                              <a:pt x="13648" y="55791"/>
                            </a:lnTo>
                            <a:cubicBezTo>
                              <a:pt x="979" y="45218"/>
                              <a:pt x="-3497" y="28264"/>
                              <a:pt x="2885" y="9595"/>
                            </a:cubicBezTo>
                            <a:cubicBezTo>
                              <a:pt x="4980" y="3594"/>
                              <a:pt x="6790" y="-597"/>
                              <a:pt x="7838" y="70"/>
                            </a:cubicBezTo>
                            <a:cubicBezTo>
                              <a:pt x="9743" y="1499"/>
                              <a:pt x="25173" y="18262"/>
                              <a:pt x="43747" y="39694"/>
                            </a:cubicBezTo>
                            <a:cubicBezTo>
                              <a:pt x="55463" y="53219"/>
                              <a:pt x="58987" y="64744"/>
                              <a:pt x="47557" y="83128"/>
                            </a:cubicBezTo>
                            <a:lnTo>
                              <a:pt x="47557" y="83128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275" name="Freihandform: Form 274">
                        <a:extLst>
                          <a:ext uri="{FF2B5EF4-FFF2-40B4-BE49-F238E27FC236}">
                            <a16:creationId xmlns:a16="http://schemas.microsoft.com/office/drawing/2014/main" id="{0C34865B-B480-F390-6D83-3457AB20677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19369" y="3769457"/>
                        <a:ext cx="73352" cy="89024"/>
                      </a:xfrm>
                      <a:custGeom>
                        <a:avLst/>
                        <a:gdLst>
                          <a:gd name="connsiteX0" fmla="*/ 60960 w 73352"/>
                          <a:gd name="connsiteY0" fmla="*/ 89025 h 89024"/>
                          <a:gd name="connsiteX1" fmla="*/ 9525 w 73352"/>
                          <a:gd name="connsiteY1" fmla="*/ 44448 h 89024"/>
                          <a:gd name="connsiteX2" fmla="*/ 0 w 73352"/>
                          <a:gd name="connsiteY2" fmla="*/ 31494 h 89024"/>
                          <a:gd name="connsiteX3" fmla="*/ 40291 w 73352"/>
                          <a:gd name="connsiteY3" fmla="*/ 537 h 89024"/>
                          <a:gd name="connsiteX4" fmla="*/ 66675 w 73352"/>
                          <a:gd name="connsiteY4" fmla="*/ 44829 h 89024"/>
                          <a:gd name="connsiteX5" fmla="*/ 60864 w 73352"/>
                          <a:gd name="connsiteY5" fmla="*/ 89025 h 89024"/>
                          <a:gd name="connsiteX6" fmla="*/ 60864 w 73352"/>
                          <a:gd name="connsiteY6" fmla="*/ 89025 h 8902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3352" h="89024">
                            <a:moveTo>
                              <a:pt x="60960" y="89025"/>
                            </a:moveTo>
                            <a:lnTo>
                              <a:pt x="9525" y="44448"/>
                            </a:lnTo>
                            <a:cubicBezTo>
                              <a:pt x="3334" y="38637"/>
                              <a:pt x="1524" y="34446"/>
                              <a:pt x="0" y="31494"/>
                            </a:cubicBezTo>
                            <a:cubicBezTo>
                              <a:pt x="1048" y="12063"/>
                              <a:pt x="25432" y="-3082"/>
                              <a:pt x="40291" y="537"/>
                            </a:cubicBezTo>
                            <a:lnTo>
                              <a:pt x="66675" y="44829"/>
                            </a:lnTo>
                            <a:cubicBezTo>
                              <a:pt x="78105" y="57307"/>
                              <a:pt x="74009" y="72261"/>
                              <a:pt x="60864" y="89025"/>
                            </a:cubicBezTo>
                            <a:lnTo>
                              <a:pt x="60864" y="89025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276" name="Freihandform: Form 275">
                        <a:extLst>
                          <a:ext uri="{FF2B5EF4-FFF2-40B4-BE49-F238E27FC236}">
                            <a16:creationId xmlns:a16="http://schemas.microsoft.com/office/drawing/2014/main" id="{4892DC37-6C2C-8CB7-2099-780AAFAA9F9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55898" y="3838165"/>
                        <a:ext cx="63906" cy="105660"/>
                      </a:xfrm>
                      <a:custGeom>
                        <a:avLst/>
                        <a:gdLst>
                          <a:gd name="connsiteX0" fmla="*/ 55673 w 63906"/>
                          <a:gd name="connsiteY0" fmla="*/ 105660 h 105660"/>
                          <a:gd name="connsiteX1" fmla="*/ 15954 w 63906"/>
                          <a:gd name="connsiteY1" fmla="*/ 67179 h 105660"/>
                          <a:gd name="connsiteX2" fmla="*/ 3476 w 63906"/>
                          <a:gd name="connsiteY2" fmla="*/ 10506 h 105660"/>
                          <a:gd name="connsiteX3" fmla="*/ 9287 w 63906"/>
                          <a:gd name="connsiteY3" fmla="*/ 123 h 105660"/>
                          <a:gd name="connsiteX4" fmla="*/ 51292 w 63906"/>
                          <a:gd name="connsiteY4" fmla="*/ 53559 h 105660"/>
                          <a:gd name="connsiteX5" fmla="*/ 55673 w 63906"/>
                          <a:gd name="connsiteY5" fmla="*/ 105565 h 105660"/>
                          <a:gd name="connsiteX6" fmla="*/ 55673 w 63906"/>
                          <a:gd name="connsiteY6" fmla="*/ 105565 h 1056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3906" h="105660">
                            <a:moveTo>
                              <a:pt x="55673" y="105660"/>
                            </a:moveTo>
                            <a:lnTo>
                              <a:pt x="15954" y="67179"/>
                            </a:lnTo>
                            <a:cubicBezTo>
                              <a:pt x="1095" y="52321"/>
                              <a:pt x="-4144" y="31556"/>
                              <a:pt x="3476" y="10506"/>
                            </a:cubicBezTo>
                            <a:cubicBezTo>
                              <a:pt x="5953" y="3838"/>
                              <a:pt x="8144" y="-829"/>
                              <a:pt x="9287" y="123"/>
                            </a:cubicBezTo>
                            <a:cubicBezTo>
                              <a:pt x="11573" y="2124"/>
                              <a:pt x="29575" y="24793"/>
                              <a:pt x="51292" y="53559"/>
                            </a:cubicBezTo>
                            <a:cubicBezTo>
                              <a:pt x="65008" y="71656"/>
                              <a:pt x="69103" y="85944"/>
                              <a:pt x="55673" y="105565"/>
                            </a:cubicBezTo>
                            <a:lnTo>
                              <a:pt x="55673" y="105565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277" name="Freihandform: Form 276">
                        <a:extLst>
                          <a:ext uri="{FF2B5EF4-FFF2-40B4-BE49-F238E27FC236}">
                            <a16:creationId xmlns:a16="http://schemas.microsoft.com/office/drawing/2014/main" id="{F630061D-1FCF-D969-5077-A1E1012077E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00115" y="3774757"/>
                        <a:ext cx="87440" cy="131349"/>
                      </a:xfrm>
                      <a:custGeom>
                        <a:avLst/>
                        <a:gdLst>
                          <a:gd name="connsiteX0" fmla="*/ 72689 w 87440"/>
                          <a:gd name="connsiteY0" fmla="*/ 131350 h 131349"/>
                          <a:gd name="connsiteX1" fmla="*/ 12205 w 87440"/>
                          <a:gd name="connsiteY1" fmla="*/ 71628 h 131349"/>
                          <a:gd name="connsiteX2" fmla="*/ 17349 w 87440"/>
                          <a:gd name="connsiteY2" fmla="*/ 4001 h 131349"/>
                          <a:gd name="connsiteX3" fmla="*/ 26112 w 87440"/>
                          <a:gd name="connsiteY3" fmla="*/ 0 h 131349"/>
                          <a:gd name="connsiteX4" fmla="*/ 79642 w 87440"/>
                          <a:gd name="connsiteY4" fmla="*/ 80010 h 131349"/>
                          <a:gd name="connsiteX5" fmla="*/ 72689 w 87440"/>
                          <a:gd name="connsiteY5" fmla="*/ 131254 h 131349"/>
                          <a:gd name="connsiteX6" fmla="*/ 72689 w 87440"/>
                          <a:gd name="connsiteY6" fmla="*/ 131254 h 13134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87440" h="131349">
                            <a:moveTo>
                              <a:pt x="72689" y="131350"/>
                            </a:moveTo>
                            <a:lnTo>
                              <a:pt x="12205" y="71628"/>
                            </a:lnTo>
                            <a:cubicBezTo>
                              <a:pt x="-5892" y="53340"/>
                              <a:pt x="-3606" y="22479"/>
                              <a:pt x="17349" y="4001"/>
                            </a:cubicBezTo>
                            <a:lnTo>
                              <a:pt x="26112" y="0"/>
                            </a:lnTo>
                            <a:lnTo>
                              <a:pt x="79642" y="80010"/>
                            </a:lnTo>
                            <a:cubicBezTo>
                              <a:pt x="93073" y="96869"/>
                              <a:pt x="88120" y="113729"/>
                              <a:pt x="72689" y="131254"/>
                            </a:cubicBezTo>
                            <a:lnTo>
                              <a:pt x="72689" y="131254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278" name="Freihandform: Form 277">
                        <a:extLst>
                          <a:ext uri="{FF2B5EF4-FFF2-40B4-BE49-F238E27FC236}">
                            <a16:creationId xmlns:a16="http://schemas.microsoft.com/office/drawing/2014/main" id="{341D3A79-8C76-50F4-D1B8-F35B2F82038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395080" y="3720421"/>
                        <a:ext cx="62960" cy="111771"/>
                      </a:xfrm>
                      <a:custGeom>
                        <a:avLst/>
                        <a:gdLst>
                          <a:gd name="connsiteX0" fmla="*/ 0 w 62960"/>
                          <a:gd name="connsiteY0" fmla="*/ 9378 h 111771"/>
                          <a:gd name="connsiteX1" fmla="*/ 4191 w 62960"/>
                          <a:gd name="connsiteY1" fmla="*/ 100628 h 111771"/>
                          <a:gd name="connsiteX2" fmla="*/ 8287 w 62960"/>
                          <a:gd name="connsiteY2" fmla="*/ 111772 h 111771"/>
                          <a:gd name="connsiteX3" fmla="*/ 57150 w 62960"/>
                          <a:gd name="connsiteY3" fmla="*/ 67100 h 111771"/>
                          <a:gd name="connsiteX4" fmla="*/ 62961 w 62960"/>
                          <a:gd name="connsiteY4" fmla="*/ 18236 h 111771"/>
                          <a:gd name="connsiteX5" fmla="*/ 0 w 62960"/>
                          <a:gd name="connsiteY5" fmla="*/ 9378 h 11177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62960" h="111771">
                            <a:moveTo>
                              <a:pt x="0" y="9378"/>
                            </a:moveTo>
                            <a:cubicBezTo>
                              <a:pt x="477" y="28142"/>
                              <a:pt x="4191" y="100628"/>
                              <a:pt x="4191" y="100628"/>
                            </a:cubicBezTo>
                            <a:lnTo>
                              <a:pt x="8287" y="111772"/>
                            </a:lnTo>
                            <a:cubicBezTo>
                              <a:pt x="34957" y="111296"/>
                              <a:pt x="54674" y="91484"/>
                              <a:pt x="57150" y="67100"/>
                            </a:cubicBezTo>
                            <a:lnTo>
                              <a:pt x="62961" y="18236"/>
                            </a:lnTo>
                            <a:cubicBezTo>
                              <a:pt x="55436" y="1568"/>
                              <a:pt x="8192" y="-8338"/>
                              <a:pt x="0" y="9378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grpSp>
                    <p:nvGrpSpPr>
                      <p:cNvPr id="279" name="Grafik 23">
                        <a:extLst>
                          <a:ext uri="{FF2B5EF4-FFF2-40B4-BE49-F238E27FC236}">
                            <a16:creationId xmlns:a16="http://schemas.microsoft.com/office/drawing/2014/main" id="{93CFAB64-3BA7-F4A7-8566-3F6C8ED05C2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8415082" y="3708417"/>
                        <a:ext cx="91882" cy="267603"/>
                        <a:chOff x="8415082" y="3708417"/>
                        <a:chExt cx="91882" cy="267603"/>
                      </a:xfrm>
                      <a:solidFill>
                        <a:srgbClr val="8A5942"/>
                      </a:solidFill>
                    </p:grpSpPr>
                    <p:sp>
                      <p:nvSpPr>
                        <p:cNvPr id="289" name="Freihandform: Form 288">
                          <a:extLst>
                            <a:ext uri="{FF2B5EF4-FFF2-40B4-BE49-F238E27FC236}">
                              <a16:creationId xmlns:a16="http://schemas.microsoft.com/office/drawing/2014/main" id="{3CB47978-2356-49D3-7996-5DA923DD7DA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56624" y="3848906"/>
                          <a:ext cx="50341" cy="127114"/>
                        </a:xfrm>
                        <a:custGeom>
                          <a:avLst/>
                          <a:gdLst>
                            <a:gd name="connsiteX0" fmla="*/ 30182 w 50341"/>
                            <a:gd name="connsiteY0" fmla="*/ 127114 h 127114"/>
                            <a:gd name="connsiteX1" fmla="*/ 5131 w 50341"/>
                            <a:gd name="connsiteY1" fmla="*/ 71584 h 127114"/>
                            <a:gd name="connsiteX2" fmla="*/ 15323 w 50341"/>
                            <a:gd name="connsiteY2" fmla="*/ 8528 h 127114"/>
                            <a:gd name="connsiteX3" fmla="*/ 25515 w 50341"/>
                            <a:gd name="connsiteY3" fmla="*/ 337 h 127114"/>
                            <a:gd name="connsiteX4" fmla="*/ 46851 w 50341"/>
                            <a:gd name="connsiteY4" fmla="*/ 72060 h 127114"/>
                            <a:gd name="connsiteX5" fmla="*/ 30182 w 50341"/>
                            <a:gd name="connsiteY5" fmla="*/ 127114 h 127114"/>
                            <a:gd name="connsiteX6" fmla="*/ 30182 w 50341"/>
                            <a:gd name="connsiteY6" fmla="*/ 127114 h 12711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50341" h="127114">
                              <a:moveTo>
                                <a:pt x="30182" y="127114"/>
                              </a:moveTo>
                              <a:lnTo>
                                <a:pt x="5131" y="71584"/>
                              </a:lnTo>
                              <a:cubicBezTo>
                                <a:pt x="-4108" y="50343"/>
                                <a:pt x="-964" y="26912"/>
                                <a:pt x="15323" y="8528"/>
                              </a:cubicBezTo>
                              <a:cubicBezTo>
                                <a:pt x="20562" y="2623"/>
                                <a:pt x="24658" y="-1187"/>
                                <a:pt x="25515" y="337"/>
                              </a:cubicBezTo>
                              <a:cubicBezTo>
                                <a:pt x="27039" y="3385"/>
                                <a:pt x="36278" y="33865"/>
                                <a:pt x="46851" y="72060"/>
                              </a:cubicBezTo>
                              <a:cubicBezTo>
                                <a:pt x="53518" y="96158"/>
                                <a:pt x="51995" y="112446"/>
                                <a:pt x="30182" y="127114"/>
                              </a:cubicBezTo>
                              <a:lnTo>
                                <a:pt x="30182" y="127114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90" name="Freihandform: Form 289">
                          <a:extLst>
                            <a:ext uri="{FF2B5EF4-FFF2-40B4-BE49-F238E27FC236}">
                              <a16:creationId xmlns:a16="http://schemas.microsoft.com/office/drawing/2014/main" id="{A4DF40D6-60FD-C117-19BF-321022C8224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22907" y="3799998"/>
                          <a:ext cx="71113" cy="124396"/>
                        </a:xfrm>
                        <a:custGeom>
                          <a:avLst/>
                          <a:gdLst>
                            <a:gd name="connsiteX0" fmla="*/ 40563 w 71113"/>
                            <a:gd name="connsiteY0" fmla="*/ 124396 h 124396"/>
                            <a:gd name="connsiteX1" fmla="*/ 3415 w 71113"/>
                            <a:gd name="connsiteY1" fmla="*/ 38290 h 124396"/>
                            <a:gd name="connsiteX2" fmla="*/ 41135 w 71113"/>
                            <a:gd name="connsiteY2" fmla="*/ 2000 h 124396"/>
                            <a:gd name="connsiteX3" fmla="*/ 45325 w 71113"/>
                            <a:gd name="connsiteY3" fmla="*/ 0 h 124396"/>
                            <a:gd name="connsiteX4" fmla="*/ 69043 w 71113"/>
                            <a:gd name="connsiteY4" fmla="*/ 74295 h 124396"/>
                            <a:gd name="connsiteX5" fmla="*/ 42087 w 71113"/>
                            <a:gd name="connsiteY5" fmla="*/ 123634 h 124396"/>
                            <a:gd name="connsiteX6" fmla="*/ 40563 w 71113"/>
                            <a:gd name="connsiteY6" fmla="*/ 124396 h 12439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71113" h="124396">
                              <a:moveTo>
                                <a:pt x="40563" y="124396"/>
                              </a:moveTo>
                              <a:lnTo>
                                <a:pt x="3415" y="38290"/>
                              </a:lnTo>
                              <a:cubicBezTo>
                                <a:pt x="-7729" y="12192"/>
                                <a:pt x="9321" y="3238"/>
                                <a:pt x="41135" y="2000"/>
                              </a:cubicBezTo>
                              <a:lnTo>
                                <a:pt x="45325" y="0"/>
                              </a:lnTo>
                              <a:lnTo>
                                <a:pt x="69043" y="74295"/>
                              </a:lnTo>
                              <a:cubicBezTo>
                                <a:pt x="75996" y="97060"/>
                                <a:pt x="65042" y="112014"/>
                                <a:pt x="42087" y="123634"/>
                              </a:cubicBezTo>
                              <a:lnTo>
                                <a:pt x="40563" y="124396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91" name="Freihandform: Form 290">
                          <a:extLst>
                            <a:ext uri="{FF2B5EF4-FFF2-40B4-BE49-F238E27FC236}">
                              <a16:creationId xmlns:a16="http://schemas.microsoft.com/office/drawing/2014/main" id="{BE796AE0-E140-E79C-0150-0372BBB1B0B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15082" y="3708417"/>
                          <a:ext cx="63532" cy="120728"/>
                        </a:xfrm>
                        <a:custGeom>
                          <a:avLst/>
                          <a:gdLst>
                            <a:gd name="connsiteX0" fmla="*/ 1 w 63532"/>
                            <a:gd name="connsiteY0" fmla="*/ 12715 h 120728"/>
                            <a:gd name="connsiteX1" fmla="*/ 8573 w 63532"/>
                            <a:gd name="connsiteY1" fmla="*/ 120728 h 120728"/>
                            <a:gd name="connsiteX2" fmla="*/ 54674 w 63532"/>
                            <a:gd name="connsiteY2" fmla="*/ 92629 h 120728"/>
                            <a:gd name="connsiteX3" fmla="*/ 63532 w 63532"/>
                            <a:gd name="connsiteY3" fmla="*/ 16048 h 120728"/>
                            <a:gd name="connsiteX4" fmla="*/ 1 w 63532"/>
                            <a:gd name="connsiteY4" fmla="*/ 12619 h 12072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63532" h="120728">
                              <a:moveTo>
                                <a:pt x="1" y="12715"/>
                              </a:moveTo>
                              <a:cubicBezTo>
                                <a:pt x="-95" y="14715"/>
                                <a:pt x="8573" y="120728"/>
                                <a:pt x="8573" y="120728"/>
                              </a:cubicBezTo>
                              <a:cubicBezTo>
                                <a:pt x="37910" y="120347"/>
                                <a:pt x="51817" y="119585"/>
                                <a:pt x="54674" y="92629"/>
                              </a:cubicBezTo>
                              <a:lnTo>
                                <a:pt x="63532" y="16048"/>
                              </a:lnTo>
                              <a:cubicBezTo>
                                <a:pt x="55341" y="-2335"/>
                                <a:pt x="9144" y="-6812"/>
                                <a:pt x="1" y="12619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sp>
                    <p:nvSpPr>
                      <p:cNvPr id="280" name="Freihandform: Form 279">
                        <a:extLst>
                          <a:ext uri="{FF2B5EF4-FFF2-40B4-BE49-F238E27FC236}">
                            <a16:creationId xmlns:a16="http://schemas.microsoft.com/office/drawing/2014/main" id="{3D03A7B3-5324-161A-897A-B17363CB439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63914" y="3855038"/>
                        <a:ext cx="46483" cy="113934"/>
                      </a:xfrm>
                      <a:custGeom>
                        <a:avLst/>
                        <a:gdLst>
                          <a:gd name="connsiteX0" fmla="*/ 22320 w 46483"/>
                          <a:gd name="connsiteY0" fmla="*/ 113744 h 113934"/>
                          <a:gd name="connsiteX1" fmla="*/ 3366 w 46483"/>
                          <a:gd name="connsiteY1" fmla="*/ 60784 h 113934"/>
                          <a:gd name="connsiteX2" fmla="*/ 17844 w 46483"/>
                          <a:gd name="connsiteY2" fmla="*/ 6587 h 113934"/>
                          <a:gd name="connsiteX3" fmla="*/ 28893 w 46483"/>
                          <a:gd name="connsiteY3" fmla="*/ 396 h 113934"/>
                          <a:gd name="connsiteX4" fmla="*/ 44990 w 46483"/>
                          <a:gd name="connsiteY4" fmla="*/ 66214 h 113934"/>
                          <a:gd name="connsiteX5" fmla="*/ 22416 w 46483"/>
                          <a:gd name="connsiteY5" fmla="*/ 113934 h 113934"/>
                          <a:gd name="connsiteX6" fmla="*/ 22416 w 46483"/>
                          <a:gd name="connsiteY6" fmla="*/ 113934 h 11393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6483" h="113934">
                            <a:moveTo>
                              <a:pt x="22320" y="113744"/>
                            </a:moveTo>
                            <a:lnTo>
                              <a:pt x="3366" y="60784"/>
                            </a:lnTo>
                            <a:cubicBezTo>
                              <a:pt x="-3492" y="40591"/>
                              <a:pt x="-444" y="21161"/>
                              <a:pt x="17844" y="6587"/>
                            </a:cubicBezTo>
                            <a:cubicBezTo>
                              <a:pt x="23749" y="1920"/>
                              <a:pt x="28321" y="-1128"/>
                              <a:pt x="28893" y="396"/>
                            </a:cubicBezTo>
                            <a:cubicBezTo>
                              <a:pt x="30036" y="3254"/>
                              <a:pt x="38608" y="30495"/>
                              <a:pt x="44990" y="66214"/>
                            </a:cubicBezTo>
                            <a:cubicBezTo>
                              <a:pt x="49086" y="88788"/>
                              <a:pt x="45752" y="103171"/>
                              <a:pt x="22416" y="113934"/>
                            </a:cubicBezTo>
                            <a:lnTo>
                              <a:pt x="22416" y="113934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281" name="Freihandform: Form 280">
                        <a:extLst>
                          <a:ext uri="{FF2B5EF4-FFF2-40B4-BE49-F238E27FC236}">
                            <a16:creationId xmlns:a16="http://schemas.microsoft.com/office/drawing/2014/main" id="{F0CD59FB-5F79-6F88-593E-7A281708BD9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36560" y="3794759"/>
                        <a:ext cx="62340" cy="120967"/>
                      </a:xfrm>
                      <a:custGeom>
                        <a:avLst/>
                        <a:gdLst>
                          <a:gd name="connsiteX0" fmla="*/ 30624 w 62340"/>
                          <a:gd name="connsiteY0" fmla="*/ 120968 h 120967"/>
                          <a:gd name="connsiteX1" fmla="*/ 2335 w 62340"/>
                          <a:gd name="connsiteY1" fmla="*/ 39338 h 120967"/>
                          <a:gd name="connsiteX2" fmla="*/ 38244 w 62340"/>
                          <a:gd name="connsiteY2" fmla="*/ 0 h 120967"/>
                          <a:gd name="connsiteX3" fmla="*/ 43864 w 62340"/>
                          <a:gd name="connsiteY3" fmla="*/ 9335 h 120967"/>
                          <a:gd name="connsiteX4" fmla="*/ 61390 w 62340"/>
                          <a:gd name="connsiteY4" fmla="*/ 80867 h 120967"/>
                          <a:gd name="connsiteX5" fmla="*/ 30719 w 62340"/>
                          <a:gd name="connsiteY5" fmla="*/ 120968 h 120967"/>
                          <a:gd name="connsiteX6" fmla="*/ 30719 w 62340"/>
                          <a:gd name="connsiteY6" fmla="*/ 120968 h 12096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2340" h="120967">
                            <a:moveTo>
                              <a:pt x="30624" y="120968"/>
                            </a:moveTo>
                            <a:lnTo>
                              <a:pt x="2335" y="39338"/>
                            </a:lnTo>
                            <a:cubicBezTo>
                              <a:pt x="-5952" y="14573"/>
                              <a:pt x="8240" y="6001"/>
                              <a:pt x="38244" y="0"/>
                            </a:cubicBezTo>
                            <a:lnTo>
                              <a:pt x="43864" y="9335"/>
                            </a:lnTo>
                            <a:lnTo>
                              <a:pt x="61390" y="80867"/>
                            </a:lnTo>
                            <a:cubicBezTo>
                              <a:pt x="65771" y="102203"/>
                              <a:pt x="54912" y="113157"/>
                              <a:pt x="30719" y="120968"/>
                            </a:cubicBezTo>
                            <a:lnTo>
                              <a:pt x="30719" y="120968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282" name="Freihandform: Form 281">
                        <a:extLst>
                          <a:ext uri="{FF2B5EF4-FFF2-40B4-BE49-F238E27FC236}">
                            <a16:creationId xmlns:a16="http://schemas.microsoft.com/office/drawing/2014/main" id="{AB075AC3-4486-0836-299C-8C6DE54CE74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35054" y="3713098"/>
                        <a:ext cx="53751" cy="112434"/>
                      </a:xfrm>
                      <a:custGeom>
                        <a:avLst/>
                        <a:gdLst>
                          <a:gd name="connsiteX0" fmla="*/ 31 w 53751"/>
                          <a:gd name="connsiteY0" fmla="*/ 7176 h 112434"/>
                          <a:gd name="connsiteX1" fmla="*/ 1555 w 53751"/>
                          <a:gd name="connsiteY1" fmla="*/ 110046 h 112434"/>
                          <a:gd name="connsiteX2" fmla="*/ 44989 w 53751"/>
                          <a:gd name="connsiteY2" fmla="*/ 94806 h 112434"/>
                          <a:gd name="connsiteX3" fmla="*/ 53752 w 53751"/>
                          <a:gd name="connsiteY3" fmla="*/ 23654 h 112434"/>
                          <a:gd name="connsiteX4" fmla="*/ 31 w 53751"/>
                          <a:gd name="connsiteY4" fmla="*/ 7176 h 11243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53751" h="112434">
                            <a:moveTo>
                              <a:pt x="31" y="7176"/>
                            </a:moveTo>
                            <a:cubicBezTo>
                              <a:pt x="-255" y="8986"/>
                              <a:pt x="1555" y="110046"/>
                              <a:pt x="1555" y="110046"/>
                            </a:cubicBezTo>
                            <a:cubicBezTo>
                              <a:pt x="30987" y="111856"/>
                              <a:pt x="40512" y="119000"/>
                              <a:pt x="44989" y="94806"/>
                            </a:cubicBezTo>
                            <a:lnTo>
                              <a:pt x="53752" y="23654"/>
                            </a:lnTo>
                            <a:cubicBezTo>
                              <a:pt x="46703" y="6414"/>
                              <a:pt x="10318" y="-9778"/>
                              <a:pt x="31" y="7176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grpSp>
                    <p:nvGrpSpPr>
                      <p:cNvPr id="283" name="Grafik 23">
                        <a:extLst>
                          <a:ext uri="{FF2B5EF4-FFF2-40B4-BE49-F238E27FC236}">
                            <a16:creationId xmlns:a16="http://schemas.microsoft.com/office/drawing/2014/main" id="{CB7F28BE-EEC3-D159-C96F-0329533CF6E4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8483816" y="3539440"/>
                        <a:ext cx="145001" cy="336662"/>
                        <a:chOff x="8483816" y="3539440"/>
                        <a:chExt cx="145001" cy="336662"/>
                      </a:xfrm>
                      <a:solidFill>
                        <a:srgbClr val="8A5942"/>
                      </a:solidFill>
                    </p:grpSpPr>
                    <p:sp>
                      <p:nvSpPr>
                        <p:cNvPr id="286" name="Freihandform: Form 285">
                          <a:extLst>
                            <a:ext uri="{FF2B5EF4-FFF2-40B4-BE49-F238E27FC236}">
                              <a16:creationId xmlns:a16="http://schemas.microsoft.com/office/drawing/2014/main" id="{8989C6F7-4130-BD69-1E0B-3E3DAE118B1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529038" y="3738176"/>
                          <a:ext cx="60495" cy="137927"/>
                        </a:xfrm>
                        <a:custGeom>
                          <a:avLst/>
                          <a:gdLst>
                            <a:gd name="connsiteX0" fmla="*/ 24158 w 60495"/>
                            <a:gd name="connsiteY0" fmla="*/ 137927 h 137927"/>
                            <a:gd name="connsiteX1" fmla="*/ 57685 w 60495"/>
                            <a:gd name="connsiteY1" fmla="*/ 75253 h 137927"/>
                            <a:gd name="connsiteX2" fmla="*/ 53304 w 60495"/>
                            <a:gd name="connsiteY2" fmla="*/ 5815 h 137927"/>
                            <a:gd name="connsiteX3" fmla="*/ 40350 w 60495"/>
                            <a:gd name="connsiteY3" fmla="*/ 958 h 137927"/>
                            <a:gd name="connsiteX4" fmla="*/ 4726 w 60495"/>
                            <a:gd name="connsiteY4" fmla="*/ 77824 h 137927"/>
                            <a:gd name="connsiteX5" fmla="*/ 24062 w 60495"/>
                            <a:gd name="connsiteY5" fmla="*/ 137832 h 137927"/>
                            <a:gd name="connsiteX6" fmla="*/ 24062 w 60495"/>
                            <a:gd name="connsiteY6" fmla="*/ 137832 h 13792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60495" h="137927">
                              <a:moveTo>
                                <a:pt x="24158" y="137927"/>
                              </a:moveTo>
                              <a:lnTo>
                                <a:pt x="57685" y="75253"/>
                              </a:lnTo>
                              <a:cubicBezTo>
                                <a:pt x="59876" y="52964"/>
                                <a:pt x="64448" y="18579"/>
                                <a:pt x="53304" y="5815"/>
                              </a:cubicBezTo>
                              <a:cubicBezTo>
                                <a:pt x="47017" y="-1424"/>
                                <a:pt x="41398" y="-376"/>
                                <a:pt x="40350" y="958"/>
                              </a:cubicBezTo>
                              <a:cubicBezTo>
                                <a:pt x="33111" y="11149"/>
                                <a:pt x="17204" y="44868"/>
                                <a:pt x="4726" y="77824"/>
                              </a:cubicBezTo>
                              <a:cubicBezTo>
                                <a:pt x="-3941" y="100780"/>
                                <a:pt x="-2417" y="117639"/>
                                <a:pt x="24062" y="137832"/>
                              </a:cubicBezTo>
                              <a:lnTo>
                                <a:pt x="24062" y="13783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87" name="Freihandform: Form 286">
                          <a:extLst>
                            <a:ext uri="{FF2B5EF4-FFF2-40B4-BE49-F238E27FC236}">
                              <a16:creationId xmlns:a16="http://schemas.microsoft.com/office/drawing/2014/main" id="{C450DF89-27D4-9625-8CEB-94491339A40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548242" y="3697576"/>
                          <a:ext cx="80486" cy="117625"/>
                        </a:xfrm>
                        <a:custGeom>
                          <a:avLst/>
                          <a:gdLst>
                            <a:gd name="connsiteX0" fmla="*/ 80486 w 80486"/>
                            <a:gd name="connsiteY0" fmla="*/ 17269 h 117625"/>
                            <a:gd name="connsiteX1" fmla="*/ 0 w 80486"/>
                            <a:gd name="connsiteY1" fmla="*/ 10982 h 117625"/>
                            <a:gd name="connsiteX2" fmla="*/ 5810 w 80486"/>
                            <a:gd name="connsiteY2" fmla="*/ 70608 h 117625"/>
                            <a:gd name="connsiteX3" fmla="*/ 38481 w 80486"/>
                            <a:gd name="connsiteY3" fmla="*/ 115948 h 117625"/>
                            <a:gd name="connsiteX4" fmla="*/ 80486 w 80486"/>
                            <a:gd name="connsiteY4" fmla="*/ 17269 h 11762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80486" h="117625">
                              <a:moveTo>
                                <a:pt x="80486" y="17269"/>
                              </a:moveTo>
                              <a:cubicBezTo>
                                <a:pt x="61627" y="-17498"/>
                                <a:pt x="0" y="10982"/>
                                <a:pt x="0" y="10982"/>
                              </a:cubicBezTo>
                              <a:lnTo>
                                <a:pt x="5810" y="70608"/>
                              </a:lnTo>
                              <a:cubicBezTo>
                                <a:pt x="3429" y="95659"/>
                                <a:pt x="15907" y="124996"/>
                                <a:pt x="38481" y="115948"/>
                              </a:cubicBezTo>
                              <a:cubicBezTo>
                                <a:pt x="38481" y="115948"/>
                                <a:pt x="80582" y="16221"/>
                                <a:pt x="80486" y="17269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88" name="Freihandform: Form 287">
                          <a:extLst>
                            <a:ext uri="{FF2B5EF4-FFF2-40B4-BE49-F238E27FC236}">
                              <a16:creationId xmlns:a16="http://schemas.microsoft.com/office/drawing/2014/main" id="{D86F6031-5985-6365-82B7-A9B9DB9F027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483816" y="3539440"/>
                          <a:ext cx="145001" cy="187300"/>
                        </a:xfrm>
                        <a:custGeom>
                          <a:avLst/>
                          <a:gdLst>
                            <a:gd name="connsiteX0" fmla="*/ 142151 w 145001"/>
                            <a:gd name="connsiteY0" fmla="*/ 88632 h 187300"/>
                            <a:gd name="connsiteX1" fmla="*/ 144913 w 145001"/>
                            <a:gd name="connsiteY1" fmla="*/ 175405 h 187300"/>
                            <a:gd name="connsiteX2" fmla="*/ 144913 w 145001"/>
                            <a:gd name="connsiteY2" fmla="*/ 175405 h 187300"/>
                            <a:gd name="connsiteX3" fmla="*/ 64712 w 145001"/>
                            <a:gd name="connsiteY3" fmla="*/ 170642 h 187300"/>
                            <a:gd name="connsiteX4" fmla="*/ 9848 w 145001"/>
                            <a:gd name="connsiteY4" fmla="*/ 67486 h 187300"/>
                            <a:gd name="connsiteX5" fmla="*/ 104717 w 145001"/>
                            <a:gd name="connsiteY5" fmla="*/ 431 h 187300"/>
                            <a:gd name="connsiteX6" fmla="*/ 142151 w 145001"/>
                            <a:gd name="connsiteY6" fmla="*/ 88632 h 18730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145001" h="187300">
                              <a:moveTo>
                                <a:pt x="142151" y="88632"/>
                              </a:moveTo>
                              <a:cubicBezTo>
                                <a:pt x="145770" y="113302"/>
                                <a:pt x="144913" y="175405"/>
                                <a:pt x="144913" y="175405"/>
                              </a:cubicBezTo>
                              <a:lnTo>
                                <a:pt x="144913" y="175405"/>
                              </a:lnTo>
                              <a:cubicBezTo>
                                <a:pt x="107289" y="175214"/>
                                <a:pt x="108813" y="205218"/>
                                <a:pt x="64712" y="170642"/>
                              </a:cubicBezTo>
                              <a:cubicBezTo>
                                <a:pt x="64712" y="170642"/>
                                <a:pt x="53472" y="104253"/>
                                <a:pt x="9848" y="67486"/>
                              </a:cubicBezTo>
                              <a:cubicBezTo>
                                <a:pt x="-27871" y="35768"/>
                                <a:pt x="51186" y="-4618"/>
                                <a:pt x="104717" y="431"/>
                              </a:cubicBezTo>
                              <a:cubicBezTo>
                                <a:pt x="128815" y="38244"/>
                                <a:pt x="142151" y="88632"/>
                                <a:pt x="142151" y="8863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8A5942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sp>
                    <p:nvSpPr>
                      <p:cNvPr id="284" name="Freihandform: Form 283">
                        <a:extLst>
                          <a:ext uri="{FF2B5EF4-FFF2-40B4-BE49-F238E27FC236}">
                            <a16:creationId xmlns:a16="http://schemas.microsoft.com/office/drawing/2014/main" id="{6650D3DC-4525-C535-7EEF-5A094751220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395080" y="3494722"/>
                        <a:ext cx="234464" cy="282987"/>
                      </a:xfrm>
                      <a:custGeom>
                        <a:avLst/>
                        <a:gdLst>
                          <a:gd name="connsiteX0" fmla="*/ 4382 w 234464"/>
                          <a:gd name="connsiteY0" fmla="*/ 195644 h 282987"/>
                          <a:gd name="connsiteX1" fmla="*/ 59341 w 234464"/>
                          <a:gd name="connsiteY1" fmla="*/ 0 h 282987"/>
                          <a:gd name="connsiteX2" fmla="*/ 194977 w 234464"/>
                          <a:gd name="connsiteY2" fmla="*/ 11430 h 282987"/>
                          <a:gd name="connsiteX3" fmla="*/ 200787 w 234464"/>
                          <a:gd name="connsiteY3" fmla="*/ 47625 h 282987"/>
                          <a:gd name="connsiteX4" fmla="*/ 232601 w 234464"/>
                          <a:gd name="connsiteY4" fmla="*/ 177832 h 282987"/>
                          <a:gd name="connsiteX5" fmla="*/ 152877 w 234464"/>
                          <a:gd name="connsiteY5" fmla="*/ 204883 h 282987"/>
                          <a:gd name="connsiteX6" fmla="*/ 88678 w 234464"/>
                          <a:gd name="connsiteY6" fmla="*/ 282988 h 282987"/>
                          <a:gd name="connsiteX7" fmla="*/ 0 w 234464"/>
                          <a:gd name="connsiteY7" fmla="*/ 234982 h 282987"/>
                          <a:gd name="connsiteX8" fmla="*/ 4382 w 234464"/>
                          <a:gd name="connsiteY8" fmla="*/ 195548 h 2829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234464" h="282987">
                            <a:moveTo>
                              <a:pt x="4382" y="195644"/>
                            </a:moveTo>
                            <a:cubicBezTo>
                              <a:pt x="21431" y="145828"/>
                              <a:pt x="40958" y="87154"/>
                              <a:pt x="59341" y="0"/>
                            </a:cubicBezTo>
                            <a:lnTo>
                              <a:pt x="194977" y="11430"/>
                            </a:lnTo>
                            <a:cubicBezTo>
                              <a:pt x="194977" y="32099"/>
                              <a:pt x="197739" y="44005"/>
                              <a:pt x="200787" y="47625"/>
                            </a:cubicBezTo>
                            <a:cubicBezTo>
                              <a:pt x="246031" y="101727"/>
                              <a:pt x="232601" y="177832"/>
                              <a:pt x="232601" y="177832"/>
                            </a:cubicBezTo>
                            <a:cubicBezTo>
                              <a:pt x="230981" y="184976"/>
                              <a:pt x="183261" y="168688"/>
                              <a:pt x="152877" y="204883"/>
                            </a:cubicBezTo>
                            <a:cubicBezTo>
                              <a:pt x="144304" y="215075"/>
                              <a:pt x="102394" y="222885"/>
                              <a:pt x="88678" y="282988"/>
                            </a:cubicBezTo>
                            <a:cubicBezTo>
                              <a:pt x="33909" y="215837"/>
                              <a:pt x="3048" y="234125"/>
                              <a:pt x="0" y="234982"/>
                            </a:cubicBezTo>
                            <a:cubicBezTo>
                              <a:pt x="2572" y="219551"/>
                              <a:pt x="2667" y="206026"/>
                              <a:pt x="4382" y="195548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285" name="Freihandform: Form 284">
                        <a:extLst>
                          <a:ext uri="{FF2B5EF4-FFF2-40B4-BE49-F238E27FC236}">
                            <a16:creationId xmlns:a16="http://schemas.microsoft.com/office/drawing/2014/main" id="{643815FD-B383-FEF5-F4C0-68713A10EC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53659" y="3436239"/>
                        <a:ext cx="136397" cy="136398"/>
                      </a:xfrm>
                      <a:custGeom>
                        <a:avLst/>
                        <a:gdLst>
                          <a:gd name="connsiteX0" fmla="*/ 136398 w 136397"/>
                          <a:gd name="connsiteY0" fmla="*/ 68199 h 136398"/>
                          <a:gd name="connsiteX1" fmla="*/ 68199 w 136397"/>
                          <a:gd name="connsiteY1" fmla="*/ 136398 h 136398"/>
                          <a:gd name="connsiteX2" fmla="*/ 1 w 136397"/>
                          <a:gd name="connsiteY2" fmla="*/ 68199 h 136398"/>
                          <a:gd name="connsiteX3" fmla="*/ 68199 w 136397"/>
                          <a:gd name="connsiteY3" fmla="*/ 0 h 136398"/>
                          <a:gd name="connsiteX4" fmla="*/ 136398 w 136397"/>
                          <a:gd name="connsiteY4" fmla="*/ 68199 h 13639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36397" h="136398">
                            <a:moveTo>
                              <a:pt x="136398" y="68199"/>
                            </a:moveTo>
                            <a:cubicBezTo>
                              <a:pt x="136398" y="105864"/>
                              <a:pt x="105864" y="136398"/>
                              <a:pt x="68199" y="136398"/>
                            </a:cubicBezTo>
                            <a:cubicBezTo>
                              <a:pt x="30534" y="136398"/>
                              <a:pt x="1" y="105865"/>
                              <a:pt x="1" y="68199"/>
                            </a:cubicBezTo>
                            <a:cubicBezTo>
                              <a:pt x="1" y="30534"/>
                              <a:pt x="30534" y="0"/>
                              <a:pt x="68199" y="0"/>
                            </a:cubicBezTo>
                            <a:cubicBezTo>
                              <a:pt x="105864" y="0"/>
                              <a:pt x="136398" y="30534"/>
                              <a:pt x="136398" y="68199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</p:grpSp>
              <p:sp>
                <p:nvSpPr>
                  <p:cNvPr id="260" name="Freihandform: Form 259">
                    <a:extLst>
                      <a:ext uri="{FF2B5EF4-FFF2-40B4-BE49-F238E27FC236}">
                        <a16:creationId xmlns:a16="http://schemas.microsoft.com/office/drawing/2014/main" id="{B645B948-347A-23D3-08B3-50EF35A4EF07}"/>
                      </a:ext>
                    </a:extLst>
                  </p:cNvPr>
                  <p:cNvSpPr/>
                  <p:nvPr/>
                </p:nvSpPr>
                <p:spPr>
                  <a:xfrm>
                    <a:off x="8688572" y="1533884"/>
                    <a:ext cx="1208416" cy="1222459"/>
                  </a:xfrm>
                  <a:custGeom>
                    <a:avLst/>
                    <a:gdLst>
                      <a:gd name="connsiteX0" fmla="*/ 1189550 w 1208416"/>
                      <a:gd name="connsiteY0" fmla="*/ 262626 h 1222459"/>
                      <a:gd name="connsiteX1" fmla="*/ 821695 w 1208416"/>
                      <a:gd name="connsiteY1" fmla="*/ 114131 h 1222459"/>
                      <a:gd name="connsiteX2" fmla="*/ 766641 w 1208416"/>
                      <a:gd name="connsiteY2" fmla="*/ 15071 h 1222459"/>
                      <a:gd name="connsiteX3" fmla="*/ 747971 w 1208416"/>
                      <a:gd name="connsiteY3" fmla="*/ 6879 h 1222459"/>
                      <a:gd name="connsiteX4" fmla="*/ 454506 w 1208416"/>
                      <a:gd name="connsiteY4" fmla="*/ 1164 h 1222459"/>
                      <a:gd name="connsiteX5" fmla="*/ 438885 w 1208416"/>
                      <a:gd name="connsiteY5" fmla="*/ 8975 h 1222459"/>
                      <a:gd name="connsiteX6" fmla="*/ 424026 w 1208416"/>
                      <a:gd name="connsiteY6" fmla="*/ 67744 h 1222459"/>
                      <a:gd name="connsiteX7" fmla="*/ 390879 w 1208416"/>
                      <a:gd name="connsiteY7" fmla="*/ 96986 h 1222459"/>
                      <a:gd name="connsiteX8" fmla="*/ 17594 w 1208416"/>
                      <a:gd name="connsiteY8" fmla="*/ 279771 h 1222459"/>
                      <a:gd name="connsiteX9" fmla="*/ 143896 w 1208416"/>
                      <a:gd name="connsiteY9" fmla="*/ 680868 h 1222459"/>
                      <a:gd name="connsiteX10" fmla="*/ 240384 w 1208416"/>
                      <a:gd name="connsiteY10" fmla="*/ 1222460 h 1222459"/>
                      <a:gd name="connsiteX11" fmla="*/ 955235 w 1208416"/>
                      <a:gd name="connsiteY11" fmla="*/ 1220364 h 1222459"/>
                      <a:gd name="connsiteX12" fmla="*/ 1093729 w 1208416"/>
                      <a:gd name="connsiteY12" fmla="*/ 696870 h 1222459"/>
                      <a:gd name="connsiteX13" fmla="*/ 1189455 w 1208416"/>
                      <a:gd name="connsiteY13" fmla="*/ 262530 h 12224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208416" h="1222459">
                        <a:moveTo>
                          <a:pt x="1189550" y="262626"/>
                        </a:moveTo>
                        <a:cubicBezTo>
                          <a:pt x="1103921" y="179663"/>
                          <a:pt x="966475" y="205666"/>
                          <a:pt x="821695" y="114131"/>
                        </a:cubicBezTo>
                        <a:cubicBezTo>
                          <a:pt x="785500" y="80793"/>
                          <a:pt x="771689" y="38597"/>
                          <a:pt x="766641" y="15071"/>
                        </a:cubicBezTo>
                        <a:cubicBezTo>
                          <a:pt x="764831" y="6689"/>
                          <a:pt x="755401" y="2593"/>
                          <a:pt x="747971" y="6879"/>
                        </a:cubicBezTo>
                        <a:cubicBezTo>
                          <a:pt x="655769" y="60791"/>
                          <a:pt x="553947" y="49837"/>
                          <a:pt x="454506" y="1164"/>
                        </a:cubicBezTo>
                        <a:cubicBezTo>
                          <a:pt x="447934" y="-2074"/>
                          <a:pt x="440123" y="1736"/>
                          <a:pt x="438885" y="8975"/>
                        </a:cubicBezTo>
                        <a:cubicBezTo>
                          <a:pt x="436504" y="22500"/>
                          <a:pt x="431932" y="44122"/>
                          <a:pt x="424026" y="67744"/>
                        </a:cubicBezTo>
                        <a:cubicBezTo>
                          <a:pt x="421073" y="74316"/>
                          <a:pt x="412501" y="88223"/>
                          <a:pt x="390879" y="96986"/>
                        </a:cubicBezTo>
                        <a:cubicBezTo>
                          <a:pt x="225049" y="164137"/>
                          <a:pt x="111987" y="195188"/>
                          <a:pt x="17594" y="279771"/>
                        </a:cubicBezTo>
                        <a:cubicBezTo>
                          <a:pt x="-59939" y="349303"/>
                          <a:pt x="143896" y="680868"/>
                          <a:pt x="143896" y="680868"/>
                        </a:cubicBezTo>
                        <a:lnTo>
                          <a:pt x="240384" y="1222460"/>
                        </a:lnTo>
                        <a:lnTo>
                          <a:pt x="955235" y="1220364"/>
                        </a:lnTo>
                        <a:lnTo>
                          <a:pt x="1093729" y="696870"/>
                        </a:lnTo>
                        <a:cubicBezTo>
                          <a:pt x="1093729" y="696870"/>
                          <a:pt x="1264227" y="335016"/>
                          <a:pt x="1189455" y="262530"/>
                        </a:cubicBezTo>
                        <a:close/>
                      </a:path>
                    </a:pathLst>
                  </a:custGeom>
                  <a:solidFill>
                    <a:srgbClr val="FFE98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1" name="Freihandform: Form 260">
                    <a:extLst>
                      <a:ext uri="{FF2B5EF4-FFF2-40B4-BE49-F238E27FC236}">
                        <a16:creationId xmlns:a16="http://schemas.microsoft.com/office/drawing/2014/main" id="{69BC2F72-D2A9-092D-D92B-BF28F3A2ABEB}"/>
                      </a:ext>
                    </a:extLst>
                  </p:cNvPr>
                  <p:cNvSpPr/>
                  <p:nvPr/>
                </p:nvSpPr>
                <p:spPr>
                  <a:xfrm>
                    <a:off x="9209944" y="1375027"/>
                    <a:ext cx="147256" cy="49531"/>
                  </a:xfrm>
                  <a:custGeom>
                    <a:avLst/>
                    <a:gdLst>
                      <a:gd name="connsiteX0" fmla="*/ 0 w 147256"/>
                      <a:gd name="connsiteY0" fmla="*/ 5431 h 49531"/>
                      <a:gd name="connsiteX1" fmla="*/ 55721 w 147256"/>
                      <a:gd name="connsiteY1" fmla="*/ 573 h 49531"/>
                      <a:gd name="connsiteX2" fmla="*/ 70294 w 147256"/>
                      <a:gd name="connsiteY2" fmla="*/ 4002 h 49531"/>
                      <a:gd name="connsiteX3" fmla="*/ 84010 w 147256"/>
                      <a:gd name="connsiteY3" fmla="*/ 2 h 49531"/>
                      <a:gd name="connsiteX4" fmla="*/ 147256 w 147256"/>
                      <a:gd name="connsiteY4" fmla="*/ 5812 h 49531"/>
                      <a:gd name="connsiteX5" fmla="*/ 68389 w 147256"/>
                      <a:gd name="connsiteY5" fmla="*/ 49532 h 49531"/>
                      <a:gd name="connsiteX6" fmla="*/ 0 w 147256"/>
                      <a:gd name="connsiteY6" fmla="*/ 5431 h 495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7256" h="49531">
                        <a:moveTo>
                          <a:pt x="0" y="5431"/>
                        </a:moveTo>
                        <a:cubicBezTo>
                          <a:pt x="0" y="5431"/>
                          <a:pt x="19050" y="2859"/>
                          <a:pt x="55721" y="573"/>
                        </a:cubicBezTo>
                        <a:cubicBezTo>
                          <a:pt x="58578" y="383"/>
                          <a:pt x="61817" y="4193"/>
                          <a:pt x="70294" y="4002"/>
                        </a:cubicBezTo>
                        <a:cubicBezTo>
                          <a:pt x="80296" y="3812"/>
                          <a:pt x="80676" y="-94"/>
                          <a:pt x="84010" y="2"/>
                        </a:cubicBezTo>
                        <a:cubicBezTo>
                          <a:pt x="123539" y="1049"/>
                          <a:pt x="147256" y="5812"/>
                          <a:pt x="147256" y="5812"/>
                        </a:cubicBezTo>
                        <a:cubicBezTo>
                          <a:pt x="147256" y="5812"/>
                          <a:pt x="127635" y="49532"/>
                          <a:pt x="68389" y="49532"/>
                        </a:cubicBezTo>
                        <a:cubicBezTo>
                          <a:pt x="15049" y="49532"/>
                          <a:pt x="0" y="5431"/>
                          <a:pt x="0" y="5431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2" name="Freihandform: Form 261">
                    <a:extLst>
                      <a:ext uri="{FF2B5EF4-FFF2-40B4-BE49-F238E27FC236}">
                        <a16:creationId xmlns:a16="http://schemas.microsoft.com/office/drawing/2014/main" id="{B23A2406-BEFB-B44A-D7B6-51B7070814F6}"/>
                      </a:ext>
                    </a:extLst>
                  </p:cNvPr>
                  <p:cNvSpPr/>
                  <p:nvPr/>
                </p:nvSpPr>
                <p:spPr>
                  <a:xfrm>
                    <a:off x="8620918" y="1760791"/>
                    <a:ext cx="314705" cy="314706"/>
                  </a:xfrm>
                  <a:custGeom>
                    <a:avLst/>
                    <a:gdLst>
                      <a:gd name="connsiteX0" fmla="*/ 314706 w 314705"/>
                      <a:gd name="connsiteY0" fmla="*/ 157353 h 314706"/>
                      <a:gd name="connsiteX1" fmla="*/ 157353 w 314705"/>
                      <a:gd name="connsiteY1" fmla="*/ 314706 h 314706"/>
                      <a:gd name="connsiteX2" fmla="*/ -1 w 314705"/>
                      <a:gd name="connsiteY2" fmla="*/ 157353 h 314706"/>
                      <a:gd name="connsiteX3" fmla="*/ 157353 w 314705"/>
                      <a:gd name="connsiteY3" fmla="*/ 0 h 314706"/>
                      <a:gd name="connsiteX4" fmla="*/ 314706 w 314705"/>
                      <a:gd name="connsiteY4" fmla="*/ 157353 h 3147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4705" h="314706">
                        <a:moveTo>
                          <a:pt x="314706" y="157353"/>
                        </a:moveTo>
                        <a:cubicBezTo>
                          <a:pt x="314706" y="244257"/>
                          <a:pt x="244257" y="314706"/>
                          <a:pt x="157353" y="314706"/>
                        </a:cubicBezTo>
                        <a:cubicBezTo>
                          <a:pt x="70449" y="314706"/>
                          <a:pt x="-1" y="244257"/>
                          <a:pt x="-1" y="157353"/>
                        </a:cubicBezTo>
                        <a:cubicBezTo>
                          <a:pt x="-1" y="70449"/>
                          <a:pt x="70449" y="0"/>
                          <a:pt x="157353" y="0"/>
                        </a:cubicBezTo>
                        <a:cubicBezTo>
                          <a:pt x="244256" y="0"/>
                          <a:pt x="314706" y="70449"/>
                          <a:pt x="314706" y="15735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3" name="Freihandform: Form 262">
                    <a:extLst>
                      <a:ext uri="{FF2B5EF4-FFF2-40B4-BE49-F238E27FC236}">
                        <a16:creationId xmlns:a16="http://schemas.microsoft.com/office/drawing/2014/main" id="{AF506919-17DD-B9E4-0DF2-9BA4C34BCE47}"/>
                      </a:ext>
                    </a:extLst>
                  </p:cNvPr>
                  <p:cNvSpPr/>
                  <p:nvPr/>
                </p:nvSpPr>
                <p:spPr>
                  <a:xfrm>
                    <a:off x="8398795" y="1816227"/>
                    <a:ext cx="523018" cy="989647"/>
                  </a:xfrm>
                  <a:custGeom>
                    <a:avLst/>
                    <a:gdLst>
                      <a:gd name="connsiteX0" fmla="*/ 0 w 523018"/>
                      <a:gd name="connsiteY0" fmla="*/ 947261 h 989647"/>
                      <a:gd name="connsiteX1" fmla="*/ 307467 w 523018"/>
                      <a:gd name="connsiteY1" fmla="*/ 989648 h 989647"/>
                      <a:gd name="connsiteX2" fmla="*/ 523018 w 523018"/>
                      <a:gd name="connsiteY2" fmla="*/ 167259 h 989647"/>
                      <a:gd name="connsiteX3" fmla="*/ 259747 w 523018"/>
                      <a:gd name="connsiteY3" fmla="*/ 0 h 989647"/>
                      <a:gd name="connsiteX4" fmla="*/ 0 w 523018"/>
                      <a:gd name="connsiteY4" fmla="*/ 947261 h 9896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23018" h="989647">
                        <a:moveTo>
                          <a:pt x="0" y="947261"/>
                        </a:moveTo>
                        <a:lnTo>
                          <a:pt x="307467" y="989648"/>
                        </a:lnTo>
                        <a:lnTo>
                          <a:pt x="523018" y="167259"/>
                        </a:lnTo>
                        <a:lnTo>
                          <a:pt x="259747" y="0"/>
                        </a:lnTo>
                        <a:cubicBezTo>
                          <a:pt x="171069" y="80486"/>
                          <a:pt x="0" y="947261"/>
                          <a:pt x="0" y="94726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4" name="Freihandform: Form 263">
                    <a:extLst>
                      <a:ext uri="{FF2B5EF4-FFF2-40B4-BE49-F238E27FC236}">
                        <a16:creationId xmlns:a16="http://schemas.microsoft.com/office/drawing/2014/main" id="{089903C4-026E-E9E7-B861-A75709CD25D8}"/>
                      </a:ext>
                    </a:extLst>
                  </p:cNvPr>
                  <p:cNvSpPr/>
                  <p:nvPr/>
                </p:nvSpPr>
                <p:spPr>
                  <a:xfrm>
                    <a:off x="8398128" y="2625471"/>
                    <a:ext cx="310133" cy="310134"/>
                  </a:xfrm>
                  <a:custGeom>
                    <a:avLst/>
                    <a:gdLst>
                      <a:gd name="connsiteX0" fmla="*/ 310134 w 310133"/>
                      <a:gd name="connsiteY0" fmla="*/ 155067 h 310134"/>
                      <a:gd name="connsiteX1" fmla="*/ 155067 w 310133"/>
                      <a:gd name="connsiteY1" fmla="*/ 310134 h 310134"/>
                      <a:gd name="connsiteX2" fmla="*/ -1 w 310133"/>
                      <a:gd name="connsiteY2" fmla="*/ 155067 h 310134"/>
                      <a:gd name="connsiteX3" fmla="*/ 155067 w 310133"/>
                      <a:gd name="connsiteY3" fmla="*/ 0 h 310134"/>
                      <a:gd name="connsiteX4" fmla="*/ 310134 w 310133"/>
                      <a:gd name="connsiteY4" fmla="*/ 155067 h 3101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0133" h="310134">
                        <a:moveTo>
                          <a:pt x="310134" y="155067"/>
                        </a:moveTo>
                        <a:cubicBezTo>
                          <a:pt x="310134" y="240708"/>
                          <a:pt x="240708" y="310134"/>
                          <a:pt x="155067" y="310134"/>
                        </a:cubicBezTo>
                        <a:cubicBezTo>
                          <a:pt x="69425" y="310134"/>
                          <a:pt x="-1" y="240708"/>
                          <a:pt x="-1" y="155067"/>
                        </a:cubicBezTo>
                        <a:cubicBezTo>
                          <a:pt x="-1" y="69426"/>
                          <a:pt x="69425" y="0"/>
                          <a:pt x="155067" y="0"/>
                        </a:cubicBezTo>
                        <a:cubicBezTo>
                          <a:pt x="240708" y="0"/>
                          <a:pt x="310134" y="69426"/>
                          <a:pt x="310134" y="15506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5" name="Freihandform: Form 264">
                    <a:extLst>
                      <a:ext uri="{FF2B5EF4-FFF2-40B4-BE49-F238E27FC236}">
                        <a16:creationId xmlns:a16="http://schemas.microsoft.com/office/drawing/2014/main" id="{8A58B3B8-42E9-7B0D-B2E9-A9CBAD8FE065}"/>
                      </a:ext>
                    </a:extLst>
                  </p:cNvPr>
                  <p:cNvSpPr/>
                  <p:nvPr/>
                </p:nvSpPr>
                <p:spPr>
                  <a:xfrm>
                    <a:off x="8616251" y="1610010"/>
                    <a:ext cx="575214" cy="3144202"/>
                  </a:xfrm>
                  <a:custGeom>
                    <a:avLst/>
                    <a:gdLst>
                      <a:gd name="connsiteX0" fmla="*/ 197358 w 575214"/>
                      <a:gd name="connsiteY0" fmla="*/ 1136999 h 3144202"/>
                      <a:gd name="connsiteX1" fmla="*/ 0 w 575214"/>
                      <a:gd name="connsiteY1" fmla="*/ 3144203 h 3144202"/>
                      <a:gd name="connsiteX2" fmla="*/ 527590 w 575214"/>
                      <a:gd name="connsiteY2" fmla="*/ 3144203 h 3144202"/>
                      <a:gd name="connsiteX3" fmla="*/ 575215 w 575214"/>
                      <a:gd name="connsiteY3" fmla="*/ 576167 h 3144202"/>
                      <a:gd name="connsiteX4" fmla="*/ 467868 w 575214"/>
                      <a:gd name="connsiteY4" fmla="*/ 0 h 3144202"/>
                      <a:gd name="connsiteX5" fmla="*/ 28194 w 575214"/>
                      <a:gd name="connsiteY5" fmla="*/ 225647 h 3144202"/>
                      <a:gd name="connsiteX6" fmla="*/ 216312 w 575214"/>
                      <a:gd name="connsiteY6" fmla="*/ 604838 h 3144202"/>
                      <a:gd name="connsiteX7" fmla="*/ 197453 w 575214"/>
                      <a:gd name="connsiteY7" fmla="*/ 1137095 h 31442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75214" h="3144202">
                        <a:moveTo>
                          <a:pt x="197358" y="1136999"/>
                        </a:moveTo>
                        <a:cubicBezTo>
                          <a:pt x="-28861" y="1726597"/>
                          <a:pt x="51340" y="2820543"/>
                          <a:pt x="0" y="3144203"/>
                        </a:cubicBezTo>
                        <a:lnTo>
                          <a:pt x="527590" y="3144203"/>
                        </a:lnTo>
                        <a:lnTo>
                          <a:pt x="575215" y="576167"/>
                        </a:lnTo>
                        <a:lnTo>
                          <a:pt x="467868" y="0"/>
                        </a:lnTo>
                        <a:cubicBezTo>
                          <a:pt x="302037" y="67151"/>
                          <a:pt x="69437" y="144590"/>
                          <a:pt x="28194" y="225647"/>
                        </a:cubicBezTo>
                        <a:cubicBezTo>
                          <a:pt x="120682" y="378047"/>
                          <a:pt x="216312" y="604838"/>
                          <a:pt x="216312" y="604838"/>
                        </a:cubicBezTo>
                        <a:cubicBezTo>
                          <a:pt x="216312" y="604838"/>
                          <a:pt x="200406" y="745903"/>
                          <a:pt x="197453" y="113709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6" name="Freihandform: Form 265">
                    <a:extLst>
                      <a:ext uri="{FF2B5EF4-FFF2-40B4-BE49-F238E27FC236}">
                        <a16:creationId xmlns:a16="http://schemas.microsoft.com/office/drawing/2014/main" id="{E02F5249-110A-967C-AECB-DFDAA0AF0CDB}"/>
                      </a:ext>
                    </a:extLst>
                  </p:cNvPr>
                  <p:cNvSpPr/>
                  <p:nvPr/>
                </p:nvSpPr>
                <p:spPr>
                  <a:xfrm>
                    <a:off x="8923527" y="1659159"/>
                    <a:ext cx="199834" cy="706945"/>
                  </a:xfrm>
                  <a:custGeom>
                    <a:avLst/>
                    <a:gdLst>
                      <a:gd name="connsiteX0" fmla="*/ 35528 w 199834"/>
                      <a:gd name="connsiteY0" fmla="*/ 0 h 706945"/>
                      <a:gd name="connsiteX1" fmla="*/ 0 w 199834"/>
                      <a:gd name="connsiteY1" fmla="*/ 13906 h 706945"/>
                      <a:gd name="connsiteX2" fmla="*/ 88106 w 199834"/>
                      <a:gd name="connsiteY2" fmla="*/ 352234 h 706945"/>
                      <a:gd name="connsiteX3" fmla="*/ 199834 w 199834"/>
                      <a:gd name="connsiteY3" fmla="*/ 706946 h 706945"/>
                      <a:gd name="connsiteX4" fmla="*/ 123539 w 199834"/>
                      <a:gd name="connsiteY4" fmla="*/ 352234 h 706945"/>
                      <a:gd name="connsiteX5" fmla="*/ 35623 w 199834"/>
                      <a:gd name="connsiteY5" fmla="*/ 0 h 7069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99834" h="706945">
                        <a:moveTo>
                          <a:pt x="35528" y="0"/>
                        </a:moveTo>
                        <a:lnTo>
                          <a:pt x="0" y="13906"/>
                        </a:lnTo>
                        <a:cubicBezTo>
                          <a:pt x="0" y="13906"/>
                          <a:pt x="76009" y="206692"/>
                          <a:pt x="88106" y="352234"/>
                        </a:cubicBezTo>
                        <a:cubicBezTo>
                          <a:pt x="100108" y="497776"/>
                          <a:pt x="199834" y="706946"/>
                          <a:pt x="199834" y="706946"/>
                        </a:cubicBezTo>
                        <a:cubicBezTo>
                          <a:pt x="199834" y="706946"/>
                          <a:pt x="128968" y="398050"/>
                          <a:pt x="123539" y="352234"/>
                        </a:cubicBezTo>
                        <a:cubicBezTo>
                          <a:pt x="118110" y="306419"/>
                          <a:pt x="35623" y="0"/>
                          <a:pt x="35623" y="0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7" name="Freihandform: Form 266">
                    <a:extLst>
                      <a:ext uri="{FF2B5EF4-FFF2-40B4-BE49-F238E27FC236}">
                        <a16:creationId xmlns:a16="http://schemas.microsoft.com/office/drawing/2014/main" id="{D85B1315-065D-BDEF-89DC-40569C283575}"/>
                      </a:ext>
                    </a:extLst>
                  </p:cNvPr>
                  <p:cNvSpPr/>
                  <p:nvPr/>
                </p:nvSpPr>
                <p:spPr>
                  <a:xfrm>
                    <a:off x="8664457" y="2198655"/>
                    <a:ext cx="159748" cy="575881"/>
                  </a:xfrm>
                  <a:custGeom>
                    <a:avLst/>
                    <a:gdLst>
                      <a:gd name="connsiteX0" fmla="*/ 132483 w 159748"/>
                      <a:gd name="connsiteY0" fmla="*/ 0 h 575881"/>
                      <a:gd name="connsiteX1" fmla="*/ 6753 w 159748"/>
                      <a:gd name="connsiteY1" fmla="*/ 303467 h 575881"/>
                      <a:gd name="connsiteX2" fmla="*/ 50568 w 159748"/>
                      <a:gd name="connsiteY2" fmla="*/ 575881 h 575881"/>
                      <a:gd name="connsiteX3" fmla="*/ 50568 w 159748"/>
                      <a:gd name="connsiteY3" fmla="*/ 575881 h 575881"/>
                      <a:gd name="connsiteX4" fmla="*/ 157343 w 159748"/>
                      <a:gd name="connsiteY4" fmla="*/ 197834 h 575881"/>
                      <a:gd name="connsiteX5" fmla="*/ 132387 w 159748"/>
                      <a:gd name="connsiteY5" fmla="*/ 0 h 5758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59748" h="575881">
                        <a:moveTo>
                          <a:pt x="132483" y="0"/>
                        </a:moveTo>
                        <a:cubicBezTo>
                          <a:pt x="80191" y="30004"/>
                          <a:pt x="-28013" y="139351"/>
                          <a:pt x="6753" y="303467"/>
                        </a:cubicBezTo>
                        <a:cubicBezTo>
                          <a:pt x="41614" y="467582"/>
                          <a:pt x="50568" y="575881"/>
                          <a:pt x="50568" y="575881"/>
                        </a:cubicBezTo>
                        <a:lnTo>
                          <a:pt x="50568" y="575881"/>
                        </a:lnTo>
                        <a:lnTo>
                          <a:pt x="157343" y="197834"/>
                        </a:lnTo>
                        <a:cubicBezTo>
                          <a:pt x="160201" y="166592"/>
                          <a:pt x="166582" y="73057"/>
                          <a:pt x="132387" y="0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8" name="Freihandform: Form 267">
                    <a:extLst>
                      <a:ext uri="{FF2B5EF4-FFF2-40B4-BE49-F238E27FC236}">
                        <a16:creationId xmlns:a16="http://schemas.microsoft.com/office/drawing/2014/main" id="{72500CC6-20DB-4AF8-9988-F890D1EACEBC}"/>
                      </a:ext>
                    </a:extLst>
                  </p:cNvPr>
                  <p:cNvSpPr/>
                  <p:nvPr/>
                </p:nvSpPr>
                <p:spPr>
                  <a:xfrm>
                    <a:off x="8695689" y="3364706"/>
                    <a:ext cx="330837" cy="409959"/>
                  </a:xfrm>
                  <a:custGeom>
                    <a:avLst/>
                    <a:gdLst>
                      <a:gd name="connsiteX0" fmla="*/ 49911 w 330837"/>
                      <a:gd name="connsiteY0" fmla="*/ 0 h 409959"/>
                      <a:gd name="connsiteX1" fmla="*/ 37338 w 330837"/>
                      <a:gd name="connsiteY1" fmla="*/ 351377 h 409959"/>
                      <a:gd name="connsiteX2" fmla="*/ 330804 w 330837"/>
                      <a:gd name="connsiteY2" fmla="*/ 359093 h 409959"/>
                      <a:gd name="connsiteX3" fmla="*/ 0 w 330837"/>
                      <a:gd name="connsiteY3" fmla="*/ 388715 h 409959"/>
                      <a:gd name="connsiteX4" fmla="*/ 25146 w 330837"/>
                      <a:gd name="connsiteY4" fmla="*/ 81724 h 409959"/>
                      <a:gd name="connsiteX5" fmla="*/ 49911 w 330837"/>
                      <a:gd name="connsiteY5" fmla="*/ 0 h 409959"/>
                      <a:gd name="connsiteX6" fmla="*/ 49911 w 330837"/>
                      <a:gd name="connsiteY6" fmla="*/ 0 h 4099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30837" h="409959">
                        <a:moveTo>
                          <a:pt x="49911" y="0"/>
                        </a:moveTo>
                        <a:cubicBezTo>
                          <a:pt x="49911" y="0"/>
                          <a:pt x="33909" y="310229"/>
                          <a:pt x="37338" y="351377"/>
                        </a:cubicBezTo>
                        <a:cubicBezTo>
                          <a:pt x="43149" y="368713"/>
                          <a:pt x="307372" y="358616"/>
                          <a:pt x="330804" y="359093"/>
                        </a:cubicBezTo>
                        <a:cubicBezTo>
                          <a:pt x="334709" y="393859"/>
                          <a:pt x="0" y="436340"/>
                          <a:pt x="0" y="388715"/>
                        </a:cubicBezTo>
                        <a:cubicBezTo>
                          <a:pt x="0" y="341090"/>
                          <a:pt x="20193" y="122015"/>
                          <a:pt x="25146" y="81724"/>
                        </a:cubicBezTo>
                        <a:cubicBezTo>
                          <a:pt x="31909" y="25813"/>
                          <a:pt x="32861" y="8572"/>
                          <a:pt x="49911" y="0"/>
                        </a:cubicBezTo>
                        <a:lnTo>
                          <a:pt x="49911" y="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9" name="Freihandform: Form 268">
                    <a:extLst>
                      <a:ext uri="{FF2B5EF4-FFF2-40B4-BE49-F238E27FC236}">
                        <a16:creationId xmlns:a16="http://schemas.microsoft.com/office/drawing/2014/main" id="{A73D75B1-7938-C2C0-2C09-902988E9E4D2}"/>
                      </a:ext>
                    </a:extLst>
                  </p:cNvPr>
                  <p:cNvSpPr/>
                  <p:nvPr/>
                </p:nvSpPr>
                <p:spPr>
                  <a:xfrm>
                    <a:off x="9393395" y="1633156"/>
                    <a:ext cx="575977" cy="3121056"/>
                  </a:xfrm>
                  <a:custGeom>
                    <a:avLst/>
                    <a:gdLst>
                      <a:gd name="connsiteX0" fmla="*/ 575977 w 575977"/>
                      <a:gd name="connsiteY0" fmla="*/ 3121057 h 3121056"/>
                      <a:gd name="connsiteX1" fmla="*/ 377857 w 575977"/>
                      <a:gd name="connsiteY1" fmla="*/ 1113854 h 3121056"/>
                      <a:gd name="connsiteX2" fmla="*/ 358997 w 575977"/>
                      <a:gd name="connsiteY2" fmla="*/ 581597 h 3121056"/>
                      <a:gd name="connsiteX3" fmla="*/ 540925 w 575977"/>
                      <a:gd name="connsiteY3" fmla="*/ 220123 h 3121056"/>
                      <a:gd name="connsiteX4" fmla="*/ 102680 w 575977"/>
                      <a:gd name="connsiteY4" fmla="*/ 0 h 3121056"/>
                      <a:gd name="connsiteX5" fmla="*/ 0 w 575977"/>
                      <a:gd name="connsiteY5" fmla="*/ 552926 h 3121056"/>
                      <a:gd name="connsiteX6" fmla="*/ 47816 w 575977"/>
                      <a:gd name="connsiteY6" fmla="*/ 3120962 h 3121056"/>
                      <a:gd name="connsiteX7" fmla="*/ 575977 w 575977"/>
                      <a:gd name="connsiteY7" fmla="*/ 3120962 h 31210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75977" h="3121056">
                        <a:moveTo>
                          <a:pt x="575977" y="3121057"/>
                        </a:moveTo>
                        <a:cubicBezTo>
                          <a:pt x="522923" y="2803493"/>
                          <a:pt x="605219" y="1706594"/>
                          <a:pt x="377857" y="1113854"/>
                        </a:cubicBezTo>
                        <a:cubicBezTo>
                          <a:pt x="374904" y="722757"/>
                          <a:pt x="358997" y="581597"/>
                          <a:pt x="358997" y="581597"/>
                        </a:cubicBezTo>
                        <a:cubicBezTo>
                          <a:pt x="358997" y="581597"/>
                          <a:pt x="448437" y="372523"/>
                          <a:pt x="540925" y="220123"/>
                        </a:cubicBezTo>
                        <a:cubicBezTo>
                          <a:pt x="496729" y="112681"/>
                          <a:pt x="254889" y="58102"/>
                          <a:pt x="102680" y="0"/>
                        </a:cubicBezTo>
                        <a:lnTo>
                          <a:pt x="0" y="552926"/>
                        </a:lnTo>
                        <a:lnTo>
                          <a:pt x="47816" y="3120962"/>
                        </a:lnTo>
                        <a:lnTo>
                          <a:pt x="575977" y="312096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0" name="Freihandform: Form 269">
                    <a:extLst>
                      <a:ext uri="{FF2B5EF4-FFF2-40B4-BE49-F238E27FC236}">
                        <a16:creationId xmlns:a16="http://schemas.microsoft.com/office/drawing/2014/main" id="{88E60268-7E3C-C1D6-EED1-44A72B90AC15}"/>
                      </a:ext>
                    </a:extLst>
                  </p:cNvPr>
                  <p:cNvSpPr/>
                  <p:nvPr/>
                </p:nvSpPr>
                <p:spPr>
                  <a:xfrm>
                    <a:off x="9346962" y="1469469"/>
                    <a:ext cx="321998" cy="541925"/>
                  </a:xfrm>
                  <a:custGeom>
                    <a:avLst/>
                    <a:gdLst>
                      <a:gd name="connsiteX0" fmla="*/ 108251 w 321998"/>
                      <a:gd name="connsiteY0" fmla="*/ 79486 h 541925"/>
                      <a:gd name="connsiteX1" fmla="*/ 300084 w 321998"/>
                      <a:gd name="connsiteY1" fmla="*/ 216265 h 541925"/>
                      <a:gd name="connsiteX2" fmla="*/ 180641 w 321998"/>
                      <a:gd name="connsiteY2" fmla="*/ 354378 h 541925"/>
                      <a:gd name="connsiteX3" fmla="*/ 149113 w 321998"/>
                      <a:gd name="connsiteY3" fmla="*/ 541925 h 541925"/>
                      <a:gd name="connsiteX4" fmla="*/ 35289 w 321998"/>
                      <a:gd name="connsiteY4" fmla="*/ 264176 h 541925"/>
                      <a:gd name="connsiteX5" fmla="*/ 108251 w 321998"/>
                      <a:gd name="connsiteY5" fmla="*/ 79486 h 5419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21998" h="541925">
                        <a:moveTo>
                          <a:pt x="108251" y="79486"/>
                        </a:moveTo>
                        <a:cubicBezTo>
                          <a:pt x="82534" y="-113585"/>
                          <a:pt x="407717" y="89964"/>
                          <a:pt x="300084" y="216265"/>
                        </a:cubicBezTo>
                        <a:cubicBezTo>
                          <a:pt x="300084" y="216265"/>
                          <a:pt x="221217" y="286750"/>
                          <a:pt x="180641" y="354378"/>
                        </a:cubicBezTo>
                        <a:cubicBezTo>
                          <a:pt x="140064" y="422005"/>
                          <a:pt x="146256" y="484870"/>
                          <a:pt x="149113" y="541925"/>
                        </a:cubicBezTo>
                        <a:cubicBezTo>
                          <a:pt x="-20336" y="527161"/>
                          <a:pt x="-25194" y="321612"/>
                          <a:pt x="35289" y="264176"/>
                        </a:cubicBezTo>
                        <a:cubicBezTo>
                          <a:pt x="133968" y="170450"/>
                          <a:pt x="123015" y="126635"/>
                          <a:pt x="108251" y="7948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1" name="Freihandform: Form 270">
                    <a:extLst>
                      <a:ext uri="{FF2B5EF4-FFF2-40B4-BE49-F238E27FC236}">
                        <a16:creationId xmlns:a16="http://schemas.microsoft.com/office/drawing/2014/main" id="{3906CE98-C0D0-1782-73B7-44FAC478667E}"/>
                      </a:ext>
                    </a:extLst>
                  </p:cNvPr>
                  <p:cNvSpPr/>
                  <p:nvPr/>
                </p:nvSpPr>
                <p:spPr>
                  <a:xfrm>
                    <a:off x="8386350" y="2763488"/>
                    <a:ext cx="319816" cy="722471"/>
                  </a:xfrm>
                  <a:custGeom>
                    <a:avLst/>
                    <a:gdLst>
                      <a:gd name="connsiteX0" fmla="*/ 11778 w 319816"/>
                      <a:gd name="connsiteY0" fmla="*/ 722471 h 722471"/>
                      <a:gd name="connsiteX1" fmla="*/ 243998 w 319816"/>
                      <a:gd name="connsiteY1" fmla="*/ 722471 h 722471"/>
                      <a:gd name="connsiteX2" fmla="*/ 319817 w 319816"/>
                      <a:gd name="connsiteY2" fmla="*/ 42386 h 722471"/>
                      <a:gd name="connsiteX3" fmla="*/ 12350 w 319816"/>
                      <a:gd name="connsiteY3" fmla="*/ 0 h 722471"/>
                      <a:gd name="connsiteX4" fmla="*/ 11683 w 319816"/>
                      <a:gd name="connsiteY4" fmla="*/ 722471 h 7224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9816" h="722471">
                        <a:moveTo>
                          <a:pt x="11778" y="722471"/>
                        </a:moveTo>
                        <a:lnTo>
                          <a:pt x="243998" y="722471"/>
                        </a:lnTo>
                        <a:cubicBezTo>
                          <a:pt x="243998" y="722471"/>
                          <a:pt x="304100" y="215360"/>
                          <a:pt x="319817" y="42386"/>
                        </a:cubicBezTo>
                        <a:lnTo>
                          <a:pt x="12350" y="0"/>
                        </a:lnTo>
                        <a:cubicBezTo>
                          <a:pt x="12350" y="339566"/>
                          <a:pt x="-14987" y="531781"/>
                          <a:pt x="11683" y="72247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41" name="Grafik 23">
                  <a:extLst>
                    <a:ext uri="{FF2B5EF4-FFF2-40B4-BE49-F238E27FC236}">
                      <a16:creationId xmlns:a16="http://schemas.microsoft.com/office/drawing/2014/main" id="{90C6939B-F7F9-BADE-D182-9E50F5421912}"/>
                    </a:ext>
                  </a:extLst>
                </p:cNvPr>
                <p:cNvGrpSpPr/>
                <p:nvPr/>
              </p:nvGrpSpPr>
              <p:grpSpPr>
                <a:xfrm>
                  <a:off x="9633235" y="8339391"/>
                  <a:ext cx="650747" cy="968216"/>
                  <a:chOff x="9633235" y="1760791"/>
                  <a:chExt cx="650747" cy="968216"/>
                </a:xfrm>
                <a:solidFill>
                  <a:srgbClr val="FFFFFF"/>
                </a:solidFill>
              </p:grpSpPr>
              <p:sp>
                <p:nvSpPr>
                  <p:cNvPr id="228" name="Freihandform: Form 227">
                    <a:extLst>
                      <a:ext uri="{FF2B5EF4-FFF2-40B4-BE49-F238E27FC236}">
                        <a16:creationId xmlns:a16="http://schemas.microsoft.com/office/drawing/2014/main" id="{924C3ED5-9282-A90D-E016-CEDA7110B44D}"/>
                      </a:ext>
                    </a:extLst>
                  </p:cNvPr>
                  <p:cNvSpPr/>
                  <p:nvPr/>
                </p:nvSpPr>
                <p:spPr>
                  <a:xfrm>
                    <a:off x="9633235" y="1760791"/>
                    <a:ext cx="314705" cy="314706"/>
                  </a:xfrm>
                  <a:custGeom>
                    <a:avLst/>
                    <a:gdLst>
                      <a:gd name="connsiteX0" fmla="*/ 314706 w 314705"/>
                      <a:gd name="connsiteY0" fmla="*/ 157353 h 314706"/>
                      <a:gd name="connsiteX1" fmla="*/ 157353 w 314705"/>
                      <a:gd name="connsiteY1" fmla="*/ 314706 h 314706"/>
                      <a:gd name="connsiteX2" fmla="*/ 0 w 314705"/>
                      <a:gd name="connsiteY2" fmla="*/ 157353 h 314706"/>
                      <a:gd name="connsiteX3" fmla="*/ 157353 w 314705"/>
                      <a:gd name="connsiteY3" fmla="*/ 0 h 314706"/>
                      <a:gd name="connsiteX4" fmla="*/ 314706 w 314705"/>
                      <a:gd name="connsiteY4" fmla="*/ 157353 h 3147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4705" h="314706">
                        <a:moveTo>
                          <a:pt x="314706" y="157353"/>
                        </a:moveTo>
                        <a:cubicBezTo>
                          <a:pt x="314706" y="244257"/>
                          <a:pt x="244257" y="314706"/>
                          <a:pt x="157353" y="314706"/>
                        </a:cubicBezTo>
                        <a:cubicBezTo>
                          <a:pt x="70449" y="314706"/>
                          <a:pt x="0" y="244257"/>
                          <a:pt x="0" y="157353"/>
                        </a:cubicBezTo>
                        <a:cubicBezTo>
                          <a:pt x="0" y="70449"/>
                          <a:pt x="70449" y="0"/>
                          <a:pt x="157353" y="0"/>
                        </a:cubicBezTo>
                        <a:cubicBezTo>
                          <a:pt x="244256" y="0"/>
                          <a:pt x="314706" y="70449"/>
                          <a:pt x="314706" y="15735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9" name="Freihandform: Form 228">
                    <a:extLst>
                      <a:ext uri="{FF2B5EF4-FFF2-40B4-BE49-F238E27FC236}">
                        <a16:creationId xmlns:a16="http://schemas.microsoft.com/office/drawing/2014/main" id="{E709A6BC-8481-27BF-2EF7-20C8B1748F7B}"/>
                      </a:ext>
                    </a:extLst>
                  </p:cNvPr>
                  <p:cNvSpPr/>
                  <p:nvPr/>
                </p:nvSpPr>
                <p:spPr>
                  <a:xfrm>
                    <a:off x="9658000" y="1838991"/>
                    <a:ext cx="625982" cy="890015"/>
                  </a:xfrm>
                  <a:custGeom>
                    <a:avLst/>
                    <a:gdLst>
                      <a:gd name="connsiteX0" fmla="*/ 625888 w 625982"/>
                      <a:gd name="connsiteY0" fmla="*/ 774287 h 890015"/>
                      <a:gd name="connsiteX1" fmla="*/ 334518 w 625982"/>
                      <a:gd name="connsiteY1" fmla="*/ 890016 h 890015"/>
                      <a:gd name="connsiteX2" fmla="*/ 135064 w 625982"/>
                      <a:gd name="connsiteY2" fmla="*/ 426720 h 890015"/>
                      <a:gd name="connsiteX3" fmla="*/ 0 w 625982"/>
                      <a:gd name="connsiteY3" fmla="*/ 163163 h 890015"/>
                      <a:gd name="connsiteX4" fmla="*/ 268986 w 625982"/>
                      <a:gd name="connsiteY4" fmla="*/ 0 h 890015"/>
                      <a:gd name="connsiteX5" fmla="*/ 430339 w 625982"/>
                      <a:gd name="connsiteY5" fmla="*/ 315373 h 890015"/>
                      <a:gd name="connsiteX6" fmla="*/ 625983 w 625982"/>
                      <a:gd name="connsiteY6" fmla="*/ 774287 h 8900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25982" h="890015">
                        <a:moveTo>
                          <a:pt x="625888" y="774287"/>
                        </a:moveTo>
                        <a:lnTo>
                          <a:pt x="334518" y="890016"/>
                        </a:lnTo>
                        <a:lnTo>
                          <a:pt x="135064" y="426720"/>
                        </a:lnTo>
                        <a:lnTo>
                          <a:pt x="0" y="163163"/>
                        </a:lnTo>
                        <a:lnTo>
                          <a:pt x="268986" y="0"/>
                        </a:lnTo>
                        <a:cubicBezTo>
                          <a:pt x="311182" y="74009"/>
                          <a:pt x="367665" y="187928"/>
                          <a:pt x="430339" y="315373"/>
                        </a:cubicBezTo>
                        <a:cubicBezTo>
                          <a:pt x="529780" y="517589"/>
                          <a:pt x="625983" y="774287"/>
                          <a:pt x="625983" y="77428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42" name="Grafik 23">
                  <a:extLst>
                    <a:ext uri="{FF2B5EF4-FFF2-40B4-BE49-F238E27FC236}">
                      <a16:creationId xmlns:a16="http://schemas.microsoft.com/office/drawing/2014/main" id="{3A3DDC68-2CAD-4A45-4223-6C829B611A06}"/>
                    </a:ext>
                  </a:extLst>
                </p:cNvPr>
                <p:cNvGrpSpPr/>
                <p:nvPr/>
              </p:nvGrpSpPr>
              <p:grpSpPr>
                <a:xfrm>
                  <a:off x="9348914" y="8729059"/>
                  <a:ext cx="629316" cy="785241"/>
                  <a:chOff x="9348914" y="2150459"/>
                  <a:chExt cx="629316" cy="785241"/>
                </a:xfrm>
              </p:grpSpPr>
              <p:sp>
                <p:nvSpPr>
                  <p:cNvPr id="224" name="Freihandform: Form 223">
                    <a:extLst>
                      <a:ext uri="{FF2B5EF4-FFF2-40B4-BE49-F238E27FC236}">
                        <a16:creationId xmlns:a16="http://schemas.microsoft.com/office/drawing/2014/main" id="{A674A165-0A64-37A0-C88E-40EF6921A070}"/>
                      </a:ext>
                    </a:extLst>
                  </p:cNvPr>
                  <p:cNvSpPr/>
                  <p:nvPr/>
                </p:nvSpPr>
                <p:spPr>
                  <a:xfrm>
                    <a:off x="9381870" y="2150459"/>
                    <a:ext cx="596360" cy="785241"/>
                  </a:xfrm>
                  <a:custGeom>
                    <a:avLst/>
                    <a:gdLst>
                      <a:gd name="connsiteX0" fmla="*/ 572548 w 596360"/>
                      <a:gd name="connsiteY0" fmla="*/ 0 h 785241"/>
                      <a:gd name="connsiteX1" fmla="*/ 596360 w 596360"/>
                      <a:gd name="connsiteY1" fmla="*/ 23813 h 785241"/>
                      <a:gd name="connsiteX2" fmla="*/ 596360 w 596360"/>
                      <a:gd name="connsiteY2" fmla="*/ 761429 h 785241"/>
                      <a:gd name="connsiteX3" fmla="*/ 572548 w 596360"/>
                      <a:gd name="connsiteY3" fmla="*/ 785241 h 785241"/>
                      <a:gd name="connsiteX4" fmla="*/ 23813 w 596360"/>
                      <a:gd name="connsiteY4" fmla="*/ 785241 h 785241"/>
                      <a:gd name="connsiteX5" fmla="*/ 0 w 596360"/>
                      <a:gd name="connsiteY5" fmla="*/ 761429 h 785241"/>
                      <a:gd name="connsiteX6" fmla="*/ 0 w 596360"/>
                      <a:gd name="connsiteY6" fmla="*/ 23813 h 785241"/>
                      <a:gd name="connsiteX7" fmla="*/ 23813 w 596360"/>
                      <a:gd name="connsiteY7" fmla="*/ 0 h 785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96360" h="785241">
                        <a:moveTo>
                          <a:pt x="572548" y="0"/>
                        </a:moveTo>
                        <a:cubicBezTo>
                          <a:pt x="585699" y="0"/>
                          <a:pt x="596360" y="10661"/>
                          <a:pt x="596360" y="23813"/>
                        </a:cubicBezTo>
                        <a:lnTo>
                          <a:pt x="596360" y="761429"/>
                        </a:lnTo>
                        <a:cubicBezTo>
                          <a:pt x="596360" y="774580"/>
                          <a:pt x="585699" y="785241"/>
                          <a:pt x="572548" y="785241"/>
                        </a:cubicBezTo>
                        <a:lnTo>
                          <a:pt x="23813" y="785241"/>
                        </a:lnTo>
                        <a:cubicBezTo>
                          <a:pt x="10661" y="785241"/>
                          <a:pt x="0" y="774580"/>
                          <a:pt x="0" y="761429"/>
                        </a:cubicBezTo>
                        <a:lnTo>
                          <a:pt x="0" y="23813"/>
                        </a:lnTo>
                        <a:cubicBezTo>
                          <a:pt x="0" y="10661"/>
                          <a:pt x="10661" y="0"/>
                          <a:pt x="23813" y="0"/>
                        </a:cubicBezTo>
                        <a:close/>
                      </a:path>
                    </a:pathLst>
                  </a:custGeom>
                  <a:solidFill>
                    <a:srgbClr val="EDEDE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5" name="Freihandform: Form 224">
                    <a:extLst>
                      <a:ext uri="{FF2B5EF4-FFF2-40B4-BE49-F238E27FC236}">
                        <a16:creationId xmlns:a16="http://schemas.microsoft.com/office/drawing/2014/main" id="{49AFB626-905C-B553-1C3F-678AD8C63EAB}"/>
                      </a:ext>
                    </a:extLst>
                  </p:cNvPr>
                  <p:cNvSpPr/>
                  <p:nvPr/>
                </p:nvSpPr>
                <p:spPr>
                  <a:xfrm>
                    <a:off x="9348914" y="2150459"/>
                    <a:ext cx="596360" cy="785241"/>
                  </a:xfrm>
                  <a:custGeom>
                    <a:avLst/>
                    <a:gdLst>
                      <a:gd name="connsiteX0" fmla="*/ 0 w 596360"/>
                      <a:gd name="connsiteY0" fmla="*/ 0 h 785241"/>
                      <a:gd name="connsiteX1" fmla="*/ 596360 w 596360"/>
                      <a:gd name="connsiteY1" fmla="*/ 0 h 785241"/>
                      <a:gd name="connsiteX2" fmla="*/ 596360 w 596360"/>
                      <a:gd name="connsiteY2" fmla="*/ 785241 h 785241"/>
                      <a:gd name="connsiteX3" fmla="*/ 0 w 596360"/>
                      <a:gd name="connsiteY3" fmla="*/ 785241 h 785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96360" h="785241">
                        <a:moveTo>
                          <a:pt x="0" y="0"/>
                        </a:moveTo>
                        <a:lnTo>
                          <a:pt x="596360" y="0"/>
                        </a:lnTo>
                        <a:lnTo>
                          <a:pt x="596360" y="785241"/>
                        </a:lnTo>
                        <a:lnTo>
                          <a:pt x="0" y="785241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6" name="Freihandform: Form 225">
                    <a:extLst>
                      <a:ext uri="{FF2B5EF4-FFF2-40B4-BE49-F238E27FC236}">
                        <a16:creationId xmlns:a16="http://schemas.microsoft.com/office/drawing/2014/main" id="{A470D903-4B31-AD40-5020-976137D03CEB}"/>
                      </a:ext>
                    </a:extLst>
                  </p:cNvPr>
                  <p:cNvSpPr/>
                  <p:nvPr/>
                </p:nvSpPr>
                <p:spPr>
                  <a:xfrm>
                    <a:off x="9578942" y="2272093"/>
                    <a:ext cx="123253" cy="123253"/>
                  </a:xfrm>
                  <a:custGeom>
                    <a:avLst/>
                    <a:gdLst>
                      <a:gd name="connsiteX0" fmla="*/ 123254 w 123253"/>
                      <a:gd name="connsiteY0" fmla="*/ 61627 h 123253"/>
                      <a:gd name="connsiteX1" fmla="*/ 61627 w 123253"/>
                      <a:gd name="connsiteY1" fmla="*/ 123253 h 123253"/>
                      <a:gd name="connsiteX2" fmla="*/ 1 w 123253"/>
                      <a:gd name="connsiteY2" fmla="*/ 61627 h 123253"/>
                      <a:gd name="connsiteX3" fmla="*/ 61627 w 123253"/>
                      <a:gd name="connsiteY3" fmla="*/ 0 h 123253"/>
                      <a:gd name="connsiteX4" fmla="*/ 123254 w 123253"/>
                      <a:gd name="connsiteY4" fmla="*/ 61627 h 1232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3253" h="123253">
                        <a:moveTo>
                          <a:pt x="123254" y="61627"/>
                        </a:moveTo>
                        <a:cubicBezTo>
                          <a:pt x="123254" y="95662"/>
                          <a:pt x="95662" y="123253"/>
                          <a:pt x="61627" y="123253"/>
                        </a:cubicBezTo>
                        <a:cubicBezTo>
                          <a:pt x="27592" y="123253"/>
                          <a:pt x="1" y="95662"/>
                          <a:pt x="1" y="61627"/>
                        </a:cubicBezTo>
                        <a:cubicBezTo>
                          <a:pt x="1" y="27591"/>
                          <a:pt x="27592" y="0"/>
                          <a:pt x="61627" y="0"/>
                        </a:cubicBezTo>
                        <a:cubicBezTo>
                          <a:pt x="95663" y="0"/>
                          <a:pt x="123254" y="27591"/>
                          <a:pt x="123254" y="61627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7" name="Freihandform: Form 226">
                    <a:extLst>
                      <a:ext uri="{FF2B5EF4-FFF2-40B4-BE49-F238E27FC236}">
                        <a16:creationId xmlns:a16="http://schemas.microsoft.com/office/drawing/2014/main" id="{FC24D989-3194-B49D-76AD-5ABD668ABEEB}"/>
                      </a:ext>
                    </a:extLst>
                  </p:cNvPr>
                  <p:cNvSpPr/>
                  <p:nvPr/>
                </p:nvSpPr>
                <p:spPr>
                  <a:xfrm>
                    <a:off x="9852024" y="2186178"/>
                    <a:ext cx="24955" cy="24955"/>
                  </a:xfrm>
                  <a:custGeom>
                    <a:avLst/>
                    <a:gdLst>
                      <a:gd name="connsiteX0" fmla="*/ 24955 w 24955"/>
                      <a:gd name="connsiteY0" fmla="*/ 12478 h 24955"/>
                      <a:gd name="connsiteX1" fmla="*/ 12478 w 24955"/>
                      <a:gd name="connsiteY1" fmla="*/ 24955 h 24955"/>
                      <a:gd name="connsiteX2" fmla="*/ 0 w 24955"/>
                      <a:gd name="connsiteY2" fmla="*/ 12478 h 24955"/>
                      <a:gd name="connsiteX3" fmla="*/ 12478 w 24955"/>
                      <a:gd name="connsiteY3" fmla="*/ 0 h 24955"/>
                      <a:gd name="connsiteX4" fmla="*/ 24955 w 24955"/>
                      <a:gd name="connsiteY4" fmla="*/ 12478 h 249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955" h="24955">
                        <a:moveTo>
                          <a:pt x="24955" y="12478"/>
                        </a:moveTo>
                        <a:cubicBezTo>
                          <a:pt x="24955" y="19369"/>
                          <a:pt x="19369" y="24955"/>
                          <a:pt x="12478" y="24955"/>
                        </a:cubicBezTo>
                        <a:cubicBezTo>
                          <a:pt x="5586" y="24955"/>
                          <a:pt x="0" y="19369"/>
                          <a:pt x="0" y="12478"/>
                        </a:cubicBezTo>
                        <a:cubicBezTo>
                          <a:pt x="0" y="5586"/>
                          <a:pt x="5586" y="0"/>
                          <a:pt x="12478" y="0"/>
                        </a:cubicBezTo>
                        <a:cubicBezTo>
                          <a:pt x="19369" y="0"/>
                          <a:pt x="24955" y="5586"/>
                          <a:pt x="24955" y="12478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43" name="Grafik 23">
                  <a:extLst>
                    <a:ext uri="{FF2B5EF4-FFF2-40B4-BE49-F238E27FC236}">
                      <a16:creationId xmlns:a16="http://schemas.microsoft.com/office/drawing/2014/main" id="{F179D6D4-4912-9128-1312-683E6F03E5CB}"/>
                    </a:ext>
                  </a:extLst>
                </p:cNvPr>
                <p:cNvGrpSpPr/>
                <p:nvPr/>
              </p:nvGrpSpPr>
              <p:grpSpPr>
                <a:xfrm>
                  <a:off x="9261970" y="8864885"/>
                  <a:ext cx="346213" cy="324535"/>
                  <a:chOff x="9261970" y="2286285"/>
                  <a:chExt cx="346213" cy="324535"/>
                </a:xfrm>
                <a:solidFill>
                  <a:srgbClr val="8A5942"/>
                </a:solidFill>
              </p:grpSpPr>
              <p:sp>
                <p:nvSpPr>
                  <p:cNvPr id="221" name="Freihandform: Form 220">
                    <a:extLst>
                      <a:ext uri="{FF2B5EF4-FFF2-40B4-BE49-F238E27FC236}">
                        <a16:creationId xmlns:a16="http://schemas.microsoft.com/office/drawing/2014/main" id="{642E86B1-EE71-05C0-A42D-F88559939BB7}"/>
                      </a:ext>
                    </a:extLst>
                  </p:cNvPr>
                  <p:cNvSpPr/>
                  <p:nvPr/>
                </p:nvSpPr>
                <p:spPr>
                  <a:xfrm>
                    <a:off x="9472929" y="2452497"/>
                    <a:ext cx="135255" cy="135254"/>
                  </a:xfrm>
                  <a:custGeom>
                    <a:avLst/>
                    <a:gdLst>
                      <a:gd name="connsiteX0" fmla="*/ 135255 w 135255"/>
                      <a:gd name="connsiteY0" fmla="*/ 67628 h 135254"/>
                      <a:gd name="connsiteX1" fmla="*/ 67628 w 135255"/>
                      <a:gd name="connsiteY1" fmla="*/ 135255 h 135254"/>
                      <a:gd name="connsiteX2" fmla="*/ 1 w 135255"/>
                      <a:gd name="connsiteY2" fmla="*/ 67628 h 135254"/>
                      <a:gd name="connsiteX3" fmla="*/ 67628 w 135255"/>
                      <a:gd name="connsiteY3" fmla="*/ 0 h 135254"/>
                      <a:gd name="connsiteX4" fmla="*/ 135255 w 135255"/>
                      <a:gd name="connsiteY4" fmla="*/ 67628 h 1352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5255" h="135254">
                        <a:moveTo>
                          <a:pt x="135255" y="67628"/>
                        </a:moveTo>
                        <a:cubicBezTo>
                          <a:pt x="135255" y="104977"/>
                          <a:pt x="104977" y="135255"/>
                          <a:pt x="67628" y="135255"/>
                        </a:cubicBezTo>
                        <a:cubicBezTo>
                          <a:pt x="30279" y="135255"/>
                          <a:pt x="1" y="104977"/>
                          <a:pt x="1" y="67628"/>
                        </a:cubicBezTo>
                        <a:cubicBezTo>
                          <a:pt x="1" y="30278"/>
                          <a:pt x="30279" y="0"/>
                          <a:pt x="67628" y="0"/>
                        </a:cubicBezTo>
                        <a:cubicBezTo>
                          <a:pt x="104977" y="0"/>
                          <a:pt x="135255" y="30278"/>
                          <a:pt x="135255" y="67628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2" name="Freihandform: Form 221">
                    <a:extLst>
                      <a:ext uri="{FF2B5EF4-FFF2-40B4-BE49-F238E27FC236}">
                        <a16:creationId xmlns:a16="http://schemas.microsoft.com/office/drawing/2014/main" id="{F6A6AE7F-6006-D8B2-027B-DB51ADA1C84F}"/>
                      </a:ext>
                    </a:extLst>
                  </p:cNvPr>
                  <p:cNvSpPr/>
                  <p:nvPr/>
                </p:nvSpPr>
                <p:spPr>
                  <a:xfrm>
                    <a:off x="9261970" y="2286285"/>
                    <a:ext cx="308150" cy="265148"/>
                  </a:xfrm>
                  <a:custGeom>
                    <a:avLst/>
                    <a:gdLst>
                      <a:gd name="connsiteX0" fmla="*/ 167049 w 308150"/>
                      <a:gd name="connsiteY0" fmla="*/ 59246 h 265148"/>
                      <a:gd name="connsiteX1" fmla="*/ 245725 w 308150"/>
                      <a:gd name="connsiteY1" fmla="*/ 106299 h 265148"/>
                      <a:gd name="connsiteX2" fmla="*/ 306685 w 308150"/>
                      <a:gd name="connsiteY2" fmla="*/ 206788 h 265148"/>
                      <a:gd name="connsiteX3" fmla="*/ 197338 w 308150"/>
                      <a:gd name="connsiteY3" fmla="*/ 239173 h 265148"/>
                      <a:gd name="connsiteX4" fmla="*/ 131520 w 308150"/>
                      <a:gd name="connsiteY4" fmla="*/ 136588 h 265148"/>
                      <a:gd name="connsiteX5" fmla="*/ 67322 w 308150"/>
                      <a:gd name="connsiteY5" fmla="*/ 96012 h 265148"/>
                      <a:gd name="connsiteX6" fmla="*/ 67322 w 308150"/>
                      <a:gd name="connsiteY6" fmla="*/ 96012 h 265148"/>
                      <a:gd name="connsiteX7" fmla="*/ 22269 w 308150"/>
                      <a:gd name="connsiteY7" fmla="*/ 64579 h 265148"/>
                      <a:gd name="connsiteX8" fmla="*/ 5790 w 308150"/>
                      <a:gd name="connsiteY8" fmla="*/ 0 h 265148"/>
                      <a:gd name="connsiteX9" fmla="*/ 71036 w 308150"/>
                      <a:gd name="connsiteY9" fmla="*/ 37147 h 265148"/>
                      <a:gd name="connsiteX10" fmla="*/ 166000 w 308150"/>
                      <a:gd name="connsiteY10" fmla="*/ 58674 h 265148"/>
                      <a:gd name="connsiteX11" fmla="*/ 166572 w 308150"/>
                      <a:gd name="connsiteY11" fmla="*/ 59912 h 265148"/>
                      <a:gd name="connsiteX12" fmla="*/ 167049 w 308150"/>
                      <a:gd name="connsiteY12" fmla="*/ 59150 h 2651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308150" h="265148">
                        <a:moveTo>
                          <a:pt x="167049" y="59246"/>
                        </a:moveTo>
                        <a:cubicBezTo>
                          <a:pt x="167049" y="59246"/>
                          <a:pt x="224770" y="90297"/>
                          <a:pt x="245725" y="106299"/>
                        </a:cubicBezTo>
                        <a:cubicBezTo>
                          <a:pt x="245725" y="106299"/>
                          <a:pt x="319353" y="177927"/>
                          <a:pt x="306685" y="206788"/>
                        </a:cubicBezTo>
                        <a:cubicBezTo>
                          <a:pt x="283920" y="258699"/>
                          <a:pt x="207244" y="290322"/>
                          <a:pt x="197338" y="239173"/>
                        </a:cubicBezTo>
                        <a:cubicBezTo>
                          <a:pt x="186765" y="184975"/>
                          <a:pt x="139331" y="143256"/>
                          <a:pt x="131520" y="136588"/>
                        </a:cubicBezTo>
                        <a:lnTo>
                          <a:pt x="67322" y="96012"/>
                        </a:lnTo>
                        <a:cubicBezTo>
                          <a:pt x="67322" y="96012"/>
                          <a:pt x="67322" y="96012"/>
                          <a:pt x="67322" y="96012"/>
                        </a:cubicBezTo>
                        <a:cubicBezTo>
                          <a:pt x="53606" y="87154"/>
                          <a:pt x="37508" y="76009"/>
                          <a:pt x="22269" y="64579"/>
                        </a:cubicBezTo>
                        <a:cubicBezTo>
                          <a:pt x="1599" y="48958"/>
                          <a:pt x="-6497" y="32957"/>
                          <a:pt x="5790" y="0"/>
                        </a:cubicBezTo>
                        <a:lnTo>
                          <a:pt x="71036" y="37147"/>
                        </a:lnTo>
                        <a:cubicBezTo>
                          <a:pt x="71036" y="37147"/>
                          <a:pt x="167049" y="59150"/>
                          <a:pt x="166000" y="58674"/>
                        </a:cubicBezTo>
                        <a:cubicBezTo>
                          <a:pt x="166286" y="59055"/>
                          <a:pt x="166382" y="59531"/>
                          <a:pt x="166572" y="59912"/>
                        </a:cubicBezTo>
                        <a:cubicBezTo>
                          <a:pt x="166763" y="59626"/>
                          <a:pt x="166858" y="59436"/>
                          <a:pt x="167049" y="59150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3" name="Freihandform: Form 222">
                    <a:extLst>
                      <a:ext uri="{FF2B5EF4-FFF2-40B4-BE49-F238E27FC236}">
                        <a16:creationId xmlns:a16="http://schemas.microsoft.com/office/drawing/2014/main" id="{EFA70B11-4406-CF29-648D-42C3AA1C9434}"/>
                      </a:ext>
                    </a:extLst>
                  </p:cNvPr>
                  <p:cNvSpPr/>
                  <p:nvPr/>
                </p:nvSpPr>
                <p:spPr>
                  <a:xfrm>
                    <a:off x="9265221" y="2389083"/>
                    <a:ext cx="295814" cy="221737"/>
                  </a:xfrm>
                  <a:custGeom>
                    <a:avLst/>
                    <a:gdLst>
                      <a:gd name="connsiteX0" fmla="*/ 209422 w 295814"/>
                      <a:gd name="connsiteY0" fmla="*/ 11026 h 221737"/>
                      <a:gd name="connsiteX1" fmla="*/ 68357 w 295814"/>
                      <a:gd name="connsiteY1" fmla="*/ 15598 h 221737"/>
                      <a:gd name="connsiteX2" fmla="*/ 6158 w 295814"/>
                      <a:gd name="connsiteY2" fmla="*/ 29790 h 221737"/>
                      <a:gd name="connsiteX3" fmla="*/ 63785 w 295814"/>
                      <a:gd name="connsiteY3" fmla="*/ 220290 h 221737"/>
                      <a:gd name="connsiteX4" fmla="*/ 268382 w 295814"/>
                      <a:gd name="connsiteY4" fmla="*/ 198573 h 221737"/>
                      <a:gd name="connsiteX5" fmla="*/ 295814 w 295814"/>
                      <a:gd name="connsiteY5" fmla="*/ 73034 h 221737"/>
                      <a:gd name="connsiteX6" fmla="*/ 209422 w 295814"/>
                      <a:gd name="connsiteY6" fmla="*/ 11026 h 2217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95814" h="221737">
                        <a:moveTo>
                          <a:pt x="209422" y="11026"/>
                        </a:moveTo>
                        <a:cubicBezTo>
                          <a:pt x="153224" y="-16216"/>
                          <a:pt x="68357" y="15598"/>
                          <a:pt x="68357" y="15598"/>
                        </a:cubicBezTo>
                        <a:lnTo>
                          <a:pt x="6158" y="29790"/>
                        </a:lnTo>
                        <a:cubicBezTo>
                          <a:pt x="-10986" y="83416"/>
                          <a:pt x="7492" y="164188"/>
                          <a:pt x="63785" y="220290"/>
                        </a:cubicBezTo>
                        <a:cubicBezTo>
                          <a:pt x="156559" y="228577"/>
                          <a:pt x="268382" y="198573"/>
                          <a:pt x="268382" y="198573"/>
                        </a:cubicBezTo>
                        <a:lnTo>
                          <a:pt x="295814" y="73034"/>
                        </a:lnTo>
                        <a:cubicBezTo>
                          <a:pt x="295814" y="73034"/>
                          <a:pt x="265620" y="38172"/>
                          <a:pt x="209422" y="11026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144" name="Freihandform: Form 143">
                  <a:extLst>
                    <a:ext uri="{FF2B5EF4-FFF2-40B4-BE49-F238E27FC236}">
                      <a16:creationId xmlns:a16="http://schemas.microsoft.com/office/drawing/2014/main" id="{0D80D14E-17E1-3C8E-6F40-D5C4B35D00E5}"/>
                    </a:ext>
                  </a:extLst>
                </p:cNvPr>
                <p:cNvSpPr/>
                <p:nvPr/>
              </p:nvSpPr>
              <p:spPr>
                <a:xfrm>
                  <a:off x="9182798" y="12384659"/>
                  <a:ext cx="145732" cy="145732"/>
                </a:xfrm>
                <a:custGeom>
                  <a:avLst/>
                  <a:gdLst>
                    <a:gd name="connsiteX0" fmla="*/ 145732 w 145732"/>
                    <a:gd name="connsiteY0" fmla="*/ 72866 h 145732"/>
                    <a:gd name="connsiteX1" fmla="*/ 72866 w 145732"/>
                    <a:gd name="connsiteY1" fmla="*/ 145733 h 145732"/>
                    <a:gd name="connsiteX2" fmla="*/ -1 w 145732"/>
                    <a:gd name="connsiteY2" fmla="*/ 72866 h 145732"/>
                    <a:gd name="connsiteX3" fmla="*/ 72866 w 145732"/>
                    <a:gd name="connsiteY3" fmla="*/ 0 h 145732"/>
                    <a:gd name="connsiteX4" fmla="*/ 145732 w 145732"/>
                    <a:gd name="connsiteY4" fmla="*/ 72866 h 145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5732" h="145732">
                      <a:moveTo>
                        <a:pt x="145732" y="72866"/>
                      </a:moveTo>
                      <a:cubicBezTo>
                        <a:pt x="145732" y="113109"/>
                        <a:pt x="113109" y="145733"/>
                        <a:pt x="72866" y="145733"/>
                      </a:cubicBezTo>
                      <a:cubicBezTo>
                        <a:pt x="32623" y="145733"/>
                        <a:pt x="-1" y="113109"/>
                        <a:pt x="-1" y="72866"/>
                      </a:cubicBezTo>
                      <a:cubicBezTo>
                        <a:pt x="-1" y="32624"/>
                        <a:pt x="32623" y="0"/>
                        <a:pt x="72866" y="0"/>
                      </a:cubicBezTo>
                      <a:cubicBezTo>
                        <a:pt x="113109" y="0"/>
                        <a:pt x="145732" y="32624"/>
                        <a:pt x="145732" y="7286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5" name="Freihandform: Form 144">
                  <a:extLst>
                    <a:ext uri="{FF2B5EF4-FFF2-40B4-BE49-F238E27FC236}">
                      <a16:creationId xmlns:a16="http://schemas.microsoft.com/office/drawing/2014/main" id="{61022867-21D8-D70B-5D91-BD1FE3191BEA}"/>
                    </a:ext>
                  </a:extLst>
                </p:cNvPr>
                <p:cNvSpPr/>
                <p:nvPr/>
              </p:nvSpPr>
              <p:spPr>
                <a:xfrm>
                  <a:off x="9365963" y="12404280"/>
                  <a:ext cx="145732" cy="145732"/>
                </a:xfrm>
                <a:custGeom>
                  <a:avLst/>
                  <a:gdLst>
                    <a:gd name="connsiteX0" fmla="*/ 145733 w 145732"/>
                    <a:gd name="connsiteY0" fmla="*/ 72866 h 145732"/>
                    <a:gd name="connsiteX1" fmla="*/ 72866 w 145732"/>
                    <a:gd name="connsiteY1" fmla="*/ 145733 h 145732"/>
                    <a:gd name="connsiteX2" fmla="*/ 0 w 145732"/>
                    <a:gd name="connsiteY2" fmla="*/ 72866 h 145732"/>
                    <a:gd name="connsiteX3" fmla="*/ 72866 w 145732"/>
                    <a:gd name="connsiteY3" fmla="*/ 0 h 145732"/>
                    <a:gd name="connsiteX4" fmla="*/ 145733 w 145732"/>
                    <a:gd name="connsiteY4" fmla="*/ 72866 h 145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5732" h="145732">
                      <a:moveTo>
                        <a:pt x="145733" y="72866"/>
                      </a:moveTo>
                      <a:cubicBezTo>
                        <a:pt x="145733" y="113109"/>
                        <a:pt x="113109" y="145733"/>
                        <a:pt x="72866" y="145733"/>
                      </a:cubicBezTo>
                      <a:cubicBezTo>
                        <a:pt x="32623" y="145733"/>
                        <a:pt x="0" y="113109"/>
                        <a:pt x="0" y="72866"/>
                      </a:cubicBezTo>
                      <a:cubicBezTo>
                        <a:pt x="0" y="32624"/>
                        <a:pt x="32623" y="0"/>
                        <a:pt x="72866" y="0"/>
                      </a:cubicBezTo>
                      <a:cubicBezTo>
                        <a:pt x="113109" y="0"/>
                        <a:pt x="145733" y="32624"/>
                        <a:pt x="145733" y="7286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6" name="Freihandform: Form 145">
                  <a:extLst>
                    <a:ext uri="{FF2B5EF4-FFF2-40B4-BE49-F238E27FC236}">
                      <a16:creationId xmlns:a16="http://schemas.microsoft.com/office/drawing/2014/main" id="{88E50247-E74B-B87B-C208-415C526CEDD8}"/>
                    </a:ext>
                  </a:extLst>
                </p:cNvPr>
                <p:cNvSpPr/>
                <p:nvPr/>
              </p:nvSpPr>
              <p:spPr>
                <a:xfrm>
                  <a:off x="8938672" y="11260613"/>
                  <a:ext cx="389953" cy="1217787"/>
                </a:xfrm>
                <a:custGeom>
                  <a:avLst/>
                  <a:gdLst>
                    <a:gd name="connsiteX0" fmla="*/ 389954 w 389953"/>
                    <a:gd name="connsiteY0" fmla="*/ 1196054 h 1217787"/>
                    <a:gd name="connsiteX1" fmla="*/ 245079 w 389953"/>
                    <a:gd name="connsiteY1" fmla="*/ 1208532 h 1217787"/>
                    <a:gd name="connsiteX2" fmla="*/ 52388 w 389953"/>
                    <a:gd name="connsiteY2" fmla="*/ 579406 h 1217787"/>
                    <a:gd name="connsiteX3" fmla="*/ 0 w 389953"/>
                    <a:gd name="connsiteY3" fmla="*/ 44863 h 1217787"/>
                    <a:gd name="connsiteX4" fmla="*/ 306705 w 389953"/>
                    <a:gd name="connsiteY4" fmla="*/ 0 h 1217787"/>
                    <a:gd name="connsiteX5" fmla="*/ 316039 w 389953"/>
                    <a:gd name="connsiteY5" fmla="*/ 166878 h 1217787"/>
                    <a:gd name="connsiteX6" fmla="*/ 351091 w 389953"/>
                    <a:gd name="connsiteY6" fmla="*/ 480251 h 1217787"/>
                    <a:gd name="connsiteX7" fmla="*/ 361760 w 389953"/>
                    <a:gd name="connsiteY7" fmla="*/ 876681 h 1217787"/>
                    <a:gd name="connsiteX8" fmla="*/ 389858 w 389953"/>
                    <a:gd name="connsiteY8" fmla="*/ 1195959 h 12177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89953" h="1217787">
                      <a:moveTo>
                        <a:pt x="389954" y="1196054"/>
                      </a:moveTo>
                      <a:cubicBezTo>
                        <a:pt x="339471" y="1220438"/>
                        <a:pt x="293561" y="1223867"/>
                        <a:pt x="245079" y="1208532"/>
                      </a:cubicBezTo>
                      <a:cubicBezTo>
                        <a:pt x="209550" y="1038987"/>
                        <a:pt x="96964" y="734759"/>
                        <a:pt x="52388" y="579406"/>
                      </a:cubicBezTo>
                      <a:cubicBezTo>
                        <a:pt x="7715" y="423767"/>
                        <a:pt x="0" y="44863"/>
                        <a:pt x="0" y="44863"/>
                      </a:cubicBezTo>
                      <a:lnTo>
                        <a:pt x="306705" y="0"/>
                      </a:lnTo>
                      <a:lnTo>
                        <a:pt x="316039" y="166878"/>
                      </a:lnTo>
                      <a:cubicBezTo>
                        <a:pt x="316039" y="166878"/>
                        <a:pt x="347472" y="345662"/>
                        <a:pt x="351091" y="480251"/>
                      </a:cubicBezTo>
                      <a:cubicBezTo>
                        <a:pt x="354711" y="614839"/>
                        <a:pt x="361760" y="876681"/>
                        <a:pt x="361760" y="876681"/>
                      </a:cubicBezTo>
                      <a:lnTo>
                        <a:pt x="389858" y="1195959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7" name="Freihandform: Form 146">
                  <a:extLst>
                    <a:ext uri="{FF2B5EF4-FFF2-40B4-BE49-F238E27FC236}">
                      <a16:creationId xmlns:a16="http://schemas.microsoft.com/office/drawing/2014/main" id="{CFD1ED82-1574-24F3-C143-A11C2E9EE4A8}"/>
                    </a:ext>
                  </a:extLst>
                </p:cNvPr>
                <p:cNvSpPr/>
                <p:nvPr/>
              </p:nvSpPr>
              <p:spPr>
                <a:xfrm>
                  <a:off x="8936291" y="11117929"/>
                  <a:ext cx="309943" cy="318515"/>
                </a:xfrm>
                <a:custGeom>
                  <a:avLst/>
                  <a:gdLst>
                    <a:gd name="connsiteX0" fmla="*/ 309944 w 309943"/>
                    <a:gd name="connsiteY0" fmla="*/ 159258 h 318515"/>
                    <a:gd name="connsiteX1" fmla="*/ 154972 w 309943"/>
                    <a:gd name="connsiteY1" fmla="*/ 318516 h 318515"/>
                    <a:gd name="connsiteX2" fmla="*/ 0 w 309943"/>
                    <a:gd name="connsiteY2" fmla="*/ 159258 h 318515"/>
                    <a:gd name="connsiteX3" fmla="*/ 154972 w 309943"/>
                    <a:gd name="connsiteY3" fmla="*/ 0 h 318515"/>
                    <a:gd name="connsiteX4" fmla="*/ 309944 w 309943"/>
                    <a:gd name="connsiteY4" fmla="*/ 159258 h 3185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9943" h="318515">
                      <a:moveTo>
                        <a:pt x="309944" y="159258"/>
                      </a:moveTo>
                      <a:cubicBezTo>
                        <a:pt x="309944" y="247214"/>
                        <a:pt x="240561" y="318516"/>
                        <a:pt x="154972" y="318516"/>
                      </a:cubicBezTo>
                      <a:cubicBezTo>
                        <a:pt x="69383" y="318516"/>
                        <a:pt x="0" y="247214"/>
                        <a:pt x="0" y="159258"/>
                      </a:cubicBezTo>
                      <a:cubicBezTo>
                        <a:pt x="0" y="71302"/>
                        <a:pt x="69383" y="0"/>
                        <a:pt x="154972" y="0"/>
                      </a:cubicBezTo>
                      <a:cubicBezTo>
                        <a:pt x="240560" y="0"/>
                        <a:pt x="309944" y="71302"/>
                        <a:pt x="309944" y="15925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8" name="Freihandform: Form 147">
                  <a:extLst>
                    <a:ext uri="{FF2B5EF4-FFF2-40B4-BE49-F238E27FC236}">
                      <a16:creationId xmlns:a16="http://schemas.microsoft.com/office/drawing/2014/main" id="{44FA55D8-7602-40FD-3A30-05463255D6D7}"/>
                    </a:ext>
                  </a:extLst>
                </p:cNvPr>
                <p:cNvSpPr/>
                <p:nvPr/>
              </p:nvSpPr>
              <p:spPr>
                <a:xfrm>
                  <a:off x="9325196" y="11123358"/>
                  <a:ext cx="311086" cy="311086"/>
                </a:xfrm>
                <a:custGeom>
                  <a:avLst/>
                  <a:gdLst>
                    <a:gd name="connsiteX0" fmla="*/ 311086 w 311086"/>
                    <a:gd name="connsiteY0" fmla="*/ 155543 h 311086"/>
                    <a:gd name="connsiteX1" fmla="*/ 155543 w 311086"/>
                    <a:gd name="connsiteY1" fmla="*/ 311086 h 311086"/>
                    <a:gd name="connsiteX2" fmla="*/ -1 w 311086"/>
                    <a:gd name="connsiteY2" fmla="*/ 155543 h 311086"/>
                    <a:gd name="connsiteX3" fmla="*/ 155543 w 311086"/>
                    <a:gd name="connsiteY3" fmla="*/ 0 h 311086"/>
                    <a:gd name="connsiteX4" fmla="*/ 311086 w 311086"/>
                    <a:gd name="connsiteY4" fmla="*/ 155543 h 3110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1086" h="311086">
                      <a:moveTo>
                        <a:pt x="311086" y="155543"/>
                      </a:moveTo>
                      <a:cubicBezTo>
                        <a:pt x="311086" y="241447"/>
                        <a:pt x="241447" y="311086"/>
                        <a:pt x="155543" y="311086"/>
                      </a:cubicBezTo>
                      <a:cubicBezTo>
                        <a:pt x="69639" y="311086"/>
                        <a:pt x="-1" y="241447"/>
                        <a:pt x="-1" y="155543"/>
                      </a:cubicBezTo>
                      <a:cubicBezTo>
                        <a:pt x="-1" y="69639"/>
                        <a:pt x="69639" y="0"/>
                        <a:pt x="155543" y="0"/>
                      </a:cubicBezTo>
                      <a:cubicBezTo>
                        <a:pt x="241447" y="0"/>
                        <a:pt x="311086" y="69639"/>
                        <a:pt x="311086" y="155543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9" name="Freihandform: Form 148">
                  <a:extLst>
                    <a:ext uri="{FF2B5EF4-FFF2-40B4-BE49-F238E27FC236}">
                      <a16:creationId xmlns:a16="http://schemas.microsoft.com/office/drawing/2014/main" id="{6E706236-0955-F6A5-7132-2207724E3E8C}"/>
                    </a:ext>
                  </a:extLst>
                </p:cNvPr>
                <p:cNvSpPr/>
                <p:nvPr/>
              </p:nvSpPr>
              <p:spPr>
                <a:xfrm>
                  <a:off x="9111551" y="12452191"/>
                  <a:ext cx="251269" cy="207930"/>
                </a:xfrm>
                <a:custGeom>
                  <a:avLst/>
                  <a:gdLst>
                    <a:gd name="connsiteX0" fmla="*/ 72294 w 251269"/>
                    <a:gd name="connsiteY0" fmla="*/ 0 h 207930"/>
                    <a:gd name="connsiteX1" fmla="*/ 0 w 251269"/>
                    <a:gd name="connsiteY1" fmla="*/ 201549 h 207930"/>
                    <a:gd name="connsiteX2" fmla="*/ 251270 w 251269"/>
                    <a:gd name="connsiteY2" fmla="*/ 207930 h 207930"/>
                    <a:gd name="connsiteX3" fmla="*/ 216789 w 251269"/>
                    <a:gd name="connsiteY3" fmla="*/ 3334 h 207930"/>
                    <a:gd name="connsiteX4" fmla="*/ 72294 w 251269"/>
                    <a:gd name="connsiteY4" fmla="*/ 95 h 2079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1269" h="207930">
                      <a:moveTo>
                        <a:pt x="72294" y="0"/>
                      </a:moveTo>
                      <a:cubicBezTo>
                        <a:pt x="56579" y="148399"/>
                        <a:pt x="952" y="162496"/>
                        <a:pt x="0" y="201549"/>
                      </a:cubicBezTo>
                      <a:lnTo>
                        <a:pt x="251270" y="207930"/>
                      </a:lnTo>
                      <a:cubicBezTo>
                        <a:pt x="246126" y="145922"/>
                        <a:pt x="216789" y="118300"/>
                        <a:pt x="216789" y="3334"/>
                      </a:cubicBezTo>
                      <a:lnTo>
                        <a:pt x="72294" y="95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0" name="Freihandform: Form 149">
                  <a:extLst>
                    <a:ext uri="{FF2B5EF4-FFF2-40B4-BE49-F238E27FC236}">
                      <a16:creationId xmlns:a16="http://schemas.microsoft.com/office/drawing/2014/main" id="{0DF89678-5891-989F-AEEC-89F3748D9D4B}"/>
                    </a:ext>
                  </a:extLst>
                </p:cNvPr>
                <p:cNvSpPr/>
                <p:nvPr/>
              </p:nvSpPr>
              <p:spPr>
                <a:xfrm>
                  <a:off x="9040208" y="12666313"/>
                  <a:ext cx="343280" cy="94544"/>
                </a:xfrm>
                <a:custGeom>
                  <a:avLst/>
                  <a:gdLst>
                    <a:gd name="connsiteX0" fmla="*/ 322326 w 343280"/>
                    <a:gd name="connsiteY0" fmla="*/ 89821 h 94544"/>
                    <a:gd name="connsiteX1" fmla="*/ 21145 w 343280"/>
                    <a:gd name="connsiteY1" fmla="*/ 89630 h 94544"/>
                    <a:gd name="connsiteX2" fmla="*/ 0 w 343280"/>
                    <a:gd name="connsiteY2" fmla="*/ 60960 h 94544"/>
                    <a:gd name="connsiteX3" fmla="*/ 0 w 343280"/>
                    <a:gd name="connsiteY3" fmla="*/ 0 h 94544"/>
                    <a:gd name="connsiteX4" fmla="*/ 343281 w 343280"/>
                    <a:gd name="connsiteY4" fmla="*/ 0 h 94544"/>
                    <a:gd name="connsiteX5" fmla="*/ 343281 w 343280"/>
                    <a:gd name="connsiteY5" fmla="*/ 61150 h 94544"/>
                    <a:gd name="connsiteX6" fmla="*/ 322326 w 343280"/>
                    <a:gd name="connsiteY6" fmla="*/ 89821 h 945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43280" h="94544">
                      <a:moveTo>
                        <a:pt x="322326" y="89821"/>
                      </a:moveTo>
                      <a:cubicBezTo>
                        <a:pt x="218218" y="97822"/>
                        <a:pt x="135160" y="94202"/>
                        <a:pt x="21145" y="89630"/>
                      </a:cubicBezTo>
                      <a:cubicBezTo>
                        <a:pt x="8954" y="89154"/>
                        <a:pt x="0" y="75533"/>
                        <a:pt x="0" y="60960"/>
                      </a:cubicBezTo>
                      <a:lnTo>
                        <a:pt x="0" y="0"/>
                      </a:lnTo>
                      <a:cubicBezTo>
                        <a:pt x="0" y="0"/>
                        <a:pt x="343281" y="0"/>
                        <a:pt x="343281" y="0"/>
                      </a:cubicBezTo>
                      <a:lnTo>
                        <a:pt x="343281" y="61150"/>
                      </a:lnTo>
                      <a:cubicBezTo>
                        <a:pt x="343281" y="75629"/>
                        <a:pt x="334423" y="88868"/>
                        <a:pt x="322326" y="89821"/>
                      </a:cubicBezTo>
                      <a:close/>
                    </a:path>
                  </a:pathLst>
                </a:custGeom>
                <a:solidFill>
                  <a:srgbClr val="40404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1" name="Freihandform: Form 150">
                  <a:extLst>
                    <a:ext uri="{FF2B5EF4-FFF2-40B4-BE49-F238E27FC236}">
                      <a16:creationId xmlns:a16="http://schemas.microsoft.com/office/drawing/2014/main" id="{E09C1A13-F8F9-C622-182B-A99694540FC4}"/>
                    </a:ext>
                  </a:extLst>
                </p:cNvPr>
                <p:cNvSpPr/>
                <p:nvPr/>
              </p:nvSpPr>
              <p:spPr>
                <a:xfrm>
                  <a:off x="9040208" y="12513150"/>
                  <a:ext cx="343280" cy="181734"/>
                </a:xfrm>
                <a:custGeom>
                  <a:avLst/>
                  <a:gdLst>
                    <a:gd name="connsiteX0" fmla="*/ 343281 w 343280"/>
                    <a:gd name="connsiteY0" fmla="*/ 153163 h 181734"/>
                    <a:gd name="connsiteX1" fmla="*/ 294227 w 343280"/>
                    <a:gd name="connsiteY1" fmla="*/ 23147 h 181734"/>
                    <a:gd name="connsiteX2" fmla="*/ 279273 w 343280"/>
                    <a:gd name="connsiteY2" fmla="*/ 64199 h 181734"/>
                    <a:gd name="connsiteX3" fmla="*/ 98964 w 343280"/>
                    <a:gd name="connsiteY3" fmla="*/ 59628 h 181734"/>
                    <a:gd name="connsiteX4" fmla="*/ 0 w 343280"/>
                    <a:gd name="connsiteY4" fmla="*/ 153163 h 181734"/>
                    <a:gd name="connsiteX5" fmla="*/ 343281 w 343280"/>
                    <a:gd name="connsiteY5" fmla="*/ 153163 h 181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3280" h="181734">
                      <a:moveTo>
                        <a:pt x="343281" y="153163"/>
                      </a:moveTo>
                      <a:cubicBezTo>
                        <a:pt x="303847" y="73344"/>
                        <a:pt x="306133" y="10193"/>
                        <a:pt x="294227" y="23147"/>
                      </a:cubicBezTo>
                      <a:cubicBezTo>
                        <a:pt x="301276" y="53055"/>
                        <a:pt x="295656" y="65914"/>
                        <a:pt x="279273" y="64199"/>
                      </a:cubicBezTo>
                      <a:cubicBezTo>
                        <a:pt x="279273" y="64199"/>
                        <a:pt x="167544" y="-77151"/>
                        <a:pt x="98964" y="59628"/>
                      </a:cubicBezTo>
                      <a:cubicBezTo>
                        <a:pt x="57340" y="142591"/>
                        <a:pt x="4096" y="120397"/>
                        <a:pt x="0" y="153163"/>
                      </a:cubicBezTo>
                      <a:cubicBezTo>
                        <a:pt x="16478" y="185738"/>
                        <a:pt x="323945" y="196406"/>
                        <a:pt x="343281" y="15316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2" name="Freihandform: Form 151">
                  <a:extLst>
                    <a:ext uri="{FF2B5EF4-FFF2-40B4-BE49-F238E27FC236}">
                      <a16:creationId xmlns:a16="http://schemas.microsoft.com/office/drawing/2014/main" id="{B5CEB1E8-BF39-647D-FEDF-8BAAFDFFAF2E}"/>
                    </a:ext>
                  </a:extLst>
                </p:cNvPr>
                <p:cNvSpPr/>
                <p:nvPr/>
              </p:nvSpPr>
              <p:spPr>
                <a:xfrm>
                  <a:off x="9324879" y="11256327"/>
                  <a:ext cx="326797" cy="1236394"/>
                </a:xfrm>
                <a:custGeom>
                  <a:avLst/>
                  <a:gdLst>
                    <a:gd name="connsiteX0" fmla="*/ 41084 w 326797"/>
                    <a:gd name="connsiteY0" fmla="*/ 1218819 h 1236394"/>
                    <a:gd name="connsiteX1" fmla="*/ 186626 w 326797"/>
                    <a:gd name="connsiteY1" fmla="*/ 1215199 h 1236394"/>
                    <a:gd name="connsiteX2" fmla="*/ 315405 w 326797"/>
                    <a:gd name="connsiteY2" fmla="*/ 571024 h 1236394"/>
                    <a:gd name="connsiteX3" fmla="*/ 309594 w 326797"/>
                    <a:gd name="connsiteY3" fmla="*/ 0 h 1236394"/>
                    <a:gd name="connsiteX4" fmla="*/ 222 w 326797"/>
                    <a:gd name="connsiteY4" fmla="*/ 286 h 1236394"/>
                    <a:gd name="connsiteX5" fmla="*/ 8033 w 326797"/>
                    <a:gd name="connsiteY5" fmla="*/ 502825 h 1236394"/>
                    <a:gd name="connsiteX6" fmla="*/ 37655 w 326797"/>
                    <a:gd name="connsiteY6" fmla="*/ 898302 h 1236394"/>
                    <a:gd name="connsiteX7" fmla="*/ 40989 w 326797"/>
                    <a:gd name="connsiteY7" fmla="*/ 1218819 h 12363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797" h="1236394">
                      <a:moveTo>
                        <a:pt x="41084" y="1218819"/>
                      </a:moveTo>
                      <a:cubicBezTo>
                        <a:pt x="93853" y="1243870"/>
                        <a:pt x="140049" y="1241679"/>
                        <a:pt x="186626" y="1215199"/>
                      </a:cubicBezTo>
                      <a:cubicBezTo>
                        <a:pt x="204724" y="1042892"/>
                        <a:pt x="286830" y="730091"/>
                        <a:pt x="315405" y="571024"/>
                      </a:cubicBezTo>
                      <a:cubicBezTo>
                        <a:pt x="344075" y="411575"/>
                        <a:pt x="309594" y="0"/>
                        <a:pt x="309594" y="0"/>
                      </a:cubicBezTo>
                      <a:lnTo>
                        <a:pt x="222" y="286"/>
                      </a:lnTo>
                      <a:cubicBezTo>
                        <a:pt x="222" y="286"/>
                        <a:pt x="-2064" y="368617"/>
                        <a:pt x="8033" y="502825"/>
                      </a:cubicBezTo>
                      <a:cubicBezTo>
                        <a:pt x="18129" y="637032"/>
                        <a:pt x="37655" y="898302"/>
                        <a:pt x="37655" y="898302"/>
                      </a:cubicBezTo>
                      <a:lnTo>
                        <a:pt x="40989" y="1218819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3" name="Freihandform: Form 152">
                  <a:extLst>
                    <a:ext uri="{FF2B5EF4-FFF2-40B4-BE49-F238E27FC236}">
                      <a16:creationId xmlns:a16="http://schemas.microsoft.com/office/drawing/2014/main" id="{7F00F735-E846-34BE-6AF8-1C43FB1D32B4}"/>
                    </a:ext>
                  </a:extLst>
                </p:cNvPr>
                <p:cNvSpPr/>
                <p:nvPr/>
              </p:nvSpPr>
              <p:spPr>
                <a:xfrm>
                  <a:off x="9333007" y="12471526"/>
                  <a:ext cx="284035" cy="215074"/>
                </a:xfrm>
                <a:custGeom>
                  <a:avLst/>
                  <a:gdLst>
                    <a:gd name="connsiteX0" fmla="*/ 178498 w 284035"/>
                    <a:gd name="connsiteY0" fmla="*/ 0 h 215074"/>
                    <a:gd name="connsiteX1" fmla="*/ 284036 w 284035"/>
                    <a:gd name="connsiteY1" fmla="*/ 215075 h 215074"/>
                    <a:gd name="connsiteX2" fmla="*/ 0 w 284035"/>
                    <a:gd name="connsiteY2" fmla="*/ 215075 h 215074"/>
                    <a:gd name="connsiteX3" fmla="*/ 32956 w 284035"/>
                    <a:gd name="connsiteY3" fmla="*/ 4477 h 215074"/>
                    <a:gd name="connsiteX4" fmla="*/ 178594 w 284035"/>
                    <a:gd name="connsiteY4" fmla="*/ 0 h 2150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84035" h="215074">
                      <a:moveTo>
                        <a:pt x="178498" y="0"/>
                      </a:moveTo>
                      <a:cubicBezTo>
                        <a:pt x="199549" y="148685"/>
                        <a:pt x="284036" y="176022"/>
                        <a:pt x="284036" y="215075"/>
                      </a:cubicBezTo>
                      <a:lnTo>
                        <a:pt x="0" y="215075"/>
                      </a:lnTo>
                      <a:cubicBezTo>
                        <a:pt x="0" y="139637"/>
                        <a:pt x="37529" y="86963"/>
                        <a:pt x="32956" y="4477"/>
                      </a:cubicBezTo>
                      <a:lnTo>
                        <a:pt x="178594" y="0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4" name="Freihandform: Form 153">
                  <a:extLst>
                    <a:ext uri="{FF2B5EF4-FFF2-40B4-BE49-F238E27FC236}">
                      <a16:creationId xmlns:a16="http://schemas.microsoft.com/office/drawing/2014/main" id="{D3C25D9F-5487-EE42-9FDB-A4E11411D2F5}"/>
                    </a:ext>
                  </a:extLst>
                </p:cNvPr>
                <p:cNvSpPr/>
                <p:nvPr/>
              </p:nvSpPr>
              <p:spPr>
                <a:xfrm>
                  <a:off x="9312909" y="12667932"/>
                  <a:ext cx="343280" cy="92916"/>
                </a:xfrm>
                <a:custGeom>
                  <a:avLst/>
                  <a:gdLst>
                    <a:gd name="connsiteX0" fmla="*/ 20955 w 343280"/>
                    <a:gd name="connsiteY0" fmla="*/ 89821 h 92916"/>
                    <a:gd name="connsiteX1" fmla="*/ 322135 w 343280"/>
                    <a:gd name="connsiteY1" fmla="*/ 89631 h 92916"/>
                    <a:gd name="connsiteX2" fmla="*/ 343281 w 343280"/>
                    <a:gd name="connsiteY2" fmla="*/ 60960 h 92916"/>
                    <a:gd name="connsiteX3" fmla="*/ 343281 w 343280"/>
                    <a:gd name="connsiteY3" fmla="*/ 0 h 92916"/>
                    <a:gd name="connsiteX4" fmla="*/ 0 w 343280"/>
                    <a:gd name="connsiteY4" fmla="*/ 0 h 92916"/>
                    <a:gd name="connsiteX5" fmla="*/ 0 w 343280"/>
                    <a:gd name="connsiteY5" fmla="*/ 61150 h 92916"/>
                    <a:gd name="connsiteX6" fmla="*/ 20955 w 343280"/>
                    <a:gd name="connsiteY6" fmla="*/ 89821 h 929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43280" h="92916">
                      <a:moveTo>
                        <a:pt x="20955" y="89821"/>
                      </a:moveTo>
                      <a:cubicBezTo>
                        <a:pt x="138969" y="93345"/>
                        <a:pt x="221932" y="94583"/>
                        <a:pt x="322135" y="89631"/>
                      </a:cubicBezTo>
                      <a:cubicBezTo>
                        <a:pt x="334327" y="89059"/>
                        <a:pt x="343281" y="75533"/>
                        <a:pt x="343281" y="60960"/>
                      </a:cubicBezTo>
                      <a:lnTo>
                        <a:pt x="343281" y="0"/>
                      </a:lnTo>
                      <a:cubicBezTo>
                        <a:pt x="343281" y="0"/>
                        <a:pt x="0" y="0"/>
                        <a:pt x="0" y="0"/>
                      </a:cubicBezTo>
                      <a:lnTo>
                        <a:pt x="0" y="61150"/>
                      </a:lnTo>
                      <a:cubicBezTo>
                        <a:pt x="0" y="75629"/>
                        <a:pt x="8858" y="89440"/>
                        <a:pt x="20955" y="89821"/>
                      </a:cubicBezTo>
                      <a:close/>
                    </a:path>
                  </a:pathLst>
                </a:custGeom>
                <a:solidFill>
                  <a:srgbClr val="40404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5" name="Freihandform: Form 154">
                  <a:extLst>
                    <a:ext uri="{FF2B5EF4-FFF2-40B4-BE49-F238E27FC236}">
                      <a16:creationId xmlns:a16="http://schemas.microsoft.com/office/drawing/2014/main" id="{372C562D-9F90-3D8A-580F-F6CFD949DB27}"/>
                    </a:ext>
                  </a:extLst>
                </p:cNvPr>
                <p:cNvSpPr/>
                <p:nvPr/>
              </p:nvSpPr>
              <p:spPr>
                <a:xfrm>
                  <a:off x="9312909" y="12514864"/>
                  <a:ext cx="343280" cy="181734"/>
                </a:xfrm>
                <a:custGeom>
                  <a:avLst/>
                  <a:gdLst>
                    <a:gd name="connsiteX0" fmla="*/ 0 w 343280"/>
                    <a:gd name="connsiteY0" fmla="*/ 153163 h 181734"/>
                    <a:gd name="connsiteX1" fmla="*/ 49053 w 343280"/>
                    <a:gd name="connsiteY1" fmla="*/ 23147 h 181734"/>
                    <a:gd name="connsiteX2" fmla="*/ 64008 w 343280"/>
                    <a:gd name="connsiteY2" fmla="*/ 64199 h 181734"/>
                    <a:gd name="connsiteX3" fmla="*/ 244316 w 343280"/>
                    <a:gd name="connsiteY3" fmla="*/ 59628 h 181734"/>
                    <a:gd name="connsiteX4" fmla="*/ 343281 w 343280"/>
                    <a:gd name="connsiteY4" fmla="*/ 153163 h 181734"/>
                    <a:gd name="connsiteX5" fmla="*/ 0 w 343280"/>
                    <a:gd name="connsiteY5" fmla="*/ 153163 h 181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3280" h="181734">
                      <a:moveTo>
                        <a:pt x="0" y="153163"/>
                      </a:moveTo>
                      <a:cubicBezTo>
                        <a:pt x="39433" y="73344"/>
                        <a:pt x="37147" y="10193"/>
                        <a:pt x="49053" y="23147"/>
                      </a:cubicBezTo>
                      <a:cubicBezTo>
                        <a:pt x="42005" y="53055"/>
                        <a:pt x="47625" y="65914"/>
                        <a:pt x="64008" y="64199"/>
                      </a:cubicBezTo>
                      <a:cubicBezTo>
                        <a:pt x="64008" y="64199"/>
                        <a:pt x="175736" y="-77151"/>
                        <a:pt x="244316" y="59628"/>
                      </a:cubicBezTo>
                      <a:cubicBezTo>
                        <a:pt x="285940" y="142591"/>
                        <a:pt x="339185" y="120397"/>
                        <a:pt x="343281" y="153163"/>
                      </a:cubicBezTo>
                      <a:cubicBezTo>
                        <a:pt x="326803" y="185738"/>
                        <a:pt x="19335" y="196406"/>
                        <a:pt x="0" y="15316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6" name="Freihandform: Form 155">
                  <a:extLst>
                    <a:ext uri="{FF2B5EF4-FFF2-40B4-BE49-F238E27FC236}">
                      <a16:creationId xmlns:a16="http://schemas.microsoft.com/office/drawing/2014/main" id="{439611C8-C078-CB93-DF35-344DFB900995}"/>
                    </a:ext>
                  </a:extLst>
                </p:cNvPr>
                <p:cNvSpPr/>
                <p:nvPr/>
              </p:nvSpPr>
              <p:spPr>
                <a:xfrm>
                  <a:off x="8692641" y="9292748"/>
                  <a:ext cx="1197659" cy="1963864"/>
                </a:xfrm>
                <a:custGeom>
                  <a:avLst/>
                  <a:gdLst>
                    <a:gd name="connsiteX0" fmla="*/ 1130998 w 1197659"/>
                    <a:gd name="connsiteY0" fmla="*/ 302133 h 1963864"/>
                    <a:gd name="connsiteX1" fmla="*/ 919353 w 1197659"/>
                    <a:gd name="connsiteY1" fmla="*/ 1429 h 1963864"/>
                    <a:gd name="connsiteX2" fmla="*/ 598075 w 1197659"/>
                    <a:gd name="connsiteY2" fmla="*/ 0 h 1963864"/>
                    <a:gd name="connsiteX3" fmla="*/ 598075 w 1197659"/>
                    <a:gd name="connsiteY3" fmla="*/ 0 h 1963864"/>
                    <a:gd name="connsiteX4" fmla="*/ 594646 w 1197659"/>
                    <a:gd name="connsiteY4" fmla="*/ 0 h 1963864"/>
                    <a:gd name="connsiteX5" fmla="*/ 591216 w 1197659"/>
                    <a:gd name="connsiteY5" fmla="*/ 0 h 1963864"/>
                    <a:gd name="connsiteX6" fmla="*/ 591216 w 1197659"/>
                    <a:gd name="connsiteY6" fmla="*/ 0 h 1963864"/>
                    <a:gd name="connsiteX7" fmla="*/ 269938 w 1197659"/>
                    <a:gd name="connsiteY7" fmla="*/ 1429 h 1963864"/>
                    <a:gd name="connsiteX8" fmla="*/ 65531 w 1197659"/>
                    <a:gd name="connsiteY8" fmla="*/ 316421 h 1963864"/>
                    <a:gd name="connsiteX9" fmla="*/ 0 w 1197659"/>
                    <a:gd name="connsiteY9" fmla="*/ 635127 h 1963864"/>
                    <a:gd name="connsiteX10" fmla="*/ 24384 w 1197659"/>
                    <a:gd name="connsiteY10" fmla="*/ 1062895 h 1963864"/>
                    <a:gd name="connsiteX11" fmla="*/ 117634 w 1197659"/>
                    <a:gd name="connsiteY11" fmla="*/ 1567434 h 1963864"/>
                    <a:gd name="connsiteX12" fmla="*/ 209264 w 1197659"/>
                    <a:gd name="connsiteY12" fmla="*/ 1963865 h 1963864"/>
                    <a:gd name="connsiteX13" fmla="*/ 978217 w 1197659"/>
                    <a:gd name="connsiteY13" fmla="*/ 1963865 h 1963864"/>
                    <a:gd name="connsiteX14" fmla="*/ 1069848 w 1197659"/>
                    <a:gd name="connsiteY14" fmla="*/ 1567434 h 1963864"/>
                    <a:gd name="connsiteX15" fmla="*/ 1163098 w 1197659"/>
                    <a:gd name="connsiteY15" fmla="*/ 1062895 h 1963864"/>
                    <a:gd name="connsiteX16" fmla="*/ 1131189 w 1197659"/>
                    <a:gd name="connsiteY16" fmla="*/ 302133 h 1963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197659" h="1963864">
                      <a:moveTo>
                        <a:pt x="1130998" y="302133"/>
                      </a:moveTo>
                      <a:cubicBezTo>
                        <a:pt x="1066895" y="164021"/>
                        <a:pt x="919353" y="1429"/>
                        <a:pt x="919353" y="1429"/>
                      </a:cubicBezTo>
                      <a:lnTo>
                        <a:pt x="598075" y="0"/>
                      </a:lnTo>
                      <a:lnTo>
                        <a:pt x="598075" y="0"/>
                      </a:lnTo>
                      <a:cubicBezTo>
                        <a:pt x="598075" y="0"/>
                        <a:pt x="594646" y="0"/>
                        <a:pt x="594646" y="0"/>
                      </a:cubicBezTo>
                      <a:lnTo>
                        <a:pt x="591216" y="0"/>
                      </a:lnTo>
                      <a:cubicBezTo>
                        <a:pt x="591216" y="0"/>
                        <a:pt x="591216" y="0"/>
                        <a:pt x="591216" y="0"/>
                      </a:cubicBezTo>
                      <a:lnTo>
                        <a:pt x="269938" y="1429"/>
                      </a:lnTo>
                      <a:cubicBezTo>
                        <a:pt x="269938" y="1429"/>
                        <a:pt x="120205" y="174308"/>
                        <a:pt x="65531" y="316421"/>
                      </a:cubicBezTo>
                      <a:cubicBezTo>
                        <a:pt x="10953" y="458534"/>
                        <a:pt x="0" y="635127"/>
                        <a:pt x="0" y="635127"/>
                      </a:cubicBezTo>
                      <a:cubicBezTo>
                        <a:pt x="0" y="635127"/>
                        <a:pt x="6477" y="908114"/>
                        <a:pt x="24384" y="1062895"/>
                      </a:cubicBezTo>
                      <a:cubicBezTo>
                        <a:pt x="42196" y="1217676"/>
                        <a:pt x="82677" y="1449991"/>
                        <a:pt x="117634" y="1567434"/>
                      </a:cubicBezTo>
                      <a:cubicBezTo>
                        <a:pt x="152590" y="1684877"/>
                        <a:pt x="209264" y="1963865"/>
                        <a:pt x="209264" y="1963865"/>
                      </a:cubicBezTo>
                      <a:lnTo>
                        <a:pt x="978217" y="1963865"/>
                      </a:lnTo>
                      <a:cubicBezTo>
                        <a:pt x="978217" y="1963865"/>
                        <a:pt x="1034891" y="1684973"/>
                        <a:pt x="1069848" y="1567434"/>
                      </a:cubicBezTo>
                      <a:cubicBezTo>
                        <a:pt x="1104805" y="1449991"/>
                        <a:pt x="1134999" y="1216152"/>
                        <a:pt x="1163098" y="1062895"/>
                      </a:cubicBezTo>
                      <a:cubicBezTo>
                        <a:pt x="1214818" y="780859"/>
                        <a:pt x="1211866" y="476059"/>
                        <a:pt x="1131189" y="302133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7" name="Freihandform: Form 156">
                  <a:extLst>
                    <a:ext uri="{FF2B5EF4-FFF2-40B4-BE49-F238E27FC236}">
                      <a16:creationId xmlns:a16="http://schemas.microsoft.com/office/drawing/2014/main" id="{5913570F-5F9B-F656-BA8E-7165729D808E}"/>
                    </a:ext>
                  </a:extLst>
                </p:cNvPr>
                <p:cNvSpPr/>
                <p:nvPr/>
              </p:nvSpPr>
              <p:spPr>
                <a:xfrm>
                  <a:off x="8910483" y="7388618"/>
                  <a:ext cx="817969" cy="1046717"/>
                </a:xfrm>
                <a:custGeom>
                  <a:avLst/>
                  <a:gdLst>
                    <a:gd name="connsiteX0" fmla="*/ 720465 w 817969"/>
                    <a:gd name="connsiteY0" fmla="*/ 892765 h 1046717"/>
                    <a:gd name="connsiteX1" fmla="*/ 679603 w 817969"/>
                    <a:gd name="connsiteY1" fmla="*/ 349364 h 1046717"/>
                    <a:gd name="connsiteX2" fmla="*/ 351467 w 817969"/>
                    <a:gd name="connsiteY2" fmla="*/ 1321 h 1046717"/>
                    <a:gd name="connsiteX3" fmla="*/ 212974 w 817969"/>
                    <a:gd name="connsiteY3" fmla="*/ 66472 h 1046717"/>
                    <a:gd name="connsiteX4" fmla="*/ 25522 w 817969"/>
                    <a:gd name="connsiteY4" fmla="*/ 310312 h 1046717"/>
                    <a:gd name="connsiteX5" fmla="*/ 68956 w 817969"/>
                    <a:gd name="connsiteY5" fmla="*/ 866857 h 1046717"/>
                    <a:gd name="connsiteX6" fmla="*/ 720465 w 817969"/>
                    <a:gd name="connsiteY6" fmla="*/ 892765 h 1046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7969" h="1046717">
                      <a:moveTo>
                        <a:pt x="720465" y="892765"/>
                      </a:moveTo>
                      <a:cubicBezTo>
                        <a:pt x="720465" y="892765"/>
                        <a:pt x="964972" y="672262"/>
                        <a:pt x="679603" y="349364"/>
                      </a:cubicBezTo>
                      <a:cubicBezTo>
                        <a:pt x="593307" y="251733"/>
                        <a:pt x="546444" y="-21254"/>
                        <a:pt x="351467" y="1321"/>
                      </a:cubicBezTo>
                      <a:cubicBezTo>
                        <a:pt x="299555" y="8560"/>
                        <a:pt x="250502" y="23038"/>
                        <a:pt x="212974" y="66472"/>
                      </a:cubicBezTo>
                      <a:cubicBezTo>
                        <a:pt x="212974" y="66472"/>
                        <a:pt x="81243" y="74568"/>
                        <a:pt x="25522" y="310312"/>
                      </a:cubicBezTo>
                      <a:cubicBezTo>
                        <a:pt x="-22008" y="511480"/>
                        <a:pt x="-672" y="769036"/>
                        <a:pt x="68956" y="866857"/>
                      </a:cubicBezTo>
                      <a:cubicBezTo>
                        <a:pt x="228975" y="1099363"/>
                        <a:pt x="446907" y="1104792"/>
                        <a:pt x="720465" y="89276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8" name="Freihandform: Form 157">
                  <a:extLst>
                    <a:ext uri="{FF2B5EF4-FFF2-40B4-BE49-F238E27FC236}">
                      <a16:creationId xmlns:a16="http://schemas.microsoft.com/office/drawing/2014/main" id="{FBCFDB59-5053-8813-94F7-AAA4B65C33C3}"/>
                    </a:ext>
                  </a:extLst>
                </p:cNvPr>
                <p:cNvSpPr/>
                <p:nvPr/>
              </p:nvSpPr>
              <p:spPr>
                <a:xfrm>
                  <a:off x="9143174" y="7890573"/>
                  <a:ext cx="298227" cy="463654"/>
                </a:xfrm>
                <a:custGeom>
                  <a:avLst/>
                  <a:gdLst>
                    <a:gd name="connsiteX0" fmla="*/ 0 w 298227"/>
                    <a:gd name="connsiteY0" fmla="*/ 385001 h 463654"/>
                    <a:gd name="connsiteX1" fmla="*/ 298228 w 298227"/>
                    <a:gd name="connsiteY1" fmla="*/ 385001 h 463654"/>
                    <a:gd name="connsiteX2" fmla="*/ 298228 w 298227"/>
                    <a:gd name="connsiteY2" fmla="*/ 0 h 463654"/>
                    <a:gd name="connsiteX3" fmla="*/ 0 w 298227"/>
                    <a:gd name="connsiteY3" fmla="*/ 0 h 463654"/>
                    <a:gd name="connsiteX4" fmla="*/ 0 w 298227"/>
                    <a:gd name="connsiteY4" fmla="*/ 385001 h 4636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8227" h="463654">
                      <a:moveTo>
                        <a:pt x="0" y="385001"/>
                      </a:moveTo>
                      <a:cubicBezTo>
                        <a:pt x="51816" y="489109"/>
                        <a:pt x="237172" y="490633"/>
                        <a:pt x="298228" y="385001"/>
                      </a:cubicBezTo>
                      <a:lnTo>
                        <a:pt x="298228" y="0"/>
                      </a:lnTo>
                      <a:lnTo>
                        <a:pt x="0" y="0"/>
                      </a:lnTo>
                      <a:cubicBezTo>
                        <a:pt x="0" y="0"/>
                        <a:pt x="0" y="385001"/>
                        <a:pt x="0" y="385001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9" name="Freihandform: Form 158">
                  <a:extLst>
                    <a:ext uri="{FF2B5EF4-FFF2-40B4-BE49-F238E27FC236}">
                      <a16:creationId xmlns:a16="http://schemas.microsoft.com/office/drawing/2014/main" id="{D2484FDA-0B37-3BA9-842C-CE80F5D807FA}"/>
                    </a:ext>
                  </a:extLst>
                </p:cNvPr>
                <p:cNvSpPr/>
                <p:nvPr/>
              </p:nvSpPr>
              <p:spPr>
                <a:xfrm>
                  <a:off x="9054877" y="7945437"/>
                  <a:ext cx="361378" cy="476350"/>
                </a:xfrm>
                <a:custGeom>
                  <a:avLst/>
                  <a:gdLst>
                    <a:gd name="connsiteX0" fmla="*/ 361379 w 361378"/>
                    <a:gd name="connsiteY0" fmla="*/ 0 h 476350"/>
                    <a:gd name="connsiteX1" fmla="*/ 347186 w 361378"/>
                    <a:gd name="connsiteY1" fmla="*/ 72295 h 476350"/>
                    <a:gd name="connsiteX2" fmla="*/ 224790 w 361378"/>
                    <a:gd name="connsiteY2" fmla="*/ 204121 h 476350"/>
                    <a:gd name="connsiteX3" fmla="*/ 143542 w 361378"/>
                    <a:gd name="connsiteY3" fmla="*/ 260890 h 476350"/>
                    <a:gd name="connsiteX4" fmla="*/ 220313 w 361378"/>
                    <a:gd name="connsiteY4" fmla="*/ 473012 h 476350"/>
                    <a:gd name="connsiteX5" fmla="*/ 0 w 361378"/>
                    <a:gd name="connsiteY5" fmla="*/ 278987 h 476350"/>
                    <a:gd name="connsiteX6" fmla="*/ 88106 w 361378"/>
                    <a:gd name="connsiteY6" fmla="*/ 244888 h 476350"/>
                    <a:gd name="connsiteX7" fmla="*/ 88106 w 361378"/>
                    <a:gd name="connsiteY7" fmla="*/ 0 h 476350"/>
                    <a:gd name="connsiteX8" fmla="*/ 361379 w 361378"/>
                    <a:gd name="connsiteY8" fmla="*/ 0 h 476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61378" h="476350">
                      <a:moveTo>
                        <a:pt x="361379" y="0"/>
                      </a:moveTo>
                      <a:lnTo>
                        <a:pt x="347186" y="72295"/>
                      </a:lnTo>
                      <a:cubicBezTo>
                        <a:pt x="347186" y="72295"/>
                        <a:pt x="321945" y="199168"/>
                        <a:pt x="224790" y="204121"/>
                      </a:cubicBezTo>
                      <a:cubicBezTo>
                        <a:pt x="166688" y="207073"/>
                        <a:pt x="143827" y="229362"/>
                        <a:pt x="143542" y="260890"/>
                      </a:cubicBezTo>
                      <a:cubicBezTo>
                        <a:pt x="142590" y="384810"/>
                        <a:pt x="240030" y="440627"/>
                        <a:pt x="220313" y="473012"/>
                      </a:cubicBezTo>
                      <a:cubicBezTo>
                        <a:pt x="147733" y="501110"/>
                        <a:pt x="34100" y="344519"/>
                        <a:pt x="0" y="278987"/>
                      </a:cubicBezTo>
                      <a:lnTo>
                        <a:pt x="88106" y="244888"/>
                      </a:lnTo>
                      <a:lnTo>
                        <a:pt x="88106" y="0"/>
                      </a:lnTo>
                      <a:lnTo>
                        <a:pt x="361379" y="0"/>
                      </a:lnTo>
                      <a:close/>
                    </a:path>
                  </a:pathLst>
                </a:custGeom>
                <a:solidFill>
                  <a:srgbClr val="4B2E1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0" name="Freihandform: Form 159">
                  <a:extLst>
                    <a:ext uri="{FF2B5EF4-FFF2-40B4-BE49-F238E27FC236}">
                      <a16:creationId xmlns:a16="http://schemas.microsoft.com/office/drawing/2014/main" id="{029C22C0-E4FE-4830-9D27-ADC6B603B769}"/>
                    </a:ext>
                  </a:extLst>
                </p:cNvPr>
                <p:cNvSpPr/>
                <p:nvPr/>
              </p:nvSpPr>
              <p:spPr>
                <a:xfrm>
                  <a:off x="9092333" y="7562696"/>
                  <a:ext cx="400153" cy="557524"/>
                </a:xfrm>
                <a:custGeom>
                  <a:avLst/>
                  <a:gdLst>
                    <a:gd name="connsiteX0" fmla="*/ 398979 w 400153"/>
                    <a:gd name="connsiteY0" fmla="*/ 188336 h 557524"/>
                    <a:gd name="connsiteX1" fmla="*/ 346687 w 400153"/>
                    <a:gd name="connsiteY1" fmla="*/ 49080 h 557524"/>
                    <a:gd name="connsiteX2" fmla="*/ 200097 w 400153"/>
                    <a:gd name="connsiteY2" fmla="*/ 26 h 557524"/>
                    <a:gd name="connsiteX3" fmla="*/ 53507 w 400153"/>
                    <a:gd name="connsiteY3" fmla="*/ 49080 h 557524"/>
                    <a:gd name="connsiteX4" fmla="*/ 1215 w 400153"/>
                    <a:gd name="connsiteY4" fmla="*/ 188336 h 557524"/>
                    <a:gd name="connsiteX5" fmla="*/ 2073 w 400153"/>
                    <a:gd name="connsiteY5" fmla="*/ 321400 h 557524"/>
                    <a:gd name="connsiteX6" fmla="*/ 61604 w 400153"/>
                    <a:gd name="connsiteY6" fmla="*/ 469704 h 557524"/>
                    <a:gd name="connsiteX7" fmla="*/ 200097 w 400153"/>
                    <a:gd name="connsiteY7" fmla="*/ 557525 h 557524"/>
                    <a:gd name="connsiteX8" fmla="*/ 338591 w 400153"/>
                    <a:gd name="connsiteY8" fmla="*/ 469704 h 557524"/>
                    <a:gd name="connsiteX9" fmla="*/ 398122 w 400153"/>
                    <a:gd name="connsiteY9" fmla="*/ 321400 h 557524"/>
                    <a:gd name="connsiteX10" fmla="*/ 398979 w 400153"/>
                    <a:gd name="connsiteY10" fmla="*/ 188336 h 5575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00153" h="557524">
                      <a:moveTo>
                        <a:pt x="398979" y="188336"/>
                      </a:moveTo>
                      <a:cubicBezTo>
                        <a:pt x="398979" y="188336"/>
                        <a:pt x="394217" y="105278"/>
                        <a:pt x="346687" y="49080"/>
                      </a:cubicBezTo>
                      <a:cubicBezTo>
                        <a:pt x="307540" y="2789"/>
                        <a:pt x="227148" y="-355"/>
                        <a:pt x="200097" y="26"/>
                      </a:cubicBezTo>
                      <a:cubicBezTo>
                        <a:pt x="173046" y="-355"/>
                        <a:pt x="92655" y="2789"/>
                        <a:pt x="53507" y="49080"/>
                      </a:cubicBezTo>
                      <a:cubicBezTo>
                        <a:pt x="5978" y="105278"/>
                        <a:pt x="1215" y="188336"/>
                        <a:pt x="1215" y="188336"/>
                      </a:cubicBezTo>
                      <a:cubicBezTo>
                        <a:pt x="1215" y="188336"/>
                        <a:pt x="-2023" y="284252"/>
                        <a:pt x="2073" y="321400"/>
                      </a:cubicBezTo>
                      <a:cubicBezTo>
                        <a:pt x="6073" y="358452"/>
                        <a:pt x="1882" y="409316"/>
                        <a:pt x="61604" y="469704"/>
                      </a:cubicBezTo>
                      <a:cubicBezTo>
                        <a:pt x="119802" y="528664"/>
                        <a:pt x="159711" y="556191"/>
                        <a:pt x="200097" y="557525"/>
                      </a:cubicBezTo>
                      <a:cubicBezTo>
                        <a:pt x="240483" y="556191"/>
                        <a:pt x="280393" y="528664"/>
                        <a:pt x="338591" y="469704"/>
                      </a:cubicBezTo>
                      <a:cubicBezTo>
                        <a:pt x="398217" y="409316"/>
                        <a:pt x="394026" y="358452"/>
                        <a:pt x="398122" y="321400"/>
                      </a:cubicBezTo>
                      <a:cubicBezTo>
                        <a:pt x="402123" y="284348"/>
                        <a:pt x="398979" y="188336"/>
                        <a:pt x="398979" y="18833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1" name="Freihandform: Form 160">
                  <a:extLst>
                    <a:ext uri="{FF2B5EF4-FFF2-40B4-BE49-F238E27FC236}">
                      <a16:creationId xmlns:a16="http://schemas.microsoft.com/office/drawing/2014/main" id="{6DBA6D67-7C34-5018-0A23-9E522418F05B}"/>
                    </a:ext>
                  </a:extLst>
                </p:cNvPr>
                <p:cNvSpPr/>
                <p:nvPr/>
              </p:nvSpPr>
              <p:spPr>
                <a:xfrm rot="18018600">
                  <a:off x="9397508" y="7761554"/>
                  <a:ext cx="196214" cy="136778"/>
                </a:xfrm>
                <a:custGeom>
                  <a:avLst/>
                  <a:gdLst>
                    <a:gd name="connsiteX0" fmla="*/ 196215 w 196214"/>
                    <a:gd name="connsiteY0" fmla="*/ 68389 h 136778"/>
                    <a:gd name="connsiteX1" fmla="*/ 98107 w 196214"/>
                    <a:gd name="connsiteY1" fmla="*/ 136779 h 136778"/>
                    <a:gd name="connsiteX2" fmla="*/ 0 w 196214"/>
                    <a:gd name="connsiteY2" fmla="*/ 68389 h 136778"/>
                    <a:gd name="connsiteX3" fmla="*/ 98107 w 196214"/>
                    <a:gd name="connsiteY3" fmla="*/ 0 h 136778"/>
                    <a:gd name="connsiteX4" fmla="*/ 196215 w 196214"/>
                    <a:gd name="connsiteY4" fmla="*/ 68389 h 136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6214" h="136778">
                      <a:moveTo>
                        <a:pt x="196215" y="68389"/>
                      </a:moveTo>
                      <a:cubicBezTo>
                        <a:pt x="196215" y="106160"/>
                        <a:pt x="152291" y="136779"/>
                        <a:pt x="98107" y="136779"/>
                      </a:cubicBezTo>
                      <a:cubicBezTo>
                        <a:pt x="43924" y="136779"/>
                        <a:pt x="0" y="106160"/>
                        <a:pt x="0" y="68389"/>
                      </a:cubicBezTo>
                      <a:cubicBezTo>
                        <a:pt x="0" y="30619"/>
                        <a:pt x="43924" y="0"/>
                        <a:pt x="98107" y="0"/>
                      </a:cubicBezTo>
                      <a:cubicBezTo>
                        <a:pt x="152291" y="0"/>
                        <a:pt x="196215" y="30619"/>
                        <a:pt x="196215" y="68389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2" name="Freihandform: Form 161">
                  <a:extLst>
                    <a:ext uri="{FF2B5EF4-FFF2-40B4-BE49-F238E27FC236}">
                      <a16:creationId xmlns:a16="http://schemas.microsoft.com/office/drawing/2014/main" id="{64417BDD-2BAE-A7FF-43A8-64FD2C079E31}"/>
                    </a:ext>
                  </a:extLst>
                </p:cNvPr>
                <p:cNvSpPr/>
                <p:nvPr/>
              </p:nvSpPr>
              <p:spPr>
                <a:xfrm rot="20184000">
                  <a:off x="9013384" y="7733298"/>
                  <a:ext cx="138112" cy="194310"/>
                </a:xfrm>
                <a:custGeom>
                  <a:avLst/>
                  <a:gdLst>
                    <a:gd name="connsiteX0" fmla="*/ 138113 w 138112"/>
                    <a:gd name="connsiteY0" fmla="*/ 97155 h 194310"/>
                    <a:gd name="connsiteX1" fmla="*/ 69056 w 138112"/>
                    <a:gd name="connsiteY1" fmla="*/ 194310 h 194310"/>
                    <a:gd name="connsiteX2" fmla="*/ 0 w 138112"/>
                    <a:gd name="connsiteY2" fmla="*/ 97155 h 194310"/>
                    <a:gd name="connsiteX3" fmla="*/ 69056 w 138112"/>
                    <a:gd name="connsiteY3" fmla="*/ 0 h 194310"/>
                    <a:gd name="connsiteX4" fmla="*/ 138113 w 138112"/>
                    <a:gd name="connsiteY4" fmla="*/ 97155 h 1943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8112" h="194310">
                      <a:moveTo>
                        <a:pt x="138113" y="97155"/>
                      </a:moveTo>
                      <a:cubicBezTo>
                        <a:pt x="138113" y="150812"/>
                        <a:pt x="107195" y="194310"/>
                        <a:pt x="69056" y="194310"/>
                      </a:cubicBezTo>
                      <a:cubicBezTo>
                        <a:pt x="30917" y="194310"/>
                        <a:pt x="0" y="150812"/>
                        <a:pt x="0" y="97155"/>
                      </a:cubicBezTo>
                      <a:cubicBezTo>
                        <a:pt x="0" y="43498"/>
                        <a:pt x="30917" y="0"/>
                        <a:pt x="69056" y="0"/>
                      </a:cubicBezTo>
                      <a:cubicBezTo>
                        <a:pt x="107195" y="0"/>
                        <a:pt x="138113" y="43498"/>
                        <a:pt x="138113" y="97155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3" name="Freihandform: Form 162">
                  <a:extLst>
                    <a:ext uri="{FF2B5EF4-FFF2-40B4-BE49-F238E27FC236}">
                      <a16:creationId xmlns:a16="http://schemas.microsoft.com/office/drawing/2014/main" id="{D5533B85-DEFE-BC37-C424-60A48D8B8502}"/>
                    </a:ext>
                  </a:extLst>
                </p:cNvPr>
                <p:cNvSpPr/>
                <p:nvPr/>
              </p:nvSpPr>
              <p:spPr>
                <a:xfrm>
                  <a:off x="9023349" y="7397083"/>
                  <a:ext cx="538162" cy="562546"/>
                </a:xfrm>
                <a:custGeom>
                  <a:avLst/>
                  <a:gdLst>
                    <a:gd name="connsiteX0" fmla="*/ 538163 w 538162"/>
                    <a:gd name="connsiteY0" fmla="*/ 281273 h 562546"/>
                    <a:gd name="connsiteX1" fmla="*/ 269081 w 538162"/>
                    <a:gd name="connsiteY1" fmla="*/ 562547 h 562546"/>
                    <a:gd name="connsiteX2" fmla="*/ 0 w 538162"/>
                    <a:gd name="connsiteY2" fmla="*/ 281273 h 562546"/>
                    <a:gd name="connsiteX3" fmla="*/ 269081 w 538162"/>
                    <a:gd name="connsiteY3" fmla="*/ 0 h 562546"/>
                    <a:gd name="connsiteX4" fmla="*/ 538163 w 538162"/>
                    <a:gd name="connsiteY4" fmla="*/ 281273 h 562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8162" h="562546">
                      <a:moveTo>
                        <a:pt x="538163" y="281273"/>
                      </a:moveTo>
                      <a:cubicBezTo>
                        <a:pt x="538163" y="436616"/>
                        <a:pt x="417691" y="562547"/>
                        <a:pt x="269081" y="562547"/>
                      </a:cubicBezTo>
                      <a:cubicBezTo>
                        <a:pt x="120472" y="562547"/>
                        <a:pt x="0" y="436616"/>
                        <a:pt x="0" y="281273"/>
                      </a:cubicBezTo>
                      <a:cubicBezTo>
                        <a:pt x="0" y="125930"/>
                        <a:pt x="120472" y="0"/>
                        <a:pt x="269081" y="0"/>
                      </a:cubicBezTo>
                      <a:cubicBezTo>
                        <a:pt x="417691" y="0"/>
                        <a:pt x="538163" y="125930"/>
                        <a:pt x="538163" y="281273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4" name="Freihandform: Form 163">
                  <a:extLst>
                    <a:ext uri="{FF2B5EF4-FFF2-40B4-BE49-F238E27FC236}">
                      <a16:creationId xmlns:a16="http://schemas.microsoft.com/office/drawing/2014/main" id="{27391171-8ACE-B22E-1092-CA2675B38359}"/>
                    </a:ext>
                  </a:extLst>
                </p:cNvPr>
                <p:cNvSpPr/>
                <p:nvPr/>
              </p:nvSpPr>
              <p:spPr>
                <a:xfrm>
                  <a:off x="9011639" y="7401845"/>
                  <a:ext cx="530631" cy="404621"/>
                </a:xfrm>
                <a:custGeom>
                  <a:avLst/>
                  <a:gdLst>
                    <a:gd name="connsiteX0" fmla="*/ 267647 w 530631"/>
                    <a:gd name="connsiteY0" fmla="*/ 127540 h 404621"/>
                    <a:gd name="connsiteX1" fmla="*/ 491770 w 530631"/>
                    <a:gd name="connsiteY1" fmla="*/ 404622 h 404621"/>
                    <a:gd name="connsiteX2" fmla="*/ 530632 w 530631"/>
                    <a:gd name="connsiteY2" fmla="*/ 281273 h 404621"/>
                    <a:gd name="connsiteX3" fmla="*/ 266408 w 530631"/>
                    <a:gd name="connsiteY3" fmla="*/ 0 h 404621"/>
                    <a:gd name="connsiteX4" fmla="*/ 87814 w 530631"/>
                    <a:gd name="connsiteY4" fmla="*/ 74009 h 404621"/>
                    <a:gd name="connsiteX5" fmla="*/ 54382 w 530631"/>
                    <a:gd name="connsiteY5" fmla="*/ 389858 h 404621"/>
                    <a:gd name="connsiteX6" fmla="*/ 267647 w 530631"/>
                    <a:gd name="connsiteY6" fmla="*/ 127540 h 4046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0631" h="404621">
                      <a:moveTo>
                        <a:pt x="267647" y="127540"/>
                      </a:moveTo>
                      <a:cubicBezTo>
                        <a:pt x="459099" y="139637"/>
                        <a:pt x="435572" y="297085"/>
                        <a:pt x="491770" y="404622"/>
                      </a:cubicBezTo>
                      <a:cubicBezTo>
                        <a:pt x="502343" y="374142"/>
                        <a:pt x="530632" y="315659"/>
                        <a:pt x="530632" y="281273"/>
                      </a:cubicBezTo>
                      <a:cubicBezTo>
                        <a:pt x="530632" y="125920"/>
                        <a:pt x="412331" y="0"/>
                        <a:pt x="266408" y="0"/>
                      </a:cubicBezTo>
                      <a:cubicBezTo>
                        <a:pt x="197543" y="0"/>
                        <a:pt x="134773" y="28004"/>
                        <a:pt x="87814" y="74009"/>
                      </a:cubicBezTo>
                      <a:cubicBezTo>
                        <a:pt x="17520" y="108204"/>
                        <a:pt x="-51250" y="297085"/>
                        <a:pt x="54382" y="389858"/>
                      </a:cubicBezTo>
                      <a:cubicBezTo>
                        <a:pt x="94958" y="311753"/>
                        <a:pt x="95244" y="116681"/>
                        <a:pt x="267647" y="12754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5" name="Freihandform: Form 164">
                  <a:extLst>
                    <a:ext uri="{FF2B5EF4-FFF2-40B4-BE49-F238E27FC236}">
                      <a16:creationId xmlns:a16="http://schemas.microsoft.com/office/drawing/2014/main" id="{44E30C67-2AD5-EF7C-23E5-6F3DC5655908}"/>
                    </a:ext>
                  </a:extLst>
                </p:cNvPr>
                <p:cNvSpPr/>
                <p:nvPr/>
              </p:nvSpPr>
              <p:spPr>
                <a:xfrm>
                  <a:off x="9240995" y="7883810"/>
                  <a:ext cx="78793" cy="32099"/>
                </a:xfrm>
                <a:custGeom>
                  <a:avLst/>
                  <a:gdLst>
                    <a:gd name="connsiteX0" fmla="*/ 1143 w 78793"/>
                    <a:gd name="connsiteY0" fmla="*/ 0 h 32099"/>
                    <a:gd name="connsiteX1" fmla="*/ 35814 w 78793"/>
                    <a:gd name="connsiteY1" fmla="*/ 10573 h 32099"/>
                    <a:gd name="connsiteX2" fmla="*/ 77820 w 78793"/>
                    <a:gd name="connsiteY2" fmla="*/ 0 h 32099"/>
                    <a:gd name="connsiteX3" fmla="*/ 77820 w 78793"/>
                    <a:gd name="connsiteY3" fmla="*/ 9239 h 32099"/>
                    <a:gd name="connsiteX4" fmla="*/ 37148 w 78793"/>
                    <a:gd name="connsiteY4" fmla="*/ 32099 h 32099"/>
                    <a:gd name="connsiteX5" fmla="*/ 1143 w 78793"/>
                    <a:gd name="connsiteY5" fmla="*/ 10192 h 32099"/>
                    <a:gd name="connsiteX6" fmla="*/ 1143 w 78793"/>
                    <a:gd name="connsiteY6" fmla="*/ 95 h 32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8793" h="32099">
                      <a:moveTo>
                        <a:pt x="1143" y="0"/>
                      </a:moveTo>
                      <a:cubicBezTo>
                        <a:pt x="1143" y="0"/>
                        <a:pt x="11049" y="10573"/>
                        <a:pt x="35814" y="10573"/>
                      </a:cubicBezTo>
                      <a:cubicBezTo>
                        <a:pt x="67152" y="10573"/>
                        <a:pt x="77820" y="0"/>
                        <a:pt x="77820" y="0"/>
                      </a:cubicBezTo>
                      <a:cubicBezTo>
                        <a:pt x="77820" y="0"/>
                        <a:pt x="80010" y="3143"/>
                        <a:pt x="77820" y="9239"/>
                      </a:cubicBezTo>
                      <a:cubicBezTo>
                        <a:pt x="76295" y="13525"/>
                        <a:pt x="62675" y="32099"/>
                        <a:pt x="37148" y="32099"/>
                      </a:cubicBezTo>
                      <a:cubicBezTo>
                        <a:pt x="17240" y="32099"/>
                        <a:pt x="3715" y="16383"/>
                        <a:pt x="1143" y="10192"/>
                      </a:cubicBezTo>
                      <a:cubicBezTo>
                        <a:pt x="-1429" y="4000"/>
                        <a:pt x="1143" y="95"/>
                        <a:pt x="1143" y="95"/>
                      </a:cubicBezTo>
                      <a:close/>
                    </a:path>
                  </a:pathLst>
                </a:custGeom>
                <a:solidFill>
                  <a:srgbClr val="4B2E1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6" name="Freihandform: Form 165">
                  <a:extLst>
                    <a:ext uri="{FF2B5EF4-FFF2-40B4-BE49-F238E27FC236}">
                      <a16:creationId xmlns:a16="http://schemas.microsoft.com/office/drawing/2014/main" id="{BDF8EAE9-4D38-E319-F98E-2434579108B2}"/>
                    </a:ext>
                  </a:extLst>
                </p:cNvPr>
                <p:cNvSpPr/>
                <p:nvPr/>
              </p:nvSpPr>
              <p:spPr>
                <a:xfrm>
                  <a:off x="9312056" y="7699025"/>
                  <a:ext cx="140203" cy="47053"/>
                </a:xfrm>
                <a:custGeom>
                  <a:avLst/>
                  <a:gdLst>
                    <a:gd name="connsiteX0" fmla="*/ 109438 w 140203"/>
                    <a:gd name="connsiteY0" fmla="*/ 17716 h 47053"/>
                    <a:gd name="connsiteX1" fmla="*/ 55812 w 140203"/>
                    <a:gd name="connsiteY1" fmla="*/ 762 h 47053"/>
                    <a:gd name="connsiteX2" fmla="*/ 55812 w 140203"/>
                    <a:gd name="connsiteY2" fmla="*/ 762 h 47053"/>
                    <a:gd name="connsiteX3" fmla="*/ 7711 w 140203"/>
                    <a:gd name="connsiteY3" fmla="*/ 6191 h 47053"/>
                    <a:gd name="connsiteX4" fmla="*/ 4282 w 140203"/>
                    <a:gd name="connsiteY4" fmla="*/ 8858 h 47053"/>
                    <a:gd name="connsiteX5" fmla="*/ 13902 w 140203"/>
                    <a:gd name="connsiteY5" fmla="*/ 33242 h 47053"/>
                    <a:gd name="connsiteX6" fmla="*/ 41239 w 140203"/>
                    <a:gd name="connsiteY6" fmla="*/ 30766 h 47053"/>
                    <a:gd name="connsiteX7" fmla="*/ 105533 w 140203"/>
                    <a:gd name="connsiteY7" fmla="*/ 34480 h 47053"/>
                    <a:gd name="connsiteX8" fmla="*/ 140204 w 140203"/>
                    <a:gd name="connsiteY8" fmla="*/ 47053 h 47053"/>
                    <a:gd name="connsiteX9" fmla="*/ 109438 w 140203"/>
                    <a:gd name="connsiteY9" fmla="*/ 17716 h 4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0203" h="47053">
                      <a:moveTo>
                        <a:pt x="109438" y="17716"/>
                      </a:moveTo>
                      <a:cubicBezTo>
                        <a:pt x="90864" y="5905"/>
                        <a:pt x="70671" y="1429"/>
                        <a:pt x="55812" y="762"/>
                      </a:cubicBezTo>
                      <a:lnTo>
                        <a:pt x="55812" y="762"/>
                      </a:lnTo>
                      <a:cubicBezTo>
                        <a:pt x="30285" y="-1810"/>
                        <a:pt x="13236" y="2667"/>
                        <a:pt x="7711" y="6191"/>
                      </a:cubicBezTo>
                      <a:cubicBezTo>
                        <a:pt x="6377" y="7048"/>
                        <a:pt x="5234" y="7906"/>
                        <a:pt x="4282" y="8858"/>
                      </a:cubicBezTo>
                      <a:cubicBezTo>
                        <a:pt x="-4862" y="17526"/>
                        <a:pt x="1710" y="33623"/>
                        <a:pt x="13902" y="33242"/>
                      </a:cubicBezTo>
                      <a:cubicBezTo>
                        <a:pt x="19522" y="33147"/>
                        <a:pt x="33333" y="31528"/>
                        <a:pt x="41239" y="30766"/>
                      </a:cubicBezTo>
                      <a:cubicBezTo>
                        <a:pt x="55050" y="29337"/>
                        <a:pt x="94293" y="31432"/>
                        <a:pt x="105533" y="34480"/>
                      </a:cubicBezTo>
                      <a:cubicBezTo>
                        <a:pt x="127536" y="40481"/>
                        <a:pt x="140204" y="47053"/>
                        <a:pt x="140204" y="47053"/>
                      </a:cubicBezTo>
                      <a:cubicBezTo>
                        <a:pt x="140204" y="47053"/>
                        <a:pt x="134203" y="33528"/>
                        <a:pt x="109438" y="1771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7" name="Freihandform: Form 166">
                  <a:extLst>
                    <a:ext uri="{FF2B5EF4-FFF2-40B4-BE49-F238E27FC236}">
                      <a16:creationId xmlns:a16="http://schemas.microsoft.com/office/drawing/2014/main" id="{CDD4E8A0-E82C-726B-09F8-3B2E68F05691}"/>
                    </a:ext>
                  </a:extLst>
                </p:cNvPr>
                <p:cNvSpPr/>
                <p:nvPr/>
              </p:nvSpPr>
              <p:spPr>
                <a:xfrm rot="16434000">
                  <a:off x="9156216" y="7772737"/>
                  <a:ext cx="40385" cy="37909"/>
                </a:xfrm>
                <a:custGeom>
                  <a:avLst/>
                  <a:gdLst>
                    <a:gd name="connsiteX0" fmla="*/ 40386 w 40385"/>
                    <a:gd name="connsiteY0" fmla="*/ 18955 h 37909"/>
                    <a:gd name="connsiteX1" fmla="*/ 20193 w 40385"/>
                    <a:gd name="connsiteY1" fmla="*/ 37910 h 37909"/>
                    <a:gd name="connsiteX2" fmla="*/ 0 w 40385"/>
                    <a:gd name="connsiteY2" fmla="*/ 18955 h 37909"/>
                    <a:gd name="connsiteX3" fmla="*/ 20193 w 40385"/>
                    <a:gd name="connsiteY3" fmla="*/ 0 h 37909"/>
                    <a:gd name="connsiteX4" fmla="*/ 40386 w 40385"/>
                    <a:gd name="connsiteY4" fmla="*/ 18955 h 37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385" h="37909">
                      <a:moveTo>
                        <a:pt x="40386" y="18955"/>
                      </a:moveTo>
                      <a:cubicBezTo>
                        <a:pt x="40386" y="29423"/>
                        <a:pt x="31345" y="37910"/>
                        <a:pt x="20193" y="37910"/>
                      </a:cubicBezTo>
                      <a:cubicBezTo>
                        <a:pt x="9041" y="37910"/>
                        <a:pt x="0" y="29423"/>
                        <a:pt x="0" y="18955"/>
                      </a:cubicBezTo>
                      <a:cubicBezTo>
                        <a:pt x="0" y="8486"/>
                        <a:pt x="9041" y="0"/>
                        <a:pt x="20193" y="0"/>
                      </a:cubicBezTo>
                      <a:cubicBezTo>
                        <a:pt x="31345" y="0"/>
                        <a:pt x="40386" y="8486"/>
                        <a:pt x="40386" y="18955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8" name="Freihandform: Form 167">
                  <a:extLst>
                    <a:ext uri="{FF2B5EF4-FFF2-40B4-BE49-F238E27FC236}">
                      <a16:creationId xmlns:a16="http://schemas.microsoft.com/office/drawing/2014/main" id="{6E44376A-F0BF-CCE2-DF65-4354D9C4E98A}"/>
                    </a:ext>
                  </a:extLst>
                </p:cNvPr>
                <p:cNvSpPr/>
                <p:nvPr/>
              </p:nvSpPr>
              <p:spPr>
                <a:xfrm>
                  <a:off x="9106502" y="7700645"/>
                  <a:ext cx="140013" cy="47053"/>
                </a:xfrm>
                <a:custGeom>
                  <a:avLst/>
                  <a:gdLst>
                    <a:gd name="connsiteX0" fmla="*/ 30766 w 140013"/>
                    <a:gd name="connsiteY0" fmla="*/ 17716 h 47053"/>
                    <a:gd name="connsiteX1" fmla="*/ 84297 w 140013"/>
                    <a:gd name="connsiteY1" fmla="*/ 762 h 47053"/>
                    <a:gd name="connsiteX2" fmla="*/ 84297 w 140013"/>
                    <a:gd name="connsiteY2" fmla="*/ 762 h 47053"/>
                    <a:gd name="connsiteX3" fmla="*/ 132302 w 140013"/>
                    <a:gd name="connsiteY3" fmla="*/ 6191 h 47053"/>
                    <a:gd name="connsiteX4" fmla="*/ 135731 w 140013"/>
                    <a:gd name="connsiteY4" fmla="*/ 8858 h 47053"/>
                    <a:gd name="connsiteX5" fmla="*/ 126111 w 140013"/>
                    <a:gd name="connsiteY5" fmla="*/ 33242 h 47053"/>
                    <a:gd name="connsiteX6" fmla="*/ 98774 w 140013"/>
                    <a:gd name="connsiteY6" fmla="*/ 30766 h 47053"/>
                    <a:gd name="connsiteX7" fmla="*/ 34576 w 140013"/>
                    <a:gd name="connsiteY7" fmla="*/ 34480 h 47053"/>
                    <a:gd name="connsiteX8" fmla="*/ 0 w 140013"/>
                    <a:gd name="connsiteY8" fmla="*/ 47053 h 47053"/>
                    <a:gd name="connsiteX9" fmla="*/ 30766 w 140013"/>
                    <a:gd name="connsiteY9" fmla="*/ 17716 h 4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0013" h="47053">
                      <a:moveTo>
                        <a:pt x="30766" y="17716"/>
                      </a:moveTo>
                      <a:cubicBezTo>
                        <a:pt x="49339" y="5905"/>
                        <a:pt x="69438" y="1429"/>
                        <a:pt x="84297" y="762"/>
                      </a:cubicBezTo>
                      <a:lnTo>
                        <a:pt x="84297" y="762"/>
                      </a:lnTo>
                      <a:cubicBezTo>
                        <a:pt x="109824" y="-1810"/>
                        <a:pt x="126778" y="2667"/>
                        <a:pt x="132302" y="6191"/>
                      </a:cubicBezTo>
                      <a:cubicBezTo>
                        <a:pt x="133636" y="7048"/>
                        <a:pt x="134684" y="7906"/>
                        <a:pt x="135731" y="8858"/>
                      </a:cubicBezTo>
                      <a:cubicBezTo>
                        <a:pt x="144875" y="17526"/>
                        <a:pt x="138303" y="33623"/>
                        <a:pt x="126111" y="33242"/>
                      </a:cubicBezTo>
                      <a:cubicBezTo>
                        <a:pt x="120491" y="33147"/>
                        <a:pt x="106680" y="31528"/>
                        <a:pt x="98774" y="30766"/>
                      </a:cubicBezTo>
                      <a:cubicBezTo>
                        <a:pt x="84963" y="29337"/>
                        <a:pt x="45815" y="31432"/>
                        <a:pt x="34576" y="34480"/>
                      </a:cubicBezTo>
                      <a:cubicBezTo>
                        <a:pt x="12573" y="40481"/>
                        <a:pt x="0" y="47053"/>
                        <a:pt x="0" y="47053"/>
                      </a:cubicBezTo>
                      <a:cubicBezTo>
                        <a:pt x="0" y="47053"/>
                        <a:pt x="6001" y="33528"/>
                        <a:pt x="30766" y="1771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9" name="Freihandform: Form 168">
                  <a:extLst>
                    <a:ext uri="{FF2B5EF4-FFF2-40B4-BE49-F238E27FC236}">
                      <a16:creationId xmlns:a16="http://schemas.microsoft.com/office/drawing/2014/main" id="{2A151BC0-94AB-0F5A-4E4E-C91B79D692AA}"/>
                    </a:ext>
                  </a:extLst>
                </p:cNvPr>
                <p:cNvSpPr/>
                <p:nvPr/>
              </p:nvSpPr>
              <p:spPr>
                <a:xfrm>
                  <a:off x="9123564" y="7762192"/>
                  <a:ext cx="103635" cy="27457"/>
                </a:xfrm>
                <a:custGeom>
                  <a:avLst/>
                  <a:gdLst>
                    <a:gd name="connsiteX0" fmla="*/ 3227 w 103635"/>
                    <a:gd name="connsiteY0" fmla="*/ 17795 h 27457"/>
                    <a:gd name="connsiteX1" fmla="*/ 46185 w 103635"/>
                    <a:gd name="connsiteY1" fmla="*/ 174 h 27457"/>
                    <a:gd name="connsiteX2" fmla="*/ 101239 w 103635"/>
                    <a:gd name="connsiteY2" fmla="*/ 17509 h 27457"/>
                    <a:gd name="connsiteX3" fmla="*/ 97905 w 103635"/>
                    <a:gd name="connsiteY3" fmla="*/ 26939 h 27457"/>
                    <a:gd name="connsiteX4" fmla="*/ 54281 w 103635"/>
                    <a:gd name="connsiteY4" fmla="*/ 11699 h 27457"/>
                    <a:gd name="connsiteX5" fmla="*/ 10847 w 103635"/>
                    <a:gd name="connsiteY5" fmla="*/ 21415 h 27457"/>
                    <a:gd name="connsiteX6" fmla="*/ 1322 w 103635"/>
                    <a:gd name="connsiteY6" fmla="*/ 25606 h 27457"/>
                    <a:gd name="connsiteX7" fmla="*/ 3417 w 103635"/>
                    <a:gd name="connsiteY7" fmla="*/ 17795 h 274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3635" h="27457">
                      <a:moveTo>
                        <a:pt x="3227" y="17795"/>
                      </a:moveTo>
                      <a:cubicBezTo>
                        <a:pt x="7989" y="12938"/>
                        <a:pt x="23896" y="1412"/>
                        <a:pt x="46185" y="174"/>
                      </a:cubicBezTo>
                      <a:cubicBezTo>
                        <a:pt x="76569" y="-1541"/>
                        <a:pt x="94000" y="9794"/>
                        <a:pt x="101239" y="17509"/>
                      </a:cubicBezTo>
                      <a:cubicBezTo>
                        <a:pt x="106478" y="23034"/>
                        <a:pt x="102096" y="29321"/>
                        <a:pt x="97905" y="26939"/>
                      </a:cubicBezTo>
                      <a:cubicBezTo>
                        <a:pt x="86952" y="20748"/>
                        <a:pt x="81046" y="14843"/>
                        <a:pt x="54281" y="11699"/>
                      </a:cubicBezTo>
                      <a:cubicBezTo>
                        <a:pt x="35517" y="9413"/>
                        <a:pt x="17705" y="17605"/>
                        <a:pt x="10847" y="21415"/>
                      </a:cubicBezTo>
                      <a:cubicBezTo>
                        <a:pt x="5608" y="24368"/>
                        <a:pt x="2941" y="26844"/>
                        <a:pt x="1322" y="25606"/>
                      </a:cubicBezTo>
                      <a:cubicBezTo>
                        <a:pt x="-1631" y="23415"/>
                        <a:pt x="941" y="20272"/>
                        <a:pt x="3417" y="17795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0" name="Freihandform: Form 169">
                  <a:extLst>
                    <a:ext uri="{FF2B5EF4-FFF2-40B4-BE49-F238E27FC236}">
                      <a16:creationId xmlns:a16="http://schemas.microsoft.com/office/drawing/2014/main" id="{CE5995CC-4727-EE7A-5B88-A685794C7D74}"/>
                    </a:ext>
                  </a:extLst>
                </p:cNvPr>
                <p:cNvSpPr/>
                <p:nvPr/>
              </p:nvSpPr>
              <p:spPr>
                <a:xfrm rot="21366000">
                  <a:off x="9358240" y="7771675"/>
                  <a:ext cx="37909" cy="40385"/>
                </a:xfrm>
                <a:custGeom>
                  <a:avLst/>
                  <a:gdLst>
                    <a:gd name="connsiteX0" fmla="*/ 37910 w 37909"/>
                    <a:gd name="connsiteY0" fmla="*/ 20193 h 40385"/>
                    <a:gd name="connsiteX1" fmla="*/ 18955 w 37909"/>
                    <a:gd name="connsiteY1" fmla="*/ 40386 h 40385"/>
                    <a:gd name="connsiteX2" fmla="*/ 0 w 37909"/>
                    <a:gd name="connsiteY2" fmla="*/ 20193 h 40385"/>
                    <a:gd name="connsiteX3" fmla="*/ 18955 w 37909"/>
                    <a:gd name="connsiteY3" fmla="*/ 0 h 40385"/>
                    <a:gd name="connsiteX4" fmla="*/ 37910 w 37909"/>
                    <a:gd name="connsiteY4" fmla="*/ 20193 h 40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7909" h="40385">
                      <a:moveTo>
                        <a:pt x="37910" y="20193"/>
                      </a:moveTo>
                      <a:cubicBezTo>
                        <a:pt x="37910" y="31345"/>
                        <a:pt x="29424" y="40386"/>
                        <a:pt x="18955" y="40386"/>
                      </a:cubicBezTo>
                      <a:cubicBezTo>
                        <a:pt x="8486" y="40386"/>
                        <a:pt x="0" y="31345"/>
                        <a:pt x="0" y="20193"/>
                      </a:cubicBezTo>
                      <a:cubicBezTo>
                        <a:pt x="0" y="9041"/>
                        <a:pt x="8486" y="0"/>
                        <a:pt x="18955" y="0"/>
                      </a:cubicBezTo>
                      <a:cubicBezTo>
                        <a:pt x="29424" y="0"/>
                        <a:pt x="37910" y="9041"/>
                        <a:pt x="37910" y="20193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1" name="Freihandform: Form 170">
                  <a:extLst>
                    <a:ext uri="{FF2B5EF4-FFF2-40B4-BE49-F238E27FC236}">
                      <a16:creationId xmlns:a16="http://schemas.microsoft.com/office/drawing/2014/main" id="{D4BF3D99-FE65-E429-0A3E-16ACA52B1E89}"/>
                    </a:ext>
                  </a:extLst>
                </p:cNvPr>
                <p:cNvSpPr/>
                <p:nvPr/>
              </p:nvSpPr>
              <p:spPr>
                <a:xfrm>
                  <a:off x="9326515" y="7762192"/>
                  <a:ext cx="103634" cy="27457"/>
                </a:xfrm>
                <a:custGeom>
                  <a:avLst/>
                  <a:gdLst>
                    <a:gd name="connsiteX0" fmla="*/ 100408 w 103634"/>
                    <a:gd name="connsiteY0" fmla="*/ 17795 h 27457"/>
                    <a:gd name="connsiteX1" fmla="*/ 57450 w 103634"/>
                    <a:gd name="connsiteY1" fmla="*/ 174 h 27457"/>
                    <a:gd name="connsiteX2" fmla="*/ 2396 w 103634"/>
                    <a:gd name="connsiteY2" fmla="*/ 17509 h 27457"/>
                    <a:gd name="connsiteX3" fmla="*/ 5730 w 103634"/>
                    <a:gd name="connsiteY3" fmla="*/ 26939 h 27457"/>
                    <a:gd name="connsiteX4" fmla="*/ 49354 w 103634"/>
                    <a:gd name="connsiteY4" fmla="*/ 11699 h 27457"/>
                    <a:gd name="connsiteX5" fmla="*/ 92788 w 103634"/>
                    <a:gd name="connsiteY5" fmla="*/ 21415 h 27457"/>
                    <a:gd name="connsiteX6" fmla="*/ 102313 w 103634"/>
                    <a:gd name="connsiteY6" fmla="*/ 25606 h 27457"/>
                    <a:gd name="connsiteX7" fmla="*/ 100218 w 103634"/>
                    <a:gd name="connsiteY7" fmla="*/ 17795 h 274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3634" h="27457">
                      <a:moveTo>
                        <a:pt x="100408" y="17795"/>
                      </a:moveTo>
                      <a:cubicBezTo>
                        <a:pt x="95646" y="12938"/>
                        <a:pt x="79739" y="1412"/>
                        <a:pt x="57450" y="174"/>
                      </a:cubicBezTo>
                      <a:cubicBezTo>
                        <a:pt x="27066" y="-1541"/>
                        <a:pt x="9635" y="9794"/>
                        <a:pt x="2396" y="17509"/>
                      </a:cubicBezTo>
                      <a:cubicBezTo>
                        <a:pt x="-2842" y="23034"/>
                        <a:pt x="1539" y="29321"/>
                        <a:pt x="5730" y="26939"/>
                      </a:cubicBezTo>
                      <a:cubicBezTo>
                        <a:pt x="16684" y="20748"/>
                        <a:pt x="22589" y="14843"/>
                        <a:pt x="49354" y="11699"/>
                      </a:cubicBezTo>
                      <a:cubicBezTo>
                        <a:pt x="68118" y="9413"/>
                        <a:pt x="85930" y="17605"/>
                        <a:pt x="92788" y="21415"/>
                      </a:cubicBezTo>
                      <a:cubicBezTo>
                        <a:pt x="98027" y="24368"/>
                        <a:pt x="100694" y="26844"/>
                        <a:pt x="102313" y="25606"/>
                      </a:cubicBezTo>
                      <a:cubicBezTo>
                        <a:pt x="105266" y="23415"/>
                        <a:pt x="102694" y="20272"/>
                        <a:pt x="100218" y="17795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2" name="Freihandform: Form 171">
                  <a:extLst>
                    <a:ext uri="{FF2B5EF4-FFF2-40B4-BE49-F238E27FC236}">
                      <a16:creationId xmlns:a16="http://schemas.microsoft.com/office/drawing/2014/main" id="{BEC3B024-92ED-B5C5-B98A-8BF1DF0B5763}"/>
                    </a:ext>
                  </a:extLst>
                </p:cNvPr>
                <p:cNvSpPr/>
                <p:nvPr/>
              </p:nvSpPr>
              <p:spPr>
                <a:xfrm>
                  <a:off x="9123366" y="7360423"/>
                  <a:ext cx="508630" cy="429280"/>
                </a:xfrm>
                <a:custGeom>
                  <a:avLst/>
                  <a:gdLst>
                    <a:gd name="connsiteX0" fmla="*/ 91 w 508630"/>
                    <a:gd name="connsiteY0" fmla="*/ 94667 h 429280"/>
                    <a:gd name="connsiteX1" fmla="*/ 318131 w 508630"/>
                    <a:gd name="connsiteY1" fmla="*/ 352223 h 429280"/>
                    <a:gd name="connsiteX2" fmla="*/ 508631 w 508630"/>
                    <a:gd name="connsiteY2" fmla="*/ 429281 h 429280"/>
                    <a:gd name="connsiteX3" fmla="*/ 449956 w 508630"/>
                    <a:gd name="connsiteY3" fmla="*/ 231446 h 429280"/>
                    <a:gd name="connsiteX4" fmla="*/ 91 w 508630"/>
                    <a:gd name="connsiteY4" fmla="*/ 94667 h 429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8630" h="429280">
                      <a:moveTo>
                        <a:pt x="91" y="94667"/>
                      </a:moveTo>
                      <a:cubicBezTo>
                        <a:pt x="-4576" y="204586"/>
                        <a:pt x="171731" y="297931"/>
                        <a:pt x="318131" y="352223"/>
                      </a:cubicBezTo>
                      <a:cubicBezTo>
                        <a:pt x="464530" y="406516"/>
                        <a:pt x="508631" y="429281"/>
                        <a:pt x="508631" y="429281"/>
                      </a:cubicBezTo>
                      <a:cubicBezTo>
                        <a:pt x="508631" y="429281"/>
                        <a:pt x="454338" y="371464"/>
                        <a:pt x="449956" y="231446"/>
                      </a:cubicBezTo>
                      <a:cubicBezTo>
                        <a:pt x="445003" y="73236"/>
                        <a:pt x="191067" y="-118597"/>
                        <a:pt x="91" y="94667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173" name="Grafik 23">
                  <a:extLst>
                    <a:ext uri="{FF2B5EF4-FFF2-40B4-BE49-F238E27FC236}">
                      <a16:creationId xmlns:a16="http://schemas.microsoft.com/office/drawing/2014/main" id="{F61EED84-1180-9339-FB81-8839E3989F49}"/>
                    </a:ext>
                  </a:extLst>
                </p:cNvPr>
                <p:cNvGrpSpPr/>
                <p:nvPr/>
              </p:nvGrpSpPr>
              <p:grpSpPr>
                <a:xfrm>
                  <a:off x="8395080" y="9884441"/>
                  <a:ext cx="234464" cy="670178"/>
                  <a:chOff x="8395080" y="3305841"/>
                  <a:chExt cx="234464" cy="670178"/>
                </a:xfrm>
                <a:solidFill>
                  <a:srgbClr val="8A5942"/>
                </a:solidFill>
              </p:grpSpPr>
              <p:sp>
                <p:nvSpPr>
                  <p:cNvPr id="201" name="Freihandform: Form 200">
                    <a:extLst>
                      <a:ext uri="{FF2B5EF4-FFF2-40B4-BE49-F238E27FC236}">
                        <a16:creationId xmlns:a16="http://schemas.microsoft.com/office/drawing/2014/main" id="{66704ABC-D610-4CF2-5A1A-B319E37C7409}"/>
                      </a:ext>
                    </a:extLst>
                  </p:cNvPr>
                  <p:cNvSpPr/>
                  <p:nvPr/>
                </p:nvSpPr>
                <p:spPr>
                  <a:xfrm>
                    <a:off x="8433275" y="3305841"/>
                    <a:ext cx="191738" cy="211264"/>
                  </a:xfrm>
                  <a:custGeom>
                    <a:avLst/>
                    <a:gdLst>
                      <a:gd name="connsiteX0" fmla="*/ 95 w 191738"/>
                      <a:gd name="connsiteY0" fmla="*/ 0 h 211264"/>
                      <a:gd name="connsiteX1" fmla="*/ 21431 w 191738"/>
                      <a:gd name="connsiteY1" fmla="*/ 211264 h 211264"/>
                      <a:gd name="connsiteX2" fmla="*/ 156782 w 191738"/>
                      <a:gd name="connsiteY2" fmla="*/ 200406 h 211264"/>
                      <a:gd name="connsiteX3" fmla="*/ 191738 w 191738"/>
                      <a:gd name="connsiteY3" fmla="*/ 10763 h 211264"/>
                      <a:gd name="connsiteX4" fmla="*/ 0 w 191738"/>
                      <a:gd name="connsiteY4" fmla="*/ 0 h 2112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1738" h="211264">
                        <a:moveTo>
                          <a:pt x="95" y="0"/>
                        </a:moveTo>
                        <a:cubicBezTo>
                          <a:pt x="5239" y="79629"/>
                          <a:pt x="13525" y="148495"/>
                          <a:pt x="21431" y="211264"/>
                        </a:cubicBezTo>
                        <a:lnTo>
                          <a:pt x="156782" y="200406"/>
                        </a:lnTo>
                        <a:cubicBezTo>
                          <a:pt x="156782" y="200406"/>
                          <a:pt x="172212" y="119158"/>
                          <a:pt x="191738" y="10763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202" name="Grafik 23">
                    <a:extLst>
                      <a:ext uri="{FF2B5EF4-FFF2-40B4-BE49-F238E27FC236}">
                        <a16:creationId xmlns:a16="http://schemas.microsoft.com/office/drawing/2014/main" id="{B5F207AB-34A6-4C21-0210-F6578AA7C574}"/>
                      </a:ext>
                    </a:extLst>
                  </p:cNvPr>
                  <p:cNvGrpSpPr/>
                  <p:nvPr/>
                </p:nvGrpSpPr>
                <p:grpSpPr>
                  <a:xfrm>
                    <a:off x="8395080" y="3436239"/>
                    <a:ext cx="234464" cy="539781"/>
                    <a:chOff x="8395080" y="3436239"/>
                    <a:chExt cx="234464" cy="539781"/>
                  </a:xfrm>
                  <a:solidFill>
                    <a:srgbClr val="8A5942"/>
                  </a:solidFill>
                </p:grpSpPr>
                <p:sp>
                  <p:nvSpPr>
                    <p:cNvPr id="203" name="Freihandform: Form 202">
                      <a:extLst>
                        <a:ext uri="{FF2B5EF4-FFF2-40B4-BE49-F238E27FC236}">
                          <a16:creationId xmlns:a16="http://schemas.microsoft.com/office/drawing/2014/main" id="{D5CB9620-80F1-7AA6-32DB-85407B40450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66681" y="3802691"/>
                      <a:ext cx="54546" cy="83127"/>
                    </a:xfrm>
                    <a:custGeom>
                      <a:avLst/>
                      <a:gdLst>
                        <a:gd name="connsiteX0" fmla="*/ 47557 w 54546"/>
                        <a:gd name="connsiteY0" fmla="*/ 83128 h 83127"/>
                        <a:gd name="connsiteX1" fmla="*/ 13648 w 54546"/>
                        <a:gd name="connsiteY1" fmla="*/ 55791 h 83127"/>
                        <a:gd name="connsiteX2" fmla="*/ 2885 w 54546"/>
                        <a:gd name="connsiteY2" fmla="*/ 9595 h 83127"/>
                        <a:gd name="connsiteX3" fmla="*/ 7838 w 54546"/>
                        <a:gd name="connsiteY3" fmla="*/ 70 h 83127"/>
                        <a:gd name="connsiteX4" fmla="*/ 43747 w 54546"/>
                        <a:gd name="connsiteY4" fmla="*/ 39694 h 83127"/>
                        <a:gd name="connsiteX5" fmla="*/ 47557 w 54546"/>
                        <a:gd name="connsiteY5" fmla="*/ 83128 h 83127"/>
                        <a:gd name="connsiteX6" fmla="*/ 47557 w 54546"/>
                        <a:gd name="connsiteY6" fmla="*/ 83128 h 831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54546" h="83127">
                          <a:moveTo>
                            <a:pt x="47557" y="83128"/>
                          </a:moveTo>
                          <a:lnTo>
                            <a:pt x="13648" y="55791"/>
                          </a:lnTo>
                          <a:cubicBezTo>
                            <a:pt x="979" y="45218"/>
                            <a:pt x="-3497" y="28264"/>
                            <a:pt x="2885" y="9595"/>
                          </a:cubicBezTo>
                          <a:cubicBezTo>
                            <a:pt x="4980" y="3594"/>
                            <a:pt x="6790" y="-597"/>
                            <a:pt x="7838" y="70"/>
                          </a:cubicBezTo>
                          <a:cubicBezTo>
                            <a:pt x="9743" y="1499"/>
                            <a:pt x="25173" y="18262"/>
                            <a:pt x="43747" y="39694"/>
                          </a:cubicBezTo>
                          <a:cubicBezTo>
                            <a:pt x="55463" y="53219"/>
                            <a:pt x="58987" y="64744"/>
                            <a:pt x="47557" y="83128"/>
                          </a:cubicBezTo>
                          <a:lnTo>
                            <a:pt x="47557" y="83128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04" name="Freihandform: Form 203">
                      <a:extLst>
                        <a:ext uri="{FF2B5EF4-FFF2-40B4-BE49-F238E27FC236}">
                          <a16:creationId xmlns:a16="http://schemas.microsoft.com/office/drawing/2014/main" id="{DC6F532F-D1A0-D3F2-FD90-F794C19CF32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19369" y="3769457"/>
                      <a:ext cx="73352" cy="89024"/>
                    </a:xfrm>
                    <a:custGeom>
                      <a:avLst/>
                      <a:gdLst>
                        <a:gd name="connsiteX0" fmla="*/ 60960 w 73352"/>
                        <a:gd name="connsiteY0" fmla="*/ 89025 h 89024"/>
                        <a:gd name="connsiteX1" fmla="*/ 9525 w 73352"/>
                        <a:gd name="connsiteY1" fmla="*/ 44448 h 89024"/>
                        <a:gd name="connsiteX2" fmla="*/ 0 w 73352"/>
                        <a:gd name="connsiteY2" fmla="*/ 31494 h 89024"/>
                        <a:gd name="connsiteX3" fmla="*/ 40291 w 73352"/>
                        <a:gd name="connsiteY3" fmla="*/ 537 h 89024"/>
                        <a:gd name="connsiteX4" fmla="*/ 66675 w 73352"/>
                        <a:gd name="connsiteY4" fmla="*/ 44829 h 89024"/>
                        <a:gd name="connsiteX5" fmla="*/ 60864 w 73352"/>
                        <a:gd name="connsiteY5" fmla="*/ 89025 h 89024"/>
                        <a:gd name="connsiteX6" fmla="*/ 60864 w 73352"/>
                        <a:gd name="connsiteY6" fmla="*/ 89025 h 8902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73352" h="89024">
                          <a:moveTo>
                            <a:pt x="60960" y="89025"/>
                          </a:moveTo>
                          <a:lnTo>
                            <a:pt x="9525" y="44448"/>
                          </a:lnTo>
                          <a:cubicBezTo>
                            <a:pt x="3334" y="38637"/>
                            <a:pt x="1524" y="34446"/>
                            <a:pt x="0" y="31494"/>
                          </a:cubicBezTo>
                          <a:cubicBezTo>
                            <a:pt x="1048" y="12063"/>
                            <a:pt x="25432" y="-3082"/>
                            <a:pt x="40291" y="537"/>
                          </a:cubicBezTo>
                          <a:lnTo>
                            <a:pt x="66675" y="44829"/>
                          </a:lnTo>
                          <a:cubicBezTo>
                            <a:pt x="78105" y="57307"/>
                            <a:pt x="74009" y="72261"/>
                            <a:pt x="60864" y="89025"/>
                          </a:cubicBezTo>
                          <a:lnTo>
                            <a:pt x="60864" y="89025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05" name="Freihandform: Form 204">
                      <a:extLst>
                        <a:ext uri="{FF2B5EF4-FFF2-40B4-BE49-F238E27FC236}">
                          <a16:creationId xmlns:a16="http://schemas.microsoft.com/office/drawing/2014/main" id="{010737EA-168E-3979-7456-C1E2472FAA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55898" y="3838165"/>
                      <a:ext cx="63906" cy="105660"/>
                    </a:xfrm>
                    <a:custGeom>
                      <a:avLst/>
                      <a:gdLst>
                        <a:gd name="connsiteX0" fmla="*/ 55673 w 63906"/>
                        <a:gd name="connsiteY0" fmla="*/ 105660 h 105660"/>
                        <a:gd name="connsiteX1" fmla="*/ 15954 w 63906"/>
                        <a:gd name="connsiteY1" fmla="*/ 67179 h 105660"/>
                        <a:gd name="connsiteX2" fmla="*/ 3476 w 63906"/>
                        <a:gd name="connsiteY2" fmla="*/ 10506 h 105660"/>
                        <a:gd name="connsiteX3" fmla="*/ 9287 w 63906"/>
                        <a:gd name="connsiteY3" fmla="*/ 123 h 105660"/>
                        <a:gd name="connsiteX4" fmla="*/ 51292 w 63906"/>
                        <a:gd name="connsiteY4" fmla="*/ 53559 h 105660"/>
                        <a:gd name="connsiteX5" fmla="*/ 55673 w 63906"/>
                        <a:gd name="connsiteY5" fmla="*/ 105565 h 105660"/>
                        <a:gd name="connsiteX6" fmla="*/ 55673 w 63906"/>
                        <a:gd name="connsiteY6" fmla="*/ 105565 h 10566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63906" h="105660">
                          <a:moveTo>
                            <a:pt x="55673" y="105660"/>
                          </a:moveTo>
                          <a:lnTo>
                            <a:pt x="15954" y="67179"/>
                          </a:lnTo>
                          <a:cubicBezTo>
                            <a:pt x="1095" y="52321"/>
                            <a:pt x="-4144" y="31556"/>
                            <a:pt x="3476" y="10506"/>
                          </a:cubicBezTo>
                          <a:cubicBezTo>
                            <a:pt x="5953" y="3838"/>
                            <a:pt x="8144" y="-829"/>
                            <a:pt x="9287" y="123"/>
                          </a:cubicBezTo>
                          <a:cubicBezTo>
                            <a:pt x="11573" y="2124"/>
                            <a:pt x="29575" y="24793"/>
                            <a:pt x="51292" y="53559"/>
                          </a:cubicBezTo>
                          <a:cubicBezTo>
                            <a:pt x="65008" y="71656"/>
                            <a:pt x="69103" y="85944"/>
                            <a:pt x="55673" y="105565"/>
                          </a:cubicBezTo>
                          <a:lnTo>
                            <a:pt x="55673" y="105565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06" name="Freihandform: Form 205">
                      <a:extLst>
                        <a:ext uri="{FF2B5EF4-FFF2-40B4-BE49-F238E27FC236}">
                          <a16:creationId xmlns:a16="http://schemas.microsoft.com/office/drawing/2014/main" id="{441F4BD3-1474-4D04-632C-9512B3DD0A6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00115" y="3774757"/>
                      <a:ext cx="87440" cy="131349"/>
                    </a:xfrm>
                    <a:custGeom>
                      <a:avLst/>
                      <a:gdLst>
                        <a:gd name="connsiteX0" fmla="*/ 72689 w 87440"/>
                        <a:gd name="connsiteY0" fmla="*/ 131350 h 131349"/>
                        <a:gd name="connsiteX1" fmla="*/ 12205 w 87440"/>
                        <a:gd name="connsiteY1" fmla="*/ 71628 h 131349"/>
                        <a:gd name="connsiteX2" fmla="*/ 17349 w 87440"/>
                        <a:gd name="connsiteY2" fmla="*/ 4001 h 131349"/>
                        <a:gd name="connsiteX3" fmla="*/ 26112 w 87440"/>
                        <a:gd name="connsiteY3" fmla="*/ 0 h 131349"/>
                        <a:gd name="connsiteX4" fmla="*/ 79642 w 87440"/>
                        <a:gd name="connsiteY4" fmla="*/ 80010 h 131349"/>
                        <a:gd name="connsiteX5" fmla="*/ 72689 w 87440"/>
                        <a:gd name="connsiteY5" fmla="*/ 131254 h 131349"/>
                        <a:gd name="connsiteX6" fmla="*/ 72689 w 87440"/>
                        <a:gd name="connsiteY6" fmla="*/ 131254 h 1313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87440" h="131349">
                          <a:moveTo>
                            <a:pt x="72689" y="131350"/>
                          </a:moveTo>
                          <a:lnTo>
                            <a:pt x="12205" y="71628"/>
                          </a:lnTo>
                          <a:cubicBezTo>
                            <a:pt x="-5892" y="53340"/>
                            <a:pt x="-3606" y="22479"/>
                            <a:pt x="17349" y="4001"/>
                          </a:cubicBezTo>
                          <a:lnTo>
                            <a:pt x="26112" y="0"/>
                          </a:lnTo>
                          <a:lnTo>
                            <a:pt x="79642" y="80010"/>
                          </a:lnTo>
                          <a:cubicBezTo>
                            <a:pt x="93073" y="96869"/>
                            <a:pt x="88120" y="113729"/>
                            <a:pt x="72689" y="131254"/>
                          </a:cubicBezTo>
                          <a:lnTo>
                            <a:pt x="72689" y="131254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07" name="Freihandform: Form 206">
                      <a:extLst>
                        <a:ext uri="{FF2B5EF4-FFF2-40B4-BE49-F238E27FC236}">
                          <a16:creationId xmlns:a16="http://schemas.microsoft.com/office/drawing/2014/main" id="{A08EF697-88F8-18F3-1796-8556AF71EDE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95080" y="3720421"/>
                      <a:ext cx="62960" cy="111771"/>
                    </a:xfrm>
                    <a:custGeom>
                      <a:avLst/>
                      <a:gdLst>
                        <a:gd name="connsiteX0" fmla="*/ 0 w 62960"/>
                        <a:gd name="connsiteY0" fmla="*/ 9378 h 111771"/>
                        <a:gd name="connsiteX1" fmla="*/ 4191 w 62960"/>
                        <a:gd name="connsiteY1" fmla="*/ 100628 h 111771"/>
                        <a:gd name="connsiteX2" fmla="*/ 8287 w 62960"/>
                        <a:gd name="connsiteY2" fmla="*/ 111772 h 111771"/>
                        <a:gd name="connsiteX3" fmla="*/ 57150 w 62960"/>
                        <a:gd name="connsiteY3" fmla="*/ 67100 h 111771"/>
                        <a:gd name="connsiteX4" fmla="*/ 62961 w 62960"/>
                        <a:gd name="connsiteY4" fmla="*/ 18236 h 111771"/>
                        <a:gd name="connsiteX5" fmla="*/ 0 w 62960"/>
                        <a:gd name="connsiteY5" fmla="*/ 9378 h 1117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62960" h="111771">
                          <a:moveTo>
                            <a:pt x="0" y="9378"/>
                          </a:moveTo>
                          <a:cubicBezTo>
                            <a:pt x="477" y="28142"/>
                            <a:pt x="4191" y="100628"/>
                            <a:pt x="4191" y="100628"/>
                          </a:cubicBezTo>
                          <a:lnTo>
                            <a:pt x="8287" y="111772"/>
                          </a:lnTo>
                          <a:cubicBezTo>
                            <a:pt x="34957" y="111296"/>
                            <a:pt x="54674" y="91484"/>
                            <a:pt x="57150" y="67100"/>
                          </a:cubicBezTo>
                          <a:lnTo>
                            <a:pt x="62961" y="18236"/>
                          </a:lnTo>
                          <a:cubicBezTo>
                            <a:pt x="55436" y="1568"/>
                            <a:pt x="8192" y="-8338"/>
                            <a:pt x="0" y="9378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208" name="Grafik 23">
                      <a:extLst>
                        <a:ext uri="{FF2B5EF4-FFF2-40B4-BE49-F238E27FC236}">
                          <a16:creationId xmlns:a16="http://schemas.microsoft.com/office/drawing/2014/main" id="{A7651239-79C1-7E10-D0C8-2828EE14966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415082" y="3708417"/>
                      <a:ext cx="91882" cy="267603"/>
                      <a:chOff x="8415082" y="3708417"/>
                      <a:chExt cx="91882" cy="267603"/>
                    </a:xfrm>
                    <a:solidFill>
                      <a:srgbClr val="8A5942"/>
                    </a:solidFill>
                  </p:grpSpPr>
                  <p:sp>
                    <p:nvSpPr>
                      <p:cNvPr id="218" name="Freihandform: Form 217">
                        <a:extLst>
                          <a:ext uri="{FF2B5EF4-FFF2-40B4-BE49-F238E27FC236}">
                            <a16:creationId xmlns:a16="http://schemas.microsoft.com/office/drawing/2014/main" id="{3FBF6F91-2810-C991-1528-C47A65EDFA0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56624" y="3848906"/>
                        <a:ext cx="50341" cy="127114"/>
                      </a:xfrm>
                      <a:custGeom>
                        <a:avLst/>
                        <a:gdLst>
                          <a:gd name="connsiteX0" fmla="*/ 30182 w 50341"/>
                          <a:gd name="connsiteY0" fmla="*/ 127114 h 127114"/>
                          <a:gd name="connsiteX1" fmla="*/ 5131 w 50341"/>
                          <a:gd name="connsiteY1" fmla="*/ 71584 h 127114"/>
                          <a:gd name="connsiteX2" fmla="*/ 15323 w 50341"/>
                          <a:gd name="connsiteY2" fmla="*/ 8528 h 127114"/>
                          <a:gd name="connsiteX3" fmla="*/ 25515 w 50341"/>
                          <a:gd name="connsiteY3" fmla="*/ 337 h 127114"/>
                          <a:gd name="connsiteX4" fmla="*/ 46851 w 50341"/>
                          <a:gd name="connsiteY4" fmla="*/ 72060 h 127114"/>
                          <a:gd name="connsiteX5" fmla="*/ 30182 w 50341"/>
                          <a:gd name="connsiteY5" fmla="*/ 127114 h 127114"/>
                          <a:gd name="connsiteX6" fmla="*/ 30182 w 50341"/>
                          <a:gd name="connsiteY6" fmla="*/ 127114 h 12711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0341" h="127114">
                            <a:moveTo>
                              <a:pt x="30182" y="127114"/>
                            </a:moveTo>
                            <a:lnTo>
                              <a:pt x="5131" y="71584"/>
                            </a:lnTo>
                            <a:cubicBezTo>
                              <a:pt x="-4108" y="50343"/>
                              <a:pt x="-964" y="26912"/>
                              <a:pt x="15323" y="8528"/>
                            </a:cubicBezTo>
                            <a:cubicBezTo>
                              <a:pt x="20562" y="2623"/>
                              <a:pt x="24658" y="-1187"/>
                              <a:pt x="25515" y="337"/>
                            </a:cubicBezTo>
                            <a:cubicBezTo>
                              <a:pt x="27039" y="3385"/>
                              <a:pt x="36278" y="33865"/>
                              <a:pt x="46851" y="72060"/>
                            </a:cubicBezTo>
                            <a:cubicBezTo>
                              <a:pt x="53518" y="96158"/>
                              <a:pt x="51995" y="112446"/>
                              <a:pt x="30182" y="127114"/>
                            </a:cubicBezTo>
                            <a:lnTo>
                              <a:pt x="30182" y="127114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219" name="Freihandform: Form 218">
                        <a:extLst>
                          <a:ext uri="{FF2B5EF4-FFF2-40B4-BE49-F238E27FC236}">
                            <a16:creationId xmlns:a16="http://schemas.microsoft.com/office/drawing/2014/main" id="{47A1C4AE-321F-5376-A9E7-30E194E3222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22907" y="3799998"/>
                        <a:ext cx="71113" cy="124396"/>
                      </a:xfrm>
                      <a:custGeom>
                        <a:avLst/>
                        <a:gdLst>
                          <a:gd name="connsiteX0" fmla="*/ 40563 w 71113"/>
                          <a:gd name="connsiteY0" fmla="*/ 124396 h 124396"/>
                          <a:gd name="connsiteX1" fmla="*/ 3415 w 71113"/>
                          <a:gd name="connsiteY1" fmla="*/ 38290 h 124396"/>
                          <a:gd name="connsiteX2" fmla="*/ 41135 w 71113"/>
                          <a:gd name="connsiteY2" fmla="*/ 2000 h 124396"/>
                          <a:gd name="connsiteX3" fmla="*/ 45325 w 71113"/>
                          <a:gd name="connsiteY3" fmla="*/ 0 h 124396"/>
                          <a:gd name="connsiteX4" fmla="*/ 69043 w 71113"/>
                          <a:gd name="connsiteY4" fmla="*/ 74295 h 124396"/>
                          <a:gd name="connsiteX5" fmla="*/ 42087 w 71113"/>
                          <a:gd name="connsiteY5" fmla="*/ 123634 h 124396"/>
                          <a:gd name="connsiteX6" fmla="*/ 40563 w 71113"/>
                          <a:gd name="connsiteY6" fmla="*/ 124396 h 12439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1113" h="124396">
                            <a:moveTo>
                              <a:pt x="40563" y="124396"/>
                            </a:moveTo>
                            <a:lnTo>
                              <a:pt x="3415" y="38290"/>
                            </a:lnTo>
                            <a:cubicBezTo>
                              <a:pt x="-7729" y="12192"/>
                              <a:pt x="9321" y="3238"/>
                              <a:pt x="41135" y="2000"/>
                            </a:cubicBezTo>
                            <a:lnTo>
                              <a:pt x="45325" y="0"/>
                            </a:lnTo>
                            <a:lnTo>
                              <a:pt x="69043" y="74295"/>
                            </a:lnTo>
                            <a:cubicBezTo>
                              <a:pt x="75996" y="97060"/>
                              <a:pt x="65042" y="112014"/>
                              <a:pt x="42087" y="123634"/>
                            </a:cubicBezTo>
                            <a:lnTo>
                              <a:pt x="40563" y="124396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220" name="Freihandform: Form 219">
                        <a:extLst>
                          <a:ext uri="{FF2B5EF4-FFF2-40B4-BE49-F238E27FC236}">
                            <a16:creationId xmlns:a16="http://schemas.microsoft.com/office/drawing/2014/main" id="{5B98CC22-215C-13AB-9885-F90E2823877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15082" y="3708417"/>
                        <a:ext cx="63532" cy="120728"/>
                      </a:xfrm>
                      <a:custGeom>
                        <a:avLst/>
                        <a:gdLst>
                          <a:gd name="connsiteX0" fmla="*/ 1 w 63532"/>
                          <a:gd name="connsiteY0" fmla="*/ 12715 h 120728"/>
                          <a:gd name="connsiteX1" fmla="*/ 8573 w 63532"/>
                          <a:gd name="connsiteY1" fmla="*/ 120728 h 120728"/>
                          <a:gd name="connsiteX2" fmla="*/ 54674 w 63532"/>
                          <a:gd name="connsiteY2" fmla="*/ 92629 h 120728"/>
                          <a:gd name="connsiteX3" fmla="*/ 63532 w 63532"/>
                          <a:gd name="connsiteY3" fmla="*/ 16048 h 120728"/>
                          <a:gd name="connsiteX4" fmla="*/ 1 w 63532"/>
                          <a:gd name="connsiteY4" fmla="*/ 12619 h 12072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63532" h="120728">
                            <a:moveTo>
                              <a:pt x="1" y="12715"/>
                            </a:moveTo>
                            <a:cubicBezTo>
                              <a:pt x="-95" y="14715"/>
                              <a:pt x="8573" y="120728"/>
                              <a:pt x="8573" y="120728"/>
                            </a:cubicBezTo>
                            <a:cubicBezTo>
                              <a:pt x="37910" y="120347"/>
                              <a:pt x="51817" y="119585"/>
                              <a:pt x="54674" y="92629"/>
                            </a:cubicBezTo>
                            <a:lnTo>
                              <a:pt x="63532" y="16048"/>
                            </a:lnTo>
                            <a:cubicBezTo>
                              <a:pt x="55341" y="-2335"/>
                              <a:pt x="9144" y="-6812"/>
                              <a:pt x="1" y="12619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209" name="Freihandform: Form 208">
                      <a:extLst>
                        <a:ext uri="{FF2B5EF4-FFF2-40B4-BE49-F238E27FC236}">
                          <a16:creationId xmlns:a16="http://schemas.microsoft.com/office/drawing/2014/main" id="{4CF308F3-5BBA-38EC-4634-CA8CE45045F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63914" y="3855038"/>
                      <a:ext cx="46483" cy="113934"/>
                    </a:xfrm>
                    <a:custGeom>
                      <a:avLst/>
                      <a:gdLst>
                        <a:gd name="connsiteX0" fmla="*/ 22320 w 46483"/>
                        <a:gd name="connsiteY0" fmla="*/ 113744 h 113934"/>
                        <a:gd name="connsiteX1" fmla="*/ 3366 w 46483"/>
                        <a:gd name="connsiteY1" fmla="*/ 60784 h 113934"/>
                        <a:gd name="connsiteX2" fmla="*/ 17844 w 46483"/>
                        <a:gd name="connsiteY2" fmla="*/ 6587 h 113934"/>
                        <a:gd name="connsiteX3" fmla="*/ 28893 w 46483"/>
                        <a:gd name="connsiteY3" fmla="*/ 396 h 113934"/>
                        <a:gd name="connsiteX4" fmla="*/ 44990 w 46483"/>
                        <a:gd name="connsiteY4" fmla="*/ 66214 h 113934"/>
                        <a:gd name="connsiteX5" fmla="*/ 22416 w 46483"/>
                        <a:gd name="connsiteY5" fmla="*/ 113934 h 113934"/>
                        <a:gd name="connsiteX6" fmla="*/ 22416 w 46483"/>
                        <a:gd name="connsiteY6" fmla="*/ 113934 h 1139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6483" h="113934">
                          <a:moveTo>
                            <a:pt x="22320" y="113744"/>
                          </a:moveTo>
                          <a:lnTo>
                            <a:pt x="3366" y="60784"/>
                          </a:lnTo>
                          <a:cubicBezTo>
                            <a:pt x="-3492" y="40591"/>
                            <a:pt x="-444" y="21161"/>
                            <a:pt x="17844" y="6587"/>
                          </a:cubicBezTo>
                          <a:cubicBezTo>
                            <a:pt x="23749" y="1920"/>
                            <a:pt x="28321" y="-1128"/>
                            <a:pt x="28893" y="396"/>
                          </a:cubicBezTo>
                          <a:cubicBezTo>
                            <a:pt x="30036" y="3254"/>
                            <a:pt x="38608" y="30495"/>
                            <a:pt x="44990" y="66214"/>
                          </a:cubicBezTo>
                          <a:cubicBezTo>
                            <a:pt x="49086" y="88788"/>
                            <a:pt x="45752" y="103171"/>
                            <a:pt x="22416" y="113934"/>
                          </a:cubicBezTo>
                          <a:lnTo>
                            <a:pt x="22416" y="113934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0" name="Freihandform: Form 209">
                      <a:extLst>
                        <a:ext uri="{FF2B5EF4-FFF2-40B4-BE49-F238E27FC236}">
                          <a16:creationId xmlns:a16="http://schemas.microsoft.com/office/drawing/2014/main" id="{5F6D290C-EDAE-7923-CC71-C086F082830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36560" y="3794759"/>
                      <a:ext cx="62340" cy="120967"/>
                    </a:xfrm>
                    <a:custGeom>
                      <a:avLst/>
                      <a:gdLst>
                        <a:gd name="connsiteX0" fmla="*/ 30624 w 62340"/>
                        <a:gd name="connsiteY0" fmla="*/ 120968 h 120967"/>
                        <a:gd name="connsiteX1" fmla="*/ 2335 w 62340"/>
                        <a:gd name="connsiteY1" fmla="*/ 39338 h 120967"/>
                        <a:gd name="connsiteX2" fmla="*/ 38244 w 62340"/>
                        <a:gd name="connsiteY2" fmla="*/ 0 h 120967"/>
                        <a:gd name="connsiteX3" fmla="*/ 43864 w 62340"/>
                        <a:gd name="connsiteY3" fmla="*/ 9335 h 120967"/>
                        <a:gd name="connsiteX4" fmla="*/ 61390 w 62340"/>
                        <a:gd name="connsiteY4" fmla="*/ 80867 h 120967"/>
                        <a:gd name="connsiteX5" fmla="*/ 30719 w 62340"/>
                        <a:gd name="connsiteY5" fmla="*/ 120968 h 120967"/>
                        <a:gd name="connsiteX6" fmla="*/ 30719 w 62340"/>
                        <a:gd name="connsiteY6" fmla="*/ 120968 h 12096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62340" h="120967">
                          <a:moveTo>
                            <a:pt x="30624" y="120968"/>
                          </a:moveTo>
                          <a:lnTo>
                            <a:pt x="2335" y="39338"/>
                          </a:lnTo>
                          <a:cubicBezTo>
                            <a:pt x="-5952" y="14573"/>
                            <a:pt x="8240" y="6001"/>
                            <a:pt x="38244" y="0"/>
                          </a:cubicBezTo>
                          <a:lnTo>
                            <a:pt x="43864" y="9335"/>
                          </a:lnTo>
                          <a:lnTo>
                            <a:pt x="61390" y="80867"/>
                          </a:lnTo>
                          <a:cubicBezTo>
                            <a:pt x="65771" y="102203"/>
                            <a:pt x="54912" y="113157"/>
                            <a:pt x="30719" y="120968"/>
                          </a:cubicBezTo>
                          <a:lnTo>
                            <a:pt x="30719" y="120968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1" name="Freihandform: Form 210">
                      <a:extLst>
                        <a:ext uri="{FF2B5EF4-FFF2-40B4-BE49-F238E27FC236}">
                          <a16:creationId xmlns:a16="http://schemas.microsoft.com/office/drawing/2014/main" id="{31A697AC-C20B-6B30-0906-729FA39EEE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35054" y="3713098"/>
                      <a:ext cx="53751" cy="112434"/>
                    </a:xfrm>
                    <a:custGeom>
                      <a:avLst/>
                      <a:gdLst>
                        <a:gd name="connsiteX0" fmla="*/ 31 w 53751"/>
                        <a:gd name="connsiteY0" fmla="*/ 7176 h 112434"/>
                        <a:gd name="connsiteX1" fmla="*/ 1555 w 53751"/>
                        <a:gd name="connsiteY1" fmla="*/ 110046 h 112434"/>
                        <a:gd name="connsiteX2" fmla="*/ 44989 w 53751"/>
                        <a:gd name="connsiteY2" fmla="*/ 94806 h 112434"/>
                        <a:gd name="connsiteX3" fmla="*/ 53752 w 53751"/>
                        <a:gd name="connsiteY3" fmla="*/ 23654 h 112434"/>
                        <a:gd name="connsiteX4" fmla="*/ 31 w 53751"/>
                        <a:gd name="connsiteY4" fmla="*/ 7176 h 1124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3751" h="112434">
                          <a:moveTo>
                            <a:pt x="31" y="7176"/>
                          </a:moveTo>
                          <a:cubicBezTo>
                            <a:pt x="-255" y="8986"/>
                            <a:pt x="1555" y="110046"/>
                            <a:pt x="1555" y="110046"/>
                          </a:cubicBezTo>
                          <a:cubicBezTo>
                            <a:pt x="30987" y="111856"/>
                            <a:pt x="40512" y="119000"/>
                            <a:pt x="44989" y="94806"/>
                          </a:cubicBezTo>
                          <a:lnTo>
                            <a:pt x="53752" y="23654"/>
                          </a:lnTo>
                          <a:cubicBezTo>
                            <a:pt x="46703" y="6414"/>
                            <a:pt x="10318" y="-9778"/>
                            <a:pt x="31" y="7176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212" name="Grafik 23">
                      <a:extLst>
                        <a:ext uri="{FF2B5EF4-FFF2-40B4-BE49-F238E27FC236}">
                          <a16:creationId xmlns:a16="http://schemas.microsoft.com/office/drawing/2014/main" id="{BC877DEB-D6CC-9757-7143-AADE7853D9D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483816" y="3539440"/>
                      <a:ext cx="145001" cy="336662"/>
                      <a:chOff x="8483816" y="3539440"/>
                      <a:chExt cx="145001" cy="336662"/>
                    </a:xfrm>
                    <a:solidFill>
                      <a:srgbClr val="8A5942"/>
                    </a:solidFill>
                  </p:grpSpPr>
                  <p:sp>
                    <p:nvSpPr>
                      <p:cNvPr id="215" name="Freihandform: Form 214">
                        <a:extLst>
                          <a:ext uri="{FF2B5EF4-FFF2-40B4-BE49-F238E27FC236}">
                            <a16:creationId xmlns:a16="http://schemas.microsoft.com/office/drawing/2014/main" id="{8AAF7093-F9E2-9393-5C0E-D69DBD87FA0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529038" y="3738176"/>
                        <a:ext cx="60495" cy="137927"/>
                      </a:xfrm>
                      <a:custGeom>
                        <a:avLst/>
                        <a:gdLst>
                          <a:gd name="connsiteX0" fmla="*/ 24158 w 60495"/>
                          <a:gd name="connsiteY0" fmla="*/ 137927 h 137927"/>
                          <a:gd name="connsiteX1" fmla="*/ 57685 w 60495"/>
                          <a:gd name="connsiteY1" fmla="*/ 75253 h 137927"/>
                          <a:gd name="connsiteX2" fmla="*/ 53304 w 60495"/>
                          <a:gd name="connsiteY2" fmla="*/ 5815 h 137927"/>
                          <a:gd name="connsiteX3" fmla="*/ 40350 w 60495"/>
                          <a:gd name="connsiteY3" fmla="*/ 958 h 137927"/>
                          <a:gd name="connsiteX4" fmla="*/ 4726 w 60495"/>
                          <a:gd name="connsiteY4" fmla="*/ 77824 h 137927"/>
                          <a:gd name="connsiteX5" fmla="*/ 24062 w 60495"/>
                          <a:gd name="connsiteY5" fmla="*/ 137832 h 137927"/>
                          <a:gd name="connsiteX6" fmla="*/ 24062 w 60495"/>
                          <a:gd name="connsiteY6" fmla="*/ 137832 h 1379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0495" h="137927">
                            <a:moveTo>
                              <a:pt x="24158" y="137927"/>
                            </a:moveTo>
                            <a:lnTo>
                              <a:pt x="57685" y="75253"/>
                            </a:lnTo>
                            <a:cubicBezTo>
                              <a:pt x="59876" y="52964"/>
                              <a:pt x="64448" y="18579"/>
                              <a:pt x="53304" y="5815"/>
                            </a:cubicBezTo>
                            <a:cubicBezTo>
                              <a:pt x="47017" y="-1424"/>
                              <a:pt x="41398" y="-376"/>
                              <a:pt x="40350" y="958"/>
                            </a:cubicBezTo>
                            <a:cubicBezTo>
                              <a:pt x="33111" y="11149"/>
                              <a:pt x="17204" y="44868"/>
                              <a:pt x="4726" y="77824"/>
                            </a:cubicBezTo>
                            <a:cubicBezTo>
                              <a:pt x="-3941" y="100780"/>
                              <a:pt x="-2417" y="117639"/>
                              <a:pt x="24062" y="137832"/>
                            </a:cubicBezTo>
                            <a:lnTo>
                              <a:pt x="24062" y="137832"/>
                            </a:ln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216" name="Freihandform: Form 215">
                        <a:extLst>
                          <a:ext uri="{FF2B5EF4-FFF2-40B4-BE49-F238E27FC236}">
                            <a16:creationId xmlns:a16="http://schemas.microsoft.com/office/drawing/2014/main" id="{E26ABA93-4E11-FBB0-CA13-49C5BF1F6A8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548242" y="3697576"/>
                        <a:ext cx="80486" cy="117625"/>
                      </a:xfrm>
                      <a:custGeom>
                        <a:avLst/>
                        <a:gdLst>
                          <a:gd name="connsiteX0" fmla="*/ 80486 w 80486"/>
                          <a:gd name="connsiteY0" fmla="*/ 17269 h 117625"/>
                          <a:gd name="connsiteX1" fmla="*/ 0 w 80486"/>
                          <a:gd name="connsiteY1" fmla="*/ 10982 h 117625"/>
                          <a:gd name="connsiteX2" fmla="*/ 5810 w 80486"/>
                          <a:gd name="connsiteY2" fmla="*/ 70608 h 117625"/>
                          <a:gd name="connsiteX3" fmla="*/ 38481 w 80486"/>
                          <a:gd name="connsiteY3" fmla="*/ 115948 h 117625"/>
                          <a:gd name="connsiteX4" fmla="*/ 80486 w 80486"/>
                          <a:gd name="connsiteY4" fmla="*/ 17269 h 11762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80486" h="117625">
                            <a:moveTo>
                              <a:pt x="80486" y="17269"/>
                            </a:moveTo>
                            <a:cubicBezTo>
                              <a:pt x="61627" y="-17498"/>
                              <a:pt x="0" y="10982"/>
                              <a:pt x="0" y="10982"/>
                            </a:cubicBezTo>
                            <a:lnTo>
                              <a:pt x="5810" y="70608"/>
                            </a:lnTo>
                            <a:cubicBezTo>
                              <a:pt x="3429" y="95659"/>
                              <a:pt x="15907" y="124996"/>
                              <a:pt x="38481" y="115948"/>
                            </a:cubicBezTo>
                            <a:cubicBezTo>
                              <a:pt x="38481" y="115948"/>
                              <a:pt x="80582" y="16221"/>
                              <a:pt x="80486" y="17269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217" name="Freihandform: Form 216">
                        <a:extLst>
                          <a:ext uri="{FF2B5EF4-FFF2-40B4-BE49-F238E27FC236}">
                            <a16:creationId xmlns:a16="http://schemas.microsoft.com/office/drawing/2014/main" id="{A03A494C-40F6-F952-BA8D-81F4562B6EE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83816" y="3539440"/>
                        <a:ext cx="145001" cy="187300"/>
                      </a:xfrm>
                      <a:custGeom>
                        <a:avLst/>
                        <a:gdLst>
                          <a:gd name="connsiteX0" fmla="*/ 142151 w 145001"/>
                          <a:gd name="connsiteY0" fmla="*/ 88632 h 187300"/>
                          <a:gd name="connsiteX1" fmla="*/ 144913 w 145001"/>
                          <a:gd name="connsiteY1" fmla="*/ 175405 h 187300"/>
                          <a:gd name="connsiteX2" fmla="*/ 144913 w 145001"/>
                          <a:gd name="connsiteY2" fmla="*/ 175405 h 187300"/>
                          <a:gd name="connsiteX3" fmla="*/ 64712 w 145001"/>
                          <a:gd name="connsiteY3" fmla="*/ 170642 h 187300"/>
                          <a:gd name="connsiteX4" fmla="*/ 9848 w 145001"/>
                          <a:gd name="connsiteY4" fmla="*/ 67486 h 187300"/>
                          <a:gd name="connsiteX5" fmla="*/ 104717 w 145001"/>
                          <a:gd name="connsiteY5" fmla="*/ 431 h 187300"/>
                          <a:gd name="connsiteX6" fmla="*/ 142151 w 145001"/>
                          <a:gd name="connsiteY6" fmla="*/ 88632 h 1873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145001" h="187300">
                            <a:moveTo>
                              <a:pt x="142151" y="88632"/>
                            </a:moveTo>
                            <a:cubicBezTo>
                              <a:pt x="145770" y="113302"/>
                              <a:pt x="144913" y="175405"/>
                              <a:pt x="144913" y="175405"/>
                            </a:cubicBezTo>
                            <a:lnTo>
                              <a:pt x="144913" y="175405"/>
                            </a:lnTo>
                            <a:cubicBezTo>
                              <a:pt x="107289" y="175214"/>
                              <a:pt x="108813" y="205218"/>
                              <a:pt x="64712" y="170642"/>
                            </a:cubicBezTo>
                            <a:cubicBezTo>
                              <a:pt x="64712" y="170642"/>
                              <a:pt x="53472" y="104253"/>
                              <a:pt x="9848" y="67486"/>
                            </a:cubicBezTo>
                            <a:cubicBezTo>
                              <a:pt x="-27871" y="35768"/>
                              <a:pt x="51186" y="-4618"/>
                              <a:pt x="104717" y="431"/>
                            </a:cubicBezTo>
                            <a:cubicBezTo>
                              <a:pt x="128815" y="38244"/>
                              <a:pt x="142151" y="88632"/>
                              <a:pt x="142151" y="88632"/>
                            </a:cubicBezTo>
                            <a:close/>
                          </a:path>
                        </a:pathLst>
                      </a:custGeom>
                      <a:solidFill>
                        <a:srgbClr val="8A594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213" name="Freihandform: Form 212">
                      <a:extLst>
                        <a:ext uri="{FF2B5EF4-FFF2-40B4-BE49-F238E27FC236}">
                          <a16:creationId xmlns:a16="http://schemas.microsoft.com/office/drawing/2014/main" id="{98FA65EB-DFD9-761B-B6FC-F632BB0F5ED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95080" y="3494722"/>
                      <a:ext cx="234464" cy="282987"/>
                    </a:xfrm>
                    <a:custGeom>
                      <a:avLst/>
                      <a:gdLst>
                        <a:gd name="connsiteX0" fmla="*/ 4382 w 234464"/>
                        <a:gd name="connsiteY0" fmla="*/ 195644 h 282987"/>
                        <a:gd name="connsiteX1" fmla="*/ 59341 w 234464"/>
                        <a:gd name="connsiteY1" fmla="*/ 0 h 282987"/>
                        <a:gd name="connsiteX2" fmla="*/ 194977 w 234464"/>
                        <a:gd name="connsiteY2" fmla="*/ 11430 h 282987"/>
                        <a:gd name="connsiteX3" fmla="*/ 200787 w 234464"/>
                        <a:gd name="connsiteY3" fmla="*/ 47625 h 282987"/>
                        <a:gd name="connsiteX4" fmla="*/ 232601 w 234464"/>
                        <a:gd name="connsiteY4" fmla="*/ 177832 h 282987"/>
                        <a:gd name="connsiteX5" fmla="*/ 152877 w 234464"/>
                        <a:gd name="connsiteY5" fmla="*/ 204883 h 282987"/>
                        <a:gd name="connsiteX6" fmla="*/ 88678 w 234464"/>
                        <a:gd name="connsiteY6" fmla="*/ 282988 h 282987"/>
                        <a:gd name="connsiteX7" fmla="*/ 0 w 234464"/>
                        <a:gd name="connsiteY7" fmla="*/ 234982 h 282987"/>
                        <a:gd name="connsiteX8" fmla="*/ 4382 w 234464"/>
                        <a:gd name="connsiteY8" fmla="*/ 195548 h 28298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234464" h="282987">
                          <a:moveTo>
                            <a:pt x="4382" y="195644"/>
                          </a:moveTo>
                          <a:cubicBezTo>
                            <a:pt x="21431" y="145828"/>
                            <a:pt x="40958" y="87154"/>
                            <a:pt x="59341" y="0"/>
                          </a:cubicBezTo>
                          <a:lnTo>
                            <a:pt x="194977" y="11430"/>
                          </a:lnTo>
                          <a:cubicBezTo>
                            <a:pt x="194977" y="32099"/>
                            <a:pt x="197739" y="44005"/>
                            <a:pt x="200787" y="47625"/>
                          </a:cubicBezTo>
                          <a:cubicBezTo>
                            <a:pt x="246031" y="101727"/>
                            <a:pt x="232601" y="177832"/>
                            <a:pt x="232601" y="177832"/>
                          </a:cubicBezTo>
                          <a:cubicBezTo>
                            <a:pt x="230981" y="184976"/>
                            <a:pt x="183261" y="168688"/>
                            <a:pt x="152877" y="204883"/>
                          </a:cubicBezTo>
                          <a:cubicBezTo>
                            <a:pt x="144304" y="215075"/>
                            <a:pt x="102394" y="222885"/>
                            <a:pt x="88678" y="282988"/>
                          </a:cubicBezTo>
                          <a:cubicBezTo>
                            <a:pt x="33909" y="215837"/>
                            <a:pt x="3048" y="234125"/>
                            <a:pt x="0" y="234982"/>
                          </a:cubicBezTo>
                          <a:cubicBezTo>
                            <a:pt x="2572" y="219551"/>
                            <a:pt x="2667" y="206026"/>
                            <a:pt x="4382" y="195548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4" name="Freihandform: Form 213">
                      <a:extLst>
                        <a:ext uri="{FF2B5EF4-FFF2-40B4-BE49-F238E27FC236}">
                          <a16:creationId xmlns:a16="http://schemas.microsoft.com/office/drawing/2014/main" id="{FC234E3B-AA6F-D737-CF91-8F38E1D8FE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53659" y="3436239"/>
                      <a:ext cx="136397" cy="136398"/>
                    </a:xfrm>
                    <a:custGeom>
                      <a:avLst/>
                      <a:gdLst>
                        <a:gd name="connsiteX0" fmla="*/ 136398 w 136397"/>
                        <a:gd name="connsiteY0" fmla="*/ 68199 h 136398"/>
                        <a:gd name="connsiteX1" fmla="*/ 68199 w 136397"/>
                        <a:gd name="connsiteY1" fmla="*/ 136398 h 136398"/>
                        <a:gd name="connsiteX2" fmla="*/ 1 w 136397"/>
                        <a:gd name="connsiteY2" fmla="*/ 68199 h 136398"/>
                        <a:gd name="connsiteX3" fmla="*/ 68199 w 136397"/>
                        <a:gd name="connsiteY3" fmla="*/ 0 h 136398"/>
                        <a:gd name="connsiteX4" fmla="*/ 136398 w 136397"/>
                        <a:gd name="connsiteY4" fmla="*/ 68199 h 1363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36397" h="136398">
                          <a:moveTo>
                            <a:pt x="136398" y="68199"/>
                          </a:moveTo>
                          <a:cubicBezTo>
                            <a:pt x="136398" y="105864"/>
                            <a:pt x="105864" y="136398"/>
                            <a:pt x="68199" y="136398"/>
                          </a:cubicBezTo>
                          <a:cubicBezTo>
                            <a:pt x="30534" y="136398"/>
                            <a:pt x="1" y="105865"/>
                            <a:pt x="1" y="68199"/>
                          </a:cubicBezTo>
                          <a:cubicBezTo>
                            <a:pt x="1" y="30534"/>
                            <a:pt x="30534" y="0"/>
                            <a:pt x="68199" y="0"/>
                          </a:cubicBezTo>
                          <a:cubicBezTo>
                            <a:pt x="105864" y="0"/>
                            <a:pt x="136398" y="30534"/>
                            <a:pt x="136398" y="68199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sp>
              <p:nvSpPr>
                <p:cNvPr id="174" name="Freihandform: Form 173">
                  <a:extLst>
                    <a:ext uri="{FF2B5EF4-FFF2-40B4-BE49-F238E27FC236}">
                      <a16:creationId xmlns:a16="http://schemas.microsoft.com/office/drawing/2014/main" id="{BA8E82B6-67E9-DDC8-D0DE-C2E12F1C32EA}"/>
                    </a:ext>
                  </a:extLst>
                </p:cNvPr>
                <p:cNvSpPr/>
                <p:nvPr/>
              </p:nvSpPr>
              <p:spPr>
                <a:xfrm>
                  <a:off x="8688572" y="8112484"/>
                  <a:ext cx="1208416" cy="1222459"/>
                </a:xfrm>
                <a:custGeom>
                  <a:avLst/>
                  <a:gdLst>
                    <a:gd name="connsiteX0" fmla="*/ 1189550 w 1208416"/>
                    <a:gd name="connsiteY0" fmla="*/ 262626 h 1222459"/>
                    <a:gd name="connsiteX1" fmla="*/ 821695 w 1208416"/>
                    <a:gd name="connsiteY1" fmla="*/ 114131 h 1222459"/>
                    <a:gd name="connsiteX2" fmla="*/ 766641 w 1208416"/>
                    <a:gd name="connsiteY2" fmla="*/ 15071 h 1222459"/>
                    <a:gd name="connsiteX3" fmla="*/ 747971 w 1208416"/>
                    <a:gd name="connsiteY3" fmla="*/ 6879 h 1222459"/>
                    <a:gd name="connsiteX4" fmla="*/ 454506 w 1208416"/>
                    <a:gd name="connsiteY4" fmla="*/ 1164 h 1222459"/>
                    <a:gd name="connsiteX5" fmla="*/ 438885 w 1208416"/>
                    <a:gd name="connsiteY5" fmla="*/ 8975 h 1222459"/>
                    <a:gd name="connsiteX6" fmla="*/ 424026 w 1208416"/>
                    <a:gd name="connsiteY6" fmla="*/ 67744 h 1222459"/>
                    <a:gd name="connsiteX7" fmla="*/ 390879 w 1208416"/>
                    <a:gd name="connsiteY7" fmla="*/ 96986 h 1222459"/>
                    <a:gd name="connsiteX8" fmla="*/ 17594 w 1208416"/>
                    <a:gd name="connsiteY8" fmla="*/ 279771 h 1222459"/>
                    <a:gd name="connsiteX9" fmla="*/ 143896 w 1208416"/>
                    <a:gd name="connsiteY9" fmla="*/ 680868 h 1222459"/>
                    <a:gd name="connsiteX10" fmla="*/ 240384 w 1208416"/>
                    <a:gd name="connsiteY10" fmla="*/ 1222460 h 1222459"/>
                    <a:gd name="connsiteX11" fmla="*/ 955235 w 1208416"/>
                    <a:gd name="connsiteY11" fmla="*/ 1220364 h 1222459"/>
                    <a:gd name="connsiteX12" fmla="*/ 1093729 w 1208416"/>
                    <a:gd name="connsiteY12" fmla="*/ 696870 h 1222459"/>
                    <a:gd name="connsiteX13" fmla="*/ 1189455 w 1208416"/>
                    <a:gd name="connsiteY13" fmla="*/ 262530 h 1222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208416" h="1222459">
                      <a:moveTo>
                        <a:pt x="1189550" y="262626"/>
                      </a:moveTo>
                      <a:cubicBezTo>
                        <a:pt x="1103921" y="179663"/>
                        <a:pt x="966475" y="205666"/>
                        <a:pt x="821695" y="114131"/>
                      </a:cubicBezTo>
                      <a:cubicBezTo>
                        <a:pt x="785500" y="80793"/>
                        <a:pt x="771689" y="38597"/>
                        <a:pt x="766641" y="15071"/>
                      </a:cubicBezTo>
                      <a:cubicBezTo>
                        <a:pt x="764831" y="6689"/>
                        <a:pt x="755401" y="2593"/>
                        <a:pt x="747971" y="6879"/>
                      </a:cubicBezTo>
                      <a:cubicBezTo>
                        <a:pt x="655769" y="60791"/>
                        <a:pt x="553947" y="49837"/>
                        <a:pt x="454506" y="1164"/>
                      </a:cubicBezTo>
                      <a:cubicBezTo>
                        <a:pt x="447934" y="-2074"/>
                        <a:pt x="440123" y="1736"/>
                        <a:pt x="438885" y="8975"/>
                      </a:cubicBezTo>
                      <a:cubicBezTo>
                        <a:pt x="436504" y="22500"/>
                        <a:pt x="431932" y="44122"/>
                        <a:pt x="424026" y="67744"/>
                      </a:cubicBezTo>
                      <a:cubicBezTo>
                        <a:pt x="421073" y="74316"/>
                        <a:pt x="412501" y="88223"/>
                        <a:pt x="390879" y="96986"/>
                      </a:cubicBezTo>
                      <a:cubicBezTo>
                        <a:pt x="225049" y="164137"/>
                        <a:pt x="111987" y="195188"/>
                        <a:pt x="17594" y="279771"/>
                      </a:cubicBezTo>
                      <a:cubicBezTo>
                        <a:pt x="-59939" y="349303"/>
                        <a:pt x="143896" y="680868"/>
                        <a:pt x="143896" y="680868"/>
                      </a:cubicBezTo>
                      <a:lnTo>
                        <a:pt x="240384" y="1222460"/>
                      </a:lnTo>
                      <a:lnTo>
                        <a:pt x="955235" y="1220364"/>
                      </a:lnTo>
                      <a:lnTo>
                        <a:pt x="1093729" y="696870"/>
                      </a:lnTo>
                      <a:cubicBezTo>
                        <a:pt x="1093729" y="696870"/>
                        <a:pt x="1264227" y="335016"/>
                        <a:pt x="1189455" y="262530"/>
                      </a:cubicBezTo>
                      <a:close/>
                    </a:path>
                  </a:pathLst>
                </a:custGeom>
                <a:solidFill>
                  <a:srgbClr val="FFE98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5" name="Freihandform: Form 174">
                  <a:extLst>
                    <a:ext uri="{FF2B5EF4-FFF2-40B4-BE49-F238E27FC236}">
                      <a16:creationId xmlns:a16="http://schemas.microsoft.com/office/drawing/2014/main" id="{5B88CD5E-5E1B-C233-8867-C6DA0DAB4B0B}"/>
                    </a:ext>
                  </a:extLst>
                </p:cNvPr>
                <p:cNvSpPr/>
                <p:nvPr/>
              </p:nvSpPr>
              <p:spPr>
                <a:xfrm>
                  <a:off x="9209944" y="7953627"/>
                  <a:ext cx="147256" cy="49531"/>
                </a:xfrm>
                <a:custGeom>
                  <a:avLst/>
                  <a:gdLst>
                    <a:gd name="connsiteX0" fmla="*/ 0 w 147256"/>
                    <a:gd name="connsiteY0" fmla="*/ 5431 h 49531"/>
                    <a:gd name="connsiteX1" fmla="*/ 55721 w 147256"/>
                    <a:gd name="connsiteY1" fmla="*/ 573 h 49531"/>
                    <a:gd name="connsiteX2" fmla="*/ 70294 w 147256"/>
                    <a:gd name="connsiteY2" fmla="*/ 4002 h 49531"/>
                    <a:gd name="connsiteX3" fmla="*/ 84010 w 147256"/>
                    <a:gd name="connsiteY3" fmla="*/ 2 h 49531"/>
                    <a:gd name="connsiteX4" fmla="*/ 147256 w 147256"/>
                    <a:gd name="connsiteY4" fmla="*/ 5812 h 49531"/>
                    <a:gd name="connsiteX5" fmla="*/ 68389 w 147256"/>
                    <a:gd name="connsiteY5" fmla="*/ 49532 h 49531"/>
                    <a:gd name="connsiteX6" fmla="*/ 0 w 147256"/>
                    <a:gd name="connsiteY6" fmla="*/ 5431 h 49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7256" h="49531">
                      <a:moveTo>
                        <a:pt x="0" y="5431"/>
                      </a:moveTo>
                      <a:cubicBezTo>
                        <a:pt x="0" y="5431"/>
                        <a:pt x="19050" y="2859"/>
                        <a:pt x="55721" y="573"/>
                      </a:cubicBezTo>
                      <a:cubicBezTo>
                        <a:pt x="58578" y="383"/>
                        <a:pt x="61817" y="4193"/>
                        <a:pt x="70294" y="4002"/>
                      </a:cubicBezTo>
                      <a:cubicBezTo>
                        <a:pt x="80296" y="3812"/>
                        <a:pt x="80676" y="-94"/>
                        <a:pt x="84010" y="2"/>
                      </a:cubicBezTo>
                      <a:cubicBezTo>
                        <a:pt x="123539" y="1049"/>
                        <a:pt x="147256" y="5812"/>
                        <a:pt x="147256" y="5812"/>
                      </a:cubicBezTo>
                      <a:cubicBezTo>
                        <a:pt x="147256" y="5812"/>
                        <a:pt x="127635" y="49532"/>
                        <a:pt x="68389" y="49532"/>
                      </a:cubicBezTo>
                      <a:cubicBezTo>
                        <a:pt x="15049" y="49532"/>
                        <a:pt x="0" y="5431"/>
                        <a:pt x="0" y="5431"/>
                      </a:cubicBezTo>
                      <a:close/>
                    </a:path>
                  </a:pathLst>
                </a:custGeom>
                <a:solidFill>
                  <a:srgbClr val="4B2E1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6" name="Freihandform: Form 175">
                  <a:extLst>
                    <a:ext uri="{FF2B5EF4-FFF2-40B4-BE49-F238E27FC236}">
                      <a16:creationId xmlns:a16="http://schemas.microsoft.com/office/drawing/2014/main" id="{79FF9E51-F5DA-E084-B627-854A858C9801}"/>
                    </a:ext>
                  </a:extLst>
                </p:cNvPr>
                <p:cNvSpPr/>
                <p:nvPr/>
              </p:nvSpPr>
              <p:spPr>
                <a:xfrm>
                  <a:off x="8620918" y="8339391"/>
                  <a:ext cx="314705" cy="314706"/>
                </a:xfrm>
                <a:custGeom>
                  <a:avLst/>
                  <a:gdLst>
                    <a:gd name="connsiteX0" fmla="*/ 314706 w 314705"/>
                    <a:gd name="connsiteY0" fmla="*/ 157353 h 314706"/>
                    <a:gd name="connsiteX1" fmla="*/ 157353 w 314705"/>
                    <a:gd name="connsiteY1" fmla="*/ 314706 h 314706"/>
                    <a:gd name="connsiteX2" fmla="*/ -1 w 314705"/>
                    <a:gd name="connsiteY2" fmla="*/ 157353 h 314706"/>
                    <a:gd name="connsiteX3" fmla="*/ 157353 w 314705"/>
                    <a:gd name="connsiteY3" fmla="*/ 0 h 314706"/>
                    <a:gd name="connsiteX4" fmla="*/ 314706 w 314705"/>
                    <a:gd name="connsiteY4" fmla="*/ 157353 h 314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4705" h="314706">
                      <a:moveTo>
                        <a:pt x="314706" y="157353"/>
                      </a:moveTo>
                      <a:cubicBezTo>
                        <a:pt x="314706" y="244257"/>
                        <a:pt x="244257" y="314706"/>
                        <a:pt x="157353" y="314706"/>
                      </a:cubicBezTo>
                      <a:cubicBezTo>
                        <a:pt x="70449" y="314706"/>
                        <a:pt x="-1" y="244257"/>
                        <a:pt x="-1" y="157353"/>
                      </a:cubicBezTo>
                      <a:cubicBezTo>
                        <a:pt x="-1" y="70449"/>
                        <a:pt x="70449" y="0"/>
                        <a:pt x="157353" y="0"/>
                      </a:cubicBezTo>
                      <a:cubicBezTo>
                        <a:pt x="244256" y="0"/>
                        <a:pt x="314706" y="70449"/>
                        <a:pt x="314706" y="15735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7" name="Freihandform: Form 176">
                  <a:extLst>
                    <a:ext uri="{FF2B5EF4-FFF2-40B4-BE49-F238E27FC236}">
                      <a16:creationId xmlns:a16="http://schemas.microsoft.com/office/drawing/2014/main" id="{13EDE6B7-91FA-EDDD-3A6D-830B74DBA61B}"/>
                    </a:ext>
                  </a:extLst>
                </p:cNvPr>
                <p:cNvSpPr/>
                <p:nvPr/>
              </p:nvSpPr>
              <p:spPr>
                <a:xfrm>
                  <a:off x="8398795" y="8394827"/>
                  <a:ext cx="523018" cy="989647"/>
                </a:xfrm>
                <a:custGeom>
                  <a:avLst/>
                  <a:gdLst>
                    <a:gd name="connsiteX0" fmla="*/ 0 w 523018"/>
                    <a:gd name="connsiteY0" fmla="*/ 947261 h 989647"/>
                    <a:gd name="connsiteX1" fmla="*/ 307467 w 523018"/>
                    <a:gd name="connsiteY1" fmla="*/ 989648 h 989647"/>
                    <a:gd name="connsiteX2" fmla="*/ 523018 w 523018"/>
                    <a:gd name="connsiteY2" fmla="*/ 167259 h 989647"/>
                    <a:gd name="connsiteX3" fmla="*/ 259747 w 523018"/>
                    <a:gd name="connsiteY3" fmla="*/ 0 h 989647"/>
                    <a:gd name="connsiteX4" fmla="*/ 0 w 523018"/>
                    <a:gd name="connsiteY4" fmla="*/ 947261 h 9896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3018" h="989647">
                      <a:moveTo>
                        <a:pt x="0" y="947261"/>
                      </a:moveTo>
                      <a:lnTo>
                        <a:pt x="307467" y="989648"/>
                      </a:lnTo>
                      <a:lnTo>
                        <a:pt x="523018" y="167259"/>
                      </a:lnTo>
                      <a:lnTo>
                        <a:pt x="259747" y="0"/>
                      </a:lnTo>
                      <a:cubicBezTo>
                        <a:pt x="171069" y="80486"/>
                        <a:pt x="0" y="947261"/>
                        <a:pt x="0" y="94726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8" name="Freihandform: Form 177">
                  <a:extLst>
                    <a:ext uri="{FF2B5EF4-FFF2-40B4-BE49-F238E27FC236}">
                      <a16:creationId xmlns:a16="http://schemas.microsoft.com/office/drawing/2014/main" id="{23F84047-FBDE-C2CE-804A-674A6B740AA1}"/>
                    </a:ext>
                  </a:extLst>
                </p:cNvPr>
                <p:cNvSpPr/>
                <p:nvPr/>
              </p:nvSpPr>
              <p:spPr>
                <a:xfrm>
                  <a:off x="8398128" y="9204071"/>
                  <a:ext cx="310133" cy="310134"/>
                </a:xfrm>
                <a:custGeom>
                  <a:avLst/>
                  <a:gdLst>
                    <a:gd name="connsiteX0" fmla="*/ 310134 w 310133"/>
                    <a:gd name="connsiteY0" fmla="*/ 155067 h 310134"/>
                    <a:gd name="connsiteX1" fmla="*/ 155067 w 310133"/>
                    <a:gd name="connsiteY1" fmla="*/ 310134 h 310134"/>
                    <a:gd name="connsiteX2" fmla="*/ -1 w 310133"/>
                    <a:gd name="connsiteY2" fmla="*/ 155067 h 310134"/>
                    <a:gd name="connsiteX3" fmla="*/ 155067 w 310133"/>
                    <a:gd name="connsiteY3" fmla="*/ 0 h 310134"/>
                    <a:gd name="connsiteX4" fmla="*/ 310134 w 310133"/>
                    <a:gd name="connsiteY4" fmla="*/ 155067 h 3101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0133" h="310134">
                      <a:moveTo>
                        <a:pt x="310134" y="155067"/>
                      </a:moveTo>
                      <a:cubicBezTo>
                        <a:pt x="310134" y="240708"/>
                        <a:pt x="240708" y="310134"/>
                        <a:pt x="155067" y="310134"/>
                      </a:cubicBezTo>
                      <a:cubicBezTo>
                        <a:pt x="69425" y="310134"/>
                        <a:pt x="-1" y="240708"/>
                        <a:pt x="-1" y="155067"/>
                      </a:cubicBezTo>
                      <a:cubicBezTo>
                        <a:pt x="-1" y="69426"/>
                        <a:pt x="69425" y="0"/>
                        <a:pt x="155067" y="0"/>
                      </a:cubicBezTo>
                      <a:cubicBezTo>
                        <a:pt x="240708" y="0"/>
                        <a:pt x="310134" y="69426"/>
                        <a:pt x="310134" y="15506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9" name="Freihandform: Form 178">
                  <a:extLst>
                    <a:ext uri="{FF2B5EF4-FFF2-40B4-BE49-F238E27FC236}">
                      <a16:creationId xmlns:a16="http://schemas.microsoft.com/office/drawing/2014/main" id="{BD68CDF3-DED2-8C6B-87BE-E747C0E15042}"/>
                    </a:ext>
                  </a:extLst>
                </p:cNvPr>
                <p:cNvSpPr/>
                <p:nvPr/>
              </p:nvSpPr>
              <p:spPr>
                <a:xfrm>
                  <a:off x="8616251" y="8188610"/>
                  <a:ext cx="575214" cy="3144202"/>
                </a:xfrm>
                <a:custGeom>
                  <a:avLst/>
                  <a:gdLst>
                    <a:gd name="connsiteX0" fmla="*/ 197358 w 575214"/>
                    <a:gd name="connsiteY0" fmla="*/ 1136999 h 3144202"/>
                    <a:gd name="connsiteX1" fmla="*/ 0 w 575214"/>
                    <a:gd name="connsiteY1" fmla="*/ 3144203 h 3144202"/>
                    <a:gd name="connsiteX2" fmla="*/ 527590 w 575214"/>
                    <a:gd name="connsiteY2" fmla="*/ 3144203 h 3144202"/>
                    <a:gd name="connsiteX3" fmla="*/ 575215 w 575214"/>
                    <a:gd name="connsiteY3" fmla="*/ 576167 h 3144202"/>
                    <a:gd name="connsiteX4" fmla="*/ 467868 w 575214"/>
                    <a:gd name="connsiteY4" fmla="*/ 0 h 3144202"/>
                    <a:gd name="connsiteX5" fmla="*/ 28194 w 575214"/>
                    <a:gd name="connsiteY5" fmla="*/ 225647 h 3144202"/>
                    <a:gd name="connsiteX6" fmla="*/ 216312 w 575214"/>
                    <a:gd name="connsiteY6" fmla="*/ 604838 h 3144202"/>
                    <a:gd name="connsiteX7" fmla="*/ 197453 w 575214"/>
                    <a:gd name="connsiteY7" fmla="*/ 1137095 h 3144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75214" h="3144202">
                      <a:moveTo>
                        <a:pt x="197358" y="1136999"/>
                      </a:moveTo>
                      <a:cubicBezTo>
                        <a:pt x="-28861" y="1726597"/>
                        <a:pt x="51340" y="2820543"/>
                        <a:pt x="0" y="3144203"/>
                      </a:cubicBezTo>
                      <a:lnTo>
                        <a:pt x="527590" y="3144203"/>
                      </a:lnTo>
                      <a:lnTo>
                        <a:pt x="575215" y="576167"/>
                      </a:lnTo>
                      <a:lnTo>
                        <a:pt x="467868" y="0"/>
                      </a:lnTo>
                      <a:cubicBezTo>
                        <a:pt x="302037" y="67151"/>
                        <a:pt x="69437" y="144590"/>
                        <a:pt x="28194" y="225647"/>
                      </a:cubicBezTo>
                      <a:cubicBezTo>
                        <a:pt x="120682" y="378047"/>
                        <a:pt x="216312" y="604838"/>
                        <a:pt x="216312" y="604838"/>
                      </a:cubicBezTo>
                      <a:cubicBezTo>
                        <a:pt x="216312" y="604838"/>
                        <a:pt x="200406" y="745903"/>
                        <a:pt x="197453" y="113709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0" name="Freihandform: Form 179">
                  <a:extLst>
                    <a:ext uri="{FF2B5EF4-FFF2-40B4-BE49-F238E27FC236}">
                      <a16:creationId xmlns:a16="http://schemas.microsoft.com/office/drawing/2014/main" id="{FE6D3CA7-FCC8-C9E8-A2B6-375D7AEA2362}"/>
                    </a:ext>
                  </a:extLst>
                </p:cNvPr>
                <p:cNvSpPr/>
                <p:nvPr/>
              </p:nvSpPr>
              <p:spPr>
                <a:xfrm>
                  <a:off x="8923527" y="8237759"/>
                  <a:ext cx="199834" cy="706945"/>
                </a:xfrm>
                <a:custGeom>
                  <a:avLst/>
                  <a:gdLst>
                    <a:gd name="connsiteX0" fmla="*/ 35528 w 199834"/>
                    <a:gd name="connsiteY0" fmla="*/ 0 h 706945"/>
                    <a:gd name="connsiteX1" fmla="*/ 0 w 199834"/>
                    <a:gd name="connsiteY1" fmla="*/ 13906 h 706945"/>
                    <a:gd name="connsiteX2" fmla="*/ 88106 w 199834"/>
                    <a:gd name="connsiteY2" fmla="*/ 352234 h 706945"/>
                    <a:gd name="connsiteX3" fmla="*/ 199834 w 199834"/>
                    <a:gd name="connsiteY3" fmla="*/ 706946 h 706945"/>
                    <a:gd name="connsiteX4" fmla="*/ 123539 w 199834"/>
                    <a:gd name="connsiteY4" fmla="*/ 352234 h 706945"/>
                    <a:gd name="connsiteX5" fmla="*/ 35623 w 199834"/>
                    <a:gd name="connsiteY5" fmla="*/ 0 h 706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99834" h="706945">
                      <a:moveTo>
                        <a:pt x="35528" y="0"/>
                      </a:moveTo>
                      <a:lnTo>
                        <a:pt x="0" y="13906"/>
                      </a:lnTo>
                      <a:cubicBezTo>
                        <a:pt x="0" y="13906"/>
                        <a:pt x="76009" y="206692"/>
                        <a:pt x="88106" y="352234"/>
                      </a:cubicBezTo>
                      <a:cubicBezTo>
                        <a:pt x="100108" y="497776"/>
                        <a:pt x="199834" y="706946"/>
                        <a:pt x="199834" y="706946"/>
                      </a:cubicBezTo>
                      <a:cubicBezTo>
                        <a:pt x="199834" y="706946"/>
                        <a:pt x="128968" y="398050"/>
                        <a:pt x="123539" y="352234"/>
                      </a:cubicBezTo>
                      <a:cubicBezTo>
                        <a:pt x="118110" y="306419"/>
                        <a:pt x="35623" y="0"/>
                        <a:pt x="35623" y="0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1" name="Freihandform: Form 180">
                  <a:extLst>
                    <a:ext uri="{FF2B5EF4-FFF2-40B4-BE49-F238E27FC236}">
                      <a16:creationId xmlns:a16="http://schemas.microsoft.com/office/drawing/2014/main" id="{2E95DC5D-4EE9-6A3B-7C82-025593F77576}"/>
                    </a:ext>
                  </a:extLst>
                </p:cNvPr>
                <p:cNvSpPr/>
                <p:nvPr/>
              </p:nvSpPr>
              <p:spPr>
                <a:xfrm>
                  <a:off x="8664457" y="8777255"/>
                  <a:ext cx="159748" cy="575881"/>
                </a:xfrm>
                <a:custGeom>
                  <a:avLst/>
                  <a:gdLst>
                    <a:gd name="connsiteX0" fmla="*/ 132483 w 159748"/>
                    <a:gd name="connsiteY0" fmla="*/ 0 h 575881"/>
                    <a:gd name="connsiteX1" fmla="*/ 6753 w 159748"/>
                    <a:gd name="connsiteY1" fmla="*/ 303467 h 575881"/>
                    <a:gd name="connsiteX2" fmla="*/ 50568 w 159748"/>
                    <a:gd name="connsiteY2" fmla="*/ 575881 h 575881"/>
                    <a:gd name="connsiteX3" fmla="*/ 50568 w 159748"/>
                    <a:gd name="connsiteY3" fmla="*/ 575881 h 575881"/>
                    <a:gd name="connsiteX4" fmla="*/ 157343 w 159748"/>
                    <a:gd name="connsiteY4" fmla="*/ 197834 h 575881"/>
                    <a:gd name="connsiteX5" fmla="*/ 132387 w 159748"/>
                    <a:gd name="connsiteY5" fmla="*/ 0 h 575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59748" h="575881">
                      <a:moveTo>
                        <a:pt x="132483" y="0"/>
                      </a:moveTo>
                      <a:cubicBezTo>
                        <a:pt x="80191" y="30004"/>
                        <a:pt x="-28013" y="139351"/>
                        <a:pt x="6753" y="303467"/>
                      </a:cubicBezTo>
                      <a:cubicBezTo>
                        <a:pt x="41614" y="467582"/>
                        <a:pt x="50568" y="575881"/>
                        <a:pt x="50568" y="575881"/>
                      </a:cubicBezTo>
                      <a:lnTo>
                        <a:pt x="50568" y="575881"/>
                      </a:lnTo>
                      <a:lnTo>
                        <a:pt x="157343" y="197834"/>
                      </a:lnTo>
                      <a:cubicBezTo>
                        <a:pt x="160201" y="166592"/>
                        <a:pt x="166582" y="73057"/>
                        <a:pt x="132387" y="0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2" name="Freihandform: Form 181">
                  <a:extLst>
                    <a:ext uri="{FF2B5EF4-FFF2-40B4-BE49-F238E27FC236}">
                      <a16:creationId xmlns:a16="http://schemas.microsoft.com/office/drawing/2014/main" id="{B1F8868D-5DF7-440B-F9E0-E3CD0C649599}"/>
                    </a:ext>
                  </a:extLst>
                </p:cNvPr>
                <p:cNvSpPr/>
                <p:nvPr/>
              </p:nvSpPr>
              <p:spPr>
                <a:xfrm>
                  <a:off x="8695689" y="9943306"/>
                  <a:ext cx="330837" cy="409959"/>
                </a:xfrm>
                <a:custGeom>
                  <a:avLst/>
                  <a:gdLst>
                    <a:gd name="connsiteX0" fmla="*/ 49911 w 330837"/>
                    <a:gd name="connsiteY0" fmla="*/ 0 h 409959"/>
                    <a:gd name="connsiteX1" fmla="*/ 37338 w 330837"/>
                    <a:gd name="connsiteY1" fmla="*/ 351377 h 409959"/>
                    <a:gd name="connsiteX2" fmla="*/ 330804 w 330837"/>
                    <a:gd name="connsiteY2" fmla="*/ 359093 h 409959"/>
                    <a:gd name="connsiteX3" fmla="*/ 0 w 330837"/>
                    <a:gd name="connsiteY3" fmla="*/ 388715 h 409959"/>
                    <a:gd name="connsiteX4" fmla="*/ 25146 w 330837"/>
                    <a:gd name="connsiteY4" fmla="*/ 81724 h 409959"/>
                    <a:gd name="connsiteX5" fmla="*/ 49911 w 330837"/>
                    <a:gd name="connsiteY5" fmla="*/ 0 h 409959"/>
                    <a:gd name="connsiteX6" fmla="*/ 49911 w 330837"/>
                    <a:gd name="connsiteY6" fmla="*/ 0 h 409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30837" h="409959">
                      <a:moveTo>
                        <a:pt x="49911" y="0"/>
                      </a:moveTo>
                      <a:cubicBezTo>
                        <a:pt x="49911" y="0"/>
                        <a:pt x="33909" y="310229"/>
                        <a:pt x="37338" y="351377"/>
                      </a:cubicBezTo>
                      <a:cubicBezTo>
                        <a:pt x="43149" y="368713"/>
                        <a:pt x="307372" y="358616"/>
                        <a:pt x="330804" y="359093"/>
                      </a:cubicBezTo>
                      <a:cubicBezTo>
                        <a:pt x="334709" y="393859"/>
                        <a:pt x="0" y="436340"/>
                        <a:pt x="0" y="388715"/>
                      </a:cubicBezTo>
                      <a:cubicBezTo>
                        <a:pt x="0" y="341090"/>
                        <a:pt x="20193" y="122015"/>
                        <a:pt x="25146" y="81724"/>
                      </a:cubicBezTo>
                      <a:cubicBezTo>
                        <a:pt x="31909" y="25813"/>
                        <a:pt x="32861" y="8572"/>
                        <a:pt x="49911" y="0"/>
                      </a:cubicBezTo>
                      <a:lnTo>
                        <a:pt x="49911" y="0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3" name="Freihandform: Form 182">
                  <a:extLst>
                    <a:ext uri="{FF2B5EF4-FFF2-40B4-BE49-F238E27FC236}">
                      <a16:creationId xmlns:a16="http://schemas.microsoft.com/office/drawing/2014/main" id="{048880C2-C9E0-F22D-CCC9-C79B4305F3EE}"/>
                    </a:ext>
                  </a:extLst>
                </p:cNvPr>
                <p:cNvSpPr/>
                <p:nvPr/>
              </p:nvSpPr>
              <p:spPr>
                <a:xfrm>
                  <a:off x="9393395" y="8211756"/>
                  <a:ext cx="575977" cy="3121056"/>
                </a:xfrm>
                <a:custGeom>
                  <a:avLst/>
                  <a:gdLst>
                    <a:gd name="connsiteX0" fmla="*/ 575977 w 575977"/>
                    <a:gd name="connsiteY0" fmla="*/ 3121057 h 3121056"/>
                    <a:gd name="connsiteX1" fmla="*/ 377857 w 575977"/>
                    <a:gd name="connsiteY1" fmla="*/ 1113854 h 3121056"/>
                    <a:gd name="connsiteX2" fmla="*/ 358997 w 575977"/>
                    <a:gd name="connsiteY2" fmla="*/ 581597 h 3121056"/>
                    <a:gd name="connsiteX3" fmla="*/ 540925 w 575977"/>
                    <a:gd name="connsiteY3" fmla="*/ 220123 h 3121056"/>
                    <a:gd name="connsiteX4" fmla="*/ 102680 w 575977"/>
                    <a:gd name="connsiteY4" fmla="*/ 0 h 3121056"/>
                    <a:gd name="connsiteX5" fmla="*/ 0 w 575977"/>
                    <a:gd name="connsiteY5" fmla="*/ 552926 h 3121056"/>
                    <a:gd name="connsiteX6" fmla="*/ 47816 w 575977"/>
                    <a:gd name="connsiteY6" fmla="*/ 3120962 h 3121056"/>
                    <a:gd name="connsiteX7" fmla="*/ 575977 w 575977"/>
                    <a:gd name="connsiteY7" fmla="*/ 3120962 h 3121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75977" h="3121056">
                      <a:moveTo>
                        <a:pt x="575977" y="3121057"/>
                      </a:moveTo>
                      <a:cubicBezTo>
                        <a:pt x="522923" y="2803493"/>
                        <a:pt x="605219" y="1706594"/>
                        <a:pt x="377857" y="1113854"/>
                      </a:cubicBezTo>
                      <a:cubicBezTo>
                        <a:pt x="374904" y="722757"/>
                        <a:pt x="358997" y="581597"/>
                        <a:pt x="358997" y="581597"/>
                      </a:cubicBezTo>
                      <a:cubicBezTo>
                        <a:pt x="358997" y="581597"/>
                        <a:pt x="448437" y="372523"/>
                        <a:pt x="540925" y="220123"/>
                      </a:cubicBezTo>
                      <a:cubicBezTo>
                        <a:pt x="496729" y="112681"/>
                        <a:pt x="254889" y="58102"/>
                        <a:pt x="102680" y="0"/>
                      </a:cubicBezTo>
                      <a:lnTo>
                        <a:pt x="0" y="552926"/>
                      </a:lnTo>
                      <a:lnTo>
                        <a:pt x="47816" y="3120962"/>
                      </a:lnTo>
                      <a:lnTo>
                        <a:pt x="575977" y="312096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4" name="Freihandform: Form 183">
                  <a:extLst>
                    <a:ext uri="{FF2B5EF4-FFF2-40B4-BE49-F238E27FC236}">
                      <a16:creationId xmlns:a16="http://schemas.microsoft.com/office/drawing/2014/main" id="{3D6C1F8D-2A34-E7C7-5CD4-8F20DEBE5BCB}"/>
                    </a:ext>
                  </a:extLst>
                </p:cNvPr>
                <p:cNvSpPr/>
                <p:nvPr/>
              </p:nvSpPr>
              <p:spPr>
                <a:xfrm>
                  <a:off x="9346962" y="8048069"/>
                  <a:ext cx="321998" cy="541925"/>
                </a:xfrm>
                <a:custGeom>
                  <a:avLst/>
                  <a:gdLst>
                    <a:gd name="connsiteX0" fmla="*/ 108251 w 321998"/>
                    <a:gd name="connsiteY0" fmla="*/ 79486 h 541925"/>
                    <a:gd name="connsiteX1" fmla="*/ 300084 w 321998"/>
                    <a:gd name="connsiteY1" fmla="*/ 216265 h 541925"/>
                    <a:gd name="connsiteX2" fmla="*/ 180641 w 321998"/>
                    <a:gd name="connsiteY2" fmla="*/ 354378 h 541925"/>
                    <a:gd name="connsiteX3" fmla="*/ 149113 w 321998"/>
                    <a:gd name="connsiteY3" fmla="*/ 541925 h 541925"/>
                    <a:gd name="connsiteX4" fmla="*/ 35289 w 321998"/>
                    <a:gd name="connsiteY4" fmla="*/ 264176 h 541925"/>
                    <a:gd name="connsiteX5" fmla="*/ 108251 w 321998"/>
                    <a:gd name="connsiteY5" fmla="*/ 79486 h 541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1998" h="541925">
                      <a:moveTo>
                        <a:pt x="108251" y="79486"/>
                      </a:moveTo>
                      <a:cubicBezTo>
                        <a:pt x="82534" y="-113585"/>
                        <a:pt x="407717" y="89964"/>
                        <a:pt x="300084" y="216265"/>
                      </a:cubicBezTo>
                      <a:cubicBezTo>
                        <a:pt x="300084" y="216265"/>
                        <a:pt x="221217" y="286750"/>
                        <a:pt x="180641" y="354378"/>
                      </a:cubicBezTo>
                      <a:cubicBezTo>
                        <a:pt x="140064" y="422005"/>
                        <a:pt x="146256" y="484870"/>
                        <a:pt x="149113" y="541925"/>
                      </a:cubicBezTo>
                      <a:cubicBezTo>
                        <a:pt x="-20336" y="527161"/>
                        <a:pt x="-25194" y="321612"/>
                        <a:pt x="35289" y="264176"/>
                      </a:cubicBezTo>
                      <a:cubicBezTo>
                        <a:pt x="133968" y="170450"/>
                        <a:pt x="123015" y="126635"/>
                        <a:pt x="108251" y="7948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5" name="Freihandform: Form 184">
                  <a:extLst>
                    <a:ext uri="{FF2B5EF4-FFF2-40B4-BE49-F238E27FC236}">
                      <a16:creationId xmlns:a16="http://schemas.microsoft.com/office/drawing/2014/main" id="{38DED1EB-77DC-6C99-1F74-28B84DA337C9}"/>
                    </a:ext>
                  </a:extLst>
                </p:cNvPr>
                <p:cNvSpPr/>
                <p:nvPr/>
              </p:nvSpPr>
              <p:spPr>
                <a:xfrm>
                  <a:off x="8386350" y="9342088"/>
                  <a:ext cx="319816" cy="722471"/>
                </a:xfrm>
                <a:custGeom>
                  <a:avLst/>
                  <a:gdLst>
                    <a:gd name="connsiteX0" fmla="*/ 11778 w 319816"/>
                    <a:gd name="connsiteY0" fmla="*/ 722471 h 722471"/>
                    <a:gd name="connsiteX1" fmla="*/ 243998 w 319816"/>
                    <a:gd name="connsiteY1" fmla="*/ 722471 h 722471"/>
                    <a:gd name="connsiteX2" fmla="*/ 319817 w 319816"/>
                    <a:gd name="connsiteY2" fmla="*/ 42386 h 722471"/>
                    <a:gd name="connsiteX3" fmla="*/ 12350 w 319816"/>
                    <a:gd name="connsiteY3" fmla="*/ 0 h 722471"/>
                    <a:gd name="connsiteX4" fmla="*/ 11683 w 319816"/>
                    <a:gd name="connsiteY4" fmla="*/ 722471 h 7224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9816" h="722471">
                      <a:moveTo>
                        <a:pt x="11778" y="722471"/>
                      </a:moveTo>
                      <a:lnTo>
                        <a:pt x="243998" y="722471"/>
                      </a:lnTo>
                      <a:cubicBezTo>
                        <a:pt x="243998" y="722471"/>
                        <a:pt x="304100" y="215360"/>
                        <a:pt x="319817" y="42386"/>
                      </a:cubicBezTo>
                      <a:lnTo>
                        <a:pt x="12350" y="0"/>
                      </a:lnTo>
                      <a:cubicBezTo>
                        <a:pt x="12350" y="339566"/>
                        <a:pt x="-14987" y="531781"/>
                        <a:pt x="11683" y="72247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6" name="Freihandform: Form 185">
                  <a:extLst>
                    <a:ext uri="{FF2B5EF4-FFF2-40B4-BE49-F238E27FC236}">
                      <a16:creationId xmlns:a16="http://schemas.microsoft.com/office/drawing/2014/main" id="{5490E744-DCA2-4E75-FD20-8CBB51C1C8CC}"/>
                    </a:ext>
                  </a:extLst>
                </p:cNvPr>
                <p:cNvSpPr/>
                <p:nvPr/>
              </p:nvSpPr>
              <p:spPr>
                <a:xfrm>
                  <a:off x="9633235" y="8339391"/>
                  <a:ext cx="314705" cy="314706"/>
                </a:xfrm>
                <a:custGeom>
                  <a:avLst/>
                  <a:gdLst>
                    <a:gd name="connsiteX0" fmla="*/ 314706 w 314705"/>
                    <a:gd name="connsiteY0" fmla="*/ 157353 h 314706"/>
                    <a:gd name="connsiteX1" fmla="*/ 157353 w 314705"/>
                    <a:gd name="connsiteY1" fmla="*/ 314706 h 314706"/>
                    <a:gd name="connsiteX2" fmla="*/ 0 w 314705"/>
                    <a:gd name="connsiteY2" fmla="*/ 157353 h 314706"/>
                    <a:gd name="connsiteX3" fmla="*/ 157353 w 314705"/>
                    <a:gd name="connsiteY3" fmla="*/ 0 h 314706"/>
                    <a:gd name="connsiteX4" fmla="*/ 314706 w 314705"/>
                    <a:gd name="connsiteY4" fmla="*/ 157353 h 314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4705" h="314706">
                      <a:moveTo>
                        <a:pt x="314706" y="157353"/>
                      </a:moveTo>
                      <a:cubicBezTo>
                        <a:pt x="314706" y="244257"/>
                        <a:pt x="244257" y="314706"/>
                        <a:pt x="157353" y="314706"/>
                      </a:cubicBezTo>
                      <a:cubicBezTo>
                        <a:pt x="70449" y="314706"/>
                        <a:pt x="0" y="244257"/>
                        <a:pt x="0" y="157353"/>
                      </a:cubicBezTo>
                      <a:cubicBezTo>
                        <a:pt x="0" y="70449"/>
                        <a:pt x="70449" y="0"/>
                        <a:pt x="157353" y="0"/>
                      </a:cubicBezTo>
                      <a:cubicBezTo>
                        <a:pt x="244256" y="0"/>
                        <a:pt x="314706" y="70449"/>
                        <a:pt x="314706" y="15735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7" name="Freihandform: Form 186">
                  <a:extLst>
                    <a:ext uri="{FF2B5EF4-FFF2-40B4-BE49-F238E27FC236}">
                      <a16:creationId xmlns:a16="http://schemas.microsoft.com/office/drawing/2014/main" id="{3443A3F2-C23A-9AE3-818F-3BD5CCABEC36}"/>
                    </a:ext>
                  </a:extLst>
                </p:cNvPr>
                <p:cNvSpPr/>
                <p:nvPr/>
              </p:nvSpPr>
              <p:spPr>
                <a:xfrm>
                  <a:off x="9658000" y="8417591"/>
                  <a:ext cx="625982" cy="890015"/>
                </a:xfrm>
                <a:custGeom>
                  <a:avLst/>
                  <a:gdLst>
                    <a:gd name="connsiteX0" fmla="*/ 625888 w 625982"/>
                    <a:gd name="connsiteY0" fmla="*/ 774287 h 890015"/>
                    <a:gd name="connsiteX1" fmla="*/ 334518 w 625982"/>
                    <a:gd name="connsiteY1" fmla="*/ 890016 h 890015"/>
                    <a:gd name="connsiteX2" fmla="*/ 135064 w 625982"/>
                    <a:gd name="connsiteY2" fmla="*/ 426720 h 890015"/>
                    <a:gd name="connsiteX3" fmla="*/ 0 w 625982"/>
                    <a:gd name="connsiteY3" fmla="*/ 163163 h 890015"/>
                    <a:gd name="connsiteX4" fmla="*/ 268986 w 625982"/>
                    <a:gd name="connsiteY4" fmla="*/ 0 h 890015"/>
                    <a:gd name="connsiteX5" fmla="*/ 430339 w 625982"/>
                    <a:gd name="connsiteY5" fmla="*/ 315373 h 890015"/>
                    <a:gd name="connsiteX6" fmla="*/ 625983 w 625982"/>
                    <a:gd name="connsiteY6" fmla="*/ 774287 h 890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5982" h="890015">
                      <a:moveTo>
                        <a:pt x="625888" y="774287"/>
                      </a:moveTo>
                      <a:lnTo>
                        <a:pt x="334518" y="890016"/>
                      </a:lnTo>
                      <a:lnTo>
                        <a:pt x="135064" y="426720"/>
                      </a:lnTo>
                      <a:lnTo>
                        <a:pt x="0" y="163163"/>
                      </a:lnTo>
                      <a:lnTo>
                        <a:pt x="268986" y="0"/>
                      </a:lnTo>
                      <a:cubicBezTo>
                        <a:pt x="311182" y="74009"/>
                        <a:pt x="367665" y="187928"/>
                        <a:pt x="430339" y="315373"/>
                      </a:cubicBezTo>
                      <a:cubicBezTo>
                        <a:pt x="529780" y="517589"/>
                        <a:pt x="625983" y="774287"/>
                        <a:pt x="625983" y="77428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8" name="Freihandform: Form 187">
                  <a:extLst>
                    <a:ext uri="{FF2B5EF4-FFF2-40B4-BE49-F238E27FC236}">
                      <a16:creationId xmlns:a16="http://schemas.microsoft.com/office/drawing/2014/main" id="{3839D875-0DB6-02C6-2C71-03B9E75C8A23}"/>
                    </a:ext>
                  </a:extLst>
                </p:cNvPr>
                <p:cNvSpPr/>
                <p:nvPr/>
              </p:nvSpPr>
              <p:spPr>
                <a:xfrm>
                  <a:off x="9381870" y="8729059"/>
                  <a:ext cx="596360" cy="785241"/>
                </a:xfrm>
                <a:custGeom>
                  <a:avLst/>
                  <a:gdLst>
                    <a:gd name="connsiteX0" fmla="*/ 572548 w 596360"/>
                    <a:gd name="connsiteY0" fmla="*/ 0 h 785241"/>
                    <a:gd name="connsiteX1" fmla="*/ 596360 w 596360"/>
                    <a:gd name="connsiteY1" fmla="*/ 23813 h 785241"/>
                    <a:gd name="connsiteX2" fmla="*/ 596360 w 596360"/>
                    <a:gd name="connsiteY2" fmla="*/ 761429 h 785241"/>
                    <a:gd name="connsiteX3" fmla="*/ 572548 w 596360"/>
                    <a:gd name="connsiteY3" fmla="*/ 785241 h 785241"/>
                    <a:gd name="connsiteX4" fmla="*/ 23813 w 596360"/>
                    <a:gd name="connsiteY4" fmla="*/ 785241 h 785241"/>
                    <a:gd name="connsiteX5" fmla="*/ 0 w 596360"/>
                    <a:gd name="connsiteY5" fmla="*/ 761429 h 785241"/>
                    <a:gd name="connsiteX6" fmla="*/ 0 w 596360"/>
                    <a:gd name="connsiteY6" fmla="*/ 23813 h 785241"/>
                    <a:gd name="connsiteX7" fmla="*/ 23813 w 596360"/>
                    <a:gd name="connsiteY7" fmla="*/ 0 h 785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96360" h="785241">
                      <a:moveTo>
                        <a:pt x="572548" y="0"/>
                      </a:moveTo>
                      <a:cubicBezTo>
                        <a:pt x="585699" y="0"/>
                        <a:pt x="596360" y="10661"/>
                        <a:pt x="596360" y="23813"/>
                      </a:cubicBezTo>
                      <a:lnTo>
                        <a:pt x="596360" y="761429"/>
                      </a:lnTo>
                      <a:cubicBezTo>
                        <a:pt x="596360" y="774580"/>
                        <a:pt x="585699" y="785241"/>
                        <a:pt x="572548" y="785241"/>
                      </a:cubicBezTo>
                      <a:lnTo>
                        <a:pt x="23813" y="785241"/>
                      </a:lnTo>
                      <a:cubicBezTo>
                        <a:pt x="10661" y="785241"/>
                        <a:pt x="0" y="774580"/>
                        <a:pt x="0" y="761429"/>
                      </a:cubicBezTo>
                      <a:lnTo>
                        <a:pt x="0" y="23813"/>
                      </a:lnTo>
                      <a:cubicBezTo>
                        <a:pt x="0" y="10661"/>
                        <a:pt x="10661" y="0"/>
                        <a:pt x="23813" y="0"/>
                      </a:cubicBezTo>
                      <a:close/>
                    </a:path>
                  </a:pathLst>
                </a:custGeom>
                <a:solidFill>
                  <a:srgbClr val="EDEDE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9" name="Freihandform: Form 188">
                  <a:extLst>
                    <a:ext uri="{FF2B5EF4-FFF2-40B4-BE49-F238E27FC236}">
                      <a16:creationId xmlns:a16="http://schemas.microsoft.com/office/drawing/2014/main" id="{5E3875FC-4DFE-DF98-C749-DB4051DAC070}"/>
                    </a:ext>
                  </a:extLst>
                </p:cNvPr>
                <p:cNvSpPr/>
                <p:nvPr/>
              </p:nvSpPr>
              <p:spPr>
                <a:xfrm>
                  <a:off x="9348914" y="8729059"/>
                  <a:ext cx="596360" cy="785241"/>
                </a:xfrm>
                <a:custGeom>
                  <a:avLst/>
                  <a:gdLst>
                    <a:gd name="connsiteX0" fmla="*/ 0 w 596360"/>
                    <a:gd name="connsiteY0" fmla="*/ 0 h 785241"/>
                    <a:gd name="connsiteX1" fmla="*/ 596360 w 596360"/>
                    <a:gd name="connsiteY1" fmla="*/ 0 h 785241"/>
                    <a:gd name="connsiteX2" fmla="*/ 596360 w 596360"/>
                    <a:gd name="connsiteY2" fmla="*/ 785241 h 785241"/>
                    <a:gd name="connsiteX3" fmla="*/ 0 w 596360"/>
                    <a:gd name="connsiteY3" fmla="*/ 785241 h 785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96360" h="785241">
                      <a:moveTo>
                        <a:pt x="0" y="0"/>
                      </a:moveTo>
                      <a:lnTo>
                        <a:pt x="596360" y="0"/>
                      </a:lnTo>
                      <a:lnTo>
                        <a:pt x="596360" y="785241"/>
                      </a:lnTo>
                      <a:lnTo>
                        <a:pt x="0" y="785241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90" name="Freihandform: Form 189">
                  <a:extLst>
                    <a:ext uri="{FF2B5EF4-FFF2-40B4-BE49-F238E27FC236}">
                      <a16:creationId xmlns:a16="http://schemas.microsoft.com/office/drawing/2014/main" id="{5AFFF0E1-7EDF-A14D-03D9-009085929048}"/>
                    </a:ext>
                  </a:extLst>
                </p:cNvPr>
                <p:cNvSpPr/>
                <p:nvPr/>
              </p:nvSpPr>
              <p:spPr>
                <a:xfrm>
                  <a:off x="9578942" y="8850693"/>
                  <a:ext cx="123253" cy="123253"/>
                </a:xfrm>
                <a:custGeom>
                  <a:avLst/>
                  <a:gdLst>
                    <a:gd name="connsiteX0" fmla="*/ 123254 w 123253"/>
                    <a:gd name="connsiteY0" fmla="*/ 61627 h 123253"/>
                    <a:gd name="connsiteX1" fmla="*/ 61627 w 123253"/>
                    <a:gd name="connsiteY1" fmla="*/ 123253 h 123253"/>
                    <a:gd name="connsiteX2" fmla="*/ 1 w 123253"/>
                    <a:gd name="connsiteY2" fmla="*/ 61627 h 123253"/>
                    <a:gd name="connsiteX3" fmla="*/ 61627 w 123253"/>
                    <a:gd name="connsiteY3" fmla="*/ 0 h 123253"/>
                    <a:gd name="connsiteX4" fmla="*/ 123254 w 123253"/>
                    <a:gd name="connsiteY4" fmla="*/ 61627 h 1232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3253" h="123253">
                      <a:moveTo>
                        <a:pt x="123254" y="61627"/>
                      </a:moveTo>
                      <a:cubicBezTo>
                        <a:pt x="123254" y="95662"/>
                        <a:pt x="95662" y="123253"/>
                        <a:pt x="61627" y="123253"/>
                      </a:cubicBezTo>
                      <a:cubicBezTo>
                        <a:pt x="27592" y="123253"/>
                        <a:pt x="1" y="95662"/>
                        <a:pt x="1" y="61627"/>
                      </a:cubicBezTo>
                      <a:cubicBezTo>
                        <a:pt x="1" y="27591"/>
                        <a:pt x="27592" y="0"/>
                        <a:pt x="61627" y="0"/>
                      </a:cubicBezTo>
                      <a:cubicBezTo>
                        <a:pt x="95663" y="0"/>
                        <a:pt x="123254" y="27591"/>
                        <a:pt x="123254" y="61627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91" name="Freihandform: Form 190">
                  <a:extLst>
                    <a:ext uri="{FF2B5EF4-FFF2-40B4-BE49-F238E27FC236}">
                      <a16:creationId xmlns:a16="http://schemas.microsoft.com/office/drawing/2014/main" id="{6EDA9CBB-5DEC-AB40-0E2F-92D3B0345D4E}"/>
                    </a:ext>
                  </a:extLst>
                </p:cNvPr>
                <p:cNvSpPr/>
                <p:nvPr/>
              </p:nvSpPr>
              <p:spPr>
                <a:xfrm>
                  <a:off x="9852024" y="8764778"/>
                  <a:ext cx="24955" cy="24955"/>
                </a:xfrm>
                <a:custGeom>
                  <a:avLst/>
                  <a:gdLst>
                    <a:gd name="connsiteX0" fmla="*/ 24955 w 24955"/>
                    <a:gd name="connsiteY0" fmla="*/ 12478 h 24955"/>
                    <a:gd name="connsiteX1" fmla="*/ 12478 w 24955"/>
                    <a:gd name="connsiteY1" fmla="*/ 24955 h 24955"/>
                    <a:gd name="connsiteX2" fmla="*/ 0 w 24955"/>
                    <a:gd name="connsiteY2" fmla="*/ 12478 h 24955"/>
                    <a:gd name="connsiteX3" fmla="*/ 12478 w 24955"/>
                    <a:gd name="connsiteY3" fmla="*/ 0 h 24955"/>
                    <a:gd name="connsiteX4" fmla="*/ 24955 w 24955"/>
                    <a:gd name="connsiteY4" fmla="*/ 12478 h 24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955" h="24955">
                      <a:moveTo>
                        <a:pt x="24955" y="12478"/>
                      </a:moveTo>
                      <a:cubicBezTo>
                        <a:pt x="24955" y="19369"/>
                        <a:pt x="19369" y="24955"/>
                        <a:pt x="12478" y="24955"/>
                      </a:cubicBezTo>
                      <a:cubicBezTo>
                        <a:pt x="5586" y="24955"/>
                        <a:pt x="0" y="19369"/>
                        <a:pt x="0" y="12478"/>
                      </a:cubicBezTo>
                      <a:cubicBezTo>
                        <a:pt x="0" y="5586"/>
                        <a:pt x="5586" y="0"/>
                        <a:pt x="12478" y="0"/>
                      </a:cubicBezTo>
                      <a:cubicBezTo>
                        <a:pt x="19369" y="0"/>
                        <a:pt x="24955" y="5586"/>
                        <a:pt x="24955" y="12478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92" name="Freihandform: Form 191">
                  <a:extLst>
                    <a:ext uri="{FF2B5EF4-FFF2-40B4-BE49-F238E27FC236}">
                      <a16:creationId xmlns:a16="http://schemas.microsoft.com/office/drawing/2014/main" id="{CFA0A3CA-0AE9-6201-A67F-0C745894238C}"/>
                    </a:ext>
                  </a:extLst>
                </p:cNvPr>
                <p:cNvSpPr/>
                <p:nvPr/>
              </p:nvSpPr>
              <p:spPr>
                <a:xfrm>
                  <a:off x="9472929" y="9031097"/>
                  <a:ext cx="135255" cy="135254"/>
                </a:xfrm>
                <a:custGeom>
                  <a:avLst/>
                  <a:gdLst>
                    <a:gd name="connsiteX0" fmla="*/ 135255 w 135255"/>
                    <a:gd name="connsiteY0" fmla="*/ 67628 h 135254"/>
                    <a:gd name="connsiteX1" fmla="*/ 67628 w 135255"/>
                    <a:gd name="connsiteY1" fmla="*/ 135255 h 135254"/>
                    <a:gd name="connsiteX2" fmla="*/ 1 w 135255"/>
                    <a:gd name="connsiteY2" fmla="*/ 67628 h 135254"/>
                    <a:gd name="connsiteX3" fmla="*/ 67628 w 135255"/>
                    <a:gd name="connsiteY3" fmla="*/ 0 h 135254"/>
                    <a:gd name="connsiteX4" fmla="*/ 135255 w 135255"/>
                    <a:gd name="connsiteY4" fmla="*/ 67628 h 1352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255" h="135254">
                      <a:moveTo>
                        <a:pt x="135255" y="67628"/>
                      </a:moveTo>
                      <a:cubicBezTo>
                        <a:pt x="135255" y="104977"/>
                        <a:pt x="104977" y="135255"/>
                        <a:pt x="67628" y="135255"/>
                      </a:cubicBezTo>
                      <a:cubicBezTo>
                        <a:pt x="30279" y="135255"/>
                        <a:pt x="1" y="104977"/>
                        <a:pt x="1" y="67628"/>
                      </a:cubicBezTo>
                      <a:cubicBezTo>
                        <a:pt x="1" y="30278"/>
                        <a:pt x="30279" y="0"/>
                        <a:pt x="67628" y="0"/>
                      </a:cubicBezTo>
                      <a:cubicBezTo>
                        <a:pt x="104977" y="0"/>
                        <a:pt x="135255" y="30278"/>
                        <a:pt x="135255" y="6762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93" name="Freihandform: Form 192">
                  <a:extLst>
                    <a:ext uri="{FF2B5EF4-FFF2-40B4-BE49-F238E27FC236}">
                      <a16:creationId xmlns:a16="http://schemas.microsoft.com/office/drawing/2014/main" id="{67A9DE0D-6910-4607-2457-5B4CEF585A7E}"/>
                    </a:ext>
                  </a:extLst>
                </p:cNvPr>
                <p:cNvSpPr/>
                <p:nvPr/>
              </p:nvSpPr>
              <p:spPr>
                <a:xfrm>
                  <a:off x="9261970" y="8864885"/>
                  <a:ext cx="308150" cy="265148"/>
                </a:xfrm>
                <a:custGeom>
                  <a:avLst/>
                  <a:gdLst>
                    <a:gd name="connsiteX0" fmla="*/ 167049 w 308150"/>
                    <a:gd name="connsiteY0" fmla="*/ 59246 h 265148"/>
                    <a:gd name="connsiteX1" fmla="*/ 245725 w 308150"/>
                    <a:gd name="connsiteY1" fmla="*/ 106299 h 265148"/>
                    <a:gd name="connsiteX2" fmla="*/ 306685 w 308150"/>
                    <a:gd name="connsiteY2" fmla="*/ 206788 h 265148"/>
                    <a:gd name="connsiteX3" fmla="*/ 197338 w 308150"/>
                    <a:gd name="connsiteY3" fmla="*/ 239173 h 265148"/>
                    <a:gd name="connsiteX4" fmla="*/ 131520 w 308150"/>
                    <a:gd name="connsiteY4" fmla="*/ 136588 h 265148"/>
                    <a:gd name="connsiteX5" fmla="*/ 67322 w 308150"/>
                    <a:gd name="connsiteY5" fmla="*/ 96012 h 265148"/>
                    <a:gd name="connsiteX6" fmla="*/ 67322 w 308150"/>
                    <a:gd name="connsiteY6" fmla="*/ 96012 h 265148"/>
                    <a:gd name="connsiteX7" fmla="*/ 22269 w 308150"/>
                    <a:gd name="connsiteY7" fmla="*/ 64579 h 265148"/>
                    <a:gd name="connsiteX8" fmla="*/ 5790 w 308150"/>
                    <a:gd name="connsiteY8" fmla="*/ 0 h 265148"/>
                    <a:gd name="connsiteX9" fmla="*/ 71036 w 308150"/>
                    <a:gd name="connsiteY9" fmla="*/ 37147 h 265148"/>
                    <a:gd name="connsiteX10" fmla="*/ 166000 w 308150"/>
                    <a:gd name="connsiteY10" fmla="*/ 58674 h 265148"/>
                    <a:gd name="connsiteX11" fmla="*/ 166572 w 308150"/>
                    <a:gd name="connsiteY11" fmla="*/ 59912 h 265148"/>
                    <a:gd name="connsiteX12" fmla="*/ 167049 w 308150"/>
                    <a:gd name="connsiteY12" fmla="*/ 59150 h 265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08150" h="265148">
                      <a:moveTo>
                        <a:pt x="167049" y="59246"/>
                      </a:moveTo>
                      <a:cubicBezTo>
                        <a:pt x="167049" y="59246"/>
                        <a:pt x="224770" y="90297"/>
                        <a:pt x="245725" y="106299"/>
                      </a:cubicBezTo>
                      <a:cubicBezTo>
                        <a:pt x="245725" y="106299"/>
                        <a:pt x="319353" y="177927"/>
                        <a:pt x="306685" y="206788"/>
                      </a:cubicBezTo>
                      <a:cubicBezTo>
                        <a:pt x="283920" y="258699"/>
                        <a:pt x="207244" y="290322"/>
                        <a:pt x="197338" y="239173"/>
                      </a:cubicBezTo>
                      <a:cubicBezTo>
                        <a:pt x="186765" y="184975"/>
                        <a:pt x="139331" y="143256"/>
                        <a:pt x="131520" y="136588"/>
                      </a:cubicBezTo>
                      <a:lnTo>
                        <a:pt x="67322" y="96012"/>
                      </a:lnTo>
                      <a:cubicBezTo>
                        <a:pt x="67322" y="96012"/>
                        <a:pt x="67322" y="96012"/>
                        <a:pt x="67322" y="96012"/>
                      </a:cubicBezTo>
                      <a:cubicBezTo>
                        <a:pt x="53606" y="87154"/>
                        <a:pt x="37508" y="76009"/>
                        <a:pt x="22269" y="64579"/>
                      </a:cubicBezTo>
                      <a:cubicBezTo>
                        <a:pt x="1599" y="48958"/>
                        <a:pt x="-6497" y="32957"/>
                        <a:pt x="5790" y="0"/>
                      </a:cubicBezTo>
                      <a:lnTo>
                        <a:pt x="71036" y="37147"/>
                      </a:lnTo>
                      <a:cubicBezTo>
                        <a:pt x="71036" y="37147"/>
                        <a:pt x="167049" y="59150"/>
                        <a:pt x="166000" y="58674"/>
                      </a:cubicBezTo>
                      <a:cubicBezTo>
                        <a:pt x="166286" y="59055"/>
                        <a:pt x="166382" y="59531"/>
                        <a:pt x="166572" y="59912"/>
                      </a:cubicBezTo>
                      <a:cubicBezTo>
                        <a:pt x="166763" y="59626"/>
                        <a:pt x="166858" y="59436"/>
                        <a:pt x="167049" y="59150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94" name="Freihandform: Form 193">
                  <a:extLst>
                    <a:ext uri="{FF2B5EF4-FFF2-40B4-BE49-F238E27FC236}">
                      <a16:creationId xmlns:a16="http://schemas.microsoft.com/office/drawing/2014/main" id="{1A4D3EA9-F0D2-A041-65CF-8D87EC4192EA}"/>
                    </a:ext>
                  </a:extLst>
                </p:cNvPr>
                <p:cNvSpPr/>
                <p:nvPr/>
              </p:nvSpPr>
              <p:spPr>
                <a:xfrm>
                  <a:off x="9265221" y="8967683"/>
                  <a:ext cx="295814" cy="221737"/>
                </a:xfrm>
                <a:custGeom>
                  <a:avLst/>
                  <a:gdLst>
                    <a:gd name="connsiteX0" fmla="*/ 209422 w 295814"/>
                    <a:gd name="connsiteY0" fmla="*/ 11026 h 221737"/>
                    <a:gd name="connsiteX1" fmla="*/ 68357 w 295814"/>
                    <a:gd name="connsiteY1" fmla="*/ 15598 h 221737"/>
                    <a:gd name="connsiteX2" fmla="*/ 6158 w 295814"/>
                    <a:gd name="connsiteY2" fmla="*/ 29790 h 221737"/>
                    <a:gd name="connsiteX3" fmla="*/ 63785 w 295814"/>
                    <a:gd name="connsiteY3" fmla="*/ 220290 h 221737"/>
                    <a:gd name="connsiteX4" fmla="*/ 268382 w 295814"/>
                    <a:gd name="connsiteY4" fmla="*/ 198573 h 221737"/>
                    <a:gd name="connsiteX5" fmla="*/ 295814 w 295814"/>
                    <a:gd name="connsiteY5" fmla="*/ 73034 h 221737"/>
                    <a:gd name="connsiteX6" fmla="*/ 209422 w 295814"/>
                    <a:gd name="connsiteY6" fmla="*/ 11026 h 2217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95814" h="221737">
                      <a:moveTo>
                        <a:pt x="209422" y="11026"/>
                      </a:moveTo>
                      <a:cubicBezTo>
                        <a:pt x="153224" y="-16216"/>
                        <a:pt x="68357" y="15598"/>
                        <a:pt x="68357" y="15598"/>
                      </a:cubicBezTo>
                      <a:lnTo>
                        <a:pt x="6158" y="29790"/>
                      </a:lnTo>
                      <a:cubicBezTo>
                        <a:pt x="-10986" y="83416"/>
                        <a:pt x="7492" y="164188"/>
                        <a:pt x="63785" y="220290"/>
                      </a:cubicBezTo>
                      <a:cubicBezTo>
                        <a:pt x="156559" y="228577"/>
                        <a:pt x="268382" y="198573"/>
                        <a:pt x="268382" y="198573"/>
                      </a:cubicBezTo>
                      <a:lnTo>
                        <a:pt x="295814" y="73034"/>
                      </a:lnTo>
                      <a:cubicBezTo>
                        <a:pt x="295814" y="73034"/>
                        <a:pt x="265620" y="38172"/>
                        <a:pt x="209422" y="11026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95" name="Freihandform: Form 194">
                  <a:extLst>
                    <a:ext uri="{FF2B5EF4-FFF2-40B4-BE49-F238E27FC236}">
                      <a16:creationId xmlns:a16="http://schemas.microsoft.com/office/drawing/2014/main" id="{AC638DA8-2147-49E9-31A6-AFEDCCAA613A}"/>
                    </a:ext>
                  </a:extLst>
                </p:cNvPr>
                <p:cNvSpPr/>
                <p:nvPr/>
              </p:nvSpPr>
              <p:spPr>
                <a:xfrm>
                  <a:off x="9533603" y="9032430"/>
                  <a:ext cx="239553" cy="198405"/>
                </a:xfrm>
                <a:custGeom>
                  <a:avLst/>
                  <a:gdLst>
                    <a:gd name="connsiteX0" fmla="*/ 0 w 239553"/>
                    <a:gd name="connsiteY0" fmla="*/ 133826 h 198405"/>
                    <a:gd name="connsiteX1" fmla="*/ 20478 w 239553"/>
                    <a:gd name="connsiteY1" fmla="*/ 0 h 198405"/>
                    <a:gd name="connsiteX2" fmla="*/ 239553 w 239553"/>
                    <a:gd name="connsiteY2" fmla="*/ 49721 h 198405"/>
                    <a:gd name="connsiteX3" fmla="*/ 200406 w 239553"/>
                    <a:gd name="connsiteY3" fmla="*/ 198406 h 198405"/>
                    <a:gd name="connsiteX4" fmla="*/ 0 w 239553"/>
                    <a:gd name="connsiteY4" fmla="*/ 133826 h 198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9553" h="198405">
                      <a:moveTo>
                        <a:pt x="0" y="133826"/>
                      </a:moveTo>
                      <a:lnTo>
                        <a:pt x="20478" y="0"/>
                      </a:lnTo>
                      <a:lnTo>
                        <a:pt x="239553" y="49721"/>
                      </a:lnTo>
                      <a:lnTo>
                        <a:pt x="200406" y="198406"/>
                      </a:lnTo>
                      <a:lnTo>
                        <a:pt x="0" y="133826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96" name="Freihandform: Form 195">
                  <a:extLst>
                    <a:ext uri="{FF2B5EF4-FFF2-40B4-BE49-F238E27FC236}">
                      <a16:creationId xmlns:a16="http://schemas.microsoft.com/office/drawing/2014/main" id="{C843EEE6-9145-D3D4-1152-F672FF051878}"/>
                    </a:ext>
                  </a:extLst>
                </p:cNvPr>
                <p:cNvSpPr/>
                <p:nvPr/>
              </p:nvSpPr>
              <p:spPr>
                <a:xfrm>
                  <a:off x="9549034" y="9025226"/>
                  <a:ext cx="631316" cy="372202"/>
                </a:xfrm>
                <a:custGeom>
                  <a:avLst/>
                  <a:gdLst>
                    <a:gd name="connsiteX0" fmla="*/ 0 w 631316"/>
                    <a:gd name="connsiteY0" fmla="*/ 261998 h 372202"/>
                    <a:gd name="connsiteX1" fmla="*/ 59912 w 631316"/>
                    <a:gd name="connsiteY1" fmla="*/ 5776 h 372202"/>
                    <a:gd name="connsiteX2" fmla="*/ 173831 w 631316"/>
                    <a:gd name="connsiteY2" fmla="*/ 1585 h 372202"/>
                    <a:gd name="connsiteX3" fmla="*/ 631317 w 631316"/>
                    <a:gd name="connsiteY3" fmla="*/ 68069 h 372202"/>
                    <a:gd name="connsiteX4" fmla="*/ 555403 w 631316"/>
                    <a:gd name="connsiteY4" fmla="*/ 372202 h 372202"/>
                    <a:gd name="connsiteX5" fmla="*/ 0 w 631316"/>
                    <a:gd name="connsiteY5" fmla="*/ 261998 h 372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31316" h="372202">
                      <a:moveTo>
                        <a:pt x="0" y="261998"/>
                      </a:moveTo>
                      <a:lnTo>
                        <a:pt x="59912" y="5776"/>
                      </a:lnTo>
                      <a:cubicBezTo>
                        <a:pt x="59912" y="5776"/>
                        <a:pt x="102203" y="-3654"/>
                        <a:pt x="173831" y="1585"/>
                      </a:cubicBezTo>
                      <a:cubicBezTo>
                        <a:pt x="414051" y="19015"/>
                        <a:pt x="495585" y="31588"/>
                        <a:pt x="631317" y="68069"/>
                      </a:cubicBezTo>
                      <a:lnTo>
                        <a:pt x="555403" y="372202"/>
                      </a:lnTo>
                      <a:cubicBezTo>
                        <a:pt x="227171" y="313719"/>
                        <a:pt x="191929" y="311623"/>
                        <a:pt x="0" y="26199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97" name="Freihandform: Form 196">
                  <a:extLst>
                    <a:ext uri="{FF2B5EF4-FFF2-40B4-BE49-F238E27FC236}">
                      <a16:creationId xmlns:a16="http://schemas.microsoft.com/office/drawing/2014/main" id="{66E8D737-C002-D90E-B374-41E07C7A7014}"/>
                    </a:ext>
                  </a:extLst>
                </p:cNvPr>
                <p:cNvSpPr/>
                <p:nvPr/>
              </p:nvSpPr>
              <p:spPr>
                <a:xfrm>
                  <a:off x="9978992" y="9086913"/>
                  <a:ext cx="313753" cy="313753"/>
                </a:xfrm>
                <a:custGeom>
                  <a:avLst/>
                  <a:gdLst>
                    <a:gd name="connsiteX0" fmla="*/ 313754 w 313753"/>
                    <a:gd name="connsiteY0" fmla="*/ 156877 h 313753"/>
                    <a:gd name="connsiteX1" fmla="*/ 156877 w 313753"/>
                    <a:gd name="connsiteY1" fmla="*/ 313754 h 313753"/>
                    <a:gd name="connsiteX2" fmla="*/ 1 w 313753"/>
                    <a:gd name="connsiteY2" fmla="*/ 156877 h 313753"/>
                    <a:gd name="connsiteX3" fmla="*/ 156877 w 313753"/>
                    <a:gd name="connsiteY3" fmla="*/ 0 h 313753"/>
                    <a:gd name="connsiteX4" fmla="*/ 313754 w 313753"/>
                    <a:gd name="connsiteY4" fmla="*/ 156877 h 313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3753" h="313753">
                      <a:moveTo>
                        <a:pt x="313754" y="156877"/>
                      </a:moveTo>
                      <a:cubicBezTo>
                        <a:pt x="313754" y="243517"/>
                        <a:pt x="243518" y="313754"/>
                        <a:pt x="156877" y="313754"/>
                      </a:cubicBezTo>
                      <a:cubicBezTo>
                        <a:pt x="70237" y="313754"/>
                        <a:pt x="1" y="243517"/>
                        <a:pt x="1" y="156877"/>
                      </a:cubicBezTo>
                      <a:cubicBezTo>
                        <a:pt x="1" y="70236"/>
                        <a:pt x="70237" y="0"/>
                        <a:pt x="156877" y="0"/>
                      </a:cubicBezTo>
                      <a:cubicBezTo>
                        <a:pt x="243518" y="0"/>
                        <a:pt x="313754" y="70236"/>
                        <a:pt x="313754" y="15687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98" name="Freihandform: Form 197">
                  <a:extLst>
                    <a:ext uri="{FF2B5EF4-FFF2-40B4-BE49-F238E27FC236}">
                      <a16:creationId xmlns:a16="http://schemas.microsoft.com/office/drawing/2014/main" id="{E69BBD3F-351C-5AB0-A3B1-2547DC26CDD7}"/>
                    </a:ext>
                  </a:extLst>
                </p:cNvPr>
                <p:cNvSpPr/>
                <p:nvPr/>
              </p:nvSpPr>
              <p:spPr>
                <a:xfrm>
                  <a:off x="9533603" y="9032430"/>
                  <a:ext cx="239553" cy="198405"/>
                </a:xfrm>
                <a:custGeom>
                  <a:avLst/>
                  <a:gdLst>
                    <a:gd name="connsiteX0" fmla="*/ 0 w 239553"/>
                    <a:gd name="connsiteY0" fmla="*/ 133826 h 198405"/>
                    <a:gd name="connsiteX1" fmla="*/ 20478 w 239553"/>
                    <a:gd name="connsiteY1" fmla="*/ 0 h 198405"/>
                    <a:gd name="connsiteX2" fmla="*/ 239553 w 239553"/>
                    <a:gd name="connsiteY2" fmla="*/ 49721 h 198405"/>
                    <a:gd name="connsiteX3" fmla="*/ 200406 w 239553"/>
                    <a:gd name="connsiteY3" fmla="*/ 198406 h 198405"/>
                    <a:gd name="connsiteX4" fmla="*/ 0 w 239553"/>
                    <a:gd name="connsiteY4" fmla="*/ 133826 h 198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9553" h="198405">
                      <a:moveTo>
                        <a:pt x="0" y="133826"/>
                      </a:moveTo>
                      <a:lnTo>
                        <a:pt x="20478" y="0"/>
                      </a:lnTo>
                      <a:lnTo>
                        <a:pt x="239553" y="49721"/>
                      </a:lnTo>
                      <a:lnTo>
                        <a:pt x="200406" y="198406"/>
                      </a:lnTo>
                      <a:lnTo>
                        <a:pt x="0" y="133826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99" name="Freihandform: Form 198">
                  <a:extLst>
                    <a:ext uri="{FF2B5EF4-FFF2-40B4-BE49-F238E27FC236}">
                      <a16:creationId xmlns:a16="http://schemas.microsoft.com/office/drawing/2014/main" id="{621136CE-061F-C0E7-463F-DC72768BB1FC}"/>
                    </a:ext>
                  </a:extLst>
                </p:cNvPr>
                <p:cNvSpPr/>
                <p:nvPr/>
              </p:nvSpPr>
              <p:spPr>
                <a:xfrm>
                  <a:off x="9549034" y="9025226"/>
                  <a:ext cx="631316" cy="372202"/>
                </a:xfrm>
                <a:custGeom>
                  <a:avLst/>
                  <a:gdLst>
                    <a:gd name="connsiteX0" fmla="*/ 0 w 631316"/>
                    <a:gd name="connsiteY0" fmla="*/ 261998 h 372202"/>
                    <a:gd name="connsiteX1" fmla="*/ 59912 w 631316"/>
                    <a:gd name="connsiteY1" fmla="*/ 5776 h 372202"/>
                    <a:gd name="connsiteX2" fmla="*/ 173831 w 631316"/>
                    <a:gd name="connsiteY2" fmla="*/ 1585 h 372202"/>
                    <a:gd name="connsiteX3" fmla="*/ 631317 w 631316"/>
                    <a:gd name="connsiteY3" fmla="*/ 68069 h 372202"/>
                    <a:gd name="connsiteX4" fmla="*/ 555403 w 631316"/>
                    <a:gd name="connsiteY4" fmla="*/ 372202 h 372202"/>
                    <a:gd name="connsiteX5" fmla="*/ 0 w 631316"/>
                    <a:gd name="connsiteY5" fmla="*/ 261998 h 372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31316" h="372202">
                      <a:moveTo>
                        <a:pt x="0" y="261998"/>
                      </a:moveTo>
                      <a:lnTo>
                        <a:pt x="59912" y="5776"/>
                      </a:lnTo>
                      <a:cubicBezTo>
                        <a:pt x="59912" y="5776"/>
                        <a:pt x="102203" y="-3654"/>
                        <a:pt x="173831" y="1585"/>
                      </a:cubicBezTo>
                      <a:cubicBezTo>
                        <a:pt x="414051" y="19015"/>
                        <a:pt x="495585" y="31588"/>
                        <a:pt x="631317" y="68069"/>
                      </a:cubicBezTo>
                      <a:lnTo>
                        <a:pt x="555403" y="372202"/>
                      </a:lnTo>
                      <a:cubicBezTo>
                        <a:pt x="227171" y="313719"/>
                        <a:pt x="191929" y="311623"/>
                        <a:pt x="0" y="26199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00" name="Freihandform: Form 199">
                  <a:extLst>
                    <a:ext uri="{FF2B5EF4-FFF2-40B4-BE49-F238E27FC236}">
                      <a16:creationId xmlns:a16="http://schemas.microsoft.com/office/drawing/2014/main" id="{8801041D-FE8E-4CCE-63EB-40A5384582B8}"/>
                    </a:ext>
                  </a:extLst>
                </p:cNvPr>
                <p:cNvSpPr/>
                <p:nvPr/>
              </p:nvSpPr>
              <p:spPr>
                <a:xfrm>
                  <a:off x="9978992" y="9086913"/>
                  <a:ext cx="313753" cy="313753"/>
                </a:xfrm>
                <a:custGeom>
                  <a:avLst/>
                  <a:gdLst>
                    <a:gd name="connsiteX0" fmla="*/ 313754 w 313753"/>
                    <a:gd name="connsiteY0" fmla="*/ 156877 h 313753"/>
                    <a:gd name="connsiteX1" fmla="*/ 156877 w 313753"/>
                    <a:gd name="connsiteY1" fmla="*/ 313754 h 313753"/>
                    <a:gd name="connsiteX2" fmla="*/ 1 w 313753"/>
                    <a:gd name="connsiteY2" fmla="*/ 156877 h 313753"/>
                    <a:gd name="connsiteX3" fmla="*/ 156877 w 313753"/>
                    <a:gd name="connsiteY3" fmla="*/ 0 h 313753"/>
                    <a:gd name="connsiteX4" fmla="*/ 313754 w 313753"/>
                    <a:gd name="connsiteY4" fmla="*/ 156877 h 313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3753" h="313753">
                      <a:moveTo>
                        <a:pt x="313754" y="156877"/>
                      </a:moveTo>
                      <a:cubicBezTo>
                        <a:pt x="313754" y="243517"/>
                        <a:pt x="243518" y="313754"/>
                        <a:pt x="156877" y="313754"/>
                      </a:cubicBezTo>
                      <a:cubicBezTo>
                        <a:pt x="70237" y="313754"/>
                        <a:pt x="1" y="243517"/>
                        <a:pt x="1" y="156877"/>
                      </a:cubicBezTo>
                      <a:cubicBezTo>
                        <a:pt x="1" y="70236"/>
                        <a:pt x="70237" y="0"/>
                        <a:pt x="156877" y="0"/>
                      </a:cubicBezTo>
                      <a:cubicBezTo>
                        <a:pt x="243518" y="0"/>
                        <a:pt x="313754" y="70236"/>
                        <a:pt x="313754" y="15687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29" name="Grafik 23">
                <a:extLst>
                  <a:ext uri="{FF2B5EF4-FFF2-40B4-BE49-F238E27FC236}">
                    <a16:creationId xmlns:a16="http://schemas.microsoft.com/office/drawing/2014/main" id="{1CB79EFC-F3FE-66DE-E103-8C234B9268C9}"/>
                  </a:ext>
                </a:extLst>
              </p:cNvPr>
              <p:cNvGrpSpPr/>
              <p:nvPr/>
            </p:nvGrpSpPr>
            <p:grpSpPr>
              <a:xfrm>
                <a:off x="9633988" y="1862812"/>
                <a:ext cx="257205" cy="824026"/>
                <a:chOff x="5217159" y="666564"/>
                <a:chExt cx="1715547" cy="5496224"/>
              </a:xfrm>
            </p:grpSpPr>
            <p:grpSp>
              <p:nvGrpSpPr>
                <p:cNvPr id="89" name="Grafik 23">
                  <a:extLst>
                    <a:ext uri="{FF2B5EF4-FFF2-40B4-BE49-F238E27FC236}">
                      <a16:creationId xmlns:a16="http://schemas.microsoft.com/office/drawing/2014/main" id="{6F36D826-75B1-548E-B975-9DD2ED9DC6F8}"/>
                    </a:ext>
                  </a:extLst>
                </p:cNvPr>
                <p:cNvGrpSpPr/>
                <p:nvPr/>
              </p:nvGrpSpPr>
              <p:grpSpPr>
                <a:xfrm>
                  <a:off x="5934296" y="1562671"/>
                  <a:ext cx="563308" cy="1157858"/>
                  <a:chOff x="5934296" y="1562671"/>
                  <a:chExt cx="563308" cy="1157858"/>
                </a:xfrm>
                <a:solidFill>
                  <a:srgbClr val="E6E6E6"/>
                </a:solidFill>
              </p:grpSpPr>
              <p:sp>
                <p:nvSpPr>
                  <p:cNvPr id="138" name="Freihandform: Form 137">
                    <a:extLst>
                      <a:ext uri="{FF2B5EF4-FFF2-40B4-BE49-F238E27FC236}">
                        <a16:creationId xmlns:a16="http://schemas.microsoft.com/office/drawing/2014/main" id="{BCCA3E40-D6F5-40AE-39B6-AD60D4FD7590}"/>
                      </a:ext>
                    </a:extLst>
                  </p:cNvPr>
                  <p:cNvSpPr/>
                  <p:nvPr/>
                </p:nvSpPr>
                <p:spPr>
                  <a:xfrm>
                    <a:off x="6100984" y="1562671"/>
                    <a:ext cx="396620" cy="396620"/>
                  </a:xfrm>
                  <a:custGeom>
                    <a:avLst/>
                    <a:gdLst>
                      <a:gd name="connsiteX0" fmla="*/ 396621 w 396620"/>
                      <a:gd name="connsiteY0" fmla="*/ 198310 h 396620"/>
                      <a:gd name="connsiteX1" fmla="*/ 198310 w 396620"/>
                      <a:gd name="connsiteY1" fmla="*/ 396621 h 396620"/>
                      <a:gd name="connsiteX2" fmla="*/ 0 w 396620"/>
                      <a:gd name="connsiteY2" fmla="*/ 198310 h 396620"/>
                      <a:gd name="connsiteX3" fmla="*/ 198310 w 396620"/>
                      <a:gd name="connsiteY3" fmla="*/ 0 h 396620"/>
                      <a:gd name="connsiteX4" fmla="*/ 396621 w 396620"/>
                      <a:gd name="connsiteY4" fmla="*/ 198310 h 396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6620" h="396620">
                        <a:moveTo>
                          <a:pt x="396621" y="198310"/>
                        </a:moveTo>
                        <a:cubicBezTo>
                          <a:pt x="396621" y="307834"/>
                          <a:pt x="307834" y="396621"/>
                          <a:pt x="198310" y="396621"/>
                        </a:cubicBezTo>
                        <a:cubicBezTo>
                          <a:pt x="88786" y="396621"/>
                          <a:pt x="0" y="307834"/>
                          <a:pt x="0" y="198310"/>
                        </a:cubicBezTo>
                        <a:cubicBezTo>
                          <a:pt x="0" y="88787"/>
                          <a:pt x="88786" y="0"/>
                          <a:pt x="198310" y="0"/>
                        </a:cubicBezTo>
                        <a:cubicBezTo>
                          <a:pt x="307834" y="0"/>
                          <a:pt x="396621" y="88787"/>
                          <a:pt x="396621" y="198310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39" name="Freihandform: Form 138">
                    <a:extLst>
                      <a:ext uri="{FF2B5EF4-FFF2-40B4-BE49-F238E27FC236}">
                        <a16:creationId xmlns:a16="http://schemas.microsoft.com/office/drawing/2014/main" id="{FD426BD0-63CF-D3BC-7ED1-66F59D2887B9}"/>
                      </a:ext>
                    </a:extLst>
                  </p:cNvPr>
                  <p:cNvSpPr/>
                  <p:nvPr/>
                </p:nvSpPr>
                <p:spPr>
                  <a:xfrm>
                    <a:off x="5934296" y="1725453"/>
                    <a:ext cx="558736" cy="995076"/>
                  </a:xfrm>
                  <a:custGeom>
                    <a:avLst/>
                    <a:gdLst>
                      <a:gd name="connsiteX0" fmla="*/ 339566 w 558736"/>
                      <a:gd name="connsiteY0" fmla="*/ 995077 h 995076"/>
                      <a:gd name="connsiteX1" fmla="*/ 0 w 558736"/>
                      <a:gd name="connsiteY1" fmla="*/ 930211 h 995076"/>
                      <a:gd name="connsiteX2" fmla="*/ 110204 w 558736"/>
                      <a:gd name="connsiteY2" fmla="*/ 327184 h 995076"/>
                      <a:gd name="connsiteX3" fmla="*/ 169926 w 558736"/>
                      <a:gd name="connsiteY3" fmla="*/ 0 h 995076"/>
                      <a:gd name="connsiteX4" fmla="*/ 558737 w 558736"/>
                      <a:gd name="connsiteY4" fmla="*/ 78010 h 995076"/>
                      <a:gd name="connsiteX5" fmla="*/ 478441 w 558736"/>
                      <a:gd name="connsiteY5" fmla="*/ 413194 h 995076"/>
                      <a:gd name="connsiteX6" fmla="*/ 339566 w 558736"/>
                      <a:gd name="connsiteY6" fmla="*/ 995077 h 9950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58736" h="995076">
                        <a:moveTo>
                          <a:pt x="339566" y="995077"/>
                        </a:moveTo>
                        <a:lnTo>
                          <a:pt x="0" y="930211"/>
                        </a:lnTo>
                        <a:lnTo>
                          <a:pt x="110204" y="327184"/>
                        </a:lnTo>
                        <a:lnTo>
                          <a:pt x="169926" y="0"/>
                        </a:lnTo>
                        <a:lnTo>
                          <a:pt x="558737" y="78010"/>
                        </a:lnTo>
                        <a:lnTo>
                          <a:pt x="478441" y="413194"/>
                        </a:lnTo>
                        <a:lnTo>
                          <a:pt x="339566" y="995077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0" name="Grafik 23">
                  <a:extLst>
                    <a:ext uri="{FF2B5EF4-FFF2-40B4-BE49-F238E27FC236}">
                      <a16:creationId xmlns:a16="http://schemas.microsoft.com/office/drawing/2014/main" id="{363C2A17-740E-3EF6-7E27-2C563294E73D}"/>
                    </a:ext>
                  </a:extLst>
                </p:cNvPr>
                <p:cNvGrpSpPr/>
                <p:nvPr/>
              </p:nvGrpSpPr>
              <p:grpSpPr>
                <a:xfrm>
                  <a:off x="5435186" y="2434208"/>
                  <a:ext cx="841914" cy="425196"/>
                  <a:chOff x="5435186" y="2434208"/>
                  <a:chExt cx="841914" cy="425196"/>
                </a:xfrm>
                <a:solidFill>
                  <a:srgbClr val="E6E6E6"/>
                </a:solidFill>
              </p:grpSpPr>
              <p:sp>
                <p:nvSpPr>
                  <p:cNvPr id="136" name="Freihandform: Form 135">
                    <a:extLst>
                      <a:ext uri="{FF2B5EF4-FFF2-40B4-BE49-F238E27FC236}">
                        <a16:creationId xmlns:a16="http://schemas.microsoft.com/office/drawing/2014/main" id="{1244EAA6-71C4-9FCD-E7B0-D42DBC57DAB0}"/>
                      </a:ext>
                    </a:extLst>
                  </p:cNvPr>
                  <p:cNvSpPr/>
                  <p:nvPr/>
                </p:nvSpPr>
                <p:spPr>
                  <a:xfrm>
                    <a:off x="5435186" y="2434208"/>
                    <a:ext cx="703611" cy="423481"/>
                  </a:xfrm>
                  <a:custGeom>
                    <a:avLst/>
                    <a:gdLst>
                      <a:gd name="connsiteX0" fmla="*/ 0 w 703611"/>
                      <a:gd name="connsiteY0" fmla="*/ 329946 h 423481"/>
                      <a:gd name="connsiteX1" fmla="*/ 52483 w 703611"/>
                      <a:gd name="connsiteY1" fmla="*/ 0 h 423481"/>
                      <a:gd name="connsiteX2" fmla="*/ 703612 w 703611"/>
                      <a:gd name="connsiteY2" fmla="*/ 83058 h 423481"/>
                      <a:gd name="connsiteX3" fmla="*/ 644462 w 703611"/>
                      <a:gd name="connsiteY3" fmla="*/ 423482 h 423481"/>
                      <a:gd name="connsiteX4" fmla="*/ 0 w 703611"/>
                      <a:gd name="connsiteY4" fmla="*/ 329946 h 4234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03611" h="423481">
                        <a:moveTo>
                          <a:pt x="0" y="329946"/>
                        </a:moveTo>
                        <a:lnTo>
                          <a:pt x="52483" y="0"/>
                        </a:lnTo>
                        <a:lnTo>
                          <a:pt x="703612" y="83058"/>
                        </a:lnTo>
                        <a:lnTo>
                          <a:pt x="644462" y="423482"/>
                        </a:lnTo>
                        <a:lnTo>
                          <a:pt x="0" y="329946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37" name="Freihandform: Form 136">
                    <a:extLst>
                      <a:ext uri="{FF2B5EF4-FFF2-40B4-BE49-F238E27FC236}">
                        <a16:creationId xmlns:a16="http://schemas.microsoft.com/office/drawing/2014/main" id="{5BEE1EAF-9D2E-0AF1-9D6B-FEDD1FA751A5}"/>
                      </a:ext>
                    </a:extLst>
                  </p:cNvPr>
                  <p:cNvSpPr/>
                  <p:nvPr/>
                </p:nvSpPr>
                <p:spPr>
                  <a:xfrm>
                    <a:off x="5931534" y="2513838"/>
                    <a:ext cx="345566" cy="345566"/>
                  </a:xfrm>
                  <a:custGeom>
                    <a:avLst/>
                    <a:gdLst>
                      <a:gd name="connsiteX0" fmla="*/ 345567 w 345566"/>
                      <a:gd name="connsiteY0" fmla="*/ 172783 h 345566"/>
                      <a:gd name="connsiteX1" fmla="*/ 172783 w 345566"/>
                      <a:gd name="connsiteY1" fmla="*/ 345567 h 345566"/>
                      <a:gd name="connsiteX2" fmla="*/ 0 w 345566"/>
                      <a:gd name="connsiteY2" fmla="*/ 172783 h 345566"/>
                      <a:gd name="connsiteX3" fmla="*/ 172783 w 345566"/>
                      <a:gd name="connsiteY3" fmla="*/ 0 h 345566"/>
                      <a:gd name="connsiteX4" fmla="*/ 345567 w 345566"/>
                      <a:gd name="connsiteY4" fmla="*/ 172783 h 3455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45566" h="345566">
                        <a:moveTo>
                          <a:pt x="345567" y="172783"/>
                        </a:moveTo>
                        <a:cubicBezTo>
                          <a:pt x="345567" y="268209"/>
                          <a:pt x="268209" y="345567"/>
                          <a:pt x="172783" y="345567"/>
                        </a:cubicBezTo>
                        <a:cubicBezTo>
                          <a:pt x="77358" y="345567"/>
                          <a:pt x="0" y="268209"/>
                          <a:pt x="0" y="172783"/>
                        </a:cubicBezTo>
                        <a:cubicBezTo>
                          <a:pt x="0" y="77358"/>
                          <a:pt x="77357" y="0"/>
                          <a:pt x="172783" y="0"/>
                        </a:cubicBezTo>
                        <a:cubicBezTo>
                          <a:pt x="268209" y="0"/>
                          <a:pt x="345567" y="77358"/>
                          <a:pt x="345567" y="172783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1" name="Grafik 23">
                  <a:extLst>
                    <a:ext uri="{FF2B5EF4-FFF2-40B4-BE49-F238E27FC236}">
                      <a16:creationId xmlns:a16="http://schemas.microsoft.com/office/drawing/2014/main" id="{5F508983-533F-AEA2-8791-FEE7E4DB31F8}"/>
                    </a:ext>
                  </a:extLst>
                </p:cNvPr>
                <p:cNvGrpSpPr/>
                <p:nvPr/>
              </p:nvGrpSpPr>
              <p:grpSpPr>
                <a:xfrm>
                  <a:off x="5217159" y="2156745"/>
                  <a:ext cx="790670" cy="894492"/>
                  <a:chOff x="5217159" y="2156745"/>
                  <a:chExt cx="790670" cy="894492"/>
                </a:xfrm>
              </p:grpSpPr>
              <p:grpSp>
                <p:nvGrpSpPr>
                  <p:cNvPr id="131" name="Grafik 23">
                    <a:extLst>
                      <a:ext uri="{FF2B5EF4-FFF2-40B4-BE49-F238E27FC236}">
                        <a16:creationId xmlns:a16="http://schemas.microsoft.com/office/drawing/2014/main" id="{2A175064-E9AC-79D7-E0EB-443FC1633C6D}"/>
                      </a:ext>
                    </a:extLst>
                  </p:cNvPr>
                  <p:cNvGrpSpPr/>
                  <p:nvPr/>
                </p:nvGrpSpPr>
                <p:grpSpPr>
                  <a:xfrm>
                    <a:off x="5247163" y="2156745"/>
                    <a:ext cx="760666" cy="894492"/>
                    <a:chOff x="5247163" y="2156745"/>
                    <a:chExt cx="760666" cy="894492"/>
                  </a:xfrm>
                </p:grpSpPr>
                <p:sp>
                  <p:nvSpPr>
                    <p:cNvPr id="134" name="Freihandform: Form 133">
                      <a:extLst>
                        <a:ext uri="{FF2B5EF4-FFF2-40B4-BE49-F238E27FC236}">
                          <a16:creationId xmlns:a16="http://schemas.microsoft.com/office/drawing/2014/main" id="{391CFCCE-E5BA-A872-2877-D508E83A3887}"/>
                        </a:ext>
                      </a:extLst>
                    </p:cNvPr>
                    <p:cNvSpPr/>
                    <p:nvPr/>
                  </p:nvSpPr>
                  <p:spPr>
                    <a:xfrm rot="-864001">
                      <a:off x="5348448" y="2231745"/>
                      <a:ext cx="558069" cy="743997"/>
                    </a:xfrm>
                    <a:custGeom>
                      <a:avLst/>
                      <a:gdLst>
                        <a:gd name="connsiteX0" fmla="*/ 0 w 558069"/>
                        <a:gd name="connsiteY0" fmla="*/ 0 h 743997"/>
                        <a:gd name="connsiteX1" fmla="*/ 558070 w 558069"/>
                        <a:gd name="connsiteY1" fmla="*/ 0 h 743997"/>
                        <a:gd name="connsiteX2" fmla="*/ 558070 w 558069"/>
                        <a:gd name="connsiteY2" fmla="*/ 743998 h 743997"/>
                        <a:gd name="connsiteX3" fmla="*/ 0 w 558069"/>
                        <a:gd name="connsiteY3" fmla="*/ 743998 h 7439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558069" h="743997">
                          <a:moveTo>
                            <a:pt x="0" y="0"/>
                          </a:moveTo>
                          <a:lnTo>
                            <a:pt x="558070" y="0"/>
                          </a:lnTo>
                          <a:lnTo>
                            <a:pt x="558070" y="743998"/>
                          </a:lnTo>
                          <a:lnTo>
                            <a:pt x="0" y="743998"/>
                          </a:lnTo>
                          <a:close/>
                        </a:path>
                      </a:pathLst>
                    </a:custGeom>
                    <a:solidFill>
                      <a:srgbClr val="EC660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5" name="Freihandform: Form 134">
                      <a:extLst>
                        <a:ext uri="{FF2B5EF4-FFF2-40B4-BE49-F238E27FC236}">
                          <a16:creationId xmlns:a16="http://schemas.microsoft.com/office/drawing/2014/main" id="{4376915D-62D2-6D39-4408-737D97229BE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47163" y="2156745"/>
                      <a:ext cx="760666" cy="894492"/>
                    </a:xfrm>
                    <a:custGeom>
                      <a:avLst/>
                      <a:gdLst>
                        <a:gd name="connsiteX0" fmla="*/ 547688 w 760666"/>
                        <a:gd name="connsiteY0" fmla="*/ 35147 h 894492"/>
                        <a:gd name="connsiteX1" fmla="*/ 725519 w 760666"/>
                        <a:gd name="connsiteY1" fmla="*/ 727805 h 894492"/>
                        <a:gd name="connsiteX2" fmla="*/ 212979 w 760666"/>
                        <a:gd name="connsiteY2" fmla="*/ 859346 h 894492"/>
                        <a:gd name="connsiteX3" fmla="*/ 35147 w 760666"/>
                        <a:gd name="connsiteY3" fmla="*/ 166688 h 894492"/>
                        <a:gd name="connsiteX4" fmla="*/ 547688 w 760666"/>
                        <a:gd name="connsiteY4" fmla="*/ 35147 h 894492"/>
                        <a:gd name="connsiteX5" fmla="*/ 568452 w 760666"/>
                        <a:gd name="connsiteY5" fmla="*/ 0 h 894492"/>
                        <a:gd name="connsiteX6" fmla="*/ 0 w 760666"/>
                        <a:gd name="connsiteY6" fmla="*/ 145923 h 894492"/>
                        <a:gd name="connsiteX7" fmla="*/ 192119 w 760666"/>
                        <a:gd name="connsiteY7" fmla="*/ 894493 h 894492"/>
                        <a:gd name="connsiteX8" fmla="*/ 760667 w 760666"/>
                        <a:gd name="connsiteY8" fmla="*/ 748570 h 894492"/>
                        <a:gd name="connsiteX9" fmla="*/ 568547 w 760666"/>
                        <a:gd name="connsiteY9" fmla="*/ 0 h 894492"/>
                        <a:gd name="connsiteX10" fmla="*/ 568547 w 760666"/>
                        <a:gd name="connsiteY10" fmla="*/ 0 h 8944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760666" h="894492">
                          <a:moveTo>
                            <a:pt x="547688" y="35147"/>
                          </a:moveTo>
                          <a:lnTo>
                            <a:pt x="725519" y="727805"/>
                          </a:lnTo>
                          <a:lnTo>
                            <a:pt x="212979" y="859346"/>
                          </a:lnTo>
                          <a:lnTo>
                            <a:pt x="35147" y="166688"/>
                          </a:lnTo>
                          <a:lnTo>
                            <a:pt x="547688" y="35147"/>
                          </a:lnTo>
                          <a:moveTo>
                            <a:pt x="568452" y="0"/>
                          </a:moveTo>
                          <a:lnTo>
                            <a:pt x="0" y="145923"/>
                          </a:lnTo>
                          <a:lnTo>
                            <a:pt x="192119" y="894493"/>
                          </a:lnTo>
                          <a:lnTo>
                            <a:pt x="760667" y="748570"/>
                          </a:lnTo>
                          <a:lnTo>
                            <a:pt x="568547" y="0"/>
                          </a:lnTo>
                          <a:lnTo>
                            <a:pt x="568547" y="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132" name="Freihandform: Form 131">
                    <a:extLst>
                      <a:ext uri="{FF2B5EF4-FFF2-40B4-BE49-F238E27FC236}">
                        <a16:creationId xmlns:a16="http://schemas.microsoft.com/office/drawing/2014/main" id="{7CA9B0EE-7E36-9D12-B7FA-73160152BC25}"/>
                      </a:ext>
                    </a:extLst>
                  </p:cNvPr>
                  <p:cNvSpPr/>
                  <p:nvPr/>
                </p:nvSpPr>
                <p:spPr>
                  <a:xfrm>
                    <a:off x="5217159" y="2487929"/>
                    <a:ext cx="280518" cy="319373"/>
                  </a:xfrm>
                  <a:custGeom>
                    <a:avLst/>
                    <a:gdLst>
                      <a:gd name="connsiteX0" fmla="*/ 197168 w 280518"/>
                      <a:gd name="connsiteY0" fmla="*/ 99632 h 319373"/>
                      <a:gd name="connsiteX1" fmla="*/ 103727 w 280518"/>
                      <a:gd name="connsiteY1" fmla="*/ 102108 h 319373"/>
                      <a:gd name="connsiteX2" fmla="*/ 77534 w 280518"/>
                      <a:gd name="connsiteY2" fmla="*/ 0 h 319373"/>
                      <a:gd name="connsiteX3" fmla="*/ 0 w 280518"/>
                      <a:gd name="connsiteY3" fmla="*/ 109728 h 319373"/>
                      <a:gd name="connsiteX4" fmla="*/ 71152 w 280518"/>
                      <a:gd name="connsiteY4" fmla="*/ 315278 h 319373"/>
                      <a:gd name="connsiteX5" fmla="*/ 186785 w 280518"/>
                      <a:gd name="connsiteY5" fmla="*/ 319373 h 319373"/>
                      <a:gd name="connsiteX6" fmla="*/ 280226 w 280518"/>
                      <a:gd name="connsiteY6" fmla="*/ 239649 h 319373"/>
                      <a:gd name="connsiteX7" fmla="*/ 280511 w 280518"/>
                      <a:gd name="connsiteY7" fmla="*/ 130778 h 319373"/>
                      <a:gd name="connsiteX8" fmla="*/ 197263 w 280518"/>
                      <a:gd name="connsiteY8" fmla="*/ 99727 h 319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0518" h="319373">
                        <a:moveTo>
                          <a:pt x="197168" y="99632"/>
                        </a:moveTo>
                        <a:cubicBezTo>
                          <a:pt x="183547" y="102013"/>
                          <a:pt x="103727" y="102108"/>
                          <a:pt x="103727" y="102108"/>
                        </a:cubicBezTo>
                        <a:lnTo>
                          <a:pt x="77534" y="0"/>
                        </a:lnTo>
                        <a:lnTo>
                          <a:pt x="0" y="109728"/>
                        </a:lnTo>
                        <a:lnTo>
                          <a:pt x="71152" y="315278"/>
                        </a:lnTo>
                        <a:lnTo>
                          <a:pt x="186785" y="319373"/>
                        </a:lnTo>
                        <a:lnTo>
                          <a:pt x="280226" y="239649"/>
                        </a:lnTo>
                        <a:lnTo>
                          <a:pt x="280511" y="130778"/>
                        </a:lnTo>
                        <a:cubicBezTo>
                          <a:pt x="280511" y="130778"/>
                          <a:pt x="282988" y="84773"/>
                          <a:pt x="197263" y="99727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33" name="Freihandform: Form 132">
                    <a:extLst>
                      <a:ext uri="{FF2B5EF4-FFF2-40B4-BE49-F238E27FC236}">
                        <a16:creationId xmlns:a16="http://schemas.microsoft.com/office/drawing/2014/main" id="{79DB01DA-83F6-5458-C98B-0BCDBED0958E}"/>
                      </a:ext>
                    </a:extLst>
                  </p:cNvPr>
                  <p:cNvSpPr/>
                  <p:nvPr/>
                </p:nvSpPr>
                <p:spPr>
                  <a:xfrm rot="-326400">
                    <a:off x="5311589" y="2643866"/>
                    <a:ext cx="186594" cy="19240"/>
                  </a:xfrm>
                  <a:custGeom>
                    <a:avLst/>
                    <a:gdLst>
                      <a:gd name="connsiteX0" fmla="*/ 0 w 186594"/>
                      <a:gd name="connsiteY0" fmla="*/ 0 h 19240"/>
                      <a:gd name="connsiteX1" fmla="*/ 186595 w 186594"/>
                      <a:gd name="connsiteY1" fmla="*/ 0 h 19240"/>
                      <a:gd name="connsiteX2" fmla="*/ 186595 w 186594"/>
                      <a:gd name="connsiteY2" fmla="*/ 19241 h 19240"/>
                      <a:gd name="connsiteX3" fmla="*/ 0 w 186594"/>
                      <a:gd name="connsiteY3" fmla="*/ 19241 h 192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86594" h="19240">
                        <a:moveTo>
                          <a:pt x="0" y="0"/>
                        </a:moveTo>
                        <a:lnTo>
                          <a:pt x="186595" y="0"/>
                        </a:lnTo>
                        <a:lnTo>
                          <a:pt x="186595" y="19241"/>
                        </a:lnTo>
                        <a:lnTo>
                          <a:pt x="0" y="19241"/>
                        </a:lnTo>
                        <a:close/>
                      </a:path>
                    </a:pathLst>
                  </a:custGeom>
                  <a:solidFill>
                    <a:srgbClr val="F2BBB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2" name="Grafik 23">
                  <a:extLst>
                    <a:ext uri="{FF2B5EF4-FFF2-40B4-BE49-F238E27FC236}">
                      <a16:creationId xmlns:a16="http://schemas.microsoft.com/office/drawing/2014/main" id="{112D531E-C1E3-1140-449F-49086549F151}"/>
                    </a:ext>
                  </a:extLst>
                </p:cNvPr>
                <p:cNvGrpSpPr/>
                <p:nvPr/>
              </p:nvGrpSpPr>
              <p:grpSpPr>
                <a:xfrm>
                  <a:off x="6113093" y="1063436"/>
                  <a:ext cx="443757" cy="556066"/>
                  <a:chOff x="6113093" y="1063436"/>
                  <a:chExt cx="443757" cy="556066"/>
                </a:xfrm>
              </p:grpSpPr>
              <p:sp>
                <p:nvSpPr>
                  <p:cNvPr id="129" name="Freihandform: Form 128">
                    <a:extLst>
                      <a:ext uri="{FF2B5EF4-FFF2-40B4-BE49-F238E27FC236}">
                        <a16:creationId xmlns:a16="http://schemas.microsoft.com/office/drawing/2014/main" id="{ABA91FE2-DCC4-1C95-5144-CAB92CB14306}"/>
                      </a:ext>
                    </a:extLst>
                  </p:cNvPr>
                  <p:cNvSpPr/>
                  <p:nvPr/>
                </p:nvSpPr>
                <p:spPr>
                  <a:xfrm>
                    <a:off x="6113093" y="1063436"/>
                    <a:ext cx="443757" cy="556055"/>
                  </a:xfrm>
                  <a:custGeom>
                    <a:avLst/>
                    <a:gdLst>
                      <a:gd name="connsiteX0" fmla="*/ 443757 w 443757"/>
                      <a:gd name="connsiteY0" fmla="*/ 405604 h 556055"/>
                      <a:gd name="connsiteX1" fmla="*/ 129813 w 443757"/>
                      <a:gd name="connsiteY1" fmla="*/ 526953 h 556055"/>
                      <a:gd name="connsiteX2" fmla="*/ 1321 w 443757"/>
                      <a:gd name="connsiteY2" fmla="*/ 166717 h 556055"/>
                      <a:gd name="connsiteX3" fmla="*/ 315170 w 443757"/>
                      <a:gd name="connsiteY3" fmla="*/ 45369 h 556055"/>
                      <a:gd name="connsiteX4" fmla="*/ 443662 w 443757"/>
                      <a:gd name="connsiteY4" fmla="*/ 405604 h 5560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43757" h="556055">
                        <a:moveTo>
                          <a:pt x="443757" y="405604"/>
                        </a:moveTo>
                        <a:cubicBezTo>
                          <a:pt x="419373" y="524095"/>
                          <a:pt x="234779" y="600962"/>
                          <a:pt x="129813" y="526953"/>
                        </a:cubicBezTo>
                        <a:lnTo>
                          <a:pt x="1321" y="166717"/>
                        </a:lnTo>
                        <a:cubicBezTo>
                          <a:pt x="-21825" y="60323"/>
                          <a:pt x="266211" y="-70741"/>
                          <a:pt x="315170" y="45369"/>
                        </a:cubicBezTo>
                        <a:lnTo>
                          <a:pt x="443662" y="405604"/>
                        </a:ln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30" name="Freihandform: Form 129">
                    <a:extLst>
                      <a:ext uri="{FF2B5EF4-FFF2-40B4-BE49-F238E27FC236}">
                        <a16:creationId xmlns:a16="http://schemas.microsoft.com/office/drawing/2014/main" id="{EB970D96-3168-F178-F7FA-6D5125065D32}"/>
                      </a:ext>
                    </a:extLst>
                  </p:cNvPr>
                  <p:cNvSpPr/>
                  <p:nvPr/>
                </p:nvSpPr>
                <p:spPr>
                  <a:xfrm>
                    <a:off x="6228307" y="1200626"/>
                    <a:ext cx="328542" cy="418877"/>
                  </a:xfrm>
                  <a:custGeom>
                    <a:avLst/>
                    <a:gdLst>
                      <a:gd name="connsiteX0" fmla="*/ 232817 w 328542"/>
                      <a:gd name="connsiteY0" fmla="*/ 95 h 418877"/>
                      <a:gd name="connsiteX1" fmla="*/ 328543 w 328542"/>
                      <a:gd name="connsiteY1" fmla="*/ 268415 h 418877"/>
                      <a:gd name="connsiteX2" fmla="*/ 14599 w 328542"/>
                      <a:gd name="connsiteY2" fmla="*/ 389763 h 418877"/>
                      <a:gd name="connsiteX3" fmla="*/ 44222 w 328542"/>
                      <a:gd name="connsiteY3" fmla="*/ 223647 h 418877"/>
                      <a:gd name="connsiteX4" fmla="*/ 232817 w 328542"/>
                      <a:gd name="connsiteY4" fmla="*/ 0 h 4188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8542" h="418877">
                        <a:moveTo>
                          <a:pt x="232817" y="95"/>
                        </a:moveTo>
                        <a:lnTo>
                          <a:pt x="328543" y="268415"/>
                        </a:lnTo>
                        <a:cubicBezTo>
                          <a:pt x="304445" y="389001"/>
                          <a:pt x="117850" y="463010"/>
                          <a:pt x="14599" y="389763"/>
                        </a:cubicBezTo>
                        <a:cubicBezTo>
                          <a:pt x="14599" y="389763"/>
                          <a:pt x="-33216" y="270605"/>
                          <a:pt x="44222" y="223647"/>
                        </a:cubicBezTo>
                        <a:cubicBezTo>
                          <a:pt x="235579" y="107728"/>
                          <a:pt x="232817" y="0"/>
                          <a:pt x="232817" y="0"/>
                        </a:cubicBezTo>
                        <a:close/>
                      </a:path>
                    </a:pathLst>
                  </a:custGeom>
                  <a:solidFill>
                    <a:srgbClr val="F2BBB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3" name="Grafik 23">
                  <a:extLst>
                    <a:ext uri="{FF2B5EF4-FFF2-40B4-BE49-F238E27FC236}">
                      <a16:creationId xmlns:a16="http://schemas.microsoft.com/office/drawing/2014/main" id="{D34FC05B-3D3C-44CB-FA62-A72291723926}"/>
                    </a:ext>
                  </a:extLst>
                </p:cNvPr>
                <p:cNvGrpSpPr/>
                <p:nvPr/>
              </p:nvGrpSpPr>
              <p:grpSpPr>
                <a:xfrm>
                  <a:off x="5641758" y="1283398"/>
                  <a:ext cx="1290948" cy="4879390"/>
                  <a:chOff x="5641758" y="1283398"/>
                  <a:chExt cx="1290948" cy="4879390"/>
                </a:xfrm>
              </p:grpSpPr>
              <p:grpSp>
                <p:nvGrpSpPr>
                  <p:cNvPr id="104" name="Grafik 23">
                    <a:extLst>
                      <a:ext uri="{FF2B5EF4-FFF2-40B4-BE49-F238E27FC236}">
                        <a16:creationId xmlns:a16="http://schemas.microsoft.com/office/drawing/2014/main" id="{324193FC-2036-452C-6A79-844AAB28CD15}"/>
                      </a:ext>
                    </a:extLst>
                  </p:cNvPr>
                  <p:cNvGrpSpPr/>
                  <p:nvPr/>
                </p:nvGrpSpPr>
                <p:grpSpPr>
                  <a:xfrm>
                    <a:off x="5641758" y="5790657"/>
                    <a:ext cx="867562" cy="295550"/>
                    <a:chOff x="5641758" y="5790657"/>
                    <a:chExt cx="867562" cy="295550"/>
                  </a:xfrm>
                </p:grpSpPr>
                <p:sp>
                  <p:nvSpPr>
                    <p:cNvPr id="127" name="Freihandform: Form 126">
                      <a:extLst>
                        <a:ext uri="{FF2B5EF4-FFF2-40B4-BE49-F238E27FC236}">
                          <a16:creationId xmlns:a16="http://schemas.microsoft.com/office/drawing/2014/main" id="{01261866-D592-DA50-B776-EE674E33B3E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643447" y="5790657"/>
                      <a:ext cx="865764" cy="289407"/>
                    </a:xfrm>
                    <a:custGeom>
                      <a:avLst/>
                      <a:gdLst>
                        <a:gd name="connsiteX0" fmla="*/ 804913 w 865764"/>
                        <a:gd name="connsiteY0" fmla="*/ 28546 h 289407"/>
                        <a:gd name="connsiteX1" fmla="*/ 865683 w 865764"/>
                        <a:gd name="connsiteY1" fmla="*/ 170088 h 289407"/>
                        <a:gd name="connsiteX2" fmla="*/ 860063 w 865764"/>
                        <a:gd name="connsiteY2" fmla="*/ 253907 h 289407"/>
                        <a:gd name="connsiteX3" fmla="*/ 835393 w 865764"/>
                        <a:gd name="connsiteY3" fmla="*/ 276863 h 289407"/>
                        <a:gd name="connsiteX4" fmla="*/ 54629 w 865764"/>
                        <a:gd name="connsiteY4" fmla="*/ 249716 h 289407"/>
                        <a:gd name="connsiteX5" fmla="*/ 41865 w 865764"/>
                        <a:gd name="connsiteY5" fmla="*/ 132750 h 289407"/>
                        <a:gd name="connsiteX6" fmla="*/ 331140 w 865764"/>
                        <a:gd name="connsiteY6" fmla="*/ 83696 h 289407"/>
                        <a:gd name="connsiteX7" fmla="*/ 535927 w 865764"/>
                        <a:gd name="connsiteY7" fmla="*/ 829 h 289407"/>
                        <a:gd name="connsiteX8" fmla="*/ 592696 w 865764"/>
                        <a:gd name="connsiteY8" fmla="*/ 56931 h 289407"/>
                        <a:gd name="connsiteX9" fmla="*/ 725570 w 865764"/>
                        <a:gd name="connsiteY9" fmla="*/ 56931 h 289407"/>
                        <a:gd name="connsiteX10" fmla="*/ 805009 w 865764"/>
                        <a:gd name="connsiteY10" fmla="*/ 28546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804913" y="28546"/>
                          </a:moveTo>
                          <a:cubicBezTo>
                            <a:pt x="804913" y="28546"/>
                            <a:pt x="868350" y="92078"/>
                            <a:pt x="865683" y="170088"/>
                          </a:cubicBezTo>
                          <a:cubicBezTo>
                            <a:pt x="864254" y="210474"/>
                            <a:pt x="861968" y="237334"/>
                            <a:pt x="860063" y="253907"/>
                          </a:cubicBezTo>
                          <a:cubicBezTo>
                            <a:pt x="858634" y="266576"/>
                            <a:pt x="848157" y="276292"/>
                            <a:pt x="835393" y="276863"/>
                          </a:cubicBezTo>
                          <a:cubicBezTo>
                            <a:pt x="726808" y="281626"/>
                            <a:pt x="175025" y="314487"/>
                            <a:pt x="54629" y="249716"/>
                          </a:cubicBezTo>
                          <a:cubicBezTo>
                            <a:pt x="-60338" y="187899"/>
                            <a:pt x="41865" y="132750"/>
                            <a:pt x="41865" y="132750"/>
                          </a:cubicBezTo>
                          <a:cubicBezTo>
                            <a:pt x="41865" y="132750"/>
                            <a:pt x="216840" y="152752"/>
                            <a:pt x="331140" y="83696"/>
                          </a:cubicBezTo>
                          <a:cubicBezTo>
                            <a:pt x="432867" y="22260"/>
                            <a:pt x="517735" y="-5267"/>
                            <a:pt x="535927" y="829"/>
                          </a:cubicBezTo>
                          <a:cubicBezTo>
                            <a:pt x="554120" y="6924"/>
                            <a:pt x="560502" y="35499"/>
                            <a:pt x="592696" y="56931"/>
                          </a:cubicBezTo>
                          <a:cubicBezTo>
                            <a:pt x="624986" y="78457"/>
                            <a:pt x="663753" y="78457"/>
                            <a:pt x="725570" y="56931"/>
                          </a:cubicBezTo>
                          <a:cubicBezTo>
                            <a:pt x="787387" y="35404"/>
                            <a:pt x="786149" y="20450"/>
                            <a:pt x="805009" y="28546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8" name="Freihandform: Form 127">
                      <a:extLst>
                        <a:ext uri="{FF2B5EF4-FFF2-40B4-BE49-F238E27FC236}">
                          <a16:creationId xmlns:a16="http://schemas.microsoft.com/office/drawing/2014/main" id="{97630100-3ED9-283C-B403-212445EEA4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641758" y="5933027"/>
                      <a:ext cx="867562" cy="153180"/>
                    </a:xfrm>
                    <a:custGeom>
                      <a:avLst/>
                      <a:gdLst>
                        <a:gd name="connsiteX0" fmla="*/ 837463 w 867562"/>
                        <a:gd name="connsiteY0" fmla="*/ 153162 h 153180"/>
                        <a:gd name="connsiteX1" fmla="*/ 174904 w 867562"/>
                        <a:gd name="connsiteY1" fmla="*/ 152781 h 153180"/>
                        <a:gd name="connsiteX2" fmla="*/ 55746 w 867562"/>
                        <a:gd name="connsiteY2" fmla="*/ 116395 h 153180"/>
                        <a:gd name="connsiteX3" fmla="*/ 28600 w 867562"/>
                        <a:gd name="connsiteY3" fmla="*/ 0 h 153180"/>
                        <a:gd name="connsiteX4" fmla="*/ 68700 w 867562"/>
                        <a:gd name="connsiteY4" fmla="*/ 42291 h 153180"/>
                        <a:gd name="connsiteX5" fmla="*/ 867562 w 867562"/>
                        <a:gd name="connsiteY5" fmla="*/ 51245 h 153180"/>
                        <a:gd name="connsiteX6" fmla="*/ 862324 w 867562"/>
                        <a:gd name="connsiteY6" fmla="*/ 130016 h 153180"/>
                        <a:gd name="connsiteX7" fmla="*/ 837559 w 867562"/>
                        <a:gd name="connsiteY7" fmla="*/ 153162 h 15318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0">
                          <a:moveTo>
                            <a:pt x="837463" y="153162"/>
                          </a:moveTo>
                          <a:cubicBezTo>
                            <a:pt x="834987" y="153257"/>
                            <a:pt x="177000" y="152971"/>
                            <a:pt x="174904" y="152781"/>
                          </a:cubicBezTo>
                          <a:cubicBezTo>
                            <a:pt x="116325" y="147066"/>
                            <a:pt x="79750" y="129349"/>
                            <a:pt x="55746" y="116395"/>
                          </a:cubicBezTo>
                          <a:cubicBezTo>
                            <a:pt x="-30359" y="70104"/>
                            <a:pt x="2311" y="15907"/>
                            <a:pt x="28600" y="0"/>
                          </a:cubicBezTo>
                          <a:cubicBezTo>
                            <a:pt x="37173" y="9430"/>
                            <a:pt x="50032" y="32290"/>
                            <a:pt x="68700" y="42291"/>
                          </a:cubicBezTo>
                          <a:cubicBezTo>
                            <a:pt x="195859" y="110680"/>
                            <a:pt x="799173" y="56483"/>
                            <a:pt x="867562" y="51245"/>
                          </a:cubicBezTo>
                          <a:cubicBezTo>
                            <a:pt x="866134" y="85630"/>
                            <a:pt x="864133" y="114871"/>
                            <a:pt x="862324" y="130016"/>
                          </a:cubicBezTo>
                          <a:cubicBezTo>
                            <a:pt x="860895" y="142780"/>
                            <a:pt x="850417" y="152590"/>
                            <a:pt x="837559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105" name="Freihandform: Form 104">
                    <a:extLst>
                      <a:ext uri="{FF2B5EF4-FFF2-40B4-BE49-F238E27FC236}">
                        <a16:creationId xmlns:a16="http://schemas.microsoft.com/office/drawing/2014/main" id="{5131E663-2F05-7D06-0257-072C5027478B}"/>
                      </a:ext>
                    </a:extLst>
                  </p:cNvPr>
                  <p:cNvSpPr/>
                  <p:nvPr/>
                </p:nvSpPr>
                <p:spPr>
                  <a:xfrm>
                    <a:off x="5928417" y="2855975"/>
                    <a:ext cx="818567" cy="1866913"/>
                  </a:xfrm>
                  <a:custGeom>
                    <a:avLst/>
                    <a:gdLst>
                      <a:gd name="connsiteX0" fmla="*/ 781595 w 818567"/>
                      <a:gd name="connsiteY0" fmla="*/ 78581 h 1866913"/>
                      <a:gd name="connsiteX1" fmla="*/ 114750 w 818567"/>
                      <a:gd name="connsiteY1" fmla="*/ 0 h 1866913"/>
                      <a:gd name="connsiteX2" fmla="*/ 16166 w 818567"/>
                      <a:gd name="connsiteY2" fmla="*/ 936117 h 1866913"/>
                      <a:gd name="connsiteX3" fmla="*/ 9308 w 818567"/>
                      <a:gd name="connsiteY3" fmla="*/ 1796606 h 1866913"/>
                      <a:gd name="connsiteX4" fmla="*/ 521182 w 818567"/>
                      <a:gd name="connsiteY4" fmla="*/ 1815084 h 1866913"/>
                      <a:gd name="connsiteX5" fmla="*/ 781595 w 818567"/>
                      <a:gd name="connsiteY5" fmla="*/ 78486 h 18669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8567" h="1866913">
                        <a:moveTo>
                          <a:pt x="781595" y="78581"/>
                        </a:moveTo>
                        <a:cubicBezTo>
                          <a:pt x="772165" y="79820"/>
                          <a:pt x="114750" y="0"/>
                          <a:pt x="114750" y="0"/>
                        </a:cubicBezTo>
                        <a:cubicBezTo>
                          <a:pt x="114750" y="0"/>
                          <a:pt x="24453" y="770858"/>
                          <a:pt x="16166" y="936117"/>
                        </a:cubicBezTo>
                        <a:cubicBezTo>
                          <a:pt x="-15648" y="1569434"/>
                          <a:pt x="9308" y="1796606"/>
                          <a:pt x="9308" y="1796606"/>
                        </a:cubicBezTo>
                        <a:cubicBezTo>
                          <a:pt x="156184" y="1903952"/>
                          <a:pt x="356018" y="1870234"/>
                          <a:pt x="521182" y="1815084"/>
                        </a:cubicBezTo>
                        <a:cubicBezTo>
                          <a:pt x="633767" y="1093470"/>
                          <a:pt x="919898" y="808196"/>
                          <a:pt x="781595" y="78486"/>
                        </a:cubicBezTo>
                        <a:close/>
                      </a:path>
                    </a:pathLst>
                  </a:custGeom>
                  <a:solidFill>
                    <a:srgbClr val="004F4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6" name="Freihandform: Form 105">
                    <a:extLst>
                      <a:ext uri="{FF2B5EF4-FFF2-40B4-BE49-F238E27FC236}">
                        <a16:creationId xmlns:a16="http://schemas.microsoft.com/office/drawing/2014/main" id="{66A14D27-1178-BFB9-94F9-D3CE27BD8061}"/>
                      </a:ext>
                    </a:extLst>
                  </p:cNvPr>
                  <p:cNvSpPr/>
                  <p:nvPr/>
                </p:nvSpPr>
                <p:spPr>
                  <a:xfrm>
                    <a:off x="5936678" y="4541924"/>
                    <a:ext cx="619474" cy="1380816"/>
                  </a:xfrm>
                  <a:custGeom>
                    <a:avLst/>
                    <a:gdLst>
                      <a:gd name="connsiteX0" fmla="*/ 517588 w 619474"/>
                      <a:gd name="connsiteY0" fmla="*/ 67509 h 1380816"/>
                      <a:gd name="connsiteX1" fmla="*/ 599980 w 619474"/>
                      <a:gd name="connsiteY1" fmla="*/ 1058014 h 1380816"/>
                      <a:gd name="connsiteX2" fmla="*/ 567309 w 619474"/>
                      <a:gd name="connsiteY2" fmla="*/ 1380435 h 1380816"/>
                      <a:gd name="connsiteX3" fmla="*/ 263462 w 619474"/>
                      <a:gd name="connsiteY3" fmla="*/ 1347288 h 1380816"/>
                      <a:gd name="connsiteX4" fmla="*/ 50292 w 619474"/>
                      <a:gd name="connsiteY4" fmla="*/ 1324809 h 1380816"/>
                      <a:gd name="connsiteX5" fmla="*/ 62008 w 619474"/>
                      <a:gd name="connsiteY5" fmla="*/ 870086 h 1380816"/>
                      <a:gd name="connsiteX6" fmla="*/ 0 w 619474"/>
                      <a:gd name="connsiteY6" fmla="*/ 98275 h 1380816"/>
                      <a:gd name="connsiteX7" fmla="*/ 517588 w 619474"/>
                      <a:gd name="connsiteY7" fmla="*/ 67414 h 13808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19474" h="1380816">
                        <a:moveTo>
                          <a:pt x="517588" y="67509"/>
                        </a:moveTo>
                        <a:cubicBezTo>
                          <a:pt x="608171" y="426887"/>
                          <a:pt x="582644" y="878944"/>
                          <a:pt x="599980" y="1058014"/>
                        </a:cubicBezTo>
                        <a:cubicBezTo>
                          <a:pt x="610553" y="1167361"/>
                          <a:pt x="652081" y="1391293"/>
                          <a:pt x="567309" y="1380435"/>
                        </a:cubicBezTo>
                        <a:cubicBezTo>
                          <a:pt x="503491" y="1366910"/>
                          <a:pt x="391287" y="1357956"/>
                          <a:pt x="263462" y="1347288"/>
                        </a:cubicBezTo>
                        <a:cubicBezTo>
                          <a:pt x="135636" y="1336525"/>
                          <a:pt x="50292" y="1324809"/>
                          <a:pt x="50292" y="1324809"/>
                        </a:cubicBezTo>
                        <a:cubicBezTo>
                          <a:pt x="50292" y="1324809"/>
                          <a:pt x="63722" y="926093"/>
                          <a:pt x="62008" y="870086"/>
                        </a:cubicBezTo>
                        <a:cubicBezTo>
                          <a:pt x="60293" y="814079"/>
                          <a:pt x="0" y="98275"/>
                          <a:pt x="0" y="98275"/>
                        </a:cubicBezTo>
                        <a:cubicBezTo>
                          <a:pt x="154305" y="-12501"/>
                          <a:pt x="355473" y="-38980"/>
                          <a:pt x="517588" y="67414"/>
                        </a:cubicBezTo>
                        <a:close/>
                      </a:path>
                    </a:pathLst>
                  </a:custGeom>
                  <a:solidFill>
                    <a:srgbClr val="004F4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7" name="Freihandform: Form 106">
                    <a:extLst>
                      <a:ext uri="{FF2B5EF4-FFF2-40B4-BE49-F238E27FC236}">
                        <a16:creationId xmlns:a16="http://schemas.microsoft.com/office/drawing/2014/main" id="{B8BF8ECD-F317-9AF7-9F10-2DBB3C019DD9}"/>
                      </a:ext>
                    </a:extLst>
                  </p:cNvPr>
                  <p:cNvSpPr/>
                  <p:nvPr/>
                </p:nvSpPr>
                <p:spPr>
                  <a:xfrm>
                    <a:off x="5935820" y="4361211"/>
                    <a:ext cx="518731" cy="518731"/>
                  </a:xfrm>
                  <a:custGeom>
                    <a:avLst/>
                    <a:gdLst>
                      <a:gd name="connsiteX0" fmla="*/ 518731 w 518731"/>
                      <a:gd name="connsiteY0" fmla="*/ 259366 h 518731"/>
                      <a:gd name="connsiteX1" fmla="*/ 259366 w 518731"/>
                      <a:gd name="connsiteY1" fmla="*/ 518732 h 518731"/>
                      <a:gd name="connsiteX2" fmla="*/ 0 w 518731"/>
                      <a:gd name="connsiteY2" fmla="*/ 259366 h 518731"/>
                      <a:gd name="connsiteX3" fmla="*/ 259366 w 518731"/>
                      <a:gd name="connsiteY3" fmla="*/ 0 h 518731"/>
                      <a:gd name="connsiteX4" fmla="*/ 518731 w 518731"/>
                      <a:gd name="connsiteY4" fmla="*/ 259366 h 5187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8731" h="518731">
                        <a:moveTo>
                          <a:pt x="518731" y="259366"/>
                        </a:moveTo>
                        <a:cubicBezTo>
                          <a:pt x="518731" y="402610"/>
                          <a:pt x="402610" y="518732"/>
                          <a:pt x="259366" y="518732"/>
                        </a:cubicBezTo>
                        <a:cubicBezTo>
                          <a:pt x="116122" y="518732"/>
                          <a:pt x="0" y="402610"/>
                          <a:pt x="0" y="259366"/>
                        </a:cubicBezTo>
                        <a:cubicBezTo>
                          <a:pt x="0" y="116122"/>
                          <a:pt x="116122" y="0"/>
                          <a:pt x="259366" y="0"/>
                        </a:cubicBezTo>
                        <a:cubicBezTo>
                          <a:pt x="402610" y="0"/>
                          <a:pt x="518731" y="116122"/>
                          <a:pt x="518731" y="259366"/>
                        </a:cubicBezTo>
                        <a:close/>
                      </a:path>
                    </a:pathLst>
                  </a:custGeom>
                  <a:solidFill>
                    <a:srgbClr val="004F4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8" name="Freihandform: Form 107">
                    <a:extLst>
                      <a:ext uri="{FF2B5EF4-FFF2-40B4-BE49-F238E27FC236}">
                        <a16:creationId xmlns:a16="http://schemas.microsoft.com/office/drawing/2014/main" id="{157F548F-1305-C06E-5B7E-E9782B9E5D32}"/>
                      </a:ext>
                    </a:extLst>
                  </p:cNvPr>
                  <p:cNvSpPr/>
                  <p:nvPr/>
                </p:nvSpPr>
                <p:spPr>
                  <a:xfrm>
                    <a:off x="5919437" y="2908934"/>
                    <a:ext cx="808810" cy="1901431"/>
                  </a:xfrm>
                  <a:custGeom>
                    <a:avLst/>
                    <a:gdLst>
                      <a:gd name="connsiteX0" fmla="*/ 669798 w 808810"/>
                      <a:gd name="connsiteY0" fmla="*/ 0 h 1901431"/>
                      <a:gd name="connsiteX1" fmla="*/ 0 w 808810"/>
                      <a:gd name="connsiteY1" fmla="*/ 48197 h 1901431"/>
                      <a:gd name="connsiteX2" fmla="*/ 79248 w 808810"/>
                      <a:gd name="connsiteY2" fmla="*/ 986219 h 1901431"/>
                      <a:gd name="connsiteX3" fmla="*/ 239078 w 808810"/>
                      <a:gd name="connsiteY3" fmla="*/ 1844231 h 1901431"/>
                      <a:gd name="connsiteX4" fmla="*/ 750094 w 808810"/>
                      <a:gd name="connsiteY4" fmla="*/ 1836325 h 1901431"/>
                      <a:gd name="connsiteX5" fmla="*/ 669798 w 808810"/>
                      <a:gd name="connsiteY5" fmla="*/ 0 h 19014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08810" h="1901431">
                        <a:moveTo>
                          <a:pt x="669798" y="0"/>
                        </a:moveTo>
                        <a:cubicBezTo>
                          <a:pt x="660749" y="3048"/>
                          <a:pt x="0" y="48197"/>
                          <a:pt x="0" y="48197"/>
                        </a:cubicBezTo>
                        <a:cubicBezTo>
                          <a:pt x="0" y="48197"/>
                          <a:pt x="56293" y="822293"/>
                          <a:pt x="79248" y="986219"/>
                        </a:cubicBezTo>
                        <a:cubicBezTo>
                          <a:pt x="167069" y="1614202"/>
                          <a:pt x="239078" y="1844231"/>
                          <a:pt x="239078" y="1844231"/>
                        </a:cubicBezTo>
                        <a:cubicBezTo>
                          <a:pt x="403574" y="1921955"/>
                          <a:pt x="598265" y="1921574"/>
                          <a:pt x="750094" y="1836325"/>
                        </a:cubicBezTo>
                        <a:cubicBezTo>
                          <a:pt x="724948" y="1106329"/>
                          <a:pt x="942880" y="690658"/>
                          <a:pt x="669798" y="0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109" name="Grafik 23">
                    <a:extLst>
                      <a:ext uri="{FF2B5EF4-FFF2-40B4-BE49-F238E27FC236}">
                        <a16:creationId xmlns:a16="http://schemas.microsoft.com/office/drawing/2014/main" id="{0E057949-CED8-1618-C631-45152245DC3A}"/>
                      </a:ext>
                    </a:extLst>
                  </p:cNvPr>
                  <p:cNvGrpSpPr/>
                  <p:nvPr/>
                </p:nvGrpSpPr>
                <p:grpSpPr>
                  <a:xfrm>
                    <a:off x="5802540" y="5867238"/>
                    <a:ext cx="867562" cy="295551"/>
                    <a:chOff x="5802540" y="5867238"/>
                    <a:chExt cx="867562" cy="295551"/>
                  </a:xfrm>
                </p:grpSpPr>
                <p:sp>
                  <p:nvSpPr>
                    <p:cNvPr id="125" name="Freihandform: Form 124">
                      <a:extLst>
                        <a:ext uri="{FF2B5EF4-FFF2-40B4-BE49-F238E27FC236}">
                          <a16:creationId xmlns:a16="http://schemas.microsoft.com/office/drawing/2014/main" id="{0A5859A6-8621-345F-8E7E-E24F0450526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04134" y="5867238"/>
                      <a:ext cx="865764" cy="289407"/>
                    </a:xfrm>
                    <a:custGeom>
                      <a:avLst/>
                      <a:gdLst>
                        <a:gd name="connsiteX0" fmla="*/ 804913 w 865764"/>
                        <a:gd name="connsiteY0" fmla="*/ 28546 h 289407"/>
                        <a:gd name="connsiteX1" fmla="*/ 865683 w 865764"/>
                        <a:gd name="connsiteY1" fmla="*/ 170088 h 289407"/>
                        <a:gd name="connsiteX2" fmla="*/ 860063 w 865764"/>
                        <a:gd name="connsiteY2" fmla="*/ 253908 h 289407"/>
                        <a:gd name="connsiteX3" fmla="*/ 835393 w 865764"/>
                        <a:gd name="connsiteY3" fmla="*/ 276863 h 289407"/>
                        <a:gd name="connsiteX4" fmla="*/ 54629 w 865764"/>
                        <a:gd name="connsiteY4" fmla="*/ 249717 h 289407"/>
                        <a:gd name="connsiteX5" fmla="*/ 41866 w 865764"/>
                        <a:gd name="connsiteY5" fmla="*/ 132750 h 289407"/>
                        <a:gd name="connsiteX6" fmla="*/ 331140 w 865764"/>
                        <a:gd name="connsiteY6" fmla="*/ 83696 h 289407"/>
                        <a:gd name="connsiteX7" fmla="*/ 535927 w 865764"/>
                        <a:gd name="connsiteY7" fmla="*/ 829 h 289407"/>
                        <a:gd name="connsiteX8" fmla="*/ 592696 w 865764"/>
                        <a:gd name="connsiteY8" fmla="*/ 56931 h 289407"/>
                        <a:gd name="connsiteX9" fmla="*/ 725570 w 865764"/>
                        <a:gd name="connsiteY9" fmla="*/ 56931 h 289407"/>
                        <a:gd name="connsiteX10" fmla="*/ 805009 w 865764"/>
                        <a:gd name="connsiteY10" fmla="*/ 28546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804913" y="28546"/>
                          </a:moveTo>
                          <a:cubicBezTo>
                            <a:pt x="804913" y="28546"/>
                            <a:pt x="868350" y="92078"/>
                            <a:pt x="865683" y="170088"/>
                          </a:cubicBezTo>
                          <a:cubicBezTo>
                            <a:pt x="864254" y="210474"/>
                            <a:pt x="861968" y="237335"/>
                            <a:pt x="860063" y="253908"/>
                          </a:cubicBezTo>
                          <a:cubicBezTo>
                            <a:pt x="858634" y="266576"/>
                            <a:pt x="848157" y="276292"/>
                            <a:pt x="835393" y="276863"/>
                          </a:cubicBezTo>
                          <a:cubicBezTo>
                            <a:pt x="726808" y="281626"/>
                            <a:pt x="175025" y="314487"/>
                            <a:pt x="54629" y="249717"/>
                          </a:cubicBezTo>
                          <a:cubicBezTo>
                            <a:pt x="-60338" y="187900"/>
                            <a:pt x="41866" y="132750"/>
                            <a:pt x="41866" y="132750"/>
                          </a:cubicBezTo>
                          <a:cubicBezTo>
                            <a:pt x="41866" y="132750"/>
                            <a:pt x="216840" y="152753"/>
                            <a:pt x="331140" y="83696"/>
                          </a:cubicBezTo>
                          <a:cubicBezTo>
                            <a:pt x="432867" y="22260"/>
                            <a:pt x="517735" y="-5267"/>
                            <a:pt x="535927" y="829"/>
                          </a:cubicBezTo>
                          <a:cubicBezTo>
                            <a:pt x="554120" y="6925"/>
                            <a:pt x="560502" y="35500"/>
                            <a:pt x="592696" y="56931"/>
                          </a:cubicBezTo>
                          <a:cubicBezTo>
                            <a:pt x="624986" y="78457"/>
                            <a:pt x="663753" y="78457"/>
                            <a:pt x="725570" y="56931"/>
                          </a:cubicBezTo>
                          <a:cubicBezTo>
                            <a:pt x="787387" y="35405"/>
                            <a:pt x="786149" y="20450"/>
                            <a:pt x="805009" y="28546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6" name="Freihandform: Form 125">
                      <a:extLst>
                        <a:ext uri="{FF2B5EF4-FFF2-40B4-BE49-F238E27FC236}">
                          <a16:creationId xmlns:a16="http://schemas.microsoft.com/office/drawing/2014/main" id="{E7D9CB5E-66B1-CF22-2EBC-3D1228C3056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02540" y="6009608"/>
                      <a:ext cx="867562" cy="153181"/>
                    </a:xfrm>
                    <a:custGeom>
                      <a:avLst/>
                      <a:gdLst>
                        <a:gd name="connsiteX0" fmla="*/ 837463 w 867562"/>
                        <a:gd name="connsiteY0" fmla="*/ 153162 h 153181"/>
                        <a:gd name="connsiteX1" fmla="*/ 174904 w 867562"/>
                        <a:gd name="connsiteY1" fmla="*/ 152781 h 153181"/>
                        <a:gd name="connsiteX2" fmla="*/ 55746 w 867562"/>
                        <a:gd name="connsiteY2" fmla="*/ 116396 h 153181"/>
                        <a:gd name="connsiteX3" fmla="*/ 28600 w 867562"/>
                        <a:gd name="connsiteY3" fmla="*/ 0 h 153181"/>
                        <a:gd name="connsiteX4" fmla="*/ 68701 w 867562"/>
                        <a:gd name="connsiteY4" fmla="*/ 42291 h 153181"/>
                        <a:gd name="connsiteX5" fmla="*/ 867562 w 867562"/>
                        <a:gd name="connsiteY5" fmla="*/ 51245 h 153181"/>
                        <a:gd name="connsiteX6" fmla="*/ 862324 w 867562"/>
                        <a:gd name="connsiteY6" fmla="*/ 130016 h 153181"/>
                        <a:gd name="connsiteX7" fmla="*/ 837559 w 867562"/>
                        <a:gd name="connsiteY7" fmla="*/ 153162 h 1531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1">
                          <a:moveTo>
                            <a:pt x="837463" y="153162"/>
                          </a:moveTo>
                          <a:cubicBezTo>
                            <a:pt x="834987" y="153258"/>
                            <a:pt x="177000" y="152971"/>
                            <a:pt x="174904" y="152781"/>
                          </a:cubicBezTo>
                          <a:cubicBezTo>
                            <a:pt x="116326" y="147066"/>
                            <a:pt x="79750" y="129350"/>
                            <a:pt x="55746" y="116396"/>
                          </a:cubicBezTo>
                          <a:cubicBezTo>
                            <a:pt x="-30359" y="70104"/>
                            <a:pt x="2311" y="15907"/>
                            <a:pt x="28600" y="0"/>
                          </a:cubicBezTo>
                          <a:cubicBezTo>
                            <a:pt x="37173" y="9430"/>
                            <a:pt x="50031" y="32290"/>
                            <a:pt x="68701" y="42291"/>
                          </a:cubicBezTo>
                          <a:cubicBezTo>
                            <a:pt x="195859" y="110680"/>
                            <a:pt x="799173" y="56483"/>
                            <a:pt x="867562" y="51245"/>
                          </a:cubicBezTo>
                          <a:cubicBezTo>
                            <a:pt x="866134" y="85630"/>
                            <a:pt x="864133" y="114871"/>
                            <a:pt x="862324" y="130016"/>
                          </a:cubicBezTo>
                          <a:cubicBezTo>
                            <a:pt x="860895" y="142780"/>
                            <a:pt x="850417" y="152591"/>
                            <a:pt x="837559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110" name="Freihandform: Form 109">
                    <a:extLst>
                      <a:ext uri="{FF2B5EF4-FFF2-40B4-BE49-F238E27FC236}">
                        <a16:creationId xmlns:a16="http://schemas.microsoft.com/office/drawing/2014/main" id="{75AC20F1-3680-59A6-8A30-160BFDFCD3C3}"/>
                      </a:ext>
                    </a:extLst>
                  </p:cNvPr>
                  <p:cNvSpPr/>
                  <p:nvPr/>
                </p:nvSpPr>
                <p:spPr>
                  <a:xfrm>
                    <a:off x="6158610" y="4661673"/>
                    <a:ext cx="568148" cy="1321932"/>
                  </a:xfrm>
                  <a:custGeom>
                    <a:avLst/>
                    <a:gdLst>
                      <a:gd name="connsiteX0" fmla="*/ 503015 w 568148"/>
                      <a:gd name="connsiteY0" fmla="*/ 1321932 h 1321932"/>
                      <a:gd name="connsiteX1" fmla="*/ 12763 w 568148"/>
                      <a:gd name="connsiteY1" fmla="*/ 1268402 h 1321932"/>
                      <a:gd name="connsiteX2" fmla="*/ 0 w 568148"/>
                      <a:gd name="connsiteY2" fmla="*/ 91492 h 1321932"/>
                      <a:gd name="connsiteX3" fmla="*/ 510254 w 568148"/>
                      <a:gd name="connsiteY3" fmla="*/ 73109 h 1321932"/>
                      <a:gd name="connsiteX4" fmla="*/ 566547 w 568148"/>
                      <a:gd name="connsiteY4" fmla="*/ 1067710 h 1321932"/>
                      <a:gd name="connsiteX5" fmla="*/ 503015 w 568148"/>
                      <a:gd name="connsiteY5" fmla="*/ 1321932 h 13219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68148" h="1321932">
                        <a:moveTo>
                          <a:pt x="503015" y="1321932"/>
                        </a:moveTo>
                        <a:lnTo>
                          <a:pt x="12763" y="1268402"/>
                        </a:lnTo>
                        <a:cubicBezTo>
                          <a:pt x="13526" y="1249828"/>
                          <a:pt x="0" y="91492"/>
                          <a:pt x="0" y="91492"/>
                        </a:cubicBezTo>
                        <a:cubicBezTo>
                          <a:pt x="157544" y="-14616"/>
                          <a:pt x="351473" y="-38238"/>
                          <a:pt x="510254" y="73109"/>
                        </a:cubicBezTo>
                        <a:cubicBezTo>
                          <a:pt x="589884" y="435059"/>
                          <a:pt x="554641" y="888164"/>
                          <a:pt x="566547" y="1067710"/>
                        </a:cubicBezTo>
                        <a:cubicBezTo>
                          <a:pt x="573596" y="1174295"/>
                          <a:pt x="558260" y="1277069"/>
                          <a:pt x="503015" y="1321932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1" name="Freihandform: Form 110">
                    <a:extLst>
                      <a:ext uri="{FF2B5EF4-FFF2-40B4-BE49-F238E27FC236}">
                        <a16:creationId xmlns:a16="http://schemas.microsoft.com/office/drawing/2014/main" id="{0ED0BF8C-734C-1C10-5335-348D2EC132E2}"/>
                      </a:ext>
                    </a:extLst>
                  </p:cNvPr>
                  <p:cNvSpPr/>
                  <p:nvPr/>
                </p:nvSpPr>
                <p:spPr>
                  <a:xfrm>
                    <a:off x="5826187" y="1414081"/>
                    <a:ext cx="1017222" cy="2754820"/>
                  </a:xfrm>
                  <a:custGeom>
                    <a:avLst/>
                    <a:gdLst>
                      <a:gd name="connsiteX0" fmla="*/ 970979 w 1017222"/>
                      <a:gd name="connsiteY0" fmla="*/ 2051971 h 2754820"/>
                      <a:gd name="connsiteX1" fmla="*/ 920591 w 1017222"/>
                      <a:gd name="connsiteY1" fmla="*/ 1125093 h 2754820"/>
                      <a:gd name="connsiteX2" fmla="*/ 1016603 w 1017222"/>
                      <a:gd name="connsiteY2" fmla="*/ 413575 h 2754820"/>
                      <a:gd name="connsiteX3" fmla="*/ 730663 w 1017222"/>
                      <a:gd name="connsiteY3" fmla="*/ 0 h 2754820"/>
                      <a:gd name="connsiteX4" fmla="*/ 304990 w 1017222"/>
                      <a:gd name="connsiteY4" fmla="*/ 152210 h 2754820"/>
                      <a:gd name="connsiteX5" fmla="*/ 89821 w 1017222"/>
                      <a:gd name="connsiteY5" fmla="*/ 676370 h 2754820"/>
                      <a:gd name="connsiteX6" fmla="*/ 47149 w 1017222"/>
                      <a:gd name="connsiteY6" fmla="*/ 1569911 h 2754820"/>
                      <a:gd name="connsiteX7" fmla="*/ 0 w 1017222"/>
                      <a:gd name="connsiteY7" fmla="*/ 2754821 h 2754820"/>
                      <a:gd name="connsiteX8" fmla="*/ 971931 w 1017222"/>
                      <a:gd name="connsiteY8" fmla="*/ 2754821 h 2754820"/>
                      <a:gd name="connsiteX9" fmla="*/ 971074 w 1017222"/>
                      <a:gd name="connsiteY9" fmla="*/ 2051971 h 27548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17222" h="2754820">
                        <a:moveTo>
                          <a:pt x="970979" y="2051971"/>
                        </a:moveTo>
                        <a:cubicBezTo>
                          <a:pt x="955738" y="1788604"/>
                          <a:pt x="920591" y="1125093"/>
                          <a:pt x="920591" y="1125093"/>
                        </a:cubicBezTo>
                        <a:cubicBezTo>
                          <a:pt x="920591" y="1125093"/>
                          <a:pt x="1026224" y="587693"/>
                          <a:pt x="1016603" y="413575"/>
                        </a:cubicBezTo>
                        <a:cubicBezTo>
                          <a:pt x="1004792" y="198882"/>
                          <a:pt x="730663" y="0"/>
                          <a:pt x="730663" y="0"/>
                        </a:cubicBezTo>
                        <a:lnTo>
                          <a:pt x="304990" y="152210"/>
                        </a:lnTo>
                        <a:cubicBezTo>
                          <a:pt x="304990" y="152210"/>
                          <a:pt x="117920" y="422339"/>
                          <a:pt x="89821" y="676370"/>
                        </a:cubicBezTo>
                        <a:cubicBezTo>
                          <a:pt x="79438" y="770477"/>
                          <a:pt x="47149" y="1569911"/>
                          <a:pt x="47149" y="1569911"/>
                        </a:cubicBezTo>
                        <a:lnTo>
                          <a:pt x="0" y="2754821"/>
                        </a:lnTo>
                        <a:lnTo>
                          <a:pt x="971931" y="2754821"/>
                        </a:lnTo>
                        <a:cubicBezTo>
                          <a:pt x="974979" y="2647188"/>
                          <a:pt x="983933" y="2275332"/>
                          <a:pt x="971074" y="205197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2" name="Freihandform: Form 111">
                    <a:extLst>
                      <a:ext uri="{FF2B5EF4-FFF2-40B4-BE49-F238E27FC236}">
                        <a16:creationId xmlns:a16="http://schemas.microsoft.com/office/drawing/2014/main" id="{D1A8B36A-7CC9-2290-D2E7-C4FC7B9517C0}"/>
                      </a:ext>
                    </a:extLst>
                  </p:cNvPr>
                  <p:cNvSpPr/>
                  <p:nvPr/>
                </p:nvSpPr>
                <p:spPr>
                  <a:xfrm>
                    <a:off x="6305112" y="1691910"/>
                    <a:ext cx="526126" cy="1486891"/>
                  </a:xfrm>
                  <a:custGeom>
                    <a:avLst/>
                    <a:gdLst>
                      <a:gd name="connsiteX0" fmla="*/ 19614 w 526126"/>
                      <a:gd name="connsiteY0" fmla="*/ 1445148 h 1486891"/>
                      <a:gd name="connsiteX1" fmla="*/ 137248 w 526126"/>
                      <a:gd name="connsiteY1" fmla="*/ 933084 h 1486891"/>
                      <a:gd name="connsiteX2" fmla="*/ 138772 w 526126"/>
                      <a:gd name="connsiteY2" fmla="*/ 280431 h 1486891"/>
                      <a:gd name="connsiteX3" fmla="*/ 303745 w 526126"/>
                      <a:gd name="connsiteY3" fmla="*/ 2301 h 1486891"/>
                      <a:gd name="connsiteX4" fmla="*/ 495483 w 526126"/>
                      <a:gd name="connsiteY4" fmla="*/ 907081 h 1486891"/>
                      <a:gd name="connsiteX5" fmla="*/ 19709 w 526126"/>
                      <a:gd name="connsiteY5" fmla="*/ 1445148 h 14868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26126" h="1486891">
                        <a:moveTo>
                          <a:pt x="19614" y="1445148"/>
                        </a:moveTo>
                        <a:cubicBezTo>
                          <a:pt x="-18676" y="1405715"/>
                          <a:pt x="-11342" y="1230740"/>
                          <a:pt x="137248" y="933084"/>
                        </a:cubicBezTo>
                        <a:cubicBezTo>
                          <a:pt x="221640" y="764015"/>
                          <a:pt x="80479" y="592661"/>
                          <a:pt x="138772" y="280431"/>
                        </a:cubicBezTo>
                        <a:cubicBezTo>
                          <a:pt x="187921" y="17160"/>
                          <a:pt x="303745" y="2301"/>
                          <a:pt x="303745" y="2301"/>
                        </a:cubicBezTo>
                        <a:cubicBezTo>
                          <a:pt x="587971" y="-37609"/>
                          <a:pt x="532726" y="448738"/>
                          <a:pt x="495483" y="907081"/>
                        </a:cubicBezTo>
                        <a:cubicBezTo>
                          <a:pt x="458622" y="1164161"/>
                          <a:pt x="197446" y="1628409"/>
                          <a:pt x="19709" y="1445148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3" name="Freihandform: Form 112">
                    <a:extLst>
                      <a:ext uri="{FF2B5EF4-FFF2-40B4-BE49-F238E27FC236}">
                        <a16:creationId xmlns:a16="http://schemas.microsoft.com/office/drawing/2014/main" id="{C028D161-471C-9E53-4680-E763CF79A306}"/>
                      </a:ext>
                    </a:extLst>
                  </p:cNvPr>
                  <p:cNvSpPr/>
                  <p:nvPr/>
                </p:nvSpPr>
                <p:spPr>
                  <a:xfrm>
                    <a:off x="5978873" y="3209639"/>
                    <a:ext cx="629697" cy="576707"/>
                  </a:xfrm>
                  <a:custGeom>
                    <a:avLst/>
                    <a:gdLst>
                      <a:gd name="connsiteX0" fmla="*/ 95 w 629697"/>
                      <a:gd name="connsiteY0" fmla="*/ 504635 h 576707"/>
                      <a:gd name="connsiteX1" fmla="*/ 629698 w 629697"/>
                      <a:gd name="connsiteY1" fmla="*/ 546068 h 576707"/>
                      <a:gd name="connsiteX2" fmla="*/ 581787 w 629697"/>
                      <a:gd name="connsiteY2" fmla="*/ 0 h 576707"/>
                      <a:gd name="connsiteX3" fmla="*/ 176784 w 629697"/>
                      <a:gd name="connsiteY3" fmla="*/ 3143 h 576707"/>
                      <a:gd name="connsiteX4" fmla="*/ 0 w 629697"/>
                      <a:gd name="connsiteY4" fmla="*/ 504635 h 5767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29697" h="576707">
                        <a:moveTo>
                          <a:pt x="95" y="504635"/>
                        </a:moveTo>
                        <a:cubicBezTo>
                          <a:pt x="33719" y="584645"/>
                          <a:pt x="487013" y="597408"/>
                          <a:pt x="629698" y="546068"/>
                        </a:cubicBezTo>
                        <a:lnTo>
                          <a:pt x="581787" y="0"/>
                        </a:lnTo>
                        <a:lnTo>
                          <a:pt x="176784" y="3143"/>
                        </a:lnTo>
                        <a:lnTo>
                          <a:pt x="0" y="504635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4" name="Freihandform: Form 113">
                    <a:extLst>
                      <a:ext uri="{FF2B5EF4-FFF2-40B4-BE49-F238E27FC236}">
                        <a16:creationId xmlns:a16="http://schemas.microsoft.com/office/drawing/2014/main" id="{A2BC78E2-C850-5552-947B-1FDB432A72C3}"/>
                      </a:ext>
                    </a:extLst>
                  </p:cNvPr>
                  <p:cNvSpPr/>
                  <p:nvPr/>
                </p:nvSpPr>
                <p:spPr>
                  <a:xfrm>
                    <a:off x="6099654" y="1283398"/>
                    <a:ext cx="466244" cy="530066"/>
                  </a:xfrm>
                  <a:custGeom>
                    <a:avLst/>
                    <a:gdLst>
                      <a:gd name="connsiteX0" fmla="*/ 466245 w 466244"/>
                      <a:gd name="connsiteY0" fmla="*/ 179546 h 530066"/>
                      <a:gd name="connsiteX1" fmla="*/ 449481 w 466244"/>
                      <a:gd name="connsiteY1" fmla="*/ 0 h 530066"/>
                      <a:gd name="connsiteX2" fmla="*/ 5711 w 466244"/>
                      <a:gd name="connsiteY2" fmla="*/ 288417 h 530066"/>
                      <a:gd name="connsiteX3" fmla="*/ 38096 w 466244"/>
                      <a:gd name="connsiteY3" fmla="*/ 530066 h 530066"/>
                      <a:gd name="connsiteX4" fmla="*/ 466245 w 466244"/>
                      <a:gd name="connsiteY4" fmla="*/ 179546 h 5300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66244" h="530066">
                        <a:moveTo>
                          <a:pt x="466245" y="179546"/>
                        </a:moveTo>
                        <a:lnTo>
                          <a:pt x="449481" y="0"/>
                        </a:lnTo>
                        <a:cubicBezTo>
                          <a:pt x="449481" y="0"/>
                          <a:pt x="94579" y="177165"/>
                          <a:pt x="5711" y="288417"/>
                        </a:cubicBezTo>
                        <a:cubicBezTo>
                          <a:pt x="-17625" y="317659"/>
                          <a:pt x="38096" y="530066"/>
                          <a:pt x="38096" y="530066"/>
                        </a:cubicBezTo>
                        <a:lnTo>
                          <a:pt x="466245" y="17954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5" name="Freihandform: Form 114">
                    <a:extLst>
                      <a:ext uri="{FF2B5EF4-FFF2-40B4-BE49-F238E27FC236}">
                        <a16:creationId xmlns:a16="http://schemas.microsoft.com/office/drawing/2014/main" id="{0C55BE6D-3F34-83D3-923B-6F8C18D00111}"/>
                      </a:ext>
                    </a:extLst>
                  </p:cNvPr>
                  <p:cNvSpPr/>
                  <p:nvPr/>
                </p:nvSpPr>
                <p:spPr>
                  <a:xfrm>
                    <a:off x="6263099" y="2990564"/>
                    <a:ext cx="335184" cy="292893"/>
                  </a:xfrm>
                  <a:custGeom>
                    <a:avLst/>
                    <a:gdLst>
                      <a:gd name="connsiteX0" fmla="*/ 145447 w 335184"/>
                      <a:gd name="connsiteY0" fmla="*/ 0 h 292893"/>
                      <a:gd name="connsiteX1" fmla="*/ 0 w 335184"/>
                      <a:gd name="connsiteY1" fmla="*/ 284131 h 292893"/>
                      <a:gd name="connsiteX2" fmla="*/ 207169 w 335184"/>
                      <a:gd name="connsiteY2" fmla="*/ 292894 h 292893"/>
                      <a:gd name="connsiteX3" fmla="*/ 335185 w 335184"/>
                      <a:gd name="connsiteY3" fmla="*/ 101537 h 292893"/>
                      <a:gd name="connsiteX4" fmla="*/ 145447 w 335184"/>
                      <a:gd name="connsiteY4" fmla="*/ 0 h 2928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35184" h="292893">
                        <a:moveTo>
                          <a:pt x="145447" y="0"/>
                        </a:moveTo>
                        <a:lnTo>
                          <a:pt x="0" y="284131"/>
                        </a:lnTo>
                        <a:lnTo>
                          <a:pt x="207169" y="292894"/>
                        </a:lnTo>
                        <a:lnTo>
                          <a:pt x="335185" y="101537"/>
                        </a:lnTo>
                        <a:lnTo>
                          <a:pt x="145447" y="0"/>
                        </a:ln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116" name="Grafik 23">
                    <a:extLst>
                      <a:ext uri="{FF2B5EF4-FFF2-40B4-BE49-F238E27FC236}">
                        <a16:creationId xmlns:a16="http://schemas.microsoft.com/office/drawing/2014/main" id="{00595BDD-1975-3F4D-18B7-8449E323757C}"/>
                      </a:ext>
                    </a:extLst>
                  </p:cNvPr>
                  <p:cNvGrpSpPr/>
                  <p:nvPr/>
                </p:nvGrpSpPr>
                <p:grpSpPr>
                  <a:xfrm>
                    <a:off x="6324726" y="1764506"/>
                    <a:ext cx="607980" cy="1445133"/>
                    <a:chOff x="6324726" y="1764506"/>
                    <a:chExt cx="607980" cy="1445133"/>
                  </a:xfrm>
                  <a:solidFill>
                    <a:srgbClr val="FFFFFF"/>
                  </a:solidFill>
                </p:grpSpPr>
                <p:sp>
                  <p:nvSpPr>
                    <p:cNvPr id="122" name="Freihandform: Form 121">
                      <a:extLst>
                        <a:ext uri="{FF2B5EF4-FFF2-40B4-BE49-F238E27FC236}">
                          <a16:creationId xmlns:a16="http://schemas.microsoft.com/office/drawing/2014/main" id="{0E1BDE32-32C8-ECF7-24D7-5110679F1C9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0361" y="1764506"/>
                      <a:ext cx="482346" cy="878681"/>
                    </a:xfrm>
                    <a:custGeom>
                      <a:avLst/>
                      <a:gdLst>
                        <a:gd name="connsiteX0" fmla="*/ 383667 w 482346"/>
                        <a:gd name="connsiteY0" fmla="*/ 0 h 878681"/>
                        <a:gd name="connsiteX1" fmla="*/ 482346 w 482346"/>
                        <a:gd name="connsiteY1" fmla="*/ 839438 h 878681"/>
                        <a:gd name="connsiteX2" fmla="*/ 141256 w 482346"/>
                        <a:gd name="connsiteY2" fmla="*/ 878681 h 878681"/>
                        <a:gd name="connsiteX3" fmla="*/ 0 w 482346"/>
                        <a:gd name="connsiteY3" fmla="*/ 85725 h 878681"/>
                        <a:gd name="connsiteX4" fmla="*/ 383667 w 482346"/>
                        <a:gd name="connsiteY4" fmla="*/ 0 h 8786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82346" h="878681">
                          <a:moveTo>
                            <a:pt x="383667" y="0"/>
                          </a:moveTo>
                          <a:cubicBezTo>
                            <a:pt x="451485" y="213170"/>
                            <a:pt x="482346" y="839438"/>
                            <a:pt x="482346" y="839438"/>
                          </a:cubicBezTo>
                          <a:lnTo>
                            <a:pt x="141256" y="878681"/>
                          </a:lnTo>
                          <a:cubicBezTo>
                            <a:pt x="29909" y="639128"/>
                            <a:pt x="0" y="85725"/>
                            <a:pt x="0" y="85725"/>
                          </a:cubicBezTo>
                          <a:lnTo>
                            <a:pt x="383667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3" name="Freihandform: Form 122">
                      <a:extLst>
                        <a:ext uri="{FF2B5EF4-FFF2-40B4-BE49-F238E27FC236}">
                          <a16:creationId xmlns:a16="http://schemas.microsoft.com/office/drawing/2014/main" id="{512AD9F5-EE7D-FCD3-5EEF-4D893CFAE80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87140" y="2431161"/>
                      <a:ext cx="345566" cy="345566"/>
                    </a:xfrm>
                    <a:custGeom>
                      <a:avLst/>
                      <a:gdLst>
                        <a:gd name="connsiteX0" fmla="*/ 345567 w 345566"/>
                        <a:gd name="connsiteY0" fmla="*/ 172784 h 345566"/>
                        <a:gd name="connsiteX1" fmla="*/ 172783 w 345566"/>
                        <a:gd name="connsiteY1" fmla="*/ 345567 h 345566"/>
                        <a:gd name="connsiteX2" fmla="*/ 0 w 345566"/>
                        <a:gd name="connsiteY2" fmla="*/ 172784 h 345566"/>
                        <a:gd name="connsiteX3" fmla="*/ 172783 w 345566"/>
                        <a:gd name="connsiteY3" fmla="*/ 0 h 345566"/>
                        <a:gd name="connsiteX4" fmla="*/ 345567 w 345566"/>
                        <a:gd name="connsiteY4" fmla="*/ 172784 h 34556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45566" h="345566">
                          <a:moveTo>
                            <a:pt x="345567" y="172784"/>
                          </a:moveTo>
                          <a:cubicBezTo>
                            <a:pt x="345567" y="268209"/>
                            <a:pt x="268209" y="345567"/>
                            <a:pt x="172783" y="345567"/>
                          </a:cubicBezTo>
                          <a:cubicBezTo>
                            <a:pt x="77358" y="345567"/>
                            <a:pt x="0" y="268209"/>
                            <a:pt x="0" y="172784"/>
                          </a:cubicBezTo>
                          <a:cubicBezTo>
                            <a:pt x="0" y="77358"/>
                            <a:pt x="77358" y="0"/>
                            <a:pt x="172783" y="0"/>
                          </a:cubicBezTo>
                          <a:cubicBezTo>
                            <a:pt x="268209" y="0"/>
                            <a:pt x="345567" y="77358"/>
                            <a:pt x="345567" y="172784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4" name="Freihandform: Form 123">
                      <a:extLst>
                        <a:ext uri="{FF2B5EF4-FFF2-40B4-BE49-F238E27FC236}">
                          <a16:creationId xmlns:a16="http://schemas.microsoft.com/office/drawing/2014/main" id="{2295E7A4-889E-3C06-939D-65BCC3A5709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24726" y="2522886"/>
                      <a:ext cx="580739" cy="686752"/>
                    </a:xfrm>
                    <a:custGeom>
                      <a:avLst/>
                      <a:gdLst>
                        <a:gd name="connsiteX0" fmla="*/ 580740 w 580739"/>
                        <a:gd name="connsiteY0" fmla="*/ 174308 h 686752"/>
                        <a:gd name="connsiteX1" fmla="*/ 249269 w 580739"/>
                        <a:gd name="connsiteY1" fmla="*/ 686753 h 686752"/>
                        <a:gd name="connsiteX2" fmla="*/ 0 w 580739"/>
                        <a:gd name="connsiteY2" fmla="*/ 520637 h 686752"/>
                        <a:gd name="connsiteX3" fmla="*/ 282607 w 580739"/>
                        <a:gd name="connsiteY3" fmla="*/ 0 h 686752"/>
                        <a:gd name="connsiteX4" fmla="*/ 580740 w 580739"/>
                        <a:gd name="connsiteY4" fmla="*/ 174308 h 6867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80739" h="686752">
                          <a:moveTo>
                            <a:pt x="580740" y="174308"/>
                          </a:moveTo>
                          <a:lnTo>
                            <a:pt x="249269" y="686753"/>
                          </a:lnTo>
                          <a:lnTo>
                            <a:pt x="0" y="520637"/>
                          </a:lnTo>
                          <a:lnTo>
                            <a:pt x="282607" y="0"/>
                          </a:lnTo>
                          <a:lnTo>
                            <a:pt x="580740" y="174308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117" name="Freihandform: Form 116">
                    <a:extLst>
                      <a:ext uri="{FF2B5EF4-FFF2-40B4-BE49-F238E27FC236}">
                        <a16:creationId xmlns:a16="http://schemas.microsoft.com/office/drawing/2014/main" id="{88DE84DD-0538-1A05-4F21-33FB559D9051}"/>
                      </a:ext>
                    </a:extLst>
                  </p:cNvPr>
                  <p:cNvSpPr/>
                  <p:nvPr/>
                </p:nvSpPr>
                <p:spPr>
                  <a:xfrm>
                    <a:off x="6006686" y="2053970"/>
                    <a:ext cx="262032" cy="259856"/>
                  </a:xfrm>
                  <a:custGeom>
                    <a:avLst/>
                    <a:gdLst>
                      <a:gd name="connsiteX0" fmla="*/ 0 w 262032"/>
                      <a:gd name="connsiteY0" fmla="*/ 225266 h 259856"/>
                      <a:gd name="connsiteX1" fmla="*/ 262033 w 262032"/>
                      <a:gd name="connsiteY1" fmla="*/ 252032 h 259856"/>
                      <a:gd name="connsiteX2" fmla="*/ 236887 w 262032"/>
                      <a:gd name="connsiteY2" fmla="*/ 0 h 259856"/>
                      <a:gd name="connsiteX3" fmla="*/ 56483 w 262032"/>
                      <a:gd name="connsiteY3" fmla="*/ 1429 h 259856"/>
                      <a:gd name="connsiteX4" fmla="*/ 0 w 262032"/>
                      <a:gd name="connsiteY4" fmla="*/ 225266 h 2598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2032" h="259856">
                        <a:moveTo>
                          <a:pt x="0" y="225266"/>
                        </a:moveTo>
                        <a:cubicBezTo>
                          <a:pt x="22574" y="242030"/>
                          <a:pt x="198501" y="274892"/>
                          <a:pt x="262033" y="252032"/>
                        </a:cubicBezTo>
                        <a:lnTo>
                          <a:pt x="236887" y="0"/>
                        </a:lnTo>
                        <a:lnTo>
                          <a:pt x="56483" y="1429"/>
                        </a:lnTo>
                        <a:lnTo>
                          <a:pt x="0" y="225266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8" name="Freihandform: Form 117">
                    <a:extLst>
                      <a:ext uri="{FF2B5EF4-FFF2-40B4-BE49-F238E27FC236}">
                        <a16:creationId xmlns:a16="http://schemas.microsoft.com/office/drawing/2014/main" id="{D87BD023-C6AD-61D0-6EE5-ACAC72DE2073}"/>
                      </a:ext>
                    </a:extLst>
                  </p:cNvPr>
                  <p:cNvSpPr/>
                  <p:nvPr/>
                </p:nvSpPr>
                <p:spPr>
                  <a:xfrm>
                    <a:off x="6006686" y="2053970"/>
                    <a:ext cx="230885" cy="229076"/>
                  </a:xfrm>
                  <a:custGeom>
                    <a:avLst/>
                    <a:gdLst>
                      <a:gd name="connsiteX0" fmla="*/ 4096 w 230885"/>
                      <a:gd name="connsiteY0" fmla="*/ 0 h 229076"/>
                      <a:gd name="connsiteX1" fmla="*/ 0 w 230885"/>
                      <a:gd name="connsiteY1" fmla="*/ 225266 h 229076"/>
                      <a:gd name="connsiteX2" fmla="*/ 230886 w 230885"/>
                      <a:gd name="connsiteY2" fmla="*/ 229076 h 229076"/>
                      <a:gd name="connsiteX3" fmla="*/ 230886 w 230885"/>
                      <a:gd name="connsiteY3" fmla="*/ 0 h 229076"/>
                      <a:gd name="connsiteX4" fmla="*/ 4096 w 230885"/>
                      <a:gd name="connsiteY4" fmla="*/ 0 h 2290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0885" h="229076">
                        <a:moveTo>
                          <a:pt x="4096" y="0"/>
                        </a:moveTo>
                        <a:lnTo>
                          <a:pt x="0" y="225266"/>
                        </a:lnTo>
                        <a:lnTo>
                          <a:pt x="230886" y="229076"/>
                        </a:lnTo>
                        <a:lnTo>
                          <a:pt x="230886" y="0"/>
                        </a:lnTo>
                        <a:lnTo>
                          <a:pt x="409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9" name="Freihandform: Form 118">
                    <a:extLst>
                      <a:ext uri="{FF2B5EF4-FFF2-40B4-BE49-F238E27FC236}">
                        <a16:creationId xmlns:a16="http://schemas.microsoft.com/office/drawing/2014/main" id="{4FC6297D-C91B-041E-410A-108C611C8440}"/>
                      </a:ext>
                    </a:extLst>
                  </p:cNvPr>
                  <p:cNvSpPr/>
                  <p:nvPr/>
                </p:nvSpPr>
                <p:spPr>
                  <a:xfrm>
                    <a:off x="5978969" y="3209639"/>
                    <a:ext cx="568261" cy="539262"/>
                  </a:xfrm>
                  <a:custGeom>
                    <a:avLst/>
                    <a:gdLst>
                      <a:gd name="connsiteX0" fmla="*/ 59055 w 568261"/>
                      <a:gd name="connsiteY0" fmla="*/ 0 h 539262"/>
                      <a:gd name="connsiteX1" fmla="*/ 0 w 568261"/>
                      <a:gd name="connsiteY1" fmla="*/ 504635 h 539262"/>
                      <a:gd name="connsiteX2" fmla="*/ 568262 w 568261"/>
                      <a:gd name="connsiteY2" fmla="*/ 514064 h 539262"/>
                      <a:gd name="connsiteX3" fmla="*/ 568262 w 568261"/>
                      <a:gd name="connsiteY3" fmla="*/ 0 h 539262"/>
                      <a:gd name="connsiteX4" fmla="*/ 59150 w 568261"/>
                      <a:gd name="connsiteY4" fmla="*/ 0 h 5392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68261" h="539262">
                        <a:moveTo>
                          <a:pt x="59055" y="0"/>
                        </a:moveTo>
                        <a:cubicBezTo>
                          <a:pt x="59055" y="37624"/>
                          <a:pt x="0" y="504635"/>
                          <a:pt x="0" y="504635"/>
                        </a:cubicBezTo>
                        <a:cubicBezTo>
                          <a:pt x="174403" y="550545"/>
                          <a:pt x="365855" y="547783"/>
                          <a:pt x="568262" y="514064"/>
                        </a:cubicBezTo>
                        <a:lnTo>
                          <a:pt x="568262" y="0"/>
                        </a:lnTo>
                        <a:cubicBezTo>
                          <a:pt x="568262" y="0"/>
                          <a:pt x="59150" y="0"/>
                          <a:pt x="59150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0" name="Freihandform: Form 119">
                    <a:extLst>
                      <a:ext uri="{FF2B5EF4-FFF2-40B4-BE49-F238E27FC236}">
                        <a16:creationId xmlns:a16="http://schemas.microsoft.com/office/drawing/2014/main" id="{AE98293F-4AD2-AAE1-8150-2BDE4A3D733D}"/>
                      </a:ext>
                    </a:extLst>
                  </p:cNvPr>
                  <p:cNvSpPr/>
                  <p:nvPr/>
                </p:nvSpPr>
                <p:spPr>
                  <a:xfrm>
                    <a:off x="6158610" y="4503134"/>
                    <a:ext cx="511301" cy="511301"/>
                  </a:xfrm>
                  <a:custGeom>
                    <a:avLst/>
                    <a:gdLst>
                      <a:gd name="connsiteX0" fmla="*/ 511302 w 511301"/>
                      <a:gd name="connsiteY0" fmla="*/ 255651 h 511301"/>
                      <a:gd name="connsiteX1" fmla="*/ 255651 w 511301"/>
                      <a:gd name="connsiteY1" fmla="*/ 511302 h 511301"/>
                      <a:gd name="connsiteX2" fmla="*/ 0 w 511301"/>
                      <a:gd name="connsiteY2" fmla="*/ 255651 h 511301"/>
                      <a:gd name="connsiteX3" fmla="*/ 255651 w 511301"/>
                      <a:gd name="connsiteY3" fmla="*/ 0 h 511301"/>
                      <a:gd name="connsiteX4" fmla="*/ 511302 w 511301"/>
                      <a:gd name="connsiteY4" fmla="*/ 255651 h 5113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1301" h="511301">
                        <a:moveTo>
                          <a:pt x="511302" y="255651"/>
                        </a:moveTo>
                        <a:cubicBezTo>
                          <a:pt x="511302" y="396843"/>
                          <a:pt x="396843" y="511302"/>
                          <a:pt x="255651" y="511302"/>
                        </a:cubicBezTo>
                        <a:cubicBezTo>
                          <a:pt x="114459" y="511302"/>
                          <a:pt x="0" y="396843"/>
                          <a:pt x="0" y="255651"/>
                        </a:cubicBezTo>
                        <a:cubicBezTo>
                          <a:pt x="0" y="114459"/>
                          <a:pt x="114459" y="0"/>
                          <a:pt x="255651" y="0"/>
                        </a:cubicBezTo>
                        <a:cubicBezTo>
                          <a:pt x="396843" y="0"/>
                          <a:pt x="511302" y="114459"/>
                          <a:pt x="511302" y="255651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1" name="Freihandform: Form 120">
                    <a:extLst>
                      <a:ext uri="{FF2B5EF4-FFF2-40B4-BE49-F238E27FC236}">
                        <a16:creationId xmlns:a16="http://schemas.microsoft.com/office/drawing/2014/main" id="{4BCFC097-5312-9169-037B-E312C105A51C}"/>
                      </a:ext>
                    </a:extLst>
                  </p:cNvPr>
                  <p:cNvSpPr/>
                  <p:nvPr/>
                </p:nvSpPr>
                <p:spPr>
                  <a:xfrm>
                    <a:off x="6449504" y="1634490"/>
                    <a:ext cx="396621" cy="396621"/>
                  </a:xfrm>
                  <a:custGeom>
                    <a:avLst/>
                    <a:gdLst>
                      <a:gd name="connsiteX0" fmla="*/ 396621 w 396621"/>
                      <a:gd name="connsiteY0" fmla="*/ 198310 h 396621"/>
                      <a:gd name="connsiteX1" fmla="*/ 198310 w 396621"/>
                      <a:gd name="connsiteY1" fmla="*/ 396621 h 396621"/>
                      <a:gd name="connsiteX2" fmla="*/ 0 w 396621"/>
                      <a:gd name="connsiteY2" fmla="*/ 198311 h 396621"/>
                      <a:gd name="connsiteX3" fmla="*/ 198310 w 396621"/>
                      <a:gd name="connsiteY3" fmla="*/ 0 h 396621"/>
                      <a:gd name="connsiteX4" fmla="*/ 396621 w 396621"/>
                      <a:gd name="connsiteY4" fmla="*/ 198310 h 3966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6621" h="396621">
                        <a:moveTo>
                          <a:pt x="396621" y="198310"/>
                        </a:moveTo>
                        <a:cubicBezTo>
                          <a:pt x="396621" y="307834"/>
                          <a:pt x="307834" y="396621"/>
                          <a:pt x="198310" y="396621"/>
                        </a:cubicBezTo>
                        <a:cubicBezTo>
                          <a:pt x="88786" y="396621"/>
                          <a:pt x="0" y="307834"/>
                          <a:pt x="0" y="198311"/>
                        </a:cubicBezTo>
                        <a:cubicBezTo>
                          <a:pt x="0" y="88787"/>
                          <a:pt x="88786" y="0"/>
                          <a:pt x="198310" y="0"/>
                        </a:cubicBezTo>
                        <a:cubicBezTo>
                          <a:pt x="307834" y="0"/>
                          <a:pt x="396621" y="88787"/>
                          <a:pt x="396621" y="19831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4" name="Grafik 23">
                  <a:extLst>
                    <a:ext uri="{FF2B5EF4-FFF2-40B4-BE49-F238E27FC236}">
                      <a16:creationId xmlns:a16="http://schemas.microsoft.com/office/drawing/2014/main" id="{55AC8E16-2A38-FE4E-AB5D-420B786027F3}"/>
                    </a:ext>
                  </a:extLst>
                </p:cNvPr>
                <p:cNvGrpSpPr/>
                <p:nvPr/>
              </p:nvGrpSpPr>
              <p:grpSpPr>
                <a:xfrm>
                  <a:off x="5884415" y="666564"/>
                  <a:ext cx="678757" cy="747232"/>
                  <a:chOff x="5884415" y="666564"/>
                  <a:chExt cx="678757" cy="747232"/>
                </a:xfrm>
              </p:grpSpPr>
              <p:grpSp>
                <p:nvGrpSpPr>
                  <p:cNvPr id="95" name="Grafik 23">
                    <a:extLst>
                      <a:ext uri="{FF2B5EF4-FFF2-40B4-BE49-F238E27FC236}">
                        <a16:creationId xmlns:a16="http://schemas.microsoft.com/office/drawing/2014/main" id="{6D607FBD-7737-1D68-E361-4C1E756DE7C9}"/>
                      </a:ext>
                    </a:extLst>
                  </p:cNvPr>
                  <p:cNvGrpSpPr/>
                  <p:nvPr/>
                </p:nvGrpSpPr>
                <p:grpSpPr>
                  <a:xfrm>
                    <a:off x="5890916" y="666564"/>
                    <a:ext cx="672255" cy="747232"/>
                    <a:chOff x="5890916" y="666564"/>
                    <a:chExt cx="672255" cy="747232"/>
                  </a:xfrm>
                </p:grpSpPr>
                <p:sp>
                  <p:nvSpPr>
                    <p:cNvPr id="98" name="Freihandform: Form 97">
                      <a:extLst>
                        <a:ext uri="{FF2B5EF4-FFF2-40B4-BE49-F238E27FC236}">
                          <a16:creationId xmlns:a16="http://schemas.microsoft.com/office/drawing/2014/main" id="{2DBB695C-4EEE-8863-EC45-4F48EDF325C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90916" y="928649"/>
                      <a:ext cx="397931" cy="485147"/>
                    </a:xfrm>
                    <a:custGeom>
                      <a:avLst/>
                      <a:gdLst>
                        <a:gd name="connsiteX0" fmla="*/ 391233 w 397931"/>
                        <a:gd name="connsiteY0" fmla="*/ 125006 h 485147"/>
                        <a:gd name="connsiteX1" fmla="*/ 110722 w 397931"/>
                        <a:gd name="connsiteY1" fmla="*/ 26041 h 485147"/>
                        <a:gd name="connsiteX2" fmla="*/ 63001 w 397931"/>
                        <a:gd name="connsiteY2" fmla="*/ 126339 h 485147"/>
                        <a:gd name="connsiteX3" fmla="*/ 2803 w 397931"/>
                        <a:gd name="connsiteY3" fmla="*/ 242639 h 485147"/>
                        <a:gd name="connsiteX4" fmla="*/ 53000 w 397931"/>
                        <a:gd name="connsiteY4" fmla="*/ 284359 h 485147"/>
                        <a:gd name="connsiteX5" fmla="*/ 63954 w 397931"/>
                        <a:gd name="connsiteY5" fmla="*/ 327888 h 485147"/>
                        <a:gd name="connsiteX6" fmla="*/ 84147 w 397931"/>
                        <a:gd name="connsiteY6" fmla="*/ 342557 h 485147"/>
                        <a:gd name="connsiteX7" fmla="*/ 84623 w 397931"/>
                        <a:gd name="connsiteY7" fmla="*/ 351986 h 485147"/>
                        <a:gd name="connsiteX8" fmla="*/ 81194 w 397931"/>
                        <a:gd name="connsiteY8" fmla="*/ 381323 h 485147"/>
                        <a:gd name="connsiteX9" fmla="*/ 93672 w 397931"/>
                        <a:gd name="connsiteY9" fmla="*/ 398564 h 485147"/>
                        <a:gd name="connsiteX10" fmla="*/ 100435 w 397931"/>
                        <a:gd name="connsiteY10" fmla="*/ 433235 h 485147"/>
                        <a:gd name="connsiteX11" fmla="*/ 150917 w 397931"/>
                        <a:gd name="connsiteY11" fmla="*/ 484955 h 485147"/>
                        <a:gd name="connsiteX12" fmla="*/ 297983 w 397931"/>
                        <a:gd name="connsiteY12" fmla="*/ 460571 h 485147"/>
                        <a:gd name="connsiteX13" fmla="*/ 395805 w 397931"/>
                        <a:gd name="connsiteY13" fmla="*/ 321602 h 485147"/>
                        <a:gd name="connsiteX14" fmla="*/ 391328 w 397931"/>
                        <a:gd name="connsiteY14" fmla="*/ 124815 h 48514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</a:cxnLst>
                      <a:rect l="l" t="t" r="r" b="b"/>
                      <a:pathLst>
                        <a:path w="397931" h="485147">
                          <a:moveTo>
                            <a:pt x="391233" y="125006"/>
                          </a:moveTo>
                          <a:cubicBezTo>
                            <a:pt x="328844" y="-46349"/>
                            <a:pt x="152251" y="-248"/>
                            <a:pt x="110722" y="26041"/>
                          </a:cubicBezTo>
                          <a:cubicBezTo>
                            <a:pt x="69193" y="52330"/>
                            <a:pt x="58143" y="85191"/>
                            <a:pt x="63001" y="126339"/>
                          </a:cubicBezTo>
                          <a:cubicBezTo>
                            <a:pt x="52333" y="145961"/>
                            <a:pt x="21853" y="195300"/>
                            <a:pt x="2803" y="242639"/>
                          </a:cubicBezTo>
                          <a:cubicBezTo>
                            <a:pt x="-10913" y="276644"/>
                            <a:pt x="28902" y="281406"/>
                            <a:pt x="53000" y="284359"/>
                          </a:cubicBezTo>
                          <a:cubicBezTo>
                            <a:pt x="74336" y="287026"/>
                            <a:pt x="58429" y="316268"/>
                            <a:pt x="63954" y="327888"/>
                          </a:cubicBezTo>
                          <a:cubicBezTo>
                            <a:pt x="68145" y="336556"/>
                            <a:pt x="75955" y="338842"/>
                            <a:pt x="84147" y="342557"/>
                          </a:cubicBezTo>
                          <a:cubicBezTo>
                            <a:pt x="84814" y="342842"/>
                            <a:pt x="85290" y="351701"/>
                            <a:pt x="84623" y="351986"/>
                          </a:cubicBezTo>
                          <a:cubicBezTo>
                            <a:pt x="67383" y="359892"/>
                            <a:pt x="68050" y="376751"/>
                            <a:pt x="81194" y="381323"/>
                          </a:cubicBezTo>
                          <a:cubicBezTo>
                            <a:pt x="91957" y="385133"/>
                            <a:pt x="93672" y="398564"/>
                            <a:pt x="93672" y="398564"/>
                          </a:cubicBezTo>
                          <a:cubicBezTo>
                            <a:pt x="93672" y="398564"/>
                            <a:pt x="98720" y="423900"/>
                            <a:pt x="100435" y="433235"/>
                          </a:cubicBezTo>
                          <a:cubicBezTo>
                            <a:pt x="110817" y="491147"/>
                            <a:pt x="150917" y="484955"/>
                            <a:pt x="150917" y="484955"/>
                          </a:cubicBezTo>
                          <a:cubicBezTo>
                            <a:pt x="150917" y="484955"/>
                            <a:pt x="245786" y="473240"/>
                            <a:pt x="297983" y="460571"/>
                          </a:cubicBezTo>
                          <a:cubicBezTo>
                            <a:pt x="358943" y="445617"/>
                            <a:pt x="392757" y="345986"/>
                            <a:pt x="395805" y="321602"/>
                          </a:cubicBezTo>
                          <a:cubicBezTo>
                            <a:pt x="402472" y="267785"/>
                            <a:pt x="391328" y="124815"/>
                            <a:pt x="391328" y="124815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9" name="Freihandform: Form 98">
                      <a:extLst>
                        <a:ext uri="{FF2B5EF4-FFF2-40B4-BE49-F238E27FC236}">
                          <a16:creationId xmlns:a16="http://schemas.microsoft.com/office/drawing/2014/main" id="{14D3E9DC-B591-6C1C-C68E-11585B3EA7EB}"/>
                        </a:ext>
                      </a:extLst>
                    </p:cNvPr>
                    <p:cNvSpPr/>
                    <p:nvPr/>
                  </p:nvSpPr>
                  <p:spPr>
                    <a:xfrm rot="-445201">
                      <a:off x="5939430" y="702581"/>
                      <a:ext cx="592073" cy="528827"/>
                    </a:xfrm>
                    <a:custGeom>
                      <a:avLst/>
                      <a:gdLst>
                        <a:gd name="connsiteX0" fmla="*/ 592074 w 592073"/>
                        <a:gd name="connsiteY0" fmla="*/ 264414 h 528827"/>
                        <a:gd name="connsiteX1" fmla="*/ 296037 w 592073"/>
                        <a:gd name="connsiteY1" fmla="*/ 528828 h 528827"/>
                        <a:gd name="connsiteX2" fmla="*/ 0 w 592073"/>
                        <a:gd name="connsiteY2" fmla="*/ 264414 h 528827"/>
                        <a:gd name="connsiteX3" fmla="*/ 296037 w 592073"/>
                        <a:gd name="connsiteY3" fmla="*/ 0 h 528827"/>
                        <a:gd name="connsiteX4" fmla="*/ 592074 w 592073"/>
                        <a:gd name="connsiteY4" fmla="*/ 264414 h 5288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92073" h="528827">
                          <a:moveTo>
                            <a:pt x="592074" y="264414"/>
                          </a:moveTo>
                          <a:cubicBezTo>
                            <a:pt x="592074" y="410446"/>
                            <a:pt x="459534" y="528828"/>
                            <a:pt x="296037" y="528828"/>
                          </a:cubicBezTo>
                          <a:cubicBezTo>
                            <a:pt x="132541" y="528828"/>
                            <a:pt x="0" y="410446"/>
                            <a:pt x="0" y="264414"/>
                          </a:cubicBezTo>
                          <a:cubicBezTo>
                            <a:pt x="0" y="118382"/>
                            <a:pt x="132541" y="0"/>
                            <a:pt x="296037" y="0"/>
                          </a:cubicBezTo>
                          <a:cubicBezTo>
                            <a:pt x="459534" y="0"/>
                            <a:pt x="592074" y="118382"/>
                            <a:pt x="592074" y="264414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0" name="Freihandform: Form 99">
                      <a:extLst>
                        <a:ext uri="{FF2B5EF4-FFF2-40B4-BE49-F238E27FC236}">
                          <a16:creationId xmlns:a16="http://schemas.microsoft.com/office/drawing/2014/main" id="{80B010B1-0250-DE7D-876E-ADCA9555C06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75063" y="1260919"/>
                      <a:ext cx="37147" cy="19811"/>
                    </a:xfrm>
                    <a:custGeom>
                      <a:avLst/>
                      <a:gdLst>
                        <a:gd name="connsiteX0" fmla="*/ 476 w 37147"/>
                        <a:gd name="connsiteY0" fmla="*/ 19812 h 19811"/>
                        <a:gd name="connsiteX1" fmla="*/ 0 w 37147"/>
                        <a:gd name="connsiteY1" fmla="*/ 10382 h 19811"/>
                        <a:gd name="connsiteX2" fmla="*/ 32385 w 37147"/>
                        <a:gd name="connsiteY2" fmla="*/ 0 h 19811"/>
                        <a:gd name="connsiteX3" fmla="*/ 37147 w 37147"/>
                        <a:gd name="connsiteY3" fmla="*/ 8192 h 19811"/>
                        <a:gd name="connsiteX4" fmla="*/ 571 w 37147"/>
                        <a:gd name="connsiteY4" fmla="*/ 19812 h 1981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7147" h="19811">
                          <a:moveTo>
                            <a:pt x="476" y="19812"/>
                          </a:moveTo>
                          <a:lnTo>
                            <a:pt x="0" y="10382"/>
                          </a:lnTo>
                          <a:cubicBezTo>
                            <a:pt x="0" y="10382"/>
                            <a:pt x="16002" y="9430"/>
                            <a:pt x="32385" y="0"/>
                          </a:cubicBezTo>
                          <a:lnTo>
                            <a:pt x="37147" y="8192"/>
                          </a:lnTo>
                          <a:cubicBezTo>
                            <a:pt x="18764" y="18764"/>
                            <a:pt x="1238" y="19812"/>
                            <a:pt x="571" y="19812"/>
                          </a:cubicBezTo>
                          <a:close/>
                        </a:path>
                      </a:pathLst>
                    </a:custGeom>
                    <a:solidFill>
                      <a:srgbClr val="F2BBB3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1" name="Freihandform: Form 100">
                      <a:extLst>
                        <a:ext uri="{FF2B5EF4-FFF2-40B4-BE49-F238E27FC236}">
                          <a16:creationId xmlns:a16="http://schemas.microsoft.com/office/drawing/2014/main" id="{212E5B74-A31C-A2AF-5457-F810224CC71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60067" y="1011264"/>
                      <a:ext cx="129553" cy="32025"/>
                    </a:xfrm>
                    <a:custGeom>
                      <a:avLst/>
                      <a:gdLst>
                        <a:gd name="connsiteX0" fmla="*/ 98911 w 129553"/>
                        <a:gd name="connsiteY0" fmla="*/ 2672 h 32025"/>
                        <a:gd name="connsiteX1" fmla="*/ 5947 w 129553"/>
                        <a:gd name="connsiteY1" fmla="*/ 10292 h 32025"/>
                        <a:gd name="connsiteX2" fmla="*/ 3090 w 129553"/>
                        <a:gd name="connsiteY2" fmla="*/ 12768 h 32025"/>
                        <a:gd name="connsiteX3" fmla="*/ 13853 w 129553"/>
                        <a:gd name="connsiteY3" fmla="*/ 31913 h 32025"/>
                        <a:gd name="connsiteX4" fmla="*/ 38332 w 129553"/>
                        <a:gd name="connsiteY4" fmla="*/ 27341 h 32025"/>
                        <a:gd name="connsiteX5" fmla="*/ 96720 w 129553"/>
                        <a:gd name="connsiteY5" fmla="*/ 24389 h 32025"/>
                        <a:gd name="connsiteX6" fmla="*/ 129106 w 129553"/>
                        <a:gd name="connsiteY6" fmla="*/ 31532 h 32025"/>
                        <a:gd name="connsiteX7" fmla="*/ 98816 w 129553"/>
                        <a:gd name="connsiteY7" fmla="*/ 2767 h 320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29553" h="32025">
                          <a:moveTo>
                            <a:pt x="98911" y="2672"/>
                          </a:moveTo>
                          <a:cubicBezTo>
                            <a:pt x="81099" y="-5329"/>
                            <a:pt x="10615" y="6863"/>
                            <a:pt x="5947" y="10292"/>
                          </a:cubicBezTo>
                          <a:cubicBezTo>
                            <a:pt x="4804" y="11149"/>
                            <a:pt x="3852" y="11911"/>
                            <a:pt x="3090" y="12768"/>
                          </a:cubicBezTo>
                          <a:cubicBezTo>
                            <a:pt x="-4435" y="20769"/>
                            <a:pt x="2804" y="33342"/>
                            <a:pt x="13853" y="31913"/>
                          </a:cubicBezTo>
                          <a:cubicBezTo>
                            <a:pt x="18901" y="31247"/>
                            <a:pt x="31284" y="28675"/>
                            <a:pt x="38332" y="27341"/>
                          </a:cubicBezTo>
                          <a:cubicBezTo>
                            <a:pt x="50715" y="24865"/>
                            <a:pt x="86338" y="22865"/>
                            <a:pt x="96720" y="24389"/>
                          </a:cubicBezTo>
                          <a:cubicBezTo>
                            <a:pt x="117104" y="27246"/>
                            <a:pt x="126439" y="33628"/>
                            <a:pt x="129106" y="31532"/>
                          </a:cubicBezTo>
                          <a:cubicBezTo>
                            <a:pt x="131773" y="29437"/>
                            <a:pt x="122628" y="13435"/>
                            <a:pt x="98816" y="2767"/>
                          </a:cubicBezTo>
                          <a:close/>
                        </a:path>
                      </a:pathLst>
                    </a:custGeom>
                    <a:solidFill>
                      <a:srgbClr val="4B2E1A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2" name="Freihandform: Form 101">
                      <a:extLst>
                        <a:ext uri="{FF2B5EF4-FFF2-40B4-BE49-F238E27FC236}">
                          <a16:creationId xmlns:a16="http://schemas.microsoft.com/office/drawing/2014/main" id="{448BD15A-9956-18DE-1473-D75B8222E9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01638" y="1062418"/>
                      <a:ext cx="25336" cy="32003"/>
                    </a:xfrm>
                    <a:custGeom>
                      <a:avLst/>
                      <a:gdLst>
                        <a:gd name="connsiteX0" fmla="*/ 25337 w 25336"/>
                        <a:gd name="connsiteY0" fmla="*/ 16002 h 32003"/>
                        <a:gd name="connsiteX1" fmla="*/ 12669 w 25336"/>
                        <a:gd name="connsiteY1" fmla="*/ 32004 h 32003"/>
                        <a:gd name="connsiteX2" fmla="*/ 0 w 25336"/>
                        <a:gd name="connsiteY2" fmla="*/ 16002 h 32003"/>
                        <a:gd name="connsiteX3" fmla="*/ 12669 w 25336"/>
                        <a:gd name="connsiteY3" fmla="*/ 0 h 32003"/>
                        <a:gd name="connsiteX4" fmla="*/ 25337 w 25336"/>
                        <a:gd name="connsiteY4" fmla="*/ 16002 h 320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5336" h="32003">
                          <a:moveTo>
                            <a:pt x="25337" y="16002"/>
                          </a:moveTo>
                          <a:cubicBezTo>
                            <a:pt x="25337" y="24840"/>
                            <a:pt x="19665" y="32004"/>
                            <a:pt x="12669" y="32004"/>
                          </a:cubicBezTo>
                          <a:cubicBezTo>
                            <a:pt x="5672" y="32004"/>
                            <a:pt x="0" y="24840"/>
                            <a:pt x="0" y="16002"/>
                          </a:cubicBezTo>
                          <a:cubicBezTo>
                            <a:pt x="0" y="7164"/>
                            <a:pt x="5672" y="0"/>
                            <a:pt x="12669" y="0"/>
                          </a:cubicBezTo>
                          <a:cubicBezTo>
                            <a:pt x="19665" y="0"/>
                            <a:pt x="25337" y="7164"/>
                            <a:pt x="25337" y="16002"/>
                          </a:cubicBezTo>
                          <a:close/>
                        </a:path>
                      </a:pathLst>
                    </a:custGeom>
                    <a:solidFill>
                      <a:srgbClr val="4B2E1A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3" name="Freihandform: Form 102">
                      <a:extLst>
                        <a:ext uri="{FF2B5EF4-FFF2-40B4-BE49-F238E27FC236}">
                          <a16:creationId xmlns:a16="http://schemas.microsoft.com/office/drawing/2014/main" id="{1828576D-1787-930F-2998-D8DCD8DBB7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93256" y="1058562"/>
                      <a:ext cx="66606" cy="16779"/>
                    </a:xfrm>
                    <a:custGeom>
                      <a:avLst/>
                      <a:gdLst>
                        <a:gd name="connsiteX0" fmla="*/ 66104 w 66606"/>
                        <a:gd name="connsiteY0" fmla="*/ 12048 h 16779"/>
                        <a:gd name="connsiteX1" fmla="*/ 15336 w 66606"/>
                        <a:gd name="connsiteY1" fmla="*/ 427 h 16779"/>
                        <a:gd name="connsiteX2" fmla="*/ 4668 w 66606"/>
                        <a:gd name="connsiteY2" fmla="*/ 11857 h 16779"/>
                        <a:gd name="connsiteX3" fmla="*/ 54769 w 66606"/>
                        <a:gd name="connsiteY3" fmla="*/ 16048 h 16779"/>
                        <a:gd name="connsiteX4" fmla="*/ 66199 w 66606"/>
                        <a:gd name="connsiteY4" fmla="*/ 12048 h 167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66606" h="16779">
                          <a:moveTo>
                            <a:pt x="66104" y="12048"/>
                          </a:moveTo>
                          <a:cubicBezTo>
                            <a:pt x="64103" y="9095"/>
                            <a:pt x="36195" y="-2335"/>
                            <a:pt x="15336" y="427"/>
                          </a:cubicBezTo>
                          <a:cubicBezTo>
                            <a:pt x="1905" y="2142"/>
                            <a:pt x="-5334" y="14048"/>
                            <a:pt x="4668" y="11857"/>
                          </a:cubicBezTo>
                          <a:cubicBezTo>
                            <a:pt x="23051" y="7952"/>
                            <a:pt x="46959" y="13762"/>
                            <a:pt x="54769" y="16048"/>
                          </a:cubicBezTo>
                          <a:cubicBezTo>
                            <a:pt x="62580" y="18239"/>
                            <a:pt x="68199" y="15096"/>
                            <a:pt x="66199" y="12048"/>
                          </a:cubicBezTo>
                          <a:close/>
                        </a:path>
                      </a:pathLst>
                    </a:custGeom>
                    <a:solidFill>
                      <a:srgbClr val="4B2E1A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96" name="Freihandform: Form 95">
                    <a:extLst>
                      <a:ext uri="{FF2B5EF4-FFF2-40B4-BE49-F238E27FC236}">
                        <a16:creationId xmlns:a16="http://schemas.microsoft.com/office/drawing/2014/main" id="{789D5C12-18E6-29E6-1136-6B1808AF20B0}"/>
                      </a:ext>
                    </a:extLst>
                  </p:cNvPr>
                  <p:cNvSpPr/>
                  <p:nvPr/>
                </p:nvSpPr>
                <p:spPr>
                  <a:xfrm>
                    <a:off x="5884415" y="693547"/>
                    <a:ext cx="678407" cy="560989"/>
                  </a:xfrm>
                  <a:custGeom>
                    <a:avLst/>
                    <a:gdLst>
                      <a:gd name="connsiteX0" fmla="*/ 92744 w 678407"/>
                      <a:gd name="connsiteY0" fmla="*/ 45116 h 560989"/>
                      <a:gd name="connsiteX1" fmla="*/ 370588 w 678407"/>
                      <a:gd name="connsiteY1" fmla="*/ 1301 h 560989"/>
                      <a:gd name="connsiteX2" fmla="*/ 671387 w 678407"/>
                      <a:gd name="connsiteY2" fmla="*/ 177894 h 560989"/>
                      <a:gd name="connsiteX3" fmla="*/ 605379 w 678407"/>
                      <a:gd name="connsiteY3" fmla="*/ 492315 h 560989"/>
                      <a:gd name="connsiteX4" fmla="*/ 595854 w 678407"/>
                      <a:gd name="connsiteY4" fmla="*/ 560990 h 560989"/>
                      <a:gd name="connsiteX5" fmla="*/ 534704 w 678407"/>
                      <a:gd name="connsiteY5" fmla="*/ 541083 h 560989"/>
                      <a:gd name="connsiteX6" fmla="*/ 471553 w 678407"/>
                      <a:gd name="connsiteY6" fmla="*/ 434688 h 560989"/>
                      <a:gd name="connsiteX7" fmla="*/ 359253 w 678407"/>
                      <a:gd name="connsiteY7" fmla="*/ 466692 h 560989"/>
                      <a:gd name="connsiteX8" fmla="*/ 324963 w 678407"/>
                      <a:gd name="connsiteY8" fmla="*/ 344106 h 560989"/>
                      <a:gd name="connsiteX9" fmla="*/ 229904 w 678407"/>
                      <a:gd name="connsiteY9" fmla="*/ 185229 h 560989"/>
                      <a:gd name="connsiteX10" fmla="*/ 53310 w 678407"/>
                      <a:gd name="connsiteY10" fmla="*/ 212375 h 560989"/>
                      <a:gd name="connsiteX11" fmla="*/ 92553 w 678407"/>
                      <a:gd name="connsiteY11" fmla="*/ 45306 h 5609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678407" h="560989">
                        <a:moveTo>
                          <a:pt x="92744" y="45116"/>
                        </a:moveTo>
                        <a:cubicBezTo>
                          <a:pt x="92744" y="45116"/>
                          <a:pt x="183993" y="-8986"/>
                          <a:pt x="370588" y="1301"/>
                        </a:cubicBezTo>
                        <a:cubicBezTo>
                          <a:pt x="461647" y="6349"/>
                          <a:pt x="643860" y="48450"/>
                          <a:pt x="671387" y="177894"/>
                        </a:cubicBezTo>
                        <a:cubicBezTo>
                          <a:pt x="705773" y="339915"/>
                          <a:pt x="602522" y="437832"/>
                          <a:pt x="605379" y="492315"/>
                        </a:cubicBezTo>
                        <a:cubicBezTo>
                          <a:pt x="608141" y="546798"/>
                          <a:pt x="595854" y="560990"/>
                          <a:pt x="595854" y="560990"/>
                        </a:cubicBezTo>
                        <a:cubicBezTo>
                          <a:pt x="595854" y="560990"/>
                          <a:pt x="556325" y="553275"/>
                          <a:pt x="534704" y="541083"/>
                        </a:cubicBezTo>
                        <a:cubicBezTo>
                          <a:pt x="506319" y="525081"/>
                          <a:pt x="470315" y="485361"/>
                          <a:pt x="471553" y="434688"/>
                        </a:cubicBezTo>
                        <a:cubicBezTo>
                          <a:pt x="472887" y="384015"/>
                          <a:pt x="359253" y="466692"/>
                          <a:pt x="359253" y="466692"/>
                        </a:cubicBezTo>
                        <a:cubicBezTo>
                          <a:pt x="359253" y="466692"/>
                          <a:pt x="274481" y="456405"/>
                          <a:pt x="324963" y="344106"/>
                        </a:cubicBezTo>
                        <a:cubicBezTo>
                          <a:pt x="353348" y="281050"/>
                          <a:pt x="356110" y="128555"/>
                          <a:pt x="229904" y="185229"/>
                        </a:cubicBezTo>
                        <a:cubicBezTo>
                          <a:pt x="132844" y="228758"/>
                          <a:pt x="86838" y="240950"/>
                          <a:pt x="53310" y="212375"/>
                        </a:cubicBezTo>
                        <a:cubicBezTo>
                          <a:pt x="-33177" y="107219"/>
                          <a:pt x="-10412" y="47021"/>
                          <a:pt x="92553" y="45306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7" name="Freihandform: Form 96">
                    <a:extLst>
                      <a:ext uri="{FF2B5EF4-FFF2-40B4-BE49-F238E27FC236}">
                        <a16:creationId xmlns:a16="http://schemas.microsoft.com/office/drawing/2014/main" id="{EDE2AFC6-EFDF-6FFA-9B78-C85108855E79}"/>
                      </a:ext>
                    </a:extLst>
                  </p:cNvPr>
                  <p:cNvSpPr/>
                  <p:nvPr/>
                </p:nvSpPr>
                <p:spPr>
                  <a:xfrm rot="-4891201">
                    <a:off x="6209424" y="1060687"/>
                    <a:ext cx="197357" cy="131254"/>
                  </a:xfrm>
                  <a:custGeom>
                    <a:avLst/>
                    <a:gdLst>
                      <a:gd name="connsiteX0" fmla="*/ 197358 w 197357"/>
                      <a:gd name="connsiteY0" fmla="*/ 65627 h 131254"/>
                      <a:gd name="connsiteX1" fmla="*/ 98679 w 197357"/>
                      <a:gd name="connsiteY1" fmla="*/ 131254 h 131254"/>
                      <a:gd name="connsiteX2" fmla="*/ 0 w 197357"/>
                      <a:gd name="connsiteY2" fmla="*/ 65627 h 131254"/>
                      <a:gd name="connsiteX3" fmla="*/ 98679 w 197357"/>
                      <a:gd name="connsiteY3" fmla="*/ 0 h 131254"/>
                      <a:gd name="connsiteX4" fmla="*/ 197358 w 197357"/>
                      <a:gd name="connsiteY4" fmla="*/ 65627 h 1312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7357" h="131254">
                        <a:moveTo>
                          <a:pt x="197358" y="65627"/>
                        </a:moveTo>
                        <a:cubicBezTo>
                          <a:pt x="197358" y="101872"/>
                          <a:pt x="153178" y="131254"/>
                          <a:pt x="98679" y="131254"/>
                        </a:cubicBezTo>
                        <a:cubicBezTo>
                          <a:pt x="44180" y="131254"/>
                          <a:pt x="0" y="101872"/>
                          <a:pt x="0" y="65627"/>
                        </a:cubicBezTo>
                        <a:cubicBezTo>
                          <a:pt x="0" y="29382"/>
                          <a:pt x="44180" y="0"/>
                          <a:pt x="98679" y="0"/>
                        </a:cubicBezTo>
                        <a:cubicBezTo>
                          <a:pt x="153178" y="0"/>
                          <a:pt x="197358" y="29382"/>
                          <a:pt x="197358" y="65627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30" name="Grafik 23">
                <a:extLst>
                  <a:ext uri="{FF2B5EF4-FFF2-40B4-BE49-F238E27FC236}">
                    <a16:creationId xmlns:a16="http://schemas.microsoft.com/office/drawing/2014/main" id="{E45B2B9F-1F05-6B76-88A4-1606F8C46A69}"/>
                  </a:ext>
                </a:extLst>
              </p:cNvPr>
              <p:cNvGrpSpPr/>
              <p:nvPr/>
            </p:nvGrpSpPr>
            <p:grpSpPr>
              <a:xfrm>
                <a:off x="9291637" y="1854304"/>
                <a:ext cx="351095" cy="833562"/>
                <a:chOff x="1874837" y="609818"/>
                <a:chExt cx="2341791" cy="5559828"/>
              </a:xfrm>
            </p:grpSpPr>
            <p:grpSp>
              <p:nvGrpSpPr>
                <p:cNvPr id="31" name="Grafik 23">
                  <a:extLst>
                    <a:ext uri="{FF2B5EF4-FFF2-40B4-BE49-F238E27FC236}">
                      <a16:creationId xmlns:a16="http://schemas.microsoft.com/office/drawing/2014/main" id="{28735467-7875-9EA2-6638-F482E730BC34}"/>
                    </a:ext>
                  </a:extLst>
                </p:cNvPr>
                <p:cNvGrpSpPr/>
                <p:nvPr/>
              </p:nvGrpSpPr>
              <p:grpSpPr>
                <a:xfrm>
                  <a:off x="3461130" y="1931860"/>
                  <a:ext cx="755497" cy="464438"/>
                  <a:chOff x="3461130" y="1931860"/>
                  <a:chExt cx="755497" cy="464438"/>
                </a:xfrm>
              </p:grpSpPr>
              <p:grpSp>
                <p:nvGrpSpPr>
                  <p:cNvPr id="83" name="Grafik 23">
                    <a:extLst>
                      <a:ext uri="{FF2B5EF4-FFF2-40B4-BE49-F238E27FC236}">
                        <a16:creationId xmlns:a16="http://schemas.microsoft.com/office/drawing/2014/main" id="{994A74DC-B8DF-DC94-EC39-45FE86266B20}"/>
                      </a:ext>
                    </a:extLst>
                  </p:cNvPr>
                  <p:cNvGrpSpPr/>
                  <p:nvPr/>
                </p:nvGrpSpPr>
                <p:grpSpPr>
                  <a:xfrm>
                    <a:off x="3600659" y="1931860"/>
                    <a:ext cx="615968" cy="410541"/>
                    <a:chOff x="3600659" y="1931860"/>
                    <a:chExt cx="615968" cy="410541"/>
                  </a:xfrm>
                </p:grpSpPr>
                <p:sp>
                  <p:nvSpPr>
                    <p:cNvPr id="86" name="Freihandform: Form 85">
                      <a:extLst>
                        <a:ext uri="{FF2B5EF4-FFF2-40B4-BE49-F238E27FC236}">
                          <a16:creationId xmlns:a16="http://schemas.microsoft.com/office/drawing/2014/main" id="{A8130406-4F8E-48FA-20FB-4C40089B40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600659" y="1931860"/>
                      <a:ext cx="613044" cy="410541"/>
                    </a:xfrm>
                    <a:custGeom>
                      <a:avLst/>
                      <a:gdLst>
                        <a:gd name="connsiteX0" fmla="*/ 1060 w 613044"/>
                        <a:gd name="connsiteY0" fmla="*/ 243173 h 410541"/>
                        <a:gd name="connsiteX1" fmla="*/ 99453 w 613044"/>
                        <a:gd name="connsiteY1" fmla="*/ 135445 h 410541"/>
                        <a:gd name="connsiteX2" fmla="*/ 267474 w 613044"/>
                        <a:gd name="connsiteY2" fmla="*/ 0 h 410541"/>
                        <a:gd name="connsiteX3" fmla="*/ 284143 w 613044"/>
                        <a:gd name="connsiteY3" fmla="*/ 69342 h 410541"/>
                        <a:gd name="connsiteX4" fmla="*/ 220516 w 613044"/>
                        <a:gd name="connsiteY4" fmla="*/ 151543 h 410541"/>
                        <a:gd name="connsiteX5" fmla="*/ 334244 w 613044"/>
                        <a:gd name="connsiteY5" fmla="*/ 194977 h 410541"/>
                        <a:gd name="connsiteX6" fmla="*/ 585133 w 613044"/>
                        <a:gd name="connsiteY6" fmla="*/ 201454 h 410541"/>
                        <a:gd name="connsiteX7" fmla="*/ 612470 w 613044"/>
                        <a:gd name="connsiteY7" fmla="*/ 240601 h 410541"/>
                        <a:gd name="connsiteX8" fmla="*/ 441877 w 613044"/>
                        <a:gd name="connsiteY8" fmla="*/ 266509 h 410541"/>
                        <a:gd name="connsiteX9" fmla="*/ 220421 w 613044"/>
                        <a:gd name="connsiteY9" fmla="*/ 407289 h 410541"/>
                        <a:gd name="connsiteX10" fmla="*/ 63353 w 613044"/>
                        <a:gd name="connsiteY10" fmla="*/ 406908 h 410541"/>
                        <a:gd name="connsiteX11" fmla="*/ 965 w 613044"/>
                        <a:gd name="connsiteY11" fmla="*/ 243173 h 41054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</a:cxnLst>
                      <a:rect l="l" t="t" r="r" b="b"/>
                      <a:pathLst>
                        <a:path w="613044" h="410541">
                          <a:moveTo>
                            <a:pt x="1060" y="243173"/>
                          </a:moveTo>
                          <a:cubicBezTo>
                            <a:pt x="1060" y="243173"/>
                            <a:pt x="28778" y="169259"/>
                            <a:pt x="99453" y="135445"/>
                          </a:cubicBezTo>
                          <a:cubicBezTo>
                            <a:pt x="138506" y="116776"/>
                            <a:pt x="236613" y="43720"/>
                            <a:pt x="267474" y="0"/>
                          </a:cubicBezTo>
                          <a:cubicBezTo>
                            <a:pt x="267474" y="0"/>
                            <a:pt x="310146" y="30861"/>
                            <a:pt x="284143" y="69342"/>
                          </a:cubicBezTo>
                          <a:cubicBezTo>
                            <a:pt x="256235" y="110490"/>
                            <a:pt x="220897" y="137446"/>
                            <a:pt x="220516" y="151543"/>
                          </a:cubicBezTo>
                          <a:cubicBezTo>
                            <a:pt x="220135" y="165640"/>
                            <a:pt x="261093" y="184309"/>
                            <a:pt x="334244" y="194977"/>
                          </a:cubicBezTo>
                          <a:cubicBezTo>
                            <a:pt x="407397" y="205645"/>
                            <a:pt x="568845" y="201073"/>
                            <a:pt x="585133" y="201454"/>
                          </a:cubicBezTo>
                          <a:cubicBezTo>
                            <a:pt x="611612" y="205168"/>
                            <a:pt x="614661" y="222599"/>
                            <a:pt x="612470" y="240601"/>
                          </a:cubicBezTo>
                          <a:cubicBezTo>
                            <a:pt x="605040" y="242792"/>
                            <a:pt x="500551" y="256032"/>
                            <a:pt x="441877" y="266509"/>
                          </a:cubicBezTo>
                          <a:cubicBezTo>
                            <a:pt x="441877" y="266509"/>
                            <a:pt x="247567" y="407956"/>
                            <a:pt x="220421" y="407289"/>
                          </a:cubicBezTo>
                          <a:cubicBezTo>
                            <a:pt x="193274" y="406622"/>
                            <a:pt x="98501" y="415195"/>
                            <a:pt x="63353" y="406908"/>
                          </a:cubicBezTo>
                          <a:cubicBezTo>
                            <a:pt x="63353" y="406908"/>
                            <a:pt x="-9132" y="354711"/>
                            <a:pt x="965" y="243173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7" name="Freihandform: Form 86">
                      <a:extLst>
                        <a:ext uri="{FF2B5EF4-FFF2-40B4-BE49-F238E27FC236}">
                          <a16:creationId xmlns:a16="http://schemas.microsoft.com/office/drawing/2014/main" id="{D4EFA8C6-EE99-8C3D-674D-CFBA6F253EB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46131" y="2104548"/>
                      <a:ext cx="370497" cy="93725"/>
                    </a:xfrm>
                    <a:custGeom>
                      <a:avLst/>
                      <a:gdLst>
                        <a:gd name="connsiteX0" fmla="*/ 0 w 370497"/>
                        <a:gd name="connsiteY0" fmla="*/ 0 h 93725"/>
                        <a:gd name="connsiteX1" fmla="*/ 331946 w 370497"/>
                        <a:gd name="connsiteY1" fmla="*/ 28766 h 93725"/>
                        <a:gd name="connsiteX2" fmla="*/ 369665 w 370497"/>
                        <a:gd name="connsiteY2" fmla="*/ 67246 h 93725"/>
                        <a:gd name="connsiteX3" fmla="*/ 196405 w 370497"/>
                        <a:gd name="connsiteY3" fmla="*/ 93726 h 93725"/>
                        <a:gd name="connsiteX4" fmla="*/ 0 w 370497"/>
                        <a:gd name="connsiteY4" fmla="*/ 0 h 937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70497" h="93725">
                          <a:moveTo>
                            <a:pt x="0" y="0"/>
                          </a:moveTo>
                          <a:cubicBezTo>
                            <a:pt x="99631" y="41815"/>
                            <a:pt x="292798" y="27146"/>
                            <a:pt x="331946" y="28766"/>
                          </a:cubicBezTo>
                          <a:cubicBezTo>
                            <a:pt x="367951" y="27051"/>
                            <a:pt x="372904" y="52102"/>
                            <a:pt x="369665" y="67246"/>
                          </a:cubicBezTo>
                          <a:cubicBezTo>
                            <a:pt x="362236" y="69437"/>
                            <a:pt x="255079" y="83249"/>
                            <a:pt x="196405" y="93726"/>
                          </a:cubicBezTo>
                          <a:cubicBezTo>
                            <a:pt x="113538" y="82677"/>
                            <a:pt x="22669" y="33528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8" name="Freihandform: Form 87">
                      <a:extLst>
                        <a:ext uri="{FF2B5EF4-FFF2-40B4-BE49-F238E27FC236}">
                          <a16:creationId xmlns:a16="http://schemas.microsoft.com/office/drawing/2014/main" id="{7737AC9C-C17A-A472-289A-152268BDEF7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38012" y="2099981"/>
                      <a:ext cx="336064" cy="133901"/>
                    </a:xfrm>
                    <a:custGeom>
                      <a:avLst/>
                      <a:gdLst>
                        <a:gd name="connsiteX0" fmla="*/ 38503 w 336064"/>
                        <a:gd name="connsiteY0" fmla="*/ 53621 h 133901"/>
                        <a:gd name="connsiteX1" fmla="*/ 204143 w 336064"/>
                        <a:gd name="connsiteY1" fmla="*/ 33428 h 133901"/>
                        <a:gd name="connsiteX2" fmla="*/ 266151 w 336064"/>
                        <a:gd name="connsiteY2" fmla="*/ 8663 h 133901"/>
                        <a:gd name="connsiteX3" fmla="*/ 336064 w 336064"/>
                        <a:gd name="connsiteY3" fmla="*/ 25236 h 133901"/>
                        <a:gd name="connsiteX4" fmla="*/ 169186 w 336064"/>
                        <a:gd name="connsiteY4" fmla="*/ 118677 h 133901"/>
                        <a:gd name="connsiteX5" fmla="*/ 38503 w 336064"/>
                        <a:gd name="connsiteY5" fmla="*/ 53621 h 1339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336064" h="133901">
                          <a:moveTo>
                            <a:pt x="38503" y="53621"/>
                          </a:moveTo>
                          <a:cubicBezTo>
                            <a:pt x="130610" y="74195"/>
                            <a:pt x="204143" y="33428"/>
                            <a:pt x="204143" y="33428"/>
                          </a:cubicBezTo>
                          <a:cubicBezTo>
                            <a:pt x="204143" y="33428"/>
                            <a:pt x="251959" y="13140"/>
                            <a:pt x="266151" y="8663"/>
                          </a:cubicBezTo>
                          <a:cubicBezTo>
                            <a:pt x="280343" y="4186"/>
                            <a:pt x="318443" y="-15435"/>
                            <a:pt x="336064" y="25236"/>
                          </a:cubicBezTo>
                          <a:cubicBezTo>
                            <a:pt x="320539" y="35523"/>
                            <a:pt x="169186" y="118677"/>
                            <a:pt x="169186" y="118677"/>
                          </a:cubicBezTo>
                          <a:cubicBezTo>
                            <a:pt x="44790" y="180303"/>
                            <a:pt x="-58937" y="33618"/>
                            <a:pt x="38503" y="53621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84" name="Freihandform: Form 83">
                    <a:extLst>
                      <a:ext uri="{FF2B5EF4-FFF2-40B4-BE49-F238E27FC236}">
                        <a16:creationId xmlns:a16="http://schemas.microsoft.com/office/drawing/2014/main" id="{BEED6B23-F661-A455-A8E6-10F39E9ED5BF}"/>
                      </a:ext>
                    </a:extLst>
                  </p:cNvPr>
                  <p:cNvSpPr/>
                  <p:nvPr/>
                </p:nvSpPr>
                <p:spPr>
                  <a:xfrm rot="-4549200">
                    <a:off x="3542217" y="2170610"/>
                    <a:ext cx="175069" cy="175069"/>
                  </a:xfrm>
                  <a:custGeom>
                    <a:avLst/>
                    <a:gdLst>
                      <a:gd name="connsiteX0" fmla="*/ 175069 w 175069"/>
                      <a:gd name="connsiteY0" fmla="*/ 87535 h 175069"/>
                      <a:gd name="connsiteX1" fmla="*/ 87535 w 175069"/>
                      <a:gd name="connsiteY1" fmla="*/ 175070 h 175069"/>
                      <a:gd name="connsiteX2" fmla="*/ 0 w 175069"/>
                      <a:gd name="connsiteY2" fmla="*/ 87535 h 175069"/>
                      <a:gd name="connsiteX3" fmla="*/ 87535 w 175069"/>
                      <a:gd name="connsiteY3" fmla="*/ 0 h 175069"/>
                      <a:gd name="connsiteX4" fmla="*/ 175069 w 175069"/>
                      <a:gd name="connsiteY4" fmla="*/ 87535 h 1750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75069" h="175069">
                        <a:moveTo>
                          <a:pt x="175069" y="87535"/>
                        </a:moveTo>
                        <a:cubicBezTo>
                          <a:pt x="175069" y="135879"/>
                          <a:pt x="135879" y="175070"/>
                          <a:pt x="87535" y="175070"/>
                        </a:cubicBezTo>
                        <a:cubicBezTo>
                          <a:pt x="39191" y="175070"/>
                          <a:pt x="0" y="135879"/>
                          <a:pt x="0" y="87535"/>
                        </a:cubicBezTo>
                        <a:cubicBezTo>
                          <a:pt x="0" y="39191"/>
                          <a:pt x="39191" y="0"/>
                          <a:pt x="87535" y="0"/>
                        </a:cubicBezTo>
                        <a:cubicBezTo>
                          <a:pt x="135879" y="0"/>
                          <a:pt x="175069" y="39191"/>
                          <a:pt x="175069" y="87535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5" name="Freihandform: Form 84">
                    <a:extLst>
                      <a:ext uri="{FF2B5EF4-FFF2-40B4-BE49-F238E27FC236}">
                        <a16:creationId xmlns:a16="http://schemas.microsoft.com/office/drawing/2014/main" id="{8C06BA02-46EE-6E50-D958-582C98610A3F}"/>
                      </a:ext>
                    </a:extLst>
                  </p:cNvPr>
                  <p:cNvSpPr/>
                  <p:nvPr/>
                </p:nvSpPr>
                <p:spPr>
                  <a:xfrm>
                    <a:off x="3461130" y="2175033"/>
                    <a:ext cx="202977" cy="221265"/>
                  </a:xfrm>
                  <a:custGeom>
                    <a:avLst/>
                    <a:gdLst>
                      <a:gd name="connsiteX0" fmla="*/ 202978 w 202977"/>
                      <a:gd name="connsiteY0" fmla="*/ 163735 h 221265"/>
                      <a:gd name="connsiteX1" fmla="*/ 140589 w 202977"/>
                      <a:gd name="connsiteY1" fmla="*/ 0 h 221265"/>
                      <a:gd name="connsiteX2" fmla="*/ 0 w 202977"/>
                      <a:gd name="connsiteY2" fmla="*/ 51435 h 221265"/>
                      <a:gd name="connsiteX3" fmla="*/ 60770 w 202977"/>
                      <a:gd name="connsiteY3" fmla="*/ 221266 h 221265"/>
                      <a:gd name="connsiteX4" fmla="*/ 202978 w 202977"/>
                      <a:gd name="connsiteY4" fmla="*/ 163735 h 2212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02977" h="221265">
                        <a:moveTo>
                          <a:pt x="202978" y="163735"/>
                        </a:moveTo>
                        <a:lnTo>
                          <a:pt x="140589" y="0"/>
                        </a:lnTo>
                        <a:lnTo>
                          <a:pt x="0" y="51435"/>
                        </a:lnTo>
                        <a:lnTo>
                          <a:pt x="60770" y="221266"/>
                        </a:lnTo>
                        <a:lnTo>
                          <a:pt x="202978" y="163735"/>
                        </a:ln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2" name="Grafik 23">
                  <a:extLst>
                    <a:ext uri="{FF2B5EF4-FFF2-40B4-BE49-F238E27FC236}">
                      <a16:creationId xmlns:a16="http://schemas.microsoft.com/office/drawing/2014/main" id="{2749D6F0-8483-8B0D-A6D9-6B51360D4D50}"/>
                    </a:ext>
                  </a:extLst>
                </p:cNvPr>
                <p:cNvGrpSpPr/>
                <p:nvPr/>
              </p:nvGrpSpPr>
              <p:grpSpPr>
                <a:xfrm>
                  <a:off x="2901155" y="2174271"/>
                  <a:ext cx="790003" cy="520064"/>
                  <a:chOff x="2901155" y="2174271"/>
                  <a:chExt cx="790003" cy="520064"/>
                </a:xfrm>
                <a:solidFill>
                  <a:srgbClr val="FFFFFF"/>
                </a:solidFill>
              </p:grpSpPr>
              <p:sp>
                <p:nvSpPr>
                  <p:cNvPr id="81" name="Freihandform: Form 80">
                    <a:extLst>
                      <a:ext uri="{FF2B5EF4-FFF2-40B4-BE49-F238E27FC236}">
                        <a16:creationId xmlns:a16="http://schemas.microsoft.com/office/drawing/2014/main" id="{10B6AB38-CCFF-6273-30D6-2F8444871B44}"/>
                      </a:ext>
                    </a:extLst>
                  </p:cNvPr>
                  <p:cNvSpPr/>
                  <p:nvPr/>
                </p:nvSpPr>
                <p:spPr>
                  <a:xfrm>
                    <a:off x="3013169" y="2174271"/>
                    <a:ext cx="677989" cy="511587"/>
                  </a:xfrm>
                  <a:custGeom>
                    <a:avLst/>
                    <a:gdLst>
                      <a:gd name="connsiteX0" fmla="*/ 677990 w 677989"/>
                      <a:gd name="connsiteY0" fmla="*/ 313277 h 511587"/>
                      <a:gd name="connsiteX1" fmla="*/ 561975 w 677989"/>
                      <a:gd name="connsiteY1" fmla="*/ 0 h 511587"/>
                      <a:gd name="connsiteX2" fmla="*/ 0 w 677989"/>
                      <a:gd name="connsiteY2" fmla="*/ 185547 h 511587"/>
                      <a:gd name="connsiteX3" fmla="*/ 114490 w 677989"/>
                      <a:gd name="connsiteY3" fmla="*/ 511588 h 511587"/>
                      <a:gd name="connsiteX4" fmla="*/ 677990 w 677989"/>
                      <a:gd name="connsiteY4" fmla="*/ 313277 h 5115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77989" h="511587">
                        <a:moveTo>
                          <a:pt x="677990" y="313277"/>
                        </a:moveTo>
                        <a:lnTo>
                          <a:pt x="561975" y="0"/>
                        </a:lnTo>
                        <a:lnTo>
                          <a:pt x="0" y="185547"/>
                        </a:lnTo>
                        <a:lnTo>
                          <a:pt x="114490" y="511588"/>
                        </a:lnTo>
                        <a:lnTo>
                          <a:pt x="677990" y="31327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2" name="Freihandform: Form 81">
                    <a:extLst>
                      <a:ext uri="{FF2B5EF4-FFF2-40B4-BE49-F238E27FC236}">
                        <a16:creationId xmlns:a16="http://schemas.microsoft.com/office/drawing/2014/main" id="{A11C702B-0C0A-AAB9-271F-232ABA6CC8A3}"/>
                      </a:ext>
                    </a:extLst>
                  </p:cNvPr>
                  <p:cNvSpPr/>
                  <p:nvPr/>
                </p:nvSpPr>
                <p:spPr>
                  <a:xfrm>
                    <a:off x="2901155" y="2348769"/>
                    <a:ext cx="345567" cy="345567"/>
                  </a:xfrm>
                  <a:custGeom>
                    <a:avLst/>
                    <a:gdLst>
                      <a:gd name="connsiteX0" fmla="*/ 345567 w 345567"/>
                      <a:gd name="connsiteY0" fmla="*/ 172783 h 345567"/>
                      <a:gd name="connsiteX1" fmla="*/ 172784 w 345567"/>
                      <a:gd name="connsiteY1" fmla="*/ 345567 h 345567"/>
                      <a:gd name="connsiteX2" fmla="*/ 0 w 345567"/>
                      <a:gd name="connsiteY2" fmla="*/ 172783 h 345567"/>
                      <a:gd name="connsiteX3" fmla="*/ 172784 w 345567"/>
                      <a:gd name="connsiteY3" fmla="*/ 0 h 345567"/>
                      <a:gd name="connsiteX4" fmla="*/ 345567 w 345567"/>
                      <a:gd name="connsiteY4" fmla="*/ 172783 h 3455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45567" h="345567">
                        <a:moveTo>
                          <a:pt x="345567" y="172783"/>
                        </a:moveTo>
                        <a:cubicBezTo>
                          <a:pt x="345567" y="268209"/>
                          <a:pt x="268209" y="345567"/>
                          <a:pt x="172784" y="345567"/>
                        </a:cubicBezTo>
                        <a:cubicBezTo>
                          <a:pt x="77358" y="345567"/>
                          <a:pt x="0" y="268209"/>
                          <a:pt x="0" y="172783"/>
                        </a:cubicBezTo>
                        <a:cubicBezTo>
                          <a:pt x="0" y="77358"/>
                          <a:pt x="77358" y="0"/>
                          <a:pt x="172784" y="0"/>
                        </a:cubicBezTo>
                        <a:cubicBezTo>
                          <a:pt x="268209" y="0"/>
                          <a:pt x="345567" y="77358"/>
                          <a:pt x="345567" y="17278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3" name="Grafik 23">
                  <a:extLst>
                    <a:ext uri="{FF2B5EF4-FFF2-40B4-BE49-F238E27FC236}">
                      <a16:creationId xmlns:a16="http://schemas.microsoft.com/office/drawing/2014/main" id="{E796CBCA-DE76-4092-C474-B3924577D2B6}"/>
                    </a:ext>
                  </a:extLst>
                </p:cNvPr>
                <p:cNvGrpSpPr/>
                <p:nvPr/>
              </p:nvGrpSpPr>
              <p:grpSpPr>
                <a:xfrm>
                  <a:off x="2358897" y="1530286"/>
                  <a:ext cx="861536" cy="1080516"/>
                  <a:chOff x="2358897" y="1530286"/>
                  <a:chExt cx="861536" cy="1080516"/>
                </a:xfrm>
                <a:solidFill>
                  <a:srgbClr val="FFFFFF"/>
                </a:solidFill>
              </p:grpSpPr>
              <p:sp>
                <p:nvSpPr>
                  <p:cNvPr id="79" name="Freihandform: Form 78">
                    <a:extLst>
                      <a:ext uri="{FF2B5EF4-FFF2-40B4-BE49-F238E27FC236}">
                        <a16:creationId xmlns:a16="http://schemas.microsoft.com/office/drawing/2014/main" id="{240772F6-2C49-FFD7-3626-5C4454FB9CA3}"/>
                      </a:ext>
                    </a:extLst>
                  </p:cNvPr>
                  <p:cNvSpPr/>
                  <p:nvPr/>
                </p:nvSpPr>
                <p:spPr>
                  <a:xfrm>
                    <a:off x="2358897" y="1530286"/>
                    <a:ext cx="396621" cy="396621"/>
                  </a:xfrm>
                  <a:custGeom>
                    <a:avLst/>
                    <a:gdLst>
                      <a:gd name="connsiteX0" fmla="*/ 396621 w 396621"/>
                      <a:gd name="connsiteY0" fmla="*/ 198311 h 396621"/>
                      <a:gd name="connsiteX1" fmla="*/ 198311 w 396621"/>
                      <a:gd name="connsiteY1" fmla="*/ 396621 h 396621"/>
                      <a:gd name="connsiteX2" fmla="*/ 0 w 396621"/>
                      <a:gd name="connsiteY2" fmla="*/ 198311 h 396621"/>
                      <a:gd name="connsiteX3" fmla="*/ 198311 w 396621"/>
                      <a:gd name="connsiteY3" fmla="*/ 0 h 396621"/>
                      <a:gd name="connsiteX4" fmla="*/ 396621 w 396621"/>
                      <a:gd name="connsiteY4" fmla="*/ 198311 h 3966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6621" h="396621">
                        <a:moveTo>
                          <a:pt x="396621" y="198311"/>
                        </a:moveTo>
                        <a:cubicBezTo>
                          <a:pt x="396621" y="307834"/>
                          <a:pt x="307834" y="396621"/>
                          <a:pt x="198311" y="396621"/>
                        </a:cubicBezTo>
                        <a:cubicBezTo>
                          <a:pt x="88787" y="396621"/>
                          <a:pt x="0" y="307834"/>
                          <a:pt x="0" y="198311"/>
                        </a:cubicBezTo>
                        <a:cubicBezTo>
                          <a:pt x="0" y="88787"/>
                          <a:pt x="88787" y="0"/>
                          <a:pt x="198311" y="0"/>
                        </a:cubicBezTo>
                        <a:cubicBezTo>
                          <a:pt x="307834" y="0"/>
                          <a:pt x="396621" y="88787"/>
                          <a:pt x="396621" y="19831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0" name="Freihandform: Form 79">
                    <a:extLst>
                      <a:ext uri="{FF2B5EF4-FFF2-40B4-BE49-F238E27FC236}">
                        <a16:creationId xmlns:a16="http://schemas.microsoft.com/office/drawing/2014/main" id="{FFD85389-5DBB-64B1-1F65-1B8AD4894FEB}"/>
                      </a:ext>
                    </a:extLst>
                  </p:cNvPr>
                  <p:cNvSpPr/>
                  <p:nvPr/>
                </p:nvSpPr>
                <p:spPr>
                  <a:xfrm>
                    <a:off x="2388139" y="1624869"/>
                    <a:ext cx="832294" cy="985932"/>
                  </a:xfrm>
                  <a:custGeom>
                    <a:avLst/>
                    <a:gdLst>
                      <a:gd name="connsiteX0" fmla="*/ 537591 w 832294"/>
                      <a:gd name="connsiteY0" fmla="*/ 985933 h 985932"/>
                      <a:gd name="connsiteX1" fmla="*/ 832295 w 832294"/>
                      <a:gd name="connsiteY1" fmla="*/ 805053 h 985932"/>
                      <a:gd name="connsiteX2" fmla="*/ 512064 w 832294"/>
                      <a:gd name="connsiteY2" fmla="*/ 283464 h 985932"/>
                      <a:gd name="connsiteX3" fmla="*/ 338042 w 832294"/>
                      <a:gd name="connsiteY3" fmla="*/ 0 h 985932"/>
                      <a:gd name="connsiteX4" fmla="*/ 0 w 832294"/>
                      <a:gd name="connsiteY4" fmla="*/ 207455 h 985932"/>
                      <a:gd name="connsiteX5" fmla="*/ 199835 w 832294"/>
                      <a:gd name="connsiteY5" fmla="*/ 496824 h 985932"/>
                      <a:gd name="connsiteX6" fmla="*/ 537591 w 832294"/>
                      <a:gd name="connsiteY6" fmla="*/ 985933 h 9859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32294" h="985932">
                        <a:moveTo>
                          <a:pt x="537591" y="985933"/>
                        </a:moveTo>
                        <a:lnTo>
                          <a:pt x="832295" y="805053"/>
                        </a:lnTo>
                        <a:lnTo>
                          <a:pt x="512064" y="283464"/>
                        </a:lnTo>
                        <a:lnTo>
                          <a:pt x="338042" y="0"/>
                        </a:lnTo>
                        <a:lnTo>
                          <a:pt x="0" y="207455"/>
                        </a:lnTo>
                        <a:lnTo>
                          <a:pt x="199835" y="496824"/>
                        </a:lnTo>
                        <a:lnTo>
                          <a:pt x="537591" y="98593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4" name="Grafik 23">
                  <a:extLst>
                    <a:ext uri="{FF2B5EF4-FFF2-40B4-BE49-F238E27FC236}">
                      <a16:creationId xmlns:a16="http://schemas.microsoft.com/office/drawing/2014/main" id="{F18E4751-5778-F857-C7EA-6AEF7772AF5E}"/>
                    </a:ext>
                  </a:extLst>
                </p:cNvPr>
                <p:cNvGrpSpPr/>
                <p:nvPr/>
              </p:nvGrpSpPr>
              <p:grpSpPr>
                <a:xfrm>
                  <a:off x="2248407" y="995518"/>
                  <a:ext cx="483174" cy="622983"/>
                  <a:chOff x="2248407" y="995518"/>
                  <a:chExt cx="483174" cy="622983"/>
                </a:xfrm>
              </p:grpSpPr>
              <p:sp>
                <p:nvSpPr>
                  <p:cNvPr id="77" name="Freihandform: Form 76">
                    <a:extLst>
                      <a:ext uri="{FF2B5EF4-FFF2-40B4-BE49-F238E27FC236}">
                        <a16:creationId xmlns:a16="http://schemas.microsoft.com/office/drawing/2014/main" id="{BCCFE58B-6635-A6AC-A177-67D5396D9C0D}"/>
                      </a:ext>
                    </a:extLst>
                  </p:cNvPr>
                  <p:cNvSpPr/>
                  <p:nvPr/>
                </p:nvSpPr>
                <p:spPr>
                  <a:xfrm>
                    <a:off x="2248407" y="995518"/>
                    <a:ext cx="483174" cy="622432"/>
                  </a:xfrm>
                  <a:custGeom>
                    <a:avLst/>
                    <a:gdLst>
                      <a:gd name="connsiteX0" fmla="*/ 0 w 483174"/>
                      <a:gd name="connsiteY0" fmla="*/ 470760 h 622432"/>
                      <a:gd name="connsiteX1" fmla="*/ 342995 w 483174"/>
                      <a:gd name="connsiteY1" fmla="*/ 593061 h 622432"/>
                      <a:gd name="connsiteX2" fmla="*/ 472535 w 483174"/>
                      <a:gd name="connsiteY2" fmla="*/ 229873 h 622432"/>
                      <a:gd name="connsiteX3" fmla="*/ 129540 w 483174"/>
                      <a:gd name="connsiteY3" fmla="*/ 107572 h 622432"/>
                      <a:gd name="connsiteX4" fmla="*/ 0 w 483174"/>
                      <a:gd name="connsiteY4" fmla="*/ 470760 h 6224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83174" h="622432">
                        <a:moveTo>
                          <a:pt x="0" y="470760"/>
                        </a:moveTo>
                        <a:cubicBezTo>
                          <a:pt x="24574" y="590203"/>
                          <a:pt x="237268" y="667737"/>
                          <a:pt x="342995" y="593061"/>
                        </a:cubicBezTo>
                        <a:lnTo>
                          <a:pt x="472535" y="229873"/>
                        </a:lnTo>
                        <a:cubicBezTo>
                          <a:pt x="547021" y="7083"/>
                          <a:pt x="208788" y="-91596"/>
                          <a:pt x="129540" y="107572"/>
                        </a:cubicBezTo>
                        <a:lnTo>
                          <a:pt x="0" y="470760"/>
                        </a:ln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8" name="Freihandform: Form 77">
                    <a:extLst>
                      <a:ext uri="{FF2B5EF4-FFF2-40B4-BE49-F238E27FC236}">
                        <a16:creationId xmlns:a16="http://schemas.microsoft.com/office/drawing/2014/main" id="{DA7F8437-22D3-032E-503B-1598B334D230}"/>
                      </a:ext>
                    </a:extLst>
                  </p:cNvPr>
                  <p:cNvSpPr/>
                  <p:nvPr/>
                </p:nvSpPr>
                <p:spPr>
                  <a:xfrm>
                    <a:off x="2248407" y="1181100"/>
                    <a:ext cx="351219" cy="437402"/>
                  </a:xfrm>
                  <a:custGeom>
                    <a:avLst/>
                    <a:gdLst>
                      <a:gd name="connsiteX0" fmla="*/ 101727 w 351219"/>
                      <a:gd name="connsiteY0" fmla="*/ 0 h 437402"/>
                      <a:gd name="connsiteX1" fmla="*/ 0 w 351219"/>
                      <a:gd name="connsiteY1" fmla="*/ 285274 h 437402"/>
                      <a:gd name="connsiteX2" fmla="*/ 342995 w 351219"/>
                      <a:gd name="connsiteY2" fmla="*/ 407575 h 437402"/>
                      <a:gd name="connsiteX3" fmla="*/ 293942 w 351219"/>
                      <a:gd name="connsiteY3" fmla="*/ 224409 h 437402"/>
                      <a:gd name="connsiteX4" fmla="*/ 101822 w 351219"/>
                      <a:gd name="connsiteY4" fmla="*/ 95 h 4374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51219" h="437402">
                        <a:moveTo>
                          <a:pt x="101727" y="0"/>
                        </a:moveTo>
                        <a:lnTo>
                          <a:pt x="0" y="285274"/>
                        </a:lnTo>
                        <a:cubicBezTo>
                          <a:pt x="27432" y="400621"/>
                          <a:pt x="236220" y="484823"/>
                          <a:pt x="342995" y="407575"/>
                        </a:cubicBezTo>
                        <a:cubicBezTo>
                          <a:pt x="342995" y="407575"/>
                          <a:pt x="380905" y="277368"/>
                          <a:pt x="293942" y="224409"/>
                        </a:cubicBezTo>
                        <a:cubicBezTo>
                          <a:pt x="101346" y="107156"/>
                          <a:pt x="101822" y="95"/>
                          <a:pt x="101822" y="95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5" name="Grafik 23">
                  <a:extLst>
                    <a:ext uri="{FF2B5EF4-FFF2-40B4-BE49-F238E27FC236}">
                      <a16:creationId xmlns:a16="http://schemas.microsoft.com/office/drawing/2014/main" id="{04E5D48F-AE22-190F-BB45-FC26074F5EC2}"/>
                    </a:ext>
                  </a:extLst>
                </p:cNvPr>
                <p:cNvGrpSpPr/>
                <p:nvPr/>
              </p:nvGrpSpPr>
              <p:grpSpPr>
                <a:xfrm>
                  <a:off x="2228899" y="609818"/>
                  <a:ext cx="706899" cy="824398"/>
                  <a:chOff x="2228899" y="609818"/>
                  <a:chExt cx="706899" cy="824398"/>
                </a:xfrm>
              </p:grpSpPr>
              <p:sp>
                <p:nvSpPr>
                  <p:cNvPr id="70" name="Freihandform: Form 69">
                    <a:extLst>
                      <a:ext uri="{FF2B5EF4-FFF2-40B4-BE49-F238E27FC236}">
                        <a16:creationId xmlns:a16="http://schemas.microsoft.com/office/drawing/2014/main" id="{6638FE81-CBB2-5340-48CA-3E5B7181A3F1}"/>
                      </a:ext>
                    </a:extLst>
                  </p:cNvPr>
                  <p:cNvSpPr/>
                  <p:nvPr/>
                </p:nvSpPr>
                <p:spPr>
                  <a:xfrm rot="-4474199">
                    <a:off x="2319554" y="647266"/>
                    <a:ext cx="525589" cy="588263"/>
                  </a:xfrm>
                  <a:custGeom>
                    <a:avLst/>
                    <a:gdLst>
                      <a:gd name="connsiteX0" fmla="*/ 525589 w 525589"/>
                      <a:gd name="connsiteY0" fmla="*/ 294132 h 588263"/>
                      <a:gd name="connsiteX1" fmla="*/ 262795 w 525589"/>
                      <a:gd name="connsiteY1" fmla="*/ 588264 h 588263"/>
                      <a:gd name="connsiteX2" fmla="*/ 0 w 525589"/>
                      <a:gd name="connsiteY2" fmla="*/ 294132 h 588263"/>
                      <a:gd name="connsiteX3" fmla="*/ 262795 w 525589"/>
                      <a:gd name="connsiteY3" fmla="*/ 0 h 588263"/>
                      <a:gd name="connsiteX4" fmla="*/ 525589 w 525589"/>
                      <a:gd name="connsiteY4" fmla="*/ 294132 h 5882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25589" h="588263">
                        <a:moveTo>
                          <a:pt x="525589" y="294132"/>
                        </a:moveTo>
                        <a:cubicBezTo>
                          <a:pt x="525589" y="456577"/>
                          <a:pt x="407932" y="588264"/>
                          <a:pt x="262795" y="588264"/>
                        </a:cubicBezTo>
                        <a:cubicBezTo>
                          <a:pt x="117657" y="588264"/>
                          <a:pt x="0" y="456577"/>
                          <a:pt x="0" y="294132"/>
                        </a:cubicBezTo>
                        <a:cubicBezTo>
                          <a:pt x="0" y="131687"/>
                          <a:pt x="117657" y="0"/>
                          <a:pt x="262795" y="0"/>
                        </a:cubicBezTo>
                        <a:cubicBezTo>
                          <a:pt x="407932" y="0"/>
                          <a:pt x="525589" y="131687"/>
                          <a:pt x="525589" y="294132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1" name="Freihandform: Form 70">
                    <a:extLst>
                      <a:ext uri="{FF2B5EF4-FFF2-40B4-BE49-F238E27FC236}">
                        <a16:creationId xmlns:a16="http://schemas.microsoft.com/office/drawing/2014/main" id="{B97CAF9A-2191-6DC0-1A77-EF14F0823347}"/>
                      </a:ext>
                    </a:extLst>
                  </p:cNvPr>
                  <p:cNvSpPr/>
                  <p:nvPr/>
                </p:nvSpPr>
                <p:spPr>
                  <a:xfrm>
                    <a:off x="2498816" y="902159"/>
                    <a:ext cx="410138" cy="507459"/>
                  </a:xfrm>
                  <a:custGeom>
                    <a:avLst/>
                    <a:gdLst>
                      <a:gd name="connsiteX0" fmla="*/ 393672 w 410138"/>
                      <a:gd name="connsiteY0" fmla="*/ 224553 h 507459"/>
                      <a:gd name="connsiteX1" fmla="*/ 365573 w 410138"/>
                      <a:gd name="connsiteY1" fmla="*/ 125684 h 507459"/>
                      <a:gd name="connsiteX2" fmla="*/ 31722 w 410138"/>
                      <a:gd name="connsiteY2" fmla="*/ 119778 h 507459"/>
                      <a:gd name="connsiteX3" fmla="*/ 4 w 410138"/>
                      <a:gd name="connsiteY3" fmla="*/ 312755 h 507459"/>
                      <a:gd name="connsiteX4" fmla="*/ 87538 w 410138"/>
                      <a:gd name="connsiteY4" fmla="*/ 470489 h 507459"/>
                      <a:gd name="connsiteX5" fmla="*/ 218317 w 410138"/>
                      <a:gd name="connsiteY5" fmla="*/ 507350 h 507459"/>
                      <a:gd name="connsiteX6" fmla="*/ 280039 w 410138"/>
                      <a:gd name="connsiteY6" fmla="*/ 460297 h 507459"/>
                      <a:gd name="connsiteX7" fmla="*/ 288516 w 410138"/>
                      <a:gd name="connsiteY7" fmla="*/ 430579 h 507459"/>
                      <a:gd name="connsiteX8" fmla="*/ 288516 w 410138"/>
                      <a:gd name="connsiteY8" fmla="*/ 430865 h 507459"/>
                      <a:gd name="connsiteX9" fmla="*/ 300994 w 410138"/>
                      <a:gd name="connsiteY9" fmla="*/ 411243 h 507459"/>
                      <a:gd name="connsiteX10" fmla="*/ 302041 w 410138"/>
                      <a:gd name="connsiteY10" fmla="*/ 378953 h 507459"/>
                      <a:gd name="connsiteX11" fmla="*/ 302041 w 410138"/>
                      <a:gd name="connsiteY11" fmla="*/ 378953 h 507459"/>
                      <a:gd name="connsiteX12" fmla="*/ 321091 w 410138"/>
                      <a:gd name="connsiteY12" fmla="*/ 359427 h 507459"/>
                      <a:gd name="connsiteX13" fmla="*/ 332807 w 410138"/>
                      <a:gd name="connsiteY13" fmla="*/ 315326 h 507459"/>
                      <a:gd name="connsiteX14" fmla="*/ 409579 w 410138"/>
                      <a:gd name="connsiteY14" fmla="*/ 285894 h 507459"/>
                      <a:gd name="connsiteX15" fmla="*/ 393672 w 410138"/>
                      <a:gd name="connsiteY15" fmla="*/ 224648 h 5074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410138" h="507459">
                        <a:moveTo>
                          <a:pt x="393672" y="224553"/>
                        </a:moveTo>
                        <a:cubicBezTo>
                          <a:pt x="383956" y="191787"/>
                          <a:pt x="364144" y="163593"/>
                          <a:pt x="365573" y="125684"/>
                        </a:cubicBezTo>
                        <a:cubicBezTo>
                          <a:pt x="390624" y="-427"/>
                          <a:pt x="83538" y="-76342"/>
                          <a:pt x="31722" y="119778"/>
                        </a:cubicBezTo>
                        <a:cubicBezTo>
                          <a:pt x="31722" y="119778"/>
                          <a:pt x="861" y="258843"/>
                          <a:pt x="4" y="312755"/>
                        </a:cubicBezTo>
                        <a:cubicBezTo>
                          <a:pt x="-377" y="337139"/>
                          <a:pt x="29531" y="447343"/>
                          <a:pt x="87538" y="470489"/>
                        </a:cubicBezTo>
                        <a:cubicBezTo>
                          <a:pt x="137068" y="490205"/>
                          <a:pt x="218317" y="507350"/>
                          <a:pt x="218317" y="507350"/>
                        </a:cubicBezTo>
                        <a:cubicBezTo>
                          <a:pt x="218317" y="507350"/>
                          <a:pt x="261560" y="512018"/>
                          <a:pt x="280039" y="460297"/>
                        </a:cubicBezTo>
                        <a:cubicBezTo>
                          <a:pt x="281467" y="456296"/>
                          <a:pt x="284515" y="445628"/>
                          <a:pt x="288516" y="430579"/>
                        </a:cubicBezTo>
                        <a:lnTo>
                          <a:pt x="288516" y="430865"/>
                        </a:lnTo>
                        <a:cubicBezTo>
                          <a:pt x="288516" y="430865"/>
                          <a:pt x="291469" y="422292"/>
                          <a:pt x="300994" y="411243"/>
                        </a:cubicBezTo>
                        <a:cubicBezTo>
                          <a:pt x="312519" y="397718"/>
                          <a:pt x="318901" y="384287"/>
                          <a:pt x="302041" y="378953"/>
                        </a:cubicBezTo>
                        <a:lnTo>
                          <a:pt x="302041" y="378953"/>
                        </a:lnTo>
                        <a:cubicBezTo>
                          <a:pt x="314805" y="378287"/>
                          <a:pt x="321663" y="365523"/>
                          <a:pt x="321091" y="359427"/>
                        </a:cubicBezTo>
                        <a:cubicBezTo>
                          <a:pt x="319663" y="341806"/>
                          <a:pt x="327949" y="315041"/>
                          <a:pt x="332807" y="315326"/>
                        </a:cubicBezTo>
                        <a:cubicBezTo>
                          <a:pt x="351762" y="316565"/>
                          <a:pt x="416818" y="324185"/>
                          <a:pt x="409579" y="285894"/>
                        </a:cubicBezTo>
                        <a:cubicBezTo>
                          <a:pt x="403864" y="255224"/>
                          <a:pt x="402244" y="253509"/>
                          <a:pt x="393672" y="224648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" name="Freihandform: Form 71">
                    <a:extLst>
                      <a:ext uri="{FF2B5EF4-FFF2-40B4-BE49-F238E27FC236}">
                        <a16:creationId xmlns:a16="http://schemas.microsoft.com/office/drawing/2014/main" id="{641D881B-F9F0-2BCA-7D36-EA8F91FB486D}"/>
                      </a:ext>
                    </a:extLst>
                  </p:cNvPr>
                  <p:cNvSpPr/>
                  <p:nvPr/>
                </p:nvSpPr>
                <p:spPr>
                  <a:xfrm>
                    <a:off x="2692166" y="978624"/>
                    <a:ext cx="158167" cy="48133"/>
                  </a:xfrm>
                  <a:custGeom>
                    <a:avLst/>
                    <a:gdLst>
                      <a:gd name="connsiteX0" fmla="*/ 140218 w 158167"/>
                      <a:gd name="connsiteY0" fmla="*/ 48075 h 48133"/>
                      <a:gd name="connsiteX1" fmla="*/ 79639 w 158167"/>
                      <a:gd name="connsiteY1" fmla="*/ 28549 h 48133"/>
                      <a:gd name="connsiteX2" fmla="*/ 4963 w 158167"/>
                      <a:gd name="connsiteY2" fmla="*/ 25501 h 48133"/>
                      <a:gd name="connsiteX3" fmla="*/ 1439 w 158167"/>
                      <a:gd name="connsiteY3" fmla="*/ 17405 h 48133"/>
                      <a:gd name="connsiteX4" fmla="*/ 71353 w 158167"/>
                      <a:gd name="connsiteY4" fmla="*/ 260 h 48133"/>
                      <a:gd name="connsiteX5" fmla="*/ 154792 w 158167"/>
                      <a:gd name="connsiteY5" fmla="*/ 19691 h 48133"/>
                      <a:gd name="connsiteX6" fmla="*/ 140218 w 158167"/>
                      <a:gd name="connsiteY6" fmla="*/ 48075 h 481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58167" h="48133">
                        <a:moveTo>
                          <a:pt x="140218" y="48075"/>
                        </a:moveTo>
                        <a:cubicBezTo>
                          <a:pt x="130693" y="46647"/>
                          <a:pt x="91831" y="30359"/>
                          <a:pt x="79639" y="28549"/>
                        </a:cubicBezTo>
                        <a:cubicBezTo>
                          <a:pt x="48207" y="23882"/>
                          <a:pt x="20013" y="25215"/>
                          <a:pt x="4963" y="25501"/>
                        </a:cubicBezTo>
                        <a:cubicBezTo>
                          <a:pt x="677" y="25501"/>
                          <a:pt x="-1704" y="20262"/>
                          <a:pt x="1439" y="17405"/>
                        </a:cubicBezTo>
                        <a:cubicBezTo>
                          <a:pt x="19251" y="1212"/>
                          <a:pt x="50398" y="-883"/>
                          <a:pt x="71353" y="260"/>
                        </a:cubicBezTo>
                        <a:cubicBezTo>
                          <a:pt x="104023" y="2070"/>
                          <a:pt x="144600" y="15309"/>
                          <a:pt x="154792" y="19691"/>
                        </a:cubicBezTo>
                        <a:cubicBezTo>
                          <a:pt x="164983" y="24072"/>
                          <a:pt x="149743" y="49504"/>
                          <a:pt x="140218" y="48075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" name="Freihandform: Form 72">
                    <a:extLst>
                      <a:ext uri="{FF2B5EF4-FFF2-40B4-BE49-F238E27FC236}">
                        <a16:creationId xmlns:a16="http://schemas.microsoft.com/office/drawing/2014/main" id="{CEE6E10E-F5A5-EDFD-8435-D7C59D6C0A55}"/>
                      </a:ext>
                    </a:extLst>
                  </p:cNvPr>
                  <p:cNvSpPr/>
                  <p:nvPr/>
                </p:nvSpPr>
                <p:spPr>
                  <a:xfrm rot="-4837802">
                    <a:off x="2748201" y="1039521"/>
                    <a:ext cx="50673" cy="26860"/>
                  </a:xfrm>
                  <a:custGeom>
                    <a:avLst/>
                    <a:gdLst>
                      <a:gd name="connsiteX0" fmla="*/ 50673 w 50673"/>
                      <a:gd name="connsiteY0" fmla="*/ 13430 h 26860"/>
                      <a:gd name="connsiteX1" fmla="*/ 25336 w 50673"/>
                      <a:gd name="connsiteY1" fmla="*/ 26861 h 26860"/>
                      <a:gd name="connsiteX2" fmla="*/ 0 w 50673"/>
                      <a:gd name="connsiteY2" fmla="*/ 13430 h 26860"/>
                      <a:gd name="connsiteX3" fmla="*/ 25336 w 50673"/>
                      <a:gd name="connsiteY3" fmla="*/ 0 h 26860"/>
                      <a:gd name="connsiteX4" fmla="*/ 50673 w 50673"/>
                      <a:gd name="connsiteY4" fmla="*/ 13430 h 268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673" h="26860">
                        <a:moveTo>
                          <a:pt x="50673" y="13430"/>
                        </a:moveTo>
                        <a:cubicBezTo>
                          <a:pt x="50673" y="20848"/>
                          <a:pt x="39329" y="26861"/>
                          <a:pt x="25336" y="26861"/>
                        </a:cubicBezTo>
                        <a:cubicBezTo>
                          <a:pt x="11344" y="26861"/>
                          <a:pt x="0" y="20848"/>
                          <a:pt x="0" y="13430"/>
                        </a:cubicBezTo>
                        <a:cubicBezTo>
                          <a:pt x="0" y="6013"/>
                          <a:pt x="11344" y="0"/>
                          <a:pt x="25336" y="0"/>
                        </a:cubicBezTo>
                        <a:cubicBezTo>
                          <a:pt x="39329" y="0"/>
                          <a:pt x="50673" y="6013"/>
                          <a:pt x="50673" y="1343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4" name="Freihandform: Form 73">
                    <a:extLst>
                      <a:ext uri="{FF2B5EF4-FFF2-40B4-BE49-F238E27FC236}">
                        <a16:creationId xmlns:a16="http://schemas.microsoft.com/office/drawing/2014/main" id="{6FC96CAE-E5C7-ED05-151F-ACFF0C2599BE}"/>
                      </a:ext>
                    </a:extLst>
                  </p:cNvPr>
                  <p:cNvSpPr/>
                  <p:nvPr/>
                </p:nvSpPr>
                <p:spPr>
                  <a:xfrm>
                    <a:off x="2715592" y="1019859"/>
                    <a:ext cx="94079" cy="27890"/>
                  </a:xfrm>
                  <a:custGeom>
                    <a:avLst/>
                    <a:gdLst>
                      <a:gd name="connsiteX0" fmla="*/ 93552 w 94079"/>
                      <a:gd name="connsiteY0" fmla="*/ 27890 h 27890"/>
                      <a:gd name="connsiteX1" fmla="*/ 44022 w 94079"/>
                      <a:gd name="connsiteY1" fmla="*/ 14555 h 27890"/>
                      <a:gd name="connsiteX2" fmla="*/ 1636 w 94079"/>
                      <a:gd name="connsiteY2" fmla="*/ 13984 h 27890"/>
                      <a:gd name="connsiteX3" fmla="*/ 63072 w 94079"/>
                      <a:gd name="connsiteY3" fmla="*/ 1316 h 27890"/>
                      <a:gd name="connsiteX4" fmla="*/ 93552 w 94079"/>
                      <a:gd name="connsiteY4" fmla="*/ 27890 h 278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4079" h="27890">
                        <a:moveTo>
                          <a:pt x="93552" y="27890"/>
                        </a:moveTo>
                        <a:cubicBezTo>
                          <a:pt x="93552" y="27890"/>
                          <a:pt x="73550" y="11222"/>
                          <a:pt x="44022" y="14555"/>
                        </a:cubicBezTo>
                        <a:cubicBezTo>
                          <a:pt x="14399" y="17889"/>
                          <a:pt x="-6079" y="20651"/>
                          <a:pt x="1636" y="13984"/>
                        </a:cubicBezTo>
                        <a:cubicBezTo>
                          <a:pt x="9351" y="7316"/>
                          <a:pt x="31735" y="-3828"/>
                          <a:pt x="63072" y="1316"/>
                        </a:cubicBezTo>
                        <a:cubicBezTo>
                          <a:pt x="72788" y="2935"/>
                          <a:pt x="98029" y="9698"/>
                          <a:pt x="93552" y="2789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5" name="Freihandform: Form 74">
                    <a:extLst>
                      <a:ext uri="{FF2B5EF4-FFF2-40B4-BE49-F238E27FC236}">
                        <a16:creationId xmlns:a16="http://schemas.microsoft.com/office/drawing/2014/main" id="{2097C3A3-0335-75C4-39ED-31DF9B4B3F8E}"/>
                      </a:ext>
                    </a:extLst>
                  </p:cNvPr>
                  <p:cNvSpPr/>
                  <p:nvPr/>
                </p:nvSpPr>
                <p:spPr>
                  <a:xfrm>
                    <a:off x="2260681" y="819150"/>
                    <a:ext cx="573773" cy="615066"/>
                  </a:xfrm>
                  <a:custGeom>
                    <a:avLst/>
                    <a:gdLst>
                      <a:gd name="connsiteX0" fmla="*/ 571037 w 573773"/>
                      <a:gd name="connsiteY0" fmla="*/ 411480 h 615066"/>
                      <a:gd name="connsiteX1" fmla="*/ 488931 w 573773"/>
                      <a:gd name="connsiteY1" fmla="*/ 422814 h 615066"/>
                      <a:gd name="connsiteX2" fmla="*/ 407302 w 573773"/>
                      <a:gd name="connsiteY2" fmla="*/ 347853 h 615066"/>
                      <a:gd name="connsiteX3" fmla="*/ 286811 w 573773"/>
                      <a:gd name="connsiteY3" fmla="*/ 136398 h 615066"/>
                      <a:gd name="connsiteX4" fmla="*/ 54306 w 573773"/>
                      <a:gd name="connsiteY4" fmla="*/ 1809 h 615066"/>
                      <a:gd name="connsiteX5" fmla="*/ 10586 w 573773"/>
                      <a:gd name="connsiteY5" fmla="*/ 164687 h 615066"/>
                      <a:gd name="connsiteX6" fmla="*/ 89548 w 573773"/>
                      <a:gd name="connsiteY6" fmla="*/ 361950 h 615066"/>
                      <a:gd name="connsiteX7" fmla="*/ 172987 w 573773"/>
                      <a:gd name="connsiteY7" fmla="*/ 246888 h 615066"/>
                      <a:gd name="connsiteX8" fmla="*/ 287001 w 573773"/>
                      <a:gd name="connsiteY8" fmla="*/ 294417 h 615066"/>
                      <a:gd name="connsiteX9" fmla="*/ 325768 w 573773"/>
                      <a:gd name="connsiteY9" fmla="*/ 553402 h 615066"/>
                      <a:gd name="connsiteX10" fmla="*/ 417399 w 573773"/>
                      <a:gd name="connsiteY10" fmla="*/ 602075 h 615066"/>
                      <a:gd name="connsiteX11" fmla="*/ 524460 w 573773"/>
                      <a:gd name="connsiteY11" fmla="*/ 577119 h 615066"/>
                      <a:gd name="connsiteX12" fmla="*/ 526650 w 573773"/>
                      <a:gd name="connsiteY12" fmla="*/ 513588 h 615066"/>
                      <a:gd name="connsiteX13" fmla="*/ 526650 w 573773"/>
                      <a:gd name="connsiteY13" fmla="*/ 513873 h 615066"/>
                      <a:gd name="connsiteX14" fmla="*/ 539128 w 573773"/>
                      <a:gd name="connsiteY14" fmla="*/ 494252 h 615066"/>
                      <a:gd name="connsiteX15" fmla="*/ 540176 w 573773"/>
                      <a:gd name="connsiteY15" fmla="*/ 461962 h 615066"/>
                      <a:gd name="connsiteX16" fmla="*/ 571132 w 573773"/>
                      <a:gd name="connsiteY16" fmla="*/ 411480 h 6150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573773" h="615066">
                        <a:moveTo>
                          <a:pt x="571037" y="411480"/>
                        </a:moveTo>
                        <a:cubicBezTo>
                          <a:pt x="570275" y="402717"/>
                          <a:pt x="553130" y="387000"/>
                          <a:pt x="488931" y="422814"/>
                        </a:cubicBezTo>
                        <a:cubicBezTo>
                          <a:pt x="471120" y="432720"/>
                          <a:pt x="451593" y="369951"/>
                          <a:pt x="407302" y="347853"/>
                        </a:cubicBezTo>
                        <a:cubicBezTo>
                          <a:pt x="286620" y="287750"/>
                          <a:pt x="395205" y="216979"/>
                          <a:pt x="286811" y="136398"/>
                        </a:cubicBezTo>
                        <a:cubicBezTo>
                          <a:pt x="218040" y="85344"/>
                          <a:pt x="135078" y="110109"/>
                          <a:pt x="54306" y="1809"/>
                        </a:cubicBezTo>
                        <a:cubicBezTo>
                          <a:pt x="40875" y="-16098"/>
                          <a:pt x="-25419" y="103346"/>
                          <a:pt x="10586" y="164687"/>
                        </a:cubicBezTo>
                        <a:cubicBezTo>
                          <a:pt x="96501" y="311086"/>
                          <a:pt x="89548" y="361950"/>
                          <a:pt x="89548" y="361950"/>
                        </a:cubicBezTo>
                        <a:cubicBezTo>
                          <a:pt x="89548" y="361950"/>
                          <a:pt x="190608" y="336899"/>
                          <a:pt x="172987" y="246888"/>
                        </a:cubicBezTo>
                        <a:cubicBezTo>
                          <a:pt x="170987" y="170592"/>
                          <a:pt x="296622" y="190023"/>
                          <a:pt x="287001" y="294417"/>
                        </a:cubicBezTo>
                        <a:cubicBezTo>
                          <a:pt x="287001" y="318801"/>
                          <a:pt x="174702" y="503967"/>
                          <a:pt x="325768" y="553402"/>
                        </a:cubicBezTo>
                        <a:cubicBezTo>
                          <a:pt x="349485" y="561117"/>
                          <a:pt x="385585" y="581977"/>
                          <a:pt x="417399" y="602075"/>
                        </a:cubicBezTo>
                        <a:cubicBezTo>
                          <a:pt x="456832" y="626840"/>
                          <a:pt x="511220" y="614934"/>
                          <a:pt x="524460" y="577119"/>
                        </a:cubicBezTo>
                        <a:cubicBezTo>
                          <a:pt x="537699" y="539305"/>
                          <a:pt x="522650" y="528637"/>
                          <a:pt x="526650" y="513588"/>
                        </a:cubicBezTo>
                        <a:lnTo>
                          <a:pt x="526650" y="513873"/>
                        </a:lnTo>
                        <a:cubicBezTo>
                          <a:pt x="526650" y="513873"/>
                          <a:pt x="529603" y="505301"/>
                          <a:pt x="539128" y="494252"/>
                        </a:cubicBezTo>
                        <a:cubicBezTo>
                          <a:pt x="550653" y="480726"/>
                          <a:pt x="557035" y="467296"/>
                          <a:pt x="540176" y="461962"/>
                        </a:cubicBezTo>
                        <a:cubicBezTo>
                          <a:pt x="586467" y="461962"/>
                          <a:pt x="571608" y="417671"/>
                          <a:pt x="571132" y="41148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6" name="Freihandform: Form 75">
                    <a:extLst>
                      <a:ext uri="{FF2B5EF4-FFF2-40B4-BE49-F238E27FC236}">
                        <a16:creationId xmlns:a16="http://schemas.microsoft.com/office/drawing/2014/main" id="{06B11940-FA09-CF55-C61D-1EA3FA7C608F}"/>
                      </a:ext>
                    </a:extLst>
                  </p:cNvPr>
                  <p:cNvSpPr/>
                  <p:nvPr/>
                </p:nvSpPr>
                <p:spPr>
                  <a:xfrm rot="-571800">
                    <a:off x="2433554" y="969703"/>
                    <a:ext cx="118871" cy="184403"/>
                  </a:xfrm>
                  <a:custGeom>
                    <a:avLst/>
                    <a:gdLst>
                      <a:gd name="connsiteX0" fmla="*/ 118872 w 118871"/>
                      <a:gd name="connsiteY0" fmla="*/ 92202 h 184403"/>
                      <a:gd name="connsiteX1" fmla="*/ 59436 w 118871"/>
                      <a:gd name="connsiteY1" fmla="*/ 184404 h 184403"/>
                      <a:gd name="connsiteX2" fmla="*/ 0 w 118871"/>
                      <a:gd name="connsiteY2" fmla="*/ 92202 h 184403"/>
                      <a:gd name="connsiteX3" fmla="*/ 59436 w 118871"/>
                      <a:gd name="connsiteY3" fmla="*/ 0 h 184403"/>
                      <a:gd name="connsiteX4" fmla="*/ 118872 w 118871"/>
                      <a:gd name="connsiteY4" fmla="*/ 92202 h 1844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8871" h="184403">
                        <a:moveTo>
                          <a:pt x="118872" y="92202"/>
                        </a:moveTo>
                        <a:cubicBezTo>
                          <a:pt x="118872" y="143124"/>
                          <a:pt x="92262" y="184404"/>
                          <a:pt x="59436" y="184404"/>
                        </a:cubicBezTo>
                        <a:cubicBezTo>
                          <a:pt x="26610" y="184404"/>
                          <a:pt x="0" y="143124"/>
                          <a:pt x="0" y="92202"/>
                        </a:cubicBezTo>
                        <a:cubicBezTo>
                          <a:pt x="0" y="41280"/>
                          <a:pt x="26610" y="0"/>
                          <a:pt x="59436" y="0"/>
                        </a:cubicBezTo>
                        <a:cubicBezTo>
                          <a:pt x="92262" y="0"/>
                          <a:pt x="118872" y="41280"/>
                          <a:pt x="118872" y="92202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6" name="Grafik 23">
                  <a:extLst>
                    <a:ext uri="{FF2B5EF4-FFF2-40B4-BE49-F238E27FC236}">
                      <a16:creationId xmlns:a16="http://schemas.microsoft.com/office/drawing/2014/main" id="{B55DFF47-0E67-33D7-75BB-C2C46A98DFF3}"/>
                    </a:ext>
                  </a:extLst>
                </p:cNvPr>
                <p:cNvGrpSpPr/>
                <p:nvPr/>
              </p:nvGrpSpPr>
              <p:grpSpPr>
                <a:xfrm>
                  <a:off x="1967227" y="1280636"/>
                  <a:ext cx="1281425" cy="4889010"/>
                  <a:chOff x="1967227" y="1280636"/>
                  <a:chExt cx="1281425" cy="4889010"/>
                </a:xfrm>
              </p:grpSpPr>
              <p:grpSp>
                <p:nvGrpSpPr>
                  <p:cNvPr id="51" name="Grafik 23">
                    <a:extLst>
                      <a:ext uri="{FF2B5EF4-FFF2-40B4-BE49-F238E27FC236}">
                        <a16:creationId xmlns:a16="http://schemas.microsoft.com/office/drawing/2014/main" id="{BB635DF1-4A74-10FA-2E34-1738597BC80B}"/>
                      </a:ext>
                    </a:extLst>
                  </p:cNvPr>
                  <p:cNvGrpSpPr/>
                  <p:nvPr/>
                </p:nvGrpSpPr>
                <p:grpSpPr>
                  <a:xfrm>
                    <a:off x="2381090" y="5797515"/>
                    <a:ext cx="867562" cy="295551"/>
                    <a:chOff x="2381090" y="5797515"/>
                    <a:chExt cx="867562" cy="295551"/>
                  </a:xfrm>
                </p:grpSpPr>
                <p:sp>
                  <p:nvSpPr>
                    <p:cNvPr id="68" name="Freihandform: Form 67">
                      <a:extLst>
                        <a:ext uri="{FF2B5EF4-FFF2-40B4-BE49-F238E27FC236}">
                          <a16:creationId xmlns:a16="http://schemas.microsoft.com/office/drawing/2014/main" id="{1A39871A-BAA8-9AFD-0A53-B5C349D6CC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81199" y="5797515"/>
                      <a:ext cx="865764" cy="289407"/>
                    </a:xfrm>
                    <a:custGeom>
                      <a:avLst/>
                      <a:gdLst>
                        <a:gd name="connsiteX0" fmla="*/ 60851 w 865764"/>
                        <a:gd name="connsiteY0" fmla="*/ 28546 h 289407"/>
                        <a:gd name="connsiteX1" fmla="*/ 82 w 865764"/>
                        <a:gd name="connsiteY1" fmla="*/ 170088 h 289407"/>
                        <a:gd name="connsiteX2" fmla="*/ 5702 w 865764"/>
                        <a:gd name="connsiteY2" fmla="*/ 253908 h 289407"/>
                        <a:gd name="connsiteX3" fmla="*/ 30371 w 865764"/>
                        <a:gd name="connsiteY3" fmla="*/ 276863 h 289407"/>
                        <a:gd name="connsiteX4" fmla="*/ 811136 w 865764"/>
                        <a:gd name="connsiteY4" fmla="*/ 249717 h 289407"/>
                        <a:gd name="connsiteX5" fmla="*/ 823899 w 865764"/>
                        <a:gd name="connsiteY5" fmla="*/ 132750 h 289407"/>
                        <a:gd name="connsiteX6" fmla="*/ 534625 w 865764"/>
                        <a:gd name="connsiteY6" fmla="*/ 83696 h 289407"/>
                        <a:gd name="connsiteX7" fmla="*/ 329837 w 865764"/>
                        <a:gd name="connsiteY7" fmla="*/ 829 h 289407"/>
                        <a:gd name="connsiteX8" fmla="*/ 273068 w 865764"/>
                        <a:gd name="connsiteY8" fmla="*/ 56931 h 289407"/>
                        <a:gd name="connsiteX9" fmla="*/ 140195 w 865764"/>
                        <a:gd name="connsiteY9" fmla="*/ 56931 h 289407"/>
                        <a:gd name="connsiteX10" fmla="*/ 60756 w 865764"/>
                        <a:gd name="connsiteY10" fmla="*/ 28546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60851" y="28546"/>
                          </a:moveTo>
                          <a:cubicBezTo>
                            <a:pt x="60851" y="28546"/>
                            <a:pt x="-2585" y="92078"/>
                            <a:pt x="82" y="170088"/>
                          </a:cubicBezTo>
                          <a:cubicBezTo>
                            <a:pt x="1511" y="210474"/>
                            <a:pt x="3797" y="237335"/>
                            <a:pt x="5702" y="253908"/>
                          </a:cubicBezTo>
                          <a:cubicBezTo>
                            <a:pt x="7130" y="266576"/>
                            <a:pt x="17608" y="276292"/>
                            <a:pt x="30371" y="276863"/>
                          </a:cubicBezTo>
                          <a:cubicBezTo>
                            <a:pt x="138956" y="281626"/>
                            <a:pt x="690740" y="314487"/>
                            <a:pt x="811136" y="249717"/>
                          </a:cubicBezTo>
                          <a:cubicBezTo>
                            <a:pt x="926102" y="187900"/>
                            <a:pt x="823899" y="132750"/>
                            <a:pt x="823899" y="132750"/>
                          </a:cubicBezTo>
                          <a:cubicBezTo>
                            <a:pt x="823899" y="132750"/>
                            <a:pt x="648925" y="152753"/>
                            <a:pt x="534625" y="83696"/>
                          </a:cubicBezTo>
                          <a:cubicBezTo>
                            <a:pt x="432898" y="22260"/>
                            <a:pt x="348030" y="-5267"/>
                            <a:pt x="329837" y="829"/>
                          </a:cubicBezTo>
                          <a:cubicBezTo>
                            <a:pt x="311645" y="6925"/>
                            <a:pt x="305263" y="35500"/>
                            <a:pt x="273068" y="56931"/>
                          </a:cubicBezTo>
                          <a:cubicBezTo>
                            <a:pt x="240779" y="78458"/>
                            <a:pt x="202012" y="78458"/>
                            <a:pt x="140195" y="56931"/>
                          </a:cubicBezTo>
                          <a:cubicBezTo>
                            <a:pt x="78377" y="35405"/>
                            <a:pt x="79616" y="20450"/>
                            <a:pt x="60756" y="28546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9" name="Freihandform: Form 68">
                      <a:extLst>
                        <a:ext uri="{FF2B5EF4-FFF2-40B4-BE49-F238E27FC236}">
                          <a16:creationId xmlns:a16="http://schemas.microsoft.com/office/drawing/2014/main" id="{4BA27757-23D5-C3BB-429A-B49D4B2C0F6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81090" y="5939885"/>
                      <a:ext cx="867562" cy="153181"/>
                    </a:xfrm>
                    <a:custGeom>
                      <a:avLst/>
                      <a:gdLst>
                        <a:gd name="connsiteX0" fmla="*/ 30099 w 867562"/>
                        <a:gd name="connsiteY0" fmla="*/ 153162 h 153181"/>
                        <a:gd name="connsiteX1" fmla="*/ 692658 w 867562"/>
                        <a:gd name="connsiteY1" fmla="*/ 152781 h 153181"/>
                        <a:gd name="connsiteX2" fmla="*/ 811816 w 867562"/>
                        <a:gd name="connsiteY2" fmla="*/ 116396 h 153181"/>
                        <a:gd name="connsiteX3" fmla="*/ 838962 w 867562"/>
                        <a:gd name="connsiteY3" fmla="*/ 0 h 153181"/>
                        <a:gd name="connsiteX4" fmla="*/ 798862 w 867562"/>
                        <a:gd name="connsiteY4" fmla="*/ 42291 h 153181"/>
                        <a:gd name="connsiteX5" fmla="*/ 0 w 867562"/>
                        <a:gd name="connsiteY5" fmla="*/ 51245 h 153181"/>
                        <a:gd name="connsiteX6" fmla="*/ 5239 w 867562"/>
                        <a:gd name="connsiteY6" fmla="*/ 130016 h 153181"/>
                        <a:gd name="connsiteX7" fmla="*/ 30004 w 867562"/>
                        <a:gd name="connsiteY7" fmla="*/ 153162 h 1531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1">
                          <a:moveTo>
                            <a:pt x="30099" y="153162"/>
                          </a:moveTo>
                          <a:cubicBezTo>
                            <a:pt x="32575" y="153258"/>
                            <a:pt x="690563" y="152971"/>
                            <a:pt x="692658" y="152781"/>
                          </a:cubicBezTo>
                          <a:cubicBezTo>
                            <a:pt x="751237" y="147066"/>
                            <a:pt x="787813" y="129350"/>
                            <a:pt x="811816" y="116396"/>
                          </a:cubicBezTo>
                          <a:cubicBezTo>
                            <a:pt x="897922" y="70104"/>
                            <a:pt x="865251" y="15907"/>
                            <a:pt x="838962" y="0"/>
                          </a:cubicBezTo>
                          <a:cubicBezTo>
                            <a:pt x="830390" y="9430"/>
                            <a:pt x="817531" y="32290"/>
                            <a:pt x="798862" y="42291"/>
                          </a:cubicBezTo>
                          <a:cubicBezTo>
                            <a:pt x="671703" y="110680"/>
                            <a:pt x="68390" y="56483"/>
                            <a:pt x="0" y="51245"/>
                          </a:cubicBezTo>
                          <a:cubicBezTo>
                            <a:pt x="1429" y="85630"/>
                            <a:pt x="3429" y="114871"/>
                            <a:pt x="5239" y="130016"/>
                          </a:cubicBezTo>
                          <a:cubicBezTo>
                            <a:pt x="6667" y="142780"/>
                            <a:pt x="17145" y="152591"/>
                            <a:pt x="30004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52" name="Grafik 23">
                    <a:extLst>
                      <a:ext uri="{FF2B5EF4-FFF2-40B4-BE49-F238E27FC236}">
                        <a16:creationId xmlns:a16="http://schemas.microsoft.com/office/drawing/2014/main" id="{BC15AB41-2354-2ABE-E5B9-09231C92060A}"/>
                      </a:ext>
                    </a:extLst>
                  </p:cNvPr>
                  <p:cNvGrpSpPr/>
                  <p:nvPr/>
                </p:nvGrpSpPr>
                <p:grpSpPr>
                  <a:xfrm>
                    <a:off x="2220308" y="5874095"/>
                    <a:ext cx="867562" cy="295551"/>
                    <a:chOff x="2220308" y="5874095"/>
                    <a:chExt cx="867562" cy="295551"/>
                  </a:xfrm>
                </p:grpSpPr>
                <p:sp>
                  <p:nvSpPr>
                    <p:cNvPr id="66" name="Freihandform: Form 65">
                      <a:extLst>
                        <a:ext uri="{FF2B5EF4-FFF2-40B4-BE49-F238E27FC236}">
                          <a16:creationId xmlns:a16="http://schemas.microsoft.com/office/drawing/2014/main" id="{D10DE5C0-0125-0D91-E2B2-B816317F80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20512" y="5874095"/>
                      <a:ext cx="865764" cy="289407"/>
                    </a:xfrm>
                    <a:custGeom>
                      <a:avLst/>
                      <a:gdLst>
                        <a:gd name="connsiteX0" fmla="*/ 60851 w 865764"/>
                        <a:gd name="connsiteY0" fmla="*/ 28547 h 289407"/>
                        <a:gd name="connsiteX1" fmla="*/ 82 w 865764"/>
                        <a:gd name="connsiteY1" fmla="*/ 170088 h 289407"/>
                        <a:gd name="connsiteX2" fmla="*/ 5702 w 865764"/>
                        <a:gd name="connsiteY2" fmla="*/ 253908 h 289407"/>
                        <a:gd name="connsiteX3" fmla="*/ 30371 w 865764"/>
                        <a:gd name="connsiteY3" fmla="*/ 276864 h 289407"/>
                        <a:gd name="connsiteX4" fmla="*/ 811136 w 865764"/>
                        <a:gd name="connsiteY4" fmla="*/ 249717 h 289407"/>
                        <a:gd name="connsiteX5" fmla="*/ 823899 w 865764"/>
                        <a:gd name="connsiteY5" fmla="*/ 132750 h 289407"/>
                        <a:gd name="connsiteX6" fmla="*/ 534625 w 865764"/>
                        <a:gd name="connsiteY6" fmla="*/ 83696 h 289407"/>
                        <a:gd name="connsiteX7" fmla="*/ 329837 w 865764"/>
                        <a:gd name="connsiteY7" fmla="*/ 829 h 289407"/>
                        <a:gd name="connsiteX8" fmla="*/ 273068 w 865764"/>
                        <a:gd name="connsiteY8" fmla="*/ 56931 h 289407"/>
                        <a:gd name="connsiteX9" fmla="*/ 140195 w 865764"/>
                        <a:gd name="connsiteY9" fmla="*/ 56931 h 289407"/>
                        <a:gd name="connsiteX10" fmla="*/ 60756 w 865764"/>
                        <a:gd name="connsiteY10" fmla="*/ 28547 h 2894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65764" h="289407">
                          <a:moveTo>
                            <a:pt x="60851" y="28547"/>
                          </a:moveTo>
                          <a:cubicBezTo>
                            <a:pt x="60851" y="28547"/>
                            <a:pt x="-2585" y="92078"/>
                            <a:pt x="82" y="170088"/>
                          </a:cubicBezTo>
                          <a:cubicBezTo>
                            <a:pt x="1511" y="210474"/>
                            <a:pt x="3797" y="237335"/>
                            <a:pt x="5702" y="253908"/>
                          </a:cubicBezTo>
                          <a:cubicBezTo>
                            <a:pt x="7130" y="266576"/>
                            <a:pt x="17608" y="276292"/>
                            <a:pt x="30371" y="276864"/>
                          </a:cubicBezTo>
                          <a:cubicBezTo>
                            <a:pt x="138956" y="281626"/>
                            <a:pt x="690740" y="314487"/>
                            <a:pt x="811136" y="249717"/>
                          </a:cubicBezTo>
                          <a:cubicBezTo>
                            <a:pt x="926102" y="187900"/>
                            <a:pt x="823899" y="132750"/>
                            <a:pt x="823899" y="132750"/>
                          </a:cubicBezTo>
                          <a:cubicBezTo>
                            <a:pt x="823899" y="132750"/>
                            <a:pt x="648925" y="152752"/>
                            <a:pt x="534625" y="83696"/>
                          </a:cubicBezTo>
                          <a:cubicBezTo>
                            <a:pt x="432898" y="22260"/>
                            <a:pt x="348030" y="-5267"/>
                            <a:pt x="329837" y="829"/>
                          </a:cubicBezTo>
                          <a:cubicBezTo>
                            <a:pt x="311645" y="6925"/>
                            <a:pt x="305263" y="35500"/>
                            <a:pt x="273068" y="56931"/>
                          </a:cubicBezTo>
                          <a:cubicBezTo>
                            <a:pt x="240779" y="78458"/>
                            <a:pt x="202012" y="78458"/>
                            <a:pt x="140195" y="56931"/>
                          </a:cubicBezTo>
                          <a:cubicBezTo>
                            <a:pt x="78377" y="35404"/>
                            <a:pt x="79616" y="20450"/>
                            <a:pt x="60756" y="28547"/>
                          </a:cubicBez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7" name="Freihandform: Form 66">
                      <a:extLst>
                        <a:ext uri="{FF2B5EF4-FFF2-40B4-BE49-F238E27FC236}">
                          <a16:creationId xmlns:a16="http://schemas.microsoft.com/office/drawing/2014/main" id="{9DD3FC2C-52BD-E524-CACC-D7FB5C0FB33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20308" y="6016466"/>
                      <a:ext cx="867562" cy="153180"/>
                    </a:xfrm>
                    <a:custGeom>
                      <a:avLst/>
                      <a:gdLst>
                        <a:gd name="connsiteX0" fmla="*/ 30099 w 867562"/>
                        <a:gd name="connsiteY0" fmla="*/ 153162 h 153180"/>
                        <a:gd name="connsiteX1" fmla="*/ 692658 w 867562"/>
                        <a:gd name="connsiteY1" fmla="*/ 152781 h 153180"/>
                        <a:gd name="connsiteX2" fmla="*/ 811816 w 867562"/>
                        <a:gd name="connsiteY2" fmla="*/ 116395 h 153180"/>
                        <a:gd name="connsiteX3" fmla="*/ 838962 w 867562"/>
                        <a:gd name="connsiteY3" fmla="*/ 0 h 153180"/>
                        <a:gd name="connsiteX4" fmla="*/ 798862 w 867562"/>
                        <a:gd name="connsiteY4" fmla="*/ 42291 h 153180"/>
                        <a:gd name="connsiteX5" fmla="*/ 0 w 867562"/>
                        <a:gd name="connsiteY5" fmla="*/ 51245 h 153180"/>
                        <a:gd name="connsiteX6" fmla="*/ 5239 w 867562"/>
                        <a:gd name="connsiteY6" fmla="*/ 130016 h 153180"/>
                        <a:gd name="connsiteX7" fmla="*/ 30004 w 867562"/>
                        <a:gd name="connsiteY7" fmla="*/ 153162 h 15318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867562" h="153180">
                          <a:moveTo>
                            <a:pt x="30099" y="153162"/>
                          </a:moveTo>
                          <a:cubicBezTo>
                            <a:pt x="32575" y="153257"/>
                            <a:pt x="690562" y="152971"/>
                            <a:pt x="692658" y="152781"/>
                          </a:cubicBezTo>
                          <a:cubicBezTo>
                            <a:pt x="751237" y="147066"/>
                            <a:pt x="787813" y="129349"/>
                            <a:pt x="811816" y="116395"/>
                          </a:cubicBezTo>
                          <a:cubicBezTo>
                            <a:pt x="897922" y="70104"/>
                            <a:pt x="865251" y="15907"/>
                            <a:pt x="838962" y="0"/>
                          </a:cubicBezTo>
                          <a:cubicBezTo>
                            <a:pt x="830389" y="9430"/>
                            <a:pt x="817531" y="32289"/>
                            <a:pt x="798862" y="42291"/>
                          </a:cubicBezTo>
                          <a:cubicBezTo>
                            <a:pt x="671703" y="110680"/>
                            <a:pt x="68390" y="56483"/>
                            <a:pt x="0" y="51245"/>
                          </a:cubicBezTo>
                          <a:cubicBezTo>
                            <a:pt x="1429" y="85630"/>
                            <a:pt x="3429" y="114871"/>
                            <a:pt x="5239" y="130016"/>
                          </a:cubicBezTo>
                          <a:cubicBezTo>
                            <a:pt x="6668" y="142780"/>
                            <a:pt x="17145" y="152590"/>
                            <a:pt x="30004" y="153162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3" name="Freihandform: Form 52">
                    <a:extLst>
                      <a:ext uri="{FF2B5EF4-FFF2-40B4-BE49-F238E27FC236}">
                        <a16:creationId xmlns:a16="http://schemas.microsoft.com/office/drawing/2014/main" id="{A37B211C-1CAA-5C9C-787E-D949C2213C1A}"/>
                      </a:ext>
                    </a:extLst>
                  </p:cNvPr>
                  <p:cNvSpPr/>
                  <p:nvPr/>
                </p:nvSpPr>
                <p:spPr>
                  <a:xfrm>
                    <a:off x="2143233" y="2862833"/>
                    <a:ext cx="819357" cy="1885252"/>
                  </a:xfrm>
                  <a:custGeom>
                    <a:avLst/>
                    <a:gdLst>
                      <a:gd name="connsiteX0" fmla="*/ 37165 w 819357"/>
                      <a:gd name="connsiteY0" fmla="*/ 78581 h 1885252"/>
                      <a:gd name="connsiteX1" fmla="*/ 704010 w 819357"/>
                      <a:gd name="connsiteY1" fmla="*/ 0 h 1885252"/>
                      <a:gd name="connsiteX2" fmla="*/ 802594 w 819357"/>
                      <a:gd name="connsiteY2" fmla="*/ 936117 h 1885252"/>
                      <a:gd name="connsiteX3" fmla="*/ 811167 w 819357"/>
                      <a:gd name="connsiteY3" fmla="*/ 1804130 h 1885252"/>
                      <a:gd name="connsiteX4" fmla="*/ 296436 w 819357"/>
                      <a:gd name="connsiteY4" fmla="*/ 1843659 h 1885252"/>
                      <a:gd name="connsiteX5" fmla="*/ 37070 w 819357"/>
                      <a:gd name="connsiteY5" fmla="*/ 78677 h 18852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19357" h="1885252">
                        <a:moveTo>
                          <a:pt x="37165" y="78581"/>
                        </a:moveTo>
                        <a:cubicBezTo>
                          <a:pt x="46595" y="79820"/>
                          <a:pt x="704010" y="0"/>
                          <a:pt x="704010" y="0"/>
                        </a:cubicBezTo>
                        <a:cubicBezTo>
                          <a:pt x="704010" y="0"/>
                          <a:pt x="794307" y="770858"/>
                          <a:pt x="802594" y="936117"/>
                        </a:cubicBezTo>
                        <a:cubicBezTo>
                          <a:pt x="834408" y="1569434"/>
                          <a:pt x="811167" y="1804130"/>
                          <a:pt x="811167" y="1804130"/>
                        </a:cubicBezTo>
                        <a:cubicBezTo>
                          <a:pt x="664291" y="1911477"/>
                          <a:pt x="461599" y="1898809"/>
                          <a:pt x="296436" y="1843659"/>
                        </a:cubicBezTo>
                        <a:cubicBezTo>
                          <a:pt x="183850" y="1122045"/>
                          <a:pt x="-101233" y="808292"/>
                          <a:pt x="37070" y="78677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4" name="Freihandform: Form 53">
                    <a:extLst>
                      <a:ext uri="{FF2B5EF4-FFF2-40B4-BE49-F238E27FC236}">
                        <a16:creationId xmlns:a16="http://schemas.microsoft.com/office/drawing/2014/main" id="{120D8DD8-E28A-CDB4-8421-93C2C15D2854}"/>
                      </a:ext>
                    </a:extLst>
                  </p:cNvPr>
                  <p:cNvSpPr/>
                  <p:nvPr/>
                </p:nvSpPr>
                <p:spPr>
                  <a:xfrm>
                    <a:off x="2334164" y="4557019"/>
                    <a:ext cx="619855" cy="1372578"/>
                  </a:xfrm>
                  <a:custGeom>
                    <a:avLst/>
                    <a:gdLst>
                      <a:gd name="connsiteX0" fmla="*/ 104648 w 619855"/>
                      <a:gd name="connsiteY0" fmla="*/ 57557 h 1372578"/>
                      <a:gd name="connsiteX1" fmla="*/ 19494 w 619855"/>
                      <a:gd name="connsiteY1" fmla="*/ 1049776 h 1372578"/>
                      <a:gd name="connsiteX2" fmla="*/ 52165 w 619855"/>
                      <a:gd name="connsiteY2" fmla="*/ 1372197 h 1372578"/>
                      <a:gd name="connsiteX3" fmla="*/ 356013 w 619855"/>
                      <a:gd name="connsiteY3" fmla="*/ 1339050 h 1372578"/>
                      <a:gd name="connsiteX4" fmla="*/ 569182 w 619855"/>
                      <a:gd name="connsiteY4" fmla="*/ 1316572 h 1372578"/>
                      <a:gd name="connsiteX5" fmla="*/ 557466 w 619855"/>
                      <a:gd name="connsiteY5" fmla="*/ 861848 h 1372578"/>
                      <a:gd name="connsiteX6" fmla="*/ 619855 w 619855"/>
                      <a:gd name="connsiteY6" fmla="*/ 115945 h 1372578"/>
                      <a:gd name="connsiteX7" fmla="*/ 104553 w 619855"/>
                      <a:gd name="connsiteY7" fmla="*/ 57461 h 13725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19855" h="1372578">
                        <a:moveTo>
                          <a:pt x="104648" y="57557"/>
                        </a:moveTo>
                        <a:cubicBezTo>
                          <a:pt x="14065" y="416935"/>
                          <a:pt x="36830" y="870706"/>
                          <a:pt x="19494" y="1049776"/>
                        </a:cubicBezTo>
                        <a:cubicBezTo>
                          <a:pt x="8922" y="1159123"/>
                          <a:pt x="-32607" y="1383056"/>
                          <a:pt x="52165" y="1372197"/>
                        </a:cubicBezTo>
                        <a:cubicBezTo>
                          <a:pt x="115983" y="1358672"/>
                          <a:pt x="228187" y="1349718"/>
                          <a:pt x="356013" y="1339050"/>
                        </a:cubicBezTo>
                        <a:cubicBezTo>
                          <a:pt x="483838" y="1328287"/>
                          <a:pt x="569182" y="1316572"/>
                          <a:pt x="569182" y="1316572"/>
                        </a:cubicBezTo>
                        <a:cubicBezTo>
                          <a:pt x="569182" y="1316572"/>
                          <a:pt x="555752" y="917855"/>
                          <a:pt x="557466" y="861848"/>
                        </a:cubicBezTo>
                        <a:cubicBezTo>
                          <a:pt x="559181" y="805841"/>
                          <a:pt x="619855" y="115945"/>
                          <a:pt x="619855" y="115945"/>
                        </a:cubicBezTo>
                        <a:cubicBezTo>
                          <a:pt x="465550" y="5169"/>
                          <a:pt x="266668" y="-48933"/>
                          <a:pt x="104553" y="57461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5" name="Freihandform: Form 54">
                    <a:extLst>
                      <a:ext uri="{FF2B5EF4-FFF2-40B4-BE49-F238E27FC236}">
                        <a16:creationId xmlns:a16="http://schemas.microsoft.com/office/drawing/2014/main" id="{F0974AC9-AD8C-5DB5-7307-51CFDFD240A5}"/>
                      </a:ext>
                    </a:extLst>
                  </p:cNvPr>
                  <p:cNvSpPr/>
                  <p:nvPr/>
                </p:nvSpPr>
                <p:spPr>
                  <a:xfrm>
                    <a:off x="2435192" y="4398359"/>
                    <a:ext cx="519303" cy="519302"/>
                  </a:xfrm>
                  <a:custGeom>
                    <a:avLst/>
                    <a:gdLst>
                      <a:gd name="connsiteX0" fmla="*/ 519303 w 519303"/>
                      <a:gd name="connsiteY0" fmla="*/ 259651 h 519302"/>
                      <a:gd name="connsiteX1" fmla="*/ 259651 w 519303"/>
                      <a:gd name="connsiteY1" fmla="*/ 519303 h 519302"/>
                      <a:gd name="connsiteX2" fmla="*/ 0 w 519303"/>
                      <a:gd name="connsiteY2" fmla="*/ 259651 h 519302"/>
                      <a:gd name="connsiteX3" fmla="*/ 259651 w 519303"/>
                      <a:gd name="connsiteY3" fmla="*/ 0 h 519302"/>
                      <a:gd name="connsiteX4" fmla="*/ 519303 w 519303"/>
                      <a:gd name="connsiteY4" fmla="*/ 259651 h 519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9303" h="519302">
                        <a:moveTo>
                          <a:pt x="519303" y="259651"/>
                        </a:moveTo>
                        <a:cubicBezTo>
                          <a:pt x="519303" y="403053"/>
                          <a:pt x="403053" y="519303"/>
                          <a:pt x="259651" y="519303"/>
                        </a:cubicBezTo>
                        <a:cubicBezTo>
                          <a:pt x="116250" y="519303"/>
                          <a:pt x="0" y="403053"/>
                          <a:pt x="0" y="259651"/>
                        </a:cubicBezTo>
                        <a:cubicBezTo>
                          <a:pt x="0" y="116250"/>
                          <a:pt x="116250" y="0"/>
                          <a:pt x="259651" y="0"/>
                        </a:cubicBezTo>
                        <a:cubicBezTo>
                          <a:pt x="403053" y="0"/>
                          <a:pt x="519303" y="116250"/>
                          <a:pt x="519303" y="259651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6" name="Freihandform: Form 55">
                    <a:extLst>
                      <a:ext uri="{FF2B5EF4-FFF2-40B4-BE49-F238E27FC236}">
                        <a16:creationId xmlns:a16="http://schemas.microsoft.com/office/drawing/2014/main" id="{91869B8B-B734-0E12-9A9F-810136FA2952}"/>
                      </a:ext>
                    </a:extLst>
                  </p:cNvPr>
                  <p:cNvSpPr/>
                  <p:nvPr/>
                </p:nvSpPr>
                <p:spPr>
                  <a:xfrm>
                    <a:off x="2162261" y="2915792"/>
                    <a:ext cx="808712" cy="1916312"/>
                  </a:xfrm>
                  <a:custGeom>
                    <a:avLst/>
                    <a:gdLst>
                      <a:gd name="connsiteX0" fmla="*/ 138915 w 808712"/>
                      <a:gd name="connsiteY0" fmla="*/ 0 h 1916312"/>
                      <a:gd name="connsiteX1" fmla="*/ 808713 w 808712"/>
                      <a:gd name="connsiteY1" fmla="*/ 48196 h 1916312"/>
                      <a:gd name="connsiteX2" fmla="*/ 729465 w 808712"/>
                      <a:gd name="connsiteY2" fmla="*/ 986219 h 1916312"/>
                      <a:gd name="connsiteX3" fmla="*/ 567635 w 808712"/>
                      <a:gd name="connsiteY3" fmla="*/ 1871186 h 1916312"/>
                      <a:gd name="connsiteX4" fmla="*/ 58905 w 808712"/>
                      <a:gd name="connsiteY4" fmla="*/ 1834325 h 1916312"/>
                      <a:gd name="connsiteX5" fmla="*/ 138915 w 808712"/>
                      <a:gd name="connsiteY5" fmla="*/ 0 h 19163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08712" h="1916312">
                        <a:moveTo>
                          <a:pt x="138915" y="0"/>
                        </a:moveTo>
                        <a:cubicBezTo>
                          <a:pt x="147963" y="3048"/>
                          <a:pt x="808713" y="48196"/>
                          <a:pt x="808713" y="48196"/>
                        </a:cubicBezTo>
                        <a:cubicBezTo>
                          <a:pt x="808713" y="48196"/>
                          <a:pt x="752420" y="822293"/>
                          <a:pt x="729465" y="986219"/>
                        </a:cubicBezTo>
                        <a:cubicBezTo>
                          <a:pt x="641644" y="1614202"/>
                          <a:pt x="567635" y="1871186"/>
                          <a:pt x="567635" y="1871186"/>
                        </a:cubicBezTo>
                        <a:cubicBezTo>
                          <a:pt x="403138" y="1948910"/>
                          <a:pt x="210733" y="1919478"/>
                          <a:pt x="58905" y="1834325"/>
                        </a:cubicBezTo>
                        <a:cubicBezTo>
                          <a:pt x="84051" y="1104329"/>
                          <a:pt x="-134167" y="690658"/>
                          <a:pt x="138915" y="0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7" name="Freihandform: Form 56">
                    <a:extLst>
                      <a:ext uri="{FF2B5EF4-FFF2-40B4-BE49-F238E27FC236}">
                        <a16:creationId xmlns:a16="http://schemas.microsoft.com/office/drawing/2014/main" id="{27787EC0-12BB-0147-A8A7-33CB7F769B6C}"/>
                      </a:ext>
                    </a:extLst>
                  </p:cNvPr>
                  <p:cNvSpPr/>
                  <p:nvPr/>
                </p:nvSpPr>
                <p:spPr>
                  <a:xfrm>
                    <a:off x="2163652" y="4675131"/>
                    <a:ext cx="566148" cy="1315331"/>
                  </a:xfrm>
                  <a:custGeom>
                    <a:avLst/>
                    <a:gdLst>
                      <a:gd name="connsiteX0" fmla="*/ 65134 w 566148"/>
                      <a:gd name="connsiteY0" fmla="*/ 1315332 h 1315331"/>
                      <a:gd name="connsiteX1" fmla="*/ 555385 w 566148"/>
                      <a:gd name="connsiteY1" fmla="*/ 1261801 h 1315331"/>
                      <a:gd name="connsiteX2" fmla="*/ 566149 w 566148"/>
                      <a:gd name="connsiteY2" fmla="*/ 104800 h 1315331"/>
                      <a:gd name="connsiteX3" fmla="*/ 59133 w 566148"/>
                      <a:gd name="connsiteY3" fmla="*/ 64414 h 1315331"/>
                      <a:gd name="connsiteX4" fmla="*/ 1602 w 566148"/>
                      <a:gd name="connsiteY4" fmla="*/ 1061014 h 1315331"/>
                      <a:gd name="connsiteX5" fmla="*/ 65134 w 566148"/>
                      <a:gd name="connsiteY5" fmla="*/ 1315236 h 13153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66148" h="1315331">
                        <a:moveTo>
                          <a:pt x="65134" y="1315332"/>
                        </a:moveTo>
                        <a:lnTo>
                          <a:pt x="555385" y="1261801"/>
                        </a:lnTo>
                        <a:cubicBezTo>
                          <a:pt x="554623" y="1243228"/>
                          <a:pt x="566149" y="104800"/>
                          <a:pt x="566149" y="104800"/>
                        </a:cubicBezTo>
                        <a:cubicBezTo>
                          <a:pt x="408605" y="-1309"/>
                          <a:pt x="217915" y="-46838"/>
                          <a:pt x="59133" y="64414"/>
                        </a:cubicBezTo>
                        <a:cubicBezTo>
                          <a:pt x="-20496" y="426364"/>
                          <a:pt x="13603" y="881468"/>
                          <a:pt x="1602" y="1061014"/>
                        </a:cubicBezTo>
                        <a:cubicBezTo>
                          <a:pt x="-5447" y="1167599"/>
                          <a:pt x="9889" y="1270374"/>
                          <a:pt x="65134" y="131523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8" name="Freihandform: Form 57">
                    <a:extLst>
                      <a:ext uri="{FF2B5EF4-FFF2-40B4-BE49-F238E27FC236}">
                        <a16:creationId xmlns:a16="http://schemas.microsoft.com/office/drawing/2014/main" id="{0FC1C2B4-4B0A-362E-C4AD-8DC80CBF4811}"/>
                      </a:ext>
                    </a:extLst>
                  </p:cNvPr>
                  <p:cNvSpPr/>
                  <p:nvPr/>
                </p:nvSpPr>
                <p:spPr>
                  <a:xfrm>
                    <a:off x="1967227" y="1412557"/>
                    <a:ext cx="1160432" cy="2831687"/>
                  </a:xfrm>
                  <a:custGeom>
                    <a:avLst/>
                    <a:gdLst>
                      <a:gd name="connsiteX0" fmla="*/ 66391 w 1160432"/>
                      <a:gd name="connsiteY0" fmla="*/ 2215706 h 2831687"/>
                      <a:gd name="connsiteX1" fmla="*/ 44102 w 1160432"/>
                      <a:gd name="connsiteY1" fmla="*/ 2831687 h 2831687"/>
                      <a:gd name="connsiteX2" fmla="*/ 1160432 w 1160432"/>
                      <a:gd name="connsiteY2" fmla="*/ 2831687 h 2831687"/>
                      <a:gd name="connsiteX3" fmla="*/ 1117189 w 1160432"/>
                      <a:gd name="connsiteY3" fmla="*/ 1805940 h 2831687"/>
                      <a:gd name="connsiteX4" fmla="*/ 988316 w 1160432"/>
                      <a:gd name="connsiteY4" fmla="*/ 539782 h 2831687"/>
                      <a:gd name="connsiteX5" fmla="*/ 717520 w 1160432"/>
                      <a:gd name="connsiteY5" fmla="*/ 135826 h 2831687"/>
                      <a:gd name="connsiteX6" fmla="*/ 256700 w 1160432"/>
                      <a:gd name="connsiteY6" fmla="*/ 0 h 2831687"/>
                      <a:gd name="connsiteX7" fmla="*/ 2 w 1160432"/>
                      <a:gd name="connsiteY7" fmla="*/ 399288 h 2831687"/>
                      <a:gd name="connsiteX8" fmla="*/ 99062 w 1160432"/>
                      <a:gd name="connsiteY8" fmla="*/ 1187863 h 2831687"/>
                      <a:gd name="connsiteX9" fmla="*/ 66296 w 1160432"/>
                      <a:gd name="connsiteY9" fmla="*/ 2215706 h 28316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160432" h="2831687">
                        <a:moveTo>
                          <a:pt x="66391" y="2215706"/>
                        </a:moveTo>
                        <a:cubicBezTo>
                          <a:pt x="54675" y="2418779"/>
                          <a:pt x="47055" y="2707386"/>
                          <a:pt x="44102" y="2831687"/>
                        </a:cubicBezTo>
                        <a:lnTo>
                          <a:pt x="1160432" y="2831687"/>
                        </a:lnTo>
                        <a:cubicBezTo>
                          <a:pt x="1152908" y="2688717"/>
                          <a:pt x="1132810" y="2286953"/>
                          <a:pt x="1117189" y="1805940"/>
                        </a:cubicBezTo>
                        <a:cubicBezTo>
                          <a:pt x="1097663" y="1202817"/>
                          <a:pt x="1001174" y="634460"/>
                          <a:pt x="988316" y="539782"/>
                        </a:cubicBezTo>
                        <a:cubicBezTo>
                          <a:pt x="970218" y="405860"/>
                          <a:pt x="717520" y="135826"/>
                          <a:pt x="717520" y="135826"/>
                        </a:cubicBezTo>
                        <a:lnTo>
                          <a:pt x="256700" y="0"/>
                        </a:lnTo>
                        <a:cubicBezTo>
                          <a:pt x="256700" y="0"/>
                          <a:pt x="-760" y="184499"/>
                          <a:pt x="2" y="399288"/>
                        </a:cubicBezTo>
                        <a:cubicBezTo>
                          <a:pt x="668" y="575119"/>
                          <a:pt x="99062" y="1187863"/>
                          <a:pt x="99062" y="1187863"/>
                        </a:cubicBezTo>
                        <a:cubicBezTo>
                          <a:pt x="99062" y="1187863"/>
                          <a:pt x="81631" y="1950244"/>
                          <a:pt x="66296" y="221570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9" name="Freihandform: Form 58">
                    <a:extLst>
                      <a:ext uri="{FF2B5EF4-FFF2-40B4-BE49-F238E27FC236}">
                        <a16:creationId xmlns:a16="http://schemas.microsoft.com/office/drawing/2014/main" id="{F05D687E-3040-D3E2-23B8-5C8CD1D01BB9}"/>
                      </a:ext>
                    </a:extLst>
                  </p:cNvPr>
                  <p:cNvSpPr/>
                  <p:nvPr/>
                </p:nvSpPr>
                <p:spPr>
                  <a:xfrm>
                    <a:off x="2203544" y="3205162"/>
                    <a:ext cx="634746" cy="581406"/>
                  </a:xfrm>
                  <a:custGeom>
                    <a:avLst/>
                    <a:gdLst>
                      <a:gd name="connsiteX0" fmla="*/ 634651 w 634746"/>
                      <a:gd name="connsiteY0" fmla="*/ 508730 h 581406"/>
                      <a:gd name="connsiteX1" fmla="*/ 0 w 634746"/>
                      <a:gd name="connsiteY1" fmla="*/ 550545 h 581406"/>
                      <a:gd name="connsiteX2" fmla="*/ 48292 w 634746"/>
                      <a:gd name="connsiteY2" fmla="*/ 0 h 581406"/>
                      <a:gd name="connsiteX3" fmla="*/ 456533 w 634746"/>
                      <a:gd name="connsiteY3" fmla="*/ 3143 h 581406"/>
                      <a:gd name="connsiteX4" fmla="*/ 634746 w 634746"/>
                      <a:gd name="connsiteY4" fmla="*/ 508730 h 5814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34746" h="581406">
                        <a:moveTo>
                          <a:pt x="634651" y="508730"/>
                        </a:moveTo>
                        <a:cubicBezTo>
                          <a:pt x="600742" y="589407"/>
                          <a:pt x="143828" y="602266"/>
                          <a:pt x="0" y="550545"/>
                        </a:cubicBezTo>
                        <a:lnTo>
                          <a:pt x="48292" y="0"/>
                        </a:lnTo>
                        <a:lnTo>
                          <a:pt x="456533" y="3143"/>
                        </a:lnTo>
                        <a:lnTo>
                          <a:pt x="634746" y="50873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0" name="Freihandform: Form 59">
                    <a:extLst>
                      <a:ext uri="{FF2B5EF4-FFF2-40B4-BE49-F238E27FC236}">
                        <a16:creationId xmlns:a16="http://schemas.microsoft.com/office/drawing/2014/main" id="{431F0310-EFC0-75A4-A7CE-7ECAAF57B63C}"/>
                      </a:ext>
                    </a:extLst>
                  </p:cNvPr>
                  <p:cNvSpPr/>
                  <p:nvPr/>
                </p:nvSpPr>
                <p:spPr>
                  <a:xfrm>
                    <a:off x="2265362" y="3205162"/>
                    <a:ext cx="572833" cy="543657"/>
                  </a:xfrm>
                  <a:custGeom>
                    <a:avLst/>
                    <a:gdLst>
                      <a:gd name="connsiteX0" fmla="*/ 513302 w 572833"/>
                      <a:gd name="connsiteY0" fmla="*/ 0 h 543657"/>
                      <a:gd name="connsiteX1" fmla="*/ 572834 w 572833"/>
                      <a:gd name="connsiteY1" fmla="*/ 508730 h 543657"/>
                      <a:gd name="connsiteX2" fmla="*/ 0 w 572833"/>
                      <a:gd name="connsiteY2" fmla="*/ 518255 h 543657"/>
                      <a:gd name="connsiteX3" fmla="*/ 0 w 572833"/>
                      <a:gd name="connsiteY3" fmla="*/ 0 h 543657"/>
                      <a:gd name="connsiteX4" fmla="*/ 513302 w 572833"/>
                      <a:gd name="connsiteY4" fmla="*/ 0 h 5436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72833" h="543657">
                        <a:moveTo>
                          <a:pt x="513302" y="0"/>
                        </a:moveTo>
                        <a:cubicBezTo>
                          <a:pt x="513302" y="38005"/>
                          <a:pt x="572834" y="508730"/>
                          <a:pt x="572834" y="508730"/>
                        </a:cubicBezTo>
                        <a:cubicBezTo>
                          <a:pt x="397097" y="555022"/>
                          <a:pt x="204025" y="552260"/>
                          <a:pt x="0" y="518255"/>
                        </a:cubicBezTo>
                        <a:lnTo>
                          <a:pt x="0" y="0"/>
                        </a:lnTo>
                        <a:cubicBezTo>
                          <a:pt x="0" y="0"/>
                          <a:pt x="513302" y="0"/>
                          <a:pt x="513302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1" name="Freihandform: Form 60">
                    <a:extLst>
                      <a:ext uri="{FF2B5EF4-FFF2-40B4-BE49-F238E27FC236}">
                        <a16:creationId xmlns:a16="http://schemas.microsoft.com/office/drawing/2014/main" id="{153A0CF9-7A97-4D2D-05AF-6A4D5CA6854C}"/>
                      </a:ext>
                    </a:extLst>
                  </p:cNvPr>
                  <p:cNvSpPr/>
                  <p:nvPr/>
                </p:nvSpPr>
                <p:spPr>
                  <a:xfrm>
                    <a:off x="2049737" y="1674208"/>
                    <a:ext cx="709549" cy="1346632"/>
                  </a:xfrm>
                  <a:custGeom>
                    <a:avLst/>
                    <a:gdLst>
                      <a:gd name="connsiteX0" fmla="*/ 110944 w 709549"/>
                      <a:gd name="connsiteY0" fmla="*/ 1154241 h 1346632"/>
                      <a:gd name="connsiteX1" fmla="*/ 556048 w 709549"/>
                      <a:gd name="connsiteY1" fmla="*/ 1339883 h 1346632"/>
                      <a:gd name="connsiteX2" fmla="*/ 707686 w 709549"/>
                      <a:gd name="connsiteY2" fmla="*/ 1232727 h 1346632"/>
                      <a:gd name="connsiteX3" fmla="*/ 430413 w 709549"/>
                      <a:gd name="connsiteY3" fmla="*/ 837249 h 1346632"/>
                      <a:gd name="connsiteX4" fmla="*/ 319732 w 709549"/>
                      <a:gd name="connsiteY4" fmla="*/ 283560 h 1346632"/>
                      <a:gd name="connsiteX5" fmla="*/ 153426 w 709549"/>
                      <a:gd name="connsiteY5" fmla="*/ 3144 h 1346632"/>
                      <a:gd name="connsiteX6" fmla="*/ 110944 w 709549"/>
                      <a:gd name="connsiteY6" fmla="*/ 1154241 h 13466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09549" h="1346632">
                        <a:moveTo>
                          <a:pt x="110944" y="1154241"/>
                        </a:moveTo>
                        <a:cubicBezTo>
                          <a:pt x="110944" y="1154241"/>
                          <a:pt x="179143" y="1226154"/>
                          <a:pt x="556048" y="1339883"/>
                        </a:cubicBezTo>
                        <a:cubicBezTo>
                          <a:pt x="668633" y="1373887"/>
                          <a:pt x="702447" y="1270255"/>
                          <a:pt x="707686" y="1232727"/>
                        </a:cubicBezTo>
                        <a:cubicBezTo>
                          <a:pt x="724831" y="1108521"/>
                          <a:pt x="623008" y="983934"/>
                          <a:pt x="430413" y="837249"/>
                        </a:cubicBezTo>
                        <a:cubicBezTo>
                          <a:pt x="278870" y="721806"/>
                          <a:pt x="311541" y="523781"/>
                          <a:pt x="319732" y="283560"/>
                        </a:cubicBezTo>
                        <a:cubicBezTo>
                          <a:pt x="327924" y="43340"/>
                          <a:pt x="153426" y="3144"/>
                          <a:pt x="153426" y="3144"/>
                        </a:cubicBezTo>
                        <a:cubicBezTo>
                          <a:pt x="-28025" y="-65531"/>
                          <a:pt x="-56505" y="1012032"/>
                          <a:pt x="110944" y="1154241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2" name="Freihandform: Form 61">
                    <a:extLst>
                      <a:ext uri="{FF2B5EF4-FFF2-40B4-BE49-F238E27FC236}">
                        <a16:creationId xmlns:a16="http://schemas.microsoft.com/office/drawing/2014/main" id="{1F502FBD-3436-9F17-DD99-BFD654AF60C4}"/>
                      </a:ext>
                    </a:extLst>
                  </p:cNvPr>
                  <p:cNvSpPr/>
                  <p:nvPr/>
                </p:nvSpPr>
                <p:spPr>
                  <a:xfrm>
                    <a:off x="2542063" y="2036635"/>
                    <a:ext cx="268223" cy="262472"/>
                  </a:xfrm>
                  <a:custGeom>
                    <a:avLst/>
                    <a:gdLst>
                      <a:gd name="connsiteX0" fmla="*/ 268224 w 268223"/>
                      <a:gd name="connsiteY0" fmla="*/ 230600 h 262472"/>
                      <a:gd name="connsiteX1" fmla="*/ 0 w 268223"/>
                      <a:gd name="connsiteY1" fmla="*/ 253079 h 262472"/>
                      <a:gd name="connsiteX2" fmla="*/ 33909 w 268223"/>
                      <a:gd name="connsiteY2" fmla="*/ 0 h 262472"/>
                      <a:gd name="connsiteX3" fmla="*/ 215646 w 268223"/>
                      <a:gd name="connsiteY3" fmla="*/ 7525 h 262472"/>
                      <a:gd name="connsiteX4" fmla="*/ 268224 w 268223"/>
                      <a:gd name="connsiteY4" fmla="*/ 230600 h 2624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8223" h="262472">
                        <a:moveTo>
                          <a:pt x="268224" y="230600"/>
                        </a:moveTo>
                        <a:cubicBezTo>
                          <a:pt x="244888" y="246697"/>
                          <a:pt x="63246" y="278225"/>
                          <a:pt x="0" y="253079"/>
                        </a:cubicBezTo>
                        <a:lnTo>
                          <a:pt x="33909" y="0"/>
                        </a:lnTo>
                        <a:lnTo>
                          <a:pt x="215646" y="7525"/>
                        </a:lnTo>
                        <a:lnTo>
                          <a:pt x="268224" y="23060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3" name="Freihandform: Form 62">
                    <a:extLst>
                      <a:ext uri="{FF2B5EF4-FFF2-40B4-BE49-F238E27FC236}">
                        <a16:creationId xmlns:a16="http://schemas.microsoft.com/office/drawing/2014/main" id="{5CD46EC5-80E2-5729-5D18-833D02432D53}"/>
                      </a:ext>
                    </a:extLst>
                  </p:cNvPr>
                  <p:cNvSpPr/>
                  <p:nvPr/>
                </p:nvSpPr>
                <p:spPr>
                  <a:xfrm>
                    <a:off x="2577496" y="2040159"/>
                    <a:ext cx="232791" cy="230885"/>
                  </a:xfrm>
                  <a:custGeom>
                    <a:avLst/>
                    <a:gdLst>
                      <a:gd name="connsiteX0" fmla="*/ 228695 w 232791"/>
                      <a:gd name="connsiteY0" fmla="*/ 0 h 230885"/>
                      <a:gd name="connsiteX1" fmla="*/ 232791 w 232791"/>
                      <a:gd name="connsiteY1" fmla="*/ 227076 h 230885"/>
                      <a:gd name="connsiteX2" fmla="*/ 0 w 232791"/>
                      <a:gd name="connsiteY2" fmla="*/ 230886 h 230885"/>
                      <a:gd name="connsiteX3" fmla="*/ 0 w 232791"/>
                      <a:gd name="connsiteY3" fmla="*/ 0 h 230885"/>
                      <a:gd name="connsiteX4" fmla="*/ 228695 w 232791"/>
                      <a:gd name="connsiteY4" fmla="*/ 0 h 2308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2791" h="230885">
                        <a:moveTo>
                          <a:pt x="228695" y="0"/>
                        </a:moveTo>
                        <a:lnTo>
                          <a:pt x="232791" y="227076"/>
                        </a:lnTo>
                        <a:lnTo>
                          <a:pt x="0" y="230886"/>
                        </a:lnTo>
                        <a:lnTo>
                          <a:pt x="0" y="0"/>
                        </a:lnTo>
                        <a:lnTo>
                          <a:pt x="228695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4" name="Freihandform: Form 63">
                    <a:extLst>
                      <a:ext uri="{FF2B5EF4-FFF2-40B4-BE49-F238E27FC236}">
                        <a16:creationId xmlns:a16="http://schemas.microsoft.com/office/drawing/2014/main" id="{240FE88B-4EC9-C130-84EE-01DC32483728}"/>
                      </a:ext>
                    </a:extLst>
                  </p:cNvPr>
                  <p:cNvSpPr/>
                  <p:nvPr/>
                </p:nvSpPr>
                <p:spPr>
                  <a:xfrm>
                    <a:off x="2207830" y="1280636"/>
                    <a:ext cx="532914" cy="439864"/>
                  </a:xfrm>
                  <a:custGeom>
                    <a:avLst/>
                    <a:gdLst>
                      <a:gd name="connsiteX0" fmla="*/ 0 w 532914"/>
                      <a:gd name="connsiteY0" fmla="*/ 164973 h 439864"/>
                      <a:gd name="connsiteX1" fmla="*/ 40481 w 532914"/>
                      <a:gd name="connsiteY1" fmla="*/ 0 h 439864"/>
                      <a:gd name="connsiteX2" fmla="*/ 528733 w 532914"/>
                      <a:gd name="connsiteY2" fmla="*/ 274415 h 439864"/>
                      <a:gd name="connsiteX3" fmla="*/ 513017 w 532914"/>
                      <a:gd name="connsiteY3" fmla="*/ 439864 h 439864"/>
                      <a:gd name="connsiteX4" fmla="*/ 0 w 532914"/>
                      <a:gd name="connsiteY4" fmla="*/ 165068 h 4398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32914" h="439864">
                        <a:moveTo>
                          <a:pt x="0" y="164973"/>
                        </a:moveTo>
                        <a:lnTo>
                          <a:pt x="40481" y="0"/>
                        </a:lnTo>
                        <a:cubicBezTo>
                          <a:pt x="40481" y="0"/>
                          <a:pt x="461772" y="175260"/>
                          <a:pt x="528733" y="274415"/>
                        </a:cubicBezTo>
                        <a:cubicBezTo>
                          <a:pt x="543878" y="296799"/>
                          <a:pt x="513017" y="439864"/>
                          <a:pt x="513017" y="439864"/>
                        </a:cubicBezTo>
                        <a:lnTo>
                          <a:pt x="0" y="16506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5" name="Freihandform: Form 64">
                    <a:extLst>
                      <a:ext uri="{FF2B5EF4-FFF2-40B4-BE49-F238E27FC236}">
                        <a16:creationId xmlns:a16="http://schemas.microsoft.com/office/drawing/2014/main" id="{4B1DD315-4545-CACD-CBE3-8F742F1AE5A1}"/>
                      </a:ext>
                    </a:extLst>
                  </p:cNvPr>
                  <p:cNvSpPr/>
                  <p:nvPr/>
                </p:nvSpPr>
                <p:spPr>
                  <a:xfrm>
                    <a:off x="2218784" y="4529518"/>
                    <a:ext cx="511111" cy="511111"/>
                  </a:xfrm>
                  <a:custGeom>
                    <a:avLst/>
                    <a:gdLst>
                      <a:gd name="connsiteX0" fmla="*/ 511111 w 511111"/>
                      <a:gd name="connsiteY0" fmla="*/ 255556 h 511111"/>
                      <a:gd name="connsiteX1" fmla="*/ 255556 w 511111"/>
                      <a:gd name="connsiteY1" fmla="*/ 511111 h 511111"/>
                      <a:gd name="connsiteX2" fmla="*/ 0 w 511111"/>
                      <a:gd name="connsiteY2" fmla="*/ 255556 h 511111"/>
                      <a:gd name="connsiteX3" fmla="*/ 255556 w 511111"/>
                      <a:gd name="connsiteY3" fmla="*/ 0 h 511111"/>
                      <a:gd name="connsiteX4" fmla="*/ 511111 w 511111"/>
                      <a:gd name="connsiteY4" fmla="*/ 255556 h 5111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1111" h="511111">
                        <a:moveTo>
                          <a:pt x="511111" y="255556"/>
                        </a:moveTo>
                        <a:cubicBezTo>
                          <a:pt x="511111" y="396695"/>
                          <a:pt x="396695" y="511111"/>
                          <a:pt x="255556" y="511111"/>
                        </a:cubicBezTo>
                        <a:cubicBezTo>
                          <a:pt x="114416" y="511111"/>
                          <a:pt x="0" y="396695"/>
                          <a:pt x="0" y="255556"/>
                        </a:cubicBezTo>
                        <a:cubicBezTo>
                          <a:pt x="0" y="114416"/>
                          <a:pt x="114416" y="0"/>
                          <a:pt x="255556" y="0"/>
                        </a:cubicBezTo>
                        <a:cubicBezTo>
                          <a:pt x="396695" y="0"/>
                          <a:pt x="511111" y="114416"/>
                          <a:pt x="511111" y="25555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7" name="Grafik 23">
                  <a:extLst>
                    <a:ext uri="{FF2B5EF4-FFF2-40B4-BE49-F238E27FC236}">
                      <a16:creationId xmlns:a16="http://schemas.microsoft.com/office/drawing/2014/main" id="{8EC56D2C-D585-1A9E-17DE-EFD2716CE0EF}"/>
                    </a:ext>
                  </a:extLst>
                </p:cNvPr>
                <p:cNvGrpSpPr/>
                <p:nvPr/>
              </p:nvGrpSpPr>
              <p:grpSpPr>
                <a:xfrm>
                  <a:off x="2645951" y="2614089"/>
                  <a:ext cx="835086" cy="566403"/>
                  <a:chOff x="2645951" y="2614089"/>
                  <a:chExt cx="835086" cy="566403"/>
                </a:xfrm>
              </p:grpSpPr>
              <p:grpSp>
                <p:nvGrpSpPr>
                  <p:cNvPr id="45" name="Grafik 23">
                    <a:extLst>
                      <a:ext uri="{FF2B5EF4-FFF2-40B4-BE49-F238E27FC236}">
                        <a16:creationId xmlns:a16="http://schemas.microsoft.com/office/drawing/2014/main" id="{B23BB2C4-6A5D-09ED-26BF-23047718D075}"/>
                      </a:ext>
                    </a:extLst>
                  </p:cNvPr>
                  <p:cNvGrpSpPr/>
                  <p:nvPr/>
                </p:nvGrpSpPr>
                <p:grpSpPr>
                  <a:xfrm>
                    <a:off x="2748660" y="2614089"/>
                    <a:ext cx="732377" cy="566403"/>
                    <a:chOff x="2748660" y="2614089"/>
                    <a:chExt cx="732377" cy="566403"/>
                  </a:xfrm>
                </p:grpSpPr>
                <p:sp>
                  <p:nvSpPr>
                    <p:cNvPr id="47" name="Freihandform: Form 46">
                      <a:extLst>
                        <a:ext uri="{FF2B5EF4-FFF2-40B4-BE49-F238E27FC236}">
                          <a16:creationId xmlns:a16="http://schemas.microsoft.com/office/drawing/2014/main" id="{A75396D0-1B64-5663-DD42-ABAE6FD17A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22288" y="2658189"/>
                      <a:ext cx="411099" cy="129236"/>
                    </a:xfrm>
                    <a:custGeom>
                      <a:avLst/>
                      <a:gdLst>
                        <a:gd name="connsiteX0" fmla="*/ 95 w 411099"/>
                        <a:gd name="connsiteY0" fmla="*/ 59483 h 129236"/>
                        <a:gd name="connsiteX1" fmla="*/ 130111 w 411099"/>
                        <a:gd name="connsiteY1" fmla="*/ 714 h 129236"/>
                        <a:gd name="connsiteX2" fmla="*/ 235172 w 411099"/>
                        <a:gd name="connsiteY2" fmla="*/ 7858 h 129236"/>
                        <a:gd name="connsiteX3" fmla="*/ 411099 w 411099"/>
                        <a:gd name="connsiteY3" fmla="*/ 41481 h 129236"/>
                        <a:gd name="connsiteX4" fmla="*/ 393668 w 411099"/>
                        <a:gd name="connsiteY4" fmla="*/ 70723 h 129236"/>
                        <a:gd name="connsiteX5" fmla="*/ 184023 w 411099"/>
                        <a:gd name="connsiteY5" fmla="*/ 83010 h 129236"/>
                        <a:gd name="connsiteX6" fmla="*/ 92678 w 411099"/>
                        <a:gd name="connsiteY6" fmla="*/ 128921 h 129236"/>
                        <a:gd name="connsiteX7" fmla="*/ 0 w 411099"/>
                        <a:gd name="connsiteY7" fmla="*/ 59483 h 12923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11099" h="129236">
                          <a:moveTo>
                            <a:pt x="95" y="59483"/>
                          </a:moveTo>
                          <a:cubicBezTo>
                            <a:pt x="5429" y="57674"/>
                            <a:pt x="90964" y="4238"/>
                            <a:pt x="130111" y="714"/>
                          </a:cubicBezTo>
                          <a:cubicBezTo>
                            <a:pt x="169259" y="-2810"/>
                            <a:pt x="235172" y="7858"/>
                            <a:pt x="235172" y="7858"/>
                          </a:cubicBezTo>
                          <a:lnTo>
                            <a:pt x="411099" y="41481"/>
                          </a:lnTo>
                          <a:cubicBezTo>
                            <a:pt x="411099" y="41481"/>
                            <a:pt x="406717" y="58817"/>
                            <a:pt x="393668" y="70723"/>
                          </a:cubicBezTo>
                          <a:cubicBezTo>
                            <a:pt x="361759" y="99869"/>
                            <a:pt x="194691" y="68818"/>
                            <a:pt x="184023" y="83010"/>
                          </a:cubicBezTo>
                          <a:cubicBezTo>
                            <a:pt x="168021" y="104346"/>
                            <a:pt x="146113" y="132540"/>
                            <a:pt x="92678" y="128921"/>
                          </a:cubicBezTo>
                          <a:cubicBezTo>
                            <a:pt x="39243" y="125396"/>
                            <a:pt x="0" y="59483"/>
                            <a:pt x="0" y="59483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8" name="Freihandform: Form 47">
                      <a:extLst>
                        <a:ext uri="{FF2B5EF4-FFF2-40B4-BE49-F238E27FC236}">
                          <a16:creationId xmlns:a16="http://schemas.microsoft.com/office/drawing/2014/main" id="{5CACC649-62DB-BC31-0F7C-5B267E9E00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91726" y="2614089"/>
                      <a:ext cx="589311" cy="566403"/>
                    </a:xfrm>
                    <a:custGeom>
                      <a:avLst/>
                      <a:gdLst>
                        <a:gd name="connsiteX0" fmla="*/ 162687 w 589311"/>
                        <a:gd name="connsiteY0" fmla="*/ 25193 h 566403"/>
                        <a:gd name="connsiteX1" fmla="*/ 155924 w 589311"/>
                        <a:gd name="connsiteY1" fmla="*/ 115775 h 566403"/>
                        <a:gd name="connsiteX2" fmla="*/ 952 w 589311"/>
                        <a:gd name="connsiteY2" fmla="*/ 472677 h 566403"/>
                        <a:gd name="connsiteX3" fmla="*/ 0 w 589311"/>
                        <a:gd name="connsiteY3" fmla="*/ 475630 h 566403"/>
                        <a:gd name="connsiteX4" fmla="*/ 232505 w 589311"/>
                        <a:gd name="connsiteY4" fmla="*/ 566403 h 566403"/>
                        <a:gd name="connsiteX5" fmla="*/ 185452 w 589311"/>
                        <a:gd name="connsiteY5" fmla="*/ 423623 h 566403"/>
                        <a:gd name="connsiteX6" fmla="*/ 258223 w 589311"/>
                        <a:gd name="connsiteY6" fmla="*/ 198548 h 566403"/>
                        <a:gd name="connsiteX7" fmla="*/ 555117 w 589311"/>
                        <a:gd name="connsiteY7" fmla="*/ 206453 h 566403"/>
                        <a:gd name="connsiteX8" fmla="*/ 589312 w 589311"/>
                        <a:gd name="connsiteY8" fmla="*/ 35765 h 566403"/>
                        <a:gd name="connsiteX9" fmla="*/ 162687 w 589311"/>
                        <a:gd name="connsiteY9" fmla="*/ 25193 h 5664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589311" h="566403">
                          <a:moveTo>
                            <a:pt x="162687" y="25193"/>
                          </a:moveTo>
                          <a:cubicBezTo>
                            <a:pt x="119063" y="80247"/>
                            <a:pt x="155924" y="115775"/>
                            <a:pt x="155924" y="115775"/>
                          </a:cubicBezTo>
                          <a:lnTo>
                            <a:pt x="952" y="472677"/>
                          </a:lnTo>
                          <a:cubicBezTo>
                            <a:pt x="571" y="473630"/>
                            <a:pt x="286" y="474677"/>
                            <a:pt x="0" y="475630"/>
                          </a:cubicBezTo>
                          <a:lnTo>
                            <a:pt x="232505" y="566403"/>
                          </a:lnTo>
                          <a:cubicBezTo>
                            <a:pt x="252603" y="528779"/>
                            <a:pt x="196405" y="487631"/>
                            <a:pt x="185452" y="423623"/>
                          </a:cubicBezTo>
                          <a:cubicBezTo>
                            <a:pt x="172879" y="350281"/>
                            <a:pt x="258223" y="198548"/>
                            <a:pt x="258223" y="198548"/>
                          </a:cubicBezTo>
                          <a:cubicBezTo>
                            <a:pt x="258223" y="198548"/>
                            <a:pt x="484632" y="210740"/>
                            <a:pt x="555117" y="206453"/>
                          </a:cubicBezTo>
                          <a:lnTo>
                            <a:pt x="589312" y="35765"/>
                          </a:lnTo>
                          <a:cubicBezTo>
                            <a:pt x="532352" y="10905"/>
                            <a:pt x="202406" y="-24814"/>
                            <a:pt x="162687" y="25193"/>
                          </a:cubicBez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9" name="Freihandform: Form 48">
                      <a:extLst>
                        <a:ext uri="{FF2B5EF4-FFF2-40B4-BE49-F238E27FC236}">
                          <a16:creationId xmlns:a16="http://schemas.microsoft.com/office/drawing/2014/main" id="{8DDD72CB-5B87-D459-3FE6-FE1454A48AB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748660" y="2687954"/>
                      <a:ext cx="626027" cy="304133"/>
                    </a:xfrm>
                    <a:custGeom>
                      <a:avLst/>
                      <a:gdLst>
                        <a:gd name="connsiteX0" fmla="*/ 47244 w 626027"/>
                        <a:gd name="connsiteY0" fmla="*/ 0 h 304133"/>
                        <a:gd name="connsiteX1" fmla="*/ 244126 w 626027"/>
                        <a:gd name="connsiteY1" fmla="*/ 30956 h 304133"/>
                        <a:gd name="connsiteX2" fmla="*/ 438626 w 626027"/>
                        <a:gd name="connsiteY2" fmla="*/ 82106 h 304133"/>
                        <a:gd name="connsiteX3" fmla="*/ 527971 w 626027"/>
                        <a:gd name="connsiteY3" fmla="*/ 90202 h 304133"/>
                        <a:gd name="connsiteX4" fmla="*/ 624935 w 626027"/>
                        <a:gd name="connsiteY4" fmla="*/ 132874 h 304133"/>
                        <a:gd name="connsiteX5" fmla="*/ 542449 w 626027"/>
                        <a:gd name="connsiteY5" fmla="*/ 143542 h 304133"/>
                        <a:gd name="connsiteX6" fmla="*/ 490442 w 626027"/>
                        <a:gd name="connsiteY6" fmla="*/ 146399 h 304133"/>
                        <a:gd name="connsiteX7" fmla="*/ 488918 w 626027"/>
                        <a:gd name="connsiteY7" fmla="*/ 166021 h 304133"/>
                        <a:gd name="connsiteX8" fmla="*/ 467106 w 626027"/>
                        <a:gd name="connsiteY8" fmla="*/ 198120 h 304133"/>
                        <a:gd name="connsiteX9" fmla="*/ 417386 w 626027"/>
                        <a:gd name="connsiteY9" fmla="*/ 244221 h 304133"/>
                        <a:gd name="connsiteX10" fmla="*/ 366427 w 626027"/>
                        <a:gd name="connsiteY10" fmla="*/ 304133 h 304133"/>
                        <a:gd name="connsiteX11" fmla="*/ 231553 w 626027"/>
                        <a:gd name="connsiteY11" fmla="*/ 293370 h 304133"/>
                        <a:gd name="connsiteX12" fmla="*/ 0 w 626027"/>
                        <a:gd name="connsiteY12" fmla="*/ 168212 h 304133"/>
                        <a:gd name="connsiteX13" fmla="*/ 47339 w 626027"/>
                        <a:gd name="connsiteY13" fmla="*/ 0 h 3041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</a:cxnLst>
                      <a:rect l="l" t="t" r="r" b="b"/>
                      <a:pathLst>
                        <a:path w="626027" h="304133">
                          <a:moveTo>
                            <a:pt x="47244" y="0"/>
                          </a:moveTo>
                          <a:lnTo>
                            <a:pt x="244126" y="30956"/>
                          </a:lnTo>
                          <a:cubicBezTo>
                            <a:pt x="244126" y="30956"/>
                            <a:pt x="388430" y="66580"/>
                            <a:pt x="438626" y="82106"/>
                          </a:cubicBezTo>
                          <a:cubicBezTo>
                            <a:pt x="484823" y="86678"/>
                            <a:pt x="527971" y="90202"/>
                            <a:pt x="527971" y="90202"/>
                          </a:cubicBezTo>
                          <a:cubicBezTo>
                            <a:pt x="574167" y="84392"/>
                            <a:pt x="634936" y="97346"/>
                            <a:pt x="624935" y="132874"/>
                          </a:cubicBezTo>
                          <a:cubicBezTo>
                            <a:pt x="613315" y="135255"/>
                            <a:pt x="552736" y="142304"/>
                            <a:pt x="542449" y="143542"/>
                          </a:cubicBezTo>
                          <a:cubicBezTo>
                            <a:pt x="523685" y="145733"/>
                            <a:pt x="490442" y="146399"/>
                            <a:pt x="490442" y="146399"/>
                          </a:cubicBezTo>
                          <a:lnTo>
                            <a:pt x="488918" y="166021"/>
                          </a:lnTo>
                          <a:lnTo>
                            <a:pt x="467106" y="198120"/>
                          </a:lnTo>
                          <a:lnTo>
                            <a:pt x="417386" y="244221"/>
                          </a:lnTo>
                          <a:lnTo>
                            <a:pt x="366427" y="304133"/>
                          </a:lnTo>
                          <a:cubicBezTo>
                            <a:pt x="366427" y="304133"/>
                            <a:pt x="244697" y="292703"/>
                            <a:pt x="231553" y="293370"/>
                          </a:cubicBezTo>
                          <a:cubicBezTo>
                            <a:pt x="200787" y="294894"/>
                            <a:pt x="34100" y="193358"/>
                            <a:pt x="0" y="168212"/>
                          </a:cubicBezTo>
                          <a:cubicBezTo>
                            <a:pt x="6668" y="73533"/>
                            <a:pt x="47339" y="0"/>
                            <a:pt x="47339" y="0"/>
                          </a:cubicBezTo>
                          <a:close/>
                        </a:path>
                      </a:pathLst>
                    </a:custGeom>
                    <a:solidFill>
                      <a:srgbClr val="C090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0" name="Freihandform: Form 49">
                      <a:extLst>
                        <a:ext uri="{FF2B5EF4-FFF2-40B4-BE49-F238E27FC236}">
                          <a16:creationId xmlns:a16="http://schemas.microsoft.com/office/drawing/2014/main" id="{958BFC5A-EBD4-804D-2567-39B83DD280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78987" y="2815780"/>
                      <a:ext cx="160115" cy="36816"/>
                    </a:xfrm>
                    <a:custGeom>
                      <a:avLst/>
                      <a:gdLst>
                        <a:gd name="connsiteX0" fmla="*/ 160115 w 160115"/>
                        <a:gd name="connsiteY0" fmla="*/ 18669 h 36816"/>
                        <a:gd name="connsiteX1" fmla="*/ 55912 w 160115"/>
                        <a:gd name="connsiteY1" fmla="*/ 13335 h 36816"/>
                        <a:gd name="connsiteX2" fmla="*/ 0 w 160115"/>
                        <a:gd name="connsiteY2" fmla="*/ 0 h 36816"/>
                        <a:gd name="connsiteX3" fmla="*/ 79629 w 160115"/>
                        <a:gd name="connsiteY3" fmla="*/ 34671 h 36816"/>
                        <a:gd name="connsiteX4" fmla="*/ 158687 w 160115"/>
                        <a:gd name="connsiteY4" fmla="*/ 36576 h 36816"/>
                        <a:gd name="connsiteX5" fmla="*/ 160115 w 160115"/>
                        <a:gd name="connsiteY5" fmla="*/ 18669 h 3681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60115" h="36816">
                          <a:moveTo>
                            <a:pt x="160115" y="18669"/>
                          </a:moveTo>
                          <a:lnTo>
                            <a:pt x="55912" y="13335"/>
                          </a:lnTo>
                          <a:lnTo>
                            <a:pt x="0" y="0"/>
                          </a:lnTo>
                          <a:cubicBezTo>
                            <a:pt x="0" y="0"/>
                            <a:pt x="46958" y="31528"/>
                            <a:pt x="79629" y="34671"/>
                          </a:cubicBezTo>
                          <a:cubicBezTo>
                            <a:pt x="112300" y="37814"/>
                            <a:pt x="158687" y="36576"/>
                            <a:pt x="158687" y="36576"/>
                          </a:cubicBezTo>
                          <a:lnTo>
                            <a:pt x="160115" y="18669"/>
                          </a:lnTo>
                          <a:close/>
                        </a:path>
                      </a:pathLst>
                    </a:custGeom>
                    <a:solidFill>
                      <a:srgbClr val="8A594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46" name="Freihandform: Form 45">
                    <a:extLst>
                      <a:ext uri="{FF2B5EF4-FFF2-40B4-BE49-F238E27FC236}">
                        <a16:creationId xmlns:a16="http://schemas.microsoft.com/office/drawing/2014/main" id="{6112298D-247D-29C4-4B7A-39BCB86045FD}"/>
                      </a:ext>
                    </a:extLst>
                  </p:cNvPr>
                  <p:cNvSpPr/>
                  <p:nvPr/>
                </p:nvSpPr>
                <p:spPr>
                  <a:xfrm rot="-2247599">
                    <a:off x="2681100" y="2683664"/>
                    <a:ext cx="174878" cy="174878"/>
                  </a:xfrm>
                  <a:custGeom>
                    <a:avLst/>
                    <a:gdLst>
                      <a:gd name="connsiteX0" fmla="*/ 174879 w 174878"/>
                      <a:gd name="connsiteY0" fmla="*/ 87439 h 174878"/>
                      <a:gd name="connsiteX1" fmla="*/ 87439 w 174878"/>
                      <a:gd name="connsiteY1" fmla="*/ 174879 h 174878"/>
                      <a:gd name="connsiteX2" fmla="*/ 0 w 174878"/>
                      <a:gd name="connsiteY2" fmla="*/ 87439 h 174878"/>
                      <a:gd name="connsiteX3" fmla="*/ 87439 w 174878"/>
                      <a:gd name="connsiteY3" fmla="*/ 0 h 174878"/>
                      <a:gd name="connsiteX4" fmla="*/ 174879 w 174878"/>
                      <a:gd name="connsiteY4" fmla="*/ 87439 h 174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74878" h="174878">
                        <a:moveTo>
                          <a:pt x="174879" y="87439"/>
                        </a:moveTo>
                        <a:cubicBezTo>
                          <a:pt x="174879" y="135731"/>
                          <a:pt x="135731" y="174879"/>
                          <a:pt x="87439" y="174879"/>
                        </a:cubicBezTo>
                        <a:cubicBezTo>
                          <a:pt x="39148" y="174879"/>
                          <a:pt x="0" y="135731"/>
                          <a:pt x="0" y="87439"/>
                        </a:cubicBezTo>
                        <a:cubicBezTo>
                          <a:pt x="0" y="39148"/>
                          <a:pt x="39148" y="0"/>
                          <a:pt x="87439" y="0"/>
                        </a:cubicBezTo>
                        <a:cubicBezTo>
                          <a:pt x="135731" y="0"/>
                          <a:pt x="174879" y="39148"/>
                          <a:pt x="174879" y="87439"/>
                        </a:cubicBez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8" name="Grafik 23">
                  <a:extLst>
                    <a:ext uri="{FF2B5EF4-FFF2-40B4-BE49-F238E27FC236}">
                      <a16:creationId xmlns:a16="http://schemas.microsoft.com/office/drawing/2014/main" id="{24D6753B-A660-1546-E609-CC3350CC94CC}"/>
                    </a:ext>
                  </a:extLst>
                </p:cNvPr>
                <p:cNvGrpSpPr/>
                <p:nvPr/>
              </p:nvGrpSpPr>
              <p:grpSpPr>
                <a:xfrm>
                  <a:off x="1874837" y="2455926"/>
                  <a:ext cx="921353" cy="469868"/>
                  <a:chOff x="1874837" y="2455926"/>
                  <a:chExt cx="921353" cy="469868"/>
                </a:xfrm>
              </p:grpSpPr>
              <p:sp>
                <p:nvSpPr>
                  <p:cNvPr id="42" name="Freihandform: Form 41">
                    <a:extLst>
                      <a:ext uri="{FF2B5EF4-FFF2-40B4-BE49-F238E27FC236}">
                        <a16:creationId xmlns:a16="http://schemas.microsoft.com/office/drawing/2014/main" id="{2C91BD4B-9704-0357-51AB-81A4428F84F8}"/>
                      </a:ext>
                    </a:extLst>
                  </p:cNvPr>
                  <p:cNvSpPr/>
                  <p:nvPr/>
                </p:nvSpPr>
                <p:spPr>
                  <a:xfrm>
                    <a:off x="2638551" y="2652045"/>
                    <a:ext cx="157352" cy="204120"/>
                  </a:xfrm>
                  <a:custGeom>
                    <a:avLst/>
                    <a:gdLst>
                      <a:gd name="connsiteX0" fmla="*/ 110014 w 157352"/>
                      <a:gd name="connsiteY0" fmla="*/ 204121 h 204120"/>
                      <a:gd name="connsiteX1" fmla="*/ 157353 w 157352"/>
                      <a:gd name="connsiteY1" fmla="*/ 35909 h 204120"/>
                      <a:gd name="connsiteX2" fmla="*/ 46387 w 157352"/>
                      <a:gd name="connsiteY2" fmla="*/ 0 h 204120"/>
                      <a:gd name="connsiteX3" fmla="*/ 0 w 157352"/>
                      <a:gd name="connsiteY3" fmla="*/ 187928 h 204120"/>
                      <a:gd name="connsiteX4" fmla="*/ 110014 w 157352"/>
                      <a:gd name="connsiteY4" fmla="*/ 204121 h 2041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7352" h="204120">
                        <a:moveTo>
                          <a:pt x="110014" y="204121"/>
                        </a:moveTo>
                        <a:lnTo>
                          <a:pt x="157353" y="35909"/>
                        </a:lnTo>
                        <a:lnTo>
                          <a:pt x="46387" y="0"/>
                        </a:lnTo>
                        <a:lnTo>
                          <a:pt x="0" y="187928"/>
                        </a:lnTo>
                        <a:lnTo>
                          <a:pt x="110014" y="204121"/>
                        </a:lnTo>
                        <a:close/>
                      </a:path>
                    </a:pathLst>
                  </a:custGeom>
                  <a:solidFill>
                    <a:srgbClr val="C090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" name="Freihandform: Form 42">
                    <a:extLst>
                      <a:ext uri="{FF2B5EF4-FFF2-40B4-BE49-F238E27FC236}">
                        <a16:creationId xmlns:a16="http://schemas.microsoft.com/office/drawing/2014/main" id="{F1795315-E47A-1C48-FDF5-80F792449317}"/>
                      </a:ext>
                    </a:extLst>
                  </p:cNvPr>
                  <p:cNvSpPr/>
                  <p:nvPr/>
                </p:nvSpPr>
                <p:spPr>
                  <a:xfrm>
                    <a:off x="2012663" y="2463641"/>
                    <a:ext cx="783526" cy="462153"/>
                  </a:xfrm>
                  <a:custGeom>
                    <a:avLst/>
                    <a:gdLst>
                      <a:gd name="connsiteX0" fmla="*/ 0 w 783526"/>
                      <a:gd name="connsiteY0" fmla="*/ 334423 h 462153"/>
                      <a:gd name="connsiteX1" fmla="*/ 742188 w 783526"/>
                      <a:gd name="connsiteY1" fmla="*/ 462153 h 462153"/>
                      <a:gd name="connsiteX2" fmla="*/ 783527 w 783526"/>
                      <a:gd name="connsiteY2" fmla="*/ 163259 h 462153"/>
                      <a:gd name="connsiteX3" fmla="*/ 86201 w 783526"/>
                      <a:gd name="connsiteY3" fmla="*/ 0 h 462153"/>
                      <a:gd name="connsiteX4" fmla="*/ 0 w 783526"/>
                      <a:gd name="connsiteY4" fmla="*/ 334423 h 4621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83526" h="462153">
                        <a:moveTo>
                          <a:pt x="0" y="334423"/>
                        </a:moveTo>
                        <a:lnTo>
                          <a:pt x="742188" y="462153"/>
                        </a:lnTo>
                        <a:lnTo>
                          <a:pt x="783527" y="163259"/>
                        </a:lnTo>
                        <a:lnTo>
                          <a:pt x="86201" y="0"/>
                        </a:lnTo>
                        <a:lnTo>
                          <a:pt x="0" y="33442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" name="Freihandform: Form 43">
                    <a:extLst>
                      <a:ext uri="{FF2B5EF4-FFF2-40B4-BE49-F238E27FC236}">
                        <a16:creationId xmlns:a16="http://schemas.microsoft.com/office/drawing/2014/main" id="{C32774A8-BC16-6E8F-9572-684748869D2B}"/>
                      </a:ext>
                    </a:extLst>
                  </p:cNvPr>
                  <p:cNvSpPr/>
                  <p:nvPr/>
                </p:nvSpPr>
                <p:spPr>
                  <a:xfrm>
                    <a:off x="1874837" y="2455926"/>
                    <a:ext cx="345567" cy="345567"/>
                  </a:xfrm>
                  <a:custGeom>
                    <a:avLst/>
                    <a:gdLst>
                      <a:gd name="connsiteX0" fmla="*/ 345567 w 345567"/>
                      <a:gd name="connsiteY0" fmla="*/ 172783 h 345567"/>
                      <a:gd name="connsiteX1" fmla="*/ 172784 w 345567"/>
                      <a:gd name="connsiteY1" fmla="*/ 345567 h 345567"/>
                      <a:gd name="connsiteX2" fmla="*/ 0 w 345567"/>
                      <a:gd name="connsiteY2" fmla="*/ 172783 h 345567"/>
                      <a:gd name="connsiteX3" fmla="*/ 172784 w 345567"/>
                      <a:gd name="connsiteY3" fmla="*/ 0 h 345567"/>
                      <a:gd name="connsiteX4" fmla="*/ 345567 w 345567"/>
                      <a:gd name="connsiteY4" fmla="*/ 172783 h 3455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45567" h="345567">
                        <a:moveTo>
                          <a:pt x="345567" y="172783"/>
                        </a:moveTo>
                        <a:cubicBezTo>
                          <a:pt x="345567" y="268209"/>
                          <a:pt x="268209" y="345567"/>
                          <a:pt x="172784" y="345567"/>
                        </a:cubicBezTo>
                        <a:cubicBezTo>
                          <a:pt x="77358" y="345567"/>
                          <a:pt x="0" y="268209"/>
                          <a:pt x="0" y="172783"/>
                        </a:cubicBezTo>
                        <a:cubicBezTo>
                          <a:pt x="0" y="77358"/>
                          <a:pt x="77358" y="0"/>
                          <a:pt x="172784" y="0"/>
                        </a:cubicBezTo>
                        <a:cubicBezTo>
                          <a:pt x="268209" y="0"/>
                          <a:pt x="345567" y="77358"/>
                          <a:pt x="345567" y="17278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9" name="Grafik 23">
                  <a:extLst>
                    <a:ext uri="{FF2B5EF4-FFF2-40B4-BE49-F238E27FC236}">
                      <a16:creationId xmlns:a16="http://schemas.microsoft.com/office/drawing/2014/main" id="{CBB33A79-A1AB-B7A6-B0F2-B5EE19B51DE1}"/>
                    </a:ext>
                  </a:extLst>
                </p:cNvPr>
                <p:cNvGrpSpPr/>
                <p:nvPr/>
              </p:nvGrpSpPr>
              <p:grpSpPr>
                <a:xfrm>
                  <a:off x="1875789" y="1478509"/>
                  <a:ext cx="599222" cy="1188109"/>
                  <a:chOff x="1875789" y="1478509"/>
                  <a:chExt cx="599222" cy="1188109"/>
                </a:xfrm>
                <a:solidFill>
                  <a:srgbClr val="FFFFFF"/>
                </a:solidFill>
              </p:grpSpPr>
              <p:sp>
                <p:nvSpPr>
                  <p:cNvPr id="40" name="Freihandform: Form 39">
                    <a:extLst>
                      <a:ext uri="{FF2B5EF4-FFF2-40B4-BE49-F238E27FC236}">
                        <a16:creationId xmlns:a16="http://schemas.microsoft.com/office/drawing/2014/main" id="{9088A7B2-C4ED-8B81-E3D2-9F00A4B1DEFC}"/>
                      </a:ext>
                    </a:extLst>
                  </p:cNvPr>
                  <p:cNvSpPr/>
                  <p:nvPr/>
                </p:nvSpPr>
                <p:spPr>
                  <a:xfrm>
                    <a:off x="1875789" y="1699831"/>
                    <a:ext cx="512349" cy="966787"/>
                  </a:xfrm>
                  <a:custGeom>
                    <a:avLst/>
                    <a:gdLst>
                      <a:gd name="connsiteX0" fmla="*/ 115062 w 512349"/>
                      <a:gd name="connsiteY0" fmla="*/ 0 h 966787"/>
                      <a:gd name="connsiteX1" fmla="*/ 0 w 512349"/>
                      <a:gd name="connsiteY1" fmla="*/ 910971 h 966787"/>
                      <a:gd name="connsiteX2" fmla="*/ 340424 w 512349"/>
                      <a:gd name="connsiteY2" fmla="*/ 966788 h 966787"/>
                      <a:gd name="connsiteX3" fmla="*/ 512350 w 512349"/>
                      <a:gd name="connsiteY3" fmla="*/ 108204 h 966787"/>
                      <a:gd name="connsiteX4" fmla="*/ 115062 w 512349"/>
                      <a:gd name="connsiteY4" fmla="*/ 0 h 9667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2349" h="966787">
                        <a:moveTo>
                          <a:pt x="115062" y="0"/>
                        </a:moveTo>
                        <a:cubicBezTo>
                          <a:pt x="46673" y="214884"/>
                          <a:pt x="0" y="910971"/>
                          <a:pt x="0" y="910971"/>
                        </a:cubicBezTo>
                        <a:cubicBezTo>
                          <a:pt x="148495" y="945070"/>
                          <a:pt x="190024" y="966788"/>
                          <a:pt x="340424" y="966788"/>
                        </a:cubicBezTo>
                        <a:cubicBezTo>
                          <a:pt x="447485" y="721614"/>
                          <a:pt x="512350" y="108204"/>
                          <a:pt x="512350" y="108204"/>
                        </a:cubicBezTo>
                        <a:cubicBezTo>
                          <a:pt x="364046" y="68008"/>
                          <a:pt x="315373" y="50768"/>
                          <a:pt x="115062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1" name="Freihandform: Form 40">
                    <a:extLst>
                      <a:ext uri="{FF2B5EF4-FFF2-40B4-BE49-F238E27FC236}">
                        <a16:creationId xmlns:a16="http://schemas.microsoft.com/office/drawing/2014/main" id="{F977F1F7-8C82-5C20-4FD3-4E3A30CD37FF}"/>
                      </a:ext>
                    </a:extLst>
                  </p:cNvPr>
                  <p:cNvSpPr/>
                  <p:nvPr/>
                </p:nvSpPr>
                <p:spPr>
                  <a:xfrm rot="-2247599">
                    <a:off x="1979225" y="1561481"/>
                    <a:ext cx="412813" cy="412813"/>
                  </a:xfrm>
                  <a:custGeom>
                    <a:avLst/>
                    <a:gdLst>
                      <a:gd name="connsiteX0" fmla="*/ 412813 w 412813"/>
                      <a:gd name="connsiteY0" fmla="*/ 206407 h 412813"/>
                      <a:gd name="connsiteX1" fmla="*/ 206407 w 412813"/>
                      <a:gd name="connsiteY1" fmla="*/ 412813 h 412813"/>
                      <a:gd name="connsiteX2" fmla="*/ 0 w 412813"/>
                      <a:gd name="connsiteY2" fmla="*/ 206407 h 412813"/>
                      <a:gd name="connsiteX3" fmla="*/ 206407 w 412813"/>
                      <a:gd name="connsiteY3" fmla="*/ 0 h 412813"/>
                      <a:gd name="connsiteX4" fmla="*/ 412813 w 412813"/>
                      <a:gd name="connsiteY4" fmla="*/ 206407 h 4128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2813" h="412813">
                        <a:moveTo>
                          <a:pt x="412813" y="206407"/>
                        </a:moveTo>
                        <a:cubicBezTo>
                          <a:pt x="412813" y="320402"/>
                          <a:pt x="320402" y="412813"/>
                          <a:pt x="206407" y="412813"/>
                        </a:cubicBezTo>
                        <a:cubicBezTo>
                          <a:pt x="92411" y="412813"/>
                          <a:pt x="0" y="320402"/>
                          <a:pt x="0" y="206407"/>
                        </a:cubicBezTo>
                        <a:cubicBezTo>
                          <a:pt x="0" y="92411"/>
                          <a:pt x="92411" y="0"/>
                          <a:pt x="206407" y="0"/>
                        </a:cubicBezTo>
                        <a:cubicBezTo>
                          <a:pt x="320402" y="0"/>
                          <a:pt x="412813" y="92411"/>
                          <a:pt x="412813" y="20640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</p:grp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FFE8C45E-F75E-3A16-74D4-880852C972E3}"/>
                </a:ext>
              </a:extLst>
            </p:cNvPr>
            <p:cNvSpPr>
              <a:spLocks/>
            </p:cNvSpPr>
            <p:nvPr/>
          </p:nvSpPr>
          <p:spPr>
            <a:xfrm>
              <a:off x="9210675" y="1826246"/>
              <a:ext cx="53975" cy="906229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l"/>
              <a:endParaRPr lang="en-US" sz="1000" b="1">
                <a:solidFill>
                  <a:schemeClr val="tx1"/>
                </a:solidFill>
              </a:endParaRPr>
            </a:p>
          </p:txBody>
        </p:sp>
      </p:grpSp>
      <p:grpSp>
        <p:nvGrpSpPr>
          <p:cNvPr id="292" name="Gruppieren 291">
            <a:extLst>
              <a:ext uri="{FF2B5EF4-FFF2-40B4-BE49-F238E27FC236}">
                <a16:creationId xmlns:a16="http://schemas.microsoft.com/office/drawing/2014/main" id="{164396DD-7A36-EE9E-756F-23D95329D70D}"/>
              </a:ext>
            </a:extLst>
          </p:cNvPr>
          <p:cNvGrpSpPr>
            <a:grpSpLocks/>
          </p:cNvGrpSpPr>
          <p:nvPr/>
        </p:nvGrpSpPr>
        <p:grpSpPr>
          <a:xfrm>
            <a:off x="9210675" y="2912475"/>
            <a:ext cx="2201842" cy="906229"/>
            <a:chOff x="9210675" y="2912475"/>
            <a:chExt cx="2201842" cy="906229"/>
          </a:xfrm>
        </p:grpSpPr>
        <p:sp>
          <p:nvSpPr>
            <p:cNvPr id="293" name="Rechteck 292">
              <a:extLst>
                <a:ext uri="{FF2B5EF4-FFF2-40B4-BE49-F238E27FC236}">
                  <a16:creationId xmlns:a16="http://schemas.microsoft.com/office/drawing/2014/main" id="{3781E046-B386-DD8E-AA55-7E439761DD29}"/>
                </a:ext>
              </a:extLst>
            </p:cNvPr>
            <p:cNvSpPr>
              <a:spLocks/>
            </p:cNvSpPr>
            <p:nvPr/>
          </p:nvSpPr>
          <p:spPr>
            <a:xfrm>
              <a:off x="9210675" y="2912475"/>
              <a:ext cx="2201842" cy="90622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tlCol="0" anchor="t"/>
            <a:lstStyle/>
            <a:p>
              <a:pPr algn="l"/>
              <a:r>
                <a:rPr lang="en-US" sz="1200" b="1" err="1">
                  <a:solidFill>
                    <a:schemeClr val="tx1"/>
                  </a:solidFill>
                </a:rPr>
                <a:t>Anwender</a:t>
              </a:r>
              <a:r>
                <a:rPr lang="en-US" sz="1200" b="1">
                  <a:solidFill>
                    <a:schemeClr val="tx1"/>
                  </a:solidFill>
                </a:rPr>
                <a:t>*</a:t>
              </a:r>
              <a:r>
                <a:rPr lang="en-US" sz="1200" b="1" err="1">
                  <a:solidFill>
                    <a:schemeClr val="tx1"/>
                  </a:solidFill>
                </a:rPr>
                <a:t>innen</a:t>
              </a:r>
              <a:endParaRPr lang="en-US" sz="1200" b="1">
                <a:solidFill>
                  <a:schemeClr val="tx1"/>
                </a:solidFill>
              </a:endParaRPr>
            </a:p>
          </p:txBody>
        </p:sp>
        <p:grpSp>
          <p:nvGrpSpPr>
            <p:cNvPr id="294" name="Gruppieren 293">
              <a:extLst>
                <a:ext uri="{FF2B5EF4-FFF2-40B4-BE49-F238E27FC236}">
                  <a16:creationId xmlns:a16="http://schemas.microsoft.com/office/drawing/2014/main" id="{D251761E-378F-6CF2-6D10-8FBC0E6A32A1}"/>
                </a:ext>
              </a:extLst>
            </p:cNvPr>
            <p:cNvGrpSpPr>
              <a:grpSpLocks/>
            </p:cNvGrpSpPr>
            <p:nvPr/>
          </p:nvGrpSpPr>
          <p:grpSpPr>
            <a:xfrm flipH="1">
              <a:off x="10699750" y="3003018"/>
              <a:ext cx="516340" cy="708249"/>
              <a:chOff x="9590362" y="1659724"/>
              <a:chExt cx="2578928" cy="3537443"/>
            </a:xfrm>
          </p:grpSpPr>
          <p:grpSp>
            <p:nvGrpSpPr>
              <p:cNvPr id="296" name="Grafik 297">
                <a:extLst>
                  <a:ext uri="{FF2B5EF4-FFF2-40B4-BE49-F238E27FC236}">
                    <a16:creationId xmlns:a16="http://schemas.microsoft.com/office/drawing/2014/main" id="{9284B4CF-21FB-811C-31A1-9A5C8AC0E4F8}"/>
                  </a:ext>
                </a:extLst>
              </p:cNvPr>
              <p:cNvGrpSpPr/>
              <p:nvPr/>
            </p:nvGrpSpPr>
            <p:grpSpPr>
              <a:xfrm>
                <a:off x="11138852" y="1928127"/>
                <a:ext cx="1030438" cy="3268937"/>
                <a:chOff x="11138852" y="1928127"/>
                <a:chExt cx="1030438" cy="3268937"/>
              </a:xfrm>
            </p:grpSpPr>
            <p:grpSp>
              <p:nvGrpSpPr>
                <p:cNvPr id="396" name="Grafik 297">
                  <a:extLst>
                    <a:ext uri="{FF2B5EF4-FFF2-40B4-BE49-F238E27FC236}">
                      <a16:creationId xmlns:a16="http://schemas.microsoft.com/office/drawing/2014/main" id="{9578732E-07B8-4581-E246-BB2D2EC8D1DD}"/>
                    </a:ext>
                  </a:extLst>
                </p:cNvPr>
                <p:cNvGrpSpPr/>
                <p:nvPr/>
              </p:nvGrpSpPr>
              <p:grpSpPr>
                <a:xfrm>
                  <a:off x="11876781" y="2514754"/>
                  <a:ext cx="292510" cy="1386761"/>
                  <a:chOff x="11876781" y="2514754"/>
                  <a:chExt cx="292510" cy="1386761"/>
                </a:xfrm>
              </p:grpSpPr>
              <p:grpSp>
                <p:nvGrpSpPr>
                  <p:cNvPr id="472" name="Grafik 297">
                    <a:extLst>
                      <a:ext uri="{FF2B5EF4-FFF2-40B4-BE49-F238E27FC236}">
                        <a16:creationId xmlns:a16="http://schemas.microsoft.com/office/drawing/2014/main" id="{5A746B6B-DCEC-F1A8-78EA-99CD27AE5E97}"/>
                      </a:ext>
                    </a:extLst>
                  </p:cNvPr>
                  <p:cNvGrpSpPr/>
                  <p:nvPr/>
                </p:nvGrpSpPr>
                <p:grpSpPr>
                  <a:xfrm>
                    <a:off x="11972799" y="3056405"/>
                    <a:ext cx="164676" cy="555321"/>
                    <a:chOff x="11972799" y="3056405"/>
                    <a:chExt cx="164676" cy="555321"/>
                  </a:xfrm>
                </p:grpSpPr>
                <p:sp>
                  <p:nvSpPr>
                    <p:cNvPr id="497" name="Freihandform: Form 496">
                      <a:extLst>
                        <a:ext uri="{FF2B5EF4-FFF2-40B4-BE49-F238E27FC236}">
                          <a16:creationId xmlns:a16="http://schemas.microsoft.com/office/drawing/2014/main" id="{D7F7AA36-FA9F-7D2A-C13E-88E7D464D72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72799" y="3137396"/>
                      <a:ext cx="164494" cy="474330"/>
                    </a:xfrm>
                    <a:custGeom>
                      <a:avLst/>
                      <a:gdLst>
                        <a:gd name="connsiteX0" fmla="*/ 108364 w 164494"/>
                        <a:gd name="connsiteY0" fmla="*/ 474331 h 474330"/>
                        <a:gd name="connsiteX1" fmla="*/ 24047 w 164494"/>
                        <a:gd name="connsiteY1" fmla="*/ 463686 h 474330"/>
                        <a:gd name="connsiteX2" fmla="*/ 1001 w 164494"/>
                        <a:gd name="connsiteY2" fmla="*/ 0 h 474330"/>
                        <a:gd name="connsiteX3" fmla="*/ 164495 w 164494"/>
                        <a:gd name="connsiteY3" fmla="*/ 9012 h 474330"/>
                        <a:gd name="connsiteX4" fmla="*/ 108364 w 164494"/>
                        <a:gd name="connsiteY4" fmla="*/ 474331 h 4743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64494" h="474330">
                          <a:moveTo>
                            <a:pt x="108364" y="474331"/>
                          </a:moveTo>
                          <a:lnTo>
                            <a:pt x="24047" y="463686"/>
                          </a:lnTo>
                          <a:cubicBezTo>
                            <a:pt x="24047" y="463686"/>
                            <a:pt x="-5773" y="46574"/>
                            <a:pt x="1001" y="0"/>
                          </a:cubicBezTo>
                          <a:lnTo>
                            <a:pt x="164495" y="9012"/>
                          </a:lnTo>
                          <a:cubicBezTo>
                            <a:pt x="144353" y="220350"/>
                            <a:pt x="121792" y="349911"/>
                            <a:pt x="108364" y="474331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98" name="Freihandform: Form 497">
                      <a:extLst>
                        <a:ext uri="{FF2B5EF4-FFF2-40B4-BE49-F238E27FC236}">
                          <a16:creationId xmlns:a16="http://schemas.microsoft.com/office/drawing/2014/main" id="{78601542-5A10-BFC8-125F-58F2972DFE4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74042" y="3056405"/>
                      <a:ext cx="163433" cy="163433"/>
                    </a:xfrm>
                    <a:custGeom>
                      <a:avLst/>
                      <a:gdLst>
                        <a:gd name="connsiteX0" fmla="*/ 163433 w 163433"/>
                        <a:gd name="connsiteY0" fmla="*/ 81717 h 163433"/>
                        <a:gd name="connsiteX1" fmla="*/ 81717 w 163433"/>
                        <a:gd name="connsiteY1" fmla="*/ 163433 h 163433"/>
                        <a:gd name="connsiteX2" fmla="*/ 0 w 163433"/>
                        <a:gd name="connsiteY2" fmla="*/ 81717 h 163433"/>
                        <a:gd name="connsiteX3" fmla="*/ 81717 w 163433"/>
                        <a:gd name="connsiteY3" fmla="*/ 0 h 163433"/>
                        <a:gd name="connsiteX4" fmla="*/ 163433 w 163433"/>
                        <a:gd name="connsiteY4" fmla="*/ 81717 h 1634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63433" h="163433">
                          <a:moveTo>
                            <a:pt x="163433" y="81717"/>
                          </a:moveTo>
                          <a:cubicBezTo>
                            <a:pt x="163433" y="126847"/>
                            <a:pt x="126848" y="163433"/>
                            <a:pt x="81717" y="163433"/>
                          </a:cubicBezTo>
                          <a:cubicBezTo>
                            <a:pt x="36586" y="163433"/>
                            <a:pt x="0" y="126847"/>
                            <a:pt x="0" y="81717"/>
                          </a:cubicBezTo>
                          <a:cubicBezTo>
                            <a:pt x="0" y="36586"/>
                            <a:pt x="36586" y="0"/>
                            <a:pt x="81717" y="0"/>
                          </a:cubicBezTo>
                          <a:cubicBezTo>
                            <a:pt x="126848" y="0"/>
                            <a:pt x="163433" y="36586"/>
                            <a:pt x="163433" y="81717"/>
                          </a:cubicBezTo>
                          <a:close/>
                        </a:path>
                      </a:pathLst>
                    </a:custGeom>
                    <a:solidFill>
                      <a:srgbClr val="F9D9D2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99" name="Freihandform: Form 498">
                      <a:extLst>
                        <a:ext uri="{FF2B5EF4-FFF2-40B4-BE49-F238E27FC236}">
                          <a16:creationId xmlns:a16="http://schemas.microsoft.com/office/drawing/2014/main" id="{D61AA457-C304-A37C-1370-9E27446376E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92974" y="3544769"/>
                      <a:ext cx="94962" cy="66957"/>
                    </a:xfrm>
                    <a:custGeom>
                      <a:avLst/>
                      <a:gdLst>
                        <a:gd name="connsiteX0" fmla="*/ 0 w 94962"/>
                        <a:gd name="connsiteY0" fmla="*/ 0 h 66957"/>
                        <a:gd name="connsiteX1" fmla="*/ 3932 w 94962"/>
                        <a:gd name="connsiteY1" fmla="*/ 56312 h 66957"/>
                        <a:gd name="connsiteX2" fmla="*/ 88249 w 94962"/>
                        <a:gd name="connsiteY2" fmla="*/ 66958 h 66957"/>
                        <a:gd name="connsiteX3" fmla="*/ 94963 w 94962"/>
                        <a:gd name="connsiteY3" fmla="*/ 9617 h 66957"/>
                        <a:gd name="connsiteX4" fmla="*/ 0 w 94962"/>
                        <a:gd name="connsiteY4" fmla="*/ 0 h 66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94962" h="66957">
                          <a:moveTo>
                            <a:pt x="0" y="0"/>
                          </a:moveTo>
                          <a:cubicBezTo>
                            <a:pt x="2359" y="34356"/>
                            <a:pt x="3932" y="56312"/>
                            <a:pt x="3932" y="56312"/>
                          </a:cubicBezTo>
                          <a:lnTo>
                            <a:pt x="88249" y="66958"/>
                          </a:lnTo>
                          <a:cubicBezTo>
                            <a:pt x="90305" y="48026"/>
                            <a:pt x="92543" y="29033"/>
                            <a:pt x="94963" y="9617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473" name="Freihandform: Form 472">
                    <a:extLst>
                      <a:ext uri="{FF2B5EF4-FFF2-40B4-BE49-F238E27FC236}">
                        <a16:creationId xmlns:a16="http://schemas.microsoft.com/office/drawing/2014/main" id="{D2724233-3D87-C192-0476-CC2401B196F5}"/>
                      </a:ext>
                    </a:extLst>
                  </p:cNvPr>
                  <p:cNvSpPr/>
                  <p:nvPr/>
                </p:nvSpPr>
                <p:spPr>
                  <a:xfrm>
                    <a:off x="11916157" y="2526609"/>
                    <a:ext cx="253134" cy="668188"/>
                  </a:xfrm>
                  <a:custGeom>
                    <a:avLst/>
                    <a:gdLst>
                      <a:gd name="connsiteX0" fmla="*/ 114258 w 253134"/>
                      <a:gd name="connsiteY0" fmla="*/ 0 h 668188"/>
                      <a:gd name="connsiteX1" fmla="*/ 194644 w 253134"/>
                      <a:gd name="connsiteY1" fmla="*/ 160409 h 668188"/>
                      <a:gd name="connsiteX2" fmla="*/ 253134 w 253134"/>
                      <a:gd name="connsiteY2" fmla="*/ 666434 h 668188"/>
                      <a:gd name="connsiteX3" fmla="*/ 41312 w 253134"/>
                      <a:gd name="connsiteY3" fmla="*/ 668189 h 668188"/>
                      <a:gd name="connsiteX4" fmla="*/ 0 w 253134"/>
                      <a:gd name="connsiteY4" fmla="*/ 175167 h 668188"/>
                      <a:gd name="connsiteX5" fmla="*/ 114198 w 253134"/>
                      <a:gd name="connsiteY5" fmla="*/ 0 h 6681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53134" h="668188">
                        <a:moveTo>
                          <a:pt x="114258" y="0"/>
                        </a:moveTo>
                        <a:cubicBezTo>
                          <a:pt x="114258" y="0"/>
                          <a:pt x="178192" y="18993"/>
                          <a:pt x="194644" y="160409"/>
                        </a:cubicBezTo>
                        <a:cubicBezTo>
                          <a:pt x="211096" y="301825"/>
                          <a:pt x="253134" y="666434"/>
                          <a:pt x="253134" y="666434"/>
                        </a:cubicBezTo>
                        <a:lnTo>
                          <a:pt x="41312" y="668189"/>
                        </a:lnTo>
                        <a:lnTo>
                          <a:pt x="0" y="175167"/>
                        </a:lnTo>
                        <a:lnTo>
                          <a:pt x="114198" y="0"/>
                        </a:ln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4" name="Freihandform: Form 473">
                    <a:extLst>
                      <a:ext uri="{FF2B5EF4-FFF2-40B4-BE49-F238E27FC236}">
                        <a16:creationId xmlns:a16="http://schemas.microsoft.com/office/drawing/2014/main" id="{0D058D8C-29B4-C12F-48E3-189B07EB2922}"/>
                      </a:ext>
                    </a:extLst>
                  </p:cNvPr>
                  <p:cNvSpPr/>
                  <p:nvPr/>
                </p:nvSpPr>
                <p:spPr>
                  <a:xfrm>
                    <a:off x="11876781" y="2514754"/>
                    <a:ext cx="210128" cy="210128"/>
                  </a:xfrm>
                  <a:custGeom>
                    <a:avLst/>
                    <a:gdLst>
                      <a:gd name="connsiteX0" fmla="*/ 210129 w 210128"/>
                      <a:gd name="connsiteY0" fmla="*/ 105064 h 210128"/>
                      <a:gd name="connsiteX1" fmla="*/ 105064 w 210128"/>
                      <a:gd name="connsiteY1" fmla="*/ 210128 h 210128"/>
                      <a:gd name="connsiteX2" fmla="*/ 0 w 210128"/>
                      <a:gd name="connsiteY2" fmla="*/ 105064 h 210128"/>
                      <a:gd name="connsiteX3" fmla="*/ 105064 w 210128"/>
                      <a:gd name="connsiteY3" fmla="*/ 0 h 210128"/>
                      <a:gd name="connsiteX4" fmla="*/ 210129 w 210128"/>
                      <a:gd name="connsiteY4" fmla="*/ 105064 h 2101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0128" h="210128">
                        <a:moveTo>
                          <a:pt x="210129" y="105064"/>
                        </a:moveTo>
                        <a:cubicBezTo>
                          <a:pt x="210129" y="163089"/>
                          <a:pt x="163089" y="210128"/>
                          <a:pt x="105064" y="210128"/>
                        </a:cubicBezTo>
                        <a:cubicBezTo>
                          <a:pt x="47039" y="210128"/>
                          <a:pt x="0" y="163089"/>
                          <a:pt x="0" y="105064"/>
                        </a:cubicBezTo>
                        <a:cubicBezTo>
                          <a:pt x="0" y="47039"/>
                          <a:pt x="47039" y="0"/>
                          <a:pt x="105064" y="0"/>
                        </a:cubicBezTo>
                        <a:cubicBezTo>
                          <a:pt x="163089" y="0"/>
                          <a:pt x="210129" y="47039"/>
                          <a:pt x="210129" y="105064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475" name="Grafik 297">
                    <a:extLst>
                      <a:ext uri="{FF2B5EF4-FFF2-40B4-BE49-F238E27FC236}">
                        <a16:creationId xmlns:a16="http://schemas.microsoft.com/office/drawing/2014/main" id="{94671865-C3D0-58A3-AC46-EBDC4446CB4B}"/>
                      </a:ext>
                    </a:extLst>
                  </p:cNvPr>
                  <p:cNvGrpSpPr/>
                  <p:nvPr/>
                </p:nvGrpSpPr>
                <p:grpSpPr>
                  <a:xfrm>
                    <a:off x="11946098" y="3566242"/>
                    <a:ext cx="143230" cy="335273"/>
                    <a:chOff x="11946098" y="3566242"/>
                    <a:chExt cx="143230" cy="335273"/>
                  </a:xfrm>
                  <a:solidFill>
                    <a:srgbClr val="02787D"/>
                  </a:solidFill>
                </p:grpSpPr>
                <p:grpSp>
                  <p:nvGrpSpPr>
                    <p:cNvPr id="476" name="Grafik 297">
                      <a:extLst>
                        <a:ext uri="{FF2B5EF4-FFF2-40B4-BE49-F238E27FC236}">
                          <a16:creationId xmlns:a16="http://schemas.microsoft.com/office/drawing/2014/main" id="{9BF71351-7366-F0B8-28D9-77B39CE653E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91897" y="3779147"/>
                      <a:ext cx="71060" cy="63636"/>
                      <a:chOff x="11991897" y="3779147"/>
                      <a:chExt cx="71060" cy="63636"/>
                    </a:xfrm>
                    <a:solidFill>
                      <a:srgbClr val="02787D"/>
                    </a:solidFill>
                  </p:grpSpPr>
                  <p:sp>
                    <p:nvSpPr>
                      <p:cNvPr id="495" name="Freihandform: Form 494">
                        <a:extLst>
                          <a:ext uri="{FF2B5EF4-FFF2-40B4-BE49-F238E27FC236}">
                            <a16:creationId xmlns:a16="http://schemas.microsoft.com/office/drawing/2014/main" id="{0D0A54FE-8DF5-23AC-1119-4E91E63492B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91897" y="3797206"/>
                        <a:ext cx="39028" cy="45577"/>
                      </a:xfrm>
                      <a:custGeom>
                        <a:avLst/>
                        <a:gdLst>
                          <a:gd name="connsiteX0" fmla="*/ 1924 w 39028"/>
                          <a:gd name="connsiteY0" fmla="*/ 45577 h 45577"/>
                          <a:gd name="connsiteX1" fmla="*/ 26179 w 39028"/>
                          <a:gd name="connsiteY1" fmla="*/ 33298 h 45577"/>
                          <a:gd name="connsiteX2" fmla="*/ 38759 w 39028"/>
                          <a:gd name="connsiteY2" fmla="*/ 6443 h 45577"/>
                          <a:gd name="connsiteX3" fmla="*/ 37005 w 39028"/>
                          <a:gd name="connsiteY3" fmla="*/ 31 h 45577"/>
                          <a:gd name="connsiteX4" fmla="*/ 9968 w 39028"/>
                          <a:gd name="connsiteY4" fmla="*/ 19568 h 45577"/>
                          <a:gd name="connsiteX5" fmla="*/ 1984 w 39028"/>
                          <a:gd name="connsiteY5" fmla="*/ 45577 h 45577"/>
                          <a:gd name="connsiteX6" fmla="*/ 1984 w 39028"/>
                          <a:gd name="connsiteY6" fmla="*/ 45577 h 455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9028" h="45577">
                            <a:moveTo>
                              <a:pt x="1924" y="45577"/>
                            </a:moveTo>
                            <a:lnTo>
                              <a:pt x="26179" y="33298"/>
                            </a:lnTo>
                            <a:cubicBezTo>
                              <a:pt x="35312" y="28460"/>
                              <a:pt x="40272" y="18721"/>
                              <a:pt x="38759" y="6443"/>
                            </a:cubicBezTo>
                            <a:cubicBezTo>
                              <a:pt x="38276" y="2511"/>
                              <a:pt x="37670" y="-332"/>
                              <a:pt x="37005" y="31"/>
                            </a:cubicBezTo>
                            <a:cubicBezTo>
                              <a:pt x="35614" y="636"/>
                              <a:pt x="24061" y="8923"/>
                              <a:pt x="9968" y="19568"/>
                            </a:cubicBezTo>
                            <a:cubicBezTo>
                              <a:pt x="1077" y="26343"/>
                              <a:pt x="-2613" y="32875"/>
                              <a:pt x="1984" y="45577"/>
                            </a:cubicBezTo>
                            <a:lnTo>
                              <a:pt x="1984" y="4557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96" name="Freihandform: Form 495">
                        <a:extLst>
                          <a:ext uri="{FF2B5EF4-FFF2-40B4-BE49-F238E27FC236}">
                            <a16:creationId xmlns:a16="http://schemas.microsoft.com/office/drawing/2014/main" id="{A60779A0-81D8-AB8C-C929-A8555EF3327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13756" y="3779147"/>
                        <a:ext cx="49201" cy="51418"/>
                      </a:xfrm>
                      <a:custGeom>
                        <a:avLst/>
                        <a:gdLst>
                          <a:gd name="connsiteX0" fmla="*/ 4320 w 49201"/>
                          <a:gd name="connsiteY0" fmla="*/ 51358 h 51418"/>
                          <a:gd name="connsiteX1" fmla="*/ 41518 w 49201"/>
                          <a:gd name="connsiteY1" fmla="*/ 30793 h 51418"/>
                          <a:gd name="connsiteX2" fmla="*/ 49019 w 49201"/>
                          <a:gd name="connsiteY2" fmla="*/ 24139 h 51418"/>
                          <a:gd name="connsiteX3" fmla="*/ 28454 w 49201"/>
                          <a:gd name="connsiteY3" fmla="*/ 5 h 51418"/>
                          <a:gd name="connsiteX4" fmla="*/ 6558 w 49201"/>
                          <a:gd name="connsiteY4" fmla="*/ 23655 h 51418"/>
                          <a:gd name="connsiteX5" fmla="*/ 4320 w 49201"/>
                          <a:gd name="connsiteY5" fmla="*/ 51418 h 51418"/>
                          <a:gd name="connsiteX6" fmla="*/ 4320 w 49201"/>
                          <a:gd name="connsiteY6" fmla="*/ 51418 h 514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9201" h="51418">
                            <a:moveTo>
                              <a:pt x="4320" y="51358"/>
                            </a:moveTo>
                            <a:lnTo>
                              <a:pt x="41518" y="30793"/>
                            </a:lnTo>
                            <a:cubicBezTo>
                              <a:pt x="46055" y="28071"/>
                              <a:pt x="47748" y="25712"/>
                              <a:pt x="49019" y="24139"/>
                            </a:cubicBezTo>
                            <a:cubicBezTo>
                              <a:pt x="50894" y="12163"/>
                              <a:pt x="37950" y="-297"/>
                              <a:pt x="28454" y="5"/>
                            </a:cubicBezTo>
                            <a:lnTo>
                              <a:pt x="6558" y="23655"/>
                            </a:lnTo>
                            <a:cubicBezTo>
                              <a:pt x="-2092" y="29825"/>
                              <a:pt x="-1487" y="39442"/>
                              <a:pt x="4320" y="51418"/>
                            </a:cubicBezTo>
                            <a:lnTo>
                              <a:pt x="4320" y="51418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77" name="Grafik 297">
                      <a:extLst>
                        <a:ext uri="{FF2B5EF4-FFF2-40B4-BE49-F238E27FC236}">
                          <a16:creationId xmlns:a16="http://schemas.microsoft.com/office/drawing/2014/main" id="{6B42BB35-4C29-D358-006C-88BFEEA1806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85158" y="3753599"/>
                      <a:ext cx="101447" cy="124931"/>
                      <a:chOff x="11985158" y="3753599"/>
                      <a:chExt cx="101447" cy="124931"/>
                    </a:xfrm>
                    <a:solidFill>
                      <a:srgbClr val="02787D"/>
                    </a:solidFill>
                  </p:grpSpPr>
                  <p:sp>
                    <p:nvSpPr>
                      <p:cNvPr id="492" name="Freihandform: Form 491">
                        <a:extLst>
                          <a:ext uri="{FF2B5EF4-FFF2-40B4-BE49-F238E27FC236}">
                            <a16:creationId xmlns:a16="http://schemas.microsoft.com/office/drawing/2014/main" id="{D44CB3A9-25ED-6F3A-6D6B-ED9C7E3BAB4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85158" y="3820113"/>
                        <a:ext cx="47131" cy="58418"/>
                      </a:xfrm>
                      <a:custGeom>
                        <a:avLst/>
                        <a:gdLst>
                          <a:gd name="connsiteX0" fmla="*/ 2493 w 47131"/>
                          <a:gd name="connsiteY0" fmla="*/ 58418 h 58418"/>
                          <a:gd name="connsiteX1" fmla="*/ 31768 w 47131"/>
                          <a:gd name="connsiteY1" fmla="*/ 40091 h 58418"/>
                          <a:gd name="connsiteX2" fmla="*/ 46768 w 47131"/>
                          <a:gd name="connsiteY2" fmla="*/ 7126 h 58418"/>
                          <a:gd name="connsiteX3" fmla="*/ 44530 w 47131"/>
                          <a:gd name="connsiteY3" fmla="*/ 49 h 58418"/>
                          <a:gd name="connsiteX4" fmla="*/ 11928 w 47131"/>
                          <a:gd name="connsiteY4" fmla="*/ 27207 h 58418"/>
                          <a:gd name="connsiteX5" fmla="*/ 2493 w 47131"/>
                          <a:gd name="connsiteY5" fmla="*/ 58418 h 58418"/>
                          <a:gd name="connsiteX6" fmla="*/ 2493 w 47131"/>
                          <a:gd name="connsiteY6" fmla="*/ 58418 h 584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7131" h="58418">
                            <a:moveTo>
                              <a:pt x="2493" y="58418"/>
                            </a:moveTo>
                            <a:lnTo>
                              <a:pt x="31768" y="40091"/>
                            </a:lnTo>
                            <a:cubicBezTo>
                              <a:pt x="42777" y="32953"/>
                              <a:pt x="48704" y="20917"/>
                              <a:pt x="46768" y="7126"/>
                            </a:cubicBezTo>
                            <a:cubicBezTo>
                              <a:pt x="46164" y="2710"/>
                              <a:pt x="45377" y="-435"/>
                              <a:pt x="44530" y="49"/>
                            </a:cubicBezTo>
                            <a:cubicBezTo>
                              <a:pt x="42897" y="1017"/>
                              <a:pt x="28925" y="12509"/>
                              <a:pt x="11928" y="27207"/>
                            </a:cubicBezTo>
                            <a:cubicBezTo>
                              <a:pt x="1223" y="36522"/>
                              <a:pt x="-3193" y="44627"/>
                              <a:pt x="2493" y="58418"/>
                            </a:cubicBezTo>
                            <a:lnTo>
                              <a:pt x="2493" y="58418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93" name="Freihandform: Form 492">
                        <a:extLst>
                          <a:ext uri="{FF2B5EF4-FFF2-40B4-BE49-F238E27FC236}">
                            <a16:creationId xmlns:a16="http://schemas.microsoft.com/office/drawing/2014/main" id="{CA17F6B4-8777-BD89-0B6A-08C8FD8B20C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10819" y="3786350"/>
                        <a:ext cx="62106" cy="74155"/>
                      </a:xfrm>
                      <a:custGeom>
                        <a:avLst/>
                        <a:gdLst>
                          <a:gd name="connsiteX0" fmla="*/ 5381 w 62106"/>
                          <a:gd name="connsiteY0" fmla="*/ 74156 h 74155"/>
                          <a:gd name="connsiteX1" fmla="*/ 50080 w 62106"/>
                          <a:gd name="connsiteY1" fmla="*/ 45546 h 74155"/>
                          <a:gd name="connsiteX2" fmla="*/ 55766 w 62106"/>
                          <a:gd name="connsiteY2" fmla="*/ 3569 h 74155"/>
                          <a:gd name="connsiteX3" fmla="*/ 50927 w 62106"/>
                          <a:gd name="connsiteY3" fmla="*/ 0 h 74155"/>
                          <a:gd name="connsiteX4" fmla="*/ 7801 w 62106"/>
                          <a:gd name="connsiteY4" fmla="*/ 41917 h 74155"/>
                          <a:gd name="connsiteX5" fmla="*/ 5381 w 62106"/>
                          <a:gd name="connsiteY5" fmla="*/ 74095 h 74155"/>
                          <a:gd name="connsiteX6" fmla="*/ 5381 w 62106"/>
                          <a:gd name="connsiteY6" fmla="*/ 74095 h 7415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2106" h="74155">
                            <a:moveTo>
                              <a:pt x="5381" y="74156"/>
                            </a:moveTo>
                            <a:lnTo>
                              <a:pt x="50080" y="45546"/>
                            </a:lnTo>
                            <a:cubicBezTo>
                              <a:pt x="63508" y="36776"/>
                              <a:pt x="66109" y="17601"/>
                              <a:pt x="55766" y="3569"/>
                            </a:cubicBezTo>
                            <a:lnTo>
                              <a:pt x="50927" y="0"/>
                            </a:lnTo>
                            <a:lnTo>
                              <a:pt x="7801" y="41917"/>
                            </a:lnTo>
                            <a:cubicBezTo>
                              <a:pt x="-2603" y="50506"/>
                              <a:pt x="-1756" y="61393"/>
                              <a:pt x="5381" y="74095"/>
                            </a:cubicBezTo>
                            <a:lnTo>
                              <a:pt x="5381" y="7409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94" name="Freihandform: Form 493">
                        <a:extLst>
                          <a:ext uri="{FF2B5EF4-FFF2-40B4-BE49-F238E27FC236}">
                            <a16:creationId xmlns:a16="http://schemas.microsoft.com/office/drawing/2014/main" id="{0478A856-9924-1136-99E1-B35019193B8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44011" y="3753599"/>
                        <a:ext cx="42594" cy="70796"/>
                      </a:xfrm>
                      <a:custGeom>
                        <a:avLst/>
                        <a:gdLst>
                          <a:gd name="connsiteX0" fmla="*/ 42595 w 42594"/>
                          <a:gd name="connsiteY0" fmla="*/ 9343 h 70796"/>
                          <a:gd name="connsiteX1" fmla="*/ 28139 w 42594"/>
                          <a:gd name="connsiteY1" fmla="*/ 64506 h 70796"/>
                          <a:gd name="connsiteX2" fmla="*/ 24207 w 42594"/>
                          <a:gd name="connsiteY2" fmla="*/ 70797 h 70796"/>
                          <a:gd name="connsiteX3" fmla="*/ 194 w 42594"/>
                          <a:gd name="connsiteY3" fmla="*/ 37167 h 70796"/>
                          <a:gd name="connsiteX4" fmla="*/ 2976 w 42594"/>
                          <a:gd name="connsiteY4" fmla="*/ 6561 h 70796"/>
                          <a:gd name="connsiteX5" fmla="*/ 42595 w 42594"/>
                          <a:gd name="connsiteY5" fmla="*/ 9343 h 7079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42594" h="70796">
                            <a:moveTo>
                              <a:pt x="42595" y="9343"/>
                            </a:moveTo>
                            <a:cubicBezTo>
                              <a:pt x="39813" y="20775"/>
                              <a:pt x="28139" y="64506"/>
                              <a:pt x="28139" y="64506"/>
                            </a:cubicBezTo>
                            <a:lnTo>
                              <a:pt x="24207" y="70797"/>
                            </a:lnTo>
                            <a:cubicBezTo>
                              <a:pt x="7997" y="67047"/>
                              <a:pt x="-1500" y="52409"/>
                              <a:pt x="194" y="37167"/>
                            </a:cubicBezTo>
                            <a:lnTo>
                              <a:pt x="2976" y="6561"/>
                            </a:lnTo>
                            <a:cubicBezTo>
                              <a:pt x="9751" y="-2633"/>
                              <a:pt x="39873" y="-2573"/>
                              <a:pt x="42595" y="9343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78" name="Grafik 297">
                      <a:extLst>
                        <a:ext uri="{FF2B5EF4-FFF2-40B4-BE49-F238E27FC236}">
                          <a16:creationId xmlns:a16="http://schemas.microsoft.com/office/drawing/2014/main" id="{7B5C5FD5-F915-5BFA-6DD5-0F4C8D251DD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90326" y="3742989"/>
                      <a:ext cx="85513" cy="158526"/>
                      <a:chOff x="11990326" y="3742989"/>
                      <a:chExt cx="85513" cy="158526"/>
                    </a:xfrm>
                    <a:solidFill>
                      <a:srgbClr val="02787D"/>
                    </a:solidFill>
                  </p:grpSpPr>
                  <p:sp>
                    <p:nvSpPr>
                      <p:cNvPr id="489" name="Freihandform: Form 488">
                        <a:extLst>
                          <a:ext uri="{FF2B5EF4-FFF2-40B4-BE49-F238E27FC236}">
                            <a16:creationId xmlns:a16="http://schemas.microsoft.com/office/drawing/2014/main" id="{CBA38A20-F3D3-BE1C-18F6-7EC3A75AA36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90326" y="3824551"/>
                        <a:ext cx="38110" cy="76964"/>
                      </a:xfrm>
                      <a:custGeom>
                        <a:avLst/>
                        <a:gdLst>
                          <a:gd name="connsiteX0" fmla="*/ 8575 w 38110"/>
                          <a:gd name="connsiteY0" fmla="*/ 76904 h 76964"/>
                          <a:gd name="connsiteX1" fmla="*/ 31076 w 38110"/>
                          <a:gd name="connsiteY1" fmla="*/ 46298 h 76964"/>
                          <a:gd name="connsiteX2" fmla="*/ 33012 w 38110"/>
                          <a:gd name="connsiteY2" fmla="*/ 6498 h 76964"/>
                          <a:gd name="connsiteX3" fmla="*/ 27870 w 38110"/>
                          <a:gd name="connsiteY3" fmla="*/ 147 h 76964"/>
                          <a:gd name="connsiteX4" fmla="*/ 5491 w 38110"/>
                          <a:gd name="connsiteY4" fmla="*/ 41157 h 76964"/>
                          <a:gd name="connsiteX5" fmla="*/ 8515 w 38110"/>
                          <a:gd name="connsiteY5" fmla="*/ 76964 h 76964"/>
                          <a:gd name="connsiteX6" fmla="*/ 8515 w 38110"/>
                          <a:gd name="connsiteY6" fmla="*/ 76964 h 769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8110" h="76964">
                            <a:moveTo>
                              <a:pt x="8575" y="76904"/>
                            </a:moveTo>
                            <a:lnTo>
                              <a:pt x="31076" y="46298"/>
                            </a:lnTo>
                            <a:cubicBezTo>
                              <a:pt x="39484" y="34563"/>
                              <a:pt x="40633" y="19805"/>
                              <a:pt x="33012" y="6498"/>
                            </a:cubicBezTo>
                            <a:cubicBezTo>
                              <a:pt x="30592" y="2204"/>
                              <a:pt x="28536" y="-700"/>
                              <a:pt x="27870" y="147"/>
                            </a:cubicBezTo>
                            <a:cubicBezTo>
                              <a:pt x="26540" y="1780"/>
                              <a:pt x="16922" y="19200"/>
                              <a:pt x="5491" y="41157"/>
                            </a:cubicBezTo>
                            <a:cubicBezTo>
                              <a:pt x="-1707" y="55008"/>
                              <a:pt x="-2917" y="65109"/>
                              <a:pt x="8515" y="76964"/>
                            </a:cubicBezTo>
                            <a:lnTo>
                              <a:pt x="8515" y="76964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90" name="Freihandform: Form 489">
                        <a:extLst>
                          <a:ext uri="{FF2B5EF4-FFF2-40B4-BE49-F238E27FC236}">
                            <a16:creationId xmlns:a16="http://schemas.microsoft.com/office/drawing/2014/main" id="{7FA20844-AE99-6EA3-9EB7-04498F9D114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05558" y="3796330"/>
                        <a:ext cx="52356" cy="76575"/>
                      </a:xfrm>
                      <a:custGeom>
                        <a:avLst/>
                        <a:gdLst>
                          <a:gd name="connsiteX0" fmla="*/ 14271 w 52356"/>
                          <a:gd name="connsiteY0" fmla="*/ 76575 h 76575"/>
                          <a:gd name="connsiteX1" fmla="*/ 48144 w 52356"/>
                          <a:gd name="connsiteY1" fmla="*/ 28852 h 76575"/>
                          <a:gd name="connsiteX2" fmla="*/ 29817 w 52356"/>
                          <a:gd name="connsiteY2" fmla="*/ 1815 h 76575"/>
                          <a:gd name="connsiteX3" fmla="*/ 27518 w 52356"/>
                          <a:gd name="connsiteY3" fmla="*/ 0 h 76575"/>
                          <a:gd name="connsiteX4" fmla="*/ 3384 w 52356"/>
                          <a:gd name="connsiteY4" fmla="*/ 42280 h 76575"/>
                          <a:gd name="connsiteX5" fmla="*/ 13425 w 52356"/>
                          <a:gd name="connsiteY5" fmla="*/ 75910 h 76575"/>
                          <a:gd name="connsiteX6" fmla="*/ 14271 w 52356"/>
                          <a:gd name="connsiteY6" fmla="*/ 76575 h 7657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2356" h="76575">
                            <a:moveTo>
                              <a:pt x="14271" y="76575"/>
                            </a:moveTo>
                            <a:lnTo>
                              <a:pt x="48144" y="28852"/>
                            </a:lnTo>
                            <a:cubicBezTo>
                              <a:pt x="58366" y="14396"/>
                              <a:pt x="49111" y="6714"/>
                              <a:pt x="29817" y="1815"/>
                            </a:cubicBezTo>
                            <a:lnTo>
                              <a:pt x="27518" y="0"/>
                            </a:lnTo>
                            <a:lnTo>
                              <a:pt x="3384" y="42280"/>
                            </a:lnTo>
                            <a:cubicBezTo>
                              <a:pt x="-3814" y="55284"/>
                              <a:pt x="904" y="65809"/>
                              <a:pt x="13425" y="75910"/>
                            </a:cubicBezTo>
                            <a:lnTo>
                              <a:pt x="14271" y="7657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91" name="Freihandform: Form 490">
                        <a:extLst>
                          <a:ext uri="{FF2B5EF4-FFF2-40B4-BE49-F238E27FC236}">
                            <a16:creationId xmlns:a16="http://schemas.microsoft.com/office/drawing/2014/main" id="{3838B43C-CAF3-B3A7-5C56-3CA784C7B4E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31820" y="3742989"/>
                        <a:ext cx="44019" cy="76991"/>
                      </a:xfrm>
                      <a:custGeom>
                        <a:avLst/>
                        <a:gdLst>
                          <a:gd name="connsiteX0" fmla="*/ 43959 w 44019"/>
                          <a:gd name="connsiteY0" fmla="*/ 12090 h 76991"/>
                          <a:gd name="connsiteX1" fmla="*/ 24725 w 44019"/>
                          <a:gd name="connsiteY1" fmla="*/ 76991 h 76991"/>
                          <a:gd name="connsiteX2" fmla="*/ 228 w 44019"/>
                          <a:gd name="connsiteY2" fmla="*/ 53886 h 76991"/>
                          <a:gd name="connsiteX3" fmla="*/ 4764 w 44019"/>
                          <a:gd name="connsiteY3" fmla="*/ 5981 h 76991"/>
                          <a:gd name="connsiteX4" fmla="*/ 44019 w 44019"/>
                          <a:gd name="connsiteY4" fmla="*/ 12150 h 7699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44019" h="76991">
                            <a:moveTo>
                              <a:pt x="43959" y="12090"/>
                            </a:moveTo>
                            <a:cubicBezTo>
                              <a:pt x="43778" y="13300"/>
                              <a:pt x="24725" y="76991"/>
                              <a:pt x="24725" y="76991"/>
                            </a:cubicBezTo>
                            <a:cubicBezTo>
                              <a:pt x="6881" y="72939"/>
                              <a:pt x="-1527" y="70640"/>
                              <a:pt x="228" y="53886"/>
                            </a:cubicBezTo>
                            <a:lnTo>
                              <a:pt x="4764" y="5981"/>
                            </a:lnTo>
                            <a:cubicBezTo>
                              <a:pt x="12143" y="-4181"/>
                              <a:pt x="40935" y="-915"/>
                              <a:pt x="44019" y="12150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79" name="Grafik 297">
                      <a:extLst>
                        <a:ext uri="{FF2B5EF4-FFF2-40B4-BE49-F238E27FC236}">
                          <a16:creationId xmlns:a16="http://schemas.microsoft.com/office/drawing/2014/main" id="{1C86CD88-0D93-9304-CA9D-474597A7505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87985" y="3749196"/>
                      <a:ext cx="74487" cy="151835"/>
                      <a:chOff x="11987985" y="3749196"/>
                      <a:chExt cx="74487" cy="151835"/>
                    </a:xfrm>
                    <a:solidFill>
                      <a:srgbClr val="02787D"/>
                    </a:solidFill>
                  </p:grpSpPr>
                  <p:sp>
                    <p:nvSpPr>
                      <p:cNvPr id="486" name="Freihandform: Form 485">
                        <a:extLst>
                          <a:ext uri="{FF2B5EF4-FFF2-40B4-BE49-F238E27FC236}">
                            <a16:creationId xmlns:a16="http://schemas.microsoft.com/office/drawing/2014/main" id="{BA4C2881-0267-D0FA-8B70-F574CC96876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87985" y="3830759"/>
                        <a:ext cx="34589" cy="70272"/>
                      </a:xfrm>
                      <a:custGeom>
                        <a:avLst/>
                        <a:gdLst>
                          <a:gd name="connsiteX0" fmla="*/ 10917 w 34589"/>
                          <a:gd name="connsiteY0" fmla="*/ 70273 h 70272"/>
                          <a:gd name="connsiteX1" fmla="*/ 29426 w 34589"/>
                          <a:gd name="connsiteY1" fmla="*/ 40393 h 70272"/>
                          <a:gd name="connsiteX2" fmla="*/ 27672 w 34589"/>
                          <a:gd name="connsiteY2" fmla="*/ 5371 h 70272"/>
                          <a:gd name="connsiteX3" fmla="*/ 21744 w 34589"/>
                          <a:gd name="connsiteY3" fmla="*/ 169 h 70272"/>
                          <a:gd name="connsiteX4" fmla="*/ 3356 w 34589"/>
                          <a:gd name="connsiteY4" fmla="*/ 38215 h 70272"/>
                          <a:gd name="connsiteX5" fmla="*/ 10978 w 34589"/>
                          <a:gd name="connsiteY5" fmla="*/ 70273 h 70272"/>
                          <a:gd name="connsiteX6" fmla="*/ 10978 w 34589"/>
                          <a:gd name="connsiteY6" fmla="*/ 70273 h 7027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4589" h="70272">
                            <a:moveTo>
                              <a:pt x="10917" y="70273"/>
                            </a:moveTo>
                            <a:lnTo>
                              <a:pt x="29426" y="40393"/>
                            </a:lnTo>
                            <a:cubicBezTo>
                              <a:pt x="36260" y="28961"/>
                              <a:pt x="36926" y="16743"/>
                              <a:pt x="27672" y="5371"/>
                            </a:cubicBezTo>
                            <a:cubicBezTo>
                              <a:pt x="24708" y="1742"/>
                              <a:pt x="22288" y="-677"/>
                              <a:pt x="21744" y="169"/>
                            </a:cubicBezTo>
                            <a:cubicBezTo>
                              <a:pt x="20655" y="1803"/>
                              <a:pt x="11885" y="17287"/>
                              <a:pt x="3356" y="38215"/>
                            </a:cubicBezTo>
                            <a:cubicBezTo>
                              <a:pt x="-2027" y="51461"/>
                              <a:pt x="-1906" y="60716"/>
                              <a:pt x="10978" y="70273"/>
                            </a:cubicBezTo>
                            <a:lnTo>
                              <a:pt x="10978" y="70273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7" name="Freihandform: Form 486">
                        <a:extLst>
                          <a:ext uri="{FF2B5EF4-FFF2-40B4-BE49-F238E27FC236}">
                            <a16:creationId xmlns:a16="http://schemas.microsoft.com/office/drawing/2014/main" id="{E413D98E-CF39-572A-2FDA-310587790AD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01678" y="3796330"/>
                        <a:ext cx="46919" cy="74881"/>
                      </a:xfrm>
                      <a:custGeom>
                        <a:avLst/>
                        <a:gdLst>
                          <a:gd name="connsiteX0" fmla="*/ 15672 w 46919"/>
                          <a:gd name="connsiteY0" fmla="*/ 74821 h 74881"/>
                          <a:gd name="connsiteX1" fmla="*/ 43556 w 46919"/>
                          <a:gd name="connsiteY1" fmla="*/ 28670 h 74881"/>
                          <a:gd name="connsiteX2" fmla="*/ 26741 w 46919"/>
                          <a:gd name="connsiteY2" fmla="*/ 0 h 74881"/>
                          <a:gd name="connsiteX3" fmla="*/ 22084 w 46919"/>
                          <a:gd name="connsiteY3" fmla="*/ 4960 h 74881"/>
                          <a:gd name="connsiteX4" fmla="*/ 2124 w 46919"/>
                          <a:gd name="connsiteY4" fmla="*/ 46393 h 74881"/>
                          <a:gd name="connsiteX5" fmla="*/ 15672 w 46919"/>
                          <a:gd name="connsiteY5" fmla="*/ 74881 h 74881"/>
                          <a:gd name="connsiteX6" fmla="*/ 15672 w 46919"/>
                          <a:gd name="connsiteY6" fmla="*/ 74881 h 74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6919" h="74881">
                            <a:moveTo>
                              <a:pt x="15672" y="74821"/>
                            </a:moveTo>
                            <a:lnTo>
                              <a:pt x="43556" y="28670"/>
                            </a:lnTo>
                            <a:cubicBezTo>
                              <a:pt x="51843" y="14577"/>
                              <a:pt x="44282" y="7561"/>
                              <a:pt x="26741" y="0"/>
                            </a:cubicBezTo>
                            <a:lnTo>
                              <a:pt x="22084" y="4960"/>
                            </a:lnTo>
                            <a:lnTo>
                              <a:pt x="2124" y="46393"/>
                            </a:lnTo>
                            <a:cubicBezTo>
                              <a:pt x="-3320" y="58853"/>
                              <a:pt x="1881" y="66958"/>
                              <a:pt x="15672" y="74881"/>
                            </a:cubicBezTo>
                            <a:lnTo>
                              <a:pt x="15672" y="74881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8" name="Freihandform: Form 487">
                        <a:extLst>
                          <a:ext uri="{FF2B5EF4-FFF2-40B4-BE49-F238E27FC236}">
                            <a16:creationId xmlns:a16="http://schemas.microsoft.com/office/drawing/2014/main" id="{E921B976-299E-25B3-29FD-E343664F874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23561" y="3749196"/>
                        <a:ext cx="38911" cy="69332"/>
                      </a:xfrm>
                      <a:custGeom>
                        <a:avLst/>
                        <a:gdLst>
                          <a:gd name="connsiteX0" fmla="*/ 38851 w 38911"/>
                          <a:gd name="connsiteY0" fmla="*/ 6729 h 69332"/>
                          <a:gd name="connsiteX1" fmla="*/ 24576 w 38911"/>
                          <a:gd name="connsiteY1" fmla="*/ 69332 h 69332"/>
                          <a:gd name="connsiteX2" fmla="*/ 19 w 38911"/>
                          <a:gd name="connsiteY2" fmla="*/ 54392 h 69332"/>
                          <a:gd name="connsiteX3" fmla="*/ 3950 w 38911"/>
                          <a:gd name="connsiteY3" fmla="*/ 9814 h 69332"/>
                          <a:gd name="connsiteX4" fmla="*/ 38911 w 38911"/>
                          <a:gd name="connsiteY4" fmla="*/ 6729 h 6933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38911" h="69332">
                            <a:moveTo>
                              <a:pt x="38851" y="6729"/>
                            </a:moveTo>
                            <a:cubicBezTo>
                              <a:pt x="38790" y="7818"/>
                              <a:pt x="24576" y="69332"/>
                              <a:pt x="24576" y="69332"/>
                            </a:cubicBezTo>
                            <a:cubicBezTo>
                              <a:pt x="6370" y="66611"/>
                              <a:pt x="-405" y="69756"/>
                              <a:pt x="19" y="54392"/>
                            </a:cubicBezTo>
                            <a:lnTo>
                              <a:pt x="3950" y="9814"/>
                            </a:lnTo>
                            <a:cubicBezTo>
                              <a:pt x="10543" y="197"/>
                              <a:pt x="34798" y="-4944"/>
                              <a:pt x="38911" y="6729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480" name="Grafik 297">
                      <a:extLst>
                        <a:ext uri="{FF2B5EF4-FFF2-40B4-BE49-F238E27FC236}">
                          <a16:creationId xmlns:a16="http://schemas.microsoft.com/office/drawing/2014/main" id="{F5648790-F497-012B-6DF4-CE83B0CCC74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46098" y="3618585"/>
                      <a:ext cx="105739" cy="213190"/>
                      <a:chOff x="11946098" y="3618585"/>
                      <a:chExt cx="105739" cy="213190"/>
                    </a:xfrm>
                    <a:solidFill>
                      <a:srgbClr val="02787D"/>
                    </a:solidFill>
                  </p:grpSpPr>
                  <p:sp>
                    <p:nvSpPr>
                      <p:cNvPr id="483" name="Freihandform: Form 482">
                        <a:extLst>
                          <a:ext uri="{FF2B5EF4-FFF2-40B4-BE49-F238E27FC236}">
                            <a16:creationId xmlns:a16="http://schemas.microsoft.com/office/drawing/2014/main" id="{6954A651-099E-D1CD-0197-E8D5342587F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58921" y="3744917"/>
                        <a:ext cx="32671" cy="86858"/>
                      </a:xfrm>
                      <a:custGeom>
                        <a:avLst/>
                        <a:gdLst>
                          <a:gd name="connsiteX0" fmla="*/ 12339 w 32671"/>
                          <a:gd name="connsiteY0" fmla="*/ 86858 h 86858"/>
                          <a:gd name="connsiteX1" fmla="*/ 0 w 32671"/>
                          <a:gd name="connsiteY1" fmla="*/ 44216 h 86858"/>
                          <a:gd name="connsiteX2" fmla="*/ 11673 w 32671"/>
                          <a:gd name="connsiteY2" fmla="*/ 2359 h 86858"/>
                          <a:gd name="connsiteX3" fmla="*/ 20202 w 32671"/>
                          <a:gd name="connsiteY3" fmla="*/ 1089 h 86858"/>
                          <a:gd name="connsiteX4" fmla="*/ 31997 w 32671"/>
                          <a:gd name="connsiteY4" fmla="*/ 52684 h 86858"/>
                          <a:gd name="connsiteX5" fmla="*/ 12399 w 32671"/>
                          <a:gd name="connsiteY5" fmla="*/ 86858 h 86858"/>
                          <a:gd name="connsiteX6" fmla="*/ 12399 w 32671"/>
                          <a:gd name="connsiteY6" fmla="*/ 86858 h 868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2671" h="86858">
                            <a:moveTo>
                              <a:pt x="12339" y="86858"/>
                            </a:moveTo>
                            <a:lnTo>
                              <a:pt x="0" y="44216"/>
                            </a:lnTo>
                            <a:cubicBezTo>
                              <a:pt x="1573" y="30304"/>
                              <a:pt x="3206" y="8771"/>
                              <a:pt x="11673" y="2359"/>
                            </a:cubicBezTo>
                            <a:cubicBezTo>
                              <a:pt x="16452" y="-1270"/>
                              <a:pt x="19779" y="121"/>
                              <a:pt x="20202" y="1089"/>
                            </a:cubicBezTo>
                            <a:cubicBezTo>
                              <a:pt x="23347" y="8226"/>
                              <a:pt x="28610" y="30909"/>
                              <a:pt x="31997" y="52684"/>
                            </a:cubicBezTo>
                            <a:cubicBezTo>
                              <a:pt x="34356" y="67805"/>
                              <a:pt x="31150" y="77906"/>
                              <a:pt x="12399" y="86858"/>
                            </a:cubicBezTo>
                            <a:lnTo>
                              <a:pt x="12399" y="86858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4" name="Freihandform: Form 483">
                        <a:extLst>
                          <a:ext uri="{FF2B5EF4-FFF2-40B4-BE49-F238E27FC236}">
                            <a16:creationId xmlns:a16="http://schemas.microsoft.com/office/drawing/2014/main" id="{D9177350-892C-97BD-F9D3-BF45668F494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46098" y="3716544"/>
                        <a:ext cx="49961" cy="74915"/>
                      </a:xfrm>
                      <a:custGeom>
                        <a:avLst/>
                        <a:gdLst>
                          <a:gd name="connsiteX0" fmla="*/ 0 w 49961"/>
                          <a:gd name="connsiteY0" fmla="*/ 6901 h 74915"/>
                          <a:gd name="connsiteX1" fmla="*/ 49961 w 49961"/>
                          <a:gd name="connsiteY1" fmla="*/ 13554 h 74915"/>
                          <a:gd name="connsiteX2" fmla="*/ 38651 w 49961"/>
                          <a:gd name="connsiteY2" fmla="*/ 49180 h 74915"/>
                          <a:gd name="connsiteX3" fmla="*/ 12823 w 49961"/>
                          <a:gd name="connsiteY3" fmla="*/ 72588 h 74915"/>
                          <a:gd name="connsiteX4" fmla="*/ 0 w 49961"/>
                          <a:gd name="connsiteY4" fmla="*/ 6901 h 7491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49961" h="74915">
                            <a:moveTo>
                              <a:pt x="0" y="6901"/>
                            </a:moveTo>
                            <a:cubicBezTo>
                              <a:pt x="16029" y="-11850"/>
                              <a:pt x="49961" y="13554"/>
                              <a:pt x="49961" y="13554"/>
                            </a:cubicBezTo>
                            <a:lnTo>
                              <a:pt x="38651" y="49180"/>
                            </a:lnTo>
                            <a:cubicBezTo>
                              <a:pt x="36836" y="64846"/>
                              <a:pt x="25404" y="81056"/>
                              <a:pt x="12823" y="72588"/>
                            </a:cubicBezTo>
                            <a:cubicBezTo>
                              <a:pt x="12823" y="72588"/>
                              <a:pt x="61" y="6175"/>
                              <a:pt x="0" y="6901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85" name="Freihandform: Form 484">
                        <a:extLst>
                          <a:ext uri="{FF2B5EF4-FFF2-40B4-BE49-F238E27FC236}">
                            <a16:creationId xmlns:a16="http://schemas.microsoft.com/office/drawing/2014/main" id="{D0A15BF6-C816-D4F7-AC7B-87193C2A248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46098" y="3618585"/>
                        <a:ext cx="105739" cy="122980"/>
                      </a:xfrm>
                      <a:custGeom>
                        <a:avLst/>
                        <a:gdLst>
                          <a:gd name="connsiteX0" fmla="*/ 13005 w 105739"/>
                          <a:gd name="connsiteY0" fmla="*/ 52237 h 122980"/>
                          <a:gd name="connsiteX1" fmla="*/ 0 w 105739"/>
                          <a:gd name="connsiteY1" fmla="*/ 104860 h 122980"/>
                          <a:gd name="connsiteX2" fmla="*/ 0 w 105739"/>
                          <a:gd name="connsiteY2" fmla="*/ 104860 h 122980"/>
                          <a:gd name="connsiteX3" fmla="*/ 49598 w 105739"/>
                          <a:gd name="connsiteY3" fmla="*/ 112360 h 122980"/>
                          <a:gd name="connsiteX4" fmla="*/ 96475 w 105739"/>
                          <a:gd name="connsiteY4" fmla="*/ 56532 h 122980"/>
                          <a:gd name="connsiteX5" fmla="*/ 47300 w 105739"/>
                          <a:gd name="connsiteY5" fmla="*/ 3244 h 122980"/>
                          <a:gd name="connsiteX6" fmla="*/ 12944 w 105739"/>
                          <a:gd name="connsiteY6" fmla="*/ 52237 h 12298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105739" h="122980">
                            <a:moveTo>
                              <a:pt x="13005" y="52237"/>
                            </a:moveTo>
                            <a:cubicBezTo>
                              <a:pt x="7561" y="66875"/>
                              <a:pt x="0" y="104860"/>
                              <a:pt x="0" y="104860"/>
                            </a:cubicBezTo>
                            <a:lnTo>
                              <a:pt x="0" y="104860"/>
                            </a:lnTo>
                            <a:cubicBezTo>
                              <a:pt x="5685" y="123853"/>
                              <a:pt x="34114" y="130385"/>
                              <a:pt x="49598" y="112360"/>
                            </a:cubicBezTo>
                            <a:cubicBezTo>
                              <a:pt x="49598" y="112360"/>
                              <a:pt x="65083" y="73286"/>
                              <a:pt x="96475" y="56532"/>
                            </a:cubicBezTo>
                            <a:cubicBezTo>
                              <a:pt x="123633" y="42015"/>
                              <a:pt x="86192" y="-13934"/>
                              <a:pt x="47300" y="3244"/>
                            </a:cubicBezTo>
                            <a:cubicBezTo>
                              <a:pt x="27642" y="23204"/>
                              <a:pt x="12944" y="52237"/>
                              <a:pt x="12944" y="52237"/>
                            </a:cubicBez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481" name="Freihandform: Form 480">
                      <a:extLst>
                        <a:ext uri="{FF2B5EF4-FFF2-40B4-BE49-F238E27FC236}">
                          <a16:creationId xmlns:a16="http://schemas.microsoft.com/office/drawing/2014/main" id="{333DA2CD-12C5-63E9-43BE-5F31092BFDF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52267" y="3601082"/>
                      <a:ext cx="137060" cy="179703"/>
                    </a:xfrm>
                    <a:custGeom>
                      <a:avLst/>
                      <a:gdLst>
                        <a:gd name="connsiteX0" fmla="*/ 137061 w 137060"/>
                        <a:gd name="connsiteY0" fmla="*/ 137243 h 179703"/>
                        <a:gd name="connsiteX1" fmla="*/ 128895 w 137060"/>
                        <a:gd name="connsiteY1" fmla="*/ 10645 h 179703"/>
                        <a:gd name="connsiteX2" fmla="*/ 44578 w 137060"/>
                        <a:gd name="connsiteY2" fmla="*/ 0 h 179703"/>
                        <a:gd name="connsiteX3" fmla="*/ 36352 w 137060"/>
                        <a:gd name="connsiteY3" fmla="*/ 21352 h 179703"/>
                        <a:gd name="connsiteX4" fmla="*/ 0 w 137060"/>
                        <a:gd name="connsiteY4" fmla="*/ 96778 h 179703"/>
                        <a:gd name="connsiteX5" fmla="*/ 45183 w 137060"/>
                        <a:gd name="connsiteY5" fmla="*/ 123633 h 179703"/>
                        <a:gd name="connsiteX6" fmla="*/ 74216 w 137060"/>
                        <a:gd name="connsiteY6" fmla="*/ 179704 h 179703"/>
                        <a:gd name="connsiteX7" fmla="*/ 134339 w 137060"/>
                        <a:gd name="connsiteY7" fmla="*/ 161921 h 179703"/>
                        <a:gd name="connsiteX8" fmla="*/ 137061 w 137060"/>
                        <a:gd name="connsiteY8" fmla="*/ 137303 h 1797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37060" h="179703">
                          <a:moveTo>
                            <a:pt x="137061" y="137243"/>
                          </a:moveTo>
                          <a:cubicBezTo>
                            <a:pt x="133130" y="104580"/>
                            <a:pt x="128774" y="66232"/>
                            <a:pt x="128895" y="10645"/>
                          </a:cubicBezTo>
                          <a:lnTo>
                            <a:pt x="44578" y="0"/>
                          </a:lnTo>
                          <a:cubicBezTo>
                            <a:pt x="42219" y="13972"/>
                            <a:pt x="38651" y="19537"/>
                            <a:pt x="36352" y="21352"/>
                          </a:cubicBezTo>
                          <a:cubicBezTo>
                            <a:pt x="1693" y="48510"/>
                            <a:pt x="0" y="96778"/>
                            <a:pt x="0" y="96778"/>
                          </a:cubicBezTo>
                          <a:cubicBezTo>
                            <a:pt x="61" y="101374"/>
                            <a:pt x="31331" y="97624"/>
                            <a:pt x="45183" y="123633"/>
                          </a:cubicBezTo>
                          <a:cubicBezTo>
                            <a:pt x="49115" y="131012"/>
                            <a:pt x="73671" y="141174"/>
                            <a:pt x="74216" y="179704"/>
                          </a:cubicBezTo>
                          <a:cubicBezTo>
                            <a:pt x="116435" y="145832"/>
                            <a:pt x="132585" y="160953"/>
                            <a:pt x="134339" y="161921"/>
                          </a:cubicBezTo>
                          <a:cubicBezTo>
                            <a:pt x="134823" y="152183"/>
                            <a:pt x="136759" y="143957"/>
                            <a:pt x="137061" y="137303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82" name="Freihandform: Form 481">
                      <a:extLst>
                        <a:ext uri="{FF2B5EF4-FFF2-40B4-BE49-F238E27FC236}">
                          <a16:creationId xmlns:a16="http://schemas.microsoft.com/office/drawing/2014/main" id="{9DB83458-369D-091D-78EE-84F6EC75270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96180" y="3566242"/>
                      <a:ext cx="85164" cy="85164"/>
                    </a:xfrm>
                    <a:custGeom>
                      <a:avLst/>
                      <a:gdLst>
                        <a:gd name="connsiteX0" fmla="*/ 85164 w 85164"/>
                        <a:gd name="connsiteY0" fmla="*/ 42582 h 85164"/>
                        <a:gd name="connsiteX1" fmla="*/ 42582 w 85164"/>
                        <a:gd name="connsiteY1" fmla="*/ 85164 h 85164"/>
                        <a:gd name="connsiteX2" fmla="*/ 0 w 85164"/>
                        <a:gd name="connsiteY2" fmla="*/ 42582 h 85164"/>
                        <a:gd name="connsiteX3" fmla="*/ 42582 w 85164"/>
                        <a:gd name="connsiteY3" fmla="*/ 0 h 85164"/>
                        <a:gd name="connsiteX4" fmla="*/ 85164 w 85164"/>
                        <a:gd name="connsiteY4" fmla="*/ 42582 h 851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5164" h="85164">
                          <a:moveTo>
                            <a:pt x="85164" y="42582"/>
                          </a:moveTo>
                          <a:cubicBezTo>
                            <a:pt x="85164" y="66100"/>
                            <a:pt x="66100" y="85164"/>
                            <a:pt x="42582" y="85164"/>
                          </a:cubicBezTo>
                          <a:cubicBezTo>
                            <a:pt x="19065" y="85164"/>
                            <a:pt x="0" y="66100"/>
                            <a:pt x="0" y="42582"/>
                          </a:cubicBezTo>
                          <a:cubicBezTo>
                            <a:pt x="0" y="19065"/>
                            <a:pt x="19064" y="0"/>
                            <a:pt x="42582" y="0"/>
                          </a:cubicBezTo>
                          <a:cubicBezTo>
                            <a:pt x="66099" y="0"/>
                            <a:pt x="85164" y="19065"/>
                            <a:pt x="85164" y="42582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sp>
              <p:nvSpPr>
                <p:cNvPr id="397" name="Freihandform: Form 396">
                  <a:extLst>
                    <a:ext uri="{FF2B5EF4-FFF2-40B4-BE49-F238E27FC236}">
                      <a16:creationId xmlns:a16="http://schemas.microsoft.com/office/drawing/2014/main" id="{5D1693F6-2AB2-B345-259B-A3082C2732A2}"/>
                    </a:ext>
                  </a:extLst>
                </p:cNvPr>
                <p:cNvSpPr/>
                <p:nvPr/>
              </p:nvSpPr>
              <p:spPr>
                <a:xfrm>
                  <a:off x="11321277" y="3386780"/>
                  <a:ext cx="363036" cy="363036"/>
                </a:xfrm>
                <a:custGeom>
                  <a:avLst/>
                  <a:gdLst>
                    <a:gd name="connsiteX0" fmla="*/ 363037 w 363036"/>
                    <a:gd name="connsiteY0" fmla="*/ 181518 h 363036"/>
                    <a:gd name="connsiteX1" fmla="*/ 181518 w 363036"/>
                    <a:gd name="connsiteY1" fmla="*/ 363037 h 363036"/>
                    <a:gd name="connsiteX2" fmla="*/ 0 w 363036"/>
                    <a:gd name="connsiteY2" fmla="*/ 181518 h 363036"/>
                    <a:gd name="connsiteX3" fmla="*/ 181518 w 363036"/>
                    <a:gd name="connsiteY3" fmla="*/ 0 h 363036"/>
                    <a:gd name="connsiteX4" fmla="*/ 363037 w 363036"/>
                    <a:gd name="connsiteY4" fmla="*/ 181518 h 3630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3036" h="363036">
                      <a:moveTo>
                        <a:pt x="363037" y="181518"/>
                      </a:moveTo>
                      <a:cubicBezTo>
                        <a:pt x="363037" y="281768"/>
                        <a:pt x="281768" y="363037"/>
                        <a:pt x="181518" y="363037"/>
                      </a:cubicBezTo>
                      <a:cubicBezTo>
                        <a:pt x="81268" y="363037"/>
                        <a:pt x="0" y="281768"/>
                        <a:pt x="0" y="181518"/>
                      </a:cubicBezTo>
                      <a:cubicBezTo>
                        <a:pt x="0" y="81269"/>
                        <a:pt x="81268" y="0"/>
                        <a:pt x="181518" y="0"/>
                      </a:cubicBezTo>
                      <a:cubicBezTo>
                        <a:pt x="281768" y="0"/>
                        <a:pt x="363037" y="81269"/>
                        <a:pt x="363037" y="181518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8" name="Freihandform: Form 397">
                  <a:extLst>
                    <a:ext uri="{FF2B5EF4-FFF2-40B4-BE49-F238E27FC236}">
                      <a16:creationId xmlns:a16="http://schemas.microsoft.com/office/drawing/2014/main" id="{C6062079-9E61-8B43-D0F3-EC59AE4FE667}"/>
                    </a:ext>
                  </a:extLst>
                </p:cNvPr>
                <p:cNvSpPr/>
                <p:nvPr/>
              </p:nvSpPr>
              <p:spPr>
                <a:xfrm>
                  <a:off x="11686068" y="3386780"/>
                  <a:ext cx="366302" cy="366303"/>
                </a:xfrm>
                <a:custGeom>
                  <a:avLst/>
                  <a:gdLst>
                    <a:gd name="connsiteX0" fmla="*/ 366303 w 366302"/>
                    <a:gd name="connsiteY0" fmla="*/ 183151 h 366303"/>
                    <a:gd name="connsiteX1" fmla="*/ 183151 w 366302"/>
                    <a:gd name="connsiteY1" fmla="*/ 366303 h 366303"/>
                    <a:gd name="connsiteX2" fmla="*/ -1 w 366302"/>
                    <a:gd name="connsiteY2" fmla="*/ 183151 h 366303"/>
                    <a:gd name="connsiteX3" fmla="*/ 183151 w 366302"/>
                    <a:gd name="connsiteY3" fmla="*/ 0 h 366303"/>
                    <a:gd name="connsiteX4" fmla="*/ 366303 w 366302"/>
                    <a:gd name="connsiteY4" fmla="*/ 183151 h 3663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6302" h="366303">
                      <a:moveTo>
                        <a:pt x="366303" y="183151"/>
                      </a:moveTo>
                      <a:cubicBezTo>
                        <a:pt x="366303" y="284303"/>
                        <a:pt x="284303" y="366303"/>
                        <a:pt x="183151" y="366303"/>
                      </a:cubicBezTo>
                      <a:cubicBezTo>
                        <a:pt x="82000" y="366303"/>
                        <a:pt x="-1" y="284303"/>
                        <a:pt x="-1" y="183151"/>
                      </a:cubicBezTo>
                      <a:cubicBezTo>
                        <a:pt x="-1" y="82000"/>
                        <a:pt x="81999" y="0"/>
                        <a:pt x="183151" y="0"/>
                      </a:cubicBezTo>
                      <a:cubicBezTo>
                        <a:pt x="284303" y="0"/>
                        <a:pt x="366303" y="82000"/>
                        <a:pt x="366303" y="183151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9" name="Freihandform: Form 398">
                  <a:extLst>
                    <a:ext uri="{FF2B5EF4-FFF2-40B4-BE49-F238E27FC236}">
                      <a16:creationId xmlns:a16="http://schemas.microsoft.com/office/drawing/2014/main" id="{91BF721C-1FA6-F883-5655-920F81EACB05}"/>
                    </a:ext>
                  </a:extLst>
                </p:cNvPr>
                <p:cNvSpPr/>
                <p:nvPr/>
              </p:nvSpPr>
              <p:spPr>
                <a:xfrm>
                  <a:off x="11431967" y="2413137"/>
                  <a:ext cx="543949" cy="331530"/>
                </a:xfrm>
                <a:custGeom>
                  <a:avLst/>
                  <a:gdLst>
                    <a:gd name="connsiteX0" fmla="*/ 255129 w 543949"/>
                    <a:gd name="connsiteY0" fmla="*/ 331524 h 331530"/>
                    <a:gd name="connsiteX1" fmla="*/ 543950 w 543949"/>
                    <a:gd name="connsiteY1" fmla="*/ 92544 h 331530"/>
                    <a:gd name="connsiteX2" fmla="*/ 374045 w 543949"/>
                    <a:gd name="connsiteY2" fmla="*/ 35929 h 331530"/>
                    <a:gd name="connsiteX3" fmla="*/ 254706 w 543949"/>
                    <a:gd name="connsiteY3" fmla="*/ 0 h 331530"/>
                    <a:gd name="connsiteX4" fmla="*/ 126960 w 543949"/>
                    <a:gd name="connsiteY4" fmla="*/ 37743 h 331530"/>
                    <a:gd name="connsiteX5" fmla="*/ 0 w 543949"/>
                    <a:gd name="connsiteY5" fmla="*/ 79720 h 331530"/>
                    <a:gd name="connsiteX6" fmla="*/ 255129 w 543949"/>
                    <a:gd name="connsiteY6" fmla="*/ 331524 h 331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43949" h="331530">
                      <a:moveTo>
                        <a:pt x="255129" y="331524"/>
                      </a:moveTo>
                      <a:cubicBezTo>
                        <a:pt x="466710" y="332975"/>
                        <a:pt x="543950" y="92544"/>
                        <a:pt x="543950" y="92544"/>
                      </a:cubicBezTo>
                      <a:lnTo>
                        <a:pt x="374045" y="35929"/>
                      </a:lnTo>
                      <a:lnTo>
                        <a:pt x="254706" y="0"/>
                      </a:lnTo>
                      <a:lnTo>
                        <a:pt x="126960" y="37743"/>
                      </a:lnTo>
                      <a:lnTo>
                        <a:pt x="0" y="79720"/>
                      </a:lnTo>
                      <a:cubicBezTo>
                        <a:pt x="0" y="79720"/>
                        <a:pt x="43610" y="330072"/>
                        <a:pt x="255129" y="331524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0" name="Freihandform: Form 399">
                  <a:extLst>
                    <a:ext uri="{FF2B5EF4-FFF2-40B4-BE49-F238E27FC236}">
                      <a16:creationId xmlns:a16="http://schemas.microsoft.com/office/drawing/2014/main" id="{6B6C24F6-A713-ED34-5199-084D5CA45DAA}"/>
                    </a:ext>
                  </a:extLst>
                </p:cNvPr>
                <p:cNvSpPr/>
                <p:nvPr/>
              </p:nvSpPr>
              <p:spPr>
                <a:xfrm>
                  <a:off x="11358295" y="2428077"/>
                  <a:ext cx="321746" cy="175911"/>
                </a:xfrm>
                <a:custGeom>
                  <a:avLst/>
                  <a:gdLst>
                    <a:gd name="connsiteX0" fmla="*/ 317370 w 321746"/>
                    <a:gd name="connsiteY0" fmla="*/ 148554 h 175911"/>
                    <a:gd name="connsiteX1" fmla="*/ 275514 w 321746"/>
                    <a:gd name="connsiteY1" fmla="*/ 15122 h 175911"/>
                    <a:gd name="connsiteX2" fmla="*/ 277752 w 321746"/>
                    <a:gd name="connsiteY2" fmla="*/ 0 h 175911"/>
                    <a:gd name="connsiteX3" fmla="*/ 200572 w 321746"/>
                    <a:gd name="connsiteY3" fmla="*/ 22803 h 175911"/>
                    <a:gd name="connsiteX4" fmla="*/ 0 w 321746"/>
                    <a:gd name="connsiteY4" fmla="*/ 89156 h 175911"/>
                    <a:gd name="connsiteX5" fmla="*/ 317310 w 321746"/>
                    <a:gd name="connsiteY5" fmla="*/ 148554 h 1759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1746" h="175911">
                      <a:moveTo>
                        <a:pt x="317370" y="148554"/>
                      </a:moveTo>
                      <a:cubicBezTo>
                        <a:pt x="338721" y="126113"/>
                        <a:pt x="274970" y="91757"/>
                        <a:pt x="275514" y="15122"/>
                      </a:cubicBezTo>
                      <a:cubicBezTo>
                        <a:pt x="275514" y="9496"/>
                        <a:pt x="276482" y="4597"/>
                        <a:pt x="277752" y="0"/>
                      </a:cubicBezTo>
                      <a:lnTo>
                        <a:pt x="200572" y="22803"/>
                      </a:lnTo>
                      <a:lnTo>
                        <a:pt x="0" y="89156"/>
                      </a:lnTo>
                      <a:cubicBezTo>
                        <a:pt x="21110" y="129682"/>
                        <a:pt x="138574" y="221621"/>
                        <a:pt x="317310" y="148554"/>
                      </a:cubicBez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1" name="Freihandform: Form 400">
                  <a:extLst>
                    <a:ext uri="{FF2B5EF4-FFF2-40B4-BE49-F238E27FC236}">
                      <a16:creationId xmlns:a16="http://schemas.microsoft.com/office/drawing/2014/main" id="{8B7F812C-1F41-1585-90B5-779E00AE0427}"/>
                    </a:ext>
                  </a:extLst>
                </p:cNvPr>
                <p:cNvSpPr/>
                <p:nvPr/>
              </p:nvSpPr>
              <p:spPr>
                <a:xfrm>
                  <a:off x="11594311" y="4818059"/>
                  <a:ext cx="146013" cy="183695"/>
                </a:xfrm>
                <a:custGeom>
                  <a:avLst/>
                  <a:gdLst>
                    <a:gd name="connsiteX0" fmla="*/ 0 w 146013"/>
                    <a:gd name="connsiteY0" fmla="*/ 18146 h 183695"/>
                    <a:gd name="connsiteX1" fmla="*/ 54558 w 146013"/>
                    <a:gd name="connsiteY1" fmla="*/ 183696 h 183695"/>
                    <a:gd name="connsiteX2" fmla="*/ 146013 w 146013"/>
                    <a:gd name="connsiteY2" fmla="*/ 170691 h 183695"/>
                    <a:gd name="connsiteX3" fmla="*/ 127807 w 146013"/>
                    <a:gd name="connsiteY3" fmla="*/ 0 h 183695"/>
                    <a:gd name="connsiteX4" fmla="*/ 0 w 146013"/>
                    <a:gd name="connsiteY4" fmla="*/ 18206 h 183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013" h="183695">
                      <a:moveTo>
                        <a:pt x="0" y="18146"/>
                      </a:moveTo>
                      <a:cubicBezTo>
                        <a:pt x="22501" y="79176"/>
                        <a:pt x="43308" y="138876"/>
                        <a:pt x="54558" y="183696"/>
                      </a:cubicBezTo>
                      <a:lnTo>
                        <a:pt x="146013" y="170691"/>
                      </a:lnTo>
                      <a:cubicBezTo>
                        <a:pt x="146013" y="170691"/>
                        <a:pt x="137484" y="91999"/>
                        <a:pt x="127807" y="0"/>
                      </a:cubicBezTo>
                      <a:lnTo>
                        <a:pt x="0" y="18206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2" name="Freihandform: Form 401">
                  <a:extLst>
                    <a:ext uri="{FF2B5EF4-FFF2-40B4-BE49-F238E27FC236}">
                      <a16:creationId xmlns:a16="http://schemas.microsoft.com/office/drawing/2014/main" id="{3C004ACE-922C-A14E-50C2-4A7BA7EFA0AA}"/>
                    </a:ext>
                  </a:extLst>
                </p:cNvPr>
                <p:cNvSpPr/>
                <p:nvPr/>
              </p:nvSpPr>
              <p:spPr>
                <a:xfrm>
                  <a:off x="11581075" y="4991110"/>
                  <a:ext cx="189371" cy="147888"/>
                </a:xfrm>
                <a:custGeom>
                  <a:avLst/>
                  <a:gdLst>
                    <a:gd name="connsiteX0" fmla="*/ 67492 w 189371"/>
                    <a:gd name="connsiteY0" fmla="*/ 8287 h 147888"/>
                    <a:gd name="connsiteX1" fmla="*/ 51 w 189371"/>
                    <a:gd name="connsiteY1" fmla="*/ 147888 h 147888"/>
                    <a:gd name="connsiteX2" fmla="*/ 189371 w 189371"/>
                    <a:gd name="connsiteY2" fmla="*/ 130892 h 147888"/>
                    <a:gd name="connsiteX3" fmla="*/ 159492 w 189371"/>
                    <a:gd name="connsiteY3" fmla="*/ 0 h 147888"/>
                    <a:gd name="connsiteX4" fmla="*/ 67492 w 189371"/>
                    <a:gd name="connsiteY4" fmla="*/ 8287 h 147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9371" h="147888">
                      <a:moveTo>
                        <a:pt x="67492" y="8287"/>
                      </a:moveTo>
                      <a:cubicBezTo>
                        <a:pt x="62775" y="101072"/>
                        <a:pt x="-2067" y="123815"/>
                        <a:pt x="51" y="147888"/>
                      </a:cubicBezTo>
                      <a:lnTo>
                        <a:pt x="189371" y="130892"/>
                      </a:lnTo>
                      <a:cubicBezTo>
                        <a:pt x="173766" y="80023"/>
                        <a:pt x="167899" y="41675"/>
                        <a:pt x="159492" y="0"/>
                      </a:cubicBezTo>
                      <a:lnTo>
                        <a:pt x="67492" y="8287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3" name="Freihandform: Form 402">
                  <a:extLst>
                    <a:ext uri="{FF2B5EF4-FFF2-40B4-BE49-F238E27FC236}">
                      <a16:creationId xmlns:a16="http://schemas.microsoft.com/office/drawing/2014/main" id="{A0C2FD48-664B-A170-8B7F-E6CD83D4E7E5}"/>
                    </a:ext>
                  </a:extLst>
                </p:cNvPr>
                <p:cNvSpPr/>
                <p:nvPr/>
              </p:nvSpPr>
              <p:spPr>
                <a:xfrm>
                  <a:off x="11320709" y="3561947"/>
                  <a:ext cx="366367" cy="731577"/>
                </a:xfrm>
                <a:custGeom>
                  <a:avLst/>
                  <a:gdLst>
                    <a:gd name="connsiteX0" fmla="*/ 342557 w 366367"/>
                    <a:gd name="connsiteY0" fmla="*/ 731517 h 731577"/>
                    <a:gd name="connsiteX1" fmla="*/ 128799 w 366367"/>
                    <a:gd name="connsiteY1" fmla="*/ 731517 h 731577"/>
                    <a:gd name="connsiteX2" fmla="*/ 72124 w 366367"/>
                    <a:gd name="connsiteY2" fmla="*/ 522659 h 731577"/>
                    <a:gd name="connsiteX3" fmla="*/ 14481 w 366367"/>
                    <a:gd name="connsiteY3" fmla="*/ 210612 h 731577"/>
                    <a:gd name="connsiteX4" fmla="*/ 387 w 366367"/>
                    <a:gd name="connsiteY4" fmla="*/ 8589 h 731577"/>
                    <a:gd name="connsiteX5" fmla="*/ 363484 w 366367"/>
                    <a:gd name="connsiteY5" fmla="*/ 0 h 731577"/>
                    <a:gd name="connsiteX6" fmla="*/ 342557 w 366367"/>
                    <a:gd name="connsiteY6" fmla="*/ 731578 h 7315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66367" h="731577">
                      <a:moveTo>
                        <a:pt x="342557" y="731517"/>
                      </a:moveTo>
                      <a:lnTo>
                        <a:pt x="128799" y="731517"/>
                      </a:lnTo>
                      <a:cubicBezTo>
                        <a:pt x="128799" y="731517"/>
                        <a:pt x="93778" y="595303"/>
                        <a:pt x="72124" y="522659"/>
                      </a:cubicBezTo>
                      <a:cubicBezTo>
                        <a:pt x="50470" y="450016"/>
                        <a:pt x="25489" y="306361"/>
                        <a:pt x="14481" y="210612"/>
                      </a:cubicBezTo>
                      <a:cubicBezTo>
                        <a:pt x="6436" y="140932"/>
                        <a:pt x="-1911" y="69377"/>
                        <a:pt x="387" y="8589"/>
                      </a:cubicBezTo>
                      <a:cubicBezTo>
                        <a:pt x="68011" y="8589"/>
                        <a:pt x="363484" y="0"/>
                        <a:pt x="363484" y="0"/>
                      </a:cubicBezTo>
                      <a:cubicBezTo>
                        <a:pt x="372981" y="258215"/>
                        <a:pt x="357194" y="476327"/>
                        <a:pt x="342557" y="731578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4" name="Freihandform: Form 403">
                  <a:extLst>
                    <a:ext uri="{FF2B5EF4-FFF2-40B4-BE49-F238E27FC236}">
                      <a16:creationId xmlns:a16="http://schemas.microsoft.com/office/drawing/2014/main" id="{2A3671DA-1753-9F3A-8625-E40F73A9E48D}"/>
                    </a:ext>
                  </a:extLst>
                </p:cNvPr>
                <p:cNvSpPr/>
                <p:nvPr/>
              </p:nvSpPr>
              <p:spPr>
                <a:xfrm>
                  <a:off x="11450391" y="4277496"/>
                  <a:ext cx="296163" cy="619860"/>
                </a:xfrm>
                <a:custGeom>
                  <a:avLst/>
                  <a:gdLst>
                    <a:gd name="connsiteX0" fmla="*/ 296103 w 296163"/>
                    <a:gd name="connsiteY0" fmla="*/ 592399 h 619860"/>
                    <a:gd name="connsiteX1" fmla="*/ 103152 w 296163"/>
                    <a:gd name="connsiteY1" fmla="*/ 619860 h 619860"/>
                    <a:gd name="connsiteX2" fmla="*/ 265 w 296163"/>
                    <a:gd name="connsiteY2" fmla="*/ 30122 h 619860"/>
                    <a:gd name="connsiteX3" fmla="*/ 211906 w 296163"/>
                    <a:gd name="connsiteY3" fmla="*/ 0 h 619860"/>
                    <a:gd name="connsiteX4" fmla="*/ 263017 w 296163"/>
                    <a:gd name="connsiteY4" fmla="*/ 265594 h 619860"/>
                    <a:gd name="connsiteX5" fmla="*/ 296163 w 296163"/>
                    <a:gd name="connsiteY5" fmla="*/ 592399 h 6198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96163" h="619860">
                      <a:moveTo>
                        <a:pt x="296103" y="592399"/>
                      </a:moveTo>
                      <a:lnTo>
                        <a:pt x="103152" y="619860"/>
                      </a:lnTo>
                      <a:cubicBezTo>
                        <a:pt x="-10380" y="409853"/>
                        <a:pt x="265" y="30122"/>
                        <a:pt x="265" y="30122"/>
                      </a:cubicBezTo>
                      <a:lnTo>
                        <a:pt x="211906" y="0"/>
                      </a:lnTo>
                      <a:cubicBezTo>
                        <a:pt x="211906" y="0"/>
                        <a:pt x="257452" y="182547"/>
                        <a:pt x="263017" y="265594"/>
                      </a:cubicBezTo>
                      <a:cubicBezTo>
                        <a:pt x="268521" y="348641"/>
                        <a:pt x="296163" y="592399"/>
                        <a:pt x="296163" y="592399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5" name="Freihandform: Form 404">
                  <a:extLst>
                    <a:ext uri="{FF2B5EF4-FFF2-40B4-BE49-F238E27FC236}">
                      <a16:creationId xmlns:a16="http://schemas.microsoft.com/office/drawing/2014/main" id="{5B1664C5-59D9-1881-2D03-98040E2F2DE2}"/>
                    </a:ext>
                  </a:extLst>
                </p:cNvPr>
                <p:cNvSpPr/>
                <p:nvPr/>
              </p:nvSpPr>
              <p:spPr>
                <a:xfrm>
                  <a:off x="11449508" y="4184348"/>
                  <a:ext cx="213757" cy="213757"/>
                </a:xfrm>
                <a:custGeom>
                  <a:avLst/>
                  <a:gdLst>
                    <a:gd name="connsiteX0" fmla="*/ 213757 w 213757"/>
                    <a:gd name="connsiteY0" fmla="*/ 106879 h 213757"/>
                    <a:gd name="connsiteX1" fmla="*/ 106878 w 213757"/>
                    <a:gd name="connsiteY1" fmla="*/ 213757 h 213757"/>
                    <a:gd name="connsiteX2" fmla="*/ 0 w 213757"/>
                    <a:gd name="connsiteY2" fmla="*/ 106879 h 213757"/>
                    <a:gd name="connsiteX3" fmla="*/ 106878 w 213757"/>
                    <a:gd name="connsiteY3" fmla="*/ 0 h 213757"/>
                    <a:gd name="connsiteX4" fmla="*/ 213757 w 213757"/>
                    <a:gd name="connsiteY4" fmla="*/ 106879 h 2137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3757" h="213757">
                      <a:moveTo>
                        <a:pt x="213757" y="106879"/>
                      </a:moveTo>
                      <a:cubicBezTo>
                        <a:pt x="213757" y="165906"/>
                        <a:pt x="165906" y="213757"/>
                        <a:pt x="106878" y="213757"/>
                      </a:cubicBezTo>
                      <a:cubicBezTo>
                        <a:pt x="47851" y="213757"/>
                        <a:pt x="0" y="165906"/>
                        <a:pt x="0" y="106879"/>
                      </a:cubicBezTo>
                      <a:cubicBezTo>
                        <a:pt x="0" y="47851"/>
                        <a:pt x="47851" y="0"/>
                        <a:pt x="106878" y="0"/>
                      </a:cubicBezTo>
                      <a:cubicBezTo>
                        <a:pt x="165906" y="0"/>
                        <a:pt x="213757" y="47851"/>
                        <a:pt x="213757" y="106879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6" name="Freihandform: Form 405">
                  <a:extLst>
                    <a:ext uri="{FF2B5EF4-FFF2-40B4-BE49-F238E27FC236}">
                      <a16:creationId xmlns:a16="http://schemas.microsoft.com/office/drawing/2014/main" id="{3A62A0F7-2B2E-D326-716D-AF7105B8AE02}"/>
                    </a:ext>
                  </a:extLst>
                </p:cNvPr>
                <p:cNvSpPr/>
                <p:nvPr/>
              </p:nvSpPr>
              <p:spPr>
                <a:xfrm>
                  <a:off x="11648386" y="4949556"/>
                  <a:ext cx="91454" cy="91454"/>
                </a:xfrm>
                <a:custGeom>
                  <a:avLst/>
                  <a:gdLst>
                    <a:gd name="connsiteX0" fmla="*/ 91455 w 91454"/>
                    <a:gd name="connsiteY0" fmla="*/ 45727 h 91454"/>
                    <a:gd name="connsiteX1" fmla="*/ 45727 w 91454"/>
                    <a:gd name="connsiteY1" fmla="*/ 91455 h 91454"/>
                    <a:gd name="connsiteX2" fmla="*/ 0 w 91454"/>
                    <a:gd name="connsiteY2" fmla="*/ 45727 h 91454"/>
                    <a:gd name="connsiteX3" fmla="*/ 45727 w 91454"/>
                    <a:gd name="connsiteY3" fmla="*/ 0 h 91454"/>
                    <a:gd name="connsiteX4" fmla="*/ 91455 w 91454"/>
                    <a:gd name="connsiteY4" fmla="*/ 45727 h 91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1454" h="91454">
                      <a:moveTo>
                        <a:pt x="91455" y="45727"/>
                      </a:moveTo>
                      <a:cubicBezTo>
                        <a:pt x="91455" y="70982"/>
                        <a:pt x="70982" y="91455"/>
                        <a:pt x="45727" y="91455"/>
                      </a:cubicBezTo>
                      <a:cubicBezTo>
                        <a:pt x="20473" y="91455"/>
                        <a:pt x="0" y="70982"/>
                        <a:pt x="0" y="45727"/>
                      </a:cubicBezTo>
                      <a:cubicBezTo>
                        <a:pt x="0" y="20473"/>
                        <a:pt x="20473" y="0"/>
                        <a:pt x="45727" y="0"/>
                      </a:cubicBezTo>
                      <a:cubicBezTo>
                        <a:pt x="70982" y="0"/>
                        <a:pt x="91455" y="20473"/>
                        <a:pt x="91455" y="45727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7" name="Freihandform: Form 406">
                  <a:extLst>
                    <a:ext uri="{FF2B5EF4-FFF2-40B4-BE49-F238E27FC236}">
                      <a16:creationId xmlns:a16="http://schemas.microsoft.com/office/drawing/2014/main" id="{7097CF14-21FD-53D5-FBAB-23930E4C7CEA}"/>
                    </a:ext>
                  </a:extLst>
                </p:cNvPr>
                <p:cNvSpPr/>
                <p:nvPr/>
              </p:nvSpPr>
              <p:spPr>
                <a:xfrm>
                  <a:off x="11556024" y="5109420"/>
                  <a:ext cx="230361" cy="86010"/>
                </a:xfrm>
                <a:custGeom>
                  <a:avLst/>
                  <a:gdLst>
                    <a:gd name="connsiteX0" fmla="*/ 0 w 230361"/>
                    <a:gd name="connsiteY0" fmla="*/ 20323 h 86010"/>
                    <a:gd name="connsiteX1" fmla="*/ 4476 w 230361"/>
                    <a:gd name="connsiteY1" fmla="*/ 69922 h 86010"/>
                    <a:gd name="connsiteX2" fmla="*/ 16573 w 230361"/>
                    <a:gd name="connsiteY2" fmla="*/ 86011 h 86010"/>
                    <a:gd name="connsiteX3" fmla="*/ 221621 w 230361"/>
                    <a:gd name="connsiteY3" fmla="*/ 67563 h 86010"/>
                    <a:gd name="connsiteX4" fmla="*/ 230270 w 230361"/>
                    <a:gd name="connsiteY4" fmla="*/ 49719 h 86010"/>
                    <a:gd name="connsiteX5" fmla="*/ 225794 w 230361"/>
                    <a:gd name="connsiteY5" fmla="*/ 0 h 86010"/>
                    <a:gd name="connsiteX6" fmla="*/ 0 w 230361"/>
                    <a:gd name="connsiteY6" fmla="*/ 20323 h 860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0361" h="86010">
                      <a:moveTo>
                        <a:pt x="0" y="20323"/>
                      </a:moveTo>
                      <a:lnTo>
                        <a:pt x="4476" y="69922"/>
                      </a:lnTo>
                      <a:cubicBezTo>
                        <a:pt x="5202" y="77906"/>
                        <a:pt x="10222" y="84378"/>
                        <a:pt x="16573" y="86011"/>
                      </a:cubicBezTo>
                      <a:lnTo>
                        <a:pt x="221621" y="67563"/>
                      </a:lnTo>
                      <a:cubicBezTo>
                        <a:pt x="227367" y="64660"/>
                        <a:pt x="230996" y="57522"/>
                        <a:pt x="230270" y="49719"/>
                      </a:cubicBezTo>
                      <a:lnTo>
                        <a:pt x="225794" y="0"/>
                      </a:lnTo>
                      <a:lnTo>
                        <a:pt x="0" y="20323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8" name="Freihandform: Form 407">
                  <a:extLst>
                    <a:ext uri="{FF2B5EF4-FFF2-40B4-BE49-F238E27FC236}">
                      <a16:creationId xmlns:a16="http://schemas.microsoft.com/office/drawing/2014/main" id="{E96DE0FB-E27E-A79B-234C-996677D3EB49}"/>
                    </a:ext>
                  </a:extLst>
                </p:cNvPr>
                <p:cNvSpPr/>
                <p:nvPr/>
              </p:nvSpPr>
              <p:spPr>
                <a:xfrm>
                  <a:off x="11556024" y="5028991"/>
                  <a:ext cx="225793" cy="104076"/>
                </a:xfrm>
                <a:custGeom>
                  <a:avLst/>
                  <a:gdLst>
                    <a:gd name="connsiteX0" fmla="*/ 225794 w 225793"/>
                    <a:gd name="connsiteY0" fmla="*/ 80429 h 104076"/>
                    <a:gd name="connsiteX1" fmla="*/ 192527 w 225793"/>
                    <a:gd name="connsiteY1" fmla="*/ 3068 h 104076"/>
                    <a:gd name="connsiteX2" fmla="*/ 181397 w 225793"/>
                    <a:gd name="connsiteY2" fmla="*/ 29197 h 104076"/>
                    <a:gd name="connsiteX3" fmla="*/ 61151 w 225793"/>
                    <a:gd name="connsiteY3" fmla="*/ 26959 h 104076"/>
                    <a:gd name="connsiteX4" fmla="*/ 0 w 225793"/>
                    <a:gd name="connsiteY4" fmla="*/ 100752 h 104076"/>
                    <a:gd name="connsiteX5" fmla="*/ 225794 w 225793"/>
                    <a:gd name="connsiteY5" fmla="*/ 80429 h 1040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25793" h="104076">
                      <a:moveTo>
                        <a:pt x="225794" y="80429"/>
                      </a:moveTo>
                      <a:cubicBezTo>
                        <a:pt x="223193" y="41537"/>
                        <a:pt x="217386" y="12382"/>
                        <a:pt x="192527" y="3068"/>
                      </a:cubicBezTo>
                      <a:lnTo>
                        <a:pt x="181397" y="29197"/>
                      </a:lnTo>
                      <a:cubicBezTo>
                        <a:pt x="181397" y="29197"/>
                        <a:pt x="88370" y="-34978"/>
                        <a:pt x="61151" y="26959"/>
                      </a:cubicBezTo>
                      <a:cubicBezTo>
                        <a:pt x="38045" y="79522"/>
                        <a:pt x="6956" y="63130"/>
                        <a:pt x="0" y="100752"/>
                      </a:cubicBezTo>
                      <a:cubicBezTo>
                        <a:pt x="25102" y="110067"/>
                        <a:pt x="198454" y="98696"/>
                        <a:pt x="225794" y="80429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9" name="Freihandform: Form 408">
                  <a:extLst>
                    <a:ext uri="{FF2B5EF4-FFF2-40B4-BE49-F238E27FC236}">
                      <a16:creationId xmlns:a16="http://schemas.microsoft.com/office/drawing/2014/main" id="{8E414BD5-CF36-471D-7644-99B9B59747F2}"/>
                    </a:ext>
                  </a:extLst>
                </p:cNvPr>
                <p:cNvSpPr/>
                <p:nvPr/>
              </p:nvSpPr>
              <p:spPr>
                <a:xfrm>
                  <a:off x="11727198" y="4837112"/>
                  <a:ext cx="129077" cy="171538"/>
                </a:xfrm>
                <a:custGeom>
                  <a:avLst/>
                  <a:gdLst>
                    <a:gd name="connsiteX0" fmla="*/ 0 w 129077"/>
                    <a:gd name="connsiteY0" fmla="*/ 0 h 171538"/>
                    <a:gd name="connsiteX1" fmla="*/ 6049 w 129077"/>
                    <a:gd name="connsiteY1" fmla="*/ 171538 h 171538"/>
                    <a:gd name="connsiteX2" fmla="*/ 98411 w 129077"/>
                    <a:gd name="connsiteY2" fmla="*/ 171538 h 171538"/>
                    <a:gd name="connsiteX3" fmla="*/ 129078 w 129077"/>
                    <a:gd name="connsiteY3" fmla="*/ 0 h 171538"/>
                    <a:gd name="connsiteX4" fmla="*/ 0 w 129077"/>
                    <a:gd name="connsiteY4" fmla="*/ 0 h 171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9077" h="171538">
                      <a:moveTo>
                        <a:pt x="0" y="0"/>
                      </a:moveTo>
                      <a:cubicBezTo>
                        <a:pt x="3448" y="92423"/>
                        <a:pt x="6049" y="171538"/>
                        <a:pt x="6049" y="171538"/>
                      </a:cubicBezTo>
                      <a:lnTo>
                        <a:pt x="98411" y="171538"/>
                      </a:lnTo>
                      <a:cubicBezTo>
                        <a:pt x="103250" y="125629"/>
                        <a:pt x="115408" y="63571"/>
                        <a:pt x="12907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0" name="Freihandform: Form 409">
                  <a:extLst>
                    <a:ext uri="{FF2B5EF4-FFF2-40B4-BE49-F238E27FC236}">
                      <a16:creationId xmlns:a16="http://schemas.microsoft.com/office/drawing/2014/main" id="{F5B8BB06-D3F0-0A6D-2899-FA299C525244}"/>
                    </a:ext>
                  </a:extLst>
                </p:cNvPr>
                <p:cNvSpPr/>
                <p:nvPr/>
              </p:nvSpPr>
              <p:spPr>
                <a:xfrm>
                  <a:off x="11715162" y="5008650"/>
                  <a:ext cx="190107" cy="133008"/>
                </a:xfrm>
                <a:custGeom>
                  <a:avLst/>
                  <a:gdLst>
                    <a:gd name="connsiteX0" fmla="*/ 110447 w 190107"/>
                    <a:gd name="connsiteY0" fmla="*/ 0 h 133008"/>
                    <a:gd name="connsiteX1" fmla="*/ 190108 w 190107"/>
                    <a:gd name="connsiteY1" fmla="*/ 133009 h 133008"/>
                    <a:gd name="connsiteX2" fmla="*/ 0 w 190107"/>
                    <a:gd name="connsiteY2" fmla="*/ 133009 h 133008"/>
                    <a:gd name="connsiteX3" fmla="*/ 18085 w 190107"/>
                    <a:gd name="connsiteY3" fmla="*/ 0 h 133008"/>
                    <a:gd name="connsiteX4" fmla="*/ 110447 w 190107"/>
                    <a:gd name="connsiteY4" fmla="*/ 0 h 133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0107" h="133008">
                      <a:moveTo>
                        <a:pt x="110447" y="0"/>
                      </a:moveTo>
                      <a:cubicBezTo>
                        <a:pt x="123452" y="91999"/>
                        <a:pt x="190108" y="108875"/>
                        <a:pt x="190108" y="133009"/>
                      </a:cubicBezTo>
                      <a:lnTo>
                        <a:pt x="0" y="133009"/>
                      </a:lnTo>
                      <a:cubicBezTo>
                        <a:pt x="11009" y="80930"/>
                        <a:pt x="13428" y="42219"/>
                        <a:pt x="18085" y="0"/>
                      </a:cubicBezTo>
                      <a:lnTo>
                        <a:pt x="110447" y="0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1" name="Freihandform: Form 410">
                  <a:extLst>
                    <a:ext uri="{FF2B5EF4-FFF2-40B4-BE49-F238E27FC236}">
                      <a16:creationId xmlns:a16="http://schemas.microsoft.com/office/drawing/2014/main" id="{7B9D6E9B-81AC-2170-C515-78C9756ACA8D}"/>
                    </a:ext>
                  </a:extLst>
                </p:cNvPr>
                <p:cNvSpPr/>
                <p:nvPr/>
              </p:nvSpPr>
              <p:spPr>
                <a:xfrm>
                  <a:off x="11683757" y="3561887"/>
                  <a:ext cx="368614" cy="731577"/>
                </a:xfrm>
                <a:custGeom>
                  <a:avLst/>
                  <a:gdLst>
                    <a:gd name="connsiteX0" fmla="*/ 26627 w 368614"/>
                    <a:gd name="connsiteY0" fmla="*/ 731578 h 731577"/>
                    <a:gd name="connsiteX1" fmla="*/ 240385 w 368614"/>
                    <a:gd name="connsiteY1" fmla="*/ 731578 h 731577"/>
                    <a:gd name="connsiteX2" fmla="*/ 297060 w 368614"/>
                    <a:gd name="connsiteY2" fmla="*/ 522720 h 731577"/>
                    <a:gd name="connsiteX3" fmla="*/ 354703 w 368614"/>
                    <a:gd name="connsiteY3" fmla="*/ 210673 h 731577"/>
                    <a:gd name="connsiteX4" fmla="*/ 368615 w 368614"/>
                    <a:gd name="connsiteY4" fmla="*/ 12279 h 731577"/>
                    <a:gd name="connsiteX5" fmla="*/ 2553 w 368614"/>
                    <a:gd name="connsiteY5" fmla="*/ 0 h 731577"/>
                    <a:gd name="connsiteX6" fmla="*/ 26688 w 368614"/>
                    <a:gd name="connsiteY6" fmla="*/ 731578 h 7315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68614" h="731577">
                      <a:moveTo>
                        <a:pt x="26627" y="731578"/>
                      </a:moveTo>
                      <a:lnTo>
                        <a:pt x="240385" y="731578"/>
                      </a:lnTo>
                      <a:cubicBezTo>
                        <a:pt x="240385" y="731578"/>
                        <a:pt x="275406" y="595363"/>
                        <a:pt x="297060" y="522720"/>
                      </a:cubicBezTo>
                      <a:cubicBezTo>
                        <a:pt x="318714" y="450076"/>
                        <a:pt x="343694" y="306422"/>
                        <a:pt x="354703" y="210673"/>
                      </a:cubicBezTo>
                      <a:cubicBezTo>
                        <a:pt x="361175" y="154723"/>
                        <a:pt x="366377" y="69861"/>
                        <a:pt x="368615" y="12279"/>
                      </a:cubicBezTo>
                      <a:cubicBezTo>
                        <a:pt x="233126" y="9254"/>
                        <a:pt x="2553" y="0"/>
                        <a:pt x="2553" y="0"/>
                      </a:cubicBezTo>
                      <a:cubicBezTo>
                        <a:pt x="-6943" y="258215"/>
                        <a:pt x="12050" y="476327"/>
                        <a:pt x="26688" y="731578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2" name="Freihandform: Form 411">
                  <a:extLst>
                    <a:ext uri="{FF2B5EF4-FFF2-40B4-BE49-F238E27FC236}">
                      <a16:creationId xmlns:a16="http://schemas.microsoft.com/office/drawing/2014/main" id="{749AD6DB-399F-6024-51E5-4F1F3360EAC7}"/>
                    </a:ext>
                  </a:extLst>
                </p:cNvPr>
                <p:cNvSpPr/>
                <p:nvPr/>
              </p:nvSpPr>
              <p:spPr>
                <a:xfrm>
                  <a:off x="11695905" y="4293465"/>
                  <a:ext cx="251767" cy="598387"/>
                </a:xfrm>
                <a:custGeom>
                  <a:avLst/>
                  <a:gdLst>
                    <a:gd name="connsiteX0" fmla="*/ 14479 w 251767"/>
                    <a:gd name="connsiteY0" fmla="*/ 598387 h 598387"/>
                    <a:gd name="connsiteX1" fmla="*/ 209365 w 251767"/>
                    <a:gd name="connsiteY1" fmla="*/ 598387 h 598387"/>
                    <a:gd name="connsiteX2" fmla="*/ 228176 w 251767"/>
                    <a:gd name="connsiteY2" fmla="*/ 0 h 598387"/>
                    <a:gd name="connsiteX3" fmla="*/ 14419 w 251767"/>
                    <a:gd name="connsiteY3" fmla="*/ 0 h 598387"/>
                    <a:gd name="connsiteX4" fmla="*/ 1233 w 251767"/>
                    <a:gd name="connsiteY4" fmla="*/ 270130 h 598387"/>
                    <a:gd name="connsiteX5" fmla="*/ 14419 w 251767"/>
                    <a:gd name="connsiteY5" fmla="*/ 598387 h 598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51767" h="598387">
                      <a:moveTo>
                        <a:pt x="14479" y="598387"/>
                      </a:moveTo>
                      <a:lnTo>
                        <a:pt x="209365" y="598387"/>
                      </a:lnTo>
                      <a:cubicBezTo>
                        <a:pt x="292170" y="374529"/>
                        <a:pt x="228176" y="0"/>
                        <a:pt x="228176" y="0"/>
                      </a:cubicBezTo>
                      <a:lnTo>
                        <a:pt x="14419" y="0"/>
                      </a:lnTo>
                      <a:cubicBezTo>
                        <a:pt x="14419" y="0"/>
                        <a:pt x="-4998" y="187143"/>
                        <a:pt x="1233" y="270130"/>
                      </a:cubicBezTo>
                      <a:cubicBezTo>
                        <a:pt x="7463" y="353177"/>
                        <a:pt x="14419" y="598387"/>
                        <a:pt x="14419" y="598387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3" name="Freihandform: Form 412">
                  <a:extLst>
                    <a:ext uri="{FF2B5EF4-FFF2-40B4-BE49-F238E27FC236}">
                      <a16:creationId xmlns:a16="http://schemas.microsoft.com/office/drawing/2014/main" id="{5A3FDD78-02C8-00B4-3E1A-41CC15213049}"/>
                    </a:ext>
                  </a:extLst>
                </p:cNvPr>
                <p:cNvSpPr/>
                <p:nvPr/>
              </p:nvSpPr>
              <p:spPr>
                <a:xfrm>
                  <a:off x="11734215" y="4962923"/>
                  <a:ext cx="91454" cy="91454"/>
                </a:xfrm>
                <a:custGeom>
                  <a:avLst/>
                  <a:gdLst>
                    <a:gd name="connsiteX0" fmla="*/ 91455 w 91454"/>
                    <a:gd name="connsiteY0" fmla="*/ 45727 h 91454"/>
                    <a:gd name="connsiteX1" fmla="*/ 45727 w 91454"/>
                    <a:gd name="connsiteY1" fmla="*/ 91455 h 91454"/>
                    <a:gd name="connsiteX2" fmla="*/ -1 w 91454"/>
                    <a:gd name="connsiteY2" fmla="*/ 45727 h 91454"/>
                    <a:gd name="connsiteX3" fmla="*/ 45727 w 91454"/>
                    <a:gd name="connsiteY3" fmla="*/ 0 h 91454"/>
                    <a:gd name="connsiteX4" fmla="*/ 91455 w 91454"/>
                    <a:gd name="connsiteY4" fmla="*/ 45727 h 91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1454" h="91454">
                      <a:moveTo>
                        <a:pt x="91455" y="45727"/>
                      </a:moveTo>
                      <a:cubicBezTo>
                        <a:pt x="91455" y="70982"/>
                        <a:pt x="70982" y="91455"/>
                        <a:pt x="45727" y="91455"/>
                      </a:cubicBezTo>
                      <a:cubicBezTo>
                        <a:pt x="20472" y="91455"/>
                        <a:pt x="-1" y="70982"/>
                        <a:pt x="-1" y="45727"/>
                      </a:cubicBezTo>
                      <a:cubicBezTo>
                        <a:pt x="-1" y="20473"/>
                        <a:pt x="20472" y="0"/>
                        <a:pt x="45727" y="0"/>
                      </a:cubicBezTo>
                      <a:cubicBezTo>
                        <a:pt x="70982" y="0"/>
                        <a:pt x="91455" y="20473"/>
                        <a:pt x="91455" y="45727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4" name="Freihandform: Form 413">
                  <a:extLst>
                    <a:ext uri="{FF2B5EF4-FFF2-40B4-BE49-F238E27FC236}">
                      <a16:creationId xmlns:a16="http://schemas.microsoft.com/office/drawing/2014/main" id="{EA8E8FCA-910B-F61D-6116-B51697F3BACE}"/>
                    </a:ext>
                  </a:extLst>
                </p:cNvPr>
                <p:cNvSpPr/>
                <p:nvPr/>
              </p:nvSpPr>
              <p:spPr>
                <a:xfrm>
                  <a:off x="11702823" y="5130167"/>
                  <a:ext cx="226701" cy="66897"/>
                </a:xfrm>
                <a:custGeom>
                  <a:avLst/>
                  <a:gdLst>
                    <a:gd name="connsiteX0" fmla="*/ 226641 w 226701"/>
                    <a:gd name="connsiteY0" fmla="*/ 0 h 66897"/>
                    <a:gd name="connsiteX1" fmla="*/ 226641 w 226701"/>
                    <a:gd name="connsiteY1" fmla="*/ 49780 h 66897"/>
                    <a:gd name="connsiteX2" fmla="*/ 216056 w 226701"/>
                    <a:gd name="connsiteY2" fmla="*/ 66897 h 66897"/>
                    <a:gd name="connsiteX3" fmla="*/ 10222 w 226701"/>
                    <a:gd name="connsiteY3" fmla="*/ 66897 h 66897"/>
                    <a:gd name="connsiteX4" fmla="*/ 0 w 226701"/>
                    <a:gd name="connsiteY4" fmla="*/ 49901 h 66897"/>
                    <a:gd name="connsiteX5" fmla="*/ 0 w 226701"/>
                    <a:gd name="connsiteY5" fmla="*/ 0 h 66897"/>
                    <a:gd name="connsiteX6" fmla="*/ 226701 w 226701"/>
                    <a:gd name="connsiteY6" fmla="*/ 0 h 668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26701" h="66897">
                      <a:moveTo>
                        <a:pt x="226641" y="0"/>
                      </a:moveTo>
                      <a:lnTo>
                        <a:pt x="226641" y="49780"/>
                      </a:lnTo>
                      <a:cubicBezTo>
                        <a:pt x="226641" y="57764"/>
                        <a:pt x="222225" y="64660"/>
                        <a:pt x="216056" y="66897"/>
                      </a:cubicBezTo>
                      <a:lnTo>
                        <a:pt x="10222" y="66897"/>
                      </a:lnTo>
                      <a:cubicBezTo>
                        <a:pt x="4234" y="64538"/>
                        <a:pt x="0" y="57703"/>
                        <a:pt x="0" y="49901"/>
                      </a:cubicBezTo>
                      <a:lnTo>
                        <a:pt x="0" y="0"/>
                      </a:lnTo>
                      <a:lnTo>
                        <a:pt x="226701" y="0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5" name="Freihandform: Form 414">
                  <a:extLst>
                    <a:ext uri="{FF2B5EF4-FFF2-40B4-BE49-F238E27FC236}">
                      <a16:creationId xmlns:a16="http://schemas.microsoft.com/office/drawing/2014/main" id="{3BFD9260-BEFA-3CBD-AD4E-30F7F9289562}"/>
                    </a:ext>
                  </a:extLst>
                </p:cNvPr>
                <p:cNvSpPr/>
                <p:nvPr/>
              </p:nvSpPr>
              <p:spPr>
                <a:xfrm>
                  <a:off x="11702690" y="5038831"/>
                  <a:ext cx="226834" cy="101604"/>
                </a:xfrm>
                <a:custGeom>
                  <a:avLst/>
                  <a:gdLst>
                    <a:gd name="connsiteX0" fmla="*/ 133 w 226834"/>
                    <a:gd name="connsiteY0" fmla="*/ 91336 h 101604"/>
                    <a:gd name="connsiteX1" fmla="*/ 26323 w 226834"/>
                    <a:gd name="connsiteY1" fmla="*/ 11313 h 101604"/>
                    <a:gd name="connsiteX2" fmla="*/ 39751 w 226834"/>
                    <a:gd name="connsiteY2" fmla="*/ 36354 h 101604"/>
                    <a:gd name="connsiteX3" fmla="*/ 159332 w 226834"/>
                    <a:gd name="connsiteY3" fmla="*/ 23350 h 101604"/>
                    <a:gd name="connsiteX4" fmla="*/ 226834 w 226834"/>
                    <a:gd name="connsiteY4" fmla="*/ 91336 h 101604"/>
                    <a:gd name="connsiteX5" fmla="*/ 133 w 226834"/>
                    <a:gd name="connsiteY5" fmla="*/ 91336 h 1016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26834" h="101604">
                      <a:moveTo>
                        <a:pt x="133" y="91336"/>
                      </a:moveTo>
                      <a:cubicBezTo>
                        <a:pt x="-774" y="52383"/>
                        <a:pt x="2432" y="22806"/>
                        <a:pt x="26323" y="11313"/>
                      </a:cubicBezTo>
                      <a:lnTo>
                        <a:pt x="39751" y="36354"/>
                      </a:lnTo>
                      <a:cubicBezTo>
                        <a:pt x="39751" y="36354"/>
                        <a:pt x="126669" y="-35926"/>
                        <a:pt x="159332" y="23350"/>
                      </a:cubicBezTo>
                      <a:cubicBezTo>
                        <a:pt x="187034" y="73614"/>
                        <a:pt x="216551" y="54500"/>
                        <a:pt x="226834" y="91336"/>
                      </a:cubicBezTo>
                      <a:cubicBezTo>
                        <a:pt x="202640" y="102829"/>
                        <a:pt x="29045" y="107062"/>
                        <a:pt x="133" y="91336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6" name="Freihandform: Form 415">
                  <a:extLst>
                    <a:ext uri="{FF2B5EF4-FFF2-40B4-BE49-F238E27FC236}">
                      <a16:creationId xmlns:a16="http://schemas.microsoft.com/office/drawing/2014/main" id="{76A534CF-A92F-D8F2-4BFE-D5F84471D716}"/>
                    </a:ext>
                  </a:extLst>
                </p:cNvPr>
                <p:cNvSpPr/>
                <p:nvPr/>
              </p:nvSpPr>
              <p:spPr>
                <a:xfrm>
                  <a:off x="11684193" y="3561887"/>
                  <a:ext cx="367936" cy="83591"/>
                </a:xfrm>
                <a:custGeom>
                  <a:avLst/>
                  <a:gdLst>
                    <a:gd name="connsiteX0" fmla="*/ 0 w 367936"/>
                    <a:gd name="connsiteY0" fmla="*/ 83592 h 83591"/>
                    <a:gd name="connsiteX1" fmla="*/ 365758 w 367936"/>
                    <a:gd name="connsiteY1" fmla="*/ 62784 h 83591"/>
                    <a:gd name="connsiteX2" fmla="*/ 365758 w 367936"/>
                    <a:gd name="connsiteY2" fmla="*/ 62784 h 83591"/>
                    <a:gd name="connsiteX3" fmla="*/ 367937 w 367936"/>
                    <a:gd name="connsiteY3" fmla="*/ 12279 h 83591"/>
                    <a:gd name="connsiteX4" fmla="*/ 2057 w 367936"/>
                    <a:gd name="connsiteY4" fmla="*/ 0 h 83591"/>
                    <a:gd name="connsiteX5" fmla="*/ 0 w 367936"/>
                    <a:gd name="connsiteY5" fmla="*/ 83592 h 835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67936" h="83591">
                      <a:moveTo>
                        <a:pt x="0" y="83592"/>
                      </a:moveTo>
                      <a:cubicBezTo>
                        <a:pt x="107786" y="70527"/>
                        <a:pt x="252892" y="50506"/>
                        <a:pt x="365758" y="62784"/>
                      </a:cubicBezTo>
                      <a:lnTo>
                        <a:pt x="365758" y="62784"/>
                      </a:lnTo>
                      <a:cubicBezTo>
                        <a:pt x="366666" y="45606"/>
                        <a:pt x="367392" y="27158"/>
                        <a:pt x="367937" y="12279"/>
                      </a:cubicBezTo>
                      <a:cubicBezTo>
                        <a:pt x="232448" y="9254"/>
                        <a:pt x="2057" y="0"/>
                        <a:pt x="2057" y="0"/>
                      </a:cubicBezTo>
                      <a:cubicBezTo>
                        <a:pt x="1029" y="28368"/>
                        <a:pt x="363" y="56131"/>
                        <a:pt x="0" y="83592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7" name="Freihandform: Form 416">
                  <a:extLst>
                    <a:ext uri="{FF2B5EF4-FFF2-40B4-BE49-F238E27FC236}">
                      <a16:creationId xmlns:a16="http://schemas.microsoft.com/office/drawing/2014/main" id="{BC92AC54-5A40-B902-E1C5-07CF948942F5}"/>
                    </a:ext>
                  </a:extLst>
                </p:cNvPr>
                <p:cNvSpPr/>
                <p:nvPr/>
              </p:nvSpPr>
              <p:spPr>
                <a:xfrm>
                  <a:off x="11320727" y="3561826"/>
                  <a:ext cx="365643" cy="143049"/>
                </a:xfrm>
                <a:custGeom>
                  <a:avLst/>
                  <a:gdLst>
                    <a:gd name="connsiteX0" fmla="*/ 363466 w 365643"/>
                    <a:gd name="connsiteY0" fmla="*/ 61 h 143049"/>
                    <a:gd name="connsiteX1" fmla="*/ 368 w 365643"/>
                    <a:gd name="connsiteY1" fmla="*/ 8650 h 143049"/>
                    <a:gd name="connsiteX2" fmla="*/ 7022 w 365643"/>
                    <a:gd name="connsiteY2" fmla="*/ 143049 h 143049"/>
                    <a:gd name="connsiteX3" fmla="*/ 365643 w 365643"/>
                    <a:gd name="connsiteY3" fmla="*/ 83592 h 143049"/>
                    <a:gd name="connsiteX4" fmla="*/ 363466 w 365643"/>
                    <a:gd name="connsiteY4" fmla="*/ 0 h 143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5643" h="143049">
                      <a:moveTo>
                        <a:pt x="363466" y="61"/>
                      </a:moveTo>
                      <a:cubicBezTo>
                        <a:pt x="363466" y="61"/>
                        <a:pt x="68052" y="8650"/>
                        <a:pt x="368" y="8650"/>
                      </a:cubicBezTo>
                      <a:cubicBezTo>
                        <a:pt x="-1144" y="49841"/>
                        <a:pt x="2183" y="95931"/>
                        <a:pt x="7022" y="143049"/>
                      </a:cubicBezTo>
                      <a:cubicBezTo>
                        <a:pt x="89222" y="125387"/>
                        <a:pt x="233602" y="100104"/>
                        <a:pt x="365643" y="83592"/>
                      </a:cubicBezTo>
                      <a:cubicBezTo>
                        <a:pt x="365159" y="56131"/>
                        <a:pt x="364494" y="28368"/>
                        <a:pt x="363466" y="0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8" name="Freihandform: Form 417">
                  <a:extLst>
                    <a:ext uri="{FF2B5EF4-FFF2-40B4-BE49-F238E27FC236}">
                      <a16:creationId xmlns:a16="http://schemas.microsoft.com/office/drawing/2014/main" id="{D1BBD0C4-B4EC-C9C5-DC52-94BF133CFDFC}"/>
                    </a:ext>
                  </a:extLst>
                </p:cNvPr>
                <p:cNvSpPr/>
                <p:nvPr/>
              </p:nvSpPr>
              <p:spPr>
                <a:xfrm>
                  <a:off x="11710384" y="4184348"/>
                  <a:ext cx="213757" cy="213757"/>
                </a:xfrm>
                <a:custGeom>
                  <a:avLst/>
                  <a:gdLst>
                    <a:gd name="connsiteX0" fmla="*/ 213757 w 213757"/>
                    <a:gd name="connsiteY0" fmla="*/ 106879 h 213757"/>
                    <a:gd name="connsiteX1" fmla="*/ 106879 w 213757"/>
                    <a:gd name="connsiteY1" fmla="*/ 213757 h 213757"/>
                    <a:gd name="connsiteX2" fmla="*/ 0 w 213757"/>
                    <a:gd name="connsiteY2" fmla="*/ 106879 h 213757"/>
                    <a:gd name="connsiteX3" fmla="*/ 106879 w 213757"/>
                    <a:gd name="connsiteY3" fmla="*/ 0 h 213757"/>
                    <a:gd name="connsiteX4" fmla="*/ 213757 w 213757"/>
                    <a:gd name="connsiteY4" fmla="*/ 106879 h 2137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3757" h="213757">
                      <a:moveTo>
                        <a:pt x="213757" y="106879"/>
                      </a:moveTo>
                      <a:cubicBezTo>
                        <a:pt x="213757" y="165906"/>
                        <a:pt x="165906" y="213757"/>
                        <a:pt x="106879" y="213757"/>
                      </a:cubicBezTo>
                      <a:cubicBezTo>
                        <a:pt x="47851" y="213757"/>
                        <a:pt x="0" y="165906"/>
                        <a:pt x="0" y="106879"/>
                      </a:cubicBezTo>
                      <a:cubicBezTo>
                        <a:pt x="0" y="47851"/>
                        <a:pt x="47851" y="0"/>
                        <a:pt x="106879" y="0"/>
                      </a:cubicBezTo>
                      <a:cubicBezTo>
                        <a:pt x="165906" y="0"/>
                        <a:pt x="213757" y="47851"/>
                        <a:pt x="213757" y="106879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419" name="Grafik 297">
                  <a:extLst>
                    <a:ext uri="{FF2B5EF4-FFF2-40B4-BE49-F238E27FC236}">
                      <a16:creationId xmlns:a16="http://schemas.microsoft.com/office/drawing/2014/main" id="{254A80B0-B949-C963-AB73-446BDA7F3BFC}"/>
                    </a:ext>
                  </a:extLst>
                </p:cNvPr>
                <p:cNvGrpSpPr/>
                <p:nvPr/>
              </p:nvGrpSpPr>
              <p:grpSpPr>
                <a:xfrm>
                  <a:off x="11174966" y="3045397"/>
                  <a:ext cx="164094" cy="552660"/>
                  <a:chOff x="11174966" y="3045397"/>
                  <a:chExt cx="164094" cy="552660"/>
                </a:xfrm>
              </p:grpSpPr>
              <p:sp>
                <p:nvSpPr>
                  <p:cNvPr id="469" name="Freihandform: Form 468">
                    <a:extLst>
                      <a:ext uri="{FF2B5EF4-FFF2-40B4-BE49-F238E27FC236}">
                        <a16:creationId xmlns:a16="http://schemas.microsoft.com/office/drawing/2014/main" id="{3067988B-F9BB-D885-5F5C-AF6027E7391E}"/>
                      </a:ext>
                    </a:extLst>
                  </p:cNvPr>
                  <p:cNvSpPr/>
                  <p:nvPr/>
                </p:nvSpPr>
                <p:spPr>
                  <a:xfrm>
                    <a:off x="11174966" y="3125964"/>
                    <a:ext cx="163973" cy="472093"/>
                  </a:xfrm>
                  <a:custGeom>
                    <a:avLst/>
                    <a:gdLst>
                      <a:gd name="connsiteX0" fmla="*/ 9130 w 163973"/>
                      <a:gd name="connsiteY0" fmla="*/ 472093 h 472093"/>
                      <a:gd name="connsiteX1" fmla="*/ 94294 w 163973"/>
                      <a:gd name="connsiteY1" fmla="*/ 468161 h 472093"/>
                      <a:gd name="connsiteX2" fmla="*/ 163974 w 163973"/>
                      <a:gd name="connsiteY2" fmla="*/ 9133 h 472093"/>
                      <a:gd name="connsiteX3" fmla="*/ 118 w 163973"/>
                      <a:gd name="connsiteY3" fmla="*/ 0 h 472093"/>
                      <a:gd name="connsiteX4" fmla="*/ 9130 w 163973"/>
                      <a:gd name="connsiteY4" fmla="*/ 472093 h 4720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3973" h="472093">
                        <a:moveTo>
                          <a:pt x="9130" y="472093"/>
                        </a:moveTo>
                        <a:lnTo>
                          <a:pt x="94294" y="468161"/>
                        </a:lnTo>
                        <a:cubicBezTo>
                          <a:pt x="94294" y="468161"/>
                          <a:pt x="161071" y="61151"/>
                          <a:pt x="163974" y="9133"/>
                        </a:cubicBezTo>
                        <a:lnTo>
                          <a:pt x="118" y="0"/>
                        </a:lnTo>
                        <a:cubicBezTo>
                          <a:pt x="-1153" y="212306"/>
                          <a:pt x="8283" y="346887"/>
                          <a:pt x="9130" y="472093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0" name="Freihandform: Form 469">
                    <a:extLst>
                      <a:ext uri="{FF2B5EF4-FFF2-40B4-BE49-F238E27FC236}">
                        <a16:creationId xmlns:a16="http://schemas.microsoft.com/office/drawing/2014/main" id="{FE72CF60-A1B0-EE3F-B517-816372FE89DB}"/>
                      </a:ext>
                    </a:extLst>
                  </p:cNvPr>
                  <p:cNvSpPr/>
                  <p:nvPr/>
                </p:nvSpPr>
                <p:spPr>
                  <a:xfrm>
                    <a:off x="11175143" y="3045397"/>
                    <a:ext cx="163916" cy="163916"/>
                  </a:xfrm>
                  <a:custGeom>
                    <a:avLst/>
                    <a:gdLst>
                      <a:gd name="connsiteX0" fmla="*/ 163917 w 163916"/>
                      <a:gd name="connsiteY0" fmla="*/ 81959 h 163916"/>
                      <a:gd name="connsiteX1" fmla="*/ 81958 w 163916"/>
                      <a:gd name="connsiteY1" fmla="*/ 163917 h 163916"/>
                      <a:gd name="connsiteX2" fmla="*/ 0 w 163916"/>
                      <a:gd name="connsiteY2" fmla="*/ 81958 h 163916"/>
                      <a:gd name="connsiteX3" fmla="*/ 81958 w 163916"/>
                      <a:gd name="connsiteY3" fmla="*/ 0 h 163916"/>
                      <a:gd name="connsiteX4" fmla="*/ 163917 w 163916"/>
                      <a:gd name="connsiteY4" fmla="*/ 81959 h 1639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3916" h="163916">
                        <a:moveTo>
                          <a:pt x="163917" y="81959"/>
                        </a:moveTo>
                        <a:cubicBezTo>
                          <a:pt x="163917" y="127223"/>
                          <a:pt x="127223" y="163917"/>
                          <a:pt x="81958" y="163917"/>
                        </a:cubicBezTo>
                        <a:cubicBezTo>
                          <a:pt x="36694" y="163917"/>
                          <a:pt x="0" y="127223"/>
                          <a:pt x="0" y="81958"/>
                        </a:cubicBezTo>
                        <a:cubicBezTo>
                          <a:pt x="0" y="36694"/>
                          <a:pt x="36694" y="0"/>
                          <a:pt x="81958" y="0"/>
                        </a:cubicBezTo>
                        <a:cubicBezTo>
                          <a:pt x="127222" y="0"/>
                          <a:pt x="163917" y="36694"/>
                          <a:pt x="163917" y="81959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1" name="Freihandform: Form 470">
                    <a:extLst>
                      <a:ext uri="{FF2B5EF4-FFF2-40B4-BE49-F238E27FC236}">
                        <a16:creationId xmlns:a16="http://schemas.microsoft.com/office/drawing/2014/main" id="{91A8B287-6146-339F-A41B-82E471EC7612}"/>
                      </a:ext>
                    </a:extLst>
                  </p:cNvPr>
                  <p:cNvSpPr/>
                  <p:nvPr/>
                </p:nvSpPr>
                <p:spPr>
                  <a:xfrm>
                    <a:off x="11183128" y="3538055"/>
                    <a:ext cx="95265" cy="60002"/>
                  </a:xfrm>
                  <a:custGeom>
                    <a:avLst/>
                    <a:gdLst>
                      <a:gd name="connsiteX0" fmla="*/ 0 w 95265"/>
                      <a:gd name="connsiteY0" fmla="*/ 61 h 60002"/>
                      <a:gd name="connsiteX1" fmla="*/ 968 w 95265"/>
                      <a:gd name="connsiteY1" fmla="*/ 60002 h 60002"/>
                      <a:gd name="connsiteX2" fmla="*/ 86132 w 95265"/>
                      <a:gd name="connsiteY2" fmla="*/ 56070 h 60002"/>
                      <a:gd name="connsiteX3" fmla="*/ 95265 w 95265"/>
                      <a:gd name="connsiteY3" fmla="*/ 0 h 60002"/>
                      <a:gd name="connsiteX4" fmla="*/ 61 w 95265"/>
                      <a:gd name="connsiteY4" fmla="*/ 0 h 600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5265" h="60002">
                        <a:moveTo>
                          <a:pt x="0" y="61"/>
                        </a:moveTo>
                        <a:cubicBezTo>
                          <a:pt x="484" y="20444"/>
                          <a:pt x="847" y="40344"/>
                          <a:pt x="968" y="60002"/>
                        </a:cubicBezTo>
                        <a:lnTo>
                          <a:pt x="86132" y="56070"/>
                        </a:lnTo>
                        <a:cubicBezTo>
                          <a:pt x="86132" y="56070"/>
                          <a:pt x="89700" y="34235"/>
                          <a:pt x="95265" y="0"/>
                        </a:cubicBezTo>
                        <a:lnTo>
                          <a:pt x="61" y="0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20" name="Grafik 297">
                  <a:extLst>
                    <a:ext uri="{FF2B5EF4-FFF2-40B4-BE49-F238E27FC236}">
                      <a16:creationId xmlns:a16="http://schemas.microsoft.com/office/drawing/2014/main" id="{6CD0E612-483E-3B74-C9B2-8C6DA611BA78}"/>
                    </a:ext>
                  </a:extLst>
                </p:cNvPr>
                <p:cNvGrpSpPr/>
                <p:nvPr/>
              </p:nvGrpSpPr>
              <p:grpSpPr>
                <a:xfrm>
                  <a:off x="11138852" y="2513423"/>
                  <a:ext cx="352330" cy="680527"/>
                  <a:chOff x="11138852" y="2513423"/>
                  <a:chExt cx="352330" cy="680527"/>
                </a:xfrm>
              </p:grpSpPr>
              <p:sp>
                <p:nvSpPr>
                  <p:cNvPr id="466" name="Freihandform: Form 465">
                    <a:extLst>
                      <a:ext uri="{FF2B5EF4-FFF2-40B4-BE49-F238E27FC236}">
                        <a16:creationId xmlns:a16="http://schemas.microsoft.com/office/drawing/2014/main" id="{1AD35B41-35EC-ABD6-0078-34420700B4BC}"/>
                      </a:ext>
                    </a:extLst>
                  </p:cNvPr>
                  <p:cNvSpPr/>
                  <p:nvPr/>
                </p:nvSpPr>
                <p:spPr>
                  <a:xfrm>
                    <a:off x="11279482" y="2513423"/>
                    <a:ext cx="211700" cy="211700"/>
                  </a:xfrm>
                  <a:custGeom>
                    <a:avLst/>
                    <a:gdLst>
                      <a:gd name="connsiteX0" fmla="*/ 211701 w 211700"/>
                      <a:gd name="connsiteY0" fmla="*/ 105850 h 211700"/>
                      <a:gd name="connsiteX1" fmla="*/ 105851 w 211700"/>
                      <a:gd name="connsiteY1" fmla="*/ 211701 h 211700"/>
                      <a:gd name="connsiteX2" fmla="*/ 0 w 211700"/>
                      <a:gd name="connsiteY2" fmla="*/ 105850 h 211700"/>
                      <a:gd name="connsiteX3" fmla="*/ 105851 w 211700"/>
                      <a:gd name="connsiteY3" fmla="*/ 0 h 211700"/>
                      <a:gd name="connsiteX4" fmla="*/ 211701 w 211700"/>
                      <a:gd name="connsiteY4" fmla="*/ 105850 h 2117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1700" h="211700">
                        <a:moveTo>
                          <a:pt x="211701" y="105850"/>
                        </a:moveTo>
                        <a:cubicBezTo>
                          <a:pt x="211701" y="164310"/>
                          <a:pt x="164311" y="211701"/>
                          <a:pt x="105851" y="211701"/>
                        </a:cubicBezTo>
                        <a:cubicBezTo>
                          <a:pt x="47391" y="211701"/>
                          <a:pt x="0" y="164310"/>
                          <a:pt x="0" y="105850"/>
                        </a:cubicBezTo>
                        <a:cubicBezTo>
                          <a:pt x="0" y="47391"/>
                          <a:pt x="47391" y="0"/>
                          <a:pt x="105851" y="0"/>
                        </a:cubicBezTo>
                        <a:cubicBezTo>
                          <a:pt x="164311" y="0"/>
                          <a:pt x="211701" y="47391"/>
                          <a:pt x="211701" y="105850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7" name="Freihandform: Form 466">
                    <a:extLst>
                      <a:ext uri="{FF2B5EF4-FFF2-40B4-BE49-F238E27FC236}">
                        <a16:creationId xmlns:a16="http://schemas.microsoft.com/office/drawing/2014/main" id="{55B5DEB9-FECA-55C9-59AE-0F9E5E33F961}"/>
                      </a:ext>
                    </a:extLst>
                  </p:cNvPr>
                  <p:cNvSpPr/>
                  <p:nvPr/>
                </p:nvSpPr>
                <p:spPr>
                  <a:xfrm>
                    <a:off x="11138852" y="2521286"/>
                    <a:ext cx="309748" cy="672604"/>
                  </a:xfrm>
                  <a:custGeom>
                    <a:avLst/>
                    <a:gdLst>
                      <a:gd name="connsiteX0" fmla="*/ 206196 w 309748"/>
                      <a:gd name="connsiteY0" fmla="*/ 61 h 672604"/>
                      <a:gd name="connsiteX1" fmla="*/ 109237 w 309748"/>
                      <a:gd name="connsiteY1" fmla="*/ 151941 h 672604"/>
                      <a:gd name="connsiteX2" fmla="*/ 0 w 309748"/>
                      <a:gd name="connsiteY2" fmla="*/ 649498 h 672604"/>
                      <a:gd name="connsiteX3" fmla="*/ 210551 w 309748"/>
                      <a:gd name="connsiteY3" fmla="*/ 672604 h 672604"/>
                      <a:gd name="connsiteX4" fmla="*/ 309748 w 309748"/>
                      <a:gd name="connsiteY4" fmla="*/ 182668 h 672604"/>
                      <a:gd name="connsiteX5" fmla="*/ 206196 w 309748"/>
                      <a:gd name="connsiteY5" fmla="*/ 0 h 6726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748" h="672604">
                        <a:moveTo>
                          <a:pt x="206196" y="61"/>
                        </a:moveTo>
                        <a:cubicBezTo>
                          <a:pt x="206196" y="61"/>
                          <a:pt x="139541" y="14880"/>
                          <a:pt x="109237" y="151941"/>
                        </a:cubicBezTo>
                        <a:cubicBezTo>
                          <a:pt x="78511" y="290938"/>
                          <a:pt x="0" y="649498"/>
                          <a:pt x="0" y="649498"/>
                        </a:cubicBezTo>
                        <a:lnTo>
                          <a:pt x="210551" y="672604"/>
                        </a:lnTo>
                        <a:lnTo>
                          <a:pt x="309748" y="182668"/>
                        </a:lnTo>
                        <a:lnTo>
                          <a:pt x="206196" y="0"/>
                        </a:ln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8" name="Freihandform: Form 467">
                    <a:extLst>
                      <a:ext uri="{FF2B5EF4-FFF2-40B4-BE49-F238E27FC236}">
                        <a16:creationId xmlns:a16="http://schemas.microsoft.com/office/drawing/2014/main" id="{1E162BFD-CDED-A071-C898-04F9FA4D3BB2}"/>
                      </a:ext>
                    </a:extLst>
                  </p:cNvPr>
                  <p:cNvSpPr/>
                  <p:nvPr/>
                </p:nvSpPr>
                <p:spPr>
                  <a:xfrm>
                    <a:off x="11220790" y="2704014"/>
                    <a:ext cx="227870" cy="489936"/>
                  </a:xfrm>
                  <a:custGeom>
                    <a:avLst/>
                    <a:gdLst>
                      <a:gd name="connsiteX0" fmla="*/ 68853 w 227870"/>
                      <a:gd name="connsiteY0" fmla="*/ 234202 h 489936"/>
                      <a:gd name="connsiteX1" fmla="*/ 46050 w 227870"/>
                      <a:gd name="connsiteY1" fmla="*/ 411426 h 489936"/>
                      <a:gd name="connsiteX2" fmla="*/ 1290 w 227870"/>
                      <a:gd name="connsiteY2" fmla="*/ 475964 h 489936"/>
                      <a:gd name="connsiteX3" fmla="*/ 128674 w 227870"/>
                      <a:gd name="connsiteY3" fmla="*/ 489936 h 489936"/>
                      <a:gd name="connsiteX4" fmla="*/ 227871 w 227870"/>
                      <a:gd name="connsiteY4" fmla="*/ 0 h 489936"/>
                      <a:gd name="connsiteX5" fmla="*/ 68913 w 227870"/>
                      <a:gd name="connsiteY5" fmla="*/ 234202 h 4899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27870" h="489936">
                        <a:moveTo>
                          <a:pt x="68853" y="234202"/>
                        </a:moveTo>
                        <a:cubicBezTo>
                          <a:pt x="96495" y="346403"/>
                          <a:pt x="103996" y="388804"/>
                          <a:pt x="46050" y="411426"/>
                        </a:cubicBezTo>
                        <a:cubicBezTo>
                          <a:pt x="-11896" y="434047"/>
                          <a:pt x="1290" y="475964"/>
                          <a:pt x="1290" y="475964"/>
                        </a:cubicBezTo>
                        <a:lnTo>
                          <a:pt x="128674" y="489936"/>
                        </a:lnTo>
                        <a:lnTo>
                          <a:pt x="227871" y="0"/>
                        </a:lnTo>
                        <a:cubicBezTo>
                          <a:pt x="227871" y="0"/>
                          <a:pt x="43207" y="129742"/>
                          <a:pt x="68913" y="234202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421" name="Freihandform: Form 420">
                  <a:extLst>
                    <a:ext uri="{FF2B5EF4-FFF2-40B4-BE49-F238E27FC236}">
                      <a16:creationId xmlns:a16="http://schemas.microsoft.com/office/drawing/2014/main" id="{07E143CD-05A0-5F74-D2E1-34D7A5396F3A}"/>
                    </a:ext>
                  </a:extLst>
                </p:cNvPr>
                <p:cNvSpPr/>
                <p:nvPr/>
              </p:nvSpPr>
              <p:spPr>
                <a:xfrm>
                  <a:off x="11592799" y="2187522"/>
                  <a:ext cx="184482" cy="347094"/>
                </a:xfrm>
                <a:custGeom>
                  <a:avLst/>
                  <a:gdLst>
                    <a:gd name="connsiteX0" fmla="*/ 0 w 184482"/>
                    <a:gd name="connsiteY0" fmla="*/ 298440 h 347094"/>
                    <a:gd name="connsiteX1" fmla="*/ 184482 w 184482"/>
                    <a:gd name="connsiteY1" fmla="*/ 298440 h 347094"/>
                    <a:gd name="connsiteX2" fmla="*/ 184482 w 184482"/>
                    <a:gd name="connsiteY2" fmla="*/ 60307 h 347094"/>
                    <a:gd name="connsiteX3" fmla="*/ 0 w 184482"/>
                    <a:gd name="connsiteY3" fmla="*/ 60307 h 347094"/>
                    <a:gd name="connsiteX4" fmla="*/ 0 w 184482"/>
                    <a:gd name="connsiteY4" fmla="*/ 298440 h 3470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4482" h="347094">
                      <a:moveTo>
                        <a:pt x="0" y="298440"/>
                      </a:moveTo>
                      <a:cubicBezTo>
                        <a:pt x="32058" y="362858"/>
                        <a:pt x="146739" y="363765"/>
                        <a:pt x="184482" y="298440"/>
                      </a:cubicBezTo>
                      <a:lnTo>
                        <a:pt x="184482" y="60307"/>
                      </a:lnTo>
                      <a:cubicBezTo>
                        <a:pt x="151820" y="-29091"/>
                        <a:pt x="13488" y="-10583"/>
                        <a:pt x="0" y="60307"/>
                      </a:cubicBezTo>
                      <a:lnTo>
                        <a:pt x="0" y="298440"/>
                      </a:ln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2" name="Freihandform: Form 421">
                  <a:extLst>
                    <a:ext uri="{FF2B5EF4-FFF2-40B4-BE49-F238E27FC236}">
                      <a16:creationId xmlns:a16="http://schemas.microsoft.com/office/drawing/2014/main" id="{FA59B36F-8C94-F193-5215-8D427E728501}"/>
                    </a:ext>
                  </a:extLst>
                </p:cNvPr>
                <p:cNvSpPr/>
                <p:nvPr/>
              </p:nvSpPr>
              <p:spPr>
                <a:xfrm>
                  <a:off x="11592799" y="2187522"/>
                  <a:ext cx="184482" cy="345619"/>
                </a:xfrm>
                <a:custGeom>
                  <a:avLst/>
                  <a:gdLst>
                    <a:gd name="connsiteX0" fmla="*/ 184482 w 184482"/>
                    <a:gd name="connsiteY0" fmla="*/ 60307 h 345619"/>
                    <a:gd name="connsiteX1" fmla="*/ 0 w 184482"/>
                    <a:gd name="connsiteY1" fmla="*/ 60307 h 345619"/>
                    <a:gd name="connsiteX2" fmla="*/ 0 w 184482"/>
                    <a:gd name="connsiteY2" fmla="*/ 298440 h 345619"/>
                    <a:gd name="connsiteX3" fmla="*/ 0 w 184482"/>
                    <a:gd name="connsiteY3" fmla="*/ 298440 h 345619"/>
                    <a:gd name="connsiteX4" fmla="*/ 5141 w 184482"/>
                    <a:gd name="connsiteY4" fmla="*/ 307090 h 345619"/>
                    <a:gd name="connsiteX5" fmla="*/ 6109 w 184482"/>
                    <a:gd name="connsiteY5" fmla="*/ 308541 h 345619"/>
                    <a:gd name="connsiteX6" fmla="*/ 12097 w 184482"/>
                    <a:gd name="connsiteY6" fmla="*/ 315981 h 345619"/>
                    <a:gd name="connsiteX7" fmla="*/ 13247 w 184482"/>
                    <a:gd name="connsiteY7" fmla="*/ 317191 h 345619"/>
                    <a:gd name="connsiteX8" fmla="*/ 28852 w 184482"/>
                    <a:gd name="connsiteY8" fmla="*/ 330014 h 345619"/>
                    <a:gd name="connsiteX9" fmla="*/ 29759 w 184482"/>
                    <a:gd name="connsiteY9" fmla="*/ 330619 h 345619"/>
                    <a:gd name="connsiteX10" fmla="*/ 38832 w 184482"/>
                    <a:gd name="connsiteY10" fmla="*/ 335639 h 345619"/>
                    <a:gd name="connsiteX11" fmla="*/ 39498 w 184482"/>
                    <a:gd name="connsiteY11" fmla="*/ 335941 h 345619"/>
                    <a:gd name="connsiteX12" fmla="*/ 60304 w 184482"/>
                    <a:gd name="connsiteY12" fmla="*/ 343381 h 345619"/>
                    <a:gd name="connsiteX13" fmla="*/ 60365 w 184482"/>
                    <a:gd name="connsiteY13" fmla="*/ 343381 h 345619"/>
                    <a:gd name="connsiteX14" fmla="*/ 71615 w 184482"/>
                    <a:gd name="connsiteY14" fmla="*/ 345619 h 345619"/>
                    <a:gd name="connsiteX15" fmla="*/ 71615 w 184482"/>
                    <a:gd name="connsiteY15" fmla="*/ 345619 h 345619"/>
                    <a:gd name="connsiteX16" fmla="*/ 41010 w 184482"/>
                    <a:gd name="connsiteY16" fmla="*/ 255556 h 345619"/>
                    <a:gd name="connsiteX17" fmla="*/ 91273 w 184482"/>
                    <a:gd name="connsiteY17" fmla="*/ 220474 h 345619"/>
                    <a:gd name="connsiteX18" fmla="*/ 184422 w 184482"/>
                    <a:gd name="connsiteY18" fmla="*/ 110329 h 345619"/>
                    <a:gd name="connsiteX19" fmla="*/ 184422 w 184482"/>
                    <a:gd name="connsiteY19" fmla="*/ 60246 h 3456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84482" h="345619">
                      <a:moveTo>
                        <a:pt x="184482" y="60307"/>
                      </a:moveTo>
                      <a:cubicBezTo>
                        <a:pt x="151820" y="-29091"/>
                        <a:pt x="13488" y="-10583"/>
                        <a:pt x="0" y="60307"/>
                      </a:cubicBezTo>
                      <a:lnTo>
                        <a:pt x="0" y="298440"/>
                      </a:lnTo>
                      <a:cubicBezTo>
                        <a:pt x="0" y="298440"/>
                        <a:pt x="0" y="298440"/>
                        <a:pt x="0" y="298440"/>
                      </a:cubicBezTo>
                      <a:cubicBezTo>
                        <a:pt x="1512" y="301465"/>
                        <a:pt x="3266" y="304307"/>
                        <a:pt x="5141" y="307090"/>
                      </a:cubicBezTo>
                      <a:cubicBezTo>
                        <a:pt x="5444" y="307574"/>
                        <a:pt x="5806" y="308057"/>
                        <a:pt x="6109" y="308541"/>
                      </a:cubicBezTo>
                      <a:cubicBezTo>
                        <a:pt x="7985" y="311142"/>
                        <a:pt x="9980" y="313622"/>
                        <a:pt x="12097" y="315981"/>
                      </a:cubicBezTo>
                      <a:cubicBezTo>
                        <a:pt x="12460" y="316405"/>
                        <a:pt x="12823" y="316767"/>
                        <a:pt x="13247" y="317191"/>
                      </a:cubicBezTo>
                      <a:cubicBezTo>
                        <a:pt x="17904" y="322030"/>
                        <a:pt x="23106" y="326324"/>
                        <a:pt x="28852" y="330014"/>
                      </a:cubicBezTo>
                      <a:cubicBezTo>
                        <a:pt x="29155" y="330195"/>
                        <a:pt x="29457" y="330437"/>
                        <a:pt x="29759" y="330619"/>
                      </a:cubicBezTo>
                      <a:cubicBezTo>
                        <a:pt x="32663" y="332433"/>
                        <a:pt x="35687" y="334127"/>
                        <a:pt x="38832" y="335639"/>
                      </a:cubicBezTo>
                      <a:cubicBezTo>
                        <a:pt x="39074" y="335760"/>
                        <a:pt x="39316" y="335881"/>
                        <a:pt x="39498" y="335941"/>
                      </a:cubicBezTo>
                      <a:cubicBezTo>
                        <a:pt x="46090" y="339087"/>
                        <a:pt x="53046" y="341567"/>
                        <a:pt x="60304" y="343381"/>
                      </a:cubicBezTo>
                      <a:cubicBezTo>
                        <a:pt x="60304" y="343381"/>
                        <a:pt x="60304" y="343381"/>
                        <a:pt x="60365" y="343381"/>
                      </a:cubicBezTo>
                      <a:cubicBezTo>
                        <a:pt x="64054" y="344289"/>
                        <a:pt x="67805" y="345075"/>
                        <a:pt x="71615" y="345619"/>
                      </a:cubicBezTo>
                      <a:cubicBezTo>
                        <a:pt x="71615" y="345619"/>
                        <a:pt x="71615" y="345619"/>
                        <a:pt x="71615" y="345619"/>
                      </a:cubicBezTo>
                      <a:cubicBezTo>
                        <a:pt x="58066" y="324328"/>
                        <a:pt x="40707" y="295779"/>
                        <a:pt x="41010" y="255556"/>
                      </a:cubicBezTo>
                      <a:cubicBezTo>
                        <a:pt x="41191" y="236079"/>
                        <a:pt x="55345" y="222349"/>
                        <a:pt x="91273" y="220474"/>
                      </a:cubicBezTo>
                      <a:cubicBezTo>
                        <a:pt x="151397" y="217389"/>
                        <a:pt x="179038" y="128535"/>
                        <a:pt x="184422" y="110329"/>
                      </a:cubicBezTo>
                      <a:lnTo>
                        <a:pt x="184422" y="60246"/>
                      </a:ln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3" name="Freihandform: Form 422">
                  <a:extLst>
                    <a:ext uri="{FF2B5EF4-FFF2-40B4-BE49-F238E27FC236}">
                      <a16:creationId xmlns:a16="http://schemas.microsoft.com/office/drawing/2014/main" id="{245897CB-0FD8-09A7-EB6F-67164128DC70}"/>
                    </a:ext>
                  </a:extLst>
                </p:cNvPr>
                <p:cNvSpPr/>
                <p:nvPr/>
              </p:nvSpPr>
              <p:spPr>
                <a:xfrm>
                  <a:off x="11554257" y="2045063"/>
                  <a:ext cx="261685" cy="343154"/>
                </a:xfrm>
                <a:custGeom>
                  <a:avLst/>
                  <a:gdLst>
                    <a:gd name="connsiteX0" fmla="*/ 260888 w 261685"/>
                    <a:gd name="connsiteY0" fmla="*/ 115908 h 343154"/>
                    <a:gd name="connsiteX1" fmla="*/ 226713 w 261685"/>
                    <a:gd name="connsiteY1" fmla="*/ 30200 h 343154"/>
                    <a:gd name="connsiteX2" fmla="*/ 130843 w 261685"/>
                    <a:gd name="connsiteY2" fmla="*/ 17 h 343154"/>
                    <a:gd name="connsiteX3" fmla="*/ 34973 w 261685"/>
                    <a:gd name="connsiteY3" fmla="*/ 30200 h 343154"/>
                    <a:gd name="connsiteX4" fmla="*/ 798 w 261685"/>
                    <a:gd name="connsiteY4" fmla="*/ 115908 h 343154"/>
                    <a:gd name="connsiteX5" fmla="*/ 1342 w 261685"/>
                    <a:gd name="connsiteY5" fmla="*/ 197806 h 343154"/>
                    <a:gd name="connsiteX6" fmla="*/ 40235 w 261685"/>
                    <a:gd name="connsiteY6" fmla="*/ 289080 h 343154"/>
                    <a:gd name="connsiteX7" fmla="*/ 130843 w 261685"/>
                    <a:gd name="connsiteY7" fmla="*/ 343154 h 343154"/>
                    <a:gd name="connsiteX8" fmla="*/ 221451 w 261685"/>
                    <a:gd name="connsiteY8" fmla="*/ 289080 h 343154"/>
                    <a:gd name="connsiteX9" fmla="*/ 260344 w 261685"/>
                    <a:gd name="connsiteY9" fmla="*/ 197806 h 343154"/>
                    <a:gd name="connsiteX10" fmla="*/ 260888 w 261685"/>
                    <a:gd name="connsiteY10" fmla="*/ 115908 h 343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61685" h="343154">
                      <a:moveTo>
                        <a:pt x="260888" y="115908"/>
                      </a:moveTo>
                      <a:cubicBezTo>
                        <a:pt x="260888" y="115908"/>
                        <a:pt x="257803" y="64798"/>
                        <a:pt x="226713" y="30200"/>
                      </a:cubicBezTo>
                      <a:cubicBezTo>
                        <a:pt x="201067" y="1711"/>
                        <a:pt x="148566" y="-225"/>
                        <a:pt x="130843" y="17"/>
                      </a:cubicBezTo>
                      <a:cubicBezTo>
                        <a:pt x="113120" y="-164"/>
                        <a:pt x="60558" y="1711"/>
                        <a:pt x="34973" y="30200"/>
                      </a:cubicBezTo>
                      <a:cubicBezTo>
                        <a:pt x="3883" y="64798"/>
                        <a:pt x="798" y="115908"/>
                        <a:pt x="798" y="115908"/>
                      </a:cubicBezTo>
                      <a:cubicBezTo>
                        <a:pt x="798" y="115908"/>
                        <a:pt x="-1319" y="174943"/>
                        <a:pt x="1342" y="197806"/>
                      </a:cubicBezTo>
                      <a:cubicBezTo>
                        <a:pt x="4004" y="220610"/>
                        <a:pt x="1221" y="251941"/>
                        <a:pt x="40235" y="289080"/>
                      </a:cubicBezTo>
                      <a:cubicBezTo>
                        <a:pt x="78341" y="325371"/>
                        <a:pt x="104411" y="342307"/>
                        <a:pt x="130843" y="343154"/>
                      </a:cubicBezTo>
                      <a:cubicBezTo>
                        <a:pt x="157275" y="342368"/>
                        <a:pt x="183345" y="325371"/>
                        <a:pt x="221451" y="289080"/>
                      </a:cubicBezTo>
                      <a:cubicBezTo>
                        <a:pt x="260465" y="251881"/>
                        <a:pt x="257742" y="220610"/>
                        <a:pt x="260344" y="197806"/>
                      </a:cubicBezTo>
                      <a:cubicBezTo>
                        <a:pt x="263005" y="175003"/>
                        <a:pt x="260888" y="115908"/>
                        <a:pt x="260888" y="115908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4" name="Freihandform: Form 423">
                  <a:extLst>
                    <a:ext uri="{FF2B5EF4-FFF2-40B4-BE49-F238E27FC236}">
                      <a16:creationId xmlns:a16="http://schemas.microsoft.com/office/drawing/2014/main" id="{F7AF7D23-C810-A4A7-055C-1CA2C9186128}"/>
                    </a:ext>
                  </a:extLst>
                </p:cNvPr>
                <p:cNvSpPr/>
                <p:nvPr/>
              </p:nvSpPr>
              <p:spPr>
                <a:xfrm rot="-3871802">
                  <a:off x="11747236" y="2163336"/>
                  <a:ext cx="128714" cy="86011"/>
                </a:xfrm>
                <a:custGeom>
                  <a:avLst/>
                  <a:gdLst>
                    <a:gd name="connsiteX0" fmla="*/ 128714 w 128714"/>
                    <a:gd name="connsiteY0" fmla="*/ 43006 h 86011"/>
                    <a:gd name="connsiteX1" fmla="*/ 64357 w 128714"/>
                    <a:gd name="connsiteY1" fmla="*/ 86011 h 86011"/>
                    <a:gd name="connsiteX2" fmla="*/ 0 w 128714"/>
                    <a:gd name="connsiteY2" fmla="*/ 43006 h 86011"/>
                    <a:gd name="connsiteX3" fmla="*/ 64357 w 128714"/>
                    <a:gd name="connsiteY3" fmla="*/ 0 h 86011"/>
                    <a:gd name="connsiteX4" fmla="*/ 128714 w 128714"/>
                    <a:gd name="connsiteY4" fmla="*/ 43006 h 860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8714" h="86011">
                      <a:moveTo>
                        <a:pt x="128714" y="43006"/>
                      </a:moveTo>
                      <a:cubicBezTo>
                        <a:pt x="128714" y="66757"/>
                        <a:pt x="99900" y="86011"/>
                        <a:pt x="64357" y="86011"/>
                      </a:cubicBezTo>
                      <a:cubicBezTo>
                        <a:pt x="28813" y="86011"/>
                        <a:pt x="0" y="66757"/>
                        <a:pt x="0" y="43006"/>
                      </a:cubicBezTo>
                      <a:cubicBezTo>
                        <a:pt x="0" y="19254"/>
                        <a:pt x="28813" y="0"/>
                        <a:pt x="64357" y="0"/>
                      </a:cubicBezTo>
                      <a:cubicBezTo>
                        <a:pt x="99900" y="0"/>
                        <a:pt x="128714" y="19254"/>
                        <a:pt x="128714" y="43006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5" name="Freihandform: Form 424">
                  <a:extLst>
                    <a:ext uri="{FF2B5EF4-FFF2-40B4-BE49-F238E27FC236}">
                      <a16:creationId xmlns:a16="http://schemas.microsoft.com/office/drawing/2014/main" id="{D7A1615C-A0C6-8E09-6F90-38103B099CA5}"/>
                    </a:ext>
                  </a:extLst>
                </p:cNvPr>
                <p:cNvSpPr/>
                <p:nvPr/>
              </p:nvSpPr>
              <p:spPr>
                <a:xfrm rot="-1168199">
                  <a:off x="11511939" y="2141862"/>
                  <a:ext cx="86252" cy="128230"/>
                </a:xfrm>
                <a:custGeom>
                  <a:avLst/>
                  <a:gdLst>
                    <a:gd name="connsiteX0" fmla="*/ 86253 w 86252"/>
                    <a:gd name="connsiteY0" fmla="*/ 64115 h 128230"/>
                    <a:gd name="connsiteX1" fmla="*/ 43127 w 86252"/>
                    <a:gd name="connsiteY1" fmla="*/ 128230 h 128230"/>
                    <a:gd name="connsiteX2" fmla="*/ 0 w 86252"/>
                    <a:gd name="connsiteY2" fmla="*/ 64115 h 128230"/>
                    <a:gd name="connsiteX3" fmla="*/ 43127 w 86252"/>
                    <a:gd name="connsiteY3" fmla="*/ 0 h 128230"/>
                    <a:gd name="connsiteX4" fmla="*/ 86253 w 86252"/>
                    <a:gd name="connsiteY4" fmla="*/ 64115 h 128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6252" h="128230">
                      <a:moveTo>
                        <a:pt x="86253" y="64115"/>
                      </a:moveTo>
                      <a:cubicBezTo>
                        <a:pt x="86253" y="99525"/>
                        <a:pt x="66944" y="128230"/>
                        <a:pt x="43127" y="128230"/>
                      </a:cubicBezTo>
                      <a:cubicBezTo>
                        <a:pt x="19309" y="128230"/>
                        <a:pt x="0" y="99525"/>
                        <a:pt x="0" y="64115"/>
                      </a:cubicBezTo>
                      <a:cubicBezTo>
                        <a:pt x="0" y="28705"/>
                        <a:pt x="19309" y="0"/>
                        <a:pt x="43127" y="0"/>
                      </a:cubicBezTo>
                      <a:cubicBezTo>
                        <a:pt x="66944" y="0"/>
                        <a:pt x="86253" y="28705"/>
                        <a:pt x="86253" y="64115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6" name="Freihandform: Form 425">
                  <a:extLst>
                    <a:ext uri="{FF2B5EF4-FFF2-40B4-BE49-F238E27FC236}">
                      <a16:creationId xmlns:a16="http://schemas.microsoft.com/office/drawing/2014/main" id="{2842904A-1931-709C-6B3F-CDED6B3E55B4}"/>
                    </a:ext>
                  </a:extLst>
                </p:cNvPr>
                <p:cNvSpPr/>
                <p:nvPr/>
              </p:nvSpPr>
              <p:spPr>
                <a:xfrm>
                  <a:off x="11518704" y="1942617"/>
                  <a:ext cx="332793" cy="347915"/>
                </a:xfrm>
                <a:custGeom>
                  <a:avLst/>
                  <a:gdLst>
                    <a:gd name="connsiteX0" fmla="*/ 332794 w 332793"/>
                    <a:gd name="connsiteY0" fmla="*/ 173958 h 347915"/>
                    <a:gd name="connsiteX1" fmla="*/ 166397 w 332793"/>
                    <a:gd name="connsiteY1" fmla="*/ 347915 h 347915"/>
                    <a:gd name="connsiteX2" fmla="*/ 0 w 332793"/>
                    <a:gd name="connsiteY2" fmla="*/ 173958 h 347915"/>
                    <a:gd name="connsiteX3" fmla="*/ 166397 w 332793"/>
                    <a:gd name="connsiteY3" fmla="*/ 0 h 347915"/>
                    <a:gd name="connsiteX4" fmla="*/ 332794 w 332793"/>
                    <a:gd name="connsiteY4" fmla="*/ 173958 h 347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793" h="347915">
                      <a:moveTo>
                        <a:pt x="332794" y="173958"/>
                      </a:moveTo>
                      <a:cubicBezTo>
                        <a:pt x="332794" y="270032"/>
                        <a:pt x="258295" y="347915"/>
                        <a:pt x="166397" y="347915"/>
                      </a:cubicBezTo>
                      <a:cubicBezTo>
                        <a:pt x="74498" y="347915"/>
                        <a:pt x="0" y="270032"/>
                        <a:pt x="0" y="173958"/>
                      </a:cubicBezTo>
                      <a:cubicBezTo>
                        <a:pt x="0" y="77883"/>
                        <a:pt x="74498" y="0"/>
                        <a:pt x="166397" y="0"/>
                      </a:cubicBezTo>
                      <a:cubicBezTo>
                        <a:pt x="258295" y="0"/>
                        <a:pt x="332794" y="77883"/>
                        <a:pt x="332794" y="173958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7" name="Freihandform: Form 426">
                  <a:extLst>
                    <a:ext uri="{FF2B5EF4-FFF2-40B4-BE49-F238E27FC236}">
                      <a16:creationId xmlns:a16="http://schemas.microsoft.com/office/drawing/2014/main" id="{47CC4084-15C7-B9E6-5EB4-7F29779A6217}"/>
                    </a:ext>
                  </a:extLst>
                </p:cNvPr>
                <p:cNvSpPr/>
                <p:nvPr/>
              </p:nvSpPr>
              <p:spPr>
                <a:xfrm>
                  <a:off x="11511370" y="1945641"/>
                  <a:ext cx="328272" cy="250230"/>
                </a:xfrm>
                <a:custGeom>
                  <a:avLst/>
                  <a:gdLst>
                    <a:gd name="connsiteX0" fmla="*/ 165625 w 328272"/>
                    <a:gd name="connsiteY0" fmla="*/ 78874 h 250230"/>
                    <a:gd name="connsiteX1" fmla="*/ 304198 w 328272"/>
                    <a:gd name="connsiteY1" fmla="*/ 250230 h 250230"/>
                    <a:gd name="connsiteX2" fmla="*/ 328272 w 328272"/>
                    <a:gd name="connsiteY2" fmla="*/ 173958 h 250230"/>
                    <a:gd name="connsiteX3" fmla="*/ 164839 w 328272"/>
                    <a:gd name="connsiteY3" fmla="*/ 0 h 250230"/>
                    <a:gd name="connsiteX4" fmla="*/ 54331 w 328272"/>
                    <a:gd name="connsiteY4" fmla="*/ 45788 h 250230"/>
                    <a:gd name="connsiteX5" fmla="*/ 20277 w 328272"/>
                    <a:gd name="connsiteY5" fmla="*/ 236561 h 250230"/>
                    <a:gd name="connsiteX6" fmla="*/ 165625 w 328272"/>
                    <a:gd name="connsiteY6" fmla="*/ 78874 h 250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8272" h="250230">
                      <a:moveTo>
                        <a:pt x="165625" y="78874"/>
                      </a:moveTo>
                      <a:cubicBezTo>
                        <a:pt x="284057" y="86374"/>
                        <a:pt x="269540" y="183756"/>
                        <a:pt x="304198" y="250230"/>
                      </a:cubicBezTo>
                      <a:cubicBezTo>
                        <a:pt x="310731" y="231419"/>
                        <a:pt x="328272" y="195188"/>
                        <a:pt x="328272" y="173958"/>
                      </a:cubicBezTo>
                      <a:cubicBezTo>
                        <a:pt x="328272" y="77845"/>
                        <a:pt x="255083" y="0"/>
                        <a:pt x="164839" y="0"/>
                      </a:cubicBezTo>
                      <a:cubicBezTo>
                        <a:pt x="122257" y="0"/>
                        <a:pt x="83424" y="17359"/>
                        <a:pt x="54331" y="45788"/>
                      </a:cubicBezTo>
                      <a:cubicBezTo>
                        <a:pt x="10841" y="66958"/>
                        <a:pt x="-23454" y="158655"/>
                        <a:pt x="20277" y="236561"/>
                      </a:cubicBezTo>
                      <a:cubicBezTo>
                        <a:pt x="62860" y="195007"/>
                        <a:pt x="58988" y="72160"/>
                        <a:pt x="165625" y="78874"/>
                      </a:cubicBezTo>
                      <a:close/>
                    </a:path>
                  </a:pathLst>
                </a:custGeom>
                <a:solidFill>
                  <a:srgbClr val="C09066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8" name="Freihandform: Form 427">
                  <a:extLst>
                    <a:ext uri="{FF2B5EF4-FFF2-40B4-BE49-F238E27FC236}">
                      <a16:creationId xmlns:a16="http://schemas.microsoft.com/office/drawing/2014/main" id="{11DB289C-2F40-CF08-DD20-137761ADA0ED}"/>
                    </a:ext>
                  </a:extLst>
                </p:cNvPr>
                <p:cNvSpPr/>
                <p:nvPr/>
              </p:nvSpPr>
              <p:spPr>
                <a:xfrm>
                  <a:off x="11653285" y="2232163"/>
                  <a:ext cx="48738" cy="19839"/>
                </a:xfrm>
                <a:custGeom>
                  <a:avLst/>
                  <a:gdLst>
                    <a:gd name="connsiteX0" fmla="*/ 665 w 48738"/>
                    <a:gd name="connsiteY0" fmla="*/ 0 h 19839"/>
                    <a:gd name="connsiteX1" fmla="*/ 22138 w 48738"/>
                    <a:gd name="connsiteY1" fmla="*/ 6532 h 19839"/>
                    <a:gd name="connsiteX2" fmla="*/ 48147 w 48738"/>
                    <a:gd name="connsiteY2" fmla="*/ 0 h 19839"/>
                    <a:gd name="connsiteX3" fmla="*/ 48147 w 48738"/>
                    <a:gd name="connsiteY3" fmla="*/ 5686 h 19839"/>
                    <a:gd name="connsiteX4" fmla="*/ 22985 w 48738"/>
                    <a:gd name="connsiteY4" fmla="*/ 19839 h 19839"/>
                    <a:gd name="connsiteX5" fmla="*/ 726 w 48738"/>
                    <a:gd name="connsiteY5" fmla="*/ 6291 h 19839"/>
                    <a:gd name="connsiteX6" fmla="*/ 726 w 48738"/>
                    <a:gd name="connsiteY6" fmla="*/ 0 h 198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8738" h="19839">
                      <a:moveTo>
                        <a:pt x="665" y="0"/>
                      </a:moveTo>
                      <a:cubicBezTo>
                        <a:pt x="665" y="0"/>
                        <a:pt x="6835" y="6532"/>
                        <a:pt x="22138" y="6532"/>
                      </a:cubicBezTo>
                      <a:cubicBezTo>
                        <a:pt x="41493" y="6532"/>
                        <a:pt x="48147" y="0"/>
                        <a:pt x="48147" y="0"/>
                      </a:cubicBezTo>
                      <a:cubicBezTo>
                        <a:pt x="48147" y="0"/>
                        <a:pt x="49478" y="1936"/>
                        <a:pt x="48147" y="5686"/>
                      </a:cubicBezTo>
                      <a:cubicBezTo>
                        <a:pt x="47179" y="8347"/>
                        <a:pt x="38772" y="19839"/>
                        <a:pt x="22985" y="19839"/>
                      </a:cubicBezTo>
                      <a:cubicBezTo>
                        <a:pt x="10646" y="19839"/>
                        <a:pt x="2359" y="10162"/>
                        <a:pt x="726" y="6291"/>
                      </a:cubicBezTo>
                      <a:cubicBezTo>
                        <a:pt x="-907" y="2419"/>
                        <a:pt x="726" y="0"/>
                        <a:pt x="726" y="0"/>
                      </a:cubicBez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9" name="Freihandform: Form 428">
                  <a:extLst>
                    <a:ext uri="{FF2B5EF4-FFF2-40B4-BE49-F238E27FC236}">
                      <a16:creationId xmlns:a16="http://schemas.microsoft.com/office/drawing/2014/main" id="{D62FC733-9ADD-EB8A-895E-3250D3D17CB8}"/>
                    </a:ext>
                  </a:extLst>
                </p:cNvPr>
                <p:cNvSpPr/>
                <p:nvPr/>
              </p:nvSpPr>
              <p:spPr>
                <a:xfrm>
                  <a:off x="11697217" y="2129414"/>
                  <a:ext cx="86717" cy="29137"/>
                </a:xfrm>
                <a:custGeom>
                  <a:avLst/>
                  <a:gdLst>
                    <a:gd name="connsiteX0" fmla="*/ 67725 w 86717"/>
                    <a:gd name="connsiteY0" fmla="*/ 10931 h 29137"/>
                    <a:gd name="connsiteX1" fmla="*/ 34518 w 86717"/>
                    <a:gd name="connsiteY1" fmla="*/ 467 h 29137"/>
                    <a:gd name="connsiteX2" fmla="*/ 34518 w 86717"/>
                    <a:gd name="connsiteY2" fmla="*/ 467 h 29137"/>
                    <a:gd name="connsiteX3" fmla="*/ 4760 w 86717"/>
                    <a:gd name="connsiteY3" fmla="*/ 3854 h 29137"/>
                    <a:gd name="connsiteX4" fmla="*/ 2643 w 86717"/>
                    <a:gd name="connsiteY4" fmla="*/ 5487 h 29137"/>
                    <a:gd name="connsiteX5" fmla="*/ 8631 w 86717"/>
                    <a:gd name="connsiteY5" fmla="*/ 20609 h 29137"/>
                    <a:gd name="connsiteX6" fmla="*/ 25567 w 86717"/>
                    <a:gd name="connsiteY6" fmla="*/ 19036 h 29137"/>
                    <a:gd name="connsiteX7" fmla="*/ 65306 w 86717"/>
                    <a:gd name="connsiteY7" fmla="*/ 21335 h 29137"/>
                    <a:gd name="connsiteX8" fmla="*/ 86718 w 86717"/>
                    <a:gd name="connsiteY8" fmla="*/ 29137 h 29137"/>
                    <a:gd name="connsiteX9" fmla="*/ 67665 w 86717"/>
                    <a:gd name="connsiteY9" fmla="*/ 10991 h 29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6717" h="29137">
                      <a:moveTo>
                        <a:pt x="67725" y="10931"/>
                      </a:moveTo>
                      <a:cubicBezTo>
                        <a:pt x="56233" y="3612"/>
                        <a:pt x="43773" y="830"/>
                        <a:pt x="34518" y="467"/>
                      </a:cubicBezTo>
                      <a:lnTo>
                        <a:pt x="34518" y="467"/>
                      </a:lnTo>
                      <a:cubicBezTo>
                        <a:pt x="18671" y="-1106"/>
                        <a:pt x="8207" y="1616"/>
                        <a:pt x="4760" y="3854"/>
                      </a:cubicBezTo>
                      <a:cubicBezTo>
                        <a:pt x="3973" y="4399"/>
                        <a:pt x="3248" y="4943"/>
                        <a:pt x="2643" y="5487"/>
                      </a:cubicBezTo>
                      <a:cubicBezTo>
                        <a:pt x="-2983" y="10871"/>
                        <a:pt x="1010" y="20790"/>
                        <a:pt x="8631" y="20609"/>
                      </a:cubicBezTo>
                      <a:cubicBezTo>
                        <a:pt x="12139" y="20548"/>
                        <a:pt x="20668" y="19580"/>
                        <a:pt x="25567" y="19036"/>
                      </a:cubicBezTo>
                      <a:cubicBezTo>
                        <a:pt x="34095" y="18129"/>
                        <a:pt x="58350" y="19399"/>
                        <a:pt x="65306" y="21335"/>
                      </a:cubicBezTo>
                      <a:cubicBezTo>
                        <a:pt x="78916" y="25024"/>
                        <a:pt x="86718" y="29137"/>
                        <a:pt x="86718" y="29137"/>
                      </a:cubicBezTo>
                      <a:cubicBezTo>
                        <a:pt x="86718" y="29137"/>
                        <a:pt x="83028" y="20790"/>
                        <a:pt x="67665" y="10991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0" name="Freihandform: Form 429">
                  <a:extLst>
                    <a:ext uri="{FF2B5EF4-FFF2-40B4-BE49-F238E27FC236}">
                      <a16:creationId xmlns:a16="http://schemas.microsoft.com/office/drawing/2014/main" id="{8ACAC81A-C909-2C02-CA2A-5CAC3C99FB83}"/>
                    </a:ext>
                  </a:extLst>
                </p:cNvPr>
                <p:cNvSpPr/>
                <p:nvPr/>
              </p:nvSpPr>
              <p:spPr>
                <a:xfrm>
                  <a:off x="11633687" y="2269845"/>
                  <a:ext cx="95568" cy="44941"/>
                </a:xfrm>
                <a:custGeom>
                  <a:avLst/>
                  <a:gdLst>
                    <a:gd name="connsiteX0" fmla="*/ 0 w 95568"/>
                    <a:gd name="connsiteY0" fmla="*/ 4961 h 44941"/>
                    <a:gd name="connsiteX1" fmla="*/ 36170 w 95568"/>
                    <a:gd name="connsiteY1" fmla="*/ 545 h 44941"/>
                    <a:gd name="connsiteX2" fmla="*/ 45607 w 95568"/>
                    <a:gd name="connsiteY2" fmla="*/ 3630 h 44941"/>
                    <a:gd name="connsiteX3" fmla="*/ 54498 w 95568"/>
                    <a:gd name="connsiteY3" fmla="*/ 1 h 44941"/>
                    <a:gd name="connsiteX4" fmla="*/ 95568 w 95568"/>
                    <a:gd name="connsiteY4" fmla="*/ 5263 h 44941"/>
                    <a:gd name="connsiteX5" fmla="*/ 44396 w 95568"/>
                    <a:gd name="connsiteY5" fmla="*/ 44942 h 44941"/>
                    <a:gd name="connsiteX6" fmla="*/ 61 w 95568"/>
                    <a:gd name="connsiteY6" fmla="*/ 4900 h 449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5568" h="44941">
                      <a:moveTo>
                        <a:pt x="0" y="4961"/>
                      </a:moveTo>
                      <a:cubicBezTo>
                        <a:pt x="0" y="4961"/>
                        <a:pt x="12339" y="2602"/>
                        <a:pt x="36170" y="545"/>
                      </a:cubicBezTo>
                      <a:cubicBezTo>
                        <a:pt x="38046" y="364"/>
                        <a:pt x="40163" y="3811"/>
                        <a:pt x="45607" y="3630"/>
                      </a:cubicBezTo>
                      <a:cubicBezTo>
                        <a:pt x="52139" y="3448"/>
                        <a:pt x="52381" y="-60"/>
                        <a:pt x="54498" y="1"/>
                      </a:cubicBezTo>
                      <a:cubicBezTo>
                        <a:pt x="80144" y="908"/>
                        <a:pt x="95568" y="5263"/>
                        <a:pt x="95568" y="5263"/>
                      </a:cubicBezTo>
                      <a:cubicBezTo>
                        <a:pt x="95568" y="5263"/>
                        <a:pt x="82865" y="44942"/>
                        <a:pt x="44396" y="44942"/>
                      </a:cubicBezTo>
                      <a:cubicBezTo>
                        <a:pt x="9799" y="44942"/>
                        <a:pt x="61" y="4900"/>
                        <a:pt x="61" y="4900"/>
                      </a:cubicBezTo>
                      <a:close/>
                    </a:path>
                  </a:pathLst>
                </a:custGeom>
                <a:solidFill>
                  <a:srgbClr val="F2BBB3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1" name="Freihandform: Form 430">
                  <a:extLst>
                    <a:ext uri="{FF2B5EF4-FFF2-40B4-BE49-F238E27FC236}">
                      <a16:creationId xmlns:a16="http://schemas.microsoft.com/office/drawing/2014/main" id="{FCB2066D-1F53-8F65-0871-64C8D203F859}"/>
                    </a:ext>
                  </a:extLst>
                </p:cNvPr>
                <p:cNvSpPr/>
                <p:nvPr/>
              </p:nvSpPr>
              <p:spPr>
                <a:xfrm rot="-5166000">
                  <a:off x="11600716" y="2174957"/>
                  <a:ext cx="24920" cy="23468"/>
                </a:xfrm>
                <a:custGeom>
                  <a:avLst/>
                  <a:gdLst>
                    <a:gd name="connsiteX0" fmla="*/ 24920 w 24920"/>
                    <a:gd name="connsiteY0" fmla="*/ 11734 h 23468"/>
                    <a:gd name="connsiteX1" fmla="*/ 12459 w 24920"/>
                    <a:gd name="connsiteY1" fmla="*/ 23469 h 23468"/>
                    <a:gd name="connsiteX2" fmla="*/ -1 w 24920"/>
                    <a:gd name="connsiteY2" fmla="*/ 11734 h 23468"/>
                    <a:gd name="connsiteX3" fmla="*/ 12459 w 24920"/>
                    <a:gd name="connsiteY3" fmla="*/ 0 h 23468"/>
                    <a:gd name="connsiteX4" fmla="*/ 24920 w 24920"/>
                    <a:gd name="connsiteY4" fmla="*/ 11734 h 234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920" h="23468">
                      <a:moveTo>
                        <a:pt x="24920" y="11734"/>
                      </a:moveTo>
                      <a:cubicBezTo>
                        <a:pt x="24920" y="18215"/>
                        <a:pt x="19342" y="23469"/>
                        <a:pt x="12459" y="23469"/>
                      </a:cubicBezTo>
                      <a:cubicBezTo>
                        <a:pt x="5578" y="23469"/>
                        <a:pt x="-1" y="18215"/>
                        <a:pt x="-1" y="11734"/>
                      </a:cubicBezTo>
                      <a:cubicBezTo>
                        <a:pt x="-1" y="5254"/>
                        <a:pt x="5577" y="0"/>
                        <a:pt x="12459" y="0"/>
                      </a:cubicBezTo>
                      <a:cubicBezTo>
                        <a:pt x="19341" y="0"/>
                        <a:pt x="24920" y="5254"/>
                        <a:pt x="24920" y="11734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2" name="Freihandform: Form 431">
                  <a:extLst>
                    <a:ext uri="{FF2B5EF4-FFF2-40B4-BE49-F238E27FC236}">
                      <a16:creationId xmlns:a16="http://schemas.microsoft.com/office/drawing/2014/main" id="{E6D4D04F-2123-A5E0-F059-08DE74C6C3F1}"/>
                    </a:ext>
                  </a:extLst>
                </p:cNvPr>
                <p:cNvSpPr/>
                <p:nvPr/>
              </p:nvSpPr>
              <p:spPr>
                <a:xfrm>
                  <a:off x="11570056" y="2130443"/>
                  <a:ext cx="86657" cy="29137"/>
                </a:xfrm>
                <a:custGeom>
                  <a:avLst/>
                  <a:gdLst>
                    <a:gd name="connsiteX0" fmla="*/ 19053 w 86657"/>
                    <a:gd name="connsiteY0" fmla="*/ 10931 h 29137"/>
                    <a:gd name="connsiteX1" fmla="*/ 52199 w 86657"/>
                    <a:gd name="connsiteY1" fmla="*/ 467 h 29137"/>
                    <a:gd name="connsiteX2" fmla="*/ 52199 w 86657"/>
                    <a:gd name="connsiteY2" fmla="*/ 467 h 29137"/>
                    <a:gd name="connsiteX3" fmla="*/ 81898 w 86657"/>
                    <a:gd name="connsiteY3" fmla="*/ 3854 h 29137"/>
                    <a:gd name="connsiteX4" fmla="*/ 84015 w 86657"/>
                    <a:gd name="connsiteY4" fmla="*/ 5487 h 29137"/>
                    <a:gd name="connsiteX5" fmla="*/ 78027 w 86657"/>
                    <a:gd name="connsiteY5" fmla="*/ 20609 h 29137"/>
                    <a:gd name="connsiteX6" fmla="*/ 61151 w 86657"/>
                    <a:gd name="connsiteY6" fmla="*/ 19036 h 29137"/>
                    <a:gd name="connsiteX7" fmla="*/ 21412 w 86657"/>
                    <a:gd name="connsiteY7" fmla="*/ 21335 h 29137"/>
                    <a:gd name="connsiteX8" fmla="*/ 0 w 86657"/>
                    <a:gd name="connsiteY8" fmla="*/ 29137 h 29137"/>
                    <a:gd name="connsiteX9" fmla="*/ 18993 w 86657"/>
                    <a:gd name="connsiteY9" fmla="*/ 10991 h 29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6657" h="29137">
                      <a:moveTo>
                        <a:pt x="19053" y="10931"/>
                      </a:moveTo>
                      <a:cubicBezTo>
                        <a:pt x="30546" y="3612"/>
                        <a:pt x="43005" y="830"/>
                        <a:pt x="52199" y="467"/>
                      </a:cubicBezTo>
                      <a:lnTo>
                        <a:pt x="52199" y="467"/>
                      </a:lnTo>
                      <a:cubicBezTo>
                        <a:pt x="67986" y="-1106"/>
                        <a:pt x="78511" y="1616"/>
                        <a:pt x="81898" y="3854"/>
                      </a:cubicBezTo>
                      <a:cubicBezTo>
                        <a:pt x="82685" y="4399"/>
                        <a:pt x="83410" y="4943"/>
                        <a:pt x="84015" y="5487"/>
                      </a:cubicBezTo>
                      <a:cubicBezTo>
                        <a:pt x="89641" y="10871"/>
                        <a:pt x="85648" y="20790"/>
                        <a:pt x="78027" y="20609"/>
                      </a:cubicBezTo>
                      <a:cubicBezTo>
                        <a:pt x="74519" y="20548"/>
                        <a:pt x="65990" y="19581"/>
                        <a:pt x="61151" y="19036"/>
                      </a:cubicBezTo>
                      <a:cubicBezTo>
                        <a:pt x="52623" y="18129"/>
                        <a:pt x="28368" y="19399"/>
                        <a:pt x="21412" y="21335"/>
                      </a:cubicBezTo>
                      <a:cubicBezTo>
                        <a:pt x="7803" y="25024"/>
                        <a:pt x="0" y="29137"/>
                        <a:pt x="0" y="29137"/>
                      </a:cubicBezTo>
                      <a:cubicBezTo>
                        <a:pt x="0" y="29137"/>
                        <a:pt x="3690" y="20790"/>
                        <a:pt x="18993" y="10991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3" name="Freihandform: Form 432">
                  <a:extLst>
                    <a:ext uri="{FF2B5EF4-FFF2-40B4-BE49-F238E27FC236}">
                      <a16:creationId xmlns:a16="http://schemas.microsoft.com/office/drawing/2014/main" id="{F8A28D57-E002-B021-EBB4-1EF3773767E0}"/>
                    </a:ext>
                  </a:extLst>
                </p:cNvPr>
                <p:cNvSpPr/>
                <p:nvPr/>
              </p:nvSpPr>
              <p:spPr>
                <a:xfrm>
                  <a:off x="11580553" y="2168491"/>
                  <a:ext cx="64100" cy="16950"/>
                </a:xfrm>
                <a:custGeom>
                  <a:avLst/>
                  <a:gdLst>
                    <a:gd name="connsiteX0" fmla="*/ 2085 w 64100"/>
                    <a:gd name="connsiteY0" fmla="*/ 10989 h 16950"/>
                    <a:gd name="connsiteX1" fmla="*/ 28637 w 64100"/>
                    <a:gd name="connsiteY1" fmla="*/ 101 h 16950"/>
                    <a:gd name="connsiteX2" fmla="*/ 62631 w 64100"/>
                    <a:gd name="connsiteY2" fmla="*/ 10807 h 16950"/>
                    <a:gd name="connsiteX3" fmla="*/ 60574 w 64100"/>
                    <a:gd name="connsiteY3" fmla="*/ 16614 h 16950"/>
                    <a:gd name="connsiteX4" fmla="*/ 33598 w 64100"/>
                    <a:gd name="connsiteY4" fmla="*/ 7178 h 16950"/>
                    <a:gd name="connsiteX5" fmla="*/ 6742 w 64100"/>
                    <a:gd name="connsiteY5" fmla="*/ 13166 h 16950"/>
                    <a:gd name="connsiteX6" fmla="*/ 814 w 64100"/>
                    <a:gd name="connsiteY6" fmla="*/ 15767 h 16950"/>
                    <a:gd name="connsiteX7" fmla="*/ 2085 w 64100"/>
                    <a:gd name="connsiteY7" fmla="*/ 10928 h 16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4100" h="16950">
                      <a:moveTo>
                        <a:pt x="2085" y="10989"/>
                      </a:moveTo>
                      <a:cubicBezTo>
                        <a:pt x="5049" y="7965"/>
                        <a:pt x="14847" y="888"/>
                        <a:pt x="28637" y="101"/>
                      </a:cubicBezTo>
                      <a:cubicBezTo>
                        <a:pt x="47449" y="-927"/>
                        <a:pt x="58215" y="6090"/>
                        <a:pt x="62631" y="10807"/>
                      </a:cubicBezTo>
                      <a:cubicBezTo>
                        <a:pt x="65837" y="14255"/>
                        <a:pt x="63175" y="18126"/>
                        <a:pt x="60574" y="16614"/>
                      </a:cubicBezTo>
                      <a:cubicBezTo>
                        <a:pt x="53800" y="12743"/>
                        <a:pt x="50171" y="9174"/>
                        <a:pt x="33598" y="7178"/>
                      </a:cubicBezTo>
                      <a:cubicBezTo>
                        <a:pt x="21984" y="5787"/>
                        <a:pt x="10976" y="10807"/>
                        <a:pt x="6742" y="13166"/>
                      </a:cubicBezTo>
                      <a:cubicBezTo>
                        <a:pt x="3476" y="14981"/>
                        <a:pt x="1843" y="16493"/>
                        <a:pt x="814" y="15767"/>
                      </a:cubicBezTo>
                      <a:cubicBezTo>
                        <a:pt x="-1000" y="14437"/>
                        <a:pt x="573" y="12501"/>
                        <a:pt x="2085" y="1092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4" name="Freihandform: Form 433">
                  <a:extLst>
                    <a:ext uri="{FF2B5EF4-FFF2-40B4-BE49-F238E27FC236}">
                      <a16:creationId xmlns:a16="http://schemas.microsoft.com/office/drawing/2014/main" id="{5B6DA4F7-B3FD-BA8F-12FC-1839E1E91EE5}"/>
                    </a:ext>
                  </a:extLst>
                </p:cNvPr>
                <p:cNvSpPr/>
                <p:nvPr/>
              </p:nvSpPr>
              <p:spPr>
                <a:xfrm rot="-234000">
                  <a:off x="11725754" y="2174535"/>
                  <a:ext cx="23468" cy="24920"/>
                </a:xfrm>
                <a:custGeom>
                  <a:avLst/>
                  <a:gdLst>
                    <a:gd name="connsiteX0" fmla="*/ 23468 w 23468"/>
                    <a:gd name="connsiteY0" fmla="*/ 12460 h 24920"/>
                    <a:gd name="connsiteX1" fmla="*/ 11734 w 23468"/>
                    <a:gd name="connsiteY1" fmla="*/ 24920 h 24920"/>
                    <a:gd name="connsiteX2" fmla="*/ 1 w 23468"/>
                    <a:gd name="connsiteY2" fmla="*/ 12460 h 24920"/>
                    <a:gd name="connsiteX3" fmla="*/ 11734 w 23468"/>
                    <a:gd name="connsiteY3" fmla="*/ 0 h 24920"/>
                    <a:gd name="connsiteX4" fmla="*/ 23468 w 23468"/>
                    <a:gd name="connsiteY4" fmla="*/ 12460 h 249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468" h="24920">
                      <a:moveTo>
                        <a:pt x="23468" y="12460"/>
                      </a:moveTo>
                      <a:cubicBezTo>
                        <a:pt x="23468" y="19342"/>
                        <a:pt x="18215" y="24920"/>
                        <a:pt x="11734" y="24920"/>
                      </a:cubicBezTo>
                      <a:cubicBezTo>
                        <a:pt x="5254" y="24920"/>
                        <a:pt x="1" y="19342"/>
                        <a:pt x="1" y="12460"/>
                      </a:cubicBezTo>
                      <a:cubicBezTo>
                        <a:pt x="1" y="5579"/>
                        <a:pt x="5254" y="0"/>
                        <a:pt x="11734" y="0"/>
                      </a:cubicBezTo>
                      <a:cubicBezTo>
                        <a:pt x="18215" y="0"/>
                        <a:pt x="23468" y="5579"/>
                        <a:pt x="23468" y="12460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5" name="Freihandform: Form 434">
                  <a:extLst>
                    <a:ext uri="{FF2B5EF4-FFF2-40B4-BE49-F238E27FC236}">
                      <a16:creationId xmlns:a16="http://schemas.microsoft.com/office/drawing/2014/main" id="{529D2417-B19C-AB4C-AE06-4DFFD7F6C750}"/>
                    </a:ext>
                  </a:extLst>
                </p:cNvPr>
                <p:cNvSpPr/>
                <p:nvPr/>
              </p:nvSpPr>
              <p:spPr>
                <a:xfrm>
                  <a:off x="11706252" y="2168491"/>
                  <a:ext cx="64101" cy="16950"/>
                </a:xfrm>
                <a:custGeom>
                  <a:avLst/>
                  <a:gdLst>
                    <a:gd name="connsiteX0" fmla="*/ 62017 w 64101"/>
                    <a:gd name="connsiteY0" fmla="*/ 10989 h 16950"/>
                    <a:gd name="connsiteX1" fmla="*/ 35463 w 64101"/>
                    <a:gd name="connsiteY1" fmla="*/ 101 h 16950"/>
                    <a:gd name="connsiteX2" fmla="*/ 1470 w 64101"/>
                    <a:gd name="connsiteY2" fmla="*/ 10807 h 16950"/>
                    <a:gd name="connsiteX3" fmla="*/ 3526 w 64101"/>
                    <a:gd name="connsiteY3" fmla="*/ 16614 h 16950"/>
                    <a:gd name="connsiteX4" fmla="*/ 30504 w 64101"/>
                    <a:gd name="connsiteY4" fmla="*/ 7178 h 16950"/>
                    <a:gd name="connsiteX5" fmla="*/ 57359 w 64101"/>
                    <a:gd name="connsiteY5" fmla="*/ 13166 h 16950"/>
                    <a:gd name="connsiteX6" fmla="*/ 63287 w 64101"/>
                    <a:gd name="connsiteY6" fmla="*/ 15767 h 16950"/>
                    <a:gd name="connsiteX7" fmla="*/ 62017 w 64101"/>
                    <a:gd name="connsiteY7" fmla="*/ 10928 h 16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4101" h="16950">
                      <a:moveTo>
                        <a:pt x="62017" y="10989"/>
                      </a:moveTo>
                      <a:cubicBezTo>
                        <a:pt x="59053" y="7965"/>
                        <a:pt x="49254" y="888"/>
                        <a:pt x="35463" y="101"/>
                      </a:cubicBezTo>
                      <a:cubicBezTo>
                        <a:pt x="16652" y="-927"/>
                        <a:pt x="5885" y="6090"/>
                        <a:pt x="1470" y="10807"/>
                      </a:cubicBezTo>
                      <a:cubicBezTo>
                        <a:pt x="-1736" y="14255"/>
                        <a:pt x="926" y="18126"/>
                        <a:pt x="3526" y="16614"/>
                      </a:cubicBezTo>
                      <a:cubicBezTo>
                        <a:pt x="10301" y="12743"/>
                        <a:pt x="13931" y="9174"/>
                        <a:pt x="30504" y="7178"/>
                      </a:cubicBezTo>
                      <a:cubicBezTo>
                        <a:pt x="42116" y="5787"/>
                        <a:pt x="53125" y="10807"/>
                        <a:pt x="57359" y="13166"/>
                      </a:cubicBezTo>
                      <a:cubicBezTo>
                        <a:pt x="60625" y="14981"/>
                        <a:pt x="62259" y="16493"/>
                        <a:pt x="63287" y="15767"/>
                      </a:cubicBezTo>
                      <a:cubicBezTo>
                        <a:pt x="65101" y="14437"/>
                        <a:pt x="63529" y="12501"/>
                        <a:pt x="62017" y="10928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6" name="Freihandform: Form 435">
                  <a:extLst>
                    <a:ext uri="{FF2B5EF4-FFF2-40B4-BE49-F238E27FC236}">
                      <a16:creationId xmlns:a16="http://schemas.microsoft.com/office/drawing/2014/main" id="{8E6CB3BF-B38B-0D33-638C-E3406A7E3FA9}"/>
                    </a:ext>
                  </a:extLst>
                </p:cNvPr>
                <p:cNvSpPr/>
                <p:nvPr/>
              </p:nvSpPr>
              <p:spPr>
                <a:xfrm>
                  <a:off x="11643728" y="2279947"/>
                  <a:ext cx="75425" cy="18026"/>
                </a:xfrm>
                <a:custGeom>
                  <a:avLst/>
                  <a:gdLst>
                    <a:gd name="connsiteX0" fmla="*/ 61 w 75425"/>
                    <a:gd name="connsiteY0" fmla="*/ 0 h 18026"/>
                    <a:gd name="connsiteX1" fmla="*/ 75426 w 75425"/>
                    <a:gd name="connsiteY1" fmla="*/ 0 h 18026"/>
                    <a:gd name="connsiteX2" fmla="*/ 36533 w 75425"/>
                    <a:gd name="connsiteY2" fmla="*/ 18025 h 18026"/>
                    <a:gd name="connsiteX3" fmla="*/ 0 w 75425"/>
                    <a:gd name="connsiteY3" fmla="*/ 0 h 18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5425" h="18026">
                      <a:moveTo>
                        <a:pt x="61" y="0"/>
                      </a:moveTo>
                      <a:cubicBezTo>
                        <a:pt x="28731" y="3266"/>
                        <a:pt x="42340" y="3145"/>
                        <a:pt x="75426" y="0"/>
                      </a:cubicBezTo>
                      <a:cubicBezTo>
                        <a:pt x="75426" y="0"/>
                        <a:pt x="64054" y="17843"/>
                        <a:pt x="36533" y="18025"/>
                      </a:cubicBezTo>
                      <a:cubicBezTo>
                        <a:pt x="19355" y="18146"/>
                        <a:pt x="9012" y="10646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7" name="Freihandform: Form 436">
                  <a:extLst>
                    <a:ext uri="{FF2B5EF4-FFF2-40B4-BE49-F238E27FC236}">
                      <a16:creationId xmlns:a16="http://schemas.microsoft.com/office/drawing/2014/main" id="{19320AE6-4B7A-A16F-D575-2AAFAFFE7139}"/>
                    </a:ext>
                  </a:extLst>
                </p:cNvPr>
                <p:cNvSpPr/>
                <p:nvPr/>
              </p:nvSpPr>
              <p:spPr>
                <a:xfrm>
                  <a:off x="11573867" y="1928127"/>
                  <a:ext cx="300796" cy="234231"/>
                </a:xfrm>
                <a:custGeom>
                  <a:avLst/>
                  <a:gdLst>
                    <a:gd name="connsiteX0" fmla="*/ 61 w 300796"/>
                    <a:gd name="connsiteY0" fmla="*/ 61185 h 234231"/>
                    <a:gd name="connsiteX1" fmla="*/ 196458 w 300796"/>
                    <a:gd name="connsiteY1" fmla="*/ 219417 h 234231"/>
                    <a:gd name="connsiteX2" fmla="*/ 300797 w 300796"/>
                    <a:gd name="connsiteY2" fmla="*/ 230123 h 234231"/>
                    <a:gd name="connsiteX3" fmla="*/ 275090 w 300796"/>
                    <a:gd name="connsiteY3" fmla="*/ 135220 h 234231"/>
                    <a:gd name="connsiteX4" fmla="*/ 0 w 300796"/>
                    <a:gd name="connsiteY4" fmla="*/ 61185 h 2342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0796" h="234231">
                      <a:moveTo>
                        <a:pt x="61" y="61185"/>
                      </a:moveTo>
                      <a:cubicBezTo>
                        <a:pt x="-2843" y="129172"/>
                        <a:pt x="103250" y="194254"/>
                        <a:pt x="196458" y="219417"/>
                      </a:cubicBezTo>
                      <a:cubicBezTo>
                        <a:pt x="289667" y="244518"/>
                        <a:pt x="300797" y="230123"/>
                        <a:pt x="300797" y="230123"/>
                      </a:cubicBezTo>
                      <a:cubicBezTo>
                        <a:pt x="300797" y="230123"/>
                        <a:pt x="277812" y="221836"/>
                        <a:pt x="275090" y="135220"/>
                      </a:cubicBezTo>
                      <a:cubicBezTo>
                        <a:pt x="272005" y="37354"/>
                        <a:pt x="118129" y="-70735"/>
                        <a:pt x="0" y="61185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8" name="Freihandform: Form 437">
                  <a:extLst>
                    <a:ext uri="{FF2B5EF4-FFF2-40B4-BE49-F238E27FC236}">
                      <a16:creationId xmlns:a16="http://schemas.microsoft.com/office/drawing/2014/main" id="{A0E215A1-9C02-60DF-999E-CBF7FA7D4AFC}"/>
                    </a:ext>
                  </a:extLst>
                </p:cNvPr>
                <p:cNvSpPr/>
                <p:nvPr/>
              </p:nvSpPr>
              <p:spPr>
                <a:xfrm>
                  <a:off x="11301257" y="2440900"/>
                  <a:ext cx="766961" cy="1169315"/>
                </a:xfrm>
                <a:custGeom>
                  <a:avLst/>
                  <a:gdLst>
                    <a:gd name="connsiteX0" fmla="*/ 110749 w 766961"/>
                    <a:gd name="connsiteY0" fmla="*/ 634680 h 1169315"/>
                    <a:gd name="connsiteX1" fmla="*/ 0 w 766961"/>
                    <a:gd name="connsiteY1" fmla="*/ 1169315 h 1169315"/>
                    <a:gd name="connsiteX2" fmla="*/ 766962 w 766961"/>
                    <a:gd name="connsiteY2" fmla="*/ 1169315 h 1169315"/>
                    <a:gd name="connsiteX3" fmla="*/ 659962 w 766961"/>
                    <a:gd name="connsiteY3" fmla="*/ 653794 h 1169315"/>
                    <a:gd name="connsiteX4" fmla="*/ 722565 w 766961"/>
                    <a:gd name="connsiteY4" fmla="*/ 82625 h 1169315"/>
                    <a:gd name="connsiteX5" fmla="*/ 508929 w 766961"/>
                    <a:gd name="connsiteY5" fmla="*/ 908 h 1169315"/>
                    <a:gd name="connsiteX6" fmla="*/ 494594 w 766961"/>
                    <a:gd name="connsiteY6" fmla="*/ 5384 h 1169315"/>
                    <a:gd name="connsiteX7" fmla="*/ 380094 w 766961"/>
                    <a:gd name="connsiteY7" fmla="*/ 133130 h 1169315"/>
                    <a:gd name="connsiteX8" fmla="*/ 272368 w 766961"/>
                    <a:gd name="connsiteY8" fmla="*/ 5082 h 1169315"/>
                    <a:gd name="connsiteX9" fmla="*/ 261360 w 766961"/>
                    <a:gd name="connsiteY9" fmla="*/ 1452 h 1169315"/>
                    <a:gd name="connsiteX10" fmla="*/ 45909 w 766961"/>
                    <a:gd name="connsiteY10" fmla="*/ 79721 h 1169315"/>
                    <a:gd name="connsiteX11" fmla="*/ 110871 w 766961"/>
                    <a:gd name="connsiteY11" fmla="*/ 634801 h 1169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766961" h="1169315">
                      <a:moveTo>
                        <a:pt x="110749" y="634680"/>
                      </a:moveTo>
                      <a:cubicBezTo>
                        <a:pt x="21351" y="876745"/>
                        <a:pt x="3145" y="1117539"/>
                        <a:pt x="0" y="1169315"/>
                      </a:cubicBezTo>
                      <a:lnTo>
                        <a:pt x="766962" y="1169315"/>
                      </a:lnTo>
                      <a:cubicBezTo>
                        <a:pt x="762849" y="1116995"/>
                        <a:pt x="736597" y="804464"/>
                        <a:pt x="659962" y="653794"/>
                      </a:cubicBezTo>
                      <a:cubicBezTo>
                        <a:pt x="619436" y="574134"/>
                        <a:pt x="722565" y="82625"/>
                        <a:pt x="722565" y="82625"/>
                      </a:cubicBezTo>
                      <a:cubicBezTo>
                        <a:pt x="640788" y="50023"/>
                        <a:pt x="609517" y="37381"/>
                        <a:pt x="508929" y="908"/>
                      </a:cubicBezTo>
                      <a:cubicBezTo>
                        <a:pt x="503425" y="-1088"/>
                        <a:pt x="497497" y="122"/>
                        <a:pt x="494594" y="5384"/>
                      </a:cubicBezTo>
                      <a:cubicBezTo>
                        <a:pt x="476568" y="38409"/>
                        <a:pt x="414450" y="134884"/>
                        <a:pt x="380094" y="133130"/>
                      </a:cubicBezTo>
                      <a:cubicBezTo>
                        <a:pt x="339870" y="131013"/>
                        <a:pt x="286461" y="35748"/>
                        <a:pt x="272368" y="5082"/>
                      </a:cubicBezTo>
                      <a:cubicBezTo>
                        <a:pt x="270372" y="727"/>
                        <a:pt x="265714" y="-181"/>
                        <a:pt x="261360" y="1452"/>
                      </a:cubicBezTo>
                      <a:cubicBezTo>
                        <a:pt x="177829" y="32240"/>
                        <a:pt x="141537" y="44700"/>
                        <a:pt x="45909" y="79721"/>
                      </a:cubicBezTo>
                      <a:cubicBezTo>
                        <a:pt x="45909" y="79721"/>
                        <a:pt x="113532" y="475420"/>
                        <a:pt x="110871" y="634801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9" name="Freihandform: Form 438">
                  <a:extLst>
                    <a:ext uri="{FF2B5EF4-FFF2-40B4-BE49-F238E27FC236}">
                      <a16:creationId xmlns:a16="http://schemas.microsoft.com/office/drawing/2014/main" id="{3B29B9A3-ADF4-02F6-40B9-85326DB13CC0}"/>
                    </a:ext>
                  </a:extLst>
                </p:cNvPr>
                <p:cNvSpPr/>
                <p:nvPr/>
              </p:nvSpPr>
              <p:spPr>
                <a:xfrm>
                  <a:off x="11815932" y="2760992"/>
                  <a:ext cx="126173" cy="70405"/>
                </a:xfrm>
                <a:custGeom>
                  <a:avLst/>
                  <a:gdLst>
                    <a:gd name="connsiteX0" fmla="*/ 0 w 126173"/>
                    <a:gd name="connsiteY0" fmla="*/ 0 h 70405"/>
                    <a:gd name="connsiteX1" fmla="*/ 126174 w 126173"/>
                    <a:gd name="connsiteY1" fmla="*/ 0 h 70405"/>
                    <a:gd name="connsiteX2" fmla="*/ 126174 w 126173"/>
                    <a:gd name="connsiteY2" fmla="*/ 70406 h 70405"/>
                    <a:gd name="connsiteX3" fmla="*/ 0 w 126173"/>
                    <a:gd name="connsiteY3" fmla="*/ 70406 h 70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6173" h="70405">
                      <a:moveTo>
                        <a:pt x="0" y="0"/>
                      </a:moveTo>
                      <a:lnTo>
                        <a:pt x="126174" y="0"/>
                      </a:lnTo>
                      <a:lnTo>
                        <a:pt x="126174" y="70406"/>
                      </a:lnTo>
                      <a:lnTo>
                        <a:pt x="0" y="7040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0" name="Freihandform: Form 439">
                  <a:extLst>
                    <a:ext uri="{FF2B5EF4-FFF2-40B4-BE49-F238E27FC236}">
                      <a16:creationId xmlns:a16="http://schemas.microsoft.com/office/drawing/2014/main" id="{9DFE3A5F-96DA-DBF2-6D77-6A61FFE38191}"/>
                    </a:ext>
                  </a:extLst>
                </p:cNvPr>
                <p:cNvSpPr/>
                <p:nvPr/>
              </p:nvSpPr>
              <p:spPr>
                <a:xfrm>
                  <a:off x="11765212" y="2760932"/>
                  <a:ext cx="162195" cy="183574"/>
                </a:xfrm>
                <a:custGeom>
                  <a:avLst/>
                  <a:gdLst>
                    <a:gd name="connsiteX0" fmla="*/ 16183 w 162195"/>
                    <a:gd name="connsiteY0" fmla="*/ 60 h 183574"/>
                    <a:gd name="connsiteX1" fmla="*/ 16848 w 162195"/>
                    <a:gd name="connsiteY1" fmla="*/ 136517 h 183574"/>
                    <a:gd name="connsiteX2" fmla="*/ 95601 w 162195"/>
                    <a:gd name="connsiteY2" fmla="*/ 176075 h 183574"/>
                    <a:gd name="connsiteX3" fmla="*/ 162196 w 162195"/>
                    <a:gd name="connsiteY3" fmla="*/ 171538 h 183574"/>
                    <a:gd name="connsiteX4" fmla="*/ 162196 w 162195"/>
                    <a:gd name="connsiteY4" fmla="*/ 171538 h 183574"/>
                    <a:gd name="connsiteX5" fmla="*/ 94936 w 162195"/>
                    <a:gd name="connsiteY5" fmla="*/ 183575 h 183574"/>
                    <a:gd name="connsiteX6" fmla="*/ 7472 w 162195"/>
                    <a:gd name="connsiteY6" fmla="*/ 143836 h 183574"/>
                    <a:gd name="connsiteX7" fmla="*/ 577 w 162195"/>
                    <a:gd name="connsiteY7" fmla="*/ 6170 h 183574"/>
                    <a:gd name="connsiteX8" fmla="*/ 16183 w 162195"/>
                    <a:gd name="connsiteY8" fmla="*/ 0 h 1835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2195" h="183574">
                      <a:moveTo>
                        <a:pt x="16183" y="60"/>
                      </a:moveTo>
                      <a:lnTo>
                        <a:pt x="16848" y="136517"/>
                      </a:lnTo>
                      <a:lnTo>
                        <a:pt x="95601" y="176075"/>
                      </a:lnTo>
                      <a:lnTo>
                        <a:pt x="162196" y="171538"/>
                      </a:lnTo>
                      <a:lnTo>
                        <a:pt x="162196" y="171538"/>
                      </a:lnTo>
                      <a:lnTo>
                        <a:pt x="94936" y="183575"/>
                      </a:lnTo>
                      <a:cubicBezTo>
                        <a:pt x="94936" y="183575"/>
                        <a:pt x="12191" y="148795"/>
                        <a:pt x="7472" y="143836"/>
                      </a:cubicBezTo>
                      <a:cubicBezTo>
                        <a:pt x="2754" y="138876"/>
                        <a:pt x="-1600" y="10404"/>
                        <a:pt x="577" y="6170"/>
                      </a:cubicBezTo>
                      <a:cubicBezTo>
                        <a:pt x="2754" y="1936"/>
                        <a:pt x="16183" y="0"/>
                        <a:pt x="16183" y="0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1" name="Freihandform: Form 440">
                  <a:extLst>
                    <a:ext uri="{FF2B5EF4-FFF2-40B4-BE49-F238E27FC236}">
                      <a16:creationId xmlns:a16="http://schemas.microsoft.com/office/drawing/2014/main" id="{5FFA8577-DF53-8934-8FD6-2F709CD57E54}"/>
                    </a:ext>
                  </a:extLst>
                </p:cNvPr>
                <p:cNvSpPr/>
                <p:nvPr/>
              </p:nvSpPr>
              <p:spPr>
                <a:xfrm>
                  <a:off x="11431785" y="2402008"/>
                  <a:ext cx="233899" cy="653611"/>
                </a:xfrm>
                <a:custGeom>
                  <a:avLst/>
                  <a:gdLst>
                    <a:gd name="connsiteX0" fmla="*/ 217266 w 233899"/>
                    <a:gd name="connsiteY0" fmla="*/ 603287 h 653611"/>
                    <a:gd name="connsiteX1" fmla="*/ 217266 w 233899"/>
                    <a:gd name="connsiteY1" fmla="*/ 493082 h 653611"/>
                    <a:gd name="connsiteX2" fmla="*/ 124661 w 233899"/>
                    <a:gd name="connsiteY2" fmla="*/ 304607 h 653611"/>
                    <a:gd name="connsiteX3" fmla="*/ 80870 w 233899"/>
                    <a:gd name="connsiteY3" fmla="*/ 163191 h 653611"/>
                    <a:gd name="connsiteX4" fmla="*/ 56615 w 233899"/>
                    <a:gd name="connsiteY4" fmla="*/ 111778 h 653611"/>
                    <a:gd name="connsiteX5" fmla="*/ 74639 w 233899"/>
                    <a:gd name="connsiteY5" fmla="*/ 45848 h 653611"/>
                    <a:gd name="connsiteX6" fmla="*/ 160953 w 233899"/>
                    <a:gd name="connsiteY6" fmla="*/ 12097 h 653611"/>
                    <a:gd name="connsiteX7" fmla="*/ 160953 w 233899"/>
                    <a:gd name="connsiteY7" fmla="*/ 0 h 653611"/>
                    <a:gd name="connsiteX8" fmla="*/ 65627 w 233899"/>
                    <a:gd name="connsiteY8" fmla="*/ 37743 h 653611"/>
                    <a:gd name="connsiteX9" fmla="*/ 44518 w 233899"/>
                    <a:gd name="connsiteY9" fmla="*/ 113048 h 653611"/>
                    <a:gd name="connsiteX10" fmla="*/ 71192 w 233899"/>
                    <a:gd name="connsiteY10" fmla="*/ 170570 h 653611"/>
                    <a:gd name="connsiteX11" fmla="*/ 112443 w 233899"/>
                    <a:gd name="connsiteY11" fmla="*/ 304668 h 653611"/>
                    <a:gd name="connsiteX12" fmla="*/ 20021 w 233899"/>
                    <a:gd name="connsiteY12" fmla="*/ 493082 h 653611"/>
                    <a:gd name="connsiteX13" fmla="*/ 20021 w 233899"/>
                    <a:gd name="connsiteY13" fmla="*/ 602259 h 653611"/>
                    <a:gd name="connsiteX14" fmla="*/ 0 w 233899"/>
                    <a:gd name="connsiteY14" fmla="*/ 627542 h 653611"/>
                    <a:gd name="connsiteX15" fmla="*/ 26070 w 233899"/>
                    <a:gd name="connsiteY15" fmla="*/ 653611 h 653611"/>
                    <a:gd name="connsiteX16" fmla="*/ 52139 w 233899"/>
                    <a:gd name="connsiteY16" fmla="*/ 627542 h 653611"/>
                    <a:gd name="connsiteX17" fmla="*/ 32118 w 233899"/>
                    <a:gd name="connsiteY17" fmla="*/ 602259 h 653611"/>
                    <a:gd name="connsiteX18" fmla="*/ 32118 w 233899"/>
                    <a:gd name="connsiteY18" fmla="*/ 493082 h 653611"/>
                    <a:gd name="connsiteX19" fmla="*/ 118552 w 233899"/>
                    <a:gd name="connsiteY19" fmla="*/ 406647 h 653611"/>
                    <a:gd name="connsiteX20" fmla="*/ 204987 w 233899"/>
                    <a:gd name="connsiteY20" fmla="*/ 493082 h 653611"/>
                    <a:gd name="connsiteX21" fmla="*/ 204987 w 233899"/>
                    <a:gd name="connsiteY21" fmla="*/ 601775 h 653611"/>
                    <a:gd name="connsiteX22" fmla="*/ 181761 w 233899"/>
                    <a:gd name="connsiteY22" fmla="*/ 627542 h 653611"/>
                    <a:gd name="connsiteX23" fmla="*/ 207830 w 233899"/>
                    <a:gd name="connsiteY23" fmla="*/ 653611 h 653611"/>
                    <a:gd name="connsiteX24" fmla="*/ 233899 w 233899"/>
                    <a:gd name="connsiteY24" fmla="*/ 627542 h 653611"/>
                    <a:gd name="connsiteX25" fmla="*/ 217145 w 233899"/>
                    <a:gd name="connsiteY25" fmla="*/ 603287 h 653611"/>
                    <a:gd name="connsiteX26" fmla="*/ 118734 w 233899"/>
                    <a:gd name="connsiteY26" fmla="*/ 394550 h 653611"/>
                    <a:gd name="connsiteX27" fmla="*/ 43308 w 233899"/>
                    <a:gd name="connsiteY27" fmla="*/ 429813 h 653611"/>
                    <a:gd name="connsiteX28" fmla="*/ 118734 w 233899"/>
                    <a:gd name="connsiteY28" fmla="*/ 316221 h 653611"/>
                    <a:gd name="connsiteX29" fmla="*/ 194160 w 233899"/>
                    <a:gd name="connsiteY29" fmla="*/ 429813 h 653611"/>
                    <a:gd name="connsiteX30" fmla="*/ 118734 w 233899"/>
                    <a:gd name="connsiteY30" fmla="*/ 394550 h 6536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233899" h="653611">
                      <a:moveTo>
                        <a:pt x="217266" y="603287"/>
                      </a:moveTo>
                      <a:lnTo>
                        <a:pt x="217266" y="493082"/>
                      </a:lnTo>
                      <a:cubicBezTo>
                        <a:pt x="217266" y="447596"/>
                        <a:pt x="180127" y="313741"/>
                        <a:pt x="124661" y="304607"/>
                      </a:cubicBezTo>
                      <a:cubicBezTo>
                        <a:pt x="123634" y="218838"/>
                        <a:pt x="99983" y="187990"/>
                        <a:pt x="80870" y="163191"/>
                      </a:cubicBezTo>
                      <a:cubicBezTo>
                        <a:pt x="68712" y="147404"/>
                        <a:pt x="59095" y="134944"/>
                        <a:pt x="56615" y="111778"/>
                      </a:cubicBezTo>
                      <a:cubicBezTo>
                        <a:pt x="53712" y="84559"/>
                        <a:pt x="59821" y="62422"/>
                        <a:pt x="74639" y="45848"/>
                      </a:cubicBezTo>
                      <a:cubicBezTo>
                        <a:pt x="104459" y="12581"/>
                        <a:pt x="160409" y="12097"/>
                        <a:pt x="160953" y="12097"/>
                      </a:cubicBezTo>
                      <a:lnTo>
                        <a:pt x="160953" y="0"/>
                      </a:lnTo>
                      <a:cubicBezTo>
                        <a:pt x="158413" y="0"/>
                        <a:pt x="99137" y="484"/>
                        <a:pt x="65627" y="37743"/>
                      </a:cubicBezTo>
                      <a:cubicBezTo>
                        <a:pt x="48389" y="56978"/>
                        <a:pt x="41252" y="82321"/>
                        <a:pt x="44518" y="113048"/>
                      </a:cubicBezTo>
                      <a:cubicBezTo>
                        <a:pt x="47360" y="139662"/>
                        <a:pt x="58913" y="154663"/>
                        <a:pt x="71192" y="170570"/>
                      </a:cubicBezTo>
                      <a:cubicBezTo>
                        <a:pt x="90124" y="195128"/>
                        <a:pt x="111536" y="223072"/>
                        <a:pt x="112443" y="304668"/>
                      </a:cubicBezTo>
                      <a:cubicBezTo>
                        <a:pt x="57099" y="314043"/>
                        <a:pt x="20021" y="447657"/>
                        <a:pt x="20021" y="493082"/>
                      </a:cubicBezTo>
                      <a:lnTo>
                        <a:pt x="20021" y="602259"/>
                      </a:lnTo>
                      <a:cubicBezTo>
                        <a:pt x="8589" y="604981"/>
                        <a:pt x="0" y="615263"/>
                        <a:pt x="0" y="627542"/>
                      </a:cubicBezTo>
                      <a:cubicBezTo>
                        <a:pt x="0" y="641938"/>
                        <a:pt x="11674" y="653611"/>
                        <a:pt x="26070" y="653611"/>
                      </a:cubicBezTo>
                      <a:cubicBezTo>
                        <a:pt x="40465" y="653611"/>
                        <a:pt x="52139" y="641938"/>
                        <a:pt x="52139" y="627542"/>
                      </a:cubicBezTo>
                      <a:cubicBezTo>
                        <a:pt x="52139" y="615263"/>
                        <a:pt x="43610" y="604981"/>
                        <a:pt x="32118" y="602259"/>
                      </a:cubicBezTo>
                      <a:lnTo>
                        <a:pt x="32118" y="493082"/>
                      </a:lnTo>
                      <a:cubicBezTo>
                        <a:pt x="32118" y="445419"/>
                        <a:pt x="70889" y="406647"/>
                        <a:pt x="118552" y="406647"/>
                      </a:cubicBezTo>
                      <a:cubicBezTo>
                        <a:pt x="166215" y="406647"/>
                        <a:pt x="204987" y="445419"/>
                        <a:pt x="204987" y="493082"/>
                      </a:cubicBezTo>
                      <a:lnTo>
                        <a:pt x="204987" y="601775"/>
                      </a:lnTo>
                      <a:cubicBezTo>
                        <a:pt x="191922" y="603166"/>
                        <a:pt x="181761" y="614114"/>
                        <a:pt x="181761" y="627542"/>
                      </a:cubicBezTo>
                      <a:cubicBezTo>
                        <a:pt x="181761" y="641938"/>
                        <a:pt x="193434" y="653611"/>
                        <a:pt x="207830" y="653611"/>
                      </a:cubicBezTo>
                      <a:cubicBezTo>
                        <a:pt x="222225" y="653611"/>
                        <a:pt x="233899" y="641938"/>
                        <a:pt x="233899" y="627542"/>
                      </a:cubicBezTo>
                      <a:cubicBezTo>
                        <a:pt x="233899" y="616412"/>
                        <a:pt x="226943" y="607037"/>
                        <a:pt x="217145" y="603287"/>
                      </a:cubicBezTo>
                      <a:close/>
                      <a:moveTo>
                        <a:pt x="118734" y="394550"/>
                      </a:moveTo>
                      <a:cubicBezTo>
                        <a:pt x="88491" y="394550"/>
                        <a:pt x="61393" y="408280"/>
                        <a:pt x="43308" y="429813"/>
                      </a:cubicBezTo>
                      <a:cubicBezTo>
                        <a:pt x="58490" y="376162"/>
                        <a:pt x="87644" y="316221"/>
                        <a:pt x="118734" y="316221"/>
                      </a:cubicBezTo>
                      <a:cubicBezTo>
                        <a:pt x="149824" y="316221"/>
                        <a:pt x="178978" y="376223"/>
                        <a:pt x="194160" y="429813"/>
                      </a:cubicBezTo>
                      <a:cubicBezTo>
                        <a:pt x="176075" y="408280"/>
                        <a:pt x="148977" y="394550"/>
                        <a:pt x="118734" y="394550"/>
                      </a:cubicBezTo>
                      <a:close/>
                    </a:path>
                  </a:pathLst>
                </a:custGeom>
                <a:solidFill>
                  <a:srgbClr val="F19E6A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2" name="Freihandform: Form 441">
                  <a:extLst>
                    <a:ext uri="{FF2B5EF4-FFF2-40B4-BE49-F238E27FC236}">
                      <a16:creationId xmlns:a16="http://schemas.microsoft.com/office/drawing/2014/main" id="{33CC9305-BC45-2C3F-19DA-92B618D61B4F}"/>
                    </a:ext>
                  </a:extLst>
                </p:cNvPr>
                <p:cNvSpPr/>
                <p:nvPr/>
              </p:nvSpPr>
              <p:spPr>
                <a:xfrm>
                  <a:off x="11738570" y="2401947"/>
                  <a:ext cx="135445" cy="330434"/>
                </a:xfrm>
                <a:custGeom>
                  <a:avLst/>
                  <a:gdLst>
                    <a:gd name="connsiteX0" fmla="*/ 135428 w 135445"/>
                    <a:gd name="connsiteY0" fmla="*/ 85830 h 330434"/>
                    <a:gd name="connsiteX1" fmla="*/ 113653 w 135445"/>
                    <a:gd name="connsiteY1" fmla="*/ 27158 h 330434"/>
                    <a:gd name="connsiteX2" fmla="*/ 38651 w 135445"/>
                    <a:gd name="connsiteY2" fmla="*/ 0 h 330434"/>
                    <a:gd name="connsiteX3" fmla="*/ 38651 w 135445"/>
                    <a:gd name="connsiteY3" fmla="*/ 12097 h 330434"/>
                    <a:gd name="connsiteX4" fmla="*/ 105004 w 135445"/>
                    <a:gd name="connsiteY4" fmla="*/ 35626 h 330434"/>
                    <a:gd name="connsiteX5" fmla="*/ 123270 w 135445"/>
                    <a:gd name="connsiteY5" fmla="*/ 85588 h 330434"/>
                    <a:gd name="connsiteX6" fmla="*/ 87463 w 135445"/>
                    <a:gd name="connsiteY6" fmla="*/ 150671 h 330434"/>
                    <a:gd name="connsiteX7" fmla="*/ 37623 w 135445"/>
                    <a:gd name="connsiteY7" fmla="*/ 252045 h 330434"/>
                    <a:gd name="connsiteX8" fmla="*/ 0 w 135445"/>
                    <a:gd name="connsiteY8" fmla="*/ 291179 h 330434"/>
                    <a:gd name="connsiteX9" fmla="*/ 39255 w 135445"/>
                    <a:gd name="connsiteY9" fmla="*/ 330435 h 330434"/>
                    <a:gd name="connsiteX10" fmla="*/ 78511 w 135445"/>
                    <a:gd name="connsiteY10" fmla="*/ 291179 h 330434"/>
                    <a:gd name="connsiteX11" fmla="*/ 49720 w 135445"/>
                    <a:gd name="connsiteY11" fmla="*/ 253376 h 330434"/>
                    <a:gd name="connsiteX12" fmla="*/ 96173 w 135445"/>
                    <a:gd name="connsiteY12" fmla="*/ 159078 h 330434"/>
                    <a:gd name="connsiteX13" fmla="*/ 135428 w 135445"/>
                    <a:gd name="connsiteY13" fmla="*/ 85769 h 330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35445" h="330434">
                      <a:moveTo>
                        <a:pt x="135428" y="85830"/>
                      </a:moveTo>
                      <a:cubicBezTo>
                        <a:pt x="135852" y="62422"/>
                        <a:pt x="128352" y="42098"/>
                        <a:pt x="113653" y="27158"/>
                      </a:cubicBezTo>
                      <a:cubicBezTo>
                        <a:pt x="96476" y="9617"/>
                        <a:pt x="69862" y="0"/>
                        <a:pt x="38651" y="0"/>
                      </a:cubicBezTo>
                      <a:lnTo>
                        <a:pt x="38651" y="12097"/>
                      </a:lnTo>
                      <a:cubicBezTo>
                        <a:pt x="66535" y="12097"/>
                        <a:pt x="90124" y="20444"/>
                        <a:pt x="105004" y="35626"/>
                      </a:cubicBezTo>
                      <a:cubicBezTo>
                        <a:pt x="117525" y="48389"/>
                        <a:pt x="123694" y="65204"/>
                        <a:pt x="123270" y="85588"/>
                      </a:cubicBezTo>
                      <a:cubicBezTo>
                        <a:pt x="122726" y="114500"/>
                        <a:pt x="106395" y="131255"/>
                        <a:pt x="87463" y="150671"/>
                      </a:cubicBezTo>
                      <a:cubicBezTo>
                        <a:pt x="64720" y="174079"/>
                        <a:pt x="39376" y="200209"/>
                        <a:pt x="37623" y="252045"/>
                      </a:cubicBezTo>
                      <a:cubicBezTo>
                        <a:pt x="16694" y="252892"/>
                        <a:pt x="0" y="270070"/>
                        <a:pt x="0" y="291179"/>
                      </a:cubicBezTo>
                      <a:cubicBezTo>
                        <a:pt x="0" y="312289"/>
                        <a:pt x="17541" y="330435"/>
                        <a:pt x="39255" y="330435"/>
                      </a:cubicBezTo>
                      <a:cubicBezTo>
                        <a:pt x="60970" y="330435"/>
                        <a:pt x="78511" y="312894"/>
                        <a:pt x="78511" y="291179"/>
                      </a:cubicBezTo>
                      <a:cubicBezTo>
                        <a:pt x="78511" y="273155"/>
                        <a:pt x="66293" y="257973"/>
                        <a:pt x="49720" y="253376"/>
                      </a:cubicBezTo>
                      <a:cubicBezTo>
                        <a:pt x="51051" y="205531"/>
                        <a:pt x="73914" y="181942"/>
                        <a:pt x="96173" y="159078"/>
                      </a:cubicBezTo>
                      <a:cubicBezTo>
                        <a:pt x="116012" y="138694"/>
                        <a:pt x="134763" y="119460"/>
                        <a:pt x="135428" y="85769"/>
                      </a:cubicBezTo>
                      <a:close/>
                    </a:path>
                  </a:pathLst>
                </a:custGeom>
                <a:solidFill>
                  <a:srgbClr val="F19E6A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443" name="Grafik 297">
                  <a:extLst>
                    <a:ext uri="{FF2B5EF4-FFF2-40B4-BE49-F238E27FC236}">
                      <a16:creationId xmlns:a16="http://schemas.microsoft.com/office/drawing/2014/main" id="{921105DA-6B9A-53B5-6256-760167C19FA2}"/>
                    </a:ext>
                  </a:extLst>
                </p:cNvPr>
                <p:cNvGrpSpPr/>
                <p:nvPr/>
              </p:nvGrpSpPr>
              <p:grpSpPr>
                <a:xfrm>
                  <a:off x="11163281" y="3555052"/>
                  <a:ext cx="144145" cy="337753"/>
                  <a:chOff x="11163281" y="3555052"/>
                  <a:chExt cx="144145" cy="337753"/>
                </a:xfrm>
                <a:solidFill>
                  <a:srgbClr val="02787D"/>
                </a:solidFill>
              </p:grpSpPr>
              <p:grpSp>
                <p:nvGrpSpPr>
                  <p:cNvPr id="445" name="Grafik 297">
                    <a:extLst>
                      <a:ext uri="{FF2B5EF4-FFF2-40B4-BE49-F238E27FC236}">
                        <a16:creationId xmlns:a16="http://schemas.microsoft.com/office/drawing/2014/main" id="{E5D241FA-A85C-B170-483D-EA2B7D27B6A9}"/>
                      </a:ext>
                    </a:extLst>
                  </p:cNvPr>
                  <p:cNvGrpSpPr/>
                  <p:nvPr/>
                </p:nvGrpSpPr>
                <p:grpSpPr>
                  <a:xfrm>
                    <a:off x="11183347" y="3766601"/>
                    <a:ext cx="67615" cy="68318"/>
                    <a:chOff x="11183347" y="3766601"/>
                    <a:chExt cx="67615" cy="68318"/>
                  </a:xfrm>
                  <a:solidFill>
                    <a:srgbClr val="02787D"/>
                  </a:solidFill>
                </p:grpSpPr>
                <p:sp>
                  <p:nvSpPr>
                    <p:cNvPr id="464" name="Freihandform: Form 463">
                      <a:extLst>
                        <a:ext uri="{FF2B5EF4-FFF2-40B4-BE49-F238E27FC236}">
                          <a16:creationId xmlns:a16="http://schemas.microsoft.com/office/drawing/2014/main" id="{93E5A806-8184-43C6-395E-A447E79FFD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4392" y="3786015"/>
                      <a:ext cx="36570" cy="48905"/>
                    </a:xfrm>
                    <a:custGeom>
                      <a:avLst/>
                      <a:gdLst>
                        <a:gd name="connsiteX0" fmla="*/ 33515 w 36570"/>
                        <a:gd name="connsiteY0" fmla="*/ 48845 h 48905"/>
                        <a:gd name="connsiteX1" fmla="*/ 10652 w 36570"/>
                        <a:gd name="connsiteY1" fmla="*/ 34207 h 48905"/>
                        <a:gd name="connsiteX2" fmla="*/ 853 w 36570"/>
                        <a:gd name="connsiteY2" fmla="*/ 6262 h 48905"/>
                        <a:gd name="connsiteX3" fmla="*/ 3272 w 36570"/>
                        <a:gd name="connsiteY3" fmla="*/ 32 h 48905"/>
                        <a:gd name="connsiteX4" fmla="*/ 28193 w 36570"/>
                        <a:gd name="connsiteY4" fmla="*/ 22231 h 48905"/>
                        <a:gd name="connsiteX5" fmla="*/ 33515 w 36570"/>
                        <a:gd name="connsiteY5" fmla="*/ 48905 h 48905"/>
                        <a:gd name="connsiteX6" fmla="*/ 33515 w 36570"/>
                        <a:gd name="connsiteY6" fmla="*/ 48905 h 4890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6570" h="48905">
                          <a:moveTo>
                            <a:pt x="33515" y="48845"/>
                          </a:moveTo>
                          <a:lnTo>
                            <a:pt x="10652" y="34207"/>
                          </a:lnTo>
                          <a:cubicBezTo>
                            <a:pt x="2063" y="28521"/>
                            <a:pt x="-1869" y="18299"/>
                            <a:pt x="853" y="6262"/>
                          </a:cubicBezTo>
                          <a:cubicBezTo>
                            <a:pt x="1700" y="2391"/>
                            <a:pt x="2607" y="-330"/>
                            <a:pt x="3272" y="32"/>
                          </a:cubicBezTo>
                          <a:cubicBezTo>
                            <a:pt x="4604" y="758"/>
                            <a:pt x="15249" y="10194"/>
                            <a:pt x="28193" y="22231"/>
                          </a:cubicBezTo>
                          <a:cubicBezTo>
                            <a:pt x="36359" y="29852"/>
                            <a:pt x="39383" y="36747"/>
                            <a:pt x="33515" y="48905"/>
                          </a:cubicBezTo>
                          <a:lnTo>
                            <a:pt x="33515" y="48905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65" name="Freihandform: Form 464">
                      <a:extLst>
                        <a:ext uri="{FF2B5EF4-FFF2-40B4-BE49-F238E27FC236}">
                          <a16:creationId xmlns:a16="http://schemas.microsoft.com/office/drawing/2014/main" id="{D9A18559-9D6F-98C7-87C2-731C2249477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83347" y="3766601"/>
                      <a:ext cx="47654" cy="53620"/>
                    </a:xfrm>
                    <a:custGeom>
                      <a:avLst/>
                      <a:gdLst>
                        <a:gd name="connsiteX0" fmla="*/ 41698 w 47654"/>
                        <a:gd name="connsiteY0" fmla="*/ 53621 h 53620"/>
                        <a:gd name="connsiteX1" fmla="*/ 6797 w 47654"/>
                        <a:gd name="connsiteY1" fmla="*/ 29426 h 53620"/>
                        <a:gd name="connsiteX2" fmla="*/ 23 w 47654"/>
                        <a:gd name="connsiteY2" fmla="*/ 22047 h 53620"/>
                        <a:gd name="connsiteX3" fmla="*/ 22946 w 47654"/>
                        <a:gd name="connsiteY3" fmla="*/ 91 h 53620"/>
                        <a:gd name="connsiteX4" fmla="*/ 42302 w 47654"/>
                        <a:gd name="connsiteY4" fmla="*/ 25797 h 53620"/>
                        <a:gd name="connsiteX5" fmla="*/ 41698 w 47654"/>
                        <a:gd name="connsiteY5" fmla="*/ 53621 h 53620"/>
                        <a:gd name="connsiteX6" fmla="*/ 41698 w 47654"/>
                        <a:gd name="connsiteY6" fmla="*/ 53621 h 536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7654" h="53620">
                          <a:moveTo>
                            <a:pt x="41698" y="53621"/>
                          </a:moveTo>
                          <a:lnTo>
                            <a:pt x="6797" y="29426"/>
                          </a:lnTo>
                          <a:cubicBezTo>
                            <a:pt x="2563" y="26221"/>
                            <a:pt x="1111" y="23741"/>
                            <a:pt x="23" y="22047"/>
                          </a:cubicBezTo>
                          <a:cubicBezTo>
                            <a:pt x="-643" y="9950"/>
                            <a:pt x="13511" y="-1119"/>
                            <a:pt x="22946" y="91"/>
                          </a:cubicBezTo>
                          <a:lnTo>
                            <a:pt x="42302" y="25797"/>
                          </a:lnTo>
                          <a:cubicBezTo>
                            <a:pt x="50286" y="32814"/>
                            <a:pt x="48713" y="42310"/>
                            <a:pt x="41698" y="53621"/>
                          </a:cubicBezTo>
                          <a:lnTo>
                            <a:pt x="41698" y="53621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446" name="Grafik 297">
                    <a:extLst>
                      <a:ext uri="{FF2B5EF4-FFF2-40B4-BE49-F238E27FC236}">
                        <a16:creationId xmlns:a16="http://schemas.microsoft.com/office/drawing/2014/main" id="{D2675847-A0ED-50B5-868C-56E795ADD334}"/>
                      </a:ext>
                    </a:extLst>
                  </p:cNvPr>
                  <p:cNvGrpSpPr/>
                  <p:nvPr/>
                </p:nvGrpSpPr>
                <p:grpSpPr>
                  <a:xfrm>
                    <a:off x="11163288" y="3738619"/>
                    <a:ext cx="90846" cy="132471"/>
                    <a:chOff x="11163288" y="3738619"/>
                    <a:chExt cx="90846" cy="132471"/>
                  </a:xfrm>
                  <a:solidFill>
                    <a:srgbClr val="02787D"/>
                  </a:solidFill>
                </p:grpSpPr>
                <p:sp>
                  <p:nvSpPr>
                    <p:cNvPr id="461" name="Freihandform: Form 460">
                      <a:extLst>
                        <a:ext uri="{FF2B5EF4-FFF2-40B4-BE49-F238E27FC236}">
                          <a16:creationId xmlns:a16="http://schemas.microsoft.com/office/drawing/2014/main" id="{E7C3B9BB-AAD8-BC15-1E0D-906FB1C5EAB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0554" y="3808727"/>
                      <a:ext cx="43580" cy="62363"/>
                    </a:xfrm>
                    <a:custGeom>
                      <a:avLst/>
                      <a:gdLst>
                        <a:gd name="connsiteX0" fmla="*/ 39895 w 43580"/>
                        <a:gd name="connsiteY0" fmla="*/ 62364 h 62363"/>
                        <a:gd name="connsiteX1" fmla="*/ 12615 w 43580"/>
                        <a:gd name="connsiteY1" fmla="*/ 41194 h 62363"/>
                        <a:gd name="connsiteX2" fmla="*/ 1062 w 43580"/>
                        <a:gd name="connsiteY2" fmla="*/ 6898 h 62363"/>
                        <a:gd name="connsiteX3" fmla="*/ 3966 w 43580"/>
                        <a:gd name="connsiteY3" fmla="*/ 63 h 62363"/>
                        <a:gd name="connsiteX4" fmla="*/ 33664 w 43580"/>
                        <a:gd name="connsiteY4" fmla="*/ 30367 h 62363"/>
                        <a:gd name="connsiteX5" fmla="*/ 39895 w 43580"/>
                        <a:gd name="connsiteY5" fmla="*/ 62364 h 62363"/>
                        <a:gd name="connsiteX6" fmla="*/ 39895 w 43580"/>
                        <a:gd name="connsiteY6" fmla="*/ 62364 h 6236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3580" h="62363">
                          <a:moveTo>
                            <a:pt x="39895" y="62364"/>
                          </a:moveTo>
                          <a:lnTo>
                            <a:pt x="12615" y="41194"/>
                          </a:lnTo>
                          <a:cubicBezTo>
                            <a:pt x="2394" y="32968"/>
                            <a:pt x="-2264" y="20447"/>
                            <a:pt x="1062" y="6898"/>
                          </a:cubicBezTo>
                          <a:cubicBezTo>
                            <a:pt x="2151" y="2543"/>
                            <a:pt x="3179" y="-481"/>
                            <a:pt x="3966" y="63"/>
                          </a:cubicBezTo>
                          <a:cubicBezTo>
                            <a:pt x="5538" y="1152"/>
                            <a:pt x="18241" y="14036"/>
                            <a:pt x="33664" y="30367"/>
                          </a:cubicBezTo>
                          <a:cubicBezTo>
                            <a:pt x="43403" y="40710"/>
                            <a:pt x="46911" y="49238"/>
                            <a:pt x="39895" y="62364"/>
                          </a:cubicBezTo>
                          <a:lnTo>
                            <a:pt x="39895" y="62364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62" name="Freihandform: Form 461">
                      <a:extLst>
                        <a:ext uri="{FF2B5EF4-FFF2-40B4-BE49-F238E27FC236}">
                          <a16:creationId xmlns:a16="http://schemas.microsoft.com/office/drawing/2014/main" id="{4F4741EA-26CC-783B-C918-0D1C6D0F80B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72474" y="3771894"/>
                      <a:ext cx="58537" cy="78389"/>
                    </a:xfrm>
                    <a:custGeom>
                      <a:avLst/>
                      <a:gdLst>
                        <a:gd name="connsiteX0" fmla="*/ 51360 w 58537"/>
                        <a:gd name="connsiteY0" fmla="*/ 78390 h 78389"/>
                        <a:gd name="connsiteX1" fmla="*/ 9807 w 58537"/>
                        <a:gd name="connsiteY1" fmla="*/ 45425 h 78389"/>
                        <a:gd name="connsiteX2" fmla="*/ 8415 w 58537"/>
                        <a:gd name="connsiteY2" fmla="*/ 3085 h 78389"/>
                        <a:gd name="connsiteX3" fmla="*/ 13557 w 58537"/>
                        <a:gd name="connsiteY3" fmla="*/ 0 h 78389"/>
                        <a:gd name="connsiteX4" fmla="*/ 52207 w 58537"/>
                        <a:gd name="connsiteY4" fmla="*/ 46030 h 78389"/>
                        <a:gd name="connsiteX5" fmla="*/ 51360 w 58537"/>
                        <a:gd name="connsiteY5" fmla="*/ 78329 h 78389"/>
                        <a:gd name="connsiteX6" fmla="*/ 51360 w 58537"/>
                        <a:gd name="connsiteY6" fmla="*/ 78329 h 7838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58537" h="78389">
                          <a:moveTo>
                            <a:pt x="51360" y="78390"/>
                          </a:moveTo>
                          <a:lnTo>
                            <a:pt x="9807" y="45425"/>
                          </a:lnTo>
                          <a:cubicBezTo>
                            <a:pt x="-2714" y="35324"/>
                            <a:pt x="-3319" y="15968"/>
                            <a:pt x="8415" y="3085"/>
                          </a:cubicBezTo>
                          <a:lnTo>
                            <a:pt x="13557" y="0"/>
                          </a:lnTo>
                          <a:lnTo>
                            <a:pt x="52207" y="46030"/>
                          </a:lnTo>
                          <a:cubicBezTo>
                            <a:pt x="61703" y="55587"/>
                            <a:pt x="59768" y="66414"/>
                            <a:pt x="51360" y="78329"/>
                          </a:cubicBezTo>
                          <a:lnTo>
                            <a:pt x="51360" y="78329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63" name="Freihandform: Form 462">
                      <a:extLst>
                        <a:ext uri="{FF2B5EF4-FFF2-40B4-BE49-F238E27FC236}">
                          <a16:creationId xmlns:a16="http://schemas.microsoft.com/office/drawing/2014/main" id="{B78D742F-6148-EFF6-3FED-54603F665F0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63288" y="3738619"/>
                      <a:ext cx="39981" cy="70534"/>
                    </a:xfrm>
                    <a:custGeom>
                      <a:avLst/>
                      <a:gdLst>
                        <a:gd name="connsiteX0" fmla="*/ 61 w 39981"/>
                        <a:gd name="connsiteY0" fmla="*/ 7508 h 70534"/>
                        <a:gd name="connsiteX1" fmla="*/ 9133 w 39981"/>
                        <a:gd name="connsiteY1" fmla="*/ 63881 h 70534"/>
                        <a:gd name="connsiteX2" fmla="*/ 12400 w 39981"/>
                        <a:gd name="connsiteY2" fmla="*/ 70534 h 70534"/>
                        <a:gd name="connsiteX3" fmla="*/ 39679 w 39981"/>
                        <a:gd name="connsiteY3" fmla="*/ 39444 h 70534"/>
                        <a:gd name="connsiteX4" fmla="*/ 39981 w 39981"/>
                        <a:gd name="connsiteY4" fmla="*/ 8718 h 70534"/>
                        <a:gd name="connsiteX5" fmla="*/ 0 w 39981"/>
                        <a:gd name="connsiteY5" fmla="*/ 7447 h 705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39981" h="70534">
                          <a:moveTo>
                            <a:pt x="61" y="7508"/>
                          </a:moveTo>
                          <a:cubicBezTo>
                            <a:pt x="1633" y="19121"/>
                            <a:pt x="9133" y="63881"/>
                            <a:pt x="9133" y="63881"/>
                          </a:cubicBezTo>
                          <a:lnTo>
                            <a:pt x="12400" y="70534"/>
                          </a:lnTo>
                          <a:cubicBezTo>
                            <a:pt x="28912" y="68417"/>
                            <a:pt x="39860" y="54808"/>
                            <a:pt x="39679" y="39444"/>
                          </a:cubicBezTo>
                          <a:lnTo>
                            <a:pt x="39981" y="8718"/>
                          </a:lnTo>
                          <a:cubicBezTo>
                            <a:pt x="34175" y="-1142"/>
                            <a:pt x="3871" y="-4045"/>
                            <a:pt x="0" y="7447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447" name="Grafik 297">
                    <a:extLst>
                      <a:ext uri="{FF2B5EF4-FFF2-40B4-BE49-F238E27FC236}">
                        <a16:creationId xmlns:a16="http://schemas.microsoft.com/office/drawing/2014/main" id="{6DDCA80F-1496-8E9E-EB2A-67DF25C11116}"/>
                      </a:ext>
                    </a:extLst>
                  </p:cNvPr>
                  <p:cNvGrpSpPr/>
                  <p:nvPr/>
                </p:nvGrpSpPr>
                <p:grpSpPr>
                  <a:xfrm>
                    <a:off x="11175204" y="3729413"/>
                    <a:ext cx="72144" cy="163391"/>
                    <a:chOff x="11175204" y="3729413"/>
                    <a:chExt cx="72144" cy="163391"/>
                  </a:xfrm>
                  <a:solidFill>
                    <a:srgbClr val="02787D"/>
                  </a:solidFill>
                </p:grpSpPr>
                <p:sp>
                  <p:nvSpPr>
                    <p:cNvPr id="458" name="Freihandform: Form 457">
                      <a:extLst>
                        <a:ext uri="{FF2B5EF4-FFF2-40B4-BE49-F238E27FC236}">
                          <a16:creationId xmlns:a16="http://schemas.microsoft.com/office/drawing/2014/main" id="{05DC0CB0-D14E-9D1E-2DD2-95F59C957E3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2650" y="3814241"/>
                      <a:ext cx="34698" cy="78564"/>
                    </a:xfrm>
                    <a:custGeom>
                      <a:avLst/>
                      <a:gdLst>
                        <a:gd name="connsiteX0" fmla="*/ 24310 w 34698"/>
                        <a:gd name="connsiteY0" fmla="*/ 78504 h 78564"/>
                        <a:gd name="connsiteX1" fmla="*/ 5015 w 34698"/>
                        <a:gd name="connsiteY1" fmla="*/ 45781 h 78564"/>
                        <a:gd name="connsiteX2" fmla="*/ 7072 w 34698"/>
                        <a:gd name="connsiteY2" fmla="*/ 5982 h 78564"/>
                        <a:gd name="connsiteX3" fmla="*/ 12818 w 34698"/>
                        <a:gd name="connsiteY3" fmla="*/ 175 h 78564"/>
                        <a:gd name="connsiteX4" fmla="*/ 30903 w 34698"/>
                        <a:gd name="connsiteY4" fmla="*/ 43241 h 78564"/>
                        <a:gd name="connsiteX5" fmla="*/ 24310 w 34698"/>
                        <a:gd name="connsiteY5" fmla="*/ 78565 h 78564"/>
                        <a:gd name="connsiteX6" fmla="*/ 24310 w 34698"/>
                        <a:gd name="connsiteY6" fmla="*/ 78565 h 785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4698" h="78564">
                          <a:moveTo>
                            <a:pt x="24310" y="78504"/>
                          </a:moveTo>
                          <a:lnTo>
                            <a:pt x="5015" y="45781"/>
                          </a:lnTo>
                          <a:cubicBezTo>
                            <a:pt x="-2122" y="33261"/>
                            <a:pt x="-1820" y="18502"/>
                            <a:pt x="7072" y="5982"/>
                          </a:cubicBezTo>
                          <a:cubicBezTo>
                            <a:pt x="9915" y="1990"/>
                            <a:pt x="12213" y="-732"/>
                            <a:pt x="12818" y="175"/>
                          </a:cubicBezTo>
                          <a:cubicBezTo>
                            <a:pt x="13967" y="1929"/>
                            <a:pt x="21770" y="20256"/>
                            <a:pt x="30903" y="43241"/>
                          </a:cubicBezTo>
                          <a:cubicBezTo>
                            <a:pt x="36710" y="57758"/>
                            <a:pt x="36831" y="67919"/>
                            <a:pt x="24310" y="78565"/>
                          </a:cubicBezTo>
                          <a:lnTo>
                            <a:pt x="24310" y="78565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59" name="Freihandform: Form 458">
                      <a:extLst>
                        <a:ext uri="{FF2B5EF4-FFF2-40B4-BE49-F238E27FC236}">
                          <a16:creationId xmlns:a16="http://schemas.microsoft.com/office/drawing/2014/main" id="{B42D7D66-B5AF-D6E4-A1DF-773073EEA40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86914" y="3784717"/>
                      <a:ext cx="48550" cy="77543"/>
                    </a:xfrm>
                    <a:custGeom>
                      <a:avLst/>
                      <a:gdLst>
                        <a:gd name="connsiteX0" fmla="*/ 32082 w 48550"/>
                        <a:gd name="connsiteY0" fmla="*/ 77543 h 77543"/>
                        <a:gd name="connsiteX1" fmla="*/ 3169 w 48550"/>
                        <a:gd name="connsiteY1" fmla="*/ 26614 h 77543"/>
                        <a:gd name="connsiteX2" fmla="*/ 24097 w 48550"/>
                        <a:gd name="connsiteY2" fmla="*/ 1573 h 77543"/>
                        <a:gd name="connsiteX3" fmla="*/ 26577 w 48550"/>
                        <a:gd name="connsiteY3" fmla="*/ 0 h 77543"/>
                        <a:gd name="connsiteX4" fmla="*/ 46296 w 48550"/>
                        <a:gd name="connsiteY4" fmla="*/ 44457 h 77543"/>
                        <a:gd name="connsiteX5" fmla="*/ 32928 w 48550"/>
                        <a:gd name="connsiteY5" fmla="*/ 76938 h 77543"/>
                        <a:gd name="connsiteX6" fmla="*/ 32021 w 48550"/>
                        <a:gd name="connsiteY6" fmla="*/ 77543 h 7754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8550" h="77543">
                          <a:moveTo>
                            <a:pt x="32082" y="77543"/>
                          </a:moveTo>
                          <a:lnTo>
                            <a:pt x="3169" y="26614"/>
                          </a:lnTo>
                          <a:cubicBezTo>
                            <a:pt x="-5541" y="11190"/>
                            <a:pt x="4439" y="4476"/>
                            <a:pt x="24097" y="1573"/>
                          </a:cubicBezTo>
                          <a:lnTo>
                            <a:pt x="26577" y="0"/>
                          </a:lnTo>
                          <a:lnTo>
                            <a:pt x="46296" y="44457"/>
                          </a:lnTo>
                          <a:cubicBezTo>
                            <a:pt x="52102" y="58127"/>
                            <a:pt x="46356" y="68107"/>
                            <a:pt x="32928" y="76938"/>
                          </a:cubicBezTo>
                          <a:lnTo>
                            <a:pt x="32021" y="77543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60" name="Freihandform: Form 459">
                      <a:extLst>
                        <a:ext uri="{FF2B5EF4-FFF2-40B4-BE49-F238E27FC236}">
                          <a16:creationId xmlns:a16="http://schemas.microsoft.com/office/drawing/2014/main" id="{DC0C5722-6B24-DFEC-1DA3-E7B5EEB6AFC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75204" y="3729413"/>
                      <a:ext cx="39679" cy="76473"/>
                    </a:xfrm>
                    <a:custGeom>
                      <a:avLst/>
                      <a:gdLst>
                        <a:gd name="connsiteX0" fmla="*/ 0 w 39679"/>
                        <a:gd name="connsiteY0" fmla="*/ 10000 h 76473"/>
                        <a:gd name="connsiteX1" fmla="*/ 12642 w 39679"/>
                        <a:gd name="connsiteY1" fmla="*/ 76474 h 76473"/>
                        <a:gd name="connsiteX2" fmla="*/ 39376 w 39679"/>
                        <a:gd name="connsiteY2" fmla="*/ 55908 h 76473"/>
                        <a:gd name="connsiteX3" fmla="*/ 39679 w 39679"/>
                        <a:gd name="connsiteY3" fmla="*/ 7762 h 76473"/>
                        <a:gd name="connsiteX4" fmla="*/ 0 w 39679"/>
                        <a:gd name="connsiteY4" fmla="*/ 9939 h 764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9679" h="76473">
                          <a:moveTo>
                            <a:pt x="0" y="10000"/>
                          </a:moveTo>
                          <a:cubicBezTo>
                            <a:pt x="0" y="11209"/>
                            <a:pt x="12642" y="76474"/>
                            <a:pt x="12642" y="76474"/>
                          </a:cubicBezTo>
                          <a:cubicBezTo>
                            <a:pt x="30848" y="74236"/>
                            <a:pt x="39376" y="72844"/>
                            <a:pt x="39376" y="55908"/>
                          </a:cubicBezTo>
                          <a:lnTo>
                            <a:pt x="39679" y="7762"/>
                          </a:lnTo>
                          <a:cubicBezTo>
                            <a:pt x="33388" y="-3126"/>
                            <a:pt x="4356" y="-2702"/>
                            <a:pt x="0" y="9939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448" name="Grafik 297">
                    <a:extLst>
                      <a:ext uri="{FF2B5EF4-FFF2-40B4-BE49-F238E27FC236}">
                        <a16:creationId xmlns:a16="http://schemas.microsoft.com/office/drawing/2014/main" id="{65FF5F40-DDB3-FD1F-C2F7-5AF162B85B70}"/>
                      </a:ext>
                    </a:extLst>
                  </p:cNvPr>
                  <p:cNvGrpSpPr/>
                  <p:nvPr/>
                </p:nvGrpSpPr>
                <p:grpSpPr>
                  <a:xfrm>
                    <a:off x="11188390" y="3736015"/>
                    <a:ext cx="61520" cy="156366"/>
                    <a:chOff x="11188390" y="3736015"/>
                    <a:chExt cx="61520" cy="156366"/>
                  </a:xfrm>
                  <a:solidFill>
                    <a:srgbClr val="02787D"/>
                  </a:solidFill>
                </p:grpSpPr>
                <p:sp>
                  <p:nvSpPr>
                    <p:cNvPr id="455" name="Freihandform: Form 454">
                      <a:extLst>
                        <a:ext uri="{FF2B5EF4-FFF2-40B4-BE49-F238E27FC236}">
                          <a16:creationId xmlns:a16="http://schemas.microsoft.com/office/drawing/2014/main" id="{30FC2C87-1182-5061-A1DD-331D8E39EE6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18103" y="3821286"/>
                      <a:ext cx="31807" cy="71096"/>
                    </a:xfrm>
                    <a:custGeom>
                      <a:avLst/>
                      <a:gdLst>
                        <a:gd name="connsiteX0" fmla="*/ 18917 w 31807"/>
                        <a:gd name="connsiteY0" fmla="*/ 71096 h 71096"/>
                        <a:gd name="connsiteX1" fmla="*/ 3554 w 31807"/>
                        <a:gd name="connsiteY1" fmla="*/ 39462 h 71096"/>
                        <a:gd name="connsiteX2" fmla="*/ 8877 w 31807"/>
                        <a:gd name="connsiteY2" fmla="*/ 4804 h 71096"/>
                        <a:gd name="connsiteX3" fmla="*/ 15288 w 31807"/>
                        <a:gd name="connsiteY3" fmla="*/ 207 h 71096"/>
                        <a:gd name="connsiteX4" fmla="*/ 29744 w 31807"/>
                        <a:gd name="connsiteY4" fmla="*/ 39946 h 71096"/>
                        <a:gd name="connsiteX5" fmla="*/ 18917 w 31807"/>
                        <a:gd name="connsiteY5" fmla="*/ 71096 h 71096"/>
                        <a:gd name="connsiteX6" fmla="*/ 18917 w 31807"/>
                        <a:gd name="connsiteY6" fmla="*/ 71096 h 7109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1807" h="71096">
                          <a:moveTo>
                            <a:pt x="18917" y="71096"/>
                          </a:moveTo>
                          <a:lnTo>
                            <a:pt x="3554" y="39462"/>
                          </a:lnTo>
                          <a:cubicBezTo>
                            <a:pt x="-2072" y="27365"/>
                            <a:pt x="-1527" y="15147"/>
                            <a:pt x="8877" y="4804"/>
                          </a:cubicBezTo>
                          <a:cubicBezTo>
                            <a:pt x="12204" y="1477"/>
                            <a:pt x="14804" y="-701"/>
                            <a:pt x="15288" y="207"/>
                          </a:cubicBezTo>
                          <a:cubicBezTo>
                            <a:pt x="16195" y="1900"/>
                            <a:pt x="23333" y="18232"/>
                            <a:pt x="29744" y="39946"/>
                          </a:cubicBezTo>
                          <a:cubicBezTo>
                            <a:pt x="33797" y="53676"/>
                            <a:pt x="32708" y="62870"/>
                            <a:pt x="18917" y="71096"/>
                          </a:cubicBezTo>
                          <a:lnTo>
                            <a:pt x="18917" y="71096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56" name="Freihandform: Form 455">
                      <a:extLst>
                        <a:ext uri="{FF2B5EF4-FFF2-40B4-BE49-F238E27FC236}">
                          <a16:creationId xmlns:a16="http://schemas.microsoft.com/office/drawing/2014/main" id="{02EC018E-37FD-109C-8A65-7585C0EA4B8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96102" y="3785140"/>
                      <a:ext cx="43119" cy="75607"/>
                    </a:xfrm>
                    <a:custGeom>
                      <a:avLst/>
                      <a:gdLst>
                        <a:gd name="connsiteX0" fmla="*/ 25495 w 43119"/>
                        <a:gd name="connsiteY0" fmla="*/ 75607 h 75607"/>
                        <a:gd name="connsiteX1" fmla="*/ 2389 w 43119"/>
                        <a:gd name="connsiteY1" fmla="*/ 26856 h 75607"/>
                        <a:gd name="connsiteX2" fmla="*/ 21987 w 43119"/>
                        <a:gd name="connsiteY2" fmla="*/ 0 h 75607"/>
                        <a:gd name="connsiteX3" fmla="*/ 26099 w 43119"/>
                        <a:gd name="connsiteY3" fmla="*/ 5444 h 75607"/>
                        <a:gd name="connsiteX4" fmla="*/ 41826 w 43119"/>
                        <a:gd name="connsiteY4" fmla="*/ 48631 h 75607"/>
                        <a:gd name="connsiteX5" fmla="*/ 25495 w 43119"/>
                        <a:gd name="connsiteY5" fmla="*/ 75607 h 75607"/>
                        <a:gd name="connsiteX6" fmla="*/ 25495 w 43119"/>
                        <a:gd name="connsiteY6" fmla="*/ 75607 h 756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3119" h="75607">
                          <a:moveTo>
                            <a:pt x="25495" y="75607"/>
                          </a:moveTo>
                          <a:lnTo>
                            <a:pt x="2389" y="26856"/>
                          </a:lnTo>
                          <a:cubicBezTo>
                            <a:pt x="-4446" y="12037"/>
                            <a:pt x="3780" y="5746"/>
                            <a:pt x="21987" y="0"/>
                          </a:cubicBezTo>
                          <a:lnTo>
                            <a:pt x="26099" y="5444"/>
                          </a:lnTo>
                          <a:lnTo>
                            <a:pt x="41826" y="48631"/>
                          </a:lnTo>
                          <a:cubicBezTo>
                            <a:pt x="46000" y="61575"/>
                            <a:pt x="39951" y="69075"/>
                            <a:pt x="25495" y="75607"/>
                          </a:cubicBezTo>
                          <a:lnTo>
                            <a:pt x="25495" y="75607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57" name="Freihandform: Form 456">
                      <a:extLst>
                        <a:ext uri="{FF2B5EF4-FFF2-40B4-BE49-F238E27FC236}">
                          <a16:creationId xmlns:a16="http://schemas.microsoft.com/office/drawing/2014/main" id="{7A8024B4-D5A5-B021-7F69-0119297941D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88390" y="3736015"/>
                      <a:ext cx="34476" cy="69266"/>
                    </a:xfrm>
                    <a:custGeom>
                      <a:avLst/>
                      <a:gdLst>
                        <a:gd name="connsiteX0" fmla="*/ 0 w 34476"/>
                        <a:gd name="connsiteY0" fmla="*/ 5575 h 69266"/>
                        <a:gd name="connsiteX1" fmla="*/ 7924 w 34476"/>
                        <a:gd name="connsiteY1" fmla="*/ 69267 h 69266"/>
                        <a:gd name="connsiteX2" fmla="*/ 33872 w 34476"/>
                        <a:gd name="connsiteY2" fmla="*/ 56867 h 69266"/>
                        <a:gd name="connsiteX3" fmla="*/ 34477 w 34476"/>
                        <a:gd name="connsiteY3" fmla="*/ 12168 h 69266"/>
                        <a:gd name="connsiteX4" fmla="*/ 0 w 34476"/>
                        <a:gd name="connsiteY4" fmla="*/ 5575 h 6926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4476" h="69266">
                          <a:moveTo>
                            <a:pt x="0" y="5575"/>
                          </a:moveTo>
                          <a:cubicBezTo>
                            <a:pt x="0" y="6724"/>
                            <a:pt x="7924" y="69267"/>
                            <a:pt x="7924" y="69267"/>
                          </a:cubicBezTo>
                          <a:cubicBezTo>
                            <a:pt x="26311" y="68420"/>
                            <a:pt x="32723" y="72170"/>
                            <a:pt x="33872" y="56867"/>
                          </a:cubicBezTo>
                          <a:lnTo>
                            <a:pt x="34477" y="12168"/>
                          </a:lnTo>
                          <a:cubicBezTo>
                            <a:pt x="28912" y="1946"/>
                            <a:pt x="5262" y="-5675"/>
                            <a:pt x="0" y="557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449" name="Grafik 297">
                    <a:extLst>
                      <a:ext uri="{FF2B5EF4-FFF2-40B4-BE49-F238E27FC236}">
                        <a16:creationId xmlns:a16="http://schemas.microsoft.com/office/drawing/2014/main" id="{09C241DB-509D-73EF-E303-B7701DCF505D}"/>
                      </a:ext>
                    </a:extLst>
                  </p:cNvPr>
                  <p:cNvGrpSpPr/>
                  <p:nvPr/>
                </p:nvGrpSpPr>
                <p:grpSpPr>
                  <a:xfrm>
                    <a:off x="11208616" y="3610134"/>
                    <a:ext cx="98810" cy="216076"/>
                    <a:chOff x="11208616" y="3610134"/>
                    <a:chExt cx="98810" cy="216076"/>
                  </a:xfrm>
                  <a:solidFill>
                    <a:srgbClr val="02787D"/>
                  </a:solidFill>
                </p:grpSpPr>
                <p:sp>
                  <p:nvSpPr>
                    <p:cNvPr id="452" name="Freihandform: Form 451">
                      <a:extLst>
                        <a:ext uri="{FF2B5EF4-FFF2-40B4-BE49-F238E27FC236}">
                          <a16:creationId xmlns:a16="http://schemas.microsoft.com/office/drawing/2014/main" id="{979F990F-9500-979C-E2E5-D1023B480FB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53713" y="3739314"/>
                      <a:ext cx="34296" cy="86896"/>
                    </a:xfrm>
                    <a:custGeom>
                      <a:avLst/>
                      <a:gdLst>
                        <a:gd name="connsiteX0" fmla="*/ 17724 w 34296"/>
                        <a:gd name="connsiteY0" fmla="*/ 86896 h 86896"/>
                        <a:gd name="connsiteX1" fmla="*/ 34297 w 34296"/>
                        <a:gd name="connsiteY1" fmla="*/ 45766 h 86896"/>
                        <a:gd name="connsiteX2" fmla="*/ 26918 w 34296"/>
                        <a:gd name="connsiteY2" fmla="*/ 2942 h 86896"/>
                        <a:gd name="connsiteX3" fmla="*/ 18571 w 34296"/>
                        <a:gd name="connsiteY3" fmla="*/ 825 h 86896"/>
                        <a:gd name="connsiteX4" fmla="*/ 1634 w 34296"/>
                        <a:gd name="connsiteY4" fmla="*/ 50968 h 86896"/>
                        <a:gd name="connsiteX5" fmla="*/ 17724 w 34296"/>
                        <a:gd name="connsiteY5" fmla="*/ 86896 h 86896"/>
                        <a:gd name="connsiteX6" fmla="*/ 17724 w 34296"/>
                        <a:gd name="connsiteY6" fmla="*/ 86896 h 8689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4296" h="86896">
                          <a:moveTo>
                            <a:pt x="17724" y="86896"/>
                          </a:moveTo>
                          <a:lnTo>
                            <a:pt x="34297" y="45766"/>
                          </a:lnTo>
                          <a:cubicBezTo>
                            <a:pt x="34176" y="31794"/>
                            <a:pt x="34660" y="10140"/>
                            <a:pt x="26918" y="2942"/>
                          </a:cubicBezTo>
                          <a:cubicBezTo>
                            <a:pt x="22503" y="-1111"/>
                            <a:pt x="19115" y="-82"/>
                            <a:pt x="18571" y="825"/>
                          </a:cubicBezTo>
                          <a:cubicBezTo>
                            <a:pt x="14760" y="7599"/>
                            <a:pt x="7199" y="29616"/>
                            <a:pt x="1634" y="50968"/>
                          </a:cubicBezTo>
                          <a:cubicBezTo>
                            <a:pt x="-2236" y="65787"/>
                            <a:pt x="-119" y="76190"/>
                            <a:pt x="17724" y="86896"/>
                          </a:cubicBezTo>
                          <a:lnTo>
                            <a:pt x="17724" y="86896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53" name="Freihandform: Form 452">
                      <a:extLst>
                        <a:ext uri="{FF2B5EF4-FFF2-40B4-BE49-F238E27FC236}">
                          <a16:creationId xmlns:a16="http://schemas.microsoft.com/office/drawing/2014/main" id="{51804AB6-D27A-71AC-D560-AFCAF8824A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57041" y="3712410"/>
                      <a:ext cx="50385" cy="74325"/>
                    </a:xfrm>
                    <a:custGeom>
                      <a:avLst/>
                      <a:gdLst>
                        <a:gd name="connsiteX0" fmla="*/ 50385 w 50385"/>
                        <a:gd name="connsiteY0" fmla="*/ 8615 h 74325"/>
                        <a:gd name="connsiteX1" fmla="*/ 0 w 50385"/>
                        <a:gd name="connsiteY1" fmla="*/ 10188 h 74325"/>
                        <a:gd name="connsiteX2" fmla="*/ 7682 w 50385"/>
                        <a:gd name="connsiteY2" fmla="*/ 46782 h 74325"/>
                        <a:gd name="connsiteX3" fmla="*/ 31029 w 50385"/>
                        <a:gd name="connsiteY3" fmla="*/ 72670 h 74325"/>
                        <a:gd name="connsiteX4" fmla="*/ 50385 w 50385"/>
                        <a:gd name="connsiteY4" fmla="*/ 8615 h 743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0385" h="74325">
                          <a:moveTo>
                            <a:pt x="50385" y="8615"/>
                          </a:moveTo>
                          <a:cubicBezTo>
                            <a:pt x="36352" y="-11648"/>
                            <a:pt x="0" y="10188"/>
                            <a:pt x="0" y="10188"/>
                          </a:cubicBezTo>
                          <a:lnTo>
                            <a:pt x="7682" y="46782"/>
                          </a:lnTo>
                          <a:cubicBezTo>
                            <a:pt x="7924" y="62508"/>
                            <a:pt x="17602" y="79807"/>
                            <a:pt x="31029" y="72670"/>
                          </a:cubicBezTo>
                          <a:cubicBezTo>
                            <a:pt x="31029" y="72670"/>
                            <a:pt x="50385" y="7890"/>
                            <a:pt x="50385" y="861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54" name="Freihandform: Form 453">
                      <a:extLst>
                        <a:ext uri="{FF2B5EF4-FFF2-40B4-BE49-F238E27FC236}">
                          <a16:creationId xmlns:a16="http://schemas.microsoft.com/office/drawing/2014/main" id="{5E60D9DC-108A-0E13-D200-8184B8851A5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08616" y="3610134"/>
                      <a:ext cx="98810" cy="121421"/>
                    </a:xfrm>
                    <a:custGeom>
                      <a:avLst/>
                      <a:gdLst>
                        <a:gd name="connsiteX0" fmla="*/ 91190 w 98810"/>
                        <a:gd name="connsiteY0" fmla="*/ 57180 h 121421"/>
                        <a:gd name="connsiteX1" fmla="*/ 98811 w 98810"/>
                        <a:gd name="connsiteY1" fmla="*/ 110831 h 121421"/>
                        <a:gd name="connsiteX2" fmla="*/ 98811 w 98810"/>
                        <a:gd name="connsiteY2" fmla="*/ 110831 h 121421"/>
                        <a:gd name="connsiteX3" fmla="*/ 48728 w 98810"/>
                        <a:gd name="connsiteY3" fmla="*/ 113311 h 121421"/>
                        <a:gd name="connsiteX4" fmla="*/ 7719 w 98810"/>
                        <a:gd name="connsiteY4" fmla="*/ 53006 h 121421"/>
                        <a:gd name="connsiteX5" fmla="*/ 62035 w 98810"/>
                        <a:gd name="connsiteY5" fmla="*/ 4920 h 121421"/>
                        <a:gd name="connsiteX6" fmla="*/ 91250 w 98810"/>
                        <a:gd name="connsiteY6" fmla="*/ 57119 h 1214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98810" h="121421">
                          <a:moveTo>
                            <a:pt x="91190" y="57180"/>
                          </a:moveTo>
                          <a:cubicBezTo>
                            <a:pt x="95121" y="72241"/>
                            <a:pt x="98811" y="110831"/>
                            <a:pt x="98811" y="110831"/>
                          </a:cubicBezTo>
                          <a:lnTo>
                            <a:pt x="98811" y="110831"/>
                          </a:lnTo>
                          <a:cubicBezTo>
                            <a:pt x="75463" y="113311"/>
                            <a:pt x="78427" y="131759"/>
                            <a:pt x="48728" y="113311"/>
                          </a:cubicBezTo>
                          <a:cubicBezTo>
                            <a:pt x="48728" y="113311"/>
                            <a:pt x="37296" y="72906"/>
                            <a:pt x="7719" y="53006"/>
                          </a:cubicBezTo>
                          <a:cubicBezTo>
                            <a:pt x="-17806" y="35828"/>
                            <a:pt x="25078" y="-16069"/>
                            <a:pt x="62035" y="4920"/>
                          </a:cubicBezTo>
                          <a:cubicBezTo>
                            <a:pt x="79576" y="26755"/>
                            <a:pt x="91250" y="57119"/>
                            <a:pt x="91250" y="57119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450" name="Freihandform: Form 449">
                    <a:extLst>
                      <a:ext uri="{FF2B5EF4-FFF2-40B4-BE49-F238E27FC236}">
                        <a16:creationId xmlns:a16="http://schemas.microsoft.com/office/drawing/2014/main" id="{F5B0342F-C8C3-54EF-0B3E-9DD475579ADD}"/>
                      </a:ext>
                    </a:extLst>
                  </p:cNvPr>
                  <p:cNvSpPr/>
                  <p:nvPr/>
                </p:nvSpPr>
                <p:spPr>
                  <a:xfrm>
                    <a:off x="11163281" y="3594186"/>
                    <a:ext cx="140662" cy="175772"/>
                  </a:xfrm>
                  <a:custGeom>
                    <a:avLst/>
                    <a:gdLst>
                      <a:gd name="connsiteX0" fmla="*/ 128 w 140662"/>
                      <a:gd name="connsiteY0" fmla="*/ 127202 h 175772"/>
                      <a:gd name="connsiteX1" fmla="*/ 20995 w 140662"/>
                      <a:gd name="connsiteY1" fmla="*/ 2057 h 175772"/>
                      <a:gd name="connsiteX2" fmla="*/ 105978 w 140662"/>
                      <a:gd name="connsiteY2" fmla="*/ 0 h 175772"/>
                      <a:gd name="connsiteX3" fmla="*/ 112027 w 140662"/>
                      <a:gd name="connsiteY3" fmla="*/ 22077 h 175772"/>
                      <a:gd name="connsiteX4" fmla="*/ 140576 w 140662"/>
                      <a:gd name="connsiteY4" fmla="*/ 100770 h 175772"/>
                      <a:gd name="connsiteX5" fmla="*/ 92913 w 140662"/>
                      <a:gd name="connsiteY5" fmla="*/ 122968 h 175772"/>
                      <a:gd name="connsiteX6" fmla="*/ 58376 w 140662"/>
                      <a:gd name="connsiteY6" fmla="*/ 175772 h 175772"/>
                      <a:gd name="connsiteX7" fmla="*/ 67 w 140662"/>
                      <a:gd name="connsiteY7" fmla="*/ 152001 h 175772"/>
                      <a:gd name="connsiteX8" fmla="*/ 67 w 140662"/>
                      <a:gd name="connsiteY8" fmla="*/ 127263 h 1757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40662" h="175772">
                        <a:moveTo>
                          <a:pt x="128" y="127202"/>
                        </a:moveTo>
                        <a:cubicBezTo>
                          <a:pt x="7326" y="95144"/>
                          <a:pt x="15491" y="57341"/>
                          <a:pt x="20995" y="2057"/>
                        </a:cubicBezTo>
                        <a:lnTo>
                          <a:pt x="105978" y="0"/>
                        </a:lnTo>
                        <a:cubicBezTo>
                          <a:pt x="106160" y="16089"/>
                          <a:pt x="109910" y="20021"/>
                          <a:pt x="112027" y="22077"/>
                        </a:cubicBezTo>
                        <a:cubicBezTo>
                          <a:pt x="143721" y="52562"/>
                          <a:pt x="140576" y="100770"/>
                          <a:pt x="140576" y="100770"/>
                        </a:cubicBezTo>
                        <a:cubicBezTo>
                          <a:pt x="140032" y="105306"/>
                          <a:pt x="109366" y="98411"/>
                          <a:pt x="92913" y="122968"/>
                        </a:cubicBezTo>
                        <a:cubicBezTo>
                          <a:pt x="88255" y="129863"/>
                          <a:pt x="62791" y="137545"/>
                          <a:pt x="58376" y="175772"/>
                        </a:cubicBezTo>
                        <a:cubicBezTo>
                          <a:pt x="19786" y="137848"/>
                          <a:pt x="1943" y="151215"/>
                          <a:pt x="67" y="152001"/>
                        </a:cubicBezTo>
                        <a:cubicBezTo>
                          <a:pt x="611" y="142263"/>
                          <a:pt x="-235" y="133855"/>
                          <a:pt x="67" y="127263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1" name="Freihandform: Form 450">
                    <a:extLst>
                      <a:ext uri="{FF2B5EF4-FFF2-40B4-BE49-F238E27FC236}">
                        <a16:creationId xmlns:a16="http://schemas.microsoft.com/office/drawing/2014/main" id="{713FAC71-5277-06AE-D3FA-BC9B9B95E5BC}"/>
                      </a:ext>
                    </a:extLst>
                  </p:cNvPr>
                  <p:cNvSpPr/>
                  <p:nvPr/>
                </p:nvSpPr>
                <p:spPr>
                  <a:xfrm>
                    <a:off x="11184216" y="3555052"/>
                    <a:ext cx="85164" cy="85164"/>
                  </a:xfrm>
                  <a:custGeom>
                    <a:avLst/>
                    <a:gdLst>
                      <a:gd name="connsiteX0" fmla="*/ 85164 w 85164"/>
                      <a:gd name="connsiteY0" fmla="*/ 42582 h 85164"/>
                      <a:gd name="connsiteX1" fmla="*/ 42582 w 85164"/>
                      <a:gd name="connsiteY1" fmla="*/ 85164 h 85164"/>
                      <a:gd name="connsiteX2" fmla="*/ 0 w 85164"/>
                      <a:gd name="connsiteY2" fmla="*/ 42582 h 85164"/>
                      <a:gd name="connsiteX3" fmla="*/ 42582 w 85164"/>
                      <a:gd name="connsiteY3" fmla="*/ 0 h 85164"/>
                      <a:gd name="connsiteX4" fmla="*/ 85164 w 85164"/>
                      <a:gd name="connsiteY4" fmla="*/ 42582 h 85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5164" h="85164">
                        <a:moveTo>
                          <a:pt x="85164" y="42582"/>
                        </a:moveTo>
                        <a:cubicBezTo>
                          <a:pt x="85164" y="66100"/>
                          <a:pt x="66100" y="85164"/>
                          <a:pt x="42582" y="85164"/>
                        </a:cubicBezTo>
                        <a:cubicBezTo>
                          <a:pt x="19065" y="85164"/>
                          <a:pt x="0" y="66100"/>
                          <a:pt x="0" y="42582"/>
                        </a:cubicBezTo>
                        <a:cubicBezTo>
                          <a:pt x="0" y="19065"/>
                          <a:pt x="19064" y="0"/>
                          <a:pt x="42582" y="0"/>
                        </a:cubicBezTo>
                        <a:cubicBezTo>
                          <a:pt x="66099" y="0"/>
                          <a:pt x="85164" y="19065"/>
                          <a:pt x="85164" y="42582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444" name="Freihandform: Form 443">
                  <a:extLst>
                    <a:ext uri="{FF2B5EF4-FFF2-40B4-BE49-F238E27FC236}">
                      <a16:creationId xmlns:a16="http://schemas.microsoft.com/office/drawing/2014/main" id="{7ED8417F-5509-6E2C-E02B-A39A48D89210}"/>
                    </a:ext>
                  </a:extLst>
                </p:cNvPr>
                <p:cNvSpPr/>
                <p:nvPr/>
              </p:nvSpPr>
              <p:spPr>
                <a:xfrm>
                  <a:off x="11554269" y="2207424"/>
                  <a:ext cx="268013" cy="182791"/>
                </a:xfrm>
                <a:custGeom>
                  <a:avLst/>
                  <a:gdLst>
                    <a:gd name="connsiteX0" fmla="*/ 0 w 268013"/>
                    <a:gd name="connsiteY0" fmla="*/ 0 h 182791"/>
                    <a:gd name="connsiteX1" fmla="*/ 9133 w 268013"/>
                    <a:gd name="connsiteY1" fmla="*/ 120125 h 182791"/>
                    <a:gd name="connsiteX2" fmla="*/ 135186 w 268013"/>
                    <a:gd name="connsiteY2" fmla="*/ 182789 h 182791"/>
                    <a:gd name="connsiteX3" fmla="*/ 259606 w 268013"/>
                    <a:gd name="connsiteY3" fmla="*/ 101374 h 182791"/>
                    <a:gd name="connsiteX4" fmla="*/ 268014 w 268013"/>
                    <a:gd name="connsiteY4" fmla="*/ 7440 h 182791"/>
                    <a:gd name="connsiteX5" fmla="*/ 0 w 268013"/>
                    <a:gd name="connsiteY5" fmla="*/ 121 h 182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68013" h="182791">
                      <a:moveTo>
                        <a:pt x="0" y="0"/>
                      </a:moveTo>
                      <a:cubicBezTo>
                        <a:pt x="1694" y="2903"/>
                        <a:pt x="9133" y="120125"/>
                        <a:pt x="9133" y="120125"/>
                      </a:cubicBezTo>
                      <a:cubicBezTo>
                        <a:pt x="9133" y="120125"/>
                        <a:pt x="13670" y="182244"/>
                        <a:pt x="135186" y="182789"/>
                      </a:cubicBezTo>
                      <a:cubicBezTo>
                        <a:pt x="268014" y="183333"/>
                        <a:pt x="259606" y="101374"/>
                        <a:pt x="259606" y="101374"/>
                      </a:cubicBezTo>
                      <a:lnTo>
                        <a:pt x="268014" y="7440"/>
                      </a:lnTo>
                      <a:cubicBezTo>
                        <a:pt x="182547" y="25646"/>
                        <a:pt x="96838" y="27219"/>
                        <a:pt x="0" y="121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297" name="Grafik 297">
                <a:extLst>
                  <a:ext uri="{FF2B5EF4-FFF2-40B4-BE49-F238E27FC236}">
                    <a16:creationId xmlns:a16="http://schemas.microsoft.com/office/drawing/2014/main" id="{927C0C34-2044-C0D4-8158-E4C6FFEDD2EF}"/>
                  </a:ext>
                </a:extLst>
              </p:cNvPr>
              <p:cNvGrpSpPr/>
              <p:nvPr/>
            </p:nvGrpSpPr>
            <p:grpSpPr>
              <a:xfrm>
                <a:off x="9590362" y="1659724"/>
                <a:ext cx="1540851" cy="3537443"/>
                <a:chOff x="48" y="1659724"/>
                <a:chExt cx="1540851" cy="3537443"/>
              </a:xfrm>
            </p:grpSpPr>
            <p:grpSp>
              <p:nvGrpSpPr>
                <p:cNvPr id="298" name="Grafik 297">
                  <a:extLst>
                    <a:ext uri="{FF2B5EF4-FFF2-40B4-BE49-F238E27FC236}">
                      <a16:creationId xmlns:a16="http://schemas.microsoft.com/office/drawing/2014/main" id="{5AF804FC-035B-9832-B441-B42817A8E46A}"/>
                    </a:ext>
                  </a:extLst>
                </p:cNvPr>
                <p:cNvGrpSpPr/>
                <p:nvPr/>
              </p:nvGrpSpPr>
              <p:grpSpPr>
                <a:xfrm>
                  <a:off x="134278" y="3425249"/>
                  <a:ext cx="206694" cy="389892"/>
                  <a:chOff x="134278" y="3425249"/>
                  <a:chExt cx="206694" cy="389892"/>
                </a:xfrm>
                <a:solidFill>
                  <a:srgbClr val="02787D"/>
                </a:solidFill>
              </p:grpSpPr>
              <p:sp>
                <p:nvSpPr>
                  <p:cNvPr id="374" name="Freihandform: Form 373">
                    <a:extLst>
                      <a:ext uri="{FF2B5EF4-FFF2-40B4-BE49-F238E27FC236}">
                        <a16:creationId xmlns:a16="http://schemas.microsoft.com/office/drawing/2014/main" id="{B62E30D2-A55B-916B-9843-7D54C653D1E8}"/>
                      </a:ext>
                    </a:extLst>
                  </p:cNvPr>
                  <p:cNvSpPr/>
                  <p:nvPr/>
                </p:nvSpPr>
                <p:spPr>
                  <a:xfrm>
                    <a:off x="194341" y="3425249"/>
                    <a:ext cx="116254" cy="116254"/>
                  </a:xfrm>
                  <a:custGeom>
                    <a:avLst/>
                    <a:gdLst>
                      <a:gd name="connsiteX0" fmla="*/ 116254 w 116254"/>
                      <a:gd name="connsiteY0" fmla="*/ 58127 h 116254"/>
                      <a:gd name="connsiteX1" fmla="*/ 58127 w 116254"/>
                      <a:gd name="connsiteY1" fmla="*/ 116254 h 116254"/>
                      <a:gd name="connsiteX2" fmla="*/ 0 w 116254"/>
                      <a:gd name="connsiteY2" fmla="*/ 58127 h 116254"/>
                      <a:gd name="connsiteX3" fmla="*/ 58127 w 116254"/>
                      <a:gd name="connsiteY3" fmla="*/ 0 h 116254"/>
                      <a:gd name="connsiteX4" fmla="*/ 116254 w 116254"/>
                      <a:gd name="connsiteY4" fmla="*/ 58127 h 1162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6254" h="116254">
                        <a:moveTo>
                          <a:pt x="116254" y="58127"/>
                        </a:moveTo>
                        <a:cubicBezTo>
                          <a:pt x="116254" y="90230"/>
                          <a:pt x="90230" y="116254"/>
                          <a:pt x="58127" y="116254"/>
                        </a:cubicBezTo>
                        <a:cubicBezTo>
                          <a:pt x="26024" y="116254"/>
                          <a:pt x="0" y="90229"/>
                          <a:pt x="0" y="58127"/>
                        </a:cubicBezTo>
                        <a:cubicBezTo>
                          <a:pt x="0" y="26024"/>
                          <a:pt x="26024" y="0"/>
                          <a:pt x="58127" y="0"/>
                        </a:cubicBezTo>
                        <a:cubicBezTo>
                          <a:pt x="90230" y="0"/>
                          <a:pt x="116254" y="26024"/>
                          <a:pt x="116254" y="58127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375" name="Grafik 297">
                    <a:extLst>
                      <a:ext uri="{FF2B5EF4-FFF2-40B4-BE49-F238E27FC236}">
                        <a16:creationId xmlns:a16="http://schemas.microsoft.com/office/drawing/2014/main" id="{70871012-445C-2334-2562-886E82B51C51}"/>
                      </a:ext>
                    </a:extLst>
                  </p:cNvPr>
                  <p:cNvGrpSpPr/>
                  <p:nvPr/>
                </p:nvGrpSpPr>
                <p:grpSpPr>
                  <a:xfrm>
                    <a:off x="134278" y="3462369"/>
                    <a:ext cx="206694" cy="352772"/>
                    <a:chOff x="134278" y="3462369"/>
                    <a:chExt cx="206694" cy="352772"/>
                  </a:xfrm>
                  <a:solidFill>
                    <a:srgbClr val="02787D"/>
                  </a:solidFill>
                </p:grpSpPr>
                <p:grpSp>
                  <p:nvGrpSpPr>
                    <p:cNvPr id="376" name="Grafik 297">
                      <a:extLst>
                        <a:ext uri="{FF2B5EF4-FFF2-40B4-BE49-F238E27FC236}">
                          <a16:creationId xmlns:a16="http://schemas.microsoft.com/office/drawing/2014/main" id="{0DBC79CF-BDE6-09E2-6966-5F3C819CB61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17870" y="3649645"/>
                      <a:ext cx="45684" cy="153097"/>
                      <a:chOff x="217870" y="3649645"/>
                      <a:chExt cx="45684" cy="153097"/>
                    </a:xfrm>
                    <a:solidFill>
                      <a:srgbClr val="02787D"/>
                    </a:solidFill>
                  </p:grpSpPr>
                  <p:sp>
                    <p:nvSpPr>
                      <p:cNvPr id="393" name="Freihandform: Form 392">
                        <a:extLst>
                          <a:ext uri="{FF2B5EF4-FFF2-40B4-BE49-F238E27FC236}">
                            <a16:creationId xmlns:a16="http://schemas.microsoft.com/office/drawing/2014/main" id="{DC745C5D-6140-A240-95C3-3FE33C0EE70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17870" y="3649645"/>
                        <a:ext cx="45684" cy="70664"/>
                      </a:xfrm>
                      <a:custGeom>
                        <a:avLst/>
                        <a:gdLst>
                          <a:gd name="connsiteX0" fmla="*/ 0 w 45684"/>
                          <a:gd name="connsiteY0" fmla="*/ 57227 h 70664"/>
                          <a:gd name="connsiteX1" fmla="*/ 18388 w 45684"/>
                          <a:gd name="connsiteY1" fmla="*/ 70655 h 70664"/>
                          <a:gd name="connsiteX2" fmla="*/ 36050 w 45684"/>
                          <a:gd name="connsiteY2" fmla="*/ 55594 h 70664"/>
                          <a:gd name="connsiteX3" fmla="*/ 45485 w 45684"/>
                          <a:gd name="connsiteY3" fmla="*/ 18818 h 70664"/>
                          <a:gd name="connsiteX4" fmla="*/ 32300 w 45684"/>
                          <a:gd name="connsiteY4" fmla="*/ 914 h 70664"/>
                          <a:gd name="connsiteX5" fmla="*/ 9073 w 45684"/>
                          <a:gd name="connsiteY5" fmla="*/ 13435 h 70664"/>
                          <a:gd name="connsiteX6" fmla="*/ 0 w 45684"/>
                          <a:gd name="connsiteY6" fmla="*/ 57227 h 706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5684" h="70664">
                            <a:moveTo>
                              <a:pt x="0" y="57227"/>
                            </a:moveTo>
                            <a:cubicBezTo>
                              <a:pt x="0" y="57227"/>
                              <a:pt x="5262" y="71078"/>
                              <a:pt x="18388" y="70655"/>
                            </a:cubicBezTo>
                            <a:cubicBezTo>
                              <a:pt x="32179" y="70231"/>
                              <a:pt x="36050" y="55594"/>
                              <a:pt x="36050" y="55594"/>
                            </a:cubicBezTo>
                            <a:lnTo>
                              <a:pt x="45485" y="18818"/>
                            </a:lnTo>
                            <a:cubicBezTo>
                              <a:pt x="46816" y="7568"/>
                              <a:pt x="41372" y="2971"/>
                              <a:pt x="32300" y="914"/>
                            </a:cubicBezTo>
                            <a:cubicBezTo>
                              <a:pt x="23287" y="-1566"/>
                              <a:pt x="12339" y="491"/>
                              <a:pt x="9073" y="13435"/>
                            </a:cubicBezTo>
                            <a:lnTo>
                              <a:pt x="0" y="5722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94" name="Freihandform: Form 393">
                        <a:extLst>
                          <a:ext uri="{FF2B5EF4-FFF2-40B4-BE49-F238E27FC236}">
                            <a16:creationId xmlns:a16="http://schemas.microsoft.com/office/drawing/2014/main" id="{38C23715-1B6F-909C-CFC9-0D715540739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17870" y="3693202"/>
                        <a:ext cx="36856" cy="56556"/>
                      </a:xfrm>
                      <a:custGeom>
                        <a:avLst/>
                        <a:gdLst>
                          <a:gd name="connsiteX0" fmla="*/ 7016 w 36856"/>
                          <a:gd name="connsiteY0" fmla="*/ 49175 h 56556"/>
                          <a:gd name="connsiteX1" fmla="*/ 22985 w 36856"/>
                          <a:gd name="connsiteY1" fmla="*/ 56554 h 56556"/>
                          <a:gd name="connsiteX2" fmla="*/ 36775 w 36856"/>
                          <a:gd name="connsiteY2" fmla="*/ 43187 h 56556"/>
                          <a:gd name="connsiteX3" fmla="*/ 36110 w 36856"/>
                          <a:gd name="connsiteY3" fmla="*/ 12037 h 56556"/>
                          <a:gd name="connsiteX4" fmla="*/ 19356 w 36856"/>
                          <a:gd name="connsiteY4" fmla="*/ 0 h 56556"/>
                          <a:gd name="connsiteX5" fmla="*/ 0 w 36856"/>
                          <a:gd name="connsiteY5" fmla="*/ 13670 h 56556"/>
                          <a:gd name="connsiteX6" fmla="*/ 6956 w 36856"/>
                          <a:gd name="connsiteY6" fmla="*/ 49175 h 5655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6856" h="56556">
                            <a:moveTo>
                              <a:pt x="7016" y="49175"/>
                            </a:moveTo>
                            <a:cubicBezTo>
                              <a:pt x="7016" y="49175"/>
                              <a:pt x="7198" y="56192"/>
                              <a:pt x="22985" y="56554"/>
                            </a:cubicBezTo>
                            <a:cubicBezTo>
                              <a:pt x="38772" y="56736"/>
                              <a:pt x="36775" y="43187"/>
                              <a:pt x="36775" y="43187"/>
                            </a:cubicBezTo>
                            <a:lnTo>
                              <a:pt x="36110" y="12037"/>
                            </a:lnTo>
                            <a:cubicBezTo>
                              <a:pt x="32179" y="4899"/>
                              <a:pt x="31392" y="0"/>
                              <a:pt x="19356" y="0"/>
                            </a:cubicBezTo>
                            <a:cubicBezTo>
                              <a:pt x="8649" y="665"/>
                              <a:pt x="4234" y="6653"/>
                              <a:pt x="0" y="13670"/>
                            </a:cubicBezTo>
                            <a:lnTo>
                              <a:pt x="6956" y="4917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95" name="Freihandform: Form 394">
                        <a:extLst>
                          <a:ext uri="{FF2B5EF4-FFF2-40B4-BE49-F238E27FC236}">
                            <a16:creationId xmlns:a16="http://schemas.microsoft.com/office/drawing/2014/main" id="{3F13B0FC-A293-D8B5-A979-70D067B3CD2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24826" y="3726462"/>
                        <a:ext cx="35970" cy="76279"/>
                      </a:xfrm>
                      <a:custGeom>
                        <a:avLst/>
                        <a:gdLst>
                          <a:gd name="connsiteX0" fmla="*/ 10404 w 35970"/>
                          <a:gd name="connsiteY0" fmla="*/ 52086 h 76279"/>
                          <a:gd name="connsiteX1" fmla="*/ 18146 w 35970"/>
                          <a:gd name="connsiteY1" fmla="*/ 76280 h 76279"/>
                          <a:gd name="connsiteX2" fmla="*/ 35747 w 35970"/>
                          <a:gd name="connsiteY2" fmla="*/ 41319 h 76279"/>
                          <a:gd name="connsiteX3" fmla="*/ 30062 w 35970"/>
                          <a:gd name="connsiteY3" fmla="*/ 10713 h 76279"/>
                          <a:gd name="connsiteX4" fmla="*/ 11795 w 35970"/>
                          <a:gd name="connsiteY4" fmla="*/ 854 h 76279"/>
                          <a:gd name="connsiteX5" fmla="*/ 0 w 35970"/>
                          <a:gd name="connsiteY5" fmla="*/ 15915 h 76279"/>
                          <a:gd name="connsiteX6" fmla="*/ 10343 w 35970"/>
                          <a:gd name="connsiteY6" fmla="*/ 52146 h 7627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5970" h="76279">
                            <a:moveTo>
                              <a:pt x="10404" y="52086"/>
                            </a:moveTo>
                            <a:lnTo>
                              <a:pt x="18146" y="76280"/>
                            </a:lnTo>
                            <a:cubicBezTo>
                              <a:pt x="33993" y="72106"/>
                              <a:pt x="36896" y="53779"/>
                              <a:pt x="35747" y="41319"/>
                            </a:cubicBezTo>
                            <a:cubicBezTo>
                              <a:pt x="34598" y="28859"/>
                              <a:pt x="30062" y="10713"/>
                              <a:pt x="30062" y="10713"/>
                            </a:cubicBezTo>
                            <a:cubicBezTo>
                              <a:pt x="26372" y="-477"/>
                              <a:pt x="17420" y="-1082"/>
                              <a:pt x="11795" y="854"/>
                            </a:cubicBezTo>
                            <a:cubicBezTo>
                              <a:pt x="5625" y="2971"/>
                              <a:pt x="0" y="6963"/>
                              <a:pt x="0" y="15915"/>
                            </a:cubicBezTo>
                            <a:lnTo>
                              <a:pt x="10343" y="52146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377" name="Grafik 297">
                      <a:extLst>
                        <a:ext uri="{FF2B5EF4-FFF2-40B4-BE49-F238E27FC236}">
                          <a16:creationId xmlns:a16="http://schemas.microsoft.com/office/drawing/2014/main" id="{342E00E7-D866-114B-CC60-A07FF83BA5C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85994" y="3644681"/>
                      <a:ext cx="53203" cy="170460"/>
                      <a:chOff x="185994" y="3644681"/>
                      <a:chExt cx="53203" cy="170460"/>
                    </a:xfrm>
                    <a:solidFill>
                      <a:srgbClr val="02787D"/>
                    </a:solidFill>
                  </p:grpSpPr>
                  <p:sp>
                    <p:nvSpPr>
                      <p:cNvPr id="390" name="Freihandform: Form 389">
                        <a:extLst>
                          <a:ext uri="{FF2B5EF4-FFF2-40B4-BE49-F238E27FC236}">
                            <a16:creationId xmlns:a16="http://schemas.microsoft.com/office/drawing/2014/main" id="{5BB51302-811E-BAC7-E123-27B29E2CE6A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85994" y="3644681"/>
                        <a:ext cx="50168" cy="77084"/>
                      </a:xfrm>
                      <a:custGeom>
                        <a:avLst/>
                        <a:gdLst>
                          <a:gd name="connsiteX0" fmla="*/ 0 w 50168"/>
                          <a:gd name="connsiteY0" fmla="*/ 63098 h 77084"/>
                          <a:gd name="connsiteX1" fmla="*/ 18932 w 50168"/>
                          <a:gd name="connsiteY1" fmla="*/ 77070 h 77084"/>
                          <a:gd name="connsiteX2" fmla="*/ 38892 w 50168"/>
                          <a:gd name="connsiteY2" fmla="*/ 63702 h 77084"/>
                          <a:gd name="connsiteX3" fmla="*/ 49840 w 50168"/>
                          <a:gd name="connsiteY3" fmla="*/ 20999 h 77084"/>
                          <a:gd name="connsiteX4" fmla="*/ 38106 w 50168"/>
                          <a:gd name="connsiteY4" fmla="*/ 918 h 77084"/>
                          <a:gd name="connsiteX5" fmla="*/ 10041 w 50168"/>
                          <a:gd name="connsiteY5" fmla="*/ 15072 h 77084"/>
                          <a:gd name="connsiteX6" fmla="*/ 60 w 50168"/>
                          <a:gd name="connsiteY6" fmla="*/ 63037 h 7708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0168" h="77084">
                            <a:moveTo>
                              <a:pt x="0" y="63098"/>
                            </a:moveTo>
                            <a:cubicBezTo>
                              <a:pt x="0" y="63098"/>
                              <a:pt x="3932" y="77614"/>
                              <a:pt x="18932" y="77070"/>
                            </a:cubicBezTo>
                            <a:cubicBezTo>
                              <a:pt x="34054" y="76525"/>
                              <a:pt x="38892" y="63702"/>
                              <a:pt x="38892" y="63702"/>
                            </a:cubicBezTo>
                            <a:lnTo>
                              <a:pt x="49840" y="20999"/>
                            </a:lnTo>
                            <a:cubicBezTo>
                              <a:pt x="51292" y="8721"/>
                              <a:pt x="48026" y="3156"/>
                              <a:pt x="38106" y="918"/>
                            </a:cubicBezTo>
                            <a:cubicBezTo>
                              <a:pt x="28247" y="-1743"/>
                              <a:pt x="13549" y="918"/>
                              <a:pt x="10041" y="15072"/>
                            </a:cubicBezTo>
                            <a:lnTo>
                              <a:pt x="60" y="6303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91" name="Freihandform: Form 390">
                        <a:extLst>
                          <a:ext uri="{FF2B5EF4-FFF2-40B4-BE49-F238E27FC236}">
                            <a16:creationId xmlns:a16="http://schemas.microsoft.com/office/drawing/2014/main" id="{D6804A44-924D-4FA2-4D3F-BDA5CC0855A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86054" y="3694653"/>
                        <a:ext cx="41227" cy="66339"/>
                      </a:xfrm>
                      <a:custGeom>
                        <a:avLst/>
                        <a:gdLst>
                          <a:gd name="connsiteX0" fmla="*/ 6291 w 41227"/>
                          <a:gd name="connsiteY0" fmla="*/ 58248 h 66339"/>
                          <a:gd name="connsiteX1" fmla="*/ 29699 w 41227"/>
                          <a:gd name="connsiteY1" fmla="*/ 64478 h 66339"/>
                          <a:gd name="connsiteX2" fmla="*/ 40284 w 41227"/>
                          <a:gd name="connsiteY2" fmla="*/ 45485 h 66339"/>
                          <a:gd name="connsiteX3" fmla="*/ 38832 w 41227"/>
                          <a:gd name="connsiteY3" fmla="*/ 13730 h 66339"/>
                          <a:gd name="connsiteX4" fmla="*/ 21533 w 41227"/>
                          <a:gd name="connsiteY4" fmla="*/ 0 h 66339"/>
                          <a:gd name="connsiteX5" fmla="*/ 0 w 41227"/>
                          <a:gd name="connsiteY5" fmla="*/ 13065 h 66339"/>
                          <a:gd name="connsiteX6" fmla="*/ 6351 w 41227"/>
                          <a:gd name="connsiteY6" fmla="*/ 58187 h 6633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1227" h="66339">
                            <a:moveTo>
                              <a:pt x="6291" y="58248"/>
                            </a:moveTo>
                            <a:cubicBezTo>
                              <a:pt x="6291" y="58248"/>
                              <a:pt x="12279" y="71010"/>
                              <a:pt x="29699" y="64478"/>
                            </a:cubicBezTo>
                            <a:cubicBezTo>
                              <a:pt x="45909" y="58429"/>
                              <a:pt x="40284" y="45485"/>
                              <a:pt x="40284" y="45485"/>
                            </a:cubicBezTo>
                            <a:lnTo>
                              <a:pt x="38832" y="13730"/>
                            </a:lnTo>
                            <a:cubicBezTo>
                              <a:pt x="36957" y="5323"/>
                              <a:pt x="31392" y="0"/>
                              <a:pt x="21533" y="0"/>
                            </a:cubicBezTo>
                            <a:cubicBezTo>
                              <a:pt x="7258" y="0"/>
                              <a:pt x="2964" y="4657"/>
                              <a:pt x="0" y="13065"/>
                            </a:cubicBezTo>
                            <a:lnTo>
                              <a:pt x="6351" y="5818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92" name="Freihandform: Form 391">
                        <a:extLst>
                          <a:ext uri="{FF2B5EF4-FFF2-40B4-BE49-F238E27FC236}">
                            <a16:creationId xmlns:a16="http://schemas.microsoft.com/office/drawing/2014/main" id="{8D16B2A2-CF67-5181-B58A-77017C7F9C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92405" y="3728005"/>
                        <a:ext cx="46792" cy="87136"/>
                      </a:xfrm>
                      <a:custGeom>
                        <a:avLst/>
                        <a:gdLst>
                          <a:gd name="connsiteX0" fmla="*/ 19356 w 46792"/>
                          <a:gd name="connsiteY0" fmla="*/ 61974 h 87136"/>
                          <a:gd name="connsiteX1" fmla="*/ 31271 w 46792"/>
                          <a:gd name="connsiteY1" fmla="*/ 87136 h 87136"/>
                          <a:gd name="connsiteX2" fmla="*/ 45364 w 46792"/>
                          <a:gd name="connsiteY2" fmla="*/ 46671 h 87136"/>
                          <a:gd name="connsiteX3" fmla="*/ 32783 w 46792"/>
                          <a:gd name="connsiteY3" fmla="*/ 9351 h 87136"/>
                          <a:gd name="connsiteX4" fmla="*/ 7682 w 46792"/>
                          <a:gd name="connsiteY4" fmla="*/ 702 h 87136"/>
                          <a:gd name="connsiteX5" fmla="*/ 0 w 46792"/>
                          <a:gd name="connsiteY5" fmla="*/ 25017 h 87136"/>
                          <a:gd name="connsiteX6" fmla="*/ 19416 w 46792"/>
                          <a:gd name="connsiteY6" fmla="*/ 62035 h 8713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6792" h="87136">
                            <a:moveTo>
                              <a:pt x="19356" y="61974"/>
                            </a:moveTo>
                            <a:lnTo>
                              <a:pt x="31271" y="87136"/>
                            </a:lnTo>
                            <a:cubicBezTo>
                              <a:pt x="47844" y="80362"/>
                              <a:pt x="48389" y="59978"/>
                              <a:pt x="45364" y="46671"/>
                            </a:cubicBezTo>
                            <a:cubicBezTo>
                              <a:pt x="42340" y="33304"/>
                              <a:pt x="32783" y="9351"/>
                              <a:pt x="32783" y="9351"/>
                            </a:cubicBezTo>
                            <a:cubicBezTo>
                              <a:pt x="26130" y="3666"/>
                              <a:pt x="14275" y="-2020"/>
                              <a:pt x="7682" y="702"/>
                            </a:cubicBezTo>
                            <a:cubicBezTo>
                              <a:pt x="1089" y="3363"/>
                              <a:pt x="726" y="16307"/>
                              <a:pt x="0" y="25017"/>
                            </a:cubicBezTo>
                            <a:lnTo>
                              <a:pt x="19416" y="62035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378" name="Grafik 297">
                      <a:extLst>
                        <a:ext uri="{FF2B5EF4-FFF2-40B4-BE49-F238E27FC236}">
                          <a16:creationId xmlns:a16="http://schemas.microsoft.com/office/drawing/2014/main" id="{D600102E-9F79-CE5C-3E9A-14BE157720E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1880" y="3632666"/>
                      <a:ext cx="59919" cy="164209"/>
                      <a:chOff x="151880" y="3632666"/>
                      <a:chExt cx="59919" cy="164209"/>
                    </a:xfrm>
                    <a:solidFill>
                      <a:srgbClr val="02787D"/>
                    </a:solidFill>
                  </p:grpSpPr>
                  <p:sp>
                    <p:nvSpPr>
                      <p:cNvPr id="387" name="Freihandform: Form 386">
                        <a:extLst>
                          <a:ext uri="{FF2B5EF4-FFF2-40B4-BE49-F238E27FC236}">
                            <a16:creationId xmlns:a16="http://schemas.microsoft.com/office/drawing/2014/main" id="{336F0EC2-1F1D-7588-365F-0CF6AD8455E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880" y="3632666"/>
                        <a:ext cx="47698" cy="76503"/>
                      </a:xfrm>
                      <a:custGeom>
                        <a:avLst/>
                        <a:gdLst>
                          <a:gd name="connsiteX0" fmla="*/ 0 w 47698"/>
                          <a:gd name="connsiteY0" fmla="*/ 67492 h 76503"/>
                          <a:gd name="connsiteX1" fmla="*/ 20505 w 47698"/>
                          <a:gd name="connsiteY1" fmla="*/ 76202 h 76503"/>
                          <a:gd name="connsiteX2" fmla="*/ 37562 w 47698"/>
                          <a:gd name="connsiteY2" fmla="*/ 60355 h 76503"/>
                          <a:gd name="connsiteX3" fmla="*/ 47542 w 47698"/>
                          <a:gd name="connsiteY3" fmla="*/ 21160 h 76503"/>
                          <a:gd name="connsiteX4" fmla="*/ 36231 w 47698"/>
                          <a:gd name="connsiteY4" fmla="*/ 897 h 76503"/>
                          <a:gd name="connsiteX5" fmla="*/ 8770 w 47698"/>
                          <a:gd name="connsiteY5" fmla="*/ 14748 h 76503"/>
                          <a:gd name="connsiteX6" fmla="*/ 0 w 47698"/>
                          <a:gd name="connsiteY6" fmla="*/ 67492 h 7650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7698" h="76503">
                            <a:moveTo>
                              <a:pt x="0" y="67492"/>
                            </a:moveTo>
                            <a:cubicBezTo>
                              <a:pt x="0" y="67492"/>
                              <a:pt x="4960" y="78440"/>
                              <a:pt x="20505" y="76202"/>
                            </a:cubicBezTo>
                            <a:cubicBezTo>
                              <a:pt x="35142" y="74085"/>
                              <a:pt x="37562" y="60355"/>
                              <a:pt x="37562" y="60355"/>
                            </a:cubicBezTo>
                            <a:lnTo>
                              <a:pt x="47542" y="21160"/>
                            </a:lnTo>
                            <a:cubicBezTo>
                              <a:pt x="48389" y="11361"/>
                              <a:pt x="45969" y="3074"/>
                              <a:pt x="36231" y="897"/>
                            </a:cubicBezTo>
                            <a:cubicBezTo>
                              <a:pt x="26614" y="-1704"/>
                              <a:pt x="12218" y="897"/>
                              <a:pt x="8770" y="14748"/>
                            </a:cubicBezTo>
                            <a:lnTo>
                              <a:pt x="0" y="67492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8" name="Freihandform: Form 387">
                        <a:extLst>
                          <a:ext uri="{FF2B5EF4-FFF2-40B4-BE49-F238E27FC236}">
                            <a16:creationId xmlns:a16="http://schemas.microsoft.com/office/drawing/2014/main" id="{A0B01653-3D8D-0354-8143-0BE0DBC8BAB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880" y="3683991"/>
                        <a:ext cx="48902" cy="63864"/>
                      </a:xfrm>
                      <a:custGeom>
                        <a:avLst/>
                        <a:gdLst>
                          <a:gd name="connsiteX0" fmla="*/ 18267 w 48902"/>
                          <a:gd name="connsiteY0" fmla="*/ 55603 h 63864"/>
                          <a:gd name="connsiteX1" fmla="*/ 38772 w 48902"/>
                          <a:gd name="connsiteY1" fmla="*/ 62801 h 63864"/>
                          <a:gd name="connsiteX2" fmla="*/ 46877 w 48902"/>
                          <a:gd name="connsiteY2" fmla="*/ 37276 h 63864"/>
                          <a:gd name="connsiteX3" fmla="*/ 37562 w 48902"/>
                          <a:gd name="connsiteY3" fmla="*/ 9089 h 63864"/>
                          <a:gd name="connsiteX4" fmla="*/ 19295 w 48902"/>
                          <a:gd name="connsiteY4" fmla="*/ 319 h 63864"/>
                          <a:gd name="connsiteX5" fmla="*/ 0 w 48902"/>
                          <a:gd name="connsiteY5" fmla="*/ 16227 h 63864"/>
                          <a:gd name="connsiteX6" fmla="*/ 18267 w 48902"/>
                          <a:gd name="connsiteY6" fmla="*/ 55603 h 638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8902" h="63864">
                            <a:moveTo>
                              <a:pt x="18267" y="55603"/>
                            </a:moveTo>
                            <a:cubicBezTo>
                              <a:pt x="18267" y="55603"/>
                              <a:pt x="22561" y="67398"/>
                              <a:pt x="38772" y="62801"/>
                            </a:cubicBezTo>
                            <a:cubicBezTo>
                              <a:pt x="54982" y="58083"/>
                              <a:pt x="46877" y="37276"/>
                              <a:pt x="46877" y="37276"/>
                            </a:cubicBezTo>
                            <a:lnTo>
                              <a:pt x="37562" y="9089"/>
                            </a:lnTo>
                            <a:cubicBezTo>
                              <a:pt x="35324" y="137"/>
                              <a:pt x="28065" y="-649"/>
                              <a:pt x="19295" y="319"/>
                            </a:cubicBezTo>
                            <a:cubicBezTo>
                              <a:pt x="10525" y="1287"/>
                              <a:pt x="2117" y="7759"/>
                              <a:pt x="0" y="16227"/>
                            </a:cubicBezTo>
                            <a:lnTo>
                              <a:pt x="18267" y="55603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9" name="Freihandform: Form 388">
                        <a:extLst>
                          <a:ext uri="{FF2B5EF4-FFF2-40B4-BE49-F238E27FC236}">
                            <a16:creationId xmlns:a16="http://schemas.microsoft.com/office/drawing/2014/main" id="{F57E6995-FCF7-6DD1-7569-F3E4023E3BF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68150" y="3716396"/>
                        <a:ext cx="43649" cy="80478"/>
                      </a:xfrm>
                      <a:custGeom>
                        <a:avLst/>
                        <a:gdLst>
                          <a:gd name="connsiteX0" fmla="*/ 16815 w 43649"/>
                          <a:gd name="connsiteY0" fmla="*/ 55800 h 80478"/>
                          <a:gd name="connsiteX1" fmla="*/ 28307 w 43649"/>
                          <a:gd name="connsiteY1" fmla="*/ 80479 h 80478"/>
                          <a:gd name="connsiteX2" fmla="*/ 42340 w 43649"/>
                          <a:gd name="connsiteY2" fmla="*/ 40981 h 80478"/>
                          <a:gd name="connsiteX3" fmla="*/ 30606 w 43649"/>
                          <a:gd name="connsiteY3" fmla="*/ 4871 h 80478"/>
                          <a:gd name="connsiteX4" fmla="*/ 10162 w 43649"/>
                          <a:gd name="connsiteY4" fmla="*/ 1605 h 80478"/>
                          <a:gd name="connsiteX5" fmla="*/ 0 w 43649"/>
                          <a:gd name="connsiteY5" fmla="*/ 18722 h 80478"/>
                          <a:gd name="connsiteX6" fmla="*/ 16876 w 43649"/>
                          <a:gd name="connsiteY6" fmla="*/ 55861 h 8047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3649" h="80478">
                            <a:moveTo>
                              <a:pt x="16815" y="55800"/>
                            </a:moveTo>
                            <a:lnTo>
                              <a:pt x="28307" y="80479"/>
                            </a:lnTo>
                            <a:cubicBezTo>
                              <a:pt x="44578" y="73946"/>
                              <a:pt x="45183" y="54046"/>
                              <a:pt x="42340" y="40981"/>
                            </a:cubicBezTo>
                            <a:cubicBezTo>
                              <a:pt x="39497" y="27916"/>
                              <a:pt x="30606" y="4871"/>
                              <a:pt x="30606" y="4871"/>
                            </a:cubicBezTo>
                            <a:cubicBezTo>
                              <a:pt x="24134" y="-694"/>
                              <a:pt x="16634" y="-1057"/>
                              <a:pt x="10162" y="1605"/>
                            </a:cubicBezTo>
                            <a:cubicBezTo>
                              <a:pt x="3690" y="4206"/>
                              <a:pt x="786" y="10194"/>
                              <a:pt x="0" y="18722"/>
                            </a:cubicBezTo>
                            <a:lnTo>
                              <a:pt x="16876" y="55861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379" name="Grafik 297">
                      <a:extLst>
                        <a:ext uri="{FF2B5EF4-FFF2-40B4-BE49-F238E27FC236}">
                          <a16:creationId xmlns:a16="http://schemas.microsoft.com/office/drawing/2014/main" id="{3A54D1CF-86D3-0BCE-CCA9-7ED6278BF42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278" y="3599477"/>
                      <a:ext cx="56322" cy="153424"/>
                      <a:chOff x="134278" y="3599477"/>
                      <a:chExt cx="56322" cy="153424"/>
                    </a:xfrm>
                    <a:solidFill>
                      <a:srgbClr val="02787D"/>
                    </a:solidFill>
                  </p:grpSpPr>
                  <p:sp>
                    <p:nvSpPr>
                      <p:cNvPr id="384" name="Freihandform: Form 383">
                        <a:extLst>
                          <a:ext uri="{FF2B5EF4-FFF2-40B4-BE49-F238E27FC236}">
                            <a16:creationId xmlns:a16="http://schemas.microsoft.com/office/drawing/2014/main" id="{6904FA68-5AC9-A1AD-3D37-27446A5FCF3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278" y="3599477"/>
                        <a:ext cx="44676" cy="72318"/>
                      </a:xfrm>
                      <a:custGeom>
                        <a:avLst/>
                        <a:gdLst>
                          <a:gd name="connsiteX0" fmla="*/ 0 w 44676"/>
                          <a:gd name="connsiteY0" fmla="*/ 63301 h 72318"/>
                          <a:gd name="connsiteX1" fmla="*/ 19537 w 44676"/>
                          <a:gd name="connsiteY1" fmla="*/ 72071 h 72318"/>
                          <a:gd name="connsiteX2" fmla="*/ 34719 w 44676"/>
                          <a:gd name="connsiteY2" fmla="*/ 55256 h 72318"/>
                          <a:gd name="connsiteX3" fmla="*/ 44397 w 44676"/>
                          <a:gd name="connsiteY3" fmla="*/ 19085 h 72318"/>
                          <a:gd name="connsiteX4" fmla="*/ 33570 w 44676"/>
                          <a:gd name="connsiteY4" fmla="*/ 819 h 72318"/>
                          <a:gd name="connsiteX5" fmla="*/ 7984 w 44676"/>
                          <a:gd name="connsiteY5" fmla="*/ 13884 h 72318"/>
                          <a:gd name="connsiteX6" fmla="*/ 60 w 44676"/>
                          <a:gd name="connsiteY6" fmla="*/ 63301 h 723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4676" h="72318">
                            <a:moveTo>
                              <a:pt x="0" y="63301"/>
                            </a:moveTo>
                            <a:cubicBezTo>
                              <a:pt x="0" y="63301"/>
                              <a:pt x="5867" y="74067"/>
                              <a:pt x="19537" y="72071"/>
                            </a:cubicBezTo>
                            <a:cubicBezTo>
                              <a:pt x="32904" y="70075"/>
                              <a:pt x="34719" y="55256"/>
                              <a:pt x="34719" y="55256"/>
                            </a:cubicBezTo>
                            <a:lnTo>
                              <a:pt x="44397" y="19085"/>
                            </a:lnTo>
                            <a:cubicBezTo>
                              <a:pt x="45667" y="7835"/>
                              <a:pt x="42703" y="2815"/>
                              <a:pt x="33570" y="819"/>
                            </a:cubicBezTo>
                            <a:cubicBezTo>
                              <a:pt x="24557" y="-1601"/>
                              <a:pt x="11129" y="940"/>
                              <a:pt x="7984" y="13884"/>
                            </a:cubicBezTo>
                            <a:lnTo>
                              <a:pt x="60" y="63301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5" name="Freihandform: Form 384">
                        <a:extLst>
                          <a:ext uri="{FF2B5EF4-FFF2-40B4-BE49-F238E27FC236}">
                            <a16:creationId xmlns:a16="http://schemas.microsoft.com/office/drawing/2014/main" id="{2B55A4C6-C4E6-9158-CA2A-05C02240492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339" y="3644143"/>
                        <a:ext cx="45538" cy="61600"/>
                      </a:xfrm>
                      <a:custGeom>
                        <a:avLst/>
                        <a:gdLst>
                          <a:gd name="connsiteX0" fmla="*/ 17239 w 45538"/>
                          <a:gd name="connsiteY0" fmla="*/ 55349 h 61600"/>
                          <a:gd name="connsiteX1" fmla="*/ 35808 w 45538"/>
                          <a:gd name="connsiteY1" fmla="*/ 60430 h 61600"/>
                          <a:gd name="connsiteX2" fmla="*/ 43913 w 45538"/>
                          <a:gd name="connsiteY2" fmla="*/ 39562 h 61600"/>
                          <a:gd name="connsiteX3" fmla="*/ 34719 w 45538"/>
                          <a:gd name="connsiteY3" fmla="*/ 10590 h 61600"/>
                          <a:gd name="connsiteX4" fmla="*/ 13972 w 45538"/>
                          <a:gd name="connsiteY4" fmla="*/ 1033 h 61600"/>
                          <a:gd name="connsiteX5" fmla="*/ 0 w 45538"/>
                          <a:gd name="connsiteY5" fmla="*/ 18634 h 61600"/>
                          <a:gd name="connsiteX6" fmla="*/ 17239 w 45538"/>
                          <a:gd name="connsiteY6" fmla="*/ 55349 h 616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5538" h="61600">
                            <a:moveTo>
                              <a:pt x="17239" y="55349"/>
                            </a:moveTo>
                            <a:cubicBezTo>
                              <a:pt x="17239" y="55349"/>
                              <a:pt x="20686" y="64846"/>
                              <a:pt x="35808" y="60430"/>
                            </a:cubicBezTo>
                            <a:cubicBezTo>
                              <a:pt x="50929" y="55894"/>
                              <a:pt x="43913" y="39562"/>
                              <a:pt x="43913" y="39562"/>
                            </a:cubicBezTo>
                            <a:lnTo>
                              <a:pt x="34719" y="10590"/>
                            </a:lnTo>
                            <a:cubicBezTo>
                              <a:pt x="31029" y="3513"/>
                              <a:pt x="24920" y="-2475"/>
                              <a:pt x="13972" y="1033"/>
                            </a:cubicBezTo>
                            <a:cubicBezTo>
                              <a:pt x="3932" y="4843"/>
                              <a:pt x="1936" y="10711"/>
                              <a:pt x="0" y="18634"/>
                            </a:cubicBezTo>
                            <a:lnTo>
                              <a:pt x="17239" y="55349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6" name="Freihandform: Form 385">
                        <a:extLst>
                          <a:ext uri="{FF2B5EF4-FFF2-40B4-BE49-F238E27FC236}">
                            <a16:creationId xmlns:a16="http://schemas.microsoft.com/office/drawing/2014/main" id="{F04E47F2-574F-419C-EE52-236D47D194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581" y="3678059"/>
                        <a:ext cx="41019" cy="74842"/>
                      </a:xfrm>
                      <a:custGeom>
                        <a:avLst/>
                        <a:gdLst>
                          <a:gd name="connsiteX0" fmla="*/ 15968 w 41019"/>
                          <a:gd name="connsiteY0" fmla="*/ 51858 h 74842"/>
                          <a:gd name="connsiteX1" fmla="*/ 26795 w 41019"/>
                          <a:gd name="connsiteY1" fmla="*/ 74842 h 74842"/>
                          <a:gd name="connsiteX2" fmla="*/ 39739 w 41019"/>
                          <a:gd name="connsiteY2" fmla="*/ 37825 h 74842"/>
                          <a:gd name="connsiteX3" fmla="*/ 28610 w 41019"/>
                          <a:gd name="connsiteY3" fmla="*/ 5586 h 74842"/>
                          <a:gd name="connsiteX4" fmla="*/ 9436 w 41019"/>
                          <a:gd name="connsiteY4" fmla="*/ 1110 h 74842"/>
                          <a:gd name="connsiteX5" fmla="*/ 0 w 41019"/>
                          <a:gd name="connsiteY5" fmla="*/ 17139 h 74842"/>
                          <a:gd name="connsiteX6" fmla="*/ 15968 w 41019"/>
                          <a:gd name="connsiteY6" fmla="*/ 51797 h 7484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1019" h="74842">
                            <a:moveTo>
                              <a:pt x="15968" y="51858"/>
                            </a:moveTo>
                            <a:lnTo>
                              <a:pt x="26795" y="74842"/>
                            </a:lnTo>
                            <a:cubicBezTo>
                              <a:pt x="41977" y="68673"/>
                              <a:pt x="42461" y="50043"/>
                              <a:pt x="39739" y="37825"/>
                            </a:cubicBezTo>
                            <a:cubicBezTo>
                              <a:pt x="37017" y="25607"/>
                              <a:pt x="28610" y="5586"/>
                              <a:pt x="28610" y="5586"/>
                            </a:cubicBezTo>
                            <a:cubicBezTo>
                              <a:pt x="22561" y="384"/>
                              <a:pt x="15484" y="-1370"/>
                              <a:pt x="9436" y="1110"/>
                            </a:cubicBezTo>
                            <a:cubicBezTo>
                              <a:pt x="3387" y="3530"/>
                              <a:pt x="726" y="9155"/>
                              <a:pt x="0" y="17139"/>
                            </a:cubicBezTo>
                            <a:lnTo>
                              <a:pt x="15968" y="5179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380" name="Freihandform: Form 379">
                      <a:extLst>
                        <a:ext uri="{FF2B5EF4-FFF2-40B4-BE49-F238E27FC236}">
                          <a16:creationId xmlns:a16="http://schemas.microsoft.com/office/drawing/2014/main" id="{B4E3B899-ACE4-FA80-07CD-8294DD70167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537" y="3462369"/>
                      <a:ext cx="174817" cy="206099"/>
                    </a:xfrm>
                    <a:custGeom>
                      <a:avLst/>
                      <a:gdLst>
                        <a:gd name="connsiteX0" fmla="*/ 52804 w 174817"/>
                        <a:gd name="connsiteY0" fmla="*/ 17257 h 206099"/>
                        <a:gd name="connsiteX1" fmla="*/ 23831 w 174817"/>
                        <a:gd name="connsiteY1" fmla="*/ 59174 h 206099"/>
                        <a:gd name="connsiteX2" fmla="*/ 0 w 174817"/>
                        <a:gd name="connsiteY2" fmla="*/ 154742 h 206099"/>
                        <a:gd name="connsiteX3" fmla="*/ 121879 w 174817"/>
                        <a:gd name="connsiteY3" fmla="*/ 206034 h 206099"/>
                        <a:gd name="connsiteX4" fmla="*/ 137787 w 174817"/>
                        <a:gd name="connsiteY4" fmla="*/ 181174 h 206099"/>
                        <a:gd name="connsiteX5" fmla="*/ 174623 w 174817"/>
                        <a:gd name="connsiteY5" fmla="*/ 68670 h 206099"/>
                        <a:gd name="connsiteX6" fmla="*/ 168332 w 174817"/>
                        <a:gd name="connsiteY6" fmla="*/ 27721 h 206099"/>
                        <a:gd name="connsiteX7" fmla="*/ 52804 w 174817"/>
                        <a:gd name="connsiteY7" fmla="*/ 17257 h 2060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74817" h="206099">
                          <a:moveTo>
                            <a:pt x="52804" y="17257"/>
                          </a:moveTo>
                          <a:cubicBezTo>
                            <a:pt x="38892" y="30201"/>
                            <a:pt x="35021" y="36068"/>
                            <a:pt x="23831" y="59174"/>
                          </a:cubicBezTo>
                          <a:cubicBezTo>
                            <a:pt x="3327" y="112462"/>
                            <a:pt x="302" y="153472"/>
                            <a:pt x="0" y="154742"/>
                          </a:cubicBezTo>
                          <a:cubicBezTo>
                            <a:pt x="1210" y="158129"/>
                            <a:pt x="24920" y="208151"/>
                            <a:pt x="121879" y="206034"/>
                          </a:cubicBezTo>
                          <a:cubicBezTo>
                            <a:pt x="127988" y="172585"/>
                            <a:pt x="137666" y="181235"/>
                            <a:pt x="137787" y="181174"/>
                          </a:cubicBezTo>
                          <a:cubicBezTo>
                            <a:pt x="137787" y="181174"/>
                            <a:pt x="167667" y="127886"/>
                            <a:pt x="174623" y="68670"/>
                          </a:cubicBezTo>
                          <a:cubicBezTo>
                            <a:pt x="176135" y="55847"/>
                            <a:pt x="168332" y="27721"/>
                            <a:pt x="168332" y="27721"/>
                          </a:cubicBezTo>
                          <a:cubicBezTo>
                            <a:pt x="164038" y="-5667"/>
                            <a:pt x="76152" y="-8570"/>
                            <a:pt x="52804" y="17257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1" name="Freihandform: Form 380">
                      <a:extLst>
                        <a:ext uri="{FF2B5EF4-FFF2-40B4-BE49-F238E27FC236}">
                          <a16:creationId xmlns:a16="http://schemas.microsoft.com/office/drawing/2014/main" id="{21F0CE4B-EE57-C4AA-0271-42CF3B2E450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3920" y="3485840"/>
                      <a:ext cx="87053" cy="155308"/>
                    </a:xfrm>
                    <a:custGeom>
                      <a:avLst/>
                      <a:gdLst>
                        <a:gd name="connsiteX0" fmla="*/ 55950 w 87053"/>
                        <a:gd name="connsiteY0" fmla="*/ 4250 h 155308"/>
                        <a:gd name="connsiteX1" fmla="*/ 85043 w 87053"/>
                        <a:gd name="connsiteY1" fmla="*/ 131331 h 155308"/>
                        <a:gd name="connsiteX2" fmla="*/ 21835 w 87053"/>
                        <a:gd name="connsiteY2" fmla="*/ 146150 h 155308"/>
                        <a:gd name="connsiteX3" fmla="*/ 0 w 87053"/>
                        <a:gd name="connsiteY3" fmla="*/ 76107 h 155308"/>
                        <a:gd name="connsiteX4" fmla="*/ 55950 w 87053"/>
                        <a:gd name="connsiteY4" fmla="*/ 4190 h 15530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7053" h="155308">
                          <a:moveTo>
                            <a:pt x="55950" y="4250"/>
                          </a:moveTo>
                          <a:cubicBezTo>
                            <a:pt x="77120" y="30682"/>
                            <a:pt x="92785" y="95644"/>
                            <a:pt x="85043" y="131331"/>
                          </a:cubicBezTo>
                          <a:cubicBezTo>
                            <a:pt x="80507" y="158368"/>
                            <a:pt x="26916" y="161392"/>
                            <a:pt x="21835" y="146150"/>
                          </a:cubicBezTo>
                          <a:cubicBezTo>
                            <a:pt x="21835" y="146150"/>
                            <a:pt x="0" y="101028"/>
                            <a:pt x="0" y="76107"/>
                          </a:cubicBezTo>
                          <a:cubicBezTo>
                            <a:pt x="0" y="30924"/>
                            <a:pt x="41312" y="-14138"/>
                            <a:pt x="55950" y="4190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2" name="Freihandform: Form 381">
                      <a:extLst>
                        <a:ext uri="{FF2B5EF4-FFF2-40B4-BE49-F238E27FC236}">
                          <a16:creationId xmlns:a16="http://schemas.microsoft.com/office/drawing/2014/main" id="{18A2F557-E287-48BC-3017-8F79F3A43C8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67523" y="3590194"/>
                      <a:ext cx="71027" cy="149944"/>
                    </a:xfrm>
                    <a:custGeom>
                      <a:avLst/>
                      <a:gdLst>
                        <a:gd name="connsiteX0" fmla="*/ 70956 w 71027"/>
                        <a:gd name="connsiteY0" fmla="*/ 29336 h 149944"/>
                        <a:gd name="connsiteX1" fmla="*/ 51722 w 71027"/>
                        <a:gd name="connsiteY1" fmla="*/ 90910 h 149944"/>
                        <a:gd name="connsiteX2" fmla="*/ 14704 w 71027"/>
                        <a:gd name="connsiteY2" fmla="*/ 149945 h 149944"/>
                        <a:gd name="connsiteX3" fmla="*/ 6 w 71027"/>
                        <a:gd name="connsiteY3" fmla="*/ 123996 h 149944"/>
                        <a:gd name="connsiteX4" fmla="*/ 16035 w 71027"/>
                        <a:gd name="connsiteY4" fmla="*/ 85346 h 149944"/>
                        <a:gd name="connsiteX5" fmla="*/ 8293 w 71027"/>
                        <a:gd name="connsiteY5" fmla="*/ 41796 h 149944"/>
                        <a:gd name="connsiteX6" fmla="*/ 34725 w 71027"/>
                        <a:gd name="connsiteY6" fmla="*/ 423 h 149944"/>
                        <a:gd name="connsiteX7" fmla="*/ 71017 w 71027"/>
                        <a:gd name="connsiteY7" fmla="*/ 29275 h 14994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71027" h="149944">
                          <a:moveTo>
                            <a:pt x="70956" y="29336"/>
                          </a:moveTo>
                          <a:lnTo>
                            <a:pt x="51722" y="90910"/>
                          </a:lnTo>
                          <a:lnTo>
                            <a:pt x="14704" y="149945"/>
                          </a:lnTo>
                          <a:cubicBezTo>
                            <a:pt x="14704" y="149945"/>
                            <a:pt x="974" y="147646"/>
                            <a:pt x="6" y="123996"/>
                          </a:cubicBezTo>
                          <a:cubicBezTo>
                            <a:pt x="-296" y="117040"/>
                            <a:pt x="10349" y="98108"/>
                            <a:pt x="16035" y="85346"/>
                          </a:cubicBezTo>
                          <a:cubicBezTo>
                            <a:pt x="16398" y="62664"/>
                            <a:pt x="8293" y="41796"/>
                            <a:pt x="8293" y="41796"/>
                          </a:cubicBezTo>
                          <a:cubicBezTo>
                            <a:pt x="8293" y="41796"/>
                            <a:pt x="10652" y="4416"/>
                            <a:pt x="34725" y="423"/>
                          </a:cubicBezTo>
                          <a:cubicBezTo>
                            <a:pt x="55895" y="-3085"/>
                            <a:pt x="71501" y="15968"/>
                            <a:pt x="71017" y="2927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3" name="Freihandform: Form 382">
                      <a:extLst>
                        <a:ext uri="{FF2B5EF4-FFF2-40B4-BE49-F238E27FC236}">
                          <a16:creationId xmlns:a16="http://schemas.microsoft.com/office/drawing/2014/main" id="{48C6E9F4-D681-D7E9-610D-AB750CF54BD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78856" y="3541362"/>
                      <a:ext cx="93208" cy="118390"/>
                    </a:xfrm>
                    <a:custGeom>
                      <a:avLst/>
                      <a:gdLst>
                        <a:gd name="connsiteX0" fmla="*/ 66837 w 93208"/>
                        <a:gd name="connsiteY0" fmla="*/ 23609 h 118390"/>
                        <a:gd name="connsiteX1" fmla="*/ 37078 w 93208"/>
                        <a:gd name="connsiteY1" fmla="*/ 17198 h 118390"/>
                        <a:gd name="connsiteX2" fmla="*/ 0 w 93208"/>
                        <a:gd name="connsiteY2" fmla="*/ 74478 h 118390"/>
                        <a:gd name="connsiteX3" fmla="*/ 86374 w 93208"/>
                        <a:gd name="connsiteY3" fmla="*/ 118391 h 118390"/>
                        <a:gd name="connsiteX4" fmla="*/ 93209 w 93208"/>
                        <a:gd name="connsiteY4" fmla="*/ 103390 h 118390"/>
                        <a:gd name="connsiteX5" fmla="*/ 66837 w 93208"/>
                        <a:gd name="connsiteY5" fmla="*/ 23609 h 11839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93208" h="118390">
                          <a:moveTo>
                            <a:pt x="66837" y="23609"/>
                          </a:moveTo>
                          <a:cubicBezTo>
                            <a:pt x="69861" y="-2400"/>
                            <a:pt x="47844" y="-10263"/>
                            <a:pt x="37078" y="17198"/>
                          </a:cubicBezTo>
                          <a:cubicBezTo>
                            <a:pt x="29941" y="35344"/>
                            <a:pt x="32904" y="48711"/>
                            <a:pt x="0" y="74478"/>
                          </a:cubicBezTo>
                          <a:cubicBezTo>
                            <a:pt x="35445" y="68792"/>
                            <a:pt x="57401" y="83490"/>
                            <a:pt x="86374" y="118391"/>
                          </a:cubicBezTo>
                          <a:cubicBezTo>
                            <a:pt x="90547" y="107080"/>
                            <a:pt x="93148" y="103390"/>
                            <a:pt x="93209" y="103390"/>
                          </a:cubicBezTo>
                          <a:cubicBezTo>
                            <a:pt x="79600" y="95345"/>
                            <a:pt x="62059" y="64619"/>
                            <a:pt x="66837" y="23609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grpSp>
              <p:nvGrpSpPr>
                <p:cNvPr id="299" name="Grafik 297">
                  <a:extLst>
                    <a:ext uri="{FF2B5EF4-FFF2-40B4-BE49-F238E27FC236}">
                      <a16:creationId xmlns:a16="http://schemas.microsoft.com/office/drawing/2014/main" id="{22A7C3B6-19A4-6AA1-E001-153A7DF84BC3}"/>
                    </a:ext>
                  </a:extLst>
                </p:cNvPr>
                <p:cNvGrpSpPr/>
                <p:nvPr/>
              </p:nvGrpSpPr>
              <p:grpSpPr>
                <a:xfrm>
                  <a:off x="194280" y="2857225"/>
                  <a:ext cx="247629" cy="636603"/>
                  <a:chOff x="194280" y="2857225"/>
                  <a:chExt cx="247629" cy="636603"/>
                </a:xfrm>
              </p:grpSpPr>
              <p:sp>
                <p:nvSpPr>
                  <p:cNvPr id="371" name="Freihandform: Form 370">
                    <a:extLst>
                      <a:ext uri="{FF2B5EF4-FFF2-40B4-BE49-F238E27FC236}">
                        <a16:creationId xmlns:a16="http://schemas.microsoft.com/office/drawing/2014/main" id="{60A9F935-6DF7-8317-C07A-FE6A9D1F07F3}"/>
                      </a:ext>
                    </a:extLst>
                  </p:cNvPr>
                  <p:cNvSpPr/>
                  <p:nvPr/>
                </p:nvSpPr>
                <p:spPr>
                  <a:xfrm>
                    <a:off x="194280" y="2955333"/>
                    <a:ext cx="244484" cy="537175"/>
                  </a:xfrm>
                  <a:custGeom>
                    <a:avLst/>
                    <a:gdLst>
                      <a:gd name="connsiteX0" fmla="*/ 0 w 244484"/>
                      <a:gd name="connsiteY0" fmla="*/ 526712 h 537175"/>
                      <a:gd name="connsiteX1" fmla="*/ 115589 w 244484"/>
                      <a:gd name="connsiteY1" fmla="*/ 537176 h 537175"/>
                      <a:gd name="connsiteX2" fmla="*/ 244484 w 244484"/>
                      <a:gd name="connsiteY2" fmla="*/ 34356 h 537175"/>
                      <a:gd name="connsiteX3" fmla="*/ 34114 w 244484"/>
                      <a:gd name="connsiteY3" fmla="*/ 0 h 537175"/>
                      <a:gd name="connsiteX4" fmla="*/ 0 w 244484"/>
                      <a:gd name="connsiteY4" fmla="*/ 526712 h 537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4484" h="537175">
                        <a:moveTo>
                          <a:pt x="0" y="526712"/>
                        </a:moveTo>
                        <a:lnTo>
                          <a:pt x="115589" y="537176"/>
                        </a:lnTo>
                        <a:lnTo>
                          <a:pt x="244484" y="34356"/>
                        </a:lnTo>
                        <a:lnTo>
                          <a:pt x="34114" y="0"/>
                        </a:lnTo>
                        <a:lnTo>
                          <a:pt x="0" y="526712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72" name="Freihandform: Form 371">
                    <a:extLst>
                      <a:ext uri="{FF2B5EF4-FFF2-40B4-BE49-F238E27FC236}">
                        <a16:creationId xmlns:a16="http://schemas.microsoft.com/office/drawing/2014/main" id="{999A3468-6CF5-AFFC-D07C-0DF15928E6B3}"/>
                      </a:ext>
                    </a:extLst>
                  </p:cNvPr>
                  <p:cNvSpPr/>
                  <p:nvPr/>
                </p:nvSpPr>
                <p:spPr>
                  <a:xfrm>
                    <a:off x="228032" y="2857225"/>
                    <a:ext cx="213878" cy="213878"/>
                  </a:xfrm>
                  <a:custGeom>
                    <a:avLst/>
                    <a:gdLst>
                      <a:gd name="connsiteX0" fmla="*/ 213878 w 213878"/>
                      <a:gd name="connsiteY0" fmla="*/ 106939 h 213878"/>
                      <a:gd name="connsiteX1" fmla="*/ 106939 w 213878"/>
                      <a:gd name="connsiteY1" fmla="*/ 213878 h 213878"/>
                      <a:gd name="connsiteX2" fmla="*/ 0 w 213878"/>
                      <a:gd name="connsiteY2" fmla="*/ 106939 h 213878"/>
                      <a:gd name="connsiteX3" fmla="*/ 106939 w 213878"/>
                      <a:gd name="connsiteY3" fmla="*/ 0 h 213878"/>
                      <a:gd name="connsiteX4" fmla="*/ 213878 w 213878"/>
                      <a:gd name="connsiteY4" fmla="*/ 106939 h 21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3878" h="213878">
                        <a:moveTo>
                          <a:pt x="213878" y="106939"/>
                        </a:moveTo>
                        <a:cubicBezTo>
                          <a:pt x="213878" y="166000"/>
                          <a:pt x="166000" y="213878"/>
                          <a:pt x="106939" y="213878"/>
                        </a:cubicBezTo>
                        <a:cubicBezTo>
                          <a:pt x="47878" y="213878"/>
                          <a:pt x="0" y="166000"/>
                          <a:pt x="0" y="106939"/>
                        </a:cubicBezTo>
                        <a:cubicBezTo>
                          <a:pt x="0" y="47878"/>
                          <a:pt x="47878" y="0"/>
                          <a:pt x="106939" y="0"/>
                        </a:cubicBezTo>
                        <a:cubicBezTo>
                          <a:pt x="166000" y="0"/>
                          <a:pt x="213878" y="47878"/>
                          <a:pt x="213878" y="106939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73" name="Freihandform: Form 372">
                    <a:extLst>
                      <a:ext uri="{FF2B5EF4-FFF2-40B4-BE49-F238E27FC236}">
                        <a16:creationId xmlns:a16="http://schemas.microsoft.com/office/drawing/2014/main" id="{6727B32A-BC7E-6C2C-1844-793ADC888B9D}"/>
                      </a:ext>
                    </a:extLst>
                  </p:cNvPr>
                  <p:cNvSpPr/>
                  <p:nvPr/>
                </p:nvSpPr>
                <p:spPr>
                  <a:xfrm>
                    <a:off x="194280" y="3406377"/>
                    <a:ext cx="134944" cy="87451"/>
                  </a:xfrm>
                  <a:custGeom>
                    <a:avLst/>
                    <a:gdLst>
                      <a:gd name="connsiteX0" fmla="*/ 4899 w 134944"/>
                      <a:gd name="connsiteY0" fmla="*/ 0 h 87451"/>
                      <a:gd name="connsiteX1" fmla="*/ 0 w 134944"/>
                      <a:gd name="connsiteY1" fmla="*/ 75607 h 87451"/>
                      <a:gd name="connsiteX2" fmla="*/ 115528 w 134944"/>
                      <a:gd name="connsiteY2" fmla="*/ 86071 h 87451"/>
                      <a:gd name="connsiteX3" fmla="*/ 134944 w 134944"/>
                      <a:gd name="connsiteY3" fmla="*/ 10283 h 87451"/>
                      <a:gd name="connsiteX4" fmla="*/ 4839 w 134944"/>
                      <a:gd name="connsiteY4" fmla="*/ 0 h 874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4944" h="87451">
                        <a:moveTo>
                          <a:pt x="4899" y="0"/>
                        </a:moveTo>
                        <a:lnTo>
                          <a:pt x="0" y="75607"/>
                        </a:lnTo>
                        <a:cubicBezTo>
                          <a:pt x="36655" y="86676"/>
                          <a:pt x="75305" y="89519"/>
                          <a:pt x="115528" y="86071"/>
                        </a:cubicBezTo>
                        <a:lnTo>
                          <a:pt x="134944" y="10283"/>
                        </a:lnTo>
                        <a:lnTo>
                          <a:pt x="4839" y="0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00" name="Grafik 297">
                  <a:extLst>
                    <a:ext uri="{FF2B5EF4-FFF2-40B4-BE49-F238E27FC236}">
                      <a16:creationId xmlns:a16="http://schemas.microsoft.com/office/drawing/2014/main" id="{7BFDEC2C-205F-E91F-DE2D-6F71A1217DA3}"/>
                    </a:ext>
                  </a:extLst>
                </p:cNvPr>
                <p:cNvGrpSpPr/>
                <p:nvPr/>
              </p:nvGrpSpPr>
              <p:grpSpPr>
                <a:xfrm>
                  <a:off x="228455" y="2290411"/>
                  <a:ext cx="494351" cy="698612"/>
                  <a:chOff x="228455" y="2290411"/>
                  <a:chExt cx="494351" cy="698612"/>
                </a:xfrm>
              </p:grpSpPr>
              <p:sp>
                <p:nvSpPr>
                  <p:cNvPr id="368" name="Freihandform: Form 367">
                    <a:extLst>
                      <a:ext uri="{FF2B5EF4-FFF2-40B4-BE49-F238E27FC236}">
                        <a16:creationId xmlns:a16="http://schemas.microsoft.com/office/drawing/2014/main" id="{F8B0B162-CF66-F9A8-49F3-097FD0BD40DB}"/>
                      </a:ext>
                    </a:extLst>
                  </p:cNvPr>
                  <p:cNvSpPr/>
                  <p:nvPr/>
                </p:nvSpPr>
                <p:spPr>
                  <a:xfrm>
                    <a:off x="237467" y="2772000"/>
                    <a:ext cx="265472" cy="217023"/>
                  </a:xfrm>
                  <a:custGeom>
                    <a:avLst/>
                    <a:gdLst>
                      <a:gd name="connsiteX0" fmla="*/ 0 w 265472"/>
                      <a:gd name="connsiteY0" fmla="*/ 148191 h 217023"/>
                      <a:gd name="connsiteX1" fmla="*/ 201297 w 265472"/>
                      <a:gd name="connsiteY1" fmla="*/ 217024 h 217023"/>
                      <a:gd name="connsiteX2" fmla="*/ 265473 w 265472"/>
                      <a:gd name="connsiteY2" fmla="*/ 95084 h 217023"/>
                      <a:gd name="connsiteX3" fmla="*/ 65567 w 265472"/>
                      <a:gd name="connsiteY3" fmla="*/ 0 h 217023"/>
                      <a:gd name="connsiteX4" fmla="*/ 0 w 265472"/>
                      <a:gd name="connsiteY4" fmla="*/ 148191 h 2170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5472" h="217023">
                        <a:moveTo>
                          <a:pt x="0" y="148191"/>
                        </a:moveTo>
                        <a:lnTo>
                          <a:pt x="201297" y="217024"/>
                        </a:lnTo>
                        <a:lnTo>
                          <a:pt x="265473" y="95084"/>
                        </a:lnTo>
                        <a:lnTo>
                          <a:pt x="65567" y="0"/>
                        </a:lnTo>
                        <a:lnTo>
                          <a:pt x="0" y="148191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69" name="Freihandform: Form 368">
                    <a:extLst>
                      <a:ext uri="{FF2B5EF4-FFF2-40B4-BE49-F238E27FC236}">
                        <a16:creationId xmlns:a16="http://schemas.microsoft.com/office/drawing/2014/main" id="{D5B20DB2-3D96-046C-F88F-20EF2C86453D}"/>
                      </a:ext>
                    </a:extLst>
                  </p:cNvPr>
                  <p:cNvSpPr/>
                  <p:nvPr/>
                </p:nvSpPr>
                <p:spPr>
                  <a:xfrm>
                    <a:off x="228455" y="2356643"/>
                    <a:ext cx="479532" cy="616231"/>
                  </a:xfrm>
                  <a:custGeom>
                    <a:avLst/>
                    <a:gdLst>
                      <a:gd name="connsiteX0" fmla="*/ 213576 w 479532"/>
                      <a:gd name="connsiteY0" fmla="*/ 60 h 616231"/>
                      <a:gd name="connsiteX1" fmla="*/ 0 w 479532"/>
                      <a:gd name="connsiteY1" fmla="*/ 525321 h 616231"/>
                      <a:gd name="connsiteX2" fmla="*/ 252347 w 479532"/>
                      <a:gd name="connsiteY2" fmla="*/ 616231 h 616231"/>
                      <a:gd name="connsiteX3" fmla="*/ 479533 w 479532"/>
                      <a:gd name="connsiteY3" fmla="*/ 153574 h 616231"/>
                      <a:gd name="connsiteX4" fmla="*/ 213515 w 479532"/>
                      <a:gd name="connsiteY4" fmla="*/ 0 h 6162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79532" h="616231">
                        <a:moveTo>
                          <a:pt x="213576" y="60"/>
                        </a:moveTo>
                        <a:cubicBezTo>
                          <a:pt x="130650" y="109963"/>
                          <a:pt x="0" y="525321"/>
                          <a:pt x="0" y="525321"/>
                        </a:cubicBezTo>
                        <a:lnTo>
                          <a:pt x="252347" y="616231"/>
                        </a:lnTo>
                        <a:lnTo>
                          <a:pt x="479533" y="153574"/>
                        </a:lnTo>
                        <a:cubicBezTo>
                          <a:pt x="397272" y="103854"/>
                          <a:pt x="353359" y="77785"/>
                          <a:pt x="213515" y="0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70" name="Freihandform: Form 369">
                    <a:extLst>
                      <a:ext uri="{FF2B5EF4-FFF2-40B4-BE49-F238E27FC236}">
                        <a16:creationId xmlns:a16="http://schemas.microsoft.com/office/drawing/2014/main" id="{BCD23535-DD67-3E98-F64A-FF60FBD69AFC}"/>
                      </a:ext>
                    </a:extLst>
                  </p:cNvPr>
                  <p:cNvSpPr/>
                  <p:nvPr/>
                </p:nvSpPr>
                <p:spPr>
                  <a:xfrm>
                    <a:off x="414570" y="2290411"/>
                    <a:ext cx="308236" cy="308236"/>
                  </a:xfrm>
                  <a:custGeom>
                    <a:avLst/>
                    <a:gdLst>
                      <a:gd name="connsiteX0" fmla="*/ 308236 w 308236"/>
                      <a:gd name="connsiteY0" fmla="*/ 154118 h 308236"/>
                      <a:gd name="connsiteX1" fmla="*/ 154118 w 308236"/>
                      <a:gd name="connsiteY1" fmla="*/ 308237 h 308236"/>
                      <a:gd name="connsiteX2" fmla="*/ 0 w 308236"/>
                      <a:gd name="connsiteY2" fmla="*/ 154118 h 308236"/>
                      <a:gd name="connsiteX3" fmla="*/ 154118 w 308236"/>
                      <a:gd name="connsiteY3" fmla="*/ 0 h 308236"/>
                      <a:gd name="connsiteX4" fmla="*/ 308236 w 308236"/>
                      <a:gd name="connsiteY4" fmla="*/ 154118 h 3082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8236" h="308236">
                        <a:moveTo>
                          <a:pt x="308236" y="154118"/>
                        </a:moveTo>
                        <a:cubicBezTo>
                          <a:pt x="308236" y="239235"/>
                          <a:pt x="239235" y="308237"/>
                          <a:pt x="154118" y="308237"/>
                        </a:cubicBezTo>
                        <a:cubicBezTo>
                          <a:pt x="69001" y="308237"/>
                          <a:pt x="0" y="239235"/>
                          <a:pt x="0" y="154118"/>
                        </a:cubicBezTo>
                        <a:cubicBezTo>
                          <a:pt x="0" y="69001"/>
                          <a:pt x="69001" y="0"/>
                          <a:pt x="154118" y="0"/>
                        </a:cubicBezTo>
                        <a:cubicBezTo>
                          <a:pt x="239235" y="0"/>
                          <a:pt x="308236" y="69001"/>
                          <a:pt x="308236" y="15411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01" name="Grafik 297">
                  <a:extLst>
                    <a:ext uri="{FF2B5EF4-FFF2-40B4-BE49-F238E27FC236}">
                      <a16:creationId xmlns:a16="http://schemas.microsoft.com/office/drawing/2014/main" id="{82D88F16-CDC8-B4CB-7B41-CAA74B8B50A8}"/>
                    </a:ext>
                  </a:extLst>
                </p:cNvPr>
                <p:cNvGrpSpPr/>
                <p:nvPr/>
              </p:nvGrpSpPr>
              <p:grpSpPr>
                <a:xfrm>
                  <a:off x="1011981" y="4899413"/>
                  <a:ext cx="528917" cy="254497"/>
                  <a:chOff x="1011981" y="4899413"/>
                  <a:chExt cx="528917" cy="254497"/>
                </a:xfrm>
              </p:grpSpPr>
              <p:sp>
                <p:nvSpPr>
                  <p:cNvPr id="366" name="Freihandform: Form 365">
                    <a:extLst>
                      <a:ext uri="{FF2B5EF4-FFF2-40B4-BE49-F238E27FC236}">
                        <a16:creationId xmlns:a16="http://schemas.microsoft.com/office/drawing/2014/main" id="{C02BE976-48AA-F8D2-EB13-C2232949AF19}"/>
                      </a:ext>
                    </a:extLst>
                  </p:cNvPr>
                  <p:cNvSpPr/>
                  <p:nvPr/>
                </p:nvSpPr>
                <p:spPr>
                  <a:xfrm>
                    <a:off x="1011981" y="4899413"/>
                    <a:ext cx="527136" cy="243225"/>
                  </a:xfrm>
                  <a:custGeom>
                    <a:avLst/>
                    <a:gdLst>
                      <a:gd name="connsiteX0" fmla="*/ 14162 w 527136"/>
                      <a:gd name="connsiteY0" fmla="*/ 88430 h 243225"/>
                      <a:gd name="connsiteX1" fmla="*/ 5876 w 527136"/>
                      <a:gd name="connsiteY1" fmla="*/ 184845 h 243225"/>
                      <a:gd name="connsiteX2" fmla="*/ 25776 w 527136"/>
                      <a:gd name="connsiteY2" fmla="*/ 233778 h 243225"/>
                      <a:gd name="connsiteX3" fmla="*/ 45071 w 527136"/>
                      <a:gd name="connsiteY3" fmla="*/ 242609 h 243225"/>
                      <a:gd name="connsiteX4" fmla="*/ 505550 w 527136"/>
                      <a:gd name="connsiteY4" fmla="*/ 72281 h 243225"/>
                      <a:gd name="connsiteX5" fmla="*/ 490066 w 527136"/>
                      <a:gd name="connsiteY5" fmla="*/ 0 h 243225"/>
                      <a:gd name="connsiteX6" fmla="*/ 307822 w 527136"/>
                      <a:gd name="connsiteY6" fmla="*/ 27824 h 243225"/>
                      <a:gd name="connsiteX7" fmla="*/ 169309 w 527136"/>
                      <a:gd name="connsiteY7" fmla="*/ 18811 h 243225"/>
                      <a:gd name="connsiteX8" fmla="*/ 146506 w 527136"/>
                      <a:gd name="connsiteY8" fmla="*/ 63510 h 243225"/>
                      <a:gd name="connsiteX9" fmla="*/ 14223 w 527136"/>
                      <a:gd name="connsiteY9" fmla="*/ 88491 h 2432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527136" h="243225">
                        <a:moveTo>
                          <a:pt x="14162" y="88430"/>
                        </a:moveTo>
                        <a:cubicBezTo>
                          <a:pt x="14162" y="88430"/>
                          <a:pt x="-11121" y="138876"/>
                          <a:pt x="5876" y="184845"/>
                        </a:cubicBezTo>
                        <a:cubicBezTo>
                          <a:pt x="14646" y="208616"/>
                          <a:pt x="21360" y="224222"/>
                          <a:pt x="25776" y="233778"/>
                        </a:cubicBezTo>
                        <a:cubicBezTo>
                          <a:pt x="29163" y="241037"/>
                          <a:pt x="37329" y="244787"/>
                          <a:pt x="45071" y="242609"/>
                        </a:cubicBezTo>
                        <a:cubicBezTo>
                          <a:pt x="110819" y="223980"/>
                          <a:pt x="446516" y="134702"/>
                          <a:pt x="505550" y="72281"/>
                        </a:cubicBezTo>
                        <a:cubicBezTo>
                          <a:pt x="561923" y="12702"/>
                          <a:pt x="490066" y="0"/>
                          <a:pt x="490066" y="0"/>
                        </a:cubicBezTo>
                        <a:cubicBezTo>
                          <a:pt x="490066" y="0"/>
                          <a:pt x="389599" y="46454"/>
                          <a:pt x="307822" y="27824"/>
                        </a:cubicBezTo>
                        <a:cubicBezTo>
                          <a:pt x="234997" y="11251"/>
                          <a:pt x="178926" y="11614"/>
                          <a:pt x="169309" y="18811"/>
                        </a:cubicBezTo>
                        <a:cubicBezTo>
                          <a:pt x="159692" y="26009"/>
                          <a:pt x="161506" y="44336"/>
                          <a:pt x="146506" y="63510"/>
                        </a:cubicBezTo>
                        <a:cubicBezTo>
                          <a:pt x="131505" y="82685"/>
                          <a:pt x="23840" y="79963"/>
                          <a:pt x="14223" y="88491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67" name="Freihandform: Form 366">
                    <a:extLst>
                      <a:ext uri="{FF2B5EF4-FFF2-40B4-BE49-F238E27FC236}">
                        <a16:creationId xmlns:a16="http://schemas.microsoft.com/office/drawing/2014/main" id="{AD43ED9A-FAED-F84E-DAD7-623945CEE197}"/>
                      </a:ext>
                    </a:extLst>
                  </p:cNvPr>
                  <p:cNvSpPr/>
                  <p:nvPr/>
                </p:nvSpPr>
                <p:spPr>
                  <a:xfrm>
                    <a:off x="1023059" y="4902195"/>
                    <a:ext cx="517840" cy="251715"/>
                  </a:xfrm>
                  <a:custGeom>
                    <a:avLst/>
                    <a:gdLst>
                      <a:gd name="connsiteX0" fmla="*/ 37380 w 517840"/>
                      <a:gd name="connsiteY0" fmla="*/ 251077 h 251715"/>
                      <a:gd name="connsiteX1" fmla="*/ 432596 w 517840"/>
                      <a:gd name="connsiteY1" fmla="*/ 120004 h 251715"/>
                      <a:gd name="connsiteX2" fmla="*/ 496469 w 517840"/>
                      <a:gd name="connsiteY2" fmla="*/ 74761 h 251715"/>
                      <a:gd name="connsiteX3" fmla="*/ 489694 w 517840"/>
                      <a:gd name="connsiteY3" fmla="*/ 0 h 251715"/>
                      <a:gd name="connsiteX4" fmla="*/ 474149 w 517840"/>
                      <a:gd name="connsiteY4" fmla="*/ 33146 h 251715"/>
                      <a:gd name="connsiteX5" fmla="*/ 0 w 517840"/>
                      <a:gd name="connsiteY5" fmla="*/ 196035 h 251715"/>
                      <a:gd name="connsiteX6" fmla="*/ 17964 w 517840"/>
                      <a:gd name="connsiteY6" fmla="*/ 242186 h 251715"/>
                      <a:gd name="connsiteX7" fmla="*/ 37320 w 517840"/>
                      <a:gd name="connsiteY7" fmla="*/ 251077 h 2517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17840" h="251715">
                        <a:moveTo>
                          <a:pt x="37380" y="251077"/>
                        </a:moveTo>
                        <a:cubicBezTo>
                          <a:pt x="38832" y="250654"/>
                          <a:pt x="431386" y="120609"/>
                          <a:pt x="432596" y="120004"/>
                        </a:cubicBezTo>
                        <a:cubicBezTo>
                          <a:pt x="466407" y="105004"/>
                          <a:pt x="484734" y="87221"/>
                          <a:pt x="496469" y="74761"/>
                        </a:cubicBezTo>
                        <a:cubicBezTo>
                          <a:pt x="538688" y="30122"/>
                          <a:pt x="508506" y="4234"/>
                          <a:pt x="489694" y="0"/>
                        </a:cubicBezTo>
                        <a:cubicBezTo>
                          <a:pt x="486428" y="7319"/>
                          <a:pt x="483283" y="23469"/>
                          <a:pt x="474149" y="33146"/>
                        </a:cubicBezTo>
                        <a:cubicBezTo>
                          <a:pt x="411788" y="99076"/>
                          <a:pt x="41856" y="185631"/>
                          <a:pt x="0" y="196035"/>
                        </a:cubicBezTo>
                        <a:cubicBezTo>
                          <a:pt x="7621" y="216298"/>
                          <a:pt x="13972" y="233476"/>
                          <a:pt x="17964" y="242186"/>
                        </a:cubicBezTo>
                        <a:cubicBezTo>
                          <a:pt x="21352" y="249505"/>
                          <a:pt x="29517" y="253315"/>
                          <a:pt x="37320" y="251077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02" name="Grafik 297">
                  <a:extLst>
                    <a:ext uri="{FF2B5EF4-FFF2-40B4-BE49-F238E27FC236}">
                      <a16:creationId xmlns:a16="http://schemas.microsoft.com/office/drawing/2014/main" id="{1C74776A-F8AF-0D0E-353A-5B7B312BCC49}"/>
                    </a:ext>
                  </a:extLst>
                </p:cNvPr>
                <p:cNvGrpSpPr/>
                <p:nvPr/>
              </p:nvGrpSpPr>
              <p:grpSpPr>
                <a:xfrm>
                  <a:off x="741194" y="4087994"/>
                  <a:ext cx="551329" cy="969001"/>
                  <a:chOff x="741194" y="4087994"/>
                  <a:chExt cx="551329" cy="969001"/>
                </a:xfrm>
                <a:solidFill>
                  <a:srgbClr val="02787D"/>
                </a:solidFill>
              </p:grpSpPr>
              <p:sp>
                <p:nvSpPr>
                  <p:cNvPr id="364" name="Freihandform: Form 363">
                    <a:extLst>
                      <a:ext uri="{FF2B5EF4-FFF2-40B4-BE49-F238E27FC236}">
                        <a16:creationId xmlns:a16="http://schemas.microsoft.com/office/drawing/2014/main" id="{83DBE230-2334-9466-922C-1E46C1BFDD1D}"/>
                      </a:ext>
                    </a:extLst>
                  </p:cNvPr>
                  <p:cNvSpPr/>
                  <p:nvPr/>
                </p:nvSpPr>
                <p:spPr>
                  <a:xfrm>
                    <a:off x="753352" y="4197221"/>
                    <a:ext cx="539171" cy="859774"/>
                  </a:xfrm>
                  <a:custGeom>
                    <a:avLst/>
                    <a:gdLst>
                      <a:gd name="connsiteX0" fmla="*/ 258638 w 539171"/>
                      <a:gd name="connsiteY0" fmla="*/ 859637 h 859774"/>
                      <a:gd name="connsiteX1" fmla="*/ 539172 w 539171"/>
                      <a:gd name="connsiteY1" fmla="*/ 728141 h 859774"/>
                      <a:gd name="connsiteX2" fmla="*/ 437253 w 539171"/>
                      <a:gd name="connsiteY2" fmla="*/ 484685 h 859774"/>
                      <a:gd name="connsiteX3" fmla="*/ 309930 w 539171"/>
                      <a:gd name="connsiteY3" fmla="*/ 10535 h 859774"/>
                      <a:gd name="connsiteX4" fmla="*/ 0 w 539171"/>
                      <a:gd name="connsiteY4" fmla="*/ 117172 h 859774"/>
                      <a:gd name="connsiteX5" fmla="*/ 169905 w 539171"/>
                      <a:gd name="connsiteY5" fmla="*/ 715257 h 859774"/>
                      <a:gd name="connsiteX6" fmla="*/ 258638 w 539171"/>
                      <a:gd name="connsiteY6" fmla="*/ 859637 h 8597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39171" h="859774">
                        <a:moveTo>
                          <a:pt x="258638" y="859637"/>
                        </a:moveTo>
                        <a:lnTo>
                          <a:pt x="539172" y="728141"/>
                        </a:lnTo>
                        <a:cubicBezTo>
                          <a:pt x="539172" y="728141"/>
                          <a:pt x="448685" y="518133"/>
                          <a:pt x="437253" y="484685"/>
                        </a:cubicBezTo>
                        <a:cubicBezTo>
                          <a:pt x="425821" y="451236"/>
                          <a:pt x="309930" y="10535"/>
                          <a:pt x="309930" y="10535"/>
                        </a:cubicBezTo>
                        <a:cubicBezTo>
                          <a:pt x="194099" y="-20676"/>
                          <a:pt x="72160" y="18217"/>
                          <a:pt x="0" y="117172"/>
                        </a:cubicBezTo>
                        <a:cubicBezTo>
                          <a:pt x="26372" y="349740"/>
                          <a:pt x="140327" y="605535"/>
                          <a:pt x="169905" y="715257"/>
                        </a:cubicBezTo>
                        <a:cubicBezTo>
                          <a:pt x="187930" y="782276"/>
                          <a:pt x="222407" y="863569"/>
                          <a:pt x="258638" y="859637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65" name="Freihandform: Form 364">
                    <a:extLst>
                      <a:ext uri="{FF2B5EF4-FFF2-40B4-BE49-F238E27FC236}">
                        <a16:creationId xmlns:a16="http://schemas.microsoft.com/office/drawing/2014/main" id="{DD90210D-FF74-A982-AE47-AD42ED076352}"/>
                      </a:ext>
                    </a:extLst>
                  </p:cNvPr>
                  <p:cNvSpPr/>
                  <p:nvPr/>
                </p:nvSpPr>
                <p:spPr>
                  <a:xfrm>
                    <a:off x="741194" y="4087994"/>
                    <a:ext cx="328196" cy="328196"/>
                  </a:xfrm>
                  <a:custGeom>
                    <a:avLst/>
                    <a:gdLst>
                      <a:gd name="connsiteX0" fmla="*/ 328197 w 328196"/>
                      <a:gd name="connsiteY0" fmla="*/ 164098 h 328196"/>
                      <a:gd name="connsiteX1" fmla="*/ 164098 w 328196"/>
                      <a:gd name="connsiteY1" fmla="*/ 328197 h 328196"/>
                      <a:gd name="connsiteX2" fmla="*/ 0 w 328196"/>
                      <a:gd name="connsiteY2" fmla="*/ 164098 h 328196"/>
                      <a:gd name="connsiteX3" fmla="*/ 164098 w 328196"/>
                      <a:gd name="connsiteY3" fmla="*/ 0 h 328196"/>
                      <a:gd name="connsiteX4" fmla="*/ 328197 w 328196"/>
                      <a:gd name="connsiteY4" fmla="*/ 164098 h 3281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8196" h="328196">
                        <a:moveTo>
                          <a:pt x="328197" y="164098"/>
                        </a:moveTo>
                        <a:cubicBezTo>
                          <a:pt x="328197" y="254727"/>
                          <a:pt x="254727" y="328197"/>
                          <a:pt x="164098" y="328197"/>
                        </a:cubicBezTo>
                        <a:cubicBezTo>
                          <a:pt x="73469" y="328197"/>
                          <a:pt x="0" y="254727"/>
                          <a:pt x="0" y="164098"/>
                        </a:cubicBezTo>
                        <a:cubicBezTo>
                          <a:pt x="0" y="73469"/>
                          <a:pt x="73469" y="0"/>
                          <a:pt x="164098" y="0"/>
                        </a:cubicBezTo>
                        <a:cubicBezTo>
                          <a:pt x="254727" y="0"/>
                          <a:pt x="328197" y="73469"/>
                          <a:pt x="328197" y="16409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03" name="Grafik 297">
                  <a:extLst>
                    <a:ext uri="{FF2B5EF4-FFF2-40B4-BE49-F238E27FC236}">
                      <a16:creationId xmlns:a16="http://schemas.microsoft.com/office/drawing/2014/main" id="{48B07769-F97C-FB5D-404E-FB5B0DDAC6A0}"/>
                    </a:ext>
                  </a:extLst>
                </p:cNvPr>
                <p:cNvGrpSpPr/>
                <p:nvPr/>
              </p:nvGrpSpPr>
              <p:grpSpPr>
                <a:xfrm>
                  <a:off x="415417" y="3058220"/>
                  <a:ext cx="647865" cy="1260991"/>
                  <a:chOff x="415417" y="3058220"/>
                  <a:chExt cx="647865" cy="1260991"/>
                </a:xfrm>
                <a:solidFill>
                  <a:srgbClr val="02787D"/>
                </a:solidFill>
              </p:grpSpPr>
              <p:sp>
                <p:nvSpPr>
                  <p:cNvPr id="362" name="Freihandform: Form 361">
                    <a:extLst>
                      <a:ext uri="{FF2B5EF4-FFF2-40B4-BE49-F238E27FC236}">
                        <a16:creationId xmlns:a16="http://schemas.microsoft.com/office/drawing/2014/main" id="{4077C0A8-568E-E3B6-DA8B-5B98D99E59E5}"/>
                      </a:ext>
                    </a:extLst>
                  </p:cNvPr>
                  <p:cNvSpPr/>
                  <p:nvPr/>
                </p:nvSpPr>
                <p:spPr>
                  <a:xfrm>
                    <a:off x="422857" y="3262239"/>
                    <a:ext cx="640425" cy="1056972"/>
                  </a:xfrm>
                  <a:custGeom>
                    <a:avLst/>
                    <a:gdLst>
                      <a:gd name="connsiteX0" fmla="*/ 60 w 640425"/>
                      <a:gd name="connsiteY0" fmla="*/ 100588 h 1056972"/>
                      <a:gd name="connsiteX1" fmla="*/ 478021 w 640425"/>
                      <a:gd name="connsiteY1" fmla="*/ 0 h 1056972"/>
                      <a:gd name="connsiteX2" fmla="*/ 559616 w 640425"/>
                      <a:gd name="connsiteY2" fmla="*/ 405861 h 1056972"/>
                      <a:gd name="connsiteX3" fmla="*/ 640425 w 640425"/>
                      <a:gd name="connsiteY3" fmla="*/ 945517 h 1056972"/>
                      <a:gd name="connsiteX4" fmla="*/ 330616 w 640425"/>
                      <a:gd name="connsiteY4" fmla="*/ 1052396 h 1056972"/>
                      <a:gd name="connsiteX5" fmla="*/ 0 w 640425"/>
                      <a:gd name="connsiteY5" fmla="*/ 100588 h 10569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40425" h="1056972">
                        <a:moveTo>
                          <a:pt x="60" y="100588"/>
                        </a:moveTo>
                        <a:cubicBezTo>
                          <a:pt x="6049" y="100588"/>
                          <a:pt x="478021" y="0"/>
                          <a:pt x="478021" y="0"/>
                        </a:cubicBezTo>
                        <a:cubicBezTo>
                          <a:pt x="478021" y="0"/>
                          <a:pt x="539837" y="303216"/>
                          <a:pt x="559616" y="405861"/>
                        </a:cubicBezTo>
                        <a:cubicBezTo>
                          <a:pt x="635466" y="799141"/>
                          <a:pt x="640425" y="945517"/>
                          <a:pt x="640425" y="945517"/>
                        </a:cubicBezTo>
                        <a:cubicBezTo>
                          <a:pt x="558043" y="1025600"/>
                          <a:pt x="438765" y="1072295"/>
                          <a:pt x="330616" y="1052396"/>
                        </a:cubicBezTo>
                        <a:cubicBezTo>
                          <a:pt x="265654" y="932149"/>
                          <a:pt x="64055" y="315555"/>
                          <a:pt x="0" y="10058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63" name="Freihandform: Form 362">
                    <a:extLst>
                      <a:ext uri="{FF2B5EF4-FFF2-40B4-BE49-F238E27FC236}">
                        <a16:creationId xmlns:a16="http://schemas.microsoft.com/office/drawing/2014/main" id="{C44CA022-F9A1-F247-30D1-8887E10DCE64}"/>
                      </a:ext>
                    </a:extLst>
                  </p:cNvPr>
                  <p:cNvSpPr/>
                  <p:nvPr/>
                </p:nvSpPr>
                <p:spPr>
                  <a:xfrm>
                    <a:off x="415417" y="3058220"/>
                    <a:ext cx="488847" cy="488847"/>
                  </a:xfrm>
                  <a:custGeom>
                    <a:avLst/>
                    <a:gdLst>
                      <a:gd name="connsiteX0" fmla="*/ 488848 w 488847"/>
                      <a:gd name="connsiteY0" fmla="*/ 244424 h 488847"/>
                      <a:gd name="connsiteX1" fmla="*/ 244424 w 488847"/>
                      <a:gd name="connsiteY1" fmla="*/ 488848 h 488847"/>
                      <a:gd name="connsiteX2" fmla="*/ 0 w 488847"/>
                      <a:gd name="connsiteY2" fmla="*/ 244424 h 488847"/>
                      <a:gd name="connsiteX3" fmla="*/ 244424 w 488847"/>
                      <a:gd name="connsiteY3" fmla="*/ 0 h 488847"/>
                      <a:gd name="connsiteX4" fmla="*/ 488848 w 488847"/>
                      <a:gd name="connsiteY4" fmla="*/ 244424 h 4888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88847" h="488847">
                        <a:moveTo>
                          <a:pt x="488848" y="244424"/>
                        </a:moveTo>
                        <a:cubicBezTo>
                          <a:pt x="488848" y="379415"/>
                          <a:pt x="379415" y="488848"/>
                          <a:pt x="244424" y="488848"/>
                        </a:cubicBezTo>
                        <a:cubicBezTo>
                          <a:pt x="109432" y="488848"/>
                          <a:pt x="0" y="379415"/>
                          <a:pt x="0" y="244424"/>
                        </a:cubicBezTo>
                        <a:cubicBezTo>
                          <a:pt x="0" y="109432"/>
                          <a:pt x="109432" y="0"/>
                          <a:pt x="244424" y="0"/>
                        </a:cubicBezTo>
                        <a:cubicBezTo>
                          <a:pt x="379415" y="0"/>
                          <a:pt x="488848" y="109432"/>
                          <a:pt x="488848" y="244424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04" name="Grafik 297">
                  <a:extLst>
                    <a:ext uri="{FF2B5EF4-FFF2-40B4-BE49-F238E27FC236}">
                      <a16:creationId xmlns:a16="http://schemas.microsoft.com/office/drawing/2014/main" id="{21A62794-9F76-A4A2-6C67-80EDE807CC18}"/>
                    </a:ext>
                  </a:extLst>
                </p:cNvPr>
                <p:cNvGrpSpPr/>
                <p:nvPr/>
              </p:nvGrpSpPr>
              <p:grpSpPr>
                <a:xfrm>
                  <a:off x="48" y="4970823"/>
                  <a:ext cx="543691" cy="226344"/>
                  <a:chOff x="48" y="4970823"/>
                  <a:chExt cx="543691" cy="226344"/>
                </a:xfrm>
              </p:grpSpPr>
              <p:sp>
                <p:nvSpPr>
                  <p:cNvPr id="360" name="Freihandform: Form 359">
                    <a:extLst>
                      <a:ext uri="{FF2B5EF4-FFF2-40B4-BE49-F238E27FC236}">
                        <a16:creationId xmlns:a16="http://schemas.microsoft.com/office/drawing/2014/main" id="{06147F06-5CEF-7DC0-FA88-EF0643FB5ACE}"/>
                      </a:ext>
                    </a:extLst>
                  </p:cNvPr>
                  <p:cNvSpPr/>
                  <p:nvPr/>
                </p:nvSpPr>
                <p:spPr>
                  <a:xfrm>
                    <a:off x="2105" y="4970823"/>
                    <a:ext cx="540897" cy="215866"/>
                  </a:xfrm>
                  <a:custGeom>
                    <a:avLst/>
                    <a:gdLst>
                      <a:gd name="connsiteX0" fmla="*/ 55780 w 540897"/>
                      <a:gd name="connsiteY0" fmla="*/ 23 h 215866"/>
                      <a:gd name="connsiteX1" fmla="*/ 4548 w 540897"/>
                      <a:gd name="connsiteY1" fmla="*/ 82163 h 215866"/>
                      <a:gd name="connsiteX2" fmla="*/ 12 w 540897"/>
                      <a:gd name="connsiteY2" fmla="*/ 134786 h 215866"/>
                      <a:gd name="connsiteX3" fmla="*/ 13198 w 540897"/>
                      <a:gd name="connsiteY3" fmla="*/ 151420 h 215866"/>
                      <a:gd name="connsiteX4" fmla="*/ 500775 w 540897"/>
                      <a:gd name="connsiteY4" fmla="*/ 209244 h 215866"/>
                      <a:gd name="connsiteX5" fmla="*/ 519889 w 540897"/>
                      <a:gd name="connsiteY5" fmla="*/ 137810 h 215866"/>
                      <a:gd name="connsiteX6" fmla="*/ 344903 w 540897"/>
                      <a:gd name="connsiteY6" fmla="*/ 79683 h 215866"/>
                      <a:gd name="connsiteX7" fmla="*/ 225685 w 540897"/>
                      <a:gd name="connsiteY7" fmla="*/ 8612 h 215866"/>
                      <a:gd name="connsiteX8" fmla="*/ 185038 w 540897"/>
                      <a:gd name="connsiteY8" fmla="*/ 38069 h 215866"/>
                      <a:gd name="connsiteX9" fmla="*/ 55901 w 540897"/>
                      <a:gd name="connsiteY9" fmla="*/ 144 h 2158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540897" h="215866">
                        <a:moveTo>
                          <a:pt x="55780" y="23"/>
                        </a:moveTo>
                        <a:cubicBezTo>
                          <a:pt x="55780" y="23"/>
                          <a:pt x="10294" y="33472"/>
                          <a:pt x="4548" y="82163"/>
                        </a:cubicBezTo>
                        <a:cubicBezTo>
                          <a:pt x="1524" y="107386"/>
                          <a:pt x="435" y="124322"/>
                          <a:pt x="12" y="134786"/>
                        </a:cubicBezTo>
                        <a:cubicBezTo>
                          <a:pt x="-291" y="142831"/>
                          <a:pt x="5274" y="149847"/>
                          <a:pt x="13198" y="151420"/>
                        </a:cubicBezTo>
                        <a:cubicBezTo>
                          <a:pt x="80216" y="164727"/>
                          <a:pt x="419784" y="237975"/>
                          <a:pt x="500775" y="209244"/>
                        </a:cubicBezTo>
                        <a:cubicBezTo>
                          <a:pt x="578076" y="181844"/>
                          <a:pt x="519889" y="137810"/>
                          <a:pt x="519889" y="137810"/>
                        </a:cubicBezTo>
                        <a:cubicBezTo>
                          <a:pt x="519889" y="137810"/>
                          <a:pt x="409260" y="133455"/>
                          <a:pt x="344903" y="79683"/>
                        </a:cubicBezTo>
                        <a:cubicBezTo>
                          <a:pt x="287623" y="31778"/>
                          <a:pt x="237480" y="6616"/>
                          <a:pt x="225685" y="8612"/>
                        </a:cubicBezTo>
                        <a:cubicBezTo>
                          <a:pt x="213830" y="10608"/>
                          <a:pt x="207116" y="27786"/>
                          <a:pt x="185038" y="38069"/>
                        </a:cubicBezTo>
                        <a:cubicBezTo>
                          <a:pt x="162961" y="48352"/>
                          <a:pt x="68361" y="-3061"/>
                          <a:pt x="55901" y="144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61" name="Freihandform: Form 360">
                    <a:extLst>
                      <a:ext uri="{FF2B5EF4-FFF2-40B4-BE49-F238E27FC236}">
                        <a16:creationId xmlns:a16="http://schemas.microsoft.com/office/drawing/2014/main" id="{9E0FB81F-5696-1E18-0F47-DF1C6B6886A6}"/>
                      </a:ext>
                    </a:extLst>
                  </p:cNvPr>
                  <p:cNvSpPr/>
                  <p:nvPr/>
                </p:nvSpPr>
                <p:spPr>
                  <a:xfrm>
                    <a:off x="48" y="5067745"/>
                    <a:ext cx="543691" cy="129422"/>
                  </a:xfrm>
                  <a:custGeom>
                    <a:avLst/>
                    <a:gdLst>
                      <a:gd name="connsiteX0" fmla="*/ 13137 w 543691"/>
                      <a:gd name="connsiteY0" fmla="*/ 65990 h 129422"/>
                      <a:gd name="connsiteX1" fmla="*/ 424744 w 543691"/>
                      <a:gd name="connsiteY1" fmla="*/ 129077 h 129422"/>
                      <a:gd name="connsiteX2" fmla="*/ 502227 w 543691"/>
                      <a:gd name="connsiteY2" fmla="*/ 117887 h 129422"/>
                      <a:gd name="connsiteX3" fmla="*/ 530232 w 543691"/>
                      <a:gd name="connsiteY3" fmla="*/ 48208 h 129422"/>
                      <a:gd name="connsiteX4" fmla="*/ 501319 w 543691"/>
                      <a:gd name="connsiteY4" fmla="*/ 70648 h 129422"/>
                      <a:gd name="connsiteX5" fmla="*/ 4972 w 543691"/>
                      <a:gd name="connsiteY5" fmla="*/ 0 h 129422"/>
                      <a:gd name="connsiteX6" fmla="*/ 12 w 543691"/>
                      <a:gd name="connsiteY6" fmla="*/ 49236 h 129422"/>
                      <a:gd name="connsiteX7" fmla="*/ 13198 w 543691"/>
                      <a:gd name="connsiteY7" fmla="*/ 65930 h 129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43691" h="129422">
                        <a:moveTo>
                          <a:pt x="13137" y="65990"/>
                        </a:moveTo>
                        <a:cubicBezTo>
                          <a:pt x="14649" y="66293"/>
                          <a:pt x="423353" y="129017"/>
                          <a:pt x="424744" y="129077"/>
                        </a:cubicBezTo>
                        <a:cubicBezTo>
                          <a:pt x="461701" y="131134"/>
                          <a:pt x="486077" y="123573"/>
                          <a:pt x="502227" y="117887"/>
                        </a:cubicBezTo>
                        <a:cubicBezTo>
                          <a:pt x="560112" y="97322"/>
                          <a:pt x="544990" y="60547"/>
                          <a:pt x="530232" y="48208"/>
                        </a:cubicBezTo>
                        <a:cubicBezTo>
                          <a:pt x="524002" y="53228"/>
                          <a:pt x="513840" y="66232"/>
                          <a:pt x="501319" y="70648"/>
                        </a:cubicBezTo>
                        <a:cubicBezTo>
                          <a:pt x="415792" y="101012"/>
                          <a:pt x="46949" y="9799"/>
                          <a:pt x="4972" y="0"/>
                        </a:cubicBezTo>
                        <a:cubicBezTo>
                          <a:pt x="2552" y="21533"/>
                          <a:pt x="375" y="39679"/>
                          <a:pt x="12" y="49236"/>
                        </a:cubicBezTo>
                        <a:cubicBezTo>
                          <a:pt x="-291" y="57280"/>
                          <a:pt x="5274" y="64357"/>
                          <a:pt x="13198" y="65930"/>
                        </a:cubicBezTo>
                        <a:close/>
                      </a:path>
                    </a:pathLst>
                  </a:custGeom>
                  <a:solidFill>
                    <a:srgbClr val="40404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05" name="Grafik 297">
                  <a:extLst>
                    <a:ext uri="{FF2B5EF4-FFF2-40B4-BE49-F238E27FC236}">
                      <a16:creationId xmlns:a16="http://schemas.microsoft.com/office/drawing/2014/main" id="{328DF018-93E4-E444-C9A8-BAC59D6A8123}"/>
                    </a:ext>
                  </a:extLst>
                </p:cNvPr>
                <p:cNvGrpSpPr/>
                <p:nvPr/>
              </p:nvGrpSpPr>
              <p:grpSpPr>
                <a:xfrm>
                  <a:off x="16751" y="4091502"/>
                  <a:ext cx="531069" cy="960275"/>
                  <a:chOff x="16751" y="4091502"/>
                  <a:chExt cx="531069" cy="960275"/>
                </a:xfrm>
                <a:solidFill>
                  <a:srgbClr val="009999"/>
                </a:solidFill>
              </p:grpSpPr>
              <p:sp>
                <p:nvSpPr>
                  <p:cNvPr id="358" name="Freihandform: Form 357">
                    <a:extLst>
                      <a:ext uri="{FF2B5EF4-FFF2-40B4-BE49-F238E27FC236}">
                        <a16:creationId xmlns:a16="http://schemas.microsoft.com/office/drawing/2014/main" id="{F4F7FE46-6127-4EEC-6F05-AF38E94A2187}"/>
                      </a:ext>
                    </a:extLst>
                  </p:cNvPr>
                  <p:cNvSpPr/>
                  <p:nvPr/>
                </p:nvSpPr>
                <p:spPr>
                  <a:xfrm>
                    <a:off x="16751" y="4199963"/>
                    <a:ext cx="525868" cy="851813"/>
                  </a:xfrm>
                  <a:custGeom>
                    <a:avLst/>
                    <a:gdLst>
                      <a:gd name="connsiteX0" fmla="*/ 206926 w 525868"/>
                      <a:gd name="connsiteY0" fmla="*/ 20132 h 851813"/>
                      <a:gd name="connsiteX1" fmla="*/ 29944 w 525868"/>
                      <a:gd name="connsiteY1" fmla="*/ 616221 h 851813"/>
                      <a:gd name="connsiteX2" fmla="*/ 9802 w 525868"/>
                      <a:gd name="connsiteY2" fmla="*/ 803788 h 851813"/>
                      <a:gd name="connsiteX3" fmla="*/ 331406 w 525868"/>
                      <a:gd name="connsiteY3" fmla="*/ 851814 h 851813"/>
                      <a:gd name="connsiteX4" fmla="*/ 384634 w 525868"/>
                      <a:gd name="connsiteY4" fmla="*/ 568498 h 851813"/>
                      <a:gd name="connsiteX5" fmla="*/ 525868 w 525868"/>
                      <a:gd name="connsiteY5" fmla="*/ 96042 h 851813"/>
                      <a:gd name="connsiteX6" fmla="*/ 206926 w 525868"/>
                      <a:gd name="connsiteY6" fmla="*/ 20071 h 8518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25868" h="851813">
                        <a:moveTo>
                          <a:pt x="206926" y="20132"/>
                        </a:moveTo>
                        <a:cubicBezTo>
                          <a:pt x="104463" y="230623"/>
                          <a:pt x="63816" y="507770"/>
                          <a:pt x="29944" y="616221"/>
                        </a:cubicBezTo>
                        <a:cubicBezTo>
                          <a:pt x="9258" y="682453"/>
                          <a:pt x="-13425" y="774271"/>
                          <a:pt x="9802" y="803788"/>
                        </a:cubicBezTo>
                        <a:lnTo>
                          <a:pt x="331406" y="851814"/>
                        </a:lnTo>
                        <a:cubicBezTo>
                          <a:pt x="331406" y="851814"/>
                          <a:pt x="365762" y="636605"/>
                          <a:pt x="384634" y="568498"/>
                        </a:cubicBezTo>
                        <a:cubicBezTo>
                          <a:pt x="394069" y="534383"/>
                          <a:pt x="525868" y="96042"/>
                          <a:pt x="525868" y="96042"/>
                        </a:cubicBezTo>
                        <a:cubicBezTo>
                          <a:pt x="444817" y="7611"/>
                          <a:pt x="320881" y="-24749"/>
                          <a:pt x="206926" y="20071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9" name="Freihandform: Form 358">
                    <a:extLst>
                      <a:ext uri="{FF2B5EF4-FFF2-40B4-BE49-F238E27FC236}">
                        <a16:creationId xmlns:a16="http://schemas.microsoft.com/office/drawing/2014/main" id="{9E357091-33DC-17FD-B267-D6C15C6D04D9}"/>
                      </a:ext>
                    </a:extLst>
                  </p:cNvPr>
                  <p:cNvSpPr/>
                  <p:nvPr/>
                </p:nvSpPr>
                <p:spPr>
                  <a:xfrm>
                    <a:off x="220350" y="4091502"/>
                    <a:ext cx="327470" cy="327471"/>
                  </a:xfrm>
                  <a:custGeom>
                    <a:avLst/>
                    <a:gdLst>
                      <a:gd name="connsiteX0" fmla="*/ 327471 w 327470"/>
                      <a:gd name="connsiteY0" fmla="*/ 163736 h 327471"/>
                      <a:gd name="connsiteX1" fmla="*/ 163735 w 327470"/>
                      <a:gd name="connsiteY1" fmla="*/ 327471 h 327471"/>
                      <a:gd name="connsiteX2" fmla="*/ 0 w 327470"/>
                      <a:gd name="connsiteY2" fmla="*/ 163736 h 327471"/>
                      <a:gd name="connsiteX3" fmla="*/ 163735 w 327470"/>
                      <a:gd name="connsiteY3" fmla="*/ 0 h 327471"/>
                      <a:gd name="connsiteX4" fmla="*/ 327471 w 327470"/>
                      <a:gd name="connsiteY4" fmla="*/ 163736 h 3274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7470" h="327471">
                        <a:moveTo>
                          <a:pt x="327471" y="163736"/>
                        </a:moveTo>
                        <a:cubicBezTo>
                          <a:pt x="327471" y="254164"/>
                          <a:pt x="254164" y="327471"/>
                          <a:pt x="163735" y="327471"/>
                        </a:cubicBezTo>
                        <a:cubicBezTo>
                          <a:pt x="73307" y="327471"/>
                          <a:pt x="0" y="254164"/>
                          <a:pt x="0" y="163736"/>
                        </a:cubicBezTo>
                        <a:cubicBezTo>
                          <a:pt x="0" y="73307"/>
                          <a:pt x="73307" y="0"/>
                          <a:pt x="163735" y="0"/>
                        </a:cubicBezTo>
                        <a:cubicBezTo>
                          <a:pt x="254164" y="0"/>
                          <a:pt x="327471" y="73307"/>
                          <a:pt x="327471" y="16373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06" name="Grafik 297">
                  <a:extLst>
                    <a:ext uri="{FF2B5EF4-FFF2-40B4-BE49-F238E27FC236}">
                      <a16:creationId xmlns:a16="http://schemas.microsoft.com/office/drawing/2014/main" id="{2A0FAC9D-0546-25E5-714E-2D45E42CDA54}"/>
                    </a:ext>
                  </a:extLst>
                </p:cNvPr>
                <p:cNvGrpSpPr/>
                <p:nvPr/>
              </p:nvGrpSpPr>
              <p:grpSpPr>
                <a:xfrm>
                  <a:off x="223798" y="3058220"/>
                  <a:ext cx="680467" cy="1246379"/>
                  <a:chOff x="223798" y="3058220"/>
                  <a:chExt cx="680467" cy="1246379"/>
                </a:xfrm>
              </p:grpSpPr>
              <p:sp>
                <p:nvSpPr>
                  <p:cNvPr id="355" name="Freihandform: Form 354">
                    <a:extLst>
                      <a:ext uri="{FF2B5EF4-FFF2-40B4-BE49-F238E27FC236}">
                        <a16:creationId xmlns:a16="http://schemas.microsoft.com/office/drawing/2014/main" id="{A4F52CD9-A2E7-5FC7-5AB8-5372A5ABDCC5}"/>
                      </a:ext>
                    </a:extLst>
                  </p:cNvPr>
                  <p:cNvSpPr/>
                  <p:nvPr/>
                </p:nvSpPr>
                <p:spPr>
                  <a:xfrm>
                    <a:off x="415417" y="3058220"/>
                    <a:ext cx="488847" cy="488847"/>
                  </a:xfrm>
                  <a:custGeom>
                    <a:avLst/>
                    <a:gdLst>
                      <a:gd name="connsiteX0" fmla="*/ 488848 w 488847"/>
                      <a:gd name="connsiteY0" fmla="*/ 244424 h 488847"/>
                      <a:gd name="connsiteX1" fmla="*/ 244424 w 488847"/>
                      <a:gd name="connsiteY1" fmla="*/ 488848 h 488847"/>
                      <a:gd name="connsiteX2" fmla="*/ 0 w 488847"/>
                      <a:gd name="connsiteY2" fmla="*/ 244424 h 488847"/>
                      <a:gd name="connsiteX3" fmla="*/ 244424 w 488847"/>
                      <a:gd name="connsiteY3" fmla="*/ 0 h 488847"/>
                      <a:gd name="connsiteX4" fmla="*/ 488848 w 488847"/>
                      <a:gd name="connsiteY4" fmla="*/ 244424 h 4888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88847" h="488847">
                        <a:moveTo>
                          <a:pt x="488848" y="244424"/>
                        </a:moveTo>
                        <a:cubicBezTo>
                          <a:pt x="488848" y="379415"/>
                          <a:pt x="379415" y="488848"/>
                          <a:pt x="244424" y="488848"/>
                        </a:cubicBezTo>
                        <a:cubicBezTo>
                          <a:pt x="109432" y="488848"/>
                          <a:pt x="0" y="379415"/>
                          <a:pt x="0" y="244424"/>
                        </a:cubicBezTo>
                        <a:cubicBezTo>
                          <a:pt x="0" y="109432"/>
                          <a:pt x="109432" y="0"/>
                          <a:pt x="244424" y="0"/>
                        </a:cubicBezTo>
                        <a:cubicBezTo>
                          <a:pt x="379415" y="0"/>
                          <a:pt x="488848" y="109432"/>
                          <a:pt x="488848" y="244424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6" name="Freihandform: Form 355">
                    <a:extLst>
                      <a:ext uri="{FF2B5EF4-FFF2-40B4-BE49-F238E27FC236}">
                        <a16:creationId xmlns:a16="http://schemas.microsoft.com/office/drawing/2014/main" id="{7D3A2BBA-4E5F-43CA-7C38-1FE74461237C}"/>
                      </a:ext>
                    </a:extLst>
                  </p:cNvPr>
                  <p:cNvSpPr/>
                  <p:nvPr/>
                </p:nvSpPr>
                <p:spPr>
                  <a:xfrm>
                    <a:off x="223798" y="3286434"/>
                    <a:ext cx="674539" cy="1018166"/>
                  </a:xfrm>
                  <a:custGeom>
                    <a:avLst/>
                    <a:gdLst>
                      <a:gd name="connsiteX0" fmla="*/ 192164 w 674539"/>
                      <a:gd name="connsiteY0" fmla="*/ 0 h 1018166"/>
                      <a:gd name="connsiteX1" fmla="*/ 674539 w 674539"/>
                      <a:gd name="connsiteY1" fmla="*/ 69740 h 1018166"/>
                      <a:gd name="connsiteX2" fmla="*/ 540321 w 674539"/>
                      <a:gd name="connsiteY2" fmla="*/ 510865 h 1018166"/>
                      <a:gd name="connsiteX3" fmla="*/ 318942 w 674539"/>
                      <a:gd name="connsiteY3" fmla="*/ 1009632 h 1018166"/>
                      <a:gd name="connsiteX4" fmla="*/ 0 w 674539"/>
                      <a:gd name="connsiteY4" fmla="*/ 933661 h 1018166"/>
                      <a:gd name="connsiteX5" fmla="*/ 192164 w 674539"/>
                      <a:gd name="connsiteY5" fmla="*/ 0 h 1018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4539" h="1018166">
                        <a:moveTo>
                          <a:pt x="192164" y="0"/>
                        </a:moveTo>
                        <a:cubicBezTo>
                          <a:pt x="197245" y="3206"/>
                          <a:pt x="674539" y="69740"/>
                          <a:pt x="674539" y="69740"/>
                        </a:cubicBezTo>
                        <a:cubicBezTo>
                          <a:pt x="674539" y="69740"/>
                          <a:pt x="578609" y="413603"/>
                          <a:pt x="540321" y="510865"/>
                        </a:cubicBezTo>
                        <a:cubicBezTo>
                          <a:pt x="393522" y="883519"/>
                          <a:pt x="318942" y="1009632"/>
                          <a:pt x="318942" y="1009632"/>
                        </a:cubicBezTo>
                        <a:cubicBezTo>
                          <a:pt x="206439" y="1033040"/>
                          <a:pt x="80567" y="1008483"/>
                          <a:pt x="0" y="933661"/>
                        </a:cubicBezTo>
                        <a:cubicBezTo>
                          <a:pt x="9617" y="797326"/>
                          <a:pt x="136577" y="272429"/>
                          <a:pt x="192164" y="0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7" name="Freihandform: Form 356">
                    <a:extLst>
                      <a:ext uri="{FF2B5EF4-FFF2-40B4-BE49-F238E27FC236}">
                        <a16:creationId xmlns:a16="http://schemas.microsoft.com/office/drawing/2014/main" id="{059F8501-52CD-0797-0C74-A9F7009F64CD}"/>
                      </a:ext>
                    </a:extLst>
                  </p:cNvPr>
                  <p:cNvSpPr/>
                  <p:nvPr/>
                </p:nvSpPr>
                <p:spPr>
                  <a:xfrm>
                    <a:off x="378884" y="3286434"/>
                    <a:ext cx="519392" cy="173110"/>
                  </a:xfrm>
                  <a:custGeom>
                    <a:avLst/>
                    <a:gdLst>
                      <a:gd name="connsiteX0" fmla="*/ 490239 w 519392"/>
                      <a:gd name="connsiteY0" fmla="*/ 172566 h 173110"/>
                      <a:gd name="connsiteX1" fmla="*/ 519393 w 519392"/>
                      <a:gd name="connsiteY1" fmla="*/ 69740 h 173110"/>
                      <a:gd name="connsiteX2" fmla="*/ 37017 w 519392"/>
                      <a:gd name="connsiteY2" fmla="*/ 0 h 173110"/>
                      <a:gd name="connsiteX3" fmla="*/ 0 w 519392"/>
                      <a:gd name="connsiteY3" fmla="*/ 173111 h 173110"/>
                      <a:gd name="connsiteX4" fmla="*/ 490178 w 519392"/>
                      <a:gd name="connsiteY4" fmla="*/ 172566 h 1731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9392" h="173110">
                        <a:moveTo>
                          <a:pt x="490239" y="172566"/>
                        </a:moveTo>
                        <a:cubicBezTo>
                          <a:pt x="507417" y="112685"/>
                          <a:pt x="519393" y="69740"/>
                          <a:pt x="519393" y="69740"/>
                        </a:cubicBezTo>
                        <a:cubicBezTo>
                          <a:pt x="519393" y="69740"/>
                          <a:pt x="42098" y="3206"/>
                          <a:pt x="37017" y="0"/>
                        </a:cubicBezTo>
                        <a:cubicBezTo>
                          <a:pt x="26735" y="50385"/>
                          <a:pt x="13972" y="109480"/>
                          <a:pt x="0" y="173111"/>
                        </a:cubicBezTo>
                        <a:cubicBezTo>
                          <a:pt x="109963" y="109782"/>
                          <a:pt x="360012" y="115468"/>
                          <a:pt x="490178" y="172566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07" name="Grafik 297">
                  <a:extLst>
                    <a:ext uri="{FF2B5EF4-FFF2-40B4-BE49-F238E27FC236}">
                      <a16:creationId xmlns:a16="http://schemas.microsoft.com/office/drawing/2014/main" id="{F861563F-5442-F1B3-01CA-C0BE3A0BE78F}"/>
                    </a:ext>
                  </a:extLst>
                </p:cNvPr>
                <p:cNvGrpSpPr/>
                <p:nvPr/>
              </p:nvGrpSpPr>
              <p:grpSpPr>
                <a:xfrm>
                  <a:off x="477899" y="1918236"/>
                  <a:ext cx="322234" cy="429852"/>
                  <a:chOff x="477899" y="1918236"/>
                  <a:chExt cx="322234" cy="429852"/>
                </a:xfrm>
              </p:grpSpPr>
              <p:sp>
                <p:nvSpPr>
                  <p:cNvPr id="353" name="Freihandform: Form 352">
                    <a:extLst>
                      <a:ext uri="{FF2B5EF4-FFF2-40B4-BE49-F238E27FC236}">
                        <a16:creationId xmlns:a16="http://schemas.microsoft.com/office/drawing/2014/main" id="{0B40C760-CA8E-3929-8BC9-6E9111D8B535}"/>
                      </a:ext>
                    </a:extLst>
                  </p:cNvPr>
                  <p:cNvSpPr/>
                  <p:nvPr/>
                </p:nvSpPr>
                <p:spPr>
                  <a:xfrm>
                    <a:off x="477899" y="1918236"/>
                    <a:ext cx="322234" cy="429852"/>
                  </a:xfrm>
                  <a:custGeom>
                    <a:avLst/>
                    <a:gdLst>
                      <a:gd name="connsiteX0" fmla="*/ 0 w 322234"/>
                      <a:gd name="connsiteY0" fmla="*/ 329049 h 429852"/>
                      <a:gd name="connsiteX1" fmla="*/ 227972 w 322234"/>
                      <a:gd name="connsiteY1" fmla="*/ 410342 h 429852"/>
                      <a:gd name="connsiteX2" fmla="*/ 314043 w 322234"/>
                      <a:gd name="connsiteY2" fmla="*/ 168943 h 429852"/>
                      <a:gd name="connsiteX3" fmla="*/ 86071 w 322234"/>
                      <a:gd name="connsiteY3" fmla="*/ 87649 h 429852"/>
                      <a:gd name="connsiteX4" fmla="*/ 0 w 322234"/>
                      <a:gd name="connsiteY4" fmla="*/ 329049 h 4298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2234" h="429852">
                        <a:moveTo>
                          <a:pt x="0" y="329049"/>
                        </a:moveTo>
                        <a:cubicBezTo>
                          <a:pt x="16331" y="408467"/>
                          <a:pt x="157687" y="459941"/>
                          <a:pt x="227972" y="410342"/>
                        </a:cubicBezTo>
                        <a:lnTo>
                          <a:pt x="314043" y="168943"/>
                        </a:lnTo>
                        <a:cubicBezTo>
                          <a:pt x="366968" y="-5076"/>
                          <a:pt x="148493" y="-65441"/>
                          <a:pt x="86071" y="87649"/>
                        </a:cubicBezTo>
                        <a:lnTo>
                          <a:pt x="0" y="329049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4" name="Freihandform: Form 353">
                    <a:extLst>
                      <a:ext uri="{FF2B5EF4-FFF2-40B4-BE49-F238E27FC236}">
                        <a16:creationId xmlns:a16="http://schemas.microsoft.com/office/drawing/2014/main" id="{8E27AC9E-0577-233D-F8D6-81C87A1A5F03}"/>
                      </a:ext>
                    </a:extLst>
                  </p:cNvPr>
                  <p:cNvSpPr/>
                  <p:nvPr/>
                </p:nvSpPr>
                <p:spPr>
                  <a:xfrm>
                    <a:off x="663707" y="2057624"/>
                    <a:ext cx="118237" cy="209535"/>
                  </a:xfrm>
                  <a:custGeom>
                    <a:avLst/>
                    <a:gdLst>
                      <a:gd name="connsiteX0" fmla="*/ 64060 w 118237"/>
                      <a:gd name="connsiteY0" fmla="*/ 209500 h 209535"/>
                      <a:gd name="connsiteX1" fmla="*/ 114505 w 118237"/>
                      <a:gd name="connsiteY1" fmla="*/ 68567 h 209535"/>
                      <a:gd name="connsiteX2" fmla="*/ 10772 w 118237"/>
                      <a:gd name="connsiteY2" fmla="*/ 97903 h 209535"/>
                      <a:gd name="connsiteX3" fmla="*/ 21599 w 118237"/>
                      <a:gd name="connsiteY3" fmla="*/ 160325 h 209535"/>
                      <a:gd name="connsiteX4" fmla="*/ 64060 w 118237"/>
                      <a:gd name="connsiteY4" fmla="*/ 209500 h 2095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8237" h="209535">
                        <a:moveTo>
                          <a:pt x="64060" y="209500"/>
                        </a:moveTo>
                        <a:lnTo>
                          <a:pt x="114505" y="68567"/>
                        </a:lnTo>
                        <a:cubicBezTo>
                          <a:pt x="147168" y="-43816"/>
                          <a:pt x="-46871" y="-6677"/>
                          <a:pt x="10772" y="97903"/>
                        </a:cubicBezTo>
                        <a:cubicBezTo>
                          <a:pt x="22990" y="118226"/>
                          <a:pt x="26256" y="127360"/>
                          <a:pt x="21599" y="160325"/>
                        </a:cubicBezTo>
                        <a:cubicBezTo>
                          <a:pt x="14159" y="212645"/>
                          <a:pt x="64060" y="209500"/>
                          <a:pt x="64060" y="209500"/>
                        </a:cubicBezTo>
                        <a:close/>
                      </a:path>
                    </a:pathLst>
                  </a:custGeom>
                  <a:solidFill>
                    <a:srgbClr val="4B2E1A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08" name="Grafik 297">
                  <a:extLst>
                    <a:ext uri="{FF2B5EF4-FFF2-40B4-BE49-F238E27FC236}">
                      <a16:creationId xmlns:a16="http://schemas.microsoft.com/office/drawing/2014/main" id="{E6D084B3-ED39-EC4D-F038-20E584B36B3D}"/>
                    </a:ext>
                  </a:extLst>
                </p:cNvPr>
                <p:cNvGrpSpPr/>
                <p:nvPr/>
              </p:nvGrpSpPr>
              <p:grpSpPr>
                <a:xfrm>
                  <a:off x="443945" y="1659724"/>
                  <a:ext cx="481759" cy="506110"/>
                  <a:chOff x="443945" y="1659724"/>
                  <a:chExt cx="481759" cy="506110"/>
                </a:xfrm>
              </p:grpSpPr>
              <p:sp>
                <p:nvSpPr>
                  <p:cNvPr id="343" name="Freihandform: Form 342">
                    <a:extLst>
                      <a:ext uri="{FF2B5EF4-FFF2-40B4-BE49-F238E27FC236}">
                        <a16:creationId xmlns:a16="http://schemas.microsoft.com/office/drawing/2014/main" id="{6CF76F08-8B75-C259-8F43-5D19420580DF}"/>
                      </a:ext>
                    </a:extLst>
                  </p:cNvPr>
                  <p:cNvSpPr/>
                  <p:nvPr/>
                </p:nvSpPr>
                <p:spPr>
                  <a:xfrm rot="-274200">
                    <a:off x="468855" y="1719942"/>
                    <a:ext cx="390981" cy="349246"/>
                  </a:xfrm>
                  <a:custGeom>
                    <a:avLst/>
                    <a:gdLst>
                      <a:gd name="connsiteX0" fmla="*/ 390981 w 390981"/>
                      <a:gd name="connsiteY0" fmla="*/ 174623 h 349246"/>
                      <a:gd name="connsiteX1" fmla="*/ 195491 w 390981"/>
                      <a:gd name="connsiteY1" fmla="*/ 349246 h 349246"/>
                      <a:gd name="connsiteX2" fmla="*/ 0 w 390981"/>
                      <a:gd name="connsiteY2" fmla="*/ 174623 h 349246"/>
                      <a:gd name="connsiteX3" fmla="*/ 195491 w 390981"/>
                      <a:gd name="connsiteY3" fmla="*/ 0 h 349246"/>
                      <a:gd name="connsiteX4" fmla="*/ 390981 w 390981"/>
                      <a:gd name="connsiteY4" fmla="*/ 174623 h 3492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0981" h="349246">
                        <a:moveTo>
                          <a:pt x="390981" y="174623"/>
                        </a:moveTo>
                        <a:cubicBezTo>
                          <a:pt x="390981" y="271065"/>
                          <a:pt x="303457" y="349246"/>
                          <a:pt x="195491" y="349246"/>
                        </a:cubicBezTo>
                        <a:cubicBezTo>
                          <a:pt x="87524" y="349246"/>
                          <a:pt x="0" y="271065"/>
                          <a:pt x="0" y="174623"/>
                        </a:cubicBezTo>
                        <a:cubicBezTo>
                          <a:pt x="0" y="78181"/>
                          <a:pt x="87524" y="0"/>
                          <a:pt x="195491" y="0"/>
                        </a:cubicBezTo>
                        <a:cubicBezTo>
                          <a:pt x="303457" y="0"/>
                          <a:pt x="390981" y="78181"/>
                          <a:pt x="390981" y="174623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4" name="Freihandform: Form 343">
                    <a:extLst>
                      <a:ext uri="{FF2B5EF4-FFF2-40B4-BE49-F238E27FC236}">
                        <a16:creationId xmlns:a16="http://schemas.microsoft.com/office/drawing/2014/main" id="{AE58BD2C-1C60-5D17-B46C-8CACA5D29368}"/>
                      </a:ext>
                    </a:extLst>
                  </p:cNvPr>
                  <p:cNvSpPr/>
                  <p:nvPr/>
                </p:nvSpPr>
                <p:spPr>
                  <a:xfrm>
                    <a:off x="650224" y="1870436"/>
                    <a:ext cx="272366" cy="292635"/>
                  </a:xfrm>
                  <a:custGeom>
                    <a:avLst/>
                    <a:gdLst>
                      <a:gd name="connsiteX0" fmla="*/ 232448 w 272366"/>
                      <a:gd name="connsiteY0" fmla="*/ 139925 h 292635"/>
                      <a:gd name="connsiteX1" fmla="*/ 268255 w 272366"/>
                      <a:gd name="connsiteY1" fmla="*/ 105629 h 292635"/>
                      <a:gd name="connsiteX2" fmla="*/ 209221 w 272366"/>
                      <a:gd name="connsiteY2" fmla="*/ 13570 h 292635"/>
                      <a:gd name="connsiteX3" fmla="*/ 0 w 272366"/>
                      <a:gd name="connsiteY3" fmla="*/ 86153 h 292635"/>
                      <a:gd name="connsiteX4" fmla="*/ 24073 w 272366"/>
                      <a:gd name="connsiteY4" fmla="*/ 213899 h 292635"/>
                      <a:gd name="connsiteX5" fmla="*/ 114560 w 272366"/>
                      <a:gd name="connsiteY5" fmla="*/ 292531 h 292635"/>
                      <a:gd name="connsiteX6" fmla="*/ 204624 w 272366"/>
                      <a:gd name="connsiteY6" fmla="*/ 285878 h 292635"/>
                      <a:gd name="connsiteX7" fmla="*/ 232448 w 272366"/>
                      <a:gd name="connsiteY7" fmla="*/ 242509 h 292635"/>
                      <a:gd name="connsiteX8" fmla="*/ 230996 w 272366"/>
                      <a:gd name="connsiteY8" fmla="*/ 222004 h 292635"/>
                      <a:gd name="connsiteX9" fmla="*/ 230996 w 272366"/>
                      <a:gd name="connsiteY9" fmla="*/ 222186 h 292635"/>
                      <a:gd name="connsiteX10" fmla="*/ 234383 w 272366"/>
                      <a:gd name="connsiteY10" fmla="*/ 207125 h 292635"/>
                      <a:gd name="connsiteX11" fmla="*/ 227730 w 272366"/>
                      <a:gd name="connsiteY11" fmla="*/ 186681 h 292635"/>
                      <a:gd name="connsiteX12" fmla="*/ 227730 w 272366"/>
                      <a:gd name="connsiteY12" fmla="*/ 186681 h 292635"/>
                      <a:gd name="connsiteX13" fmla="*/ 235230 w 272366"/>
                      <a:gd name="connsiteY13" fmla="*/ 170107 h 292635"/>
                      <a:gd name="connsiteX14" fmla="*/ 232508 w 272366"/>
                      <a:gd name="connsiteY14" fmla="*/ 139925 h 2926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72366" h="292635">
                        <a:moveTo>
                          <a:pt x="232448" y="139925"/>
                        </a:moveTo>
                        <a:cubicBezTo>
                          <a:pt x="244545" y="136356"/>
                          <a:pt x="285312" y="122868"/>
                          <a:pt x="268255" y="105629"/>
                        </a:cubicBezTo>
                        <a:cubicBezTo>
                          <a:pt x="239282" y="76415"/>
                          <a:pt x="213697" y="23792"/>
                          <a:pt x="209221" y="13570"/>
                        </a:cubicBezTo>
                        <a:cubicBezTo>
                          <a:pt x="208072" y="2682"/>
                          <a:pt x="16815" y="-33125"/>
                          <a:pt x="0" y="86153"/>
                        </a:cubicBezTo>
                        <a:cubicBezTo>
                          <a:pt x="0" y="86153"/>
                          <a:pt x="0" y="150691"/>
                          <a:pt x="24073" y="213899"/>
                        </a:cubicBezTo>
                        <a:cubicBezTo>
                          <a:pt x="29820" y="229021"/>
                          <a:pt x="73128" y="291261"/>
                          <a:pt x="114560" y="292531"/>
                        </a:cubicBezTo>
                        <a:cubicBezTo>
                          <a:pt x="150005" y="293620"/>
                          <a:pt x="204624" y="285878"/>
                          <a:pt x="204624" y="285878"/>
                        </a:cubicBezTo>
                        <a:cubicBezTo>
                          <a:pt x="204624" y="285878"/>
                          <a:pt x="232690" y="278982"/>
                          <a:pt x="232448" y="242509"/>
                        </a:cubicBezTo>
                        <a:cubicBezTo>
                          <a:pt x="232448" y="239666"/>
                          <a:pt x="231903" y="232347"/>
                          <a:pt x="230996" y="222004"/>
                        </a:cubicBezTo>
                        <a:lnTo>
                          <a:pt x="230996" y="222186"/>
                        </a:lnTo>
                        <a:cubicBezTo>
                          <a:pt x="230996" y="222186"/>
                          <a:pt x="230996" y="216137"/>
                          <a:pt x="234383" y="207125"/>
                        </a:cubicBezTo>
                        <a:cubicBezTo>
                          <a:pt x="238496" y="196056"/>
                          <a:pt x="239403" y="186197"/>
                          <a:pt x="227730" y="186681"/>
                        </a:cubicBezTo>
                        <a:lnTo>
                          <a:pt x="227730" y="186681"/>
                        </a:lnTo>
                        <a:cubicBezTo>
                          <a:pt x="236077" y="184382"/>
                          <a:pt x="236923" y="173858"/>
                          <a:pt x="235230" y="170107"/>
                        </a:cubicBezTo>
                        <a:cubicBezTo>
                          <a:pt x="230331" y="159401"/>
                          <a:pt x="229423" y="140832"/>
                          <a:pt x="232508" y="139925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5" name="Freihandform: Form 344">
                    <a:extLst>
                      <a:ext uri="{FF2B5EF4-FFF2-40B4-BE49-F238E27FC236}">
                        <a16:creationId xmlns:a16="http://schemas.microsoft.com/office/drawing/2014/main" id="{F18E8A81-D7E5-FFDE-FBB8-7918DF7F3506}"/>
                      </a:ext>
                    </a:extLst>
                  </p:cNvPr>
                  <p:cNvSpPr/>
                  <p:nvPr/>
                </p:nvSpPr>
                <p:spPr>
                  <a:xfrm>
                    <a:off x="837065" y="1919511"/>
                    <a:ext cx="21653" cy="31694"/>
                  </a:xfrm>
                  <a:custGeom>
                    <a:avLst/>
                    <a:gdLst>
                      <a:gd name="connsiteX0" fmla="*/ 21654 w 21653"/>
                      <a:gd name="connsiteY0" fmla="*/ 15847 h 31694"/>
                      <a:gd name="connsiteX1" fmla="*/ 10827 w 21653"/>
                      <a:gd name="connsiteY1" fmla="*/ 31695 h 31694"/>
                      <a:gd name="connsiteX2" fmla="*/ 0 w 21653"/>
                      <a:gd name="connsiteY2" fmla="*/ 15847 h 31694"/>
                      <a:gd name="connsiteX3" fmla="*/ 10827 w 21653"/>
                      <a:gd name="connsiteY3" fmla="*/ 0 h 31694"/>
                      <a:gd name="connsiteX4" fmla="*/ 21654 w 21653"/>
                      <a:gd name="connsiteY4" fmla="*/ 15847 h 316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653" h="31694">
                        <a:moveTo>
                          <a:pt x="21654" y="15847"/>
                        </a:moveTo>
                        <a:cubicBezTo>
                          <a:pt x="21654" y="24600"/>
                          <a:pt x="16807" y="31695"/>
                          <a:pt x="10827" y="31695"/>
                        </a:cubicBezTo>
                        <a:cubicBezTo>
                          <a:pt x="4847" y="31695"/>
                          <a:pt x="0" y="24600"/>
                          <a:pt x="0" y="15847"/>
                        </a:cubicBezTo>
                        <a:cubicBezTo>
                          <a:pt x="0" y="7095"/>
                          <a:pt x="4847" y="0"/>
                          <a:pt x="10827" y="0"/>
                        </a:cubicBezTo>
                        <a:cubicBezTo>
                          <a:pt x="16807" y="0"/>
                          <a:pt x="21654" y="7095"/>
                          <a:pt x="21654" y="15847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6" name="Freihandform: Form 345">
                    <a:extLst>
                      <a:ext uri="{FF2B5EF4-FFF2-40B4-BE49-F238E27FC236}">
                        <a16:creationId xmlns:a16="http://schemas.microsoft.com/office/drawing/2014/main" id="{4152F2C8-B5CE-5F5A-A746-912D591CFE0E}"/>
                      </a:ext>
                    </a:extLst>
                  </p:cNvPr>
                  <p:cNvSpPr/>
                  <p:nvPr/>
                </p:nvSpPr>
                <p:spPr>
                  <a:xfrm>
                    <a:off x="767336" y="1853119"/>
                    <a:ext cx="83261" cy="40843"/>
                  </a:xfrm>
                  <a:custGeom>
                    <a:avLst/>
                    <a:gdLst>
                      <a:gd name="connsiteX0" fmla="*/ 16139 w 83261"/>
                      <a:gd name="connsiteY0" fmla="*/ 19455 h 40843"/>
                      <a:gd name="connsiteX1" fmla="*/ 47047 w 83261"/>
                      <a:gd name="connsiteY1" fmla="*/ 3245 h 40843"/>
                      <a:gd name="connsiteX2" fmla="*/ 47047 w 83261"/>
                      <a:gd name="connsiteY2" fmla="*/ 3245 h 40843"/>
                      <a:gd name="connsiteX3" fmla="*/ 77048 w 83261"/>
                      <a:gd name="connsiteY3" fmla="*/ 1249 h 40843"/>
                      <a:gd name="connsiteX4" fmla="*/ 79407 w 83261"/>
                      <a:gd name="connsiteY4" fmla="*/ 2519 h 40843"/>
                      <a:gd name="connsiteX5" fmla="*/ 76201 w 83261"/>
                      <a:gd name="connsiteY5" fmla="*/ 18427 h 40843"/>
                      <a:gd name="connsiteX6" fmla="*/ 59205 w 83261"/>
                      <a:gd name="connsiteY6" fmla="*/ 19939 h 40843"/>
                      <a:gd name="connsiteX7" fmla="*/ 20312 w 83261"/>
                      <a:gd name="connsiteY7" fmla="*/ 29254 h 40843"/>
                      <a:gd name="connsiteX8" fmla="*/ 533 w 83261"/>
                      <a:gd name="connsiteY8" fmla="*/ 40746 h 40843"/>
                      <a:gd name="connsiteX9" fmla="*/ 16139 w 83261"/>
                      <a:gd name="connsiteY9" fmla="*/ 19515 h 408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83261" h="40843">
                        <a:moveTo>
                          <a:pt x="16139" y="19455"/>
                        </a:moveTo>
                        <a:cubicBezTo>
                          <a:pt x="26179" y="10201"/>
                          <a:pt x="38034" y="5241"/>
                          <a:pt x="47047" y="3245"/>
                        </a:cubicBezTo>
                        <a:lnTo>
                          <a:pt x="47047" y="3245"/>
                        </a:lnTo>
                        <a:cubicBezTo>
                          <a:pt x="62410" y="-1110"/>
                          <a:pt x="73237" y="-324"/>
                          <a:pt x="77048" y="1249"/>
                        </a:cubicBezTo>
                        <a:cubicBezTo>
                          <a:pt x="77955" y="1612"/>
                          <a:pt x="78742" y="2035"/>
                          <a:pt x="79407" y="2519"/>
                        </a:cubicBezTo>
                        <a:cubicBezTo>
                          <a:pt x="85939" y="6813"/>
                          <a:pt x="83701" y="17277"/>
                          <a:pt x="76201" y="18427"/>
                        </a:cubicBezTo>
                        <a:cubicBezTo>
                          <a:pt x="72753" y="18971"/>
                          <a:pt x="64104" y="19576"/>
                          <a:pt x="59205" y="19939"/>
                        </a:cubicBezTo>
                        <a:cubicBezTo>
                          <a:pt x="50616" y="20604"/>
                          <a:pt x="26845" y="26169"/>
                          <a:pt x="20312" y="29254"/>
                        </a:cubicBezTo>
                        <a:cubicBezTo>
                          <a:pt x="7489" y="35302"/>
                          <a:pt x="2711" y="41714"/>
                          <a:pt x="533" y="40746"/>
                        </a:cubicBezTo>
                        <a:cubicBezTo>
                          <a:pt x="-1644" y="39778"/>
                          <a:pt x="2711" y="31854"/>
                          <a:pt x="16139" y="1951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7" name="Freihandform: Form 346">
                    <a:extLst>
                      <a:ext uri="{FF2B5EF4-FFF2-40B4-BE49-F238E27FC236}">
                        <a16:creationId xmlns:a16="http://schemas.microsoft.com/office/drawing/2014/main" id="{4F6B81F4-4CCE-8B62-4E04-BA2DC8A11162}"/>
                      </a:ext>
                    </a:extLst>
                  </p:cNvPr>
                  <p:cNvSpPr/>
                  <p:nvPr/>
                </p:nvSpPr>
                <p:spPr>
                  <a:xfrm>
                    <a:off x="806812" y="1909914"/>
                    <a:ext cx="51859" cy="18055"/>
                  </a:xfrm>
                  <a:custGeom>
                    <a:avLst/>
                    <a:gdLst>
                      <a:gd name="connsiteX0" fmla="*/ 312 w 51859"/>
                      <a:gd name="connsiteY0" fmla="*/ 14496 h 18055"/>
                      <a:gd name="connsiteX1" fmla="*/ 38176 w 51859"/>
                      <a:gd name="connsiteY1" fmla="*/ 40 h 18055"/>
                      <a:gd name="connsiteX2" fmla="*/ 45192 w 51859"/>
                      <a:gd name="connsiteY2" fmla="*/ 10625 h 18055"/>
                      <a:gd name="connsiteX3" fmla="*/ 8840 w 51859"/>
                      <a:gd name="connsiteY3" fmla="*/ 17520 h 18055"/>
                      <a:gd name="connsiteX4" fmla="*/ 312 w 51859"/>
                      <a:gd name="connsiteY4" fmla="*/ 14496 h 180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859" h="18055">
                        <a:moveTo>
                          <a:pt x="312" y="14496"/>
                        </a:moveTo>
                        <a:cubicBezTo>
                          <a:pt x="1824" y="12258"/>
                          <a:pt x="20454" y="887"/>
                          <a:pt x="38176" y="40"/>
                        </a:cubicBezTo>
                        <a:cubicBezTo>
                          <a:pt x="52935" y="-686"/>
                          <a:pt x="56503" y="8689"/>
                          <a:pt x="45192" y="10625"/>
                        </a:cubicBezTo>
                        <a:cubicBezTo>
                          <a:pt x="31281" y="12984"/>
                          <a:pt x="14707" y="15887"/>
                          <a:pt x="8840" y="17520"/>
                        </a:cubicBezTo>
                        <a:cubicBezTo>
                          <a:pt x="2973" y="19154"/>
                          <a:pt x="-1200" y="16734"/>
                          <a:pt x="312" y="14496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8" name="Freihandform: Form 347">
                    <a:extLst>
                      <a:ext uri="{FF2B5EF4-FFF2-40B4-BE49-F238E27FC236}">
                        <a16:creationId xmlns:a16="http://schemas.microsoft.com/office/drawing/2014/main" id="{9ECDDDB2-FF46-B2DE-A1B7-99E2E5F4A74A}"/>
                      </a:ext>
                    </a:extLst>
                  </p:cNvPr>
                  <p:cNvSpPr/>
                  <p:nvPr/>
                </p:nvSpPr>
                <p:spPr>
                  <a:xfrm>
                    <a:off x="701939" y="1951595"/>
                    <a:ext cx="223765" cy="214238"/>
                  </a:xfrm>
                  <a:custGeom>
                    <a:avLst/>
                    <a:gdLst>
                      <a:gd name="connsiteX0" fmla="*/ 15303 w 223765"/>
                      <a:gd name="connsiteY0" fmla="*/ 20962 h 214238"/>
                      <a:gd name="connsiteX1" fmla="*/ 0 w 223765"/>
                      <a:gd name="connsiteY1" fmla="*/ 121490 h 214238"/>
                      <a:gd name="connsiteX2" fmla="*/ 62784 w 223765"/>
                      <a:gd name="connsiteY2" fmla="*/ 211432 h 214238"/>
                      <a:gd name="connsiteX3" fmla="*/ 191378 w 223765"/>
                      <a:gd name="connsiteY3" fmla="*/ 203690 h 214238"/>
                      <a:gd name="connsiteX4" fmla="*/ 211459 w 223765"/>
                      <a:gd name="connsiteY4" fmla="*/ 3300 h 214238"/>
                      <a:gd name="connsiteX5" fmla="*/ 15242 w 223765"/>
                      <a:gd name="connsiteY5" fmla="*/ 20962 h 2142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23765" h="214238">
                        <a:moveTo>
                          <a:pt x="15303" y="20962"/>
                        </a:moveTo>
                        <a:lnTo>
                          <a:pt x="0" y="121490"/>
                        </a:lnTo>
                        <a:cubicBezTo>
                          <a:pt x="0" y="121490"/>
                          <a:pt x="9617" y="172358"/>
                          <a:pt x="62784" y="211432"/>
                        </a:cubicBezTo>
                        <a:cubicBezTo>
                          <a:pt x="117403" y="220808"/>
                          <a:pt x="191378" y="203690"/>
                          <a:pt x="191378" y="203690"/>
                        </a:cubicBezTo>
                        <a:cubicBezTo>
                          <a:pt x="191378" y="203690"/>
                          <a:pt x="248053" y="74492"/>
                          <a:pt x="211459" y="3300"/>
                        </a:cubicBezTo>
                        <a:cubicBezTo>
                          <a:pt x="205713" y="-9946"/>
                          <a:pt x="15242" y="20962"/>
                          <a:pt x="15242" y="20962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9" name="Freihandform: Form 348">
                    <a:extLst>
                      <a:ext uri="{FF2B5EF4-FFF2-40B4-BE49-F238E27FC236}">
                        <a16:creationId xmlns:a16="http://schemas.microsoft.com/office/drawing/2014/main" id="{6845FE39-09D4-39DA-AFD1-ED459BC0E218}"/>
                      </a:ext>
                    </a:extLst>
                  </p:cNvPr>
                  <p:cNvSpPr/>
                  <p:nvPr/>
                </p:nvSpPr>
                <p:spPr>
                  <a:xfrm>
                    <a:off x="601944" y="1942055"/>
                    <a:ext cx="146387" cy="143187"/>
                  </a:xfrm>
                  <a:custGeom>
                    <a:avLst/>
                    <a:gdLst>
                      <a:gd name="connsiteX0" fmla="*/ 108282 w 146387"/>
                      <a:gd name="connsiteY0" fmla="*/ 143127 h 143187"/>
                      <a:gd name="connsiteX1" fmla="*/ 28259 w 146387"/>
                      <a:gd name="connsiteY1" fmla="*/ 110586 h 143187"/>
                      <a:gd name="connsiteX2" fmla="*/ 133 w 146387"/>
                      <a:gd name="connsiteY2" fmla="*/ 68185 h 143187"/>
                      <a:gd name="connsiteX3" fmla="*/ 30134 w 146387"/>
                      <a:gd name="connsiteY3" fmla="*/ 8304 h 143187"/>
                      <a:gd name="connsiteX4" fmla="*/ 120500 w 146387"/>
                      <a:gd name="connsiteY4" fmla="*/ 31893 h 143187"/>
                      <a:gd name="connsiteX5" fmla="*/ 146388 w 146387"/>
                      <a:gd name="connsiteY5" fmla="*/ 49555 h 143187"/>
                      <a:gd name="connsiteX6" fmla="*/ 108282 w 146387"/>
                      <a:gd name="connsiteY6" fmla="*/ 143188 h 143187"/>
                      <a:gd name="connsiteX7" fmla="*/ 55417 w 146387"/>
                      <a:gd name="connsiteY7" fmla="*/ 12961 h 143187"/>
                      <a:gd name="connsiteX8" fmla="*/ 38118 w 146387"/>
                      <a:gd name="connsiteY8" fmla="*/ 18587 h 143187"/>
                      <a:gd name="connsiteX9" fmla="*/ 13137 w 146387"/>
                      <a:gd name="connsiteY9" fmla="*/ 67278 h 143187"/>
                      <a:gd name="connsiteX10" fmla="*/ 34731 w 146387"/>
                      <a:gd name="connsiteY10" fmla="*/ 99275 h 143187"/>
                      <a:gd name="connsiteX11" fmla="*/ 101084 w 146387"/>
                      <a:gd name="connsiteY11" fmla="*/ 128066 h 143187"/>
                      <a:gd name="connsiteX12" fmla="*/ 130057 w 146387"/>
                      <a:gd name="connsiteY12" fmla="*/ 53971 h 143187"/>
                      <a:gd name="connsiteX13" fmla="*/ 112092 w 146387"/>
                      <a:gd name="connsiteY13" fmla="*/ 41632 h 143187"/>
                      <a:gd name="connsiteX14" fmla="*/ 55477 w 146387"/>
                      <a:gd name="connsiteY14" fmla="*/ 12901 h 1431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146387" h="143187">
                        <a:moveTo>
                          <a:pt x="108282" y="143127"/>
                        </a:moveTo>
                        <a:cubicBezTo>
                          <a:pt x="108282" y="143127"/>
                          <a:pt x="66546" y="132300"/>
                          <a:pt x="28259" y="110586"/>
                        </a:cubicBezTo>
                        <a:cubicBezTo>
                          <a:pt x="11383" y="100968"/>
                          <a:pt x="1403" y="85907"/>
                          <a:pt x="133" y="68185"/>
                        </a:cubicBezTo>
                        <a:cubicBezTo>
                          <a:pt x="-1379" y="46652"/>
                          <a:pt x="10113" y="23667"/>
                          <a:pt x="30134" y="8304"/>
                        </a:cubicBezTo>
                        <a:cubicBezTo>
                          <a:pt x="64671" y="-18249"/>
                          <a:pt x="115056" y="26934"/>
                          <a:pt x="120500" y="31893"/>
                        </a:cubicBezTo>
                        <a:lnTo>
                          <a:pt x="146388" y="49555"/>
                        </a:lnTo>
                        <a:lnTo>
                          <a:pt x="108282" y="143188"/>
                        </a:lnTo>
                        <a:close/>
                        <a:moveTo>
                          <a:pt x="55417" y="12961"/>
                        </a:moveTo>
                        <a:cubicBezTo>
                          <a:pt x="49247" y="12961"/>
                          <a:pt x="43320" y="14594"/>
                          <a:pt x="38118" y="18587"/>
                        </a:cubicBezTo>
                        <a:cubicBezTo>
                          <a:pt x="21484" y="31349"/>
                          <a:pt x="11928" y="50039"/>
                          <a:pt x="13137" y="67278"/>
                        </a:cubicBezTo>
                        <a:cubicBezTo>
                          <a:pt x="14045" y="80766"/>
                          <a:pt x="21545" y="91835"/>
                          <a:pt x="34731" y="99275"/>
                        </a:cubicBezTo>
                        <a:cubicBezTo>
                          <a:pt x="62494" y="115062"/>
                          <a:pt x="91043" y="125284"/>
                          <a:pt x="101084" y="128066"/>
                        </a:cubicBezTo>
                        <a:lnTo>
                          <a:pt x="130057" y="53971"/>
                        </a:lnTo>
                        <a:lnTo>
                          <a:pt x="112092" y="41632"/>
                        </a:lnTo>
                        <a:cubicBezTo>
                          <a:pt x="111729" y="41269"/>
                          <a:pt x="81365" y="12901"/>
                          <a:pt x="55477" y="12901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0" name="Freihandform: Form 349">
                    <a:extLst>
                      <a:ext uri="{FF2B5EF4-FFF2-40B4-BE49-F238E27FC236}">
                        <a16:creationId xmlns:a16="http://schemas.microsoft.com/office/drawing/2014/main" id="{A3A26ACD-40A2-5F24-4A8A-287F6268C4F8}"/>
                      </a:ext>
                    </a:extLst>
                  </p:cNvPr>
                  <p:cNvSpPr/>
                  <p:nvPr/>
                </p:nvSpPr>
                <p:spPr>
                  <a:xfrm>
                    <a:off x="443945" y="1659724"/>
                    <a:ext cx="397535" cy="386565"/>
                  </a:xfrm>
                  <a:custGeom>
                    <a:avLst/>
                    <a:gdLst>
                      <a:gd name="connsiteX0" fmla="*/ 105690 w 397535"/>
                      <a:gd name="connsiteY0" fmla="*/ 386566 h 386565"/>
                      <a:gd name="connsiteX1" fmla="*/ 397535 w 397535"/>
                      <a:gd name="connsiteY1" fmla="*/ 158352 h 386565"/>
                      <a:gd name="connsiteX2" fmla="*/ 206279 w 397535"/>
                      <a:gd name="connsiteY2" fmla="*/ 0 h 386565"/>
                      <a:gd name="connsiteX3" fmla="*/ 263 w 397535"/>
                      <a:gd name="connsiteY3" fmla="*/ 246057 h 386565"/>
                      <a:gd name="connsiteX4" fmla="*/ 105690 w 397535"/>
                      <a:gd name="connsiteY4" fmla="*/ 386505 h 3865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7535" h="386565">
                        <a:moveTo>
                          <a:pt x="105690" y="386566"/>
                        </a:moveTo>
                        <a:cubicBezTo>
                          <a:pt x="207972" y="341504"/>
                          <a:pt x="277894" y="163917"/>
                          <a:pt x="397535" y="158352"/>
                        </a:cubicBezTo>
                        <a:cubicBezTo>
                          <a:pt x="393785" y="80688"/>
                          <a:pt x="324650" y="0"/>
                          <a:pt x="206279" y="0"/>
                        </a:cubicBezTo>
                        <a:cubicBezTo>
                          <a:pt x="155107" y="0"/>
                          <a:pt x="-7418" y="149945"/>
                          <a:pt x="263" y="246057"/>
                        </a:cubicBezTo>
                        <a:cubicBezTo>
                          <a:pt x="4195" y="295172"/>
                          <a:pt x="66495" y="357774"/>
                          <a:pt x="105690" y="386505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1" name="Freihandform: Form 350">
                    <a:extLst>
                      <a:ext uri="{FF2B5EF4-FFF2-40B4-BE49-F238E27FC236}">
                        <a16:creationId xmlns:a16="http://schemas.microsoft.com/office/drawing/2014/main" id="{4D1F1F3C-5F49-F96D-9F45-8CB29515CD0A}"/>
                      </a:ext>
                    </a:extLst>
                  </p:cNvPr>
                  <p:cNvSpPr/>
                  <p:nvPr/>
                </p:nvSpPr>
                <p:spPr>
                  <a:xfrm>
                    <a:off x="618710" y="1863562"/>
                    <a:ext cx="284700" cy="113350"/>
                  </a:xfrm>
                  <a:custGeom>
                    <a:avLst/>
                    <a:gdLst>
                      <a:gd name="connsiteX0" fmla="*/ 115589 w 284700"/>
                      <a:gd name="connsiteY0" fmla="*/ 113351 h 113350"/>
                      <a:gd name="connsiteX1" fmla="*/ 106032 w 284700"/>
                      <a:gd name="connsiteY1" fmla="*/ 59579 h 113350"/>
                      <a:gd name="connsiteX2" fmla="*/ 4415 w 284700"/>
                      <a:gd name="connsiteY2" fmla="*/ 86737 h 113350"/>
                      <a:gd name="connsiteX3" fmla="*/ 0 w 284700"/>
                      <a:gd name="connsiteY3" fmla="*/ 70224 h 113350"/>
                      <a:gd name="connsiteX4" fmla="*/ 262993 w 284700"/>
                      <a:gd name="connsiteY4" fmla="*/ 0 h 113350"/>
                      <a:gd name="connsiteX5" fmla="*/ 266320 w 284700"/>
                      <a:gd name="connsiteY5" fmla="*/ 5444 h 113350"/>
                      <a:gd name="connsiteX6" fmla="*/ 279748 w 284700"/>
                      <a:gd name="connsiteY6" fmla="*/ 97685 h 113350"/>
                      <a:gd name="connsiteX7" fmla="*/ 278114 w 284700"/>
                      <a:gd name="connsiteY7" fmla="*/ 103491 h 113350"/>
                      <a:gd name="connsiteX8" fmla="*/ 115649 w 284700"/>
                      <a:gd name="connsiteY8" fmla="*/ 113290 h 113350"/>
                      <a:gd name="connsiteX9" fmla="*/ 122545 w 284700"/>
                      <a:gd name="connsiteY9" fmla="*/ 55163 h 113350"/>
                      <a:gd name="connsiteX10" fmla="*/ 129742 w 284700"/>
                      <a:gd name="connsiteY10" fmla="*/ 95386 h 113350"/>
                      <a:gd name="connsiteX11" fmla="*/ 264808 w 284700"/>
                      <a:gd name="connsiteY11" fmla="*/ 87221 h 113350"/>
                      <a:gd name="connsiteX12" fmla="*/ 254888 w 284700"/>
                      <a:gd name="connsiteY12" fmla="*/ 19839 h 113350"/>
                      <a:gd name="connsiteX13" fmla="*/ 122545 w 284700"/>
                      <a:gd name="connsiteY13" fmla="*/ 55163 h 113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284700" h="113350">
                        <a:moveTo>
                          <a:pt x="115589" y="113351"/>
                        </a:moveTo>
                        <a:lnTo>
                          <a:pt x="106032" y="59579"/>
                        </a:lnTo>
                        <a:lnTo>
                          <a:pt x="4415" y="86737"/>
                        </a:lnTo>
                        <a:lnTo>
                          <a:pt x="0" y="70224"/>
                        </a:lnTo>
                        <a:lnTo>
                          <a:pt x="262993" y="0"/>
                        </a:lnTo>
                        <a:lnTo>
                          <a:pt x="266320" y="5444"/>
                        </a:lnTo>
                        <a:cubicBezTo>
                          <a:pt x="285252" y="36655"/>
                          <a:pt x="289244" y="64236"/>
                          <a:pt x="279748" y="97685"/>
                        </a:cubicBezTo>
                        <a:lnTo>
                          <a:pt x="278114" y="103491"/>
                        </a:lnTo>
                        <a:lnTo>
                          <a:pt x="115649" y="113290"/>
                        </a:lnTo>
                        <a:close/>
                        <a:moveTo>
                          <a:pt x="122545" y="55163"/>
                        </a:moveTo>
                        <a:lnTo>
                          <a:pt x="129742" y="95386"/>
                        </a:lnTo>
                        <a:lnTo>
                          <a:pt x="264808" y="87221"/>
                        </a:lnTo>
                        <a:cubicBezTo>
                          <a:pt x="270614" y="62724"/>
                          <a:pt x="267711" y="43006"/>
                          <a:pt x="254888" y="19839"/>
                        </a:cubicBezTo>
                        <a:lnTo>
                          <a:pt x="122545" y="55163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2" name="Freihandform: Form 351">
                    <a:extLst>
                      <a:ext uri="{FF2B5EF4-FFF2-40B4-BE49-F238E27FC236}">
                        <a16:creationId xmlns:a16="http://schemas.microsoft.com/office/drawing/2014/main" id="{7818D5F4-B065-1118-1F02-EE58D7555E62}"/>
                      </a:ext>
                    </a:extLst>
                  </p:cNvPr>
                  <p:cNvSpPr/>
                  <p:nvPr/>
                </p:nvSpPr>
                <p:spPr>
                  <a:xfrm rot="-1304998">
                    <a:off x="588752" y="1930189"/>
                    <a:ext cx="87099" cy="135004"/>
                  </a:xfrm>
                  <a:custGeom>
                    <a:avLst/>
                    <a:gdLst>
                      <a:gd name="connsiteX0" fmla="*/ 87100 w 87099"/>
                      <a:gd name="connsiteY0" fmla="*/ 67502 h 135004"/>
                      <a:gd name="connsiteX1" fmla="*/ 43550 w 87099"/>
                      <a:gd name="connsiteY1" fmla="*/ 135005 h 135004"/>
                      <a:gd name="connsiteX2" fmla="*/ 0 w 87099"/>
                      <a:gd name="connsiteY2" fmla="*/ 67502 h 135004"/>
                      <a:gd name="connsiteX3" fmla="*/ 43550 w 87099"/>
                      <a:gd name="connsiteY3" fmla="*/ 0 h 135004"/>
                      <a:gd name="connsiteX4" fmla="*/ 87100 w 87099"/>
                      <a:gd name="connsiteY4" fmla="*/ 67502 h 1350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7099" h="135004">
                        <a:moveTo>
                          <a:pt x="87100" y="67502"/>
                        </a:moveTo>
                        <a:cubicBezTo>
                          <a:pt x="87100" y="104783"/>
                          <a:pt x="67602" y="135005"/>
                          <a:pt x="43550" y="135005"/>
                        </a:cubicBezTo>
                        <a:cubicBezTo>
                          <a:pt x="19498" y="135005"/>
                          <a:pt x="0" y="104783"/>
                          <a:pt x="0" y="67502"/>
                        </a:cubicBezTo>
                        <a:cubicBezTo>
                          <a:pt x="0" y="30222"/>
                          <a:pt x="19498" y="0"/>
                          <a:pt x="43550" y="0"/>
                        </a:cubicBezTo>
                        <a:cubicBezTo>
                          <a:pt x="67602" y="0"/>
                          <a:pt x="87100" y="30222"/>
                          <a:pt x="87100" y="67502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09" name="Grafik 297">
                  <a:extLst>
                    <a:ext uri="{FF2B5EF4-FFF2-40B4-BE49-F238E27FC236}">
                      <a16:creationId xmlns:a16="http://schemas.microsoft.com/office/drawing/2014/main" id="{E03C75B1-E2B2-45D5-366C-077E6D18C65B}"/>
                    </a:ext>
                  </a:extLst>
                </p:cNvPr>
                <p:cNvGrpSpPr/>
                <p:nvPr/>
              </p:nvGrpSpPr>
              <p:grpSpPr>
                <a:xfrm>
                  <a:off x="372895" y="2175735"/>
                  <a:ext cx="581693" cy="1213887"/>
                  <a:chOff x="372895" y="2175735"/>
                  <a:chExt cx="581693" cy="1213887"/>
                </a:xfrm>
              </p:grpSpPr>
              <p:sp>
                <p:nvSpPr>
                  <p:cNvPr id="341" name="Freihandform: Form 340">
                    <a:extLst>
                      <a:ext uri="{FF2B5EF4-FFF2-40B4-BE49-F238E27FC236}">
                        <a16:creationId xmlns:a16="http://schemas.microsoft.com/office/drawing/2014/main" id="{BB196FD5-0C8B-844B-6C30-C17DBC6DD749}"/>
                      </a:ext>
                    </a:extLst>
                  </p:cNvPr>
                  <p:cNvSpPr/>
                  <p:nvPr/>
                </p:nvSpPr>
                <p:spPr>
                  <a:xfrm>
                    <a:off x="372895" y="2175735"/>
                    <a:ext cx="581693" cy="1213887"/>
                  </a:xfrm>
                  <a:custGeom>
                    <a:avLst/>
                    <a:gdLst>
                      <a:gd name="connsiteX0" fmla="*/ 0 w 581693"/>
                      <a:gd name="connsiteY0" fmla="*/ 1177656 h 1213887"/>
                      <a:gd name="connsiteX1" fmla="*/ 561189 w 581693"/>
                      <a:gd name="connsiteY1" fmla="*/ 1213888 h 1213887"/>
                      <a:gd name="connsiteX2" fmla="*/ 579637 w 581693"/>
                      <a:gd name="connsiteY2" fmla="*/ 480616 h 1213887"/>
                      <a:gd name="connsiteX3" fmla="*/ 434894 w 581693"/>
                      <a:gd name="connsiteY3" fmla="*/ 178610 h 1213887"/>
                      <a:gd name="connsiteX4" fmla="*/ 342230 w 581693"/>
                      <a:gd name="connsiteY4" fmla="*/ 70158 h 1213887"/>
                      <a:gd name="connsiteX5" fmla="*/ 125871 w 581693"/>
                      <a:gd name="connsiteY5" fmla="*/ 2535 h 1213887"/>
                      <a:gd name="connsiteX6" fmla="*/ 49296 w 581693"/>
                      <a:gd name="connsiteY6" fmla="*/ 803248 h 1213887"/>
                      <a:gd name="connsiteX7" fmla="*/ 0 w 581693"/>
                      <a:gd name="connsiteY7" fmla="*/ 1177596 h 12138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81693" h="1213887">
                        <a:moveTo>
                          <a:pt x="0" y="1177656"/>
                        </a:moveTo>
                        <a:lnTo>
                          <a:pt x="561189" y="1213888"/>
                        </a:lnTo>
                        <a:cubicBezTo>
                          <a:pt x="571229" y="1059769"/>
                          <a:pt x="587440" y="576063"/>
                          <a:pt x="579637" y="480616"/>
                        </a:cubicBezTo>
                        <a:cubicBezTo>
                          <a:pt x="567782" y="336055"/>
                          <a:pt x="434894" y="178610"/>
                          <a:pt x="434894" y="178610"/>
                        </a:cubicBezTo>
                        <a:cubicBezTo>
                          <a:pt x="434894" y="178610"/>
                          <a:pt x="368964" y="95502"/>
                          <a:pt x="342230" y="70158"/>
                        </a:cubicBezTo>
                        <a:cubicBezTo>
                          <a:pt x="338661" y="66771"/>
                          <a:pt x="237226" y="-15308"/>
                          <a:pt x="125871" y="2535"/>
                        </a:cubicBezTo>
                        <a:cubicBezTo>
                          <a:pt x="-63692" y="199477"/>
                          <a:pt x="37259" y="683668"/>
                          <a:pt x="49296" y="803248"/>
                        </a:cubicBezTo>
                        <a:cubicBezTo>
                          <a:pt x="60184" y="911397"/>
                          <a:pt x="8408" y="1132050"/>
                          <a:pt x="0" y="1177596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2" name="Freihandform: Form 341">
                    <a:extLst>
                      <a:ext uri="{FF2B5EF4-FFF2-40B4-BE49-F238E27FC236}">
                        <a16:creationId xmlns:a16="http://schemas.microsoft.com/office/drawing/2014/main" id="{E330D271-3A56-F78A-F4A4-7168D880E9E2}"/>
                      </a:ext>
                    </a:extLst>
                  </p:cNvPr>
                  <p:cNvSpPr/>
                  <p:nvPr/>
                </p:nvSpPr>
                <p:spPr>
                  <a:xfrm>
                    <a:off x="431918" y="2368973"/>
                    <a:ext cx="299871" cy="833700"/>
                  </a:xfrm>
                  <a:custGeom>
                    <a:avLst/>
                    <a:gdLst>
                      <a:gd name="connsiteX0" fmla="*/ 214737 w 299871"/>
                      <a:gd name="connsiteY0" fmla="*/ 243586 h 833700"/>
                      <a:gd name="connsiteX1" fmla="*/ 69934 w 299871"/>
                      <a:gd name="connsiteY1" fmla="*/ 12953 h 833700"/>
                      <a:gd name="connsiteX2" fmla="*/ 11625 w 299871"/>
                      <a:gd name="connsiteY2" fmla="*/ 413612 h 833700"/>
                      <a:gd name="connsiteX3" fmla="*/ 173062 w 299871"/>
                      <a:gd name="connsiteY3" fmla="*/ 832175 h 833700"/>
                      <a:gd name="connsiteX4" fmla="*/ 214737 w 299871"/>
                      <a:gd name="connsiteY4" fmla="*/ 243586 h 8337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9871" h="833700">
                        <a:moveTo>
                          <a:pt x="214737" y="243586"/>
                        </a:moveTo>
                        <a:cubicBezTo>
                          <a:pt x="198890" y="90315"/>
                          <a:pt x="116205" y="-42815"/>
                          <a:pt x="69934" y="12953"/>
                        </a:cubicBezTo>
                        <a:cubicBezTo>
                          <a:pt x="-45111" y="208323"/>
                          <a:pt x="17976" y="260462"/>
                          <a:pt x="11625" y="413612"/>
                        </a:cubicBezTo>
                        <a:cubicBezTo>
                          <a:pt x="2915" y="624103"/>
                          <a:pt x="31404" y="854676"/>
                          <a:pt x="173062" y="832175"/>
                        </a:cubicBezTo>
                        <a:cubicBezTo>
                          <a:pt x="424200" y="792315"/>
                          <a:pt x="226895" y="361473"/>
                          <a:pt x="214737" y="243586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10" name="Grafik 297">
                  <a:extLst>
                    <a:ext uri="{FF2B5EF4-FFF2-40B4-BE49-F238E27FC236}">
                      <a16:creationId xmlns:a16="http://schemas.microsoft.com/office/drawing/2014/main" id="{9E64B8EE-B510-621C-FB76-B8C02A5F2046}"/>
                    </a:ext>
                  </a:extLst>
                </p:cNvPr>
                <p:cNvGrpSpPr/>
                <p:nvPr/>
              </p:nvGrpSpPr>
              <p:grpSpPr>
                <a:xfrm>
                  <a:off x="1054754" y="3219161"/>
                  <a:ext cx="382210" cy="209656"/>
                  <a:chOff x="1054754" y="3219161"/>
                  <a:chExt cx="382210" cy="209656"/>
                </a:xfrm>
                <a:solidFill>
                  <a:srgbClr val="02787D"/>
                </a:solidFill>
              </p:grpSpPr>
              <p:sp>
                <p:nvSpPr>
                  <p:cNvPr id="319" name="Freihandform: Form 318">
                    <a:extLst>
                      <a:ext uri="{FF2B5EF4-FFF2-40B4-BE49-F238E27FC236}">
                        <a16:creationId xmlns:a16="http://schemas.microsoft.com/office/drawing/2014/main" id="{90E94422-9213-855F-0AE6-4D302AABEF87}"/>
                      </a:ext>
                    </a:extLst>
                  </p:cNvPr>
                  <p:cNvSpPr/>
                  <p:nvPr/>
                </p:nvSpPr>
                <p:spPr>
                  <a:xfrm>
                    <a:off x="1054754" y="3240041"/>
                    <a:ext cx="118915" cy="118915"/>
                  </a:xfrm>
                  <a:custGeom>
                    <a:avLst/>
                    <a:gdLst>
                      <a:gd name="connsiteX0" fmla="*/ 118915 w 118915"/>
                      <a:gd name="connsiteY0" fmla="*/ 59458 h 118915"/>
                      <a:gd name="connsiteX1" fmla="*/ 59458 w 118915"/>
                      <a:gd name="connsiteY1" fmla="*/ 118915 h 118915"/>
                      <a:gd name="connsiteX2" fmla="*/ 0 w 118915"/>
                      <a:gd name="connsiteY2" fmla="*/ 59458 h 118915"/>
                      <a:gd name="connsiteX3" fmla="*/ 59458 w 118915"/>
                      <a:gd name="connsiteY3" fmla="*/ 0 h 118915"/>
                      <a:gd name="connsiteX4" fmla="*/ 118915 w 118915"/>
                      <a:gd name="connsiteY4" fmla="*/ 59458 h 118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8915" h="118915">
                        <a:moveTo>
                          <a:pt x="118915" y="59458"/>
                        </a:moveTo>
                        <a:cubicBezTo>
                          <a:pt x="118915" y="92295"/>
                          <a:pt x="92295" y="118915"/>
                          <a:pt x="59458" y="118915"/>
                        </a:cubicBezTo>
                        <a:cubicBezTo>
                          <a:pt x="26620" y="118915"/>
                          <a:pt x="0" y="92295"/>
                          <a:pt x="0" y="59458"/>
                        </a:cubicBezTo>
                        <a:cubicBezTo>
                          <a:pt x="0" y="26620"/>
                          <a:pt x="26620" y="0"/>
                          <a:pt x="59458" y="0"/>
                        </a:cubicBezTo>
                        <a:cubicBezTo>
                          <a:pt x="92295" y="0"/>
                          <a:pt x="118915" y="26620"/>
                          <a:pt x="118915" y="59458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320" name="Grafik 297">
                    <a:extLst>
                      <a:ext uri="{FF2B5EF4-FFF2-40B4-BE49-F238E27FC236}">
                        <a16:creationId xmlns:a16="http://schemas.microsoft.com/office/drawing/2014/main" id="{24C74E94-52E9-2C2A-D37A-79370A019D49}"/>
                      </a:ext>
                    </a:extLst>
                  </p:cNvPr>
                  <p:cNvGrpSpPr/>
                  <p:nvPr/>
                </p:nvGrpSpPr>
                <p:grpSpPr>
                  <a:xfrm>
                    <a:off x="1069820" y="3219161"/>
                    <a:ext cx="367143" cy="209656"/>
                    <a:chOff x="1069820" y="3219161"/>
                    <a:chExt cx="367143" cy="209656"/>
                  </a:xfrm>
                  <a:solidFill>
                    <a:srgbClr val="02787D"/>
                  </a:solidFill>
                </p:grpSpPr>
                <p:grpSp>
                  <p:nvGrpSpPr>
                    <p:cNvPr id="321" name="Grafik 297">
                      <a:extLst>
                        <a:ext uri="{FF2B5EF4-FFF2-40B4-BE49-F238E27FC236}">
                          <a16:creationId xmlns:a16="http://schemas.microsoft.com/office/drawing/2014/main" id="{DBB9C109-D1AD-9662-C09E-785C646D12E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64829" y="3326989"/>
                      <a:ext cx="172135" cy="51322"/>
                      <a:chOff x="1264829" y="3326989"/>
                      <a:chExt cx="172135" cy="51322"/>
                    </a:xfrm>
                    <a:solidFill>
                      <a:srgbClr val="02787D"/>
                    </a:solidFill>
                  </p:grpSpPr>
                  <p:sp>
                    <p:nvSpPr>
                      <p:cNvPr id="337" name="Freihandform: Form 336">
                        <a:extLst>
                          <a:ext uri="{FF2B5EF4-FFF2-40B4-BE49-F238E27FC236}">
                            <a16:creationId xmlns:a16="http://schemas.microsoft.com/office/drawing/2014/main" id="{547EF264-29EE-E1B6-E240-0A6EC01EBD8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64829" y="3326989"/>
                        <a:ext cx="79232" cy="51322"/>
                      </a:xfrm>
                      <a:custGeom>
                        <a:avLst/>
                        <a:gdLst>
                          <a:gd name="connsiteX0" fmla="*/ 63865 w 79232"/>
                          <a:gd name="connsiteY0" fmla="*/ 51323 h 51322"/>
                          <a:gd name="connsiteX1" fmla="*/ 79229 w 79232"/>
                          <a:gd name="connsiteY1" fmla="*/ 30999 h 51322"/>
                          <a:gd name="connsiteX2" fmla="*/ 65559 w 79232"/>
                          <a:gd name="connsiteY2" fmla="*/ 12551 h 51322"/>
                          <a:gd name="connsiteX3" fmla="*/ 23158 w 79232"/>
                          <a:gd name="connsiteY3" fmla="*/ 514 h 51322"/>
                          <a:gd name="connsiteX4" fmla="*/ 900 w 79232"/>
                          <a:gd name="connsiteY4" fmla="*/ 14668 h 51322"/>
                          <a:gd name="connsiteX5" fmla="*/ 16202 w 79232"/>
                          <a:gd name="connsiteY5" fmla="*/ 40133 h 51322"/>
                          <a:gd name="connsiteX6" fmla="*/ 63865 w 79232"/>
                          <a:gd name="connsiteY6" fmla="*/ 51323 h 5132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9232" h="51322">
                            <a:moveTo>
                              <a:pt x="63865" y="51323"/>
                            </a:moveTo>
                            <a:cubicBezTo>
                              <a:pt x="63865" y="51323"/>
                              <a:pt x="78987" y="46544"/>
                              <a:pt x="79229" y="30999"/>
                            </a:cubicBezTo>
                            <a:cubicBezTo>
                              <a:pt x="79471" y="15878"/>
                              <a:pt x="65559" y="12551"/>
                              <a:pt x="65559" y="12551"/>
                            </a:cubicBezTo>
                            <a:lnTo>
                              <a:pt x="23158" y="514"/>
                            </a:lnTo>
                            <a:cubicBezTo>
                              <a:pt x="11243" y="-1966"/>
                              <a:pt x="3440" y="4809"/>
                              <a:pt x="900" y="14668"/>
                            </a:cubicBezTo>
                            <a:cubicBezTo>
                              <a:pt x="-2064" y="24467"/>
                              <a:pt x="2109" y="36262"/>
                              <a:pt x="16202" y="40133"/>
                            </a:cubicBezTo>
                            <a:lnTo>
                              <a:pt x="63865" y="51323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38" name="Freihandform: Form 337">
                        <a:extLst>
                          <a:ext uri="{FF2B5EF4-FFF2-40B4-BE49-F238E27FC236}">
                            <a16:creationId xmlns:a16="http://schemas.microsoft.com/office/drawing/2014/main" id="{3DD4DF3D-3CD5-9097-2A82-67A49E264FD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6113" y="3336851"/>
                        <a:ext cx="66300" cy="41461"/>
                      </a:xfrm>
                      <a:custGeom>
                        <a:avLst/>
                        <a:gdLst>
                          <a:gd name="connsiteX0" fmla="*/ 57099 w 66300"/>
                          <a:gd name="connsiteY0" fmla="*/ 34384 h 41461"/>
                          <a:gd name="connsiteX1" fmla="*/ 65325 w 66300"/>
                          <a:gd name="connsiteY1" fmla="*/ 14424 h 41461"/>
                          <a:gd name="connsiteX2" fmla="*/ 51534 w 66300"/>
                          <a:gd name="connsiteY2" fmla="*/ 89 h 41461"/>
                          <a:gd name="connsiteX3" fmla="*/ 14275 w 66300"/>
                          <a:gd name="connsiteY3" fmla="*/ 2629 h 41461"/>
                          <a:gd name="connsiteX4" fmla="*/ 0 w 66300"/>
                          <a:gd name="connsiteY4" fmla="*/ 21319 h 41461"/>
                          <a:gd name="connsiteX5" fmla="*/ 12581 w 66300"/>
                          <a:gd name="connsiteY5" fmla="*/ 41461 h 41461"/>
                          <a:gd name="connsiteX6" fmla="*/ 57099 w 66300"/>
                          <a:gd name="connsiteY6" fmla="*/ 34384 h 4146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6300" h="41461">
                            <a:moveTo>
                              <a:pt x="57099" y="34384"/>
                            </a:moveTo>
                            <a:cubicBezTo>
                              <a:pt x="57099" y="34384"/>
                              <a:pt x="69861" y="28880"/>
                              <a:pt x="65325" y="14424"/>
                            </a:cubicBezTo>
                            <a:cubicBezTo>
                              <a:pt x="60184" y="-2028"/>
                              <a:pt x="51534" y="89"/>
                              <a:pt x="51534" y="89"/>
                            </a:cubicBezTo>
                            <a:lnTo>
                              <a:pt x="14275" y="2629"/>
                            </a:lnTo>
                            <a:cubicBezTo>
                              <a:pt x="5202" y="2629"/>
                              <a:pt x="61" y="13759"/>
                              <a:pt x="0" y="21319"/>
                            </a:cubicBezTo>
                            <a:cubicBezTo>
                              <a:pt x="423" y="33054"/>
                              <a:pt x="2057" y="38074"/>
                              <a:pt x="12581" y="41461"/>
                            </a:cubicBezTo>
                            <a:lnTo>
                              <a:pt x="57099" y="34384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39" name="Freihandform: Form 338">
                        <a:extLst>
                          <a:ext uri="{FF2B5EF4-FFF2-40B4-BE49-F238E27FC236}">
                            <a16:creationId xmlns:a16="http://schemas.microsoft.com/office/drawing/2014/main" id="{000FF707-44C7-4E16-7E2A-4C924293768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780" y="3327234"/>
                        <a:ext cx="82184" cy="44013"/>
                      </a:xfrm>
                      <a:custGeom>
                        <a:avLst/>
                        <a:gdLst>
                          <a:gd name="connsiteX0" fmla="*/ 56720 w 82184"/>
                          <a:gd name="connsiteY0" fmla="*/ 27489 h 44013"/>
                          <a:gd name="connsiteX1" fmla="*/ 82185 w 82184"/>
                          <a:gd name="connsiteY1" fmla="*/ 16238 h 44013"/>
                          <a:gd name="connsiteX2" fmla="*/ 42082 w 82184"/>
                          <a:gd name="connsiteY2" fmla="*/ 1117 h 44013"/>
                          <a:gd name="connsiteX3" fmla="*/ 12868 w 82184"/>
                          <a:gd name="connsiteY3" fmla="*/ 9706 h 44013"/>
                          <a:gd name="connsiteX4" fmla="*/ 165 w 82184"/>
                          <a:gd name="connsiteY4" fmla="*/ 29484 h 44013"/>
                          <a:gd name="connsiteX5" fmla="*/ 18432 w 82184"/>
                          <a:gd name="connsiteY5" fmla="*/ 44001 h 44013"/>
                          <a:gd name="connsiteX6" fmla="*/ 56720 w 82184"/>
                          <a:gd name="connsiteY6" fmla="*/ 27489 h 440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82184" h="44013">
                            <a:moveTo>
                              <a:pt x="56720" y="27489"/>
                            </a:moveTo>
                            <a:lnTo>
                              <a:pt x="82185" y="16238"/>
                            </a:lnTo>
                            <a:cubicBezTo>
                              <a:pt x="75833" y="-517"/>
                              <a:pt x="55510" y="-1545"/>
                              <a:pt x="42082" y="1117"/>
                            </a:cubicBezTo>
                            <a:cubicBezTo>
                              <a:pt x="28654" y="3778"/>
                              <a:pt x="12868" y="9706"/>
                              <a:pt x="12868" y="9706"/>
                            </a:cubicBezTo>
                            <a:cubicBezTo>
                              <a:pt x="3916" y="11460"/>
                              <a:pt x="-984" y="19988"/>
                              <a:pt x="165" y="29484"/>
                            </a:cubicBezTo>
                            <a:cubicBezTo>
                              <a:pt x="1315" y="38981"/>
                              <a:pt x="9299" y="44304"/>
                              <a:pt x="18432" y="44001"/>
                            </a:cubicBezTo>
                            <a:lnTo>
                              <a:pt x="56720" y="27489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40" name="Freihandform: Form 339">
                        <a:extLst>
                          <a:ext uri="{FF2B5EF4-FFF2-40B4-BE49-F238E27FC236}">
                            <a16:creationId xmlns:a16="http://schemas.microsoft.com/office/drawing/2014/main" id="{A1DB9C41-F5E9-49F7-EC4B-3CDB24C962E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85508" y="3327201"/>
                        <a:ext cx="103672" cy="28807"/>
                      </a:xfrm>
                      <a:custGeom>
                        <a:avLst/>
                        <a:gdLst>
                          <a:gd name="connsiteX0" fmla="*/ 103673 w 103672"/>
                          <a:gd name="connsiteY0" fmla="*/ 2964 h 28807"/>
                          <a:gd name="connsiteX1" fmla="*/ 82140 w 103672"/>
                          <a:gd name="connsiteY1" fmla="*/ 9799 h 28807"/>
                          <a:gd name="connsiteX2" fmla="*/ 44881 w 103672"/>
                          <a:gd name="connsiteY2" fmla="*/ 12339 h 28807"/>
                          <a:gd name="connsiteX3" fmla="*/ 2480 w 103672"/>
                          <a:gd name="connsiteY3" fmla="*/ 302 h 28807"/>
                          <a:gd name="connsiteX4" fmla="*/ 0 w 103672"/>
                          <a:gd name="connsiteY4" fmla="*/ 0 h 28807"/>
                          <a:gd name="connsiteX5" fmla="*/ 16573 w 103672"/>
                          <a:gd name="connsiteY5" fmla="*/ 22864 h 28807"/>
                          <a:gd name="connsiteX6" fmla="*/ 63510 w 103672"/>
                          <a:gd name="connsiteY6" fmla="*/ 26916 h 28807"/>
                          <a:gd name="connsiteX7" fmla="*/ 103673 w 103672"/>
                          <a:gd name="connsiteY7" fmla="*/ 3024 h 28807"/>
                          <a:gd name="connsiteX8" fmla="*/ 103673 w 103672"/>
                          <a:gd name="connsiteY8" fmla="*/ 3024 h 2880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03672" h="28807">
                            <a:moveTo>
                              <a:pt x="103673" y="2964"/>
                            </a:moveTo>
                            <a:cubicBezTo>
                              <a:pt x="92544" y="5867"/>
                              <a:pt x="82140" y="9799"/>
                              <a:pt x="82140" y="9799"/>
                            </a:cubicBezTo>
                            <a:lnTo>
                              <a:pt x="44881" y="12339"/>
                            </a:lnTo>
                            <a:lnTo>
                              <a:pt x="2480" y="302"/>
                            </a:lnTo>
                            <a:cubicBezTo>
                              <a:pt x="1633" y="121"/>
                              <a:pt x="847" y="121"/>
                              <a:pt x="0" y="0"/>
                            </a:cubicBezTo>
                            <a:cubicBezTo>
                              <a:pt x="0" y="0"/>
                              <a:pt x="7803" y="19718"/>
                              <a:pt x="16573" y="22864"/>
                            </a:cubicBezTo>
                            <a:cubicBezTo>
                              <a:pt x="25404" y="26009"/>
                              <a:pt x="32844" y="31815"/>
                              <a:pt x="63510" y="26916"/>
                            </a:cubicBezTo>
                            <a:cubicBezTo>
                              <a:pt x="84196" y="23589"/>
                              <a:pt x="103673" y="3024"/>
                              <a:pt x="103673" y="3024"/>
                            </a:cubicBezTo>
                            <a:lnTo>
                              <a:pt x="103673" y="3024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322" name="Grafik 297">
                      <a:extLst>
                        <a:ext uri="{FF2B5EF4-FFF2-40B4-BE49-F238E27FC236}">
                          <a16:creationId xmlns:a16="http://schemas.microsoft.com/office/drawing/2014/main" id="{FDF38E4E-F5DA-FC25-FF23-7E60E2A4A8A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50636" y="3354113"/>
                      <a:ext cx="167214" cy="58191"/>
                      <a:chOff x="1250636" y="3354113"/>
                      <a:chExt cx="167214" cy="58191"/>
                    </a:xfrm>
                    <a:solidFill>
                      <a:srgbClr val="02787D"/>
                    </a:solidFill>
                  </p:grpSpPr>
                  <p:sp>
                    <p:nvSpPr>
                      <p:cNvPr id="334" name="Freihandform: Form 333">
                        <a:extLst>
                          <a:ext uri="{FF2B5EF4-FFF2-40B4-BE49-F238E27FC236}">
                            <a16:creationId xmlns:a16="http://schemas.microsoft.com/office/drawing/2014/main" id="{75EA16F1-5D37-6231-793B-DF036B4DB1F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50636" y="3363067"/>
                        <a:ext cx="81268" cy="49237"/>
                      </a:xfrm>
                      <a:custGeom>
                        <a:avLst/>
                        <a:gdLst>
                          <a:gd name="connsiteX0" fmla="*/ 69530 w 81268"/>
                          <a:gd name="connsiteY0" fmla="*/ 49177 h 49237"/>
                          <a:gd name="connsiteX1" fmla="*/ 81022 w 81268"/>
                          <a:gd name="connsiteY1" fmla="*/ 30426 h 49237"/>
                          <a:gd name="connsiteX2" fmla="*/ 64993 w 81268"/>
                          <a:gd name="connsiteY2" fmla="*/ 11131 h 49237"/>
                          <a:gd name="connsiteX3" fmla="*/ 23803 w 81268"/>
                          <a:gd name="connsiteY3" fmla="*/ 304 h 49237"/>
                          <a:gd name="connsiteX4" fmla="*/ 757 w 81268"/>
                          <a:gd name="connsiteY4" fmla="*/ 14216 h 49237"/>
                          <a:gd name="connsiteX5" fmla="*/ 17089 w 81268"/>
                          <a:gd name="connsiteY5" fmla="*/ 39076 h 49237"/>
                          <a:gd name="connsiteX6" fmla="*/ 69590 w 81268"/>
                          <a:gd name="connsiteY6" fmla="*/ 49237 h 492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81268" h="49237">
                            <a:moveTo>
                              <a:pt x="69530" y="49177"/>
                            </a:moveTo>
                            <a:cubicBezTo>
                              <a:pt x="69530" y="49177"/>
                              <a:pt x="83260" y="45003"/>
                              <a:pt x="81022" y="30426"/>
                            </a:cubicBezTo>
                            <a:cubicBezTo>
                              <a:pt x="78361" y="12885"/>
                              <a:pt x="64993" y="11131"/>
                              <a:pt x="64993" y="11131"/>
                            </a:cubicBezTo>
                            <a:lnTo>
                              <a:pt x="23803" y="304"/>
                            </a:lnTo>
                            <a:cubicBezTo>
                              <a:pt x="11826" y="-1450"/>
                              <a:pt x="3177" y="4538"/>
                              <a:pt x="757" y="14216"/>
                            </a:cubicBezTo>
                            <a:cubicBezTo>
                              <a:pt x="-2146" y="23773"/>
                              <a:pt x="3298" y="35265"/>
                              <a:pt x="17089" y="39076"/>
                            </a:cubicBezTo>
                            <a:lnTo>
                              <a:pt x="69590" y="4923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35" name="Freihandform: Form 334">
                        <a:extLst>
                          <a:ext uri="{FF2B5EF4-FFF2-40B4-BE49-F238E27FC236}">
                            <a16:creationId xmlns:a16="http://schemas.microsoft.com/office/drawing/2014/main" id="{EC370C6E-0589-9E50-1AC5-8314BC3307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3585" y="3362437"/>
                        <a:ext cx="66097" cy="49807"/>
                      </a:xfrm>
                      <a:custGeom>
                        <a:avLst/>
                        <a:gdLst>
                          <a:gd name="connsiteX0" fmla="*/ 56441 w 66097"/>
                          <a:gd name="connsiteY0" fmla="*/ 32569 h 49807"/>
                          <a:gd name="connsiteX1" fmla="*/ 65272 w 66097"/>
                          <a:gd name="connsiteY1" fmla="*/ 13093 h 49807"/>
                          <a:gd name="connsiteX2" fmla="*/ 48578 w 66097"/>
                          <a:gd name="connsiteY2" fmla="*/ 330 h 49807"/>
                          <a:gd name="connsiteX3" fmla="*/ 11621 w 66097"/>
                          <a:gd name="connsiteY3" fmla="*/ 11762 h 49807"/>
                          <a:gd name="connsiteX4" fmla="*/ 68 w 66097"/>
                          <a:gd name="connsiteY4" fmla="*/ 31057 h 49807"/>
                          <a:gd name="connsiteX5" fmla="*/ 16581 w 66097"/>
                          <a:gd name="connsiteY5" fmla="*/ 49808 h 49807"/>
                          <a:gd name="connsiteX6" fmla="*/ 56441 w 66097"/>
                          <a:gd name="connsiteY6" fmla="*/ 32569 h 4980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6097" h="49807">
                            <a:moveTo>
                              <a:pt x="56441" y="32569"/>
                            </a:moveTo>
                            <a:cubicBezTo>
                              <a:pt x="56441" y="32569"/>
                              <a:pt x="69445" y="29424"/>
                              <a:pt x="65272" y="13093"/>
                            </a:cubicBezTo>
                            <a:cubicBezTo>
                              <a:pt x="60977" y="-3239"/>
                              <a:pt x="48578" y="330"/>
                              <a:pt x="48578" y="330"/>
                            </a:cubicBezTo>
                            <a:lnTo>
                              <a:pt x="11621" y="11762"/>
                            </a:lnTo>
                            <a:cubicBezTo>
                              <a:pt x="5391" y="17871"/>
                              <a:pt x="673" y="23194"/>
                              <a:pt x="68" y="31057"/>
                            </a:cubicBezTo>
                            <a:cubicBezTo>
                              <a:pt x="-537" y="38920"/>
                              <a:pt x="2729" y="47751"/>
                              <a:pt x="16581" y="49808"/>
                            </a:cubicBezTo>
                            <a:lnTo>
                              <a:pt x="56441" y="32569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36" name="Freihandform: Form 335">
                        <a:extLst>
                          <a:ext uri="{FF2B5EF4-FFF2-40B4-BE49-F238E27FC236}">
                            <a16:creationId xmlns:a16="http://schemas.microsoft.com/office/drawing/2014/main" id="{7A428920-81D0-CF63-81F4-ECE705E466D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3092" y="3354113"/>
                        <a:ext cx="74758" cy="40567"/>
                      </a:xfrm>
                      <a:custGeom>
                        <a:avLst/>
                        <a:gdLst>
                          <a:gd name="connsiteX0" fmla="*/ 49839 w 74758"/>
                          <a:gd name="connsiteY0" fmla="*/ 26920 h 40567"/>
                          <a:gd name="connsiteX1" fmla="*/ 74759 w 74758"/>
                          <a:gd name="connsiteY1" fmla="*/ 16093 h 40567"/>
                          <a:gd name="connsiteX2" fmla="*/ 35685 w 74758"/>
                          <a:gd name="connsiteY2" fmla="*/ 1032 h 40567"/>
                          <a:gd name="connsiteX3" fmla="*/ 7498 w 74758"/>
                          <a:gd name="connsiteY3" fmla="*/ 9137 h 40567"/>
                          <a:gd name="connsiteX4" fmla="*/ 845 w 74758"/>
                          <a:gd name="connsiteY4" fmla="*/ 28977 h 40567"/>
                          <a:gd name="connsiteX5" fmla="*/ 18507 w 74758"/>
                          <a:gd name="connsiteY5" fmla="*/ 40348 h 40567"/>
                          <a:gd name="connsiteX6" fmla="*/ 49899 w 74758"/>
                          <a:gd name="connsiteY6" fmla="*/ 26920 h 4056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4758" h="40567">
                            <a:moveTo>
                              <a:pt x="49839" y="26920"/>
                            </a:moveTo>
                            <a:lnTo>
                              <a:pt x="74759" y="16093"/>
                            </a:lnTo>
                            <a:cubicBezTo>
                              <a:pt x="68650" y="-359"/>
                              <a:pt x="48810" y="-1508"/>
                              <a:pt x="35685" y="1032"/>
                            </a:cubicBezTo>
                            <a:cubicBezTo>
                              <a:pt x="22559" y="3572"/>
                              <a:pt x="7498" y="9137"/>
                              <a:pt x="7498" y="9137"/>
                            </a:cubicBezTo>
                            <a:cubicBezTo>
                              <a:pt x="-1030" y="14400"/>
                              <a:pt x="-667" y="22202"/>
                              <a:pt x="845" y="28977"/>
                            </a:cubicBezTo>
                            <a:cubicBezTo>
                              <a:pt x="2599" y="36840"/>
                              <a:pt x="9676" y="41679"/>
                              <a:pt x="18507" y="40348"/>
                            </a:cubicBezTo>
                            <a:lnTo>
                              <a:pt x="49899" y="26920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323" name="Grafik 297">
                      <a:extLst>
                        <a:ext uri="{FF2B5EF4-FFF2-40B4-BE49-F238E27FC236}">
                          <a16:creationId xmlns:a16="http://schemas.microsoft.com/office/drawing/2014/main" id="{74409FED-2756-34DD-D88A-DE6D9AE9149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19789" y="3374219"/>
                      <a:ext cx="153786" cy="54598"/>
                      <a:chOff x="1219789" y="3374219"/>
                      <a:chExt cx="153786" cy="54598"/>
                    </a:xfrm>
                    <a:solidFill>
                      <a:srgbClr val="02787D"/>
                    </a:solidFill>
                  </p:grpSpPr>
                  <p:sp>
                    <p:nvSpPr>
                      <p:cNvPr id="331" name="Freihandform: Form 330">
                        <a:extLst>
                          <a:ext uri="{FF2B5EF4-FFF2-40B4-BE49-F238E27FC236}">
                            <a16:creationId xmlns:a16="http://schemas.microsoft.com/office/drawing/2014/main" id="{F1724FBE-4FC8-5C1A-2EC4-1AA8A52559D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19789" y="3382861"/>
                        <a:ext cx="71114" cy="45956"/>
                      </a:xfrm>
                      <a:custGeom>
                        <a:avLst/>
                        <a:gdLst>
                          <a:gd name="connsiteX0" fmla="*/ 62513 w 71114"/>
                          <a:gd name="connsiteY0" fmla="*/ 45956 h 45956"/>
                          <a:gd name="connsiteX1" fmla="*/ 70195 w 71114"/>
                          <a:gd name="connsiteY1" fmla="*/ 29746 h 45956"/>
                          <a:gd name="connsiteX2" fmla="*/ 65537 w 71114"/>
                          <a:gd name="connsiteY2" fmla="*/ 13233 h 45956"/>
                          <a:gd name="connsiteX3" fmla="*/ 19568 w 71114"/>
                          <a:gd name="connsiteY3" fmla="*/ 410 h 45956"/>
                          <a:gd name="connsiteX4" fmla="*/ 999 w 71114"/>
                          <a:gd name="connsiteY4" fmla="*/ 10753 h 45956"/>
                          <a:gd name="connsiteX5" fmla="*/ 13399 w 71114"/>
                          <a:gd name="connsiteY5" fmla="*/ 36702 h 45956"/>
                          <a:gd name="connsiteX6" fmla="*/ 62513 w 71114"/>
                          <a:gd name="connsiteY6" fmla="*/ 45956 h 4595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1114" h="45956">
                            <a:moveTo>
                              <a:pt x="62513" y="45956"/>
                            </a:moveTo>
                            <a:cubicBezTo>
                              <a:pt x="62513" y="45956"/>
                              <a:pt x="66566" y="43053"/>
                              <a:pt x="70195" y="29746"/>
                            </a:cubicBezTo>
                            <a:cubicBezTo>
                              <a:pt x="73824" y="16379"/>
                              <a:pt x="65537" y="13233"/>
                              <a:pt x="65537" y="13233"/>
                            </a:cubicBezTo>
                            <a:lnTo>
                              <a:pt x="19568" y="410"/>
                            </a:lnTo>
                            <a:cubicBezTo>
                              <a:pt x="8378" y="-1162"/>
                              <a:pt x="3237" y="1681"/>
                              <a:pt x="999" y="10753"/>
                            </a:cubicBezTo>
                            <a:cubicBezTo>
                              <a:pt x="-1662" y="19705"/>
                              <a:pt x="515" y="33194"/>
                              <a:pt x="13399" y="36702"/>
                            </a:cubicBezTo>
                            <a:lnTo>
                              <a:pt x="62513" y="45956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32" name="Freihandform: Form 331">
                        <a:extLst>
                          <a:ext uri="{FF2B5EF4-FFF2-40B4-BE49-F238E27FC236}">
                            <a16:creationId xmlns:a16="http://schemas.microsoft.com/office/drawing/2014/main" id="{4F7BEF09-6F16-B408-08BB-978008D8752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70181" y="3381975"/>
                        <a:ext cx="59305" cy="46842"/>
                      </a:xfrm>
                      <a:custGeom>
                        <a:avLst/>
                        <a:gdLst>
                          <a:gd name="connsiteX0" fmla="*/ 49320 w 59305"/>
                          <a:gd name="connsiteY0" fmla="*/ 30572 h 46842"/>
                          <a:gd name="connsiteX1" fmla="*/ 58574 w 59305"/>
                          <a:gd name="connsiteY1" fmla="*/ 11338 h 46842"/>
                          <a:gd name="connsiteX2" fmla="*/ 41154 w 59305"/>
                          <a:gd name="connsiteY2" fmla="*/ 632 h 46842"/>
                          <a:gd name="connsiteX3" fmla="*/ 13330 w 59305"/>
                          <a:gd name="connsiteY3" fmla="*/ 13636 h 46842"/>
                          <a:gd name="connsiteX4" fmla="*/ 23 w 59305"/>
                          <a:gd name="connsiteY4" fmla="*/ 28213 h 46842"/>
                          <a:gd name="connsiteX5" fmla="*/ 12121 w 59305"/>
                          <a:gd name="connsiteY5" fmla="*/ 46843 h 46842"/>
                          <a:gd name="connsiteX6" fmla="*/ 49320 w 59305"/>
                          <a:gd name="connsiteY6" fmla="*/ 30572 h 4684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59305" h="46842">
                            <a:moveTo>
                              <a:pt x="49320" y="30572"/>
                            </a:moveTo>
                            <a:cubicBezTo>
                              <a:pt x="49320" y="30572"/>
                              <a:pt x="62506" y="26641"/>
                              <a:pt x="58574" y="11338"/>
                            </a:cubicBezTo>
                            <a:cubicBezTo>
                              <a:pt x="54461" y="-3905"/>
                              <a:pt x="41154" y="632"/>
                              <a:pt x="41154" y="632"/>
                            </a:cubicBezTo>
                            <a:lnTo>
                              <a:pt x="13330" y="13636"/>
                            </a:lnTo>
                            <a:cubicBezTo>
                              <a:pt x="5467" y="14967"/>
                              <a:pt x="326" y="15511"/>
                              <a:pt x="23" y="28213"/>
                            </a:cubicBezTo>
                            <a:cubicBezTo>
                              <a:pt x="-279" y="40915"/>
                              <a:pt x="2261" y="44968"/>
                              <a:pt x="12121" y="46843"/>
                            </a:cubicBezTo>
                            <a:lnTo>
                              <a:pt x="49320" y="30572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33" name="Freihandform: Form 332">
                        <a:extLst>
                          <a:ext uri="{FF2B5EF4-FFF2-40B4-BE49-F238E27FC236}">
                            <a16:creationId xmlns:a16="http://schemas.microsoft.com/office/drawing/2014/main" id="{93137302-A148-7565-A7F6-3EE6EDB034D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4207" y="3374219"/>
                        <a:ext cx="69368" cy="38586"/>
                      </a:xfrm>
                      <a:custGeom>
                        <a:avLst/>
                        <a:gdLst>
                          <a:gd name="connsiteX0" fmla="*/ 46081 w 69368"/>
                          <a:gd name="connsiteY0" fmla="*/ 25142 h 38586"/>
                          <a:gd name="connsiteX1" fmla="*/ 69368 w 69368"/>
                          <a:gd name="connsiteY1" fmla="*/ 14920 h 38586"/>
                          <a:gd name="connsiteX2" fmla="*/ 32714 w 69368"/>
                          <a:gd name="connsiteY2" fmla="*/ 1008 h 38586"/>
                          <a:gd name="connsiteX3" fmla="*/ 7128 w 69368"/>
                          <a:gd name="connsiteY3" fmla="*/ 8447 h 38586"/>
                          <a:gd name="connsiteX4" fmla="*/ 656 w 69368"/>
                          <a:gd name="connsiteY4" fmla="*/ 23569 h 38586"/>
                          <a:gd name="connsiteX5" fmla="*/ 15294 w 69368"/>
                          <a:gd name="connsiteY5" fmla="*/ 38388 h 38586"/>
                          <a:gd name="connsiteX6" fmla="*/ 46081 w 69368"/>
                          <a:gd name="connsiteY6" fmla="*/ 25142 h 385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9368" h="38586">
                            <a:moveTo>
                              <a:pt x="46081" y="25142"/>
                            </a:moveTo>
                            <a:lnTo>
                              <a:pt x="69368" y="14920"/>
                            </a:lnTo>
                            <a:cubicBezTo>
                              <a:pt x="63562" y="-444"/>
                              <a:pt x="44992" y="-1412"/>
                              <a:pt x="32714" y="1008"/>
                            </a:cubicBezTo>
                            <a:cubicBezTo>
                              <a:pt x="20435" y="3427"/>
                              <a:pt x="7128" y="8447"/>
                              <a:pt x="7128" y="8447"/>
                            </a:cubicBezTo>
                            <a:cubicBezTo>
                              <a:pt x="-917" y="12863"/>
                              <a:pt x="-554" y="17157"/>
                              <a:pt x="656" y="23569"/>
                            </a:cubicBezTo>
                            <a:cubicBezTo>
                              <a:pt x="1926" y="30585"/>
                              <a:pt x="7128" y="40082"/>
                              <a:pt x="15294" y="38388"/>
                            </a:cubicBezTo>
                            <a:lnTo>
                              <a:pt x="46081" y="25142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324" name="Freihandform: Form 323">
                      <a:extLst>
                        <a:ext uri="{FF2B5EF4-FFF2-40B4-BE49-F238E27FC236}">
                          <a16:creationId xmlns:a16="http://schemas.microsoft.com/office/drawing/2014/main" id="{4D0725C9-5A08-15B1-AAE3-71F69F9E03C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9820" y="3243005"/>
                      <a:ext cx="221554" cy="177405"/>
                    </a:xfrm>
                    <a:custGeom>
                      <a:avLst/>
                      <a:gdLst>
                        <a:gd name="connsiteX0" fmla="*/ 8644 w 221554"/>
                        <a:gd name="connsiteY0" fmla="*/ 104036 h 177405"/>
                        <a:gd name="connsiteX1" fmla="*/ 72154 w 221554"/>
                        <a:gd name="connsiteY1" fmla="*/ 151094 h 177405"/>
                        <a:gd name="connsiteX2" fmla="*/ 167056 w 221554"/>
                        <a:gd name="connsiteY2" fmla="*/ 177405 h 177405"/>
                        <a:gd name="connsiteX3" fmla="*/ 221554 w 221554"/>
                        <a:gd name="connsiteY3" fmla="*/ 56917 h 177405"/>
                        <a:gd name="connsiteX4" fmla="*/ 195001 w 221554"/>
                        <a:gd name="connsiteY4" fmla="*/ 39739 h 177405"/>
                        <a:gd name="connsiteX5" fmla="*/ 58968 w 221554"/>
                        <a:gd name="connsiteY5" fmla="*/ 0 h 177405"/>
                        <a:gd name="connsiteX6" fmla="*/ 8644 w 221554"/>
                        <a:gd name="connsiteY6" fmla="*/ 104096 h 17740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221554" h="177405">
                          <a:moveTo>
                            <a:pt x="8644" y="104036"/>
                          </a:moveTo>
                          <a:cubicBezTo>
                            <a:pt x="21890" y="119339"/>
                            <a:pt x="47415" y="136396"/>
                            <a:pt x="72154" y="151094"/>
                          </a:cubicBezTo>
                          <a:cubicBezTo>
                            <a:pt x="124898" y="172990"/>
                            <a:pt x="165786" y="177103"/>
                            <a:pt x="167056" y="177405"/>
                          </a:cubicBezTo>
                          <a:cubicBezTo>
                            <a:pt x="170504" y="176317"/>
                            <a:pt x="221131" y="153876"/>
                            <a:pt x="221554" y="56917"/>
                          </a:cubicBezTo>
                          <a:cubicBezTo>
                            <a:pt x="188287" y="49961"/>
                            <a:pt x="195061" y="39860"/>
                            <a:pt x="195001" y="39739"/>
                          </a:cubicBezTo>
                          <a:lnTo>
                            <a:pt x="58968" y="0"/>
                          </a:lnTo>
                          <a:cubicBezTo>
                            <a:pt x="22011" y="0"/>
                            <a:pt x="-17970" y="83229"/>
                            <a:pt x="8644" y="104096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25" name="Freihandform: Form 324">
                      <a:extLst>
                        <a:ext uri="{FF2B5EF4-FFF2-40B4-BE49-F238E27FC236}">
                          <a16:creationId xmlns:a16="http://schemas.microsoft.com/office/drawing/2014/main" id="{728D1809-B7B9-E1E5-435D-79C96056AC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0941" y="3219161"/>
                      <a:ext cx="147269" cy="87642"/>
                    </a:xfrm>
                    <a:custGeom>
                      <a:avLst/>
                      <a:gdLst>
                        <a:gd name="connsiteX0" fmla="*/ 8271 w 147269"/>
                        <a:gd name="connsiteY0" fmla="*/ 22815 h 87642"/>
                        <a:gd name="connsiteX1" fmla="*/ 123497 w 147269"/>
                        <a:gd name="connsiteY1" fmla="*/ 4428 h 87642"/>
                        <a:gd name="connsiteX2" fmla="*/ 134384 w 147269"/>
                        <a:gd name="connsiteY2" fmla="*/ 67454 h 87642"/>
                        <a:gd name="connsiteX3" fmla="*/ 63797 w 147269"/>
                        <a:gd name="connsiteY3" fmla="*/ 87475 h 87642"/>
                        <a:gd name="connsiteX4" fmla="*/ 8271 w 147269"/>
                        <a:gd name="connsiteY4" fmla="*/ 22815 h 8764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47269" h="87642">
                          <a:moveTo>
                            <a:pt x="8271" y="22815"/>
                          </a:moveTo>
                          <a:cubicBezTo>
                            <a:pt x="41720" y="-1258"/>
                            <a:pt x="87992" y="-4222"/>
                            <a:pt x="123497" y="4428"/>
                          </a:cubicBezTo>
                          <a:cubicBezTo>
                            <a:pt x="157006" y="18763"/>
                            <a:pt x="149687" y="62797"/>
                            <a:pt x="134384" y="67454"/>
                          </a:cubicBezTo>
                          <a:cubicBezTo>
                            <a:pt x="134384" y="67454"/>
                            <a:pt x="88717" y="86023"/>
                            <a:pt x="63797" y="87475"/>
                          </a:cubicBezTo>
                          <a:cubicBezTo>
                            <a:pt x="1073" y="91044"/>
                            <a:pt x="-10722" y="36546"/>
                            <a:pt x="8271" y="22815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26" name="Freihandform: Form 325">
                      <a:extLst>
                        <a:ext uri="{FF2B5EF4-FFF2-40B4-BE49-F238E27FC236}">
                          <a16:creationId xmlns:a16="http://schemas.microsoft.com/office/drawing/2014/main" id="{63C62AF5-6E90-25DE-23C1-E28382EDD37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14311" y="3223039"/>
                      <a:ext cx="149283" cy="73980"/>
                    </a:xfrm>
                    <a:custGeom>
                      <a:avLst/>
                      <a:gdLst>
                        <a:gd name="connsiteX0" fmla="*/ 30126 w 149283"/>
                        <a:gd name="connsiteY0" fmla="*/ 550 h 73980"/>
                        <a:gd name="connsiteX1" fmla="*/ 91217 w 149283"/>
                        <a:gd name="connsiteY1" fmla="*/ 21417 h 73980"/>
                        <a:gd name="connsiteX2" fmla="*/ 149284 w 149283"/>
                        <a:gd name="connsiteY2" fmla="*/ 59947 h 73980"/>
                        <a:gd name="connsiteX3" fmla="*/ 122912 w 149283"/>
                        <a:gd name="connsiteY3" fmla="*/ 73979 h 73980"/>
                        <a:gd name="connsiteX4" fmla="*/ 84685 w 149283"/>
                        <a:gd name="connsiteY4" fmla="*/ 56983 h 73980"/>
                        <a:gd name="connsiteX5" fmla="*/ 50510 w 149283"/>
                        <a:gd name="connsiteY5" fmla="*/ 59705 h 73980"/>
                        <a:gd name="connsiteX6" fmla="*/ 4 w 149283"/>
                        <a:gd name="connsiteY6" fmla="*/ 27526 h 73980"/>
                        <a:gd name="connsiteX7" fmla="*/ 30126 w 149283"/>
                        <a:gd name="connsiteY7" fmla="*/ 550 h 7398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49283" h="73980">
                          <a:moveTo>
                            <a:pt x="30126" y="550"/>
                          </a:moveTo>
                          <a:lnTo>
                            <a:pt x="91217" y="21417"/>
                          </a:lnTo>
                          <a:lnTo>
                            <a:pt x="149284" y="59947"/>
                          </a:lnTo>
                          <a:cubicBezTo>
                            <a:pt x="149284" y="59947"/>
                            <a:pt x="146622" y="73617"/>
                            <a:pt x="122912" y="73979"/>
                          </a:cubicBezTo>
                          <a:cubicBezTo>
                            <a:pt x="115956" y="74101"/>
                            <a:pt x="97266" y="62911"/>
                            <a:pt x="84685" y="56983"/>
                          </a:cubicBezTo>
                          <a:cubicBezTo>
                            <a:pt x="62002" y="56076"/>
                            <a:pt x="50510" y="59705"/>
                            <a:pt x="50510" y="59705"/>
                          </a:cubicBezTo>
                          <a:cubicBezTo>
                            <a:pt x="50510" y="59705"/>
                            <a:pt x="791" y="61398"/>
                            <a:pt x="4" y="27526"/>
                          </a:cubicBezTo>
                          <a:cubicBezTo>
                            <a:pt x="-359" y="12405"/>
                            <a:pt x="21900" y="-3140"/>
                            <a:pt x="30126" y="550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327" name="Grafik 297">
                      <a:extLst>
                        <a:ext uri="{FF2B5EF4-FFF2-40B4-BE49-F238E27FC236}">
                          <a16:creationId xmlns:a16="http://schemas.microsoft.com/office/drawing/2014/main" id="{7D2EF351-6B15-B0B5-AB42-F2734E92CA0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66882" y="3299490"/>
                      <a:ext cx="158227" cy="46280"/>
                      <a:chOff x="1266882" y="3299490"/>
                      <a:chExt cx="158227" cy="46280"/>
                    </a:xfrm>
                    <a:solidFill>
                      <a:srgbClr val="02787D"/>
                    </a:solidFill>
                  </p:grpSpPr>
                  <p:sp>
                    <p:nvSpPr>
                      <p:cNvPr id="328" name="Freihandform: Form 327">
                        <a:extLst>
                          <a:ext uri="{FF2B5EF4-FFF2-40B4-BE49-F238E27FC236}">
                            <a16:creationId xmlns:a16="http://schemas.microsoft.com/office/drawing/2014/main" id="{D4DF96E4-720D-40BC-0F98-D3302EED618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66882" y="3299490"/>
                        <a:ext cx="75457" cy="46280"/>
                      </a:xfrm>
                      <a:custGeom>
                        <a:avLst/>
                        <a:gdLst>
                          <a:gd name="connsiteX0" fmla="*/ 58849 w 75457"/>
                          <a:gd name="connsiteY0" fmla="*/ 46280 h 46280"/>
                          <a:gd name="connsiteX1" fmla="*/ 74938 w 75457"/>
                          <a:gd name="connsiteY1" fmla="*/ 30009 h 46280"/>
                          <a:gd name="connsiteX2" fmla="*/ 61450 w 75457"/>
                          <a:gd name="connsiteY2" fmla="*/ 10956 h 46280"/>
                          <a:gd name="connsiteX3" fmla="*/ 24432 w 75457"/>
                          <a:gd name="connsiteY3" fmla="*/ 432 h 46280"/>
                          <a:gd name="connsiteX4" fmla="*/ 540 w 75457"/>
                          <a:gd name="connsiteY4" fmla="*/ 10775 h 46280"/>
                          <a:gd name="connsiteX5" fmla="*/ 18142 w 75457"/>
                          <a:gd name="connsiteY5" fmla="*/ 36663 h 46280"/>
                          <a:gd name="connsiteX6" fmla="*/ 58849 w 75457"/>
                          <a:gd name="connsiteY6" fmla="*/ 46220 h 4628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5457" h="46280">
                            <a:moveTo>
                              <a:pt x="58849" y="46280"/>
                            </a:moveTo>
                            <a:cubicBezTo>
                              <a:pt x="58849" y="46280"/>
                              <a:pt x="71248" y="43316"/>
                              <a:pt x="74938" y="30009"/>
                            </a:cubicBezTo>
                            <a:cubicBezTo>
                              <a:pt x="78628" y="16703"/>
                              <a:pt x="61450" y="10956"/>
                              <a:pt x="61450" y="10956"/>
                            </a:cubicBezTo>
                            <a:lnTo>
                              <a:pt x="24432" y="432"/>
                            </a:lnTo>
                            <a:cubicBezTo>
                              <a:pt x="13242" y="-1201"/>
                              <a:pt x="2778" y="1702"/>
                              <a:pt x="540" y="10775"/>
                            </a:cubicBezTo>
                            <a:cubicBezTo>
                              <a:pt x="-2121" y="19727"/>
                              <a:pt x="5258" y="33094"/>
                              <a:pt x="18142" y="36663"/>
                            </a:cubicBezTo>
                            <a:lnTo>
                              <a:pt x="58849" y="46220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29" name="Freihandform: Form 328">
                        <a:extLst>
                          <a:ext uri="{FF2B5EF4-FFF2-40B4-BE49-F238E27FC236}">
                            <a16:creationId xmlns:a16="http://schemas.microsoft.com/office/drawing/2014/main" id="{0095FD6B-15C7-ADE7-2499-4732D8B2F98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0046" y="3310251"/>
                        <a:ext cx="65362" cy="35519"/>
                      </a:xfrm>
                      <a:custGeom>
                        <a:avLst/>
                        <a:gdLst>
                          <a:gd name="connsiteX0" fmla="*/ 54214 w 65362"/>
                          <a:gd name="connsiteY0" fmla="*/ 30137 h 35519"/>
                          <a:gd name="connsiteX1" fmla="*/ 65344 w 65362"/>
                          <a:gd name="connsiteY1" fmla="*/ 13926 h 35519"/>
                          <a:gd name="connsiteX2" fmla="*/ 51311 w 65362"/>
                          <a:gd name="connsiteY2" fmla="*/ 75 h 35519"/>
                          <a:gd name="connsiteX3" fmla="*/ 17741 w 65362"/>
                          <a:gd name="connsiteY3" fmla="*/ 75 h 35519"/>
                          <a:gd name="connsiteX4" fmla="*/ 382 w 65362"/>
                          <a:gd name="connsiteY4" fmla="*/ 16709 h 35519"/>
                          <a:gd name="connsiteX5" fmla="*/ 15685 w 65362"/>
                          <a:gd name="connsiteY5" fmla="*/ 35520 h 35519"/>
                          <a:gd name="connsiteX6" fmla="*/ 54214 w 65362"/>
                          <a:gd name="connsiteY6" fmla="*/ 30137 h 3551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5362" h="35519">
                            <a:moveTo>
                              <a:pt x="54214" y="30137"/>
                            </a:moveTo>
                            <a:cubicBezTo>
                              <a:pt x="54214" y="30137"/>
                              <a:pt x="64557" y="29653"/>
                              <a:pt x="65344" y="13926"/>
                            </a:cubicBezTo>
                            <a:cubicBezTo>
                              <a:pt x="65949" y="-1861"/>
                              <a:pt x="51311" y="75"/>
                              <a:pt x="51311" y="75"/>
                            </a:cubicBezTo>
                            <a:lnTo>
                              <a:pt x="17741" y="75"/>
                            </a:lnTo>
                            <a:cubicBezTo>
                              <a:pt x="6128" y="982"/>
                              <a:pt x="2680" y="4793"/>
                              <a:pt x="382" y="16709"/>
                            </a:cubicBezTo>
                            <a:cubicBezTo>
                              <a:pt x="-1856" y="28624"/>
                              <a:pt x="6068" y="33282"/>
                              <a:pt x="15685" y="35520"/>
                            </a:cubicBezTo>
                            <a:lnTo>
                              <a:pt x="54214" y="30137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30" name="Freihandform: Form 329">
                        <a:extLst>
                          <a:ext uri="{FF2B5EF4-FFF2-40B4-BE49-F238E27FC236}">
                            <a16:creationId xmlns:a16="http://schemas.microsoft.com/office/drawing/2014/main" id="{12C34326-E129-A363-5D51-3A1F26478D4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9145" y="3305185"/>
                        <a:ext cx="75964" cy="35201"/>
                      </a:xfrm>
                      <a:custGeom>
                        <a:avLst/>
                        <a:gdLst>
                          <a:gd name="connsiteX0" fmla="*/ 51588 w 75964"/>
                          <a:gd name="connsiteY0" fmla="*/ 25766 h 35201"/>
                          <a:gd name="connsiteX1" fmla="*/ 75964 w 75964"/>
                          <a:gd name="connsiteY1" fmla="*/ 18628 h 35201"/>
                          <a:gd name="connsiteX2" fmla="*/ 41427 w 75964"/>
                          <a:gd name="connsiteY2" fmla="*/ 120 h 35201"/>
                          <a:gd name="connsiteX3" fmla="*/ 12151 w 75964"/>
                          <a:gd name="connsiteY3" fmla="*/ 5080 h 35201"/>
                          <a:gd name="connsiteX4" fmla="*/ 54 w 75964"/>
                          <a:gd name="connsiteY4" fmla="*/ 20987 h 35201"/>
                          <a:gd name="connsiteX5" fmla="*/ 15055 w 75964"/>
                          <a:gd name="connsiteY5" fmla="*/ 35202 h 35201"/>
                          <a:gd name="connsiteX6" fmla="*/ 51528 w 75964"/>
                          <a:gd name="connsiteY6" fmla="*/ 25766 h 3520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75964" h="35201">
                            <a:moveTo>
                              <a:pt x="51588" y="25766"/>
                            </a:moveTo>
                            <a:lnTo>
                              <a:pt x="75964" y="18628"/>
                            </a:lnTo>
                            <a:cubicBezTo>
                              <a:pt x="72214" y="2660"/>
                              <a:pt x="53947" y="-727"/>
                              <a:pt x="41427" y="120"/>
                            </a:cubicBezTo>
                            <a:cubicBezTo>
                              <a:pt x="28967" y="906"/>
                              <a:pt x="12151" y="5080"/>
                              <a:pt x="12151" y="5080"/>
                            </a:cubicBezTo>
                            <a:cubicBezTo>
                              <a:pt x="3925" y="8285"/>
                              <a:pt x="-551" y="12761"/>
                              <a:pt x="54" y="20987"/>
                            </a:cubicBezTo>
                            <a:cubicBezTo>
                              <a:pt x="538" y="27520"/>
                              <a:pt x="5559" y="34294"/>
                              <a:pt x="15055" y="35202"/>
                            </a:cubicBezTo>
                            <a:lnTo>
                              <a:pt x="51528" y="25766"/>
                            </a:lnTo>
                            <a:close/>
                          </a:path>
                        </a:pathLst>
                      </a:custGeom>
                      <a:solidFill>
                        <a:srgbClr val="02787D"/>
                      </a:solidFill>
                      <a:ln w="604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</p:grpSp>
            </p:grpSp>
            <p:grpSp>
              <p:nvGrpSpPr>
                <p:cNvPr id="311" name="Grafik 297">
                  <a:extLst>
                    <a:ext uri="{FF2B5EF4-FFF2-40B4-BE49-F238E27FC236}">
                      <a16:creationId xmlns:a16="http://schemas.microsoft.com/office/drawing/2014/main" id="{F42848E1-2A27-B35C-86D9-E0D12291CF92}"/>
                    </a:ext>
                  </a:extLst>
                </p:cNvPr>
                <p:cNvGrpSpPr/>
                <p:nvPr/>
              </p:nvGrpSpPr>
              <p:grpSpPr>
                <a:xfrm>
                  <a:off x="541712" y="2906158"/>
                  <a:ext cx="587500" cy="440882"/>
                  <a:chOff x="541712" y="2906158"/>
                  <a:chExt cx="587500" cy="440882"/>
                </a:xfrm>
              </p:grpSpPr>
              <p:sp>
                <p:nvSpPr>
                  <p:cNvPr id="316" name="Freihandform: Form 315">
                    <a:extLst>
                      <a:ext uri="{FF2B5EF4-FFF2-40B4-BE49-F238E27FC236}">
                        <a16:creationId xmlns:a16="http://schemas.microsoft.com/office/drawing/2014/main" id="{8963FA50-23E6-8072-BB47-2A77CC3D826A}"/>
                      </a:ext>
                    </a:extLst>
                  </p:cNvPr>
                  <p:cNvSpPr/>
                  <p:nvPr/>
                </p:nvSpPr>
                <p:spPr>
                  <a:xfrm>
                    <a:off x="598145" y="2926300"/>
                    <a:ext cx="531066" cy="420740"/>
                  </a:xfrm>
                  <a:custGeom>
                    <a:avLst/>
                    <a:gdLst>
                      <a:gd name="connsiteX0" fmla="*/ 480319 w 531066"/>
                      <a:gd name="connsiteY0" fmla="*/ 420740 h 420740"/>
                      <a:gd name="connsiteX1" fmla="*/ 531067 w 531066"/>
                      <a:gd name="connsiteY1" fmla="*/ 315676 h 420740"/>
                      <a:gd name="connsiteX2" fmla="*/ 112927 w 531066"/>
                      <a:gd name="connsiteY2" fmla="*/ 0 h 420740"/>
                      <a:gd name="connsiteX3" fmla="*/ 0 w 531066"/>
                      <a:gd name="connsiteY3" fmla="*/ 181035 h 420740"/>
                      <a:gd name="connsiteX4" fmla="*/ 480319 w 531066"/>
                      <a:gd name="connsiteY4" fmla="*/ 420740 h 4207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31066" h="420740">
                        <a:moveTo>
                          <a:pt x="480319" y="420740"/>
                        </a:moveTo>
                        <a:lnTo>
                          <a:pt x="531067" y="315676"/>
                        </a:lnTo>
                        <a:lnTo>
                          <a:pt x="112927" y="0"/>
                        </a:lnTo>
                        <a:lnTo>
                          <a:pt x="0" y="181035"/>
                        </a:lnTo>
                        <a:lnTo>
                          <a:pt x="480319" y="420740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17" name="Freihandform: Form 316">
                    <a:extLst>
                      <a:ext uri="{FF2B5EF4-FFF2-40B4-BE49-F238E27FC236}">
                        <a16:creationId xmlns:a16="http://schemas.microsoft.com/office/drawing/2014/main" id="{7FE88317-5323-4F76-8823-BBBBBB7735DD}"/>
                      </a:ext>
                    </a:extLst>
                  </p:cNvPr>
                  <p:cNvSpPr/>
                  <p:nvPr/>
                </p:nvSpPr>
                <p:spPr>
                  <a:xfrm>
                    <a:off x="541712" y="2906158"/>
                    <a:ext cx="213878" cy="213878"/>
                  </a:xfrm>
                  <a:custGeom>
                    <a:avLst/>
                    <a:gdLst>
                      <a:gd name="connsiteX0" fmla="*/ 213878 w 213878"/>
                      <a:gd name="connsiteY0" fmla="*/ 106939 h 213878"/>
                      <a:gd name="connsiteX1" fmla="*/ 106939 w 213878"/>
                      <a:gd name="connsiteY1" fmla="*/ 213878 h 213878"/>
                      <a:gd name="connsiteX2" fmla="*/ 0 w 213878"/>
                      <a:gd name="connsiteY2" fmla="*/ 106939 h 213878"/>
                      <a:gd name="connsiteX3" fmla="*/ 106939 w 213878"/>
                      <a:gd name="connsiteY3" fmla="*/ 0 h 213878"/>
                      <a:gd name="connsiteX4" fmla="*/ 213878 w 213878"/>
                      <a:gd name="connsiteY4" fmla="*/ 106939 h 21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3878" h="213878">
                        <a:moveTo>
                          <a:pt x="213878" y="106939"/>
                        </a:moveTo>
                        <a:cubicBezTo>
                          <a:pt x="213878" y="166000"/>
                          <a:pt x="166000" y="213878"/>
                          <a:pt x="106939" y="213878"/>
                        </a:cubicBezTo>
                        <a:cubicBezTo>
                          <a:pt x="47878" y="213878"/>
                          <a:pt x="0" y="166000"/>
                          <a:pt x="0" y="106939"/>
                        </a:cubicBezTo>
                        <a:cubicBezTo>
                          <a:pt x="0" y="47878"/>
                          <a:pt x="47878" y="0"/>
                          <a:pt x="106939" y="0"/>
                        </a:cubicBezTo>
                        <a:cubicBezTo>
                          <a:pt x="166000" y="0"/>
                          <a:pt x="213878" y="47878"/>
                          <a:pt x="213878" y="106939"/>
                        </a:cubicBez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18" name="Freihandform: Form 317">
                    <a:extLst>
                      <a:ext uri="{FF2B5EF4-FFF2-40B4-BE49-F238E27FC236}">
                        <a16:creationId xmlns:a16="http://schemas.microsoft.com/office/drawing/2014/main" id="{59F7EA46-CE4F-DF45-3B5B-95F82441DD7D}"/>
                      </a:ext>
                    </a:extLst>
                  </p:cNvPr>
                  <p:cNvSpPr/>
                  <p:nvPr/>
                </p:nvSpPr>
                <p:spPr>
                  <a:xfrm>
                    <a:off x="1001586" y="3186390"/>
                    <a:ext cx="127625" cy="160650"/>
                  </a:xfrm>
                  <a:custGeom>
                    <a:avLst/>
                    <a:gdLst>
                      <a:gd name="connsiteX0" fmla="*/ 53953 w 127625"/>
                      <a:gd name="connsiteY0" fmla="*/ 0 h 160650"/>
                      <a:gd name="connsiteX1" fmla="*/ 0 w 127625"/>
                      <a:gd name="connsiteY1" fmla="*/ 122121 h 160650"/>
                      <a:gd name="connsiteX2" fmla="*/ 76878 w 127625"/>
                      <a:gd name="connsiteY2" fmla="*/ 160651 h 160650"/>
                      <a:gd name="connsiteX3" fmla="*/ 127625 w 127625"/>
                      <a:gd name="connsiteY3" fmla="*/ 55587 h 160650"/>
                      <a:gd name="connsiteX4" fmla="*/ 53953 w 127625"/>
                      <a:gd name="connsiteY4" fmla="*/ 60 h 1606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7625" h="160650">
                        <a:moveTo>
                          <a:pt x="53953" y="0"/>
                        </a:moveTo>
                        <a:cubicBezTo>
                          <a:pt x="35505" y="41493"/>
                          <a:pt x="15182" y="87523"/>
                          <a:pt x="0" y="122121"/>
                        </a:cubicBezTo>
                        <a:lnTo>
                          <a:pt x="76878" y="160651"/>
                        </a:lnTo>
                        <a:cubicBezTo>
                          <a:pt x="102403" y="136094"/>
                          <a:pt x="118250" y="99802"/>
                          <a:pt x="127625" y="55587"/>
                        </a:cubicBezTo>
                        <a:lnTo>
                          <a:pt x="53953" y="60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12" name="Grafik 297">
                  <a:extLst>
                    <a:ext uri="{FF2B5EF4-FFF2-40B4-BE49-F238E27FC236}">
                      <a16:creationId xmlns:a16="http://schemas.microsoft.com/office/drawing/2014/main" id="{323B837E-9FD1-FEA7-3046-C40EF22E42AC}"/>
                    </a:ext>
                  </a:extLst>
                </p:cNvPr>
                <p:cNvGrpSpPr/>
                <p:nvPr/>
              </p:nvGrpSpPr>
              <p:grpSpPr>
                <a:xfrm>
                  <a:off x="469794" y="2286298"/>
                  <a:ext cx="311744" cy="732303"/>
                  <a:chOff x="469794" y="2286298"/>
                  <a:chExt cx="311744" cy="732303"/>
                </a:xfrm>
              </p:grpSpPr>
              <p:sp>
                <p:nvSpPr>
                  <p:cNvPr id="313" name="Freihandform: Form 312">
                    <a:extLst>
                      <a:ext uri="{FF2B5EF4-FFF2-40B4-BE49-F238E27FC236}">
                        <a16:creationId xmlns:a16="http://schemas.microsoft.com/office/drawing/2014/main" id="{7A077E9A-8B59-F582-1F5C-095A27137E58}"/>
                      </a:ext>
                    </a:extLst>
                  </p:cNvPr>
                  <p:cNvSpPr/>
                  <p:nvPr/>
                </p:nvSpPr>
                <p:spPr>
                  <a:xfrm>
                    <a:off x="469794" y="2286298"/>
                    <a:ext cx="308236" cy="308236"/>
                  </a:xfrm>
                  <a:custGeom>
                    <a:avLst/>
                    <a:gdLst>
                      <a:gd name="connsiteX0" fmla="*/ 308236 w 308236"/>
                      <a:gd name="connsiteY0" fmla="*/ 154118 h 308236"/>
                      <a:gd name="connsiteX1" fmla="*/ 154118 w 308236"/>
                      <a:gd name="connsiteY1" fmla="*/ 308236 h 308236"/>
                      <a:gd name="connsiteX2" fmla="*/ 0 w 308236"/>
                      <a:gd name="connsiteY2" fmla="*/ 154118 h 308236"/>
                      <a:gd name="connsiteX3" fmla="*/ 154118 w 308236"/>
                      <a:gd name="connsiteY3" fmla="*/ 0 h 308236"/>
                      <a:gd name="connsiteX4" fmla="*/ 308236 w 308236"/>
                      <a:gd name="connsiteY4" fmla="*/ 154118 h 3082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8236" h="308236">
                        <a:moveTo>
                          <a:pt x="308236" y="154118"/>
                        </a:moveTo>
                        <a:cubicBezTo>
                          <a:pt x="308236" y="239235"/>
                          <a:pt x="239235" y="308236"/>
                          <a:pt x="154118" y="308236"/>
                        </a:cubicBezTo>
                        <a:cubicBezTo>
                          <a:pt x="69001" y="308236"/>
                          <a:pt x="0" y="239235"/>
                          <a:pt x="0" y="154118"/>
                        </a:cubicBezTo>
                        <a:cubicBezTo>
                          <a:pt x="0" y="69001"/>
                          <a:pt x="69001" y="0"/>
                          <a:pt x="154118" y="0"/>
                        </a:cubicBezTo>
                        <a:cubicBezTo>
                          <a:pt x="239235" y="0"/>
                          <a:pt x="308236" y="69001"/>
                          <a:pt x="308236" y="154118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14" name="Freihandform: Form 313">
                    <a:extLst>
                      <a:ext uri="{FF2B5EF4-FFF2-40B4-BE49-F238E27FC236}">
                        <a16:creationId xmlns:a16="http://schemas.microsoft.com/office/drawing/2014/main" id="{358F208F-B013-A01F-24CF-2F4D54CB3FE5}"/>
                      </a:ext>
                    </a:extLst>
                  </p:cNvPr>
                  <p:cNvSpPr/>
                  <p:nvPr/>
                </p:nvSpPr>
                <p:spPr>
                  <a:xfrm>
                    <a:off x="519030" y="2805268"/>
                    <a:ext cx="245331" cy="213333"/>
                  </a:xfrm>
                  <a:custGeom>
                    <a:avLst/>
                    <a:gdLst>
                      <a:gd name="connsiteX0" fmla="*/ 22864 w 245331"/>
                      <a:gd name="connsiteY0" fmla="*/ 213334 h 213333"/>
                      <a:gd name="connsiteX1" fmla="*/ 236319 w 245331"/>
                      <a:gd name="connsiteY1" fmla="*/ 203354 h 213333"/>
                      <a:gd name="connsiteX2" fmla="*/ 245331 w 245331"/>
                      <a:gd name="connsiteY2" fmla="*/ 0 h 213333"/>
                      <a:gd name="connsiteX3" fmla="*/ 0 w 245331"/>
                      <a:gd name="connsiteY3" fmla="*/ 5807 h 213333"/>
                      <a:gd name="connsiteX4" fmla="*/ 22864 w 245331"/>
                      <a:gd name="connsiteY4" fmla="*/ 213334 h 2133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5331" h="213333">
                        <a:moveTo>
                          <a:pt x="22864" y="213334"/>
                        </a:moveTo>
                        <a:lnTo>
                          <a:pt x="236319" y="203354"/>
                        </a:lnTo>
                        <a:lnTo>
                          <a:pt x="245331" y="0"/>
                        </a:lnTo>
                        <a:lnTo>
                          <a:pt x="0" y="5807"/>
                        </a:lnTo>
                        <a:lnTo>
                          <a:pt x="22864" y="213334"/>
                        </a:lnTo>
                        <a:close/>
                      </a:path>
                    </a:pathLst>
                  </a:custGeom>
                  <a:solidFill>
                    <a:srgbClr val="8A594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15" name="Freihandform: Form 314">
                    <a:extLst>
                      <a:ext uri="{FF2B5EF4-FFF2-40B4-BE49-F238E27FC236}">
                        <a16:creationId xmlns:a16="http://schemas.microsoft.com/office/drawing/2014/main" id="{56FA87D7-064D-1ADC-52D7-B1B91B6565AB}"/>
                      </a:ext>
                    </a:extLst>
                  </p:cNvPr>
                  <p:cNvSpPr/>
                  <p:nvPr/>
                </p:nvSpPr>
                <p:spPr>
                  <a:xfrm>
                    <a:off x="470096" y="2439751"/>
                    <a:ext cx="311442" cy="552236"/>
                  </a:xfrm>
                  <a:custGeom>
                    <a:avLst/>
                    <a:gdLst>
                      <a:gd name="connsiteX0" fmla="*/ 0 w 311442"/>
                      <a:gd name="connsiteY0" fmla="*/ 10041 h 552236"/>
                      <a:gd name="connsiteX1" fmla="*/ 46211 w 311442"/>
                      <a:gd name="connsiteY1" fmla="*/ 552237 h 552236"/>
                      <a:gd name="connsiteX2" fmla="*/ 311442 w 311442"/>
                      <a:gd name="connsiteY2" fmla="*/ 512195 h 552236"/>
                      <a:gd name="connsiteX3" fmla="*/ 307995 w 311442"/>
                      <a:gd name="connsiteY3" fmla="*/ 0 h 552236"/>
                      <a:gd name="connsiteX4" fmla="*/ 0 w 311442"/>
                      <a:gd name="connsiteY4" fmla="*/ 10041 h 5522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1442" h="552236">
                        <a:moveTo>
                          <a:pt x="0" y="10041"/>
                        </a:moveTo>
                        <a:cubicBezTo>
                          <a:pt x="4899" y="166881"/>
                          <a:pt x="46211" y="552237"/>
                          <a:pt x="46211" y="552237"/>
                        </a:cubicBezTo>
                        <a:lnTo>
                          <a:pt x="311442" y="512195"/>
                        </a:lnTo>
                        <a:lnTo>
                          <a:pt x="307995" y="0"/>
                        </a:lnTo>
                        <a:cubicBezTo>
                          <a:pt x="195551" y="3024"/>
                          <a:pt x="153876" y="4718"/>
                          <a:pt x="0" y="10041"/>
                        </a:cubicBezTo>
                        <a:close/>
                      </a:path>
                    </a:pathLst>
                  </a:custGeom>
                  <a:solidFill>
                    <a:srgbClr val="009999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</p:grpSp>
        <p:sp>
          <p:nvSpPr>
            <p:cNvPr id="295" name="Rechteck 294">
              <a:extLst>
                <a:ext uri="{FF2B5EF4-FFF2-40B4-BE49-F238E27FC236}">
                  <a16:creationId xmlns:a16="http://schemas.microsoft.com/office/drawing/2014/main" id="{DC7524BC-AF4D-AAC5-E41A-865FE449CF58}"/>
                </a:ext>
              </a:extLst>
            </p:cNvPr>
            <p:cNvSpPr>
              <a:spLocks/>
            </p:cNvSpPr>
            <p:nvPr/>
          </p:nvSpPr>
          <p:spPr>
            <a:xfrm>
              <a:off x="9210675" y="2912475"/>
              <a:ext cx="53975" cy="906229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l"/>
              <a:endParaRPr lang="en-US" sz="1000" b="1">
                <a:solidFill>
                  <a:schemeClr val="tx1"/>
                </a:solidFill>
              </a:endParaRPr>
            </a:p>
          </p:txBody>
        </p:sp>
      </p:grpSp>
      <p:cxnSp>
        <p:nvCxnSpPr>
          <p:cNvPr id="500" name="Gerader Verbinder 499">
            <a:extLst>
              <a:ext uri="{FF2B5EF4-FFF2-40B4-BE49-F238E27FC236}">
                <a16:creationId xmlns:a16="http://schemas.microsoft.com/office/drawing/2014/main" id="{8D94FAE1-D8F0-DCA7-992B-97574EC8EAC2}"/>
              </a:ext>
            </a:extLst>
          </p:cNvPr>
          <p:cNvCxnSpPr>
            <a:cxnSpLocks/>
          </p:cNvCxnSpPr>
          <p:nvPr/>
        </p:nvCxnSpPr>
        <p:spPr>
          <a:xfrm>
            <a:off x="3176" y="6194425"/>
            <a:ext cx="7388224" cy="0"/>
          </a:xfrm>
          <a:prstGeom prst="line">
            <a:avLst/>
          </a:prstGeom>
          <a:ln w="12700" cap="rnd">
            <a:gradFill flip="none" rotWithShape="1">
              <a:gsLst>
                <a:gs pos="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0" scaled="1"/>
              <a:tileRect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1" name="Gruppieren 500">
            <a:extLst>
              <a:ext uri="{FF2B5EF4-FFF2-40B4-BE49-F238E27FC236}">
                <a16:creationId xmlns:a16="http://schemas.microsoft.com/office/drawing/2014/main" id="{CF0CBEDE-1177-E007-693F-CBCBB737260E}"/>
              </a:ext>
            </a:extLst>
          </p:cNvPr>
          <p:cNvGrpSpPr>
            <a:grpSpLocks/>
          </p:cNvGrpSpPr>
          <p:nvPr/>
        </p:nvGrpSpPr>
        <p:grpSpPr>
          <a:xfrm>
            <a:off x="9210675" y="3998704"/>
            <a:ext cx="2201842" cy="906229"/>
            <a:chOff x="9210675" y="3998704"/>
            <a:chExt cx="2201842" cy="906229"/>
          </a:xfrm>
        </p:grpSpPr>
        <p:sp>
          <p:nvSpPr>
            <p:cNvPr id="502" name="Rechteck 501">
              <a:extLst>
                <a:ext uri="{FF2B5EF4-FFF2-40B4-BE49-F238E27FC236}">
                  <a16:creationId xmlns:a16="http://schemas.microsoft.com/office/drawing/2014/main" id="{1E4093CE-C402-BF86-1294-2F52A7B0ACCE}"/>
                </a:ext>
              </a:extLst>
            </p:cNvPr>
            <p:cNvSpPr>
              <a:spLocks/>
            </p:cNvSpPr>
            <p:nvPr/>
          </p:nvSpPr>
          <p:spPr>
            <a:xfrm>
              <a:off x="9210675" y="3998704"/>
              <a:ext cx="2201842" cy="90622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tlCol="0" anchor="t"/>
            <a:lstStyle/>
            <a:p>
              <a:pPr algn="l"/>
              <a:r>
                <a:rPr lang="en-US" sz="1200" b="1" err="1">
                  <a:solidFill>
                    <a:schemeClr val="tx1"/>
                  </a:solidFill>
                </a:rPr>
                <a:t>Patientinnen</a:t>
              </a:r>
              <a:r>
                <a:rPr lang="en-US" sz="1200" b="1">
                  <a:solidFill>
                    <a:schemeClr val="tx1"/>
                  </a:solidFill>
                </a:rPr>
                <a:t> &amp; </a:t>
              </a:r>
              <a:br>
                <a:rPr lang="en-US" sz="1200" b="1">
                  <a:solidFill>
                    <a:schemeClr val="tx1"/>
                  </a:solidFill>
                </a:rPr>
              </a:br>
              <a:r>
                <a:rPr lang="en-US" sz="1200" b="1" err="1">
                  <a:solidFill>
                    <a:schemeClr val="tx1"/>
                  </a:solidFill>
                </a:rPr>
                <a:t>Patienten</a:t>
              </a:r>
              <a:endParaRPr lang="en-US" sz="1200" b="1">
                <a:solidFill>
                  <a:schemeClr val="tx1"/>
                </a:solidFill>
              </a:endParaRPr>
            </a:p>
          </p:txBody>
        </p:sp>
        <p:sp>
          <p:nvSpPr>
            <p:cNvPr id="503" name="Rechteck 502">
              <a:extLst>
                <a:ext uri="{FF2B5EF4-FFF2-40B4-BE49-F238E27FC236}">
                  <a16:creationId xmlns:a16="http://schemas.microsoft.com/office/drawing/2014/main" id="{B69C7FD8-8D04-3CB6-1CE1-03794A940B85}"/>
                </a:ext>
              </a:extLst>
            </p:cNvPr>
            <p:cNvSpPr>
              <a:spLocks/>
            </p:cNvSpPr>
            <p:nvPr/>
          </p:nvSpPr>
          <p:spPr>
            <a:xfrm>
              <a:off x="9210675" y="3998704"/>
              <a:ext cx="53975" cy="906229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l"/>
              <a:endParaRPr lang="en-US" sz="1000" b="1">
                <a:solidFill>
                  <a:schemeClr val="tx1"/>
                </a:solidFill>
              </a:endParaRPr>
            </a:p>
          </p:txBody>
        </p:sp>
        <p:grpSp>
          <p:nvGrpSpPr>
            <p:cNvPr id="504" name="Gruppieren 503">
              <a:extLst>
                <a:ext uri="{FF2B5EF4-FFF2-40B4-BE49-F238E27FC236}">
                  <a16:creationId xmlns:a16="http://schemas.microsoft.com/office/drawing/2014/main" id="{356E2BE9-FE87-5A18-D104-1C3A427FCB73}"/>
                </a:ext>
              </a:extLst>
            </p:cNvPr>
            <p:cNvGrpSpPr/>
            <p:nvPr/>
          </p:nvGrpSpPr>
          <p:grpSpPr>
            <a:xfrm>
              <a:off x="10614025" y="4114800"/>
              <a:ext cx="694387" cy="666750"/>
              <a:chOff x="10614025" y="4114800"/>
              <a:chExt cx="694387" cy="666750"/>
            </a:xfrm>
          </p:grpSpPr>
          <p:pic>
            <p:nvPicPr>
              <p:cNvPr id="505" name="Grafik 504">
                <a:extLst>
                  <a:ext uri="{FF2B5EF4-FFF2-40B4-BE49-F238E27FC236}">
                    <a16:creationId xmlns:a16="http://schemas.microsoft.com/office/drawing/2014/main" id="{F89115B5-4E8A-C838-2ADD-65BDD47843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0829366" y="4114800"/>
                <a:ext cx="229159" cy="666750"/>
              </a:xfrm>
              <a:prstGeom prst="rect">
                <a:avLst/>
              </a:prstGeom>
            </p:spPr>
          </p:pic>
          <p:pic>
            <p:nvPicPr>
              <p:cNvPr id="506" name="Grafik 505">
                <a:extLst>
                  <a:ext uri="{FF2B5EF4-FFF2-40B4-BE49-F238E27FC236}">
                    <a16:creationId xmlns:a16="http://schemas.microsoft.com/office/drawing/2014/main" id="{2E7AE062-73A9-980E-3E45-986B05ADC8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 flipH="1">
                <a:off x="10954885" y="4257593"/>
                <a:ext cx="353527" cy="523957"/>
              </a:xfrm>
              <a:prstGeom prst="rect">
                <a:avLst/>
              </a:prstGeom>
            </p:spPr>
          </p:pic>
          <p:pic>
            <p:nvPicPr>
              <p:cNvPr id="507" name="Grafik 506">
                <a:extLst>
                  <a:ext uri="{FF2B5EF4-FFF2-40B4-BE49-F238E27FC236}">
                    <a16:creationId xmlns:a16="http://schemas.microsoft.com/office/drawing/2014/main" id="{8E2628DD-326A-2BF3-CE8E-6137E7B917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10614025" y="4185045"/>
                <a:ext cx="208431" cy="596505"/>
              </a:xfrm>
              <a:prstGeom prst="rect">
                <a:avLst/>
              </a:prstGeom>
            </p:spPr>
          </p:pic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A8139CD8-AC40-77D1-6E52-E31786C39F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AT"/>
              <a:t>DICOM-Integration in Patienten- und Ärzteportal</a:t>
            </a:r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62F75BA-F15C-C1A6-BE6E-3F3D81E765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5A13111-3C5D-36AA-0A3F-4EF0B808C05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pt-BR"/>
              <a:t>A91GER-H-001672-E4</a:t>
            </a:r>
            <a:endParaRPr lang="de-DE"/>
          </a:p>
        </p:txBody>
      </p:sp>
      <p:sp>
        <p:nvSpPr>
          <p:cNvPr id="516" name="Rechteck 515">
            <a:extLst>
              <a:ext uri="{FF2B5EF4-FFF2-40B4-BE49-F238E27FC236}">
                <a16:creationId xmlns:a16="http://schemas.microsoft.com/office/drawing/2014/main" id="{E7D847F7-F1D4-2E7A-C3AC-006CF3292B76}"/>
              </a:ext>
            </a:extLst>
          </p:cNvPr>
          <p:cNvSpPr>
            <a:spLocks/>
          </p:cNvSpPr>
          <p:nvPr/>
        </p:nvSpPr>
        <p:spPr>
          <a:xfrm>
            <a:off x="9210675" y="2912475"/>
            <a:ext cx="2201842" cy="906229"/>
          </a:xfrm>
          <a:prstGeom prst="rect">
            <a:avLst/>
          </a:prstGeom>
          <a:solidFill>
            <a:schemeClr val="bg1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5">
            <a:extLst>
              <a:ext uri="{FF2B5EF4-FFF2-40B4-BE49-F238E27FC236}">
                <a16:creationId xmlns:a16="http://schemas.microsoft.com/office/drawing/2014/main" id="{241FA2C6-518A-AA70-5F62-391B7C28E463}"/>
              </a:ext>
            </a:extLst>
          </p:cNvPr>
          <p:cNvSpPr txBox="1"/>
          <p:nvPr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16</a:t>
            </a:fld>
            <a:endParaRPr lang="de-DE" sz="1000" b="1" i="0" u="none" kern="1200" spc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5" name="Restricted">
            <a:extLst>
              <a:ext uri="{FF2B5EF4-FFF2-40B4-BE49-F238E27FC236}">
                <a16:creationId xmlns:a16="http://schemas.microsoft.com/office/drawing/2014/main" id="{8F189A68-CF6F-50A1-3D58-09CA7C00359A}"/>
              </a:ext>
            </a:extLst>
          </p:cNvPr>
          <p:cNvSpPr txBox="1"/>
          <p:nvPr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de-DE" sz="1000">
                <a:solidFill>
                  <a:schemeClr val="tx1"/>
                </a:solidFill>
              </a:rPr>
              <a:t>Frei verwendbar © Siemens Healthineers, 2023</a:t>
            </a:r>
          </a:p>
        </p:txBody>
      </p:sp>
    </p:spTree>
    <p:extLst>
      <p:ext uri="{BB962C8B-B14F-4D97-AF65-F5344CB8AC3E}">
        <p14:creationId xmlns:p14="http://schemas.microsoft.com/office/powerpoint/2010/main" val="7545945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4431FE4-7F0D-EC2E-3B14-C5CFAF847A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3470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4431FE4-7F0D-EC2E-3B14-C5CFAF847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B8C2BD73-76DB-251F-74CD-D115093821FA}"/>
              </a:ext>
            </a:extLst>
          </p:cNvPr>
          <p:cNvSpPr/>
          <p:nvPr/>
        </p:nvSpPr>
        <p:spPr>
          <a:xfrm>
            <a:off x="9396602" y="6489700"/>
            <a:ext cx="1017398" cy="368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48150EF0-7F4B-7A64-CBF8-E75684A1295E}"/>
              </a:ext>
            </a:extLst>
          </p:cNvPr>
          <p:cNvSpPr>
            <a:spLocks/>
          </p:cNvSpPr>
          <p:nvPr/>
        </p:nvSpPr>
        <p:spPr>
          <a:xfrm rot="10800000">
            <a:off x="8999007" y="1619250"/>
            <a:ext cx="3170768" cy="5238750"/>
          </a:xfrm>
          <a:custGeom>
            <a:avLst/>
            <a:gdLst>
              <a:gd name="connsiteX0" fmla="*/ 541336 w 3170768"/>
              <a:gd name="connsiteY0" fmla="*/ 5238750 h 5238750"/>
              <a:gd name="connsiteX1" fmla="*/ 0 w 3170768"/>
              <a:gd name="connsiteY1" fmla="*/ 3914362 h 5238750"/>
              <a:gd name="connsiteX2" fmla="*/ 0 w 3170768"/>
              <a:gd name="connsiteY2" fmla="*/ 3129699 h 5238750"/>
              <a:gd name="connsiteX3" fmla="*/ 0 w 3170768"/>
              <a:gd name="connsiteY3" fmla="*/ 202195 h 5238750"/>
              <a:gd name="connsiteX4" fmla="*/ 0 w 3170768"/>
              <a:gd name="connsiteY4" fmla="*/ 0 h 5238750"/>
              <a:gd name="connsiteX5" fmla="*/ 1891521 w 3170768"/>
              <a:gd name="connsiteY5" fmla="*/ 0 h 5238750"/>
              <a:gd name="connsiteX6" fmla="*/ 3170768 w 3170768"/>
              <a:gd name="connsiteY6" fmla="*/ 3129699 h 5238750"/>
              <a:gd name="connsiteX7" fmla="*/ 541336 w 3170768"/>
              <a:gd name="connsiteY7" fmla="*/ 3129699 h 5238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70768" h="5238750">
                <a:moveTo>
                  <a:pt x="541336" y="5238750"/>
                </a:moveTo>
                <a:lnTo>
                  <a:pt x="0" y="3914362"/>
                </a:lnTo>
                <a:lnTo>
                  <a:pt x="0" y="3129699"/>
                </a:lnTo>
                <a:lnTo>
                  <a:pt x="0" y="202195"/>
                </a:lnTo>
                <a:lnTo>
                  <a:pt x="0" y="0"/>
                </a:lnTo>
                <a:lnTo>
                  <a:pt x="1891521" y="0"/>
                </a:lnTo>
                <a:lnTo>
                  <a:pt x="3170768" y="3129699"/>
                </a:lnTo>
                <a:lnTo>
                  <a:pt x="541336" y="3129699"/>
                </a:lnTo>
                <a:close/>
              </a:path>
            </a:pathLst>
          </a:custGeom>
          <a:pattFill prst="wdDnDiag">
            <a:fgClr>
              <a:srgbClr val="ECECEC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DE674B1-ABA4-E555-C67A-598AE433B7E8}"/>
              </a:ext>
            </a:extLst>
          </p:cNvPr>
          <p:cNvSpPr>
            <a:spLocks/>
          </p:cNvSpPr>
          <p:nvPr/>
        </p:nvSpPr>
        <p:spPr>
          <a:xfrm>
            <a:off x="540000" y="1626027"/>
            <a:ext cx="7325624" cy="4568397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BBE71C9-1048-6A56-4456-7A1541C52599}"/>
              </a:ext>
            </a:extLst>
          </p:cNvPr>
          <p:cNvSpPr>
            <a:spLocks/>
          </p:cNvSpPr>
          <p:nvPr/>
        </p:nvSpPr>
        <p:spPr>
          <a:xfrm>
            <a:off x="8999007" y="1619250"/>
            <a:ext cx="2629432" cy="2109051"/>
          </a:xfrm>
          <a:prstGeom prst="rect">
            <a:avLst/>
          </a:prstGeom>
          <a:solidFill>
            <a:srgbClr val="EC6602"/>
          </a:solidFill>
          <a:ln>
            <a:noFill/>
          </a:ln>
          <a:effectLst>
            <a:outerShdw blurRad="50800" dist="38100" dir="27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2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FE264C-AB67-D64D-E96D-161E8E24C4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DICOM-Integration in der </a:t>
            </a:r>
            <a:br>
              <a:rPr lang="de-DE"/>
            </a:br>
            <a:r>
              <a:rPr lang="de-DE"/>
              <a:t>teamplay digital health platform connect </a:t>
            </a:r>
            <a:endParaRPr lang="en-US"/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12917490-45AA-CB40-7E48-6C6C9EA78BF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5635C34-6773-1729-08E4-A46D7A72E7C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pt-BR"/>
              <a:t>A91GER-H-001672-E4</a:t>
            </a:r>
            <a:endParaRPr lang="de-DE"/>
          </a:p>
        </p:txBody>
      </p:sp>
      <p:sp>
        <p:nvSpPr>
          <p:cNvPr id="26" name="Rectangle 2">
            <a:extLst>
              <a:ext uri="{FF2B5EF4-FFF2-40B4-BE49-F238E27FC236}">
                <a16:creationId xmlns:a16="http://schemas.microsoft.com/office/drawing/2014/main" id="{1765272A-3A91-1441-B204-DF3DD4B1CD3F}"/>
              </a:ext>
            </a:extLst>
          </p:cNvPr>
          <p:cNvSpPr>
            <a:spLocks/>
          </p:cNvSpPr>
          <p:nvPr/>
        </p:nvSpPr>
        <p:spPr>
          <a:xfrm>
            <a:off x="3721296" y="2100943"/>
            <a:ext cx="3303607" cy="1668180"/>
          </a:xfrm>
          <a:prstGeom prst="roundRect">
            <a:avLst>
              <a:gd name="adj" fmla="val 50000"/>
            </a:avLst>
          </a:prstGeom>
          <a:ln w="31750">
            <a:miter lim="800000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08000" tIns="72000" rIns="108000" bIns="72000" rtlCol="0" anchor="t">
            <a:noAutofit/>
          </a:bodyPr>
          <a:lstStyle/>
          <a:p>
            <a:endParaRPr lang="de-AT" sz="1600" b="1"/>
          </a:p>
        </p:txBody>
      </p:sp>
      <p:sp>
        <p:nvSpPr>
          <p:cNvPr id="29" name="Rectangle 11">
            <a:extLst>
              <a:ext uri="{FF2B5EF4-FFF2-40B4-BE49-F238E27FC236}">
                <a16:creationId xmlns:a16="http://schemas.microsoft.com/office/drawing/2014/main" id="{9E12AD61-05C6-21D8-A9AD-5CC1D1544829}"/>
              </a:ext>
            </a:extLst>
          </p:cNvPr>
          <p:cNvSpPr>
            <a:spLocks/>
          </p:cNvSpPr>
          <p:nvPr/>
        </p:nvSpPr>
        <p:spPr>
          <a:xfrm>
            <a:off x="9220200" y="2340444"/>
            <a:ext cx="2200276" cy="517239"/>
          </a:xfrm>
          <a:prstGeom prst="roundRect">
            <a:avLst>
              <a:gd name="adj" fmla="val 50000"/>
            </a:avLst>
          </a:prstGeom>
          <a:solidFill>
            <a:srgbClr val="F9B591"/>
          </a:solidFill>
          <a:ln w="1905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tIns="72000" rtlCol="0" anchor="ctr"/>
          <a:lstStyle/>
          <a:p>
            <a:pPr algn="ctr">
              <a:lnSpc>
                <a:spcPct val="80000"/>
              </a:lnSpc>
            </a:pPr>
            <a:endParaRPr lang="de-AT" b="1">
              <a:solidFill>
                <a:schemeClr val="bg1"/>
              </a:solidFill>
            </a:endParaRPr>
          </a:p>
        </p:txBody>
      </p:sp>
      <p:sp>
        <p:nvSpPr>
          <p:cNvPr id="30" name="Rectangle 12">
            <a:extLst>
              <a:ext uri="{FF2B5EF4-FFF2-40B4-BE49-F238E27FC236}">
                <a16:creationId xmlns:a16="http://schemas.microsoft.com/office/drawing/2014/main" id="{E1DC9DE5-4FF9-5A8F-35B2-7766AAD45E99}"/>
              </a:ext>
            </a:extLst>
          </p:cNvPr>
          <p:cNvSpPr>
            <a:spLocks/>
          </p:cNvSpPr>
          <p:nvPr/>
        </p:nvSpPr>
        <p:spPr>
          <a:xfrm>
            <a:off x="9220200" y="3013308"/>
            <a:ext cx="2200276" cy="517239"/>
          </a:xfrm>
          <a:prstGeom prst="roundRect">
            <a:avLst>
              <a:gd name="adj" fmla="val 50000"/>
            </a:avLst>
          </a:prstGeom>
          <a:solidFill>
            <a:srgbClr val="F9B591"/>
          </a:solidFill>
          <a:ln w="1905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tIns="72000" rtlCol="0" anchor="ctr"/>
          <a:lstStyle/>
          <a:p>
            <a:pPr algn="ctr">
              <a:lnSpc>
                <a:spcPct val="80000"/>
              </a:lnSpc>
            </a:pPr>
            <a:endParaRPr lang="de-AT" b="1">
              <a:solidFill>
                <a:schemeClr val="bg1"/>
              </a:solidFill>
            </a:endParaRPr>
          </a:p>
        </p:txBody>
      </p:sp>
      <p:pic>
        <p:nvPicPr>
          <p:cNvPr id="50" name="Grafik 49">
            <a:extLst>
              <a:ext uri="{FF2B5EF4-FFF2-40B4-BE49-F238E27FC236}">
                <a16:creationId xmlns:a16="http://schemas.microsoft.com/office/drawing/2014/main" id="{9851D3E0-FD4E-F6C9-4D05-31DFF871FD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4376" y="1767012"/>
            <a:ext cx="957246" cy="636397"/>
          </a:xfrm>
          <a:prstGeom prst="rect">
            <a:avLst/>
          </a:prstGeom>
        </p:spPr>
      </p:pic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04BB32E9-52CD-D682-B0B7-EFE8E8AB1525}"/>
              </a:ext>
            </a:extLst>
          </p:cNvPr>
          <p:cNvGrpSpPr>
            <a:grpSpLocks/>
          </p:cNvGrpSpPr>
          <p:nvPr/>
        </p:nvGrpSpPr>
        <p:grpSpPr>
          <a:xfrm>
            <a:off x="9166452" y="1739582"/>
            <a:ext cx="368076" cy="367260"/>
            <a:chOff x="2390245" y="4477500"/>
            <a:chExt cx="477308" cy="476250"/>
          </a:xfrm>
          <a:solidFill>
            <a:schemeClr val="bg1"/>
          </a:solidFill>
        </p:grpSpPr>
        <p:sp>
          <p:nvSpPr>
            <p:cNvPr id="80" name="Freeform 13">
              <a:extLst>
                <a:ext uri="{FF2B5EF4-FFF2-40B4-BE49-F238E27FC236}">
                  <a16:creationId xmlns:a16="http://schemas.microsoft.com/office/drawing/2014/main" id="{4023AA35-0DBD-4E4A-D26F-0A21078CD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0245" y="4886017"/>
              <a:ext cx="477308" cy="67733"/>
            </a:xfrm>
            <a:custGeom>
              <a:avLst/>
              <a:gdLst>
                <a:gd name="T0" fmla="*/ 0 w 903"/>
                <a:gd name="T1" fmla="*/ 0 h 128"/>
                <a:gd name="T2" fmla="*/ 0 w 903"/>
                <a:gd name="T3" fmla="*/ 63 h 128"/>
                <a:gd name="T4" fmla="*/ 0 w 903"/>
                <a:gd name="T5" fmla="*/ 63 h 128"/>
                <a:gd name="T6" fmla="*/ 1 w 903"/>
                <a:gd name="T7" fmla="*/ 76 h 128"/>
                <a:gd name="T8" fmla="*/ 5 w 903"/>
                <a:gd name="T9" fmla="*/ 88 h 128"/>
                <a:gd name="T10" fmla="*/ 11 w 903"/>
                <a:gd name="T11" fmla="*/ 99 h 128"/>
                <a:gd name="T12" fmla="*/ 20 w 903"/>
                <a:gd name="T13" fmla="*/ 109 h 128"/>
                <a:gd name="T14" fmla="*/ 29 w 903"/>
                <a:gd name="T15" fmla="*/ 117 h 128"/>
                <a:gd name="T16" fmla="*/ 40 w 903"/>
                <a:gd name="T17" fmla="*/ 123 h 128"/>
                <a:gd name="T18" fmla="*/ 52 w 903"/>
                <a:gd name="T19" fmla="*/ 127 h 128"/>
                <a:gd name="T20" fmla="*/ 65 w 903"/>
                <a:gd name="T21" fmla="*/ 128 h 128"/>
                <a:gd name="T22" fmla="*/ 838 w 903"/>
                <a:gd name="T23" fmla="*/ 128 h 128"/>
                <a:gd name="T24" fmla="*/ 838 w 903"/>
                <a:gd name="T25" fmla="*/ 128 h 128"/>
                <a:gd name="T26" fmla="*/ 852 w 903"/>
                <a:gd name="T27" fmla="*/ 127 h 128"/>
                <a:gd name="T28" fmla="*/ 864 w 903"/>
                <a:gd name="T29" fmla="*/ 123 h 128"/>
                <a:gd name="T30" fmla="*/ 875 w 903"/>
                <a:gd name="T31" fmla="*/ 117 h 128"/>
                <a:gd name="T32" fmla="*/ 884 w 903"/>
                <a:gd name="T33" fmla="*/ 109 h 128"/>
                <a:gd name="T34" fmla="*/ 893 w 903"/>
                <a:gd name="T35" fmla="*/ 99 h 128"/>
                <a:gd name="T36" fmla="*/ 899 w 903"/>
                <a:gd name="T37" fmla="*/ 88 h 128"/>
                <a:gd name="T38" fmla="*/ 902 w 903"/>
                <a:gd name="T39" fmla="*/ 76 h 128"/>
                <a:gd name="T40" fmla="*/ 903 w 903"/>
                <a:gd name="T41" fmla="*/ 63 h 128"/>
                <a:gd name="T42" fmla="*/ 903 w 903"/>
                <a:gd name="T43" fmla="*/ 0 h 128"/>
                <a:gd name="T44" fmla="*/ 0 w 903"/>
                <a:gd name="T45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3" h="128">
                  <a:moveTo>
                    <a:pt x="0" y="0"/>
                  </a:moveTo>
                  <a:lnTo>
                    <a:pt x="0" y="63"/>
                  </a:lnTo>
                  <a:lnTo>
                    <a:pt x="0" y="63"/>
                  </a:lnTo>
                  <a:lnTo>
                    <a:pt x="1" y="76"/>
                  </a:lnTo>
                  <a:lnTo>
                    <a:pt x="5" y="88"/>
                  </a:lnTo>
                  <a:lnTo>
                    <a:pt x="11" y="99"/>
                  </a:lnTo>
                  <a:lnTo>
                    <a:pt x="20" y="109"/>
                  </a:lnTo>
                  <a:lnTo>
                    <a:pt x="29" y="117"/>
                  </a:lnTo>
                  <a:lnTo>
                    <a:pt x="40" y="123"/>
                  </a:lnTo>
                  <a:lnTo>
                    <a:pt x="52" y="127"/>
                  </a:lnTo>
                  <a:lnTo>
                    <a:pt x="65" y="128"/>
                  </a:lnTo>
                  <a:lnTo>
                    <a:pt x="838" y="128"/>
                  </a:lnTo>
                  <a:lnTo>
                    <a:pt x="838" y="128"/>
                  </a:lnTo>
                  <a:lnTo>
                    <a:pt x="852" y="127"/>
                  </a:lnTo>
                  <a:lnTo>
                    <a:pt x="864" y="123"/>
                  </a:lnTo>
                  <a:lnTo>
                    <a:pt x="875" y="117"/>
                  </a:lnTo>
                  <a:lnTo>
                    <a:pt x="884" y="109"/>
                  </a:lnTo>
                  <a:lnTo>
                    <a:pt x="893" y="99"/>
                  </a:lnTo>
                  <a:lnTo>
                    <a:pt x="899" y="88"/>
                  </a:lnTo>
                  <a:lnTo>
                    <a:pt x="902" y="76"/>
                  </a:lnTo>
                  <a:lnTo>
                    <a:pt x="903" y="63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14">
              <a:extLst>
                <a:ext uri="{FF2B5EF4-FFF2-40B4-BE49-F238E27FC236}">
                  <a16:creationId xmlns:a16="http://schemas.microsoft.com/office/drawing/2014/main" id="{10C352A0-5B7F-4EBA-97F8-3F16644574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1045" y="4477500"/>
              <a:ext cx="375708" cy="373592"/>
            </a:xfrm>
            <a:custGeom>
              <a:avLst/>
              <a:gdLst>
                <a:gd name="T0" fmla="*/ 65 w 710"/>
                <a:gd name="T1" fmla="*/ 289 h 707"/>
                <a:gd name="T2" fmla="*/ 710 w 710"/>
                <a:gd name="T3" fmla="*/ 289 h 707"/>
                <a:gd name="T4" fmla="*/ 704 w 710"/>
                <a:gd name="T5" fmla="*/ 264 h 707"/>
                <a:gd name="T6" fmla="*/ 681 w 710"/>
                <a:gd name="T7" fmla="*/ 235 h 707"/>
                <a:gd name="T8" fmla="*/ 645 w 710"/>
                <a:gd name="T9" fmla="*/ 224 h 707"/>
                <a:gd name="T10" fmla="*/ 516 w 710"/>
                <a:gd name="T11" fmla="*/ 143 h 707"/>
                <a:gd name="T12" fmla="*/ 523 w 710"/>
                <a:gd name="T13" fmla="*/ 90 h 707"/>
                <a:gd name="T14" fmla="*/ 539 w 710"/>
                <a:gd name="T15" fmla="*/ 76 h 707"/>
                <a:gd name="T16" fmla="*/ 548 w 710"/>
                <a:gd name="T17" fmla="*/ 55 h 707"/>
                <a:gd name="T18" fmla="*/ 548 w 710"/>
                <a:gd name="T19" fmla="*/ 38 h 707"/>
                <a:gd name="T20" fmla="*/ 534 w 710"/>
                <a:gd name="T21" fmla="*/ 14 h 707"/>
                <a:gd name="T22" fmla="*/ 510 w 710"/>
                <a:gd name="T23" fmla="*/ 1 h 707"/>
                <a:gd name="T24" fmla="*/ 490 w 710"/>
                <a:gd name="T25" fmla="*/ 1 h 707"/>
                <a:gd name="T26" fmla="*/ 466 w 710"/>
                <a:gd name="T27" fmla="*/ 14 h 707"/>
                <a:gd name="T28" fmla="*/ 452 w 710"/>
                <a:gd name="T29" fmla="*/ 38 h 707"/>
                <a:gd name="T30" fmla="*/ 452 w 710"/>
                <a:gd name="T31" fmla="*/ 55 h 707"/>
                <a:gd name="T32" fmla="*/ 461 w 710"/>
                <a:gd name="T33" fmla="*/ 76 h 707"/>
                <a:gd name="T34" fmla="*/ 478 w 710"/>
                <a:gd name="T35" fmla="*/ 90 h 707"/>
                <a:gd name="T36" fmla="*/ 436 w 710"/>
                <a:gd name="T37" fmla="*/ 178 h 707"/>
                <a:gd name="T38" fmla="*/ 371 w 710"/>
                <a:gd name="T39" fmla="*/ 94 h 707"/>
                <a:gd name="T40" fmla="*/ 384 w 710"/>
                <a:gd name="T41" fmla="*/ 86 h 707"/>
                <a:gd name="T42" fmla="*/ 398 w 710"/>
                <a:gd name="T43" fmla="*/ 70 h 707"/>
                <a:gd name="T44" fmla="*/ 403 w 710"/>
                <a:gd name="T45" fmla="*/ 48 h 707"/>
                <a:gd name="T46" fmla="*/ 399 w 710"/>
                <a:gd name="T47" fmla="*/ 29 h 707"/>
                <a:gd name="T48" fmla="*/ 381 w 710"/>
                <a:gd name="T49" fmla="*/ 8 h 707"/>
                <a:gd name="T50" fmla="*/ 355 w 710"/>
                <a:gd name="T51" fmla="*/ 0 h 707"/>
                <a:gd name="T52" fmla="*/ 336 w 710"/>
                <a:gd name="T53" fmla="*/ 4 h 707"/>
                <a:gd name="T54" fmla="*/ 315 w 710"/>
                <a:gd name="T55" fmla="*/ 22 h 707"/>
                <a:gd name="T56" fmla="*/ 307 w 710"/>
                <a:gd name="T57" fmla="*/ 48 h 707"/>
                <a:gd name="T58" fmla="*/ 309 w 710"/>
                <a:gd name="T59" fmla="*/ 62 h 707"/>
                <a:gd name="T60" fmla="*/ 320 w 710"/>
                <a:gd name="T61" fmla="*/ 82 h 707"/>
                <a:gd name="T62" fmla="*/ 339 w 710"/>
                <a:gd name="T63" fmla="*/ 94 h 707"/>
                <a:gd name="T64" fmla="*/ 274 w 710"/>
                <a:gd name="T65" fmla="*/ 178 h 707"/>
                <a:gd name="T66" fmla="*/ 226 w 710"/>
                <a:gd name="T67" fmla="*/ 94 h 707"/>
                <a:gd name="T68" fmla="*/ 244 w 710"/>
                <a:gd name="T69" fmla="*/ 82 h 707"/>
                <a:gd name="T70" fmla="*/ 256 w 710"/>
                <a:gd name="T71" fmla="*/ 62 h 707"/>
                <a:gd name="T72" fmla="*/ 259 w 710"/>
                <a:gd name="T73" fmla="*/ 48 h 707"/>
                <a:gd name="T74" fmla="*/ 250 w 710"/>
                <a:gd name="T75" fmla="*/ 22 h 707"/>
                <a:gd name="T76" fmla="*/ 228 w 710"/>
                <a:gd name="T77" fmla="*/ 4 h 707"/>
                <a:gd name="T78" fmla="*/ 209 w 710"/>
                <a:gd name="T79" fmla="*/ 0 h 707"/>
                <a:gd name="T80" fmla="*/ 183 w 710"/>
                <a:gd name="T81" fmla="*/ 8 h 707"/>
                <a:gd name="T82" fmla="*/ 165 w 710"/>
                <a:gd name="T83" fmla="*/ 29 h 707"/>
                <a:gd name="T84" fmla="*/ 161 w 710"/>
                <a:gd name="T85" fmla="*/ 48 h 707"/>
                <a:gd name="T86" fmla="*/ 167 w 710"/>
                <a:gd name="T87" fmla="*/ 70 h 707"/>
                <a:gd name="T88" fmla="*/ 180 w 710"/>
                <a:gd name="T89" fmla="*/ 86 h 707"/>
                <a:gd name="T90" fmla="*/ 193 w 710"/>
                <a:gd name="T91" fmla="*/ 143 h 707"/>
                <a:gd name="T92" fmla="*/ 65 w 710"/>
                <a:gd name="T93" fmla="*/ 224 h 707"/>
                <a:gd name="T94" fmla="*/ 39 w 710"/>
                <a:gd name="T95" fmla="*/ 230 h 707"/>
                <a:gd name="T96" fmla="*/ 12 w 710"/>
                <a:gd name="T97" fmla="*/ 253 h 707"/>
                <a:gd name="T98" fmla="*/ 0 w 710"/>
                <a:gd name="T99" fmla="*/ 289 h 707"/>
                <a:gd name="T100" fmla="*/ 710 w 710"/>
                <a:gd name="T101" fmla="*/ 289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10" h="707">
                  <a:moveTo>
                    <a:pt x="645" y="643"/>
                  </a:moveTo>
                  <a:lnTo>
                    <a:pt x="65" y="643"/>
                  </a:lnTo>
                  <a:lnTo>
                    <a:pt x="65" y="289"/>
                  </a:lnTo>
                  <a:lnTo>
                    <a:pt x="645" y="289"/>
                  </a:lnTo>
                  <a:lnTo>
                    <a:pt x="645" y="643"/>
                  </a:lnTo>
                  <a:close/>
                  <a:moveTo>
                    <a:pt x="710" y="289"/>
                  </a:moveTo>
                  <a:lnTo>
                    <a:pt x="710" y="289"/>
                  </a:lnTo>
                  <a:lnTo>
                    <a:pt x="709" y="276"/>
                  </a:lnTo>
                  <a:lnTo>
                    <a:pt x="704" y="264"/>
                  </a:lnTo>
                  <a:lnTo>
                    <a:pt x="699" y="253"/>
                  </a:lnTo>
                  <a:lnTo>
                    <a:pt x="691" y="244"/>
                  </a:lnTo>
                  <a:lnTo>
                    <a:pt x="681" y="235"/>
                  </a:lnTo>
                  <a:lnTo>
                    <a:pt x="670" y="230"/>
                  </a:lnTo>
                  <a:lnTo>
                    <a:pt x="658" y="226"/>
                  </a:lnTo>
                  <a:lnTo>
                    <a:pt x="645" y="224"/>
                  </a:lnTo>
                  <a:lnTo>
                    <a:pt x="468" y="224"/>
                  </a:lnTo>
                  <a:lnTo>
                    <a:pt x="468" y="191"/>
                  </a:lnTo>
                  <a:lnTo>
                    <a:pt x="516" y="143"/>
                  </a:lnTo>
                  <a:lnTo>
                    <a:pt x="516" y="94"/>
                  </a:lnTo>
                  <a:lnTo>
                    <a:pt x="516" y="94"/>
                  </a:lnTo>
                  <a:lnTo>
                    <a:pt x="523" y="90"/>
                  </a:lnTo>
                  <a:lnTo>
                    <a:pt x="529" y="86"/>
                  </a:lnTo>
                  <a:lnTo>
                    <a:pt x="534" y="82"/>
                  </a:lnTo>
                  <a:lnTo>
                    <a:pt x="539" y="76"/>
                  </a:lnTo>
                  <a:lnTo>
                    <a:pt x="543" y="70"/>
                  </a:lnTo>
                  <a:lnTo>
                    <a:pt x="546" y="62"/>
                  </a:lnTo>
                  <a:lnTo>
                    <a:pt x="548" y="55"/>
                  </a:lnTo>
                  <a:lnTo>
                    <a:pt x="549" y="48"/>
                  </a:lnTo>
                  <a:lnTo>
                    <a:pt x="549" y="48"/>
                  </a:lnTo>
                  <a:lnTo>
                    <a:pt x="548" y="38"/>
                  </a:lnTo>
                  <a:lnTo>
                    <a:pt x="545" y="29"/>
                  </a:lnTo>
                  <a:lnTo>
                    <a:pt x="540" y="22"/>
                  </a:lnTo>
                  <a:lnTo>
                    <a:pt x="534" y="14"/>
                  </a:lnTo>
                  <a:lnTo>
                    <a:pt x="527" y="8"/>
                  </a:lnTo>
                  <a:lnTo>
                    <a:pt x="519" y="4"/>
                  </a:lnTo>
                  <a:lnTo>
                    <a:pt x="510" y="1"/>
                  </a:lnTo>
                  <a:lnTo>
                    <a:pt x="501" y="0"/>
                  </a:lnTo>
                  <a:lnTo>
                    <a:pt x="501" y="0"/>
                  </a:lnTo>
                  <a:lnTo>
                    <a:pt x="490" y="1"/>
                  </a:lnTo>
                  <a:lnTo>
                    <a:pt x="481" y="4"/>
                  </a:lnTo>
                  <a:lnTo>
                    <a:pt x="473" y="8"/>
                  </a:lnTo>
                  <a:lnTo>
                    <a:pt x="466" y="14"/>
                  </a:lnTo>
                  <a:lnTo>
                    <a:pt x="460" y="22"/>
                  </a:lnTo>
                  <a:lnTo>
                    <a:pt x="456" y="29"/>
                  </a:lnTo>
                  <a:lnTo>
                    <a:pt x="452" y="38"/>
                  </a:lnTo>
                  <a:lnTo>
                    <a:pt x="451" y="48"/>
                  </a:lnTo>
                  <a:lnTo>
                    <a:pt x="451" y="48"/>
                  </a:lnTo>
                  <a:lnTo>
                    <a:pt x="452" y="55"/>
                  </a:lnTo>
                  <a:lnTo>
                    <a:pt x="454" y="62"/>
                  </a:lnTo>
                  <a:lnTo>
                    <a:pt x="457" y="70"/>
                  </a:lnTo>
                  <a:lnTo>
                    <a:pt x="461" y="76"/>
                  </a:lnTo>
                  <a:lnTo>
                    <a:pt x="466" y="82"/>
                  </a:lnTo>
                  <a:lnTo>
                    <a:pt x="470" y="86"/>
                  </a:lnTo>
                  <a:lnTo>
                    <a:pt x="478" y="90"/>
                  </a:lnTo>
                  <a:lnTo>
                    <a:pt x="484" y="94"/>
                  </a:lnTo>
                  <a:lnTo>
                    <a:pt x="484" y="130"/>
                  </a:lnTo>
                  <a:lnTo>
                    <a:pt x="436" y="178"/>
                  </a:lnTo>
                  <a:lnTo>
                    <a:pt x="436" y="224"/>
                  </a:lnTo>
                  <a:lnTo>
                    <a:pt x="371" y="224"/>
                  </a:lnTo>
                  <a:lnTo>
                    <a:pt x="371" y="94"/>
                  </a:lnTo>
                  <a:lnTo>
                    <a:pt x="371" y="94"/>
                  </a:lnTo>
                  <a:lnTo>
                    <a:pt x="378" y="90"/>
                  </a:lnTo>
                  <a:lnTo>
                    <a:pt x="384" y="86"/>
                  </a:lnTo>
                  <a:lnTo>
                    <a:pt x="390" y="82"/>
                  </a:lnTo>
                  <a:lnTo>
                    <a:pt x="395" y="76"/>
                  </a:lnTo>
                  <a:lnTo>
                    <a:pt x="398" y="70"/>
                  </a:lnTo>
                  <a:lnTo>
                    <a:pt x="401" y="62"/>
                  </a:lnTo>
                  <a:lnTo>
                    <a:pt x="403" y="55"/>
                  </a:lnTo>
                  <a:lnTo>
                    <a:pt x="403" y="48"/>
                  </a:lnTo>
                  <a:lnTo>
                    <a:pt x="403" y="48"/>
                  </a:lnTo>
                  <a:lnTo>
                    <a:pt x="402" y="38"/>
                  </a:lnTo>
                  <a:lnTo>
                    <a:pt x="399" y="29"/>
                  </a:lnTo>
                  <a:lnTo>
                    <a:pt x="395" y="22"/>
                  </a:lnTo>
                  <a:lnTo>
                    <a:pt x="389" y="14"/>
                  </a:lnTo>
                  <a:lnTo>
                    <a:pt x="381" y="8"/>
                  </a:lnTo>
                  <a:lnTo>
                    <a:pt x="374" y="4"/>
                  </a:lnTo>
                  <a:lnTo>
                    <a:pt x="364" y="1"/>
                  </a:lnTo>
                  <a:lnTo>
                    <a:pt x="355" y="0"/>
                  </a:lnTo>
                  <a:lnTo>
                    <a:pt x="355" y="0"/>
                  </a:lnTo>
                  <a:lnTo>
                    <a:pt x="345" y="1"/>
                  </a:lnTo>
                  <a:lnTo>
                    <a:pt x="336" y="4"/>
                  </a:lnTo>
                  <a:lnTo>
                    <a:pt x="328" y="8"/>
                  </a:lnTo>
                  <a:lnTo>
                    <a:pt x="321" y="14"/>
                  </a:lnTo>
                  <a:lnTo>
                    <a:pt x="315" y="22"/>
                  </a:lnTo>
                  <a:lnTo>
                    <a:pt x="310" y="29"/>
                  </a:lnTo>
                  <a:lnTo>
                    <a:pt x="308" y="38"/>
                  </a:lnTo>
                  <a:lnTo>
                    <a:pt x="307" y="48"/>
                  </a:lnTo>
                  <a:lnTo>
                    <a:pt x="307" y="48"/>
                  </a:lnTo>
                  <a:lnTo>
                    <a:pt x="307" y="55"/>
                  </a:lnTo>
                  <a:lnTo>
                    <a:pt x="309" y="62"/>
                  </a:lnTo>
                  <a:lnTo>
                    <a:pt x="312" y="70"/>
                  </a:lnTo>
                  <a:lnTo>
                    <a:pt x="315" y="76"/>
                  </a:lnTo>
                  <a:lnTo>
                    <a:pt x="320" y="82"/>
                  </a:lnTo>
                  <a:lnTo>
                    <a:pt x="326" y="86"/>
                  </a:lnTo>
                  <a:lnTo>
                    <a:pt x="332" y="90"/>
                  </a:lnTo>
                  <a:lnTo>
                    <a:pt x="339" y="94"/>
                  </a:lnTo>
                  <a:lnTo>
                    <a:pt x="339" y="224"/>
                  </a:lnTo>
                  <a:lnTo>
                    <a:pt x="274" y="224"/>
                  </a:lnTo>
                  <a:lnTo>
                    <a:pt x="274" y="178"/>
                  </a:lnTo>
                  <a:lnTo>
                    <a:pt x="226" y="130"/>
                  </a:lnTo>
                  <a:lnTo>
                    <a:pt x="226" y="94"/>
                  </a:lnTo>
                  <a:lnTo>
                    <a:pt x="226" y="94"/>
                  </a:lnTo>
                  <a:lnTo>
                    <a:pt x="232" y="90"/>
                  </a:lnTo>
                  <a:lnTo>
                    <a:pt x="239" y="86"/>
                  </a:lnTo>
                  <a:lnTo>
                    <a:pt x="244" y="82"/>
                  </a:lnTo>
                  <a:lnTo>
                    <a:pt x="249" y="76"/>
                  </a:lnTo>
                  <a:lnTo>
                    <a:pt x="252" y="70"/>
                  </a:lnTo>
                  <a:lnTo>
                    <a:pt x="256" y="62"/>
                  </a:lnTo>
                  <a:lnTo>
                    <a:pt x="257" y="55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7" y="38"/>
                  </a:lnTo>
                  <a:lnTo>
                    <a:pt x="254" y="29"/>
                  </a:lnTo>
                  <a:lnTo>
                    <a:pt x="250" y="22"/>
                  </a:lnTo>
                  <a:lnTo>
                    <a:pt x="244" y="14"/>
                  </a:lnTo>
                  <a:lnTo>
                    <a:pt x="237" y="8"/>
                  </a:lnTo>
                  <a:lnTo>
                    <a:pt x="228" y="4"/>
                  </a:lnTo>
                  <a:lnTo>
                    <a:pt x="220" y="1"/>
                  </a:lnTo>
                  <a:lnTo>
                    <a:pt x="209" y="0"/>
                  </a:lnTo>
                  <a:lnTo>
                    <a:pt x="209" y="0"/>
                  </a:lnTo>
                  <a:lnTo>
                    <a:pt x="200" y="1"/>
                  </a:lnTo>
                  <a:lnTo>
                    <a:pt x="191" y="4"/>
                  </a:lnTo>
                  <a:lnTo>
                    <a:pt x="183" y="8"/>
                  </a:lnTo>
                  <a:lnTo>
                    <a:pt x="175" y="14"/>
                  </a:lnTo>
                  <a:lnTo>
                    <a:pt x="169" y="22"/>
                  </a:lnTo>
                  <a:lnTo>
                    <a:pt x="165" y="29"/>
                  </a:lnTo>
                  <a:lnTo>
                    <a:pt x="162" y="38"/>
                  </a:lnTo>
                  <a:lnTo>
                    <a:pt x="161" y="48"/>
                  </a:lnTo>
                  <a:lnTo>
                    <a:pt x="161" y="48"/>
                  </a:lnTo>
                  <a:lnTo>
                    <a:pt x="162" y="55"/>
                  </a:lnTo>
                  <a:lnTo>
                    <a:pt x="163" y="62"/>
                  </a:lnTo>
                  <a:lnTo>
                    <a:pt x="167" y="70"/>
                  </a:lnTo>
                  <a:lnTo>
                    <a:pt x="171" y="76"/>
                  </a:lnTo>
                  <a:lnTo>
                    <a:pt x="175" y="82"/>
                  </a:lnTo>
                  <a:lnTo>
                    <a:pt x="180" y="86"/>
                  </a:lnTo>
                  <a:lnTo>
                    <a:pt x="186" y="90"/>
                  </a:lnTo>
                  <a:lnTo>
                    <a:pt x="193" y="94"/>
                  </a:lnTo>
                  <a:lnTo>
                    <a:pt x="193" y="143"/>
                  </a:lnTo>
                  <a:lnTo>
                    <a:pt x="242" y="191"/>
                  </a:lnTo>
                  <a:lnTo>
                    <a:pt x="242" y="224"/>
                  </a:lnTo>
                  <a:lnTo>
                    <a:pt x="65" y="224"/>
                  </a:lnTo>
                  <a:lnTo>
                    <a:pt x="65" y="224"/>
                  </a:lnTo>
                  <a:lnTo>
                    <a:pt x="51" y="226"/>
                  </a:lnTo>
                  <a:lnTo>
                    <a:pt x="39" y="230"/>
                  </a:lnTo>
                  <a:lnTo>
                    <a:pt x="29" y="235"/>
                  </a:lnTo>
                  <a:lnTo>
                    <a:pt x="19" y="244"/>
                  </a:lnTo>
                  <a:lnTo>
                    <a:pt x="12" y="253"/>
                  </a:lnTo>
                  <a:lnTo>
                    <a:pt x="6" y="264"/>
                  </a:lnTo>
                  <a:lnTo>
                    <a:pt x="1" y="276"/>
                  </a:lnTo>
                  <a:lnTo>
                    <a:pt x="0" y="289"/>
                  </a:lnTo>
                  <a:lnTo>
                    <a:pt x="0" y="707"/>
                  </a:lnTo>
                  <a:lnTo>
                    <a:pt x="710" y="707"/>
                  </a:lnTo>
                  <a:lnTo>
                    <a:pt x="710" y="2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15">
              <a:extLst>
                <a:ext uri="{FF2B5EF4-FFF2-40B4-BE49-F238E27FC236}">
                  <a16:creationId xmlns:a16="http://schemas.microsoft.com/office/drawing/2014/main" id="{272A5989-842A-BC3F-6675-AFBF8BDA3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9104" y="4663767"/>
              <a:ext cx="119592" cy="119592"/>
            </a:xfrm>
            <a:custGeom>
              <a:avLst/>
              <a:gdLst>
                <a:gd name="T0" fmla="*/ 80 w 226"/>
                <a:gd name="T1" fmla="*/ 225 h 225"/>
                <a:gd name="T2" fmla="*/ 145 w 226"/>
                <a:gd name="T3" fmla="*/ 225 h 225"/>
                <a:gd name="T4" fmla="*/ 145 w 226"/>
                <a:gd name="T5" fmla="*/ 145 h 225"/>
                <a:gd name="T6" fmla="*/ 226 w 226"/>
                <a:gd name="T7" fmla="*/ 145 h 225"/>
                <a:gd name="T8" fmla="*/ 226 w 226"/>
                <a:gd name="T9" fmla="*/ 80 h 225"/>
                <a:gd name="T10" fmla="*/ 145 w 226"/>
                <a:gd name="T11" fmla="*/ 80 h 225"/>
                <a:gd name="T12" fmla="*/ 145 w 226"/>
                <a:gd name="T13" fmla="*/ 0 h 225"/>
                <a:gd name="T14" fmla="*/ 80 w 226"/>
                <a:gd name="T15" fmla="*/ 0 h 225"/>
                <a:gd name="T16" fmla="*/ 80 w 226"/>
                <a:gd name="T17" fmla="*/ 80 h 225"/>
                <a:gd name="T18" fmla="*/ 0 w 226"/>
                <a:gd name="T19" fmla="*/ 80 h 225"/>
                <a:gd name="T20" fmla="*/ 0 w 226"/>
                <a:gd name="T21" fmla="*/ 145 h 225"/>
                <a:gd name="T22" fmla="*/ 80 w 226"/>
                <a:gd name="T23" fmla="*/ 145 h 225"/>
                <a:gd name="T24" fmla="*/ 80 w 226"/>
                <a:gd name="T25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" h="225">
                  <a:moveTo>
                    <a:pt x="80" y="225"/>
                  </a:moveTo>
                  <a:lnTo>
                    <a:pt x="145" y="225"/>
                  </a:lnTo>
                  <a:lnTo>
                    <a:pt x="145" y="145"/>
                  </a:lnTo>
                  <a:lnTo>
                    <a:pt x="226" y="145"/>
                  </a:lnTo>
                  <a:lnTo>
                    <a:pt x="226" y="80"/>
                  </a:lnTo>
                  <a:lnTo>
                    <a:pt x="145" y="80"/>
                  </a:lnTo>
                  <a:lnTo>
                    <a:pt x="145" y="0"/>
                  </a:lnTo>
                  <a:lnTo>
                    <a:pt x="80" y="0"/>
                  </a:lnTo>
                  <a:lnTo>
                    <a:pt x="80" y="80"/>
                  </a:lnTo>
                  <a:lnTo>
                    <a:pt x="0" y="80"/>
                  </a:lnTo>
                  <a:lnTo>
                    <a:pt x="0" y="145"/>
                  </a:lnTo>
                  <a:lnTo>
                    <a:pt x="80" y="145"/>
                  </a:lnTo>
                  <a:lnTo>
                    <a:pt x="80" y="2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85" name="Gruppieren 84">
            <a:extLst>
              <a:ext uri="{FF2B5EF4-FFF2-40B4-BE49-F238E27FC236}">
                <a16:creationId xmlns:a16="http://schemas.microsoft.com/office/drawing/2014/main" id="{4EE7907E-2D4B-E06F-B7F5-FAC9552DEE94}"/>
              </a:ext>
            </a:extLst>
          </p:cNvPr>
          <p:cNvGrpSpPr/>
          <p:nvPr/>
        </p:nvGrpSpPr>
        <p:grpSpPr>
          <a:xfrm>
            <a:off x="9832234" y="1730715"/>
            <a:ext cx="1669204" cy="393359"/>
            <a:chOff x="8537926" y="1146540"/>
            <a:chExt cx="1815748" cy="427892"/>
          </a:xfrm>
        </p:grpSpPr>
        <p:pic>
          <p:nvPicPr>
            <p:cNvPr id="83" name="Grafik 82">
              <a:extLst>
                <a:ext uri="{FF2B5EF4-FFF2-40B4-BE49-F238E27FC236}">
                  <a16:creationId xmlns:a16="http://schemas.microsoft.com/office/drawing/2014/main" id="{EE8C7C9D-546B-AA39-8C76-C9769FF749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biLevel thresh="25000"/>
            </a:blip>
            <a:srcRect r="42974" b="39474"/>
            <a:stretch/>
          </p:blipFill>
          <p:spPr>
            <a:xfrm>
              <a:off x="8537926" y="1146540"/>
              <a:ext cx="1725262" cy="246920"/>
            </a:xfrm>
            <a:prstGeom prst="rect">
              <a:avLst/>
            </a:prstGeom>
          </p:spPr>
        </p:pic>
        <p:pic>
          <p:nvPicPr>
            <p:cNvPr id="84" name="Grafik 83">
              <a:extLst>
                <a:ext uri="{FF2B5EF4-FFF2-40B4-BE49-F238E27FC236}">
                  <a16:creationId xmlns:a16="http://schemas.microsoft.com/office/drawing/2014/main" id="{ADA5FFE6-4881-172E-E3AB-FC77897B7CA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biLevel thresh="25000"/>
            </a:blip>
            <a:srcRect l="57813" b="39474"/>
            <a:stretch/>
          </p:blipFill>
          <p:spPr>
            <a:xfrm>
              <a:off x="9077324" y="1327512"/>
              <a:ext cx="1276350" cy="246920"/>
            </a:xfrm>
            <a:prstGeom prst="rect">
              <a:avLst/>
            </a:prstGeom>
          </p:spPr>
        </p:pic>
      </p:grpSp>
      <p:grpSp>
        <p:nvGrpSpPr>
          <p:cNvPr id="468" name="Gruppieren 467">
            <a:extLst>
              <a:ext uri="{FF2B5EF4-FFF2-40B4-BE49-F238E27FC236}">
                <a16:creationId xmlns:a16="http://schemas.microsoft.com/office/drawing/2014/main" id="{362FB754-FE1D-87AE-6BCE-081FCD412689}"/>
              </a:ext>
            </a:extLst>
          </p:cNvPr>
          <p:cNvGrpSpPr>
            <a:grpSpLocks/>
          </p:cNvGrpSpPr>
          <p:nvPr/>
        </p:nvGrpSpPr>
        <p:grpSpPr>
          <a:xfrm>
            <a:off x="8999006" y="5071208"/>
            <a:ext cx="2629431" cy="914400"/>
            <a:chOff x="4202077" y="2051050"/>
            <a:chExt cx="2629431" cy="914400"/>
          </a:xfrm>
          <a:effectLst>
            <a:outerShdw blurRad="50800" dist="38100" dir="2700000" algn="tl" rotWithShape="0">
              <a:prstClr val="black">
                <a:alpha val="8000"/>
              </a:prstClr>
            </a:outerShdw>
          </a:effectLst>
        </p:grpSpPr>
        <p:sp>
          <p:nvSpPr>
            <p:cNvPr id="462" name="Rectangle 2">
              <a:extLst>
                <a:ext uri="{FF2B5EF4-FFF2-40B4-BE49-F238E27FC236}">
                  <a16:creationId xmlns:a16="http://schemas.microsoft.com/office/drawing/2014/main" id="{A23C38B3-8CBD-BDC9-1EDB-5BA87D7FE1AE}"/>
                </a:ext>
              </a:extLst>
            </p:cNvPr>
            <p:cNvSpPr>
              <a:spLocks/>
            </p:cNvSpPr>
            <p:nvPr/>
          </p:nvSpPr>
          <p:spPr>
            <a:xfrm>
              <a:off x="4202077" y="2051050"/>
              <a:ext cx="2629431" cy="914400"/>
            </a:xfrm>
            <a:prstGeom prst="rect">
              <a:avLst/>
            </a:prstGeom>
            <a:solidFill>
              <a:srgbClr val="C8E6E6"/>
            </a:solidFill>
            <a:ln w="19050">
              <a:noFill/>
              <a:miter lim="800000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ctr"/>
              <a:r>
                <a:rPr lang="de-AT" sz="1600" b="1">
                  <a:solidFill>
                    <a:schemeClr val="bg1"/>
                  </a:solidFill>
                </a:rPr>
                <a:t>Azure</a:t>
              </a:r>
            </a:p>
          </p:txBody>
        </p:sp>
        <p:sp>
          <p:nvSpPr>
            <p:cNvPr id="463" name="TextBox 35">
              <a:extLst>
                <a:ext uri="{FF2B5EF4-FFF2-40B4-BE49-F238E27FC236}">
                  <a16:creationId xmlns:a16="http://schemas.microsoft.com/office/drawing/2014/main" id="{345AEE5D-C281-35BC-194C-A7D2160DEFB0}"/>
                </a:ext>
              </a:extLst>
            </p:cNvPr>
            <p:cNvSpPr txBox="1">
              <a:spLocks/>
            </p:cNvSpPr>
            <p:nvPr/>
          </p:nvSpPr>
          <p:spPr>
            <a:xfrm>
              <a:off x="4794250" y="2440422"/>
              <a:ext cx="150495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de-AT" sz="1000" b="1">
                  <a:solidFill>
                    <a:schemeClr val="accent3"/>
                  </a:solidFill>
                </a:rPr>
                <a:t>DICOM Hub (SHS </a:t>
              </a:r>
              <a:r>
                <a:rPr lang="de-AT" sz="1000" b="1" err="1">
                  <a:solidFill>
                    <a:schemeClr val="accent3"/>
                  </a:solidFill>
                </a:rPr>
                <a:t>tp</a:t>
              </a:r>
              <a:r>
                <a:rPr lang="de-AT" sz="1000" b="1">
                  <a:solidFill>
                    <a:schemeClr val="accent3"/>
                  </a:solidFill>
                </a:rPr>
                <a:t> Images)</a:t>
              </a:r>
            </a:p>
            <a:p>
              <a:pPr algn="l"/>
              <a:r>
                <a:rPr lang="de-AT" sz="1000" err="1">
                  <a:solidFill>
                    <a:schemeClr val="accent3"/>
                  </a:solidFill>
                </a:rPr>
                <a:t>Minimized</a:t>
              </a:r>
              <a:r>
                <a:rPr lang="de-AT" sz="1000">
                  <a:solidFill>
                    <a:schemeClr val="accent3"/>
                  </a:solidFill>
                </a:rPr>
                <a:t> DICOM Images</a:t>
              </a:r>
            </a:p>
          </p:txBody>
        </p:sp>
        <p:sp>
          <p:nvSpPr>
            <p:cNvPr id="464" name="Freeform 29">
              <a:extLst>
                <a:ext uri="{FF2B5EF4-FFF2-40B4-BE49-F238E27FC236}">
                  <a16:creationId xmlns:a16="http://schemas.microsoft.com/office/drawing/2014/main" id="{C56574DE-D8F4-7CCD-9B81-27A16DB40C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67613" y="2453684"/>
              <a:ext cx="322732" cy="355508"/>
            </a:xfrm>
            <a:custGeom>
              <a:avLst/>
              <a:gdLst>
                <a:gd name="T0" fmla="*/ 183 w 333"/>
                <a:gd name="T1" fmla="*/ 334 h 367"/>
                <a:gd name="T2" fmla="*/ 333 w 333"/>
                <a:gd name="T3" fmla="*/ 334 h 367"/>
                <a:gd name="T4" fmla="*/ 333 w 333"/>
                <a:gd name="T5" fmla="*/ 367 h 367"/>
                <a:gd name="T6" fmla="*/ 0 w 333"/>
                <a:gd name="T7" fmla="*/ 367 h 367"/>
                <a:gd name="T8" fmla="*/ 0 w 333"/>
                <a:gd name="T9" fmla="*/ 334 h 367"/>
                <a:gd name="T10" fmla="*/ 150 w 333"/>
                <a:gd name="T11" fmla="*/ 334 h 367"/>
                <a:gd name="T12" fmla="*/ 150 w 333"/>
                <a:gd name="T13" fmla="*/ 300 h 367"/>
                <a:gd name="T14" fmla="*/ 183 w 333"/>
                <a:gd name="T15" fmla="*/ 300 h 367"/>
                <a:gd name="T16" fmla="*/ 183 w 333"/>
                <a:gd name="T17" fmla="*/ 334 h 367"/>
                <a:gd name="T18" fmla="*/ 17 w 333"/>
                <a:gd name="T19" fmla="*/ 217 h 367"/>
                <a:gd name="T20" fmla="*/ 67 w 333"/>
                <a:gd name="T21" fmla="*/ 217 h 367"/>
                <a:gd name="T22" fmla="*/ 67 w 333"/>
                <a:gd name="T23" fmla="*/ 250 h 367"/>
                <a:gd name="T24" fmla="*/ 17 w 333"/>
                <a:gd name="T25" fmla="*/ 250 h 367"/>
                <a:gd name="T26" fmla="*/ 17 w 333"/>
                <a:gd name="T27" fmla="*/ 217 h 367"/>
                <a:gd name="T28" fmla="*/ 0 w 333"/>
                <a:gd name="T29" fmla="*/ 267 h 367"/>
                <a:gd name="T30" fmla="*/ 333 w 333"/>
                <a:gd name="T31" fmla="*/ 267 h 367"/>
                <a:gd name="T32" fmla="*/ 333 w 333"/>
                <a:gd name="T33" fmla="*/ 200 h 367"/>
                <a:gd name="T34" fmla="*/ 0 w 333"/>
                <a:gd name="T35" fmla="*/ 200 h 367"/>
                <a:gd name="T36" fmla="*/ 0 w 333"/>
                <a:gd name="T37" fmla="*/ 267 h 367"/>
                <a:gd name="T38" fmla="*/ 17 w 333"/>
                <a:gd name="T39" fmla="*/ 117 h 367"/>
                <a:gd name="T40" fmla="*/ 67 w 333"/>
                <a:gd name="T41" fmla="*/ 117 h 367"/>
                <a:gd name="T42" fmla="*/ 67 w 333"/>
                <a:gd name="T43" fmla="*/ 150 h 367"/>
                <a:gd name="T44" fmla="*/ 17 w 333"/>
                <a:gd name="T45" fmla="*/ 150 h 367"/>
                <a:gd name="T46" fmla="*/ 17 w 333"/>
                <a:gd name="T47" fmla="*/ 117 h 367"/>
                <a:gd name="T48" fmla="*/ 0 w 333"/>
                <a:gd name="T49" fmla="*/ 167 h 367"/>
                <a:gd name="T50" fmla="*/ 333 w 333"/>
                <a:gd name="T51" fmla="*/ 167 h 367"/>
                <a:gd name="T52" fmla="*/ 333 w 333"/>
                <a:gd name="T53" fmla="*/ 100 h 367"/>
                <a:gd name="T54" fmla="*/ 0 w 333"/>
                <a:gd name="T55" fmla="*/ 100 h 367"/>
                <a:gd name="T56" fmla="*/ 0 w 333"/>
                <a:gd name="T57" fmla="*/ 167 h 367"/>
                <a:gd name="T58" fmla="*/ 67 w 333"/>
                <a:gd name="T59" fmla="*/ 50 h 367"/>
                <a:gd name="T60" fmla="*/ 17 w 333"/>
                <a:gd name="T61" fmla="*/ 50 h 367"/>
                <a:gd name="T62" fmla="*/ 17 w 333"/>
                <a:gd name="T63" fmla="*/ 17 h 367"/>
                <a:gd name="T64" fmla="*/ 67 w 333"/>
                <a:gd name="T65" fmla="*/ 17 h 367"/>
                <a:gd name="T66" fmla="*/ 67 w 333"/>
                <a:gd name="T67" fmla="*/ 50 h 367"/>
                <a:gd name="T68" fmla="*/ 0 w 333"/>
                <a:gd name="T69" fmla="*/ 67 h 367"/>
                <a:gd name="T70" fmla="*/ 333 w 333"/>
                <a:gd name="T71" fmla="*/ 67 h 367"/>
                <a:gd name="T72" fmla="*/ 333 w 333"/>
                <a:gd name="T73" fmla="*/ 0 h 367"/>
                <a:gd name="T74" fmla="*/ 0 w 333"/>
                <a:gd name="T75" fmla="*/ 0 h 367"/>
                <a:gd name="T76" fmla="*/ 0 w 333"/>
                <a:gd name="T77" fmla="*/ 67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33" h="367">
                  <a:moveTo>
                    <a:pt x="183" y="334"/>
                  </a:moveTo>
                  <a:lnTo>
                    <a:pt x="333" y="334"/>
                  </a:lnTo>
                  <a:lnTo>
                    <a:pt x="333" y="367"/>
                  </a:lnTo>
                  <a:lnTo>
                    <a:pt x="0" y="367"/>
                  </a:lnTo>
                  <a:lnTo>
                    <a:pt x="0" y="334"/>
                  </a:lnTo>
                  <a:lnTo>
                    <a:pt x="150" y="334"/>
                  </a:lnTo>
                  <a:lnTo>
                    <a:pt x="150" y="300"/>
                  </a:lnTo>
                  <a:lnTo>
                    <a:pt x="183" y="300"/>
                  </a:lnTo>
                  <a:lnTo>
                    <a:pt x="183" y="334"/>
                  </a:lnTo>
                  <a:close/>
                  <a:moveTo>
                    <a:pt x="17" y="217"/>
                  </a:moveTo>
                  <a:lnTo>
                    <a:pt x="67" y="217"/>
                  </a:lnTo>
                  <a:lnTo>
                    <a:pt x="67" y="250"/>
                  </a:lnTo>
                  <a:lnTo>
                    <a:pt x="17" y="250"/>
                  </a:lnTo>
                  <a:lnTo>
                    <a:pt x="17" y="217"/>
                  </a:lnTo>
                  <a:close/>
                  <a:moveTo>
                    <a:pt x="0" y="267"/>
                  </a:moveTo>
                  <a:lnTo>
                    <a:pt x="333" y="267"/>
                  </a:lnTo>
                  <a:lnTo>
                    <a:pt x="333" y="200"/>
                  </a:lnTo>
                  <a:lnTo>
                    <a:pt x="0" y="200"/>
                  </a:lnTo>
                  <a:lnTo>
                    <a:pt x="0" y="267"/>
                  </a:lnTo>
                  <a:close/>
                  <a:moveTo>
                    <a:pt x="17" y="117"/>
                  </a:moveTo>
                  <a:lnTo>
                    <a:pt x="67" y="117"/>
                  </a:lnTo>
                  <a:lnTo>
                    <a:pt x="67" y="150"/>
                  </a:lnTo>
                  <a:lnTo>
                    <a:pt x="17" y="150"/>
                  </a:lnTo>
                  <a:lnTo>
                    <a:pt x="17" y="117"/>
                  </a:lnTo>
                  <a:close/>
                  <a:moveTo>
                    <a:pt x="0" y="167"/>
                  </a:moveTo>
                  <a:lnTo>
                    <a:pt x="333" y="167"/>
                  </a:lnTo>
                  <a:lnTo>
                    <a:pt x="333" y="100"/>
                  </a:lnTo>
                  <a:lnTo>
                    <a:pt x="0" y="100"/>
                  </a:lnTo>
                  <a:lnTo>
                    <a:pt x="0" y="167"/>
                  </a:lnTo>
                  <a:close/>
                  <a:moveTo>
                    <a:pt x="67" y="50"/>
                  </a:moveTo>
                  <a:lnTo>
                    <a:pt x="17" y="50"/>
                  </a:lnTo>
                  <a:lnTo>
                    <a:pt x="17" y="17"/>
                  </a:lnTo>
                  <a:lnTo>
                    <a:pt x="67" y="17"/>
                  </a:lnTo>
                  <a:lnTo>
                    <a:pt x="67" y="50"/>
                  </a:lnTo>
                  <a:close/>
                  <a:moveTo>
                    <a:pt x="0" y="67"/>
                  </a:moveTo>
                  <a:lnTo>
                    <a:pt x="333" y="67"/>
                  </a:lnTo>
                  <a:lnTo>
                    <a:pt x="333" y="0"/>
                  </a:lnTo>
                  <a:lnTo>
                    <a:pt x="0" y="0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7" name="Freeform 17">
              <a:extLst>
                <a:ext uri="{FF2B5EF4-FFF2-40B4-BE49-F238E27FC236}">
                  <a16:creationId xmlns:a16="http://schemas.microsoft.com/office/drawing/2014/main" id="{D4974311-BD7B-443B-1658-AC0CDFA6F4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7915" y="2143081"/>
              <a:ext cx="267612" cy="174669"/>
            </a:xfrm>
            <a:custGeom>
              <a:avLst/>
              <a:gdLst>
                <a:gd name="T0" fmla="*/ 367 w 433"/>
                <a:gd name="T1" fmla="*/ 119 h 284"/>
                <a:gd name="T2" fmla="*/ 367 w 433"/>
                <a:gd name="T3" fmla="*/ 117 h 284"/>
                <a:gd name="T4" fmla="*/ 300 w 433"/>
                <a:gd name="T5" fmla="*/ 50 h 284"/>
                <a:gd name="T6" fmla="*/ 270 w 433"/>
                <a:gd name="T7" fmla="*/ 58 h 284"/>
                <a:gd name="T8" fmla="*/ 175 w 433"/>
                <a:gd name="T9" fmla="*/ 0 h 284"/>
                <a:gd name="T10" fmla="*/ 67 w 433"/>
                <a:gd name="T11" fmla="*/ 109 h 284"/>
                <a:gd name="T12" fmla="*/ 67 w 433"/>
                <a:gd name="T13" fmla="*/ 119 h 284"/>
                <a:gd name="T14" fmla="*/ 0 w 433"/>
                <a:gd name="T15" fmla="*/ 200 h 284"/>
                <a:gd name="T16" fmla="*/ 83 w 433"/>
                <a:gd name="T17" fmla="*/ 284 h 284"/>
                <a:gd name="T18" fmla="*/ 350 w 433"/>
                <a:gd name="T19" fmla="*/ 284 h 284"/>
                <a:gd name="T20" fmla="*/ 433 w 433"/>
                <a:gd name="T21" fmla="*/ 200 h 284"/>
                <a:gd name="T22" fmla="*/ 367 w 433"/>
                <a:gd name="T23" fmla="*/ 119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3" h="284">
                  <a:moveTo>
                    <a:pt x="367" y="119"/>
                  </a:moveTo>
                  <a:cubicBezTo>
                    <a:pt x="367" y="118"/>
                    <a:pt x="367" y="118"/>
                    <a:pt x="367" y="117"/>
                  </a:cubicBezTo>
                  <a:cubicBezTo>
                    <a:pt x="367" y="80"/>
                    <a:pt x="337" y="50"/>
                    <a:pt x="300" y="50"/>
                  </a:cubicBezTo>
                  <a:cubicBezTo>
                    <a:pt x="289" y="50"/>
                    <a:pt x="279" y="53"/>
                    <a:pt x="270" y="58"/>
                  </a:cubicBezTo>
                  <a:cubicBezTo>
                    <a:pt x="252" y="23"/>
                    <a:pt x="216" y="0"/>
                    <a:pt x="175" y="0"/>
                  </a:cubicBezTo>
                  <a:cubicBezTo>
                    <a:pt x="115" y="0"/>
                    <a:pt x="67" y="49"/>
                    <a:pt x="67" y="109"/>
                  </a:cubicBezTo>
                  <a:cubicBezTo>
                    <a:pt x="67" y="112"/>
                    <a:pt x="67" y="115"/>
                    <a:pt x="67" y="119"/>
                  </a:cubicBezTo>
                  <a:cubicBezTo>
                    <a:pt x="29" y="126"/>
                    <a:pt x="0" y="160"/>
                    <a:pt x="0" y="200"/>
                  </a:cubicBezTo>
                  <a:cubicBezTo>
                    <a:pt x="0" y="246"/>
                    <a:pt x="37" y="284"/>
                    <a:pt x="83" y="284"/>
                  </a:cubicBezTo>
                  <a:lnTo>
                    <a:pt x="350" y="284"/>
                  </a:lnTo>
                  <a:cubicBezTo>
                    <a:pt x="396" y="284"/>
                    <a:pt x="433" y="246"/>
                    <a:pt x="433" y="200"/>
                  </a:cubicBezTo>
                  <a:cubicBezTo>
                    <a:pt x="433" y="160"/>
                    <a:pt x="405" y="126"/>
                    <a:pt x="367" y="1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474" name="Picture 6">
            <a:extLst>
              <a:ext uri="{FF2B5EF4-FFF2-40B4-BE49-F238E27FC236}">
                <a16:creationId xmlns:a16="http://schemas.microsoft.com/office/drawing/2014/main" id="{3C33CDEA-1FE6-57C3-55A5-15ED98EEA68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4376" y="3619599"/>
            <a:ext cx="2532008" cy="1437408"/>
          </a:xfrm>
          <a:prstGeom prst="rect">
            <a:avLst/>
          </a:prstGeom>
          <a:ln w="6350">
            <a:solidFill>
              <a:schemeClr val="accent5"/>
            </a:solidFill>
          </a:ln>
        </p:spPr>
      </p:pic>
      <p:sp>
        <p:nvSpPr>
          <p:cNvPr id="475" name="TextBox 35">
            <a:extLst>
              <a:ext uri="{FF2B5EF4-FFF2-40B4-BE49-F238E27FC236}">
                <a16:creationId xmlns:a16="http://schemas.microsoft.com/office/drawing/2014/main" id="{1DDB6D09-F0EC-BFE8-2852-0F5CC456267E}"/>
              </a:ext>
            </a:extLst>
          </p:cNvPr>
          <p:cNvSpPr txBox="1">
            <a:spLocks/>
          </p:cNvSpPr>
          <p:nvPr/>
        </p:nvSpPr>
        <p:spPr>
          <a:xfrm>
            <a:off x="9872365" y="2445175"/>
            <a:ext cx="1504950" cy="3077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AT" sz="1000" b="1">
                <a:solidFill>
                  <a:schemeClr val="bg1"/>
                </a:solidFill>
              </a:rPr>
              <a:t>Rechenzentrum 1</a:t>
            </a:r>
            <a:br>
              <a:rPr lang="de-AT" sz="1000" b="1">
                <a:solidFill>
                  <a:schemeClr val="bg1"/>
                </a:solidFill>
              </a:rPr>
            </a:br>
            <a:r>
              <a:rPr lang="de-AT" sz="1000">
                <a:solidFill>
                  <a:schemeClr val="bg1"/>
                </a:solidFill>
              </a:rPr>
              <a:t>Patientenregister</a:t>
            </a:r>
          </a:p>
        </p:txBody>
      </p:sp>
      <p:sp>
        <p:nvSpPr>
          <p:cNvPr id="476" name="Freeform 29">
            <a:extLst>
              <a:ext uri="{FF2B5EF4-FFF2-40B4-BE49-F238E27FC236}">
                <a16:creationId xmlns:a16="http://schemas.microsoft.com/office/drawing/2014/main" id="{0EE698EB-0436-0D55-047E-83254E0CC5CA}"/>
              </a:ext>
            </a:extLst>
          </p:cNvPr>
          <p:cNvSpPr>
            <a:spLocks noEditPoints="1"/>
          </p:cNvSpPr>
          <p:nvPr/>
        </p:nvSpPr>
        <p:spPr bwMode="auto">
          <a:xfrm>
            <a:off x="9531927" y="2463800"/>
            <a:ext cx="245584" cy="270526"/>
          </a:xfrm>
          <a:custGeom>
            <a:avLst/>
            <a:gdLst>
              <a:gd name="T0" fmla="*/ 183 w 333"/>
              <a:gd name="T1" fmla="*/ 334 h 367"/>
              <a:gd name="T2" fmla="*/ 333 w 333"/>
              <a:gd name="T3" fmla="*/ 334 h 367"/>
              <a:gd name="T4" fmla="*/ 333 w 333"/>
              <a:gd name="T5" fmla="*/ 367 h 367"/>
              <a:gd name="T6" fmla="*/ 0 w 333"/>
              <a:gd name="T7" fmla="*/ 367 h 367"/>
              <a:gd name="T8" fmla="*/ 0 w 333"/>
              <a:gd name="T9" fmla="*/ 334 h 367"/>
              <a:gd name="T10" fmla="*/ 150 w 333"/>
              <a:gd name="T11" fmla="*/ 334 h 367"/>
              <a:gd name="T12" fmla="*/ 150 w 333"/>
              <a:gd name="T13" fmla="*/ 300 h 367"/>
              <a:gd name="T14" fmla="*/ 183 w 333"/>
              <a:gd name="T15" fmla="*/ 300 h 367"/>
              <a:gd name="T16" fmla="*/ 183 w 333"/>
              <a:gd name="T17" fmla="*/ 334 h 367"/>
              <a:gd name="T18" fmla="*/ 17 w 333"/>
              <a:gd name="T19" fmla="*/ 217 h 367"/>
              <a:gd name="T20" fmla="*/ 67 w 333"/>
              <a:gd name="T21" fmla="*/ 217 h 367"/>
              <a:gd name="T22" fmla="*/ 67 w 333"/>
              <a:gd name="T23" fmla="*/ 250 h 367"/>
              <a:gd name="T24" fmla="*/ 17 w 333"/>
              <a:gd name="T25" fmla="*/ 250 h 367"/>
              <a:gd name="T26" fmla="*/ 17 w 333"/>
              <a:gd name="T27" fmla="*/ 217 h 367"/>
              <a:gd name="T28" fmla="*/ 0 w 333"/>
              <a:gd name="T29" fmla="*/ 267 h 367"/>
              <a:gd name="T30" fmla="*/ 333 w 333"/>
              <a:gd name="T31" fmla="*/ 267 h 367"/>
              <a:gd name="T32" fmla="*/ 333 w 333"/>
              <a:gd name="T33" fmla="*/ 200 h 367"/>
              <a:gd name="T34" fmla="*/ 0 w 333"/>
              <a:gd name="T35" fmla="*/ 200 h 367"/>
              <a:gd name="T36" fmla="*/ 0 w 333"/>
              <a:gd name="T37" fmla="*/ 267 h 367"/>
              <a:gd name="T38" fmla="*/ 17 w 333"/>
              <a:gd name="T39" fmla="*/ 117 h 367"/>
              <a:gd name="T40" fmla="*/ 67 w 333"/>
              <a:gd name="T41" fmla="*/ 117 h 367"/>
              <a:gd name="T42" fmla="*/ 67 w 333"/>
              <a:gd name="T43" fmla="*/ 150 h 367"/>
              <a:gd name="T44" fmla="*/ 17 w 333"/>
              <a:gd name="T45" fmla="*/ 150 h 367"/>
              <a:gd name="T46" fmla="*/ 17 w 333"/>
              <a:gd name="T47" fmla="*/ 117 h 367"/>
              <a:gd name="T48" fmla="*/ 0 w 333"/>
              <a:gd name="T49" fmla="*/ 167 h 367"/>
              <a:gd name="T50" fmla="*/ 333 w 333"/>
              <a:gd name="T51" fmla="*/ 167 h 367"/>
              <a:gd name="T52" fmla="*/ 333 w 333"/>
              <a:gd name="T53" fmla="*/ 100 h 367"/>
              <a:gd name="T54" fmla="*/ 0 w 333"/>
              <a:gd name="T55" fmla="*/ 100 h 367"/>
              <a:gd name="T56" fmla="*/ 0 w 333"/>
              <a:gd name="T57" fmla="*/ 167 h 367"/>
              <a:gd name="T58" fmla="*/ 67 w 333"/>
              <a:gd name="T59" fmla="*/ 50 h 367"/>
              <a:gd name="T60" fmla="*/ 17 w 333"/>
              <a:gd name="T61" fmla="*/ 50 h 367"/>
              <a:gd name="T62" fmla="*/ 17 w 333"/>
              <a:gd name="T63" fmla="*/ 17 h 367"/>
              <a:gd name="T64" fmla="*/ 67 w 333"/>
              <a:gd name="T65" fmla="*/ 17 h 367"/>
              <a:gd name="T66" fmla="*/ 67 w 333"/>
              <a:gd name="T67" fmla="*/ 50 h 367"/>
              <a:gd name="T68" fmla="*/ 0 w 333"/>
              <a:gd name="T69" fmla="*/ 67 h 367"/>
              <a:gd name="T70" fmla="*/ 333 w 333"/>
              <a:gd name="T71" fmla="*/ 67 h 367"/>
              <a:gd name="T72" fmla="*/ 333 w 333"/>
              <a:gd name="T73" fmla="*/ 0 h 367"/>
              <a:gd name="T74" fmla="*/ 0 w 333"/>
              <a:gd name="T75" fmla="*/ 0 h 367"/>
              <a:gd name="T76" fmla="*/ 0 w 333"/>
              <a:gd name="T77" fmla="*/ 67 h 3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33" h="367">
                <a:moveTo>
                  <a:pt x="183" y="334"/>
                </a:moveTo>
                <a:lnTo>
                  <a:pt x="333" y="334"/>
                </a:lnTo>
                <a:lnTo>
                  <a:pt x="333" y="367"/>
                </a:lnTo>
                <a:lnTo>
                  <a:pt x="0" y="367"/>
                </a:lnTo>
                <a:lnTo>
                  <a:pt x="0" y="334"/>
                </a:lnTo>
                <a:lnTo>
                  <a:pt x="150" y="334"/>
                </a:lnTo>
                <a:lnTo>
                  <a:pt x="150" y="300"/>
                </a:lnTo>
                <a:lnTo>
                  <a:pt x="183" y="300"/>
                </a:lnTo>
                <a:lnTo>
                  <a:pt x="183" y="334"/>
                </a:lnTo>
                <a:close/>
                <a:moveTo>
                  <a:pt x="17" y="217"/>
                </a:moveTo>
                <a:lnTo>
                  <a:pt x="67" y="217"/>
                </a:lnTo>
                <a:lnTo>
                  <a:pt x="67" y="250"/>
                </a:lnTo>
                <a:lnTo>
                  <a:pt x="17" y="250"/>
                </a:lnTo>
                <a:lnTo>
                  <a:pt x="17" y="217"/>
                </a:lnTo>
                <a:close/>
                <a:moveTo>
                  <a:pt x="0" y="267"/>
                </a:moveTo>
                <a:lnTo>
                  <a:pt x="333" y="267"/>
                </a:lnTo>
                <a:lnTo>
                  <a:pt x="333" y="200"/>
                </a:lnTo>
                <a:lnTo>
                  <a:pt x="0" y="200"/>
                </a:lnTo>
                <a:lnTo>
                  <a:pt x="0" y="267"/>
                </a:lnTo>
                <a:close/>
                <a:moveTo>
                  <a:pt x="17" y="117"/>
                </a:moveTo>
                <a:lnTo>
                  <a:pt x="67" y="117"/>
                </a:lnTo>
                <a:lnTo>
                  <a:pt x="67" y="150"/>
                </a:lnTo>
                <a:lnTo>
                  <a:pt x="17" y="150"/>
                </a:lnTo>
                <a:lnTo>
                  <a:pt x="17" y="117"/>
                </a:lnTo>
                <a:close/>
                <a:moveTo>
                  <a:pt x="0" y="167"/>
                </a:moveTo>
                <a:lnTo>
                  <a:pt x="333" y="167"/>
                </a:lnTo>
                <a:lnTo>
                  <a:pt x="333" y="100"/>
                </a:lnTo>
                <a:lnTo>
                  <a:pt x="0" y="100"/>
                </a:lnTo>
                <a:lnTo>
                  <a:pt x="0" y="167"/>
                </a:lnTo>
                <a:close/>
                <a:moveTo>
                  <a:pt x="67" y="50"/>
                </a:moveTo>
                <a:lnTo>
                  <a:pt x="17" y="50"/>
                </a:lnTo>
                <a:lnTo>
                  <a:pt x="17" y="17"/>
                </a:lnTo>
                <a:lnTo>
                  <a:pt x="67" y="17"/>
                </a:lnTo>
                <a:lnTo>
                  <a:pt x="67" y="50"/>
                </a:lnTo>
                <a:close/>
                <a:moveTo>
                  <a:pt x="0" y="67"/>
                </a:moveTo>
                <a:lnTo>
                  <a:pt x="333" y="67"/>
                </a:lnTo>
                <a:lnTo>
                  <a:pt x="333" y="0"/>
                </a:lnTo>
                <a:lnTo>
                  <a:pt x="0" y="0"/>
                </a:lnTo>
                <a:lnTo>
                  <a:pt x="0" y="6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7" name="TextBox 35">
            <a:extLst>
              <a:ext uri="{FF2B5EF4-FFF2-40B4-BE49-F238E27FC236}">
                <a16:creationId xmlns:a16="http://schemas.microsoft.com/office/drawing/2014/main" id="{9F9A4D86-E09A-0F08-1B3B-E0C1BA26551A}"/>
              </a:ext>
            </a:extLst>
          </p:cNvPr>
          <p:cNvSpPr txBox="1">
            <a:spLocks/>
          </p:cNvSpPr>
          <p:nvPr/>
        </p:nvSpPr>
        <p:spPr>
          <a:xfrm>
            <a:off x="9872365" y="3118039"/>
            <a:ext cx="1504950" cy="3077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AT" sz="1000" b="1">
                <a:solidFill>
                  <a:schemeClr val="bg1"/>
                </a:solidFill>
              </a:rPr>
              <a:t>Rechenzentrum 2 </a:t>
            </a:r>
            <a:r>
              <a:rPr lang="de-AT" sz="1000">
                <a:solidFill>
                  <a:schemeClr val="bg1"/>
                </a:solidFill>
              </a:rPr>
              <a:t>Dokumentenindex</a:t>
            </a:r>
          </a:p>
        </p:txBody>
      </p:sp>
      <p:sp>
        <p:nvSpPr>
          <p:cNvPr id="478" name="Freeform 29">
            <a:extLst>
              <a:ext uri="{FF2B5EF4-FFF2-40B4-BE49-F238E27FC236}">
                <a16:creationId xmlns:a16="http://schemas.microsoft.com/office/drawing/2014/main" id="{9EE47F60-758E-8C00-901E-5DE3406B1FFA}"/>
              </a:ext>
            </a:extLst>
          </p:cNvPr>
          <p:cNvSpPr>
            <a:spLocks noEditPoints="1"/>
          </p:cNvSpPr>
          <p:nvPr/>
        </p:nvSpPr>
        <p:spPr bwMode="auto">
          <a:xfrm>
            <a:off x="9531927" y="3136664"/>
            <a:ext cx="245584" cy="270526"/>
          </a:xfrm>
          <a:custGeom>
            <a:avLst/>
            <a:gdLst>
              <a:gd name="T0" fmla="*/ 183 w 333"/>
              <a:gd name="T1" fmla="*/ 334 h 367"/>
              <a:gd name="T2" fmla="*/ 333 w 333"/>
              <a:gd name="T3" fmla="*/ 334 h 367"/>
              <a:gd name="T4" fmla="*/ 333 w 333"/>
              <a:gd name="T5" fmla="*/ 367 h 367"/>
              <a:gd name="T6" fmla="*/ 0 w 333"/>
              <a:gd name="T7" fmla="*/ 367 h 367"/>
              <a:gd name="T8" fmla="*/ 0 w 333"/>
              <a:gd name="T9" fmla="*/ 334 h 367"/>
              <a:gd name="T10" fmla="*/ 150 w 333"/>
              <a:gd name="T11" fmla="*/ 334 h 367"/>
              <a:gd name="T12" fmla="*/ 150 w 333"/>
              <a:gd name="T13" fmla="*/ 300 h 367"/>
              <a:gd name="T14" fmla="*/ 183 w 333"/>
              <a:gd name="T15" fmla="*/ 300 h 367"/>
              <a:gd name="T16" fmla="*/ 183 w 333"/>
              <a:gd name="T17" fmla="*/ 334 h 367"/>
              <a:gd name="T18" fmla="*/ 17 w 333"/>
              <a:gd name="T19" fmla="*/ 217 h 367"/>
              <a:gd name="T20" fmla="*/ 67 w 333"/>
              <a:gd name="T21" fmla="*/ 217 h 367"/>
              <a:gd name="T22" fmla="*/ 67 w 333"/>
              <a:gd name="T23" fmla="*/ 250 h 367"/>
              <a:gd name="T24" fmla="*/ 17 w 333"/>
              <a:gd name="T25" fmla="*/ 250 h 367"/>
              <a:gd name="T26" fmla="*/ 17 w 333"/>
              <a:gd name="T27" fmla="*/ 217 h 367"/>
              <a:gd name="T28" fmla="*/ 0 w 333"/>
              <a:gd name="T29" fmla="*/ 267 h 367"/>
              <a:gd name="T30" fmla="*/ 333 w 333"/>
              <a:gd name="T31" fmla="*/ 267 h 367"/>
              <a:gd name="T32" fmla="*/ 333 w 333"/>
              <a:gd name="T33" fmla="*/ 200 h 367"/>
              <a:gd name="T34" fmla="*/ 0 w 333"/>
              <a:gd name="T35" fmla="*/ 200 h 367"/>
              <a:gd name="T36" fmla="*/ 0 w 333"/>
              <a:gd name="T37" fmla="*/ 267 h 367"/>
              <a:gd name="T38" fmla="*/ 17 w 333"/>
              <a:gd name="T39" fmla="*/ 117 h 367"/>
              <a:gd name="T40" fmla="*/ 67 w 333"/>
              <a:gd name="T41" fmla="*/ 117 h 367"/>
              <a:gd name="T42" fmla="*/ 67 w 333"/>
              <a:gd name="T43" fmla="*/ 150 h 367"/>
              <a:gd name="T44" fmla="*/ 17 w 333"/>
              <a:gd name="T45" fmla="*/ 150 h 367"/>
              <a:gd name="T46" fmla="*/ 17 w 333"/>
              <a:gd name="T47" fmla="*/ 117 h 367"/>
              <a:gd name="T48" fmla="*/ 0 w 333"/>
              <a:gd name="T49" fmla="*/ 167 h 367"/>
              <a:gd name="T50" fmla="*/ 333 w 333"/>
              <a:gd name="T51" fmla="*/ 167 h 367"/>
              <a:gd name="T52" fmla="*/ 333 w 333"/>
              <a:gd name="T53" fmla="*/ 100 h 367"/>
              <a:gd name="T54" fmla="*/ 0 w 333"/>
              <a:gd name="T55" fmla="*/ 100 h 367"/>
              <a:gd name="T56" fmla="*/ 0 w 333"/>
              <a:gd name="T57" fmla="*/ 167 h 367"/>
              <a:gd name="T58" fmla="*/ 67 w 333"/>
              <a:gd name="T59" fmla="*/ 50 h 367"/>
              <a:gd name="T60" fmla="*/ 17 w 333"/>
              <a:gd name="T61" fmla="*/ 50 h 367"/>
              <a:gd name="T62" fmla="*/ 17 w 333"/>
              <a:gd name="T63" fmla="*/ 17 h 367"/>
              <a:gd name="T64" fmla="*/ 67 w 333"/>
              <a:gd name="T65" fmla="*/ 17 h 367"/>
              <a:gd name="T66" fmla="*/ 67 w 333"/>
              <a:gd name="T67" fmla="*/ 50 h 367"/>
              <a:gd name="T68" fmla="*/ 0 w 333"/>
              <a:gd name="T69" fmla="*/ 67 h 367"/>
              <a:gd name="T70" fmla="*/ 333 w 333"/>
              <a:gd name="T71" fmla="*/ 67 h 367"/>
              <a:gd name="T72" fmla="*/ 333 w 333"/>
              <a:gd name="T73" fmla="*/ 0 h 367"/>
              <a:gd name="T74" fmla="*/ 0 w 333"/>
              <a:gd name="T75" fmla="*/ 0 h 367"/>
              <a:gd name="T76" fmla="*/ 0 w 333"/>
              <a:gd name="T77" fmla="*/ 67 h 3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33" h="367">
                <a:moveTo>
                  <a:pt x="183" y="334"/>
                </a:moveTo>
                <a:lnTo>
                  <a:pt x="333" y="334"/>
                </a:lnTo>
                <a:lnTo>
                  <a:pt x="333" y="367"/>
                </a:lnTo>
                <a:lnTo>
                  <a:pt x="0" y="367"/>
                </a:lnTo>
                <a:lnTo>
                  <a:pt x="0" y="334"/>
                </a:lnTo>
                <a:lnTo>
                  <a:pt x="150" y="334"/>
                </a:lnTo>
                <a:lnTo>
                  <a:pt x="150" y="300"/>
                </a:lnTo>
                <a:lnTo>
                  <a:pt x="183" y="300"/>
                </a:lnTo>
                <a:lnTo>
                  <a:pt x="183" y="334"/>
                </a:lnTo>
                <a:close/>
                <a:moveTo>
                  <a:pt x="17" y="217"/>
                </a:moveTo>
                <a:lnTo>
                  <a:pt x="67" y="217"/>
                </a:lnTo>
                <a:lnTo>
                  <a:pt x="67" y="250"/>
                </a:lnTo>
                <a:lnTo>
                  <a:pt x="17" y="250"/>
                </a:lnTo>
                <a:lnTo>
                  <a:pt x="17" y="217"/>
                </a:lnTo>
                <a:close/>
                <a:moveTo>
                  <a:pt x="0" y="267"/>
                </a:moveTo>
                <a:lnTo>
                  <a:pt x="333" y="267"/>
                </a:lnTo>
                <a:lnTo>
                  <a:pt x="333" y="200"/>
                </a:lnTo>
                <a:lnTo>
                  <a:pt x="0" y="200"/>
                </a:lnTo>
                <a:lnTo>
                  <a:pt x="0" y="267"/>
                </a:lnTo>
                <a:close/>
                <a:moveTo>
                  <a:pt x="17" y="117"/>
                </a:moveTo>
                <a:lnTo>
                  <a:pt x="67" y="117"/>
                </a:lnTo>
                <a:lnTo>
                  <a:pt x="67" y="150"/>
                </a:lnTo>
                <a:lnTo>
                  <a:pt x="17" y="150"/>
                </a:lnTo>
                <a:lnTo>
                  <a:pt x="17" y="117"/>
                </a:lnTo>
                <a:close/>
                <a:moveTo>
                  <a:pt x="0" y="167"/>
                </a:moveTo>
                <a:lnTo>
                  <a:pt x="333" y="167"/>
                </a:lnTo>
                <a:lnTo>
                  <a:pt x="333" y="100"/>
                </a:lnTo>
                <a:lnTo>
                  <a:pt x="0" y="100"/>
                </a:lnTo>
                <a:lnTo>
                  <a:pt x="0" y="167"/>
                </a:lnTo>
                <a:close/>
                <a:moveTo>
                  <a:pt x="67" y="50"/>
                </a:moveTo>
                <a:lnTo>
                  <a:pt x="17" y="50"/>
                </a:lnTo>
                <a:lnTo>
                  <a:pt x="17" y="17"/>
                </a:lnTo>
                <a:lnTo>
                  <a:pt x="67" y="17"/>
                </a:lnTo>
                <a:lnTo>
                  <a:pt x="67" y="50"/>
                </a:lnTo>
                <a:close/>
                <a:moveTo>
                  <a:pt x="0" y="67"/>
                </a:moveTo>
                <a:lnTo>
                  <a:pt x="333" y="67"/>
                </a:lnTo>
                <a:lnTo>
                  <a:pt x="333" y="0"/>
                </a:lnTo>
                <a:lnTo>
                  <a:pt x="0" y="0"/>
                </a:lnTo>
                <a:lnTo>
                  <a:pt x="0" y="6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0" name="Freihandform: Form 479">
            <a:extLst>
              <a:ext uri="{FF2B5EF4-FFF2-40B4-BE49-F238E27FC236}">
                <a16:creationId xmlns:a16="http://schemas.microsoft.com/office/drawing/2014/main" id="{50E8FDEF-0A2B-C4C9-A73F-64032A403635}"/>
              </a:ext>
            </a:extLst>
          </p:cNvPr>
          <p:cNvSpPr/>
          <p:nvPr/>
        </p:nvSpPr>
        <p:spPr>
          <a:xfrm>
            <a:off x="1952625" y="5046818"/>
            <a:ext cx="7042149" cy="476250"/>
          </a:xfrm>
          <a:custGeom>
            <a:avLst/>
            <a:gdLst>
              <a:gd name="connsiteX0" fmla="*/ 819150 w 819150"/>
              <a:gd name="connsiteY0" fmla="*/ 476250 h 476250"/>
              <a:gd name="connsiteX1" fmla="*/ 0 w 819150"/>
              <a:gd name="connsiteY1" fmla="*/ 476250 h 476250"/>
              <a:gd name="connsiteX2" fmla="*/ 0 w 819150"/>
              <a:gd name="connsiteY2" fmla="*/ 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19150" h="476250">
                <a:moveTo>
                  <a:pt x="819150" y="476250"/>
                </a:moveTo>
                <a:lnTo>
                  <a:pt x="0" y="476250"/>
                </a:lnTo>
                <a:lnTo>
                  <a:pt x="0" y="0"/>
                </a:lnTo>
              </a:path>
            </a:pathLst>
          </a:custGeom>
          <a:noFill/>
          <a:ln w="31750">
            <a:solidFill>
              <a:schemeClr val="accent3"/>
            </a:solidFill>
            <a:miter lim="800000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9" name="Rectangle 5">
            <a:extLst>
              <a:ext uri="{FF2B5EF4-FFF2-40B4-BE49-F238E27FC236}">
                <a16:creationId xmlns:a16="http://schemas.microsoft.com/office/drawing/2014/main" id="{19F1CE86-E489-F4D5-3002-C0D3219A260A}"/>
              </a:ext>
            </a:extLst>
          </p:cNvPr>
          <p:cNvSpPr>
            <a:spLocks/>
          </p:cNvSpPr>
          <p:nvPr/>
        </p:nvSpPr>
        <p:spPr>
          <a:xfrm>
            <a:off x="3531521" y="5287909"/>
            <a:ext cx="2107280" cy="482982"/>
          </a:xfrm>
          <a:prstGeom prst="roundRect">
            <a:avLst>
              <a:gd name="adj" fmla="val 50000"/>
            </a:avLst>
          </a:prstGeom>
          <a:solidFill>
            <a:srgbClr val="ECECEC"/>
          </a:solidFill>
          <a:ln w="19050">
            <a:solidFill>
              <a:schemeClr val="accent5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96000" tIns="72000" rtlCol="0" anchor="ctr"/>
          <a:lstStyle/>
          <a:p>
            <a:pPr algn="ctr">
              <a:lnSpc>
                <a:spcPct val="80000"/>
              </a:lnSpc>
            </a:pPr>
            <a:r>
              <a:rPr lang="de-AT" sz="1600" b="1" err="1">
                <a:solidFill>
                  <a:schemeClr val="tx1"/>
                </a:solidFill>
              </a:rPr>
              <a:t>Dicom</a:t>
            </a:r>
            <a:r>
              <a:rPr lang="de-AT" sz="1600" b="1">
                <a:solidFill>
                  <a:schemeClr val="tx1"/>
                </a:solidFill>
              </a:rPr>
              <a:t> Hub</a:t>
            </a:r>
          </a:p>
        </p:txBody>
      </p:sp>
      <p:sp>
        <p:nvSpPr>
          <p:cNvPr id="481" name="TextBox 26">
            <a:extLst>
              <a:ext uri="{FF2B5EF4-FFF2-40B4-BE49-F238E27FC236}">
                <a16:creationId xmlns:a16="http://schemas.microsoft.com/office/drawing/2014/main" id="{8061FBB1-0B5E-3E82-46FA-698BAC65346C}"/>
              </a:ext>
            </a:extLst>
          </p:cNvPr>
          <p:cNvSpPr txBox="1">
            <a:spLocks/>
          </p:cNvSpPr>
          <p:nvPr/>
        </p:nvSpPr>
        <p:spPr>
          <a:xfrm>
            <a:off x="3740712" y="5819219"/>
            <a:ext cx="1688897" cy="1896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AT" sz="1200" err="1"/>
              <a:t>Local</a:t>
            </a:r>
            <a:r>
              <a:rPr lang="de-AT" sz="1200"/>
              <a:t> </a:t>
            </a:r>
            <a:r>
              <a:rPr lang="de-AT" sz="1200" err="1"/>
              <a:t>tp</a:t>
            </a:r>
            <a:r>
              <a:rPr lang="de-AT" sz="1200"/>
              <a:t> </a:t>
            </a:r>
            <a:r>
              <a:rPr lang="de-AT" sz="1200" err="1"/>
              <a:t>receiver</a:t>
            </a:r>
            <a:endParaRPr lang="de-AT" sz="1200"/>
          </a:p>
        </p:txBody>
      </p:sp>
      <p:grpSp>
        <p:nvGrpSpPr>
          <p:cNvPr id="482" name="Group 113">
            <a:extLst>
              <a:ext uri="{FF2B5EF4-FFF2-40B4-BE49-F238E27FC236}">
                <a16:creationId xmlns:a16="http://schemas.microsoft.com/office/drawing/2014/main" id="{7BEDFD36-10DC-03FF-223D-2797BAA5723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75393" y="5324475"/>
            <a:ext cx="397186" cy="397186"/>
            <a:chOff x="5077" y="2381"/>
            <a:chExt cx="408" cy="408"/>
          </a:xfrm>
        </p:grpSpPr>
        <p:sp>
          <p:nvSpPr>
            <p:cNvPr id="483" name="AutoShape 112">
              <a:extLst>
                <a:ext uri="{FF2B5EF4-FFF2-40B4-BE49-F238E27FC236}">
                  <a16:creationId xmlns:a16="http://schemas.microsoft.com/office/drawing/2014/main" id="{48C92245-817D-BC1D-B168-2416F21C333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77" y="2381"/>
              <a:ext cx="408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" name="Freeform 114">
              <a:extLst>
                <a:ext uri="{FF2B5EF4-FFF2-40B4-BE49-F238E27FC236}">
                  <a16:creationId xmlns:a16="http://schemas.microsoft.com/office/drawing/2014/main" id="{6523A2E9-C34D-AC61-66E9-618743C62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67" y="2433"/>
              <a:ext cx="231" cy="307"/>
            </a:xfrm>
            <a:custGeom>
              <a:avLst/>
              <a:gdLst>
                <a:gd name="T0" fmla="*/ 225 w 300"/>
                <a:gd name="T1" fmla="*/ 95 h 400"/>
                <a:gd name="T2" fmla="*/ 204 w 300"/>
                <a:gd name="T3" fmla="*/ 120 h 400"/>
                <a:gd name="T4" fmla="*/ 170 w 300"/>
                <a:gd name="T5" fmla="*/ 113 h 400"/>
                <a:gd name="T6" fmla="*/ 131 w 300"/>
                <a:gd name="T7" fmla="*/ 125 h 400"/>
                <a:gd name="T8" fmla="*/ 108 w 300"/>
                <a:gd name="T9" fmla="*/ 102 h 400"/>
                <a:gd name="T10" fmla="*/ 131 w 300"/>
                <a:gd name="T11" fmla="*/ 79 h 400"/>
                <a:gd name="T12" fmla="*/ 147 w 300"/>
                <a:gd name="T13" fmla="*/ 79 h 400"/>
                <a:gd name="T14" fmla="*/ 166 w 300"/>
                <a:gd name="T15" fmla="*/ 75 h 400"/>
                <a:gd name="T16" fmla="*/ 158 w 300"/>
                <a:gd name="T17" fmla="*/ 60 h 400"/>
                <a:gd name="T18" fmla="*/ 147 w 300"/>
                <a:gd name="T19" fmla="*/ 63 h 400"/>
                <a:gd name="T20" fmla="*/ 140 w 300"/>
                <a:gd name="T21" fmla="*/ 62 h 400"/>
                <a:gd name="T22" fmla="*/ 131 w 300"/>
                <a:gd name="T23" fmla="*/ 62 h 400"/>
                <a:gd name="T24" fmla="*/ 91 w 300"/>
                <a:gd name="T25" fmla="*/ 102 h 400"/>
                <a:gd name="T26" fmla="*/ 91 w 300"/>
                <a:gd name="T27" fmla="*/ 104 h 400"/>
                <a:gd name="T28" fmla="*/ 75 w 300"/>
                <a:gd name="T29" fmla="*/ 75 h 400"/>
                <a:gd name="T30" fmla="*/ 150 w 300"/>
                <a:gd name="T31" fmla="*/ 25 h 400"/>
                <a:gd name="T32" fmla="*/ 225 w 300"/>
                <a:gd name="T33" fmla="*/ 95 h 400"/>
                <a:gd name="T34" fmla="*/ 200 w 300"/>
                <a:gd name="T35" fmla="*/ 166 h 400"/>
                <a:gd name="T36" fmla="*/ 183 w 300"/>
                <a:gd name="T37" fmla="*/ 166 h 400"/>
                <a:gd name="T38" fmla="*/ 176 w 300"/>
                <a:gd name="T39" fmla="*/ 149 h 400"/>
                <a:gd name="T40" fmla="*/ 155 w 300"/>
                <a:gd name="T41" fmla="*/ 134 h 400"/>
                <a:gd name="T42" fmla="*/ 170 w 300"/>
                <a:gd name="T43" fmla="*/ 129 h 400"/>
                <a:gd name="T44" fmla="*/ 183 w 300"/>
                <a:gd name="T45" fmla="*/ 132 h 400"/>
                <a:gd name="T46" fmla="*/ 204 w 300"/>
                <a:gd name="T47" fmla="*/ 136 h 400"/>
                <a:gd name="T48" fmla="*/ 210 w 300"/>
                <a:gd name="T49" fmla="*/ 136 h 400"/>
                <a:gd name="T50" fmla="*/ 196 w 300"/>
                <a:gd name="T51" fmla="*/ 147 h 400"/>
                <a:gd name="T52" fmla="*/ 200 w 300"/>
                <a:gd name="T53" fmla="*/ 166 h 400"/>
                <a:gd name="T54" fmla="*/ 225 w 300"/>
                <a:gd name="T55" fmla="*/ 303 h 400"/>
                <a:gd name="T56" fmla="*/ 204 w 300"/>
                <a:gd name="T57" fmla="*/ 328 h 400"/>
                <a:gd name="T58" fmla="*/ 170 w 300"/>
                <a:gd name="T59" fmla="*/ 321 h 400"/>
                <a:gd name="T60" fmla="*/ 131 w 300"/>
                <a:gd name="T61" fmla="*/ 333 h 400"/>
                <a:gd name="T62" fmla="*/ 108 w 300"/>
                <a:gd name="T63" fmla="*/ 310 h 400"/>
                <a:gd name="T64" fmla="*/ 131 w 300"/>
                <a:gd name="T65" fmla="*/ 287 h 400"/>
                <a:gd name="T66" fmla="*/ 147 w 300"/>
                <a:gd name="T67" fmla="*/ 288 h 400"/>
                <a:gd name="T68" fmla="*/ 166 w 300"/>
                <a:gd name="T69" fmla="*/ 283 h 400"/>
                <a:gd name="T70" fmla="*/ 158 w 300"/>
                <a:gd name="T71" fmla="*/ 268 h 400"/>
                <a:gd name="T72" fmla="*/ 147 w 300"/>
                <a:gd name="T73" fmla="*/ 271 h 400"/>
                <a:gd name="T74" fmla="*/ 140 w 300"/>
                <a:gd name="T75" fmla="*/ 271 h 400"/>
                <a:gd name="T76" fmla="*/ 131 w 300"/>
                <a:gd name="T77" fmla="*/ 271 h 400"/>
                <a:gd name="T78" fmla="*/ 91 w 300"/>
                <a:gd name="T79" fmla="*/ 310 h 400"/>
                <a:gd name="T80" fmla="*/ 91 w 300"/>
                <a:gd name="T81" fmla="*/ 312 h 400"/>
                <a:gd name="T82" fmla="*/ 75 w 300"/>
                <a:gd name="T83" fmla="*/ 283 h 400"/>
                <a:gd name="T84" fmla="*/ 150 w 300"/>
                <a:gd name="T85" fmla="*/ 233 h 400"/>
                <a:gd name="T86" fmla="*/ 225 w 300"/>
                <a:gd name="T87" fmla="*/ 303 h 400"/>
                <a:gd name="T88" fmla="*/ 196 w 300"/>
                <a:gd name="T89" fmla="*/ 356 h 400"/>
                <a:gd name="T90" fmla="*/ 200 w 300"/>
                <a:gd name="T91" fmla="*/ 375 h 400"/>
                <a:gd name="T92" fmla="*/ 183 w 300"/>
                <a:gd name="T93" fmla="*/ 375 h 400"/>
                <a:gd name="T94" fmla="*/ 176 w 300"/>
                <a:gd name="T95" fmla="*/ 357 h 400"/>
                <a:gd name="T96" fmla="*/ 155 w 300"/>
                <a:gd name="T97" fmla="*/ 342 h 400"/>
                <a:gd name="T98" fmla="*/ 170 w 300"/>
                <a:gd name="T99" fmla="*/ 338 h 400"/>
                <a:gd name="T100" fmla="*/ 183 w 300"/>
                <a:gd name="T101" fmla="*/ 340 h 400"/>
                <a:gd name="T102" fmla="*/ 204 w 300"/>
                <a:gd name="T103" fmla="*/ 345 h 400"/>
                <a:gd name="T104" fmla="*/ 210 w 300"/>
                <a:gd name="T105" fmla="*/ 344 h 400"/>
                <a:gd name="T106" fmla="*/ 196 w 300"/>
                <a:gd name="T107" fmla="*/ 356 h 400"/>
                <a:gd name="T108" fmla="*/ 283 w 300"/>
                <a:gd name="T109" fmla="*/ 0 h 400"/>
                <a:gd name="T110" fmla="*/ 16 w 300"/>
                <a:gd name="T111" fmla="*/ 0 h 400"/>
                <a:gd name="T112" fmla="*/ 0 w 300"/>
                <a:gd name="T113" fmla="*/ 16 h 400"/>
                <a:gd name="T114" fmla="*/ 0 w 300"/>
                <a:gd name="T115" fmla="*/ 383 h 400"/>
                <a:gd name="T116" fmla="*/ 16 w 300"/>
                <a:gd name="T117" fmla="*/ 400 h 400"/>
                <a:gd name="T118" fmla="*/ 283 w 300"/>
                <a:gd name="T119" fmla="*/ 400 h 400"/>
                <a:gd name="T120" fmla="*/ 300 w 300"/>
                <a:gd name="T121" fmla="*/ 383 h 400"/>
                <a:gd name="T122" fmla="*/ 300 w 300"/>
                <a:gd name="T123" fmla="*/ 16 h 400"/>
                <a:gd name="T124" fmla="*/ 283 w 300"/>
                <a:gd name="T1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0" h="400">
                  <a:moveTo>
                    <a:pt x="225" y="95"/>
                  </a:moveTo>
                  <a:cubicBezTo>
                    <a:pt x="225" y="110"/>
                    <a:pt x="215" y="120"/>
                    <a:pt x="204" y="120"/>
                  </a:cubicBezTo>
                  <a:cubicBezTo>
                    <a:pt x="190" y="120"/>
                    <a:pt x="187" y="113"/>
                    <a:pt x="170" y="113"/>
                  </a:cubicBezTo>
                  <a:cubicBezTo>
                    <a:pt x="152" y="113"/>
                    <a:pt x="144" y="125"/>
                    <a:pt x="131" y="125"/>
                  </a:cubicBezTo>
                  <a:cubicBezTo>
                    <a:pt x="118" y="125"/>
                    <a:pt x="108" y="114"/>
                    <a:pt x="108" y="102"/>
                  </a:cubicBezTo>
                  <a:cubicBezTo>
                    <a:pt x="108" y="89"/>
                    <a:pt x="118" y="79"/>
                    <a:pt x="131" y="79"/>
                  </a:cubicBezTo>
                  <a:cubicBezTo>
                    <a:pt x="136" y="79"/>
                    <a:pt x="142" y="79"/>
                    <a:pt x="147" y="79"/>
                  </a:cubicBezTo>
                  <a:cubicBezTo>
                    <a:pt x="153" y="79"/>
                    <a:pt x="159" y="79"/>
                    <a:pt x="166" y="75"/>
                  </a:cubicBezTo>
                  <a:lnTo>
                    <a:pt x="158" y="60"/>
                  </a:lnTo>
                  <a:cubicBezTo>
                    <a:pt x="154" y="62"/>
                    <a:pt x="151" y="63"/>
                    <a:pt x="147" y="63"/>
                  </a:cubicBezTo>
                  <a:cubicBezTo>
                    <a:pt x="144" y="63"/>
                    <a:pt x="142" y="63"/>
                    <a:pt x="140" y="62"/>
                  </a:cubicBezTo>
                  <a:cubicBezTo>
                    <a:pt x="137" y="62"/>
                    <a:pt x="134" y="62"/>
                    <a:pt x="131" y="62"/>
                  </a:cubicBezTo>
                  <a:cubicBezTo>
                    <a:pt x="109" y="62"/>
                    <a:pt x="91" y="80"/>
                    <a:pt x="91" y="102"/>
                  </a:cubicBezTo>
                  <a:cubicBezTo>
                    <a:pt x="91" y="102"/>
                    <a:pt x="91" y="103"/>
                    <a:pt x="91" y="104"/>
                  </a:cubicBezTo>
                  <a:cubicBezTo>
                    <a:pt x="81" y="98"/>
                    <a:pt x="75" y="87"/>
                    <a:pt x="75" y="75"/>
                  </a:cubicBezTo>
                  <a:cubicBezTo>
                    <a:pt x="75" y="47"/>
                    <a:pt x="108" y="25"/>
                    <a:pt x="150" y="25"/>
                  </a:cubicBezTo>
                  <a:cubicBezTo>
                    <a:pt x="191" y="25"/>
                    <a:pt x="225" y="55"/>
                    <a:pt x="225" y="95"/>
                  </a:cubicBezTo>
                  <a:close/>
                  <a:moveTo>
                    <a:pt x="200" y="166"/>
                  </a:moveTo>
                  <a:lnTo>
                    <a:pt x="183" y="166"/>
                  </a:lnTo>
                  <a:cubicBezTo>
                    <a:pt x="183" y="162"/>
                    <a:pt x="182" y="154"/>
                    <a:pt x="176" y="149"/>
                  </a:cubicBezTo>
                  <a:cubicBezTo>
                    <a:pt x="167" y="147"/>
                    <a:pt x="160" y="142"/>
                    <a:pt x="155" y="134"/>
                  </a:cubicBezTo>
                  <a:cubicBezTo>
                    <a:pt x="160" y="131"/>
                    <a:pt x="164" y="129"/>
                    <a:pt x="170" y="129"/>
                  </a:cubicBezTo>
                  <a:cubicBezTo>
                    <a:pt x="176" y="129"/>
                    <a:pt x="179" y="130"/>
                    <a:pt x="183" y="132"/>
                  </a:cubicBezTo>
                  <a:cubicBezTo>
                    <a:pt x="188" y="134"/>
                    <a:pt x="194" y="136"/>
                    <a:pt x="204" y="136"/>
                  </a:cubicBezTo>
                  <a:cubicBezTo>
                    <a:pt x="206" y="136"/>
                    <a:pt x="208" y="136"/>
                    <a:pt x="210" y="136"/>
                  </a:cubicBezTo>
                  <a:cubicBezTo>
                    <a:pt x="206" y="141"/>
                    <a:pt x="201" y="145"/>
                    <a:pt x="196" y="147"/>
                  </a:cubicBezTo>
                  <a:cubicBezTo>
                    <a:pt x="198" y="153"/>
                    <a:pt x="200" y="160"/>
                    <a:pt x="200" y="166"/>
                  </a:cubicBezTo>
                  <a:close/>
                  <a:moveTo>
                    <a:pt x="225" y="303"/>
                  </a:moveTo>
                  <a:cubicBezTo>
                    <a:pt x="225" y="318"/>
                    <a:pt x="215" y="328"/>
                    <a:pt x="204" y="328"/>
                  </a:cubicBezTo>
                  <a:cubicBezTo>
                    <a:pt x="190" y="328"/>
                    <a:pt x="187" y="321"/>
                    <a:pt x="170" y="321"/>
                  </a:cubicBezTo>
                  <a:cubicBezTo>
                    <a:pt x="152" y="321"/>
                    <a:pt x="144" y="333"/>
                    <a:pt x="131" y="333"/>
                  </a:cubicBezTo>
                  <a:cubicBezTo>
                    <a:pt x="118" y="333"/>
                    <a:pt x="108" y="323"/>
                    <a:pt x="108" y="310"/>
                  </a:cubicBezTo>
                  <a:cubicBezTo>
                    <a:pt x="108" y="297"/>
                    <a:pt x="118" y="287"/>
                    <a:pt x="131" y="287"/>
                  </a:cubicBezTo>
                  <a:cubicBezTo>
                    <a:pt x="136" y="287"/>
                    <a:pt x="142" y="288"/>
                    <a:pt x="147" y="288"/>
                  </a:cubicBezTo>
                  <a:cubicBezTo>
                    <a:pt x="153" y="288"/>
                    <a:pt x="159" y="287"/>
                    <a:pt x="166" y="283"/>
                  </a:cubicBezTo>
                  <a:lnTo>
                    <a:pt x="158" y="268"/>
                  </a:lnTo>
                  <a:cubicBezTo>
                    <a:pt x="154" y="271"/>
                    <a:pt x="151" y="271"/>
                    <a:pt x="147" y="271"/>
                  </a:cubicBezTo>
                  <a:cubicBezTo>
                    <a:pt x="144" y="271"/>
                    <a:pt x="142" y="271"/>
                    <a:pt x="140" y="271"/>
                  </a:cubicBezTo>
                  <a:cubicBezTo>
                    <a:pt x="137" y="271"/>
                    <a:pt x="134" y="271"/>
                    <a:pt x="131" y="271"/>
                  </a:cubicBezTo>
                  <a:cubicBezTo>
                    <a:pt x="109" y="271"/>
                    <a:pt x="91" y="288"/>
                    <a:pt x="91" y="310"/>
                  </a:cubicBezTo>
                  <a:cubicBezTo>
                    <a:pt x="91" y="311"/>
                    <a:pt x="91" y="311"/>
                    <a:pt x="91" y="312"/>
                  </a:cubicBezTo>
                  <a:cubicBezTo>
                    <a:pt x="81" y="306"/>
                    <a:pt x="75" y="295"/>
                    <a:pt x="75" y="283"/>
                  </a:cubicBezTo>
                  <a:cubicBezTo>
                    <a:pt x="75" y="255"/>
                    <a:pt x="108" y="233"/>
                    <a:pt x="150" y="233"/>
                  </a:cubicBezTo>
                  <a:cubicBezTo>
                    <a:pt x="191" y="233"/>
                    <a:pt x="225" y="263"/>
                    <a:pt x="225" y="303"/>
                  </a:cubicBezTo>
                  <a:moveTo>
                    <a:pt x="196" y="356"/>
                  </a:moveTo>
                  <a:cubicBezTo>
                    <a:pt x="198" y="362"/>
                    <a:pt x="200" y="368"/>
                    <a:pt x="200" y="375"/>
                  </a:cubicBezTo>
                  <a:lnTo>
                    <a:pt x="183" y="375"/>
                  </a:lnTo>
                  <a:cubicBezTo>
                    <a:pt x="183" y="370"/>
                    <a:pt x="182" y="362"/>
                    <a:pt x="176" y="357"/>
                  </a:cubicBezTo>
                  <a:cubicBezTo>
                    <a:pt x="167" y="355"/>
                    <a:pt x="160" y="350"/>
                    <a:pt x="155" y="342"/>
                  </a:cubicBezTo>
                  <a:cubicBezTo>
                    <a:pt x="160" y="340"/>
                    <a:pt x="164" y="338"/>
                    <a:pt x="170" y="338"/>
                  </a:cubicBezTo>
                  <a:cubicBezTo>
                    <a:pt x="176" y="338"/>
                    <a:pt x="179" y="339"/>
                    <a:pt x="183" y="340"/>
                  </a:cubicBezTo>
                  <a:cubicBezTo>
                    <a:pt x="188" y="342"/>
                    <a:pt x="194" y="345"/>
                    <a:pt x="204" y="345"/>
                  </a:cubicBezTo>
                  <a:cubicBezTo>
                    <a:pt x="206" y="345"/>
                    <a:pt x="208" y="344"/>
                    <a:pt x="210" y="344"/>
                  </a:cubicBezTo>
                  <a:cubicBezTo>
                    <a:pt x="206" y="349"/>
                    <a:pt x="201" y="353"/>
                    <a:pt x="196" y="356"/>
                  </a:cubicBezTo>
                  <a:close/>
                  <a:moveTo>
                    <a:pt x="283" y="0"/>
                  </a:moveTo>
                  <a:lnTo>
                    <a:pt x="16" y="0"/>
                  </a:lnTo>
                  <a:cubicBezTo>
                    <a:pt x="7" y="0"/>
                    <a:pt x="0" y="7"/>
                    <a:pt x="0" y="16"/>
                  </a:cubicBezTo>
                  <a:lnTo>
                    <a:pt x="0" y="383"/>
                  </a:lnTo>
                  <a:cubicBezTo>
                    <a:pt x="0" y="392"/>
                    <a:pt x="7" y="400"/>
                    <a:pt x="16" y="400"/>
                  </a:cubicBezTo>
                  <a:lnTo>
                    <a:pt x="283" y="400"/>
                  </a:lnTo>
                  <a:cubicBezTo>
                    <a:pt x="292" y="400"/>
                    <a:pt x="300" y="392"/>
                    <a:pt x="300" y="383"/>
                  </a:cubicBezTo>
                  <a:lnTo>
                    <a:pt x="300" y="16"/>
                  </a:lnTo>
                  <a:cubicBezTo>
                    <a:pt x="300" y="7"/>
                    <a:pt x="292" y="0"/>
                    <a:pt x="283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5" name="Rectangle 115">
              <a:extLst>
                <a:ext uri="{FF2B5EF4-FFF2-40B4-BE49-F238E27FC236}">
                  <a16:creationId xmlns:a16="http://schemas.microsoft.com/office/drawing/2014/main" id="{4F530BB5-A2D1-9122-5325-869D093F03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67" y="2580"/>
              <a:ext cx="231" cy="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487" name="Gerader Verbinder 486">
            <a:extLst>
              <a:ext uri="{FF2B5EF4-FFF2-40B4-BE49-F238E27FC236}">
                <a16:creationId xmlns:a16="http://schemas.microsoft.com/office/drawing/2014/main" id="{BDC0C1AB-3271-732D-A80E-8F09DD6DA0AF}"/>
              </a:ext>
            </a:extLst>
          </p:cNvPr>
          <p:cNvCxnSpPr>
            <a:cxnSpLocks/>
          </p:cNvCxnSpPr>
          <p:nvPr/>
        </p:nvCxnSpPr>
        <p:spPr>
          <a:xfrm>
            <a:off x="7299960" y="2935033"/>
            <a:ext cx="1694814" cy="0"/>
          </a:xfrm>
          <a:prstGeom prst="line">
            <a:avLst/>
          </a:prstGeom>
          <a:ln w="31750" cap="rnd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1" name="Gruppieren 490">
            <a:extLst>
              <a:ext uri="{FF2B5EF4-FFF2-40B4-BE49-F238E27FC236}">
                <a16:creationId xmlns:a16="http://schemas.microsoft.com/office/drawing/2014/main" id="{8ED11F00-87A6-EA90-A663-670A0148FCA8}"/>
              </a:ext>
            </a:extLst>
          </p:cNvPr>
          <p:cNvGrpSpPr/>
          <p:nvPr/>
        </p:nvGrpSpPr>
        <p:grpSpPr>
          <a:xfrm>
            <a:off x="4587237" y="3728106"/>
            <a:ext cx="5740861" cy="1552012"/>
            <a:chOff x="4587237" y="3728106"/>
            <a:chExt cx="5740861" cy="1552012"/>
          </a:xfrm>
        </p:grpSpPr>
        <p:sp>
          <p:nvSpPr>
            <p:cNvPr id="489" name="Freihandform: Form 488">
              <a:extLst>
                <a:ext uri="{FF2B5EF4-FFF2-40B4-BE49-F238E27FC236}">
                  <a16:creationId xmlns:a16="http://schemas.microsoft.com/office/drawing/2014/main" id="{6394BD0E-5875-859A-BAA2-728E49E18C64}"/>
                </a:ext>
              </a:extLst>
            </p:cNvPr>
            <p:cNvSpPr/>
            <p:nvPr/>
          </p:nvSpPr>
          <p:spPr>
            <a:xfrm>
              <a:off x="8054339" y="3728106"/>
              <a:ext cx="2273759" cy="729594"/>
            </a:xfrm>
            <a:custGeom>
              <a:avLst/>
              <a:gdLst>
                <a:gd name="connsiteX0" fmla="*/ 510540 w 510540"/>
                <a:gd name="connsiteY0" fmla="*/ 0 h 396240"/>
                <a:gd name="connsiteX1" fmla="*/ 510540 w 510540"/>
                <a:gd name="connsiteY1" fmla="*/ 396240 h 396240"/>
                <a:gd name="connsiteX2" fmla="*/ 0 w 510540"/>
                <a:gd name="connsiteY2" fmla="*/ 396240 h 396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0540" h="396240">
                  <a:moveTo>
                    <a:pt x="510540" y="0"/>
                  </a:moveTo>
                  <a:lnTo>
                    <a:pt x="510540" y="396240"/>
                  </a:lnTo>
                  <a:lnTo>
                    <a:pt x="0" y="396240"/>
                  </a:lnTo>
                </a:path>
              </a:pathLst>
            </a:custGeom>
            <a:ln w="31750" cap="flat">
              <a:solidFill>
                <a:schemeClr val="bg2"/>
              </a:solidFill>
              <a:prstDash val="solid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0" name="Freihandform: Form 489">
              <a:extLst>
                <a:ext uri="{FF2B5EF4-FFF2-40B4-BE49-F238E27FC236}">
                  <a16:creationId xmlns:a16="http://schemas.microsoft.com/office/drawing/2014/main" id="{B97691B6-54AC-4711-00AE-7CD901876A97}"/>
                </a:ext>
              </a:extLst>
            </p:cNvPr>
            <p:cNvSpPr/>
            <p:nvPr/>
          </p:nvSpPr>
          <p:spPr>
            <a:xfrm rot="10800000">
              <a:off x="4587237" y="4459625"/>
              <a:ext cx="4233929" cy="820493"/>
            </a:xfrm>
            <a:custGeom>
              <a:avLst/>
              <a:gdLst>
                <a:gd name="connsiteX0" fmla="*/ 510540 w 510540"/>
                <a:gd name="connsiteY0" fmla="*/ 0 h 396240"/>
                <a:gd name="connsiteX1" fmla="*/ 510540 w 510540"/>
                <a:gd name="connsiteY1" fmla="*/ 396240 h 396240"/>
                <a:gd name="connsiteX2" fmla="*/ 0 w 510540"/>
                <a:gd name="connsiteY2" fmla="*/ 396240 h 396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0540" h="396240">
                  <a:moveTo>
                    <a:pt x="510540" y="0"/>
                  </a:moveTo>
                  <a:lnTo>
                    <a:pt x="510540" y="396240"/>
                  </a:lnTo>
                  <a:lnTo>
                    <a:pt x="0" y="396240"/>
                  </a:lnTo>
                </a:path>
              </a:pathLst>
            </a:custGeom>
            <a:ln w="31750" cap="flat">
              <a:solidFill>
                <a:schemeClr val="bg2"/>
              </a:solidFill>
              <a:prstDash val="solid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TextBox 26">
            <a:extLst>
              <a:ext uri="{FF2B5EF4-FFF2-40B4-BE49-F238E27FC236}">
                <a16:creationId xmlns:a16="http://schemas.microsoft.com/office/drawing/2014/main" id="{093EC599-039E-3974-7FA1-8AED1039F6CD}"/>
              </a:ext>
            </a:extLst>
          </p:cNvPr>
          <p:cNvSpPr txBox="1">
            <a:spLocks/>
          </p:cNvSpPr>
          <p:nvPr/>
        </p:nvSpPr>
        <p:spPr>
          <a:xfrm>
            <a:off x="4110300" y="2698030"/>
            <a:ext cx="1151328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AT" sz="1000"/>
              <a:t>FHIR Repository</a:t>
            </a:r>
          </a:p>
        </p:txBody>
      </p:sp>
      <p:sp>
        <p:nvSpPr>
          <p:cNvPr id="5" name="TextBox 26">
            <a:extLst>
              <a:ext uri="{FF2B5EF4-FFF2-40B4-BE49-F238E27FC236}">
                <a16:creationId xmlns:a16="http://schemas.microsoft.com/office/drawing/2014/main" id="{EC0A4056-0906-2B97-8D2A-B6DFAD96C54E}"/>
              </a:ext>
            </a:extLst>
          </p:cNvPr>
          <p:cNvSpPr txBox="1">
            <a:spLocks/>
          </p:cNvSpPr>
          <p:nvPr/>
        </p:nvSpPr>
        <p:spPr>
          <a:xfrm>
            <a:off x="5541432" y="2698030"/>
            <a:ext cx="1151328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AT" sz="1000"/>
              <a:t>XDS Repository</a:t>
            </a:r>
          </a:p>
        </p:txBody>
      </p:sp>
      <p:sp>
        <p:nvSpPr>
          <p:cNvPr id="7" name="TextBox 26">
            <a:extLst>
              <a:ext uri="{FF2B5EF4-FFF2-40B4-BE49-F238E27FC236}">
                <a16:creationId xmlns:a16="http://schemas.microsoft.com/office/drawing/2014/main" id="{AC59BE75-4E97-6B0D-1BAC-F43C177B1C51}"/>
              </a:ext>
            </a:extLst>
          </p:cNvPr>
          <p:cNvSpPr txBox="1">
            <a:spLocks/>
          </p:cNvSpPr>
          <p:nvPr/>
        </p:nvSpPr>
        <p:spPr>
          <a:xfrm>
            <a:off x="5914813" y="3360018"/>
            <a:ext cx="404566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AT" sz="1000"/>
              <a:t>Video</a:t>
            </a:r>
          </a:p>
        </p:txBody>
      </p:sp>
      <p:sp>
        <p:nvSpPr>
          <p:cNvPr id="8" name="TextBox 26">
            <a:extLst>
              <a:ext uri="{FF2B5EF4-FFF2-40B4-BE49-F238E27FC236}">
                <a16:creationId xmlns:a16="http://schemas.microsoft.com/office/drawing/2014/main" id="{CA302E28-CAD3-CE04-FC5B-7B8051960667}"/>
              </a:ext>
            </a:extLst>
          </p:cNvPr>
          <p:cNvSpPr txBox="1">
            <a:spLocks/>
          </p:cNvSpPr>
          <p:nvPr/>
        </p:nvSpPr>
        <p:spPr>
          <a:xfrm>
            <a:off x="5004240" y="3360018"/>
            <a:ext cx="794580" cy="3077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AT" sz="1000"/>
              <a:t>Patientinnen </a:t>
            </a:r>
            <a:br>
              <a:rPr lang="de-AT" sz="1000"/>
            </a:br>
            <a:r>
              <a:rPr lang="de-AT" sz="1000"/>
              <a:t>&amp; Patienten</a:t>
            </a:r>
          </a:p>
        </p:txBody>
      </p:sp>
      <p:sp>
        <p:nvSpPr>
          <p:cNvPr id="10" name="TextBox 26">
            <a:extLst>
              <a:ext uri="{FF2B5EF4-FFF2-40B4-BE49-F238E27FC236}">
                <a16:creationId xmlns:a16="http://schemas.microsoft.com/office/drawing/2014/main" id="{69957680-0AE7-A8FB-D59E-4F4B932E4E47}"/>
              </a:ext>
            </a:extLst>
          </p:cNvPr>
          <p:cNvSpPr txBox="1">
            <a:spLocks/>
          </p:cNvSpPr>
          <p:nvPr/>
        </p:nvSpPr>
        <p:spPr>
          <a:xfrm>
            <a:off x="4422722" y="3360018"/>
            <a:ext cx="526486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AT" sz="1000"/>
              <a:t>Medizin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2DF0A103-3E07-B058-23D7-10B014EAB89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8739" y="1828801"/>
            <a:ext cx="492639" cy="541563"/>
          </a:xfrm>
          <a:custGeom>
            <a:avLst/>
            <a:gdLst>
              <a:gd name="connsiteX0" fmla="*/ 247650 w 492639"/>
              <a:gd name="connsiteY0" fmla="*/ 0 h 541563"/>
              <a:gd name="connsiteX1" fmla="*/ 492639 w 492639"/>
              <a:gd name="connsiteY1" fmla="*/ 106317 h 541563"/>
              <a:gd name="connsiteX2" fmla="*/ 475043 w 492639"/>
              <a:gd name="connsiteY2" fmla="*/ 372055 h 541563"/>
              <a:gd name="connsiteX3" fmla="*/ 246256 w 492639"/>
              <a:gd name="connsiteY3" fmla="*/ 541563 h 541563"/>
              <a:gd name="connsiteX4" fmla="*/ 18434 w 492639"/>
              <a:gd name="connsiteY4" fmla="*/ 372375 h 541563"/>
              <a:gd name="connsiteX5" fmla="*/ 0 w 492639"/>
              <a:gd name="connsiteY5" fmla="*/ 114300 h 541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2639" h="541563">
                <a:moveTo>
                  <a:pt x="247650" y="0"/>
                </a:moveTo>
                <a:lnTo>
                  <a:pt x="492639" y="106317"/>
                </a:lnTo>
                <a:lnTo>
                  <a:pt x="475043" y="372055"/>
                </a:lnTo>
                <a:lnTo>
                  <a:pt x="246256" y="541563"/>
                </a:lnTo>
                <a:lnTo>
                  <a:pt x="18434" y="372375"/>
                </a:lnTo>
                <a:lnTo>
                  <a:pt x="0" y="114300"/>
                </a:lnTo>
                <a:close/>
              </a:path>
            </a:pathLst>
          </a:custGeom>
        </p:spPr>
      </p:pic>
      <p:grpSp>
        <p:nvGrpSpPr>
          <p:cNvPr id="470" name="Gruppieren 469">
            <a:extLst>
              <a:ext uri="{FF2B5EF4-FFF2-40B4-BE49-F238E27FC236}">
                <a16:creationId xmlns:a16="http://schemas.microsoft.com/office/drawing/2014/main" id="{E61F1564-C936-F0B3-A09A-CBC380B7165B}"/>
              </a:ext>
            </a:extLst>
          </p:cNvPr>
          <p:cNvGrpSpPr>
            <a:grpSpLocks/>
          </p:cNvGrpSpPr>
          <p:nvPr/>
        </p:nvGrpSpPr>
        <p:grpSpPr>
          <a:xfrm>
            <a:off x="4541049" y="3088482"/>
            <a:ext cx="289830" cy="217636"/>
            <a:chOff x="4311336" y="2097052"/>
            <a:chExt cx="433388" cy="325437"/>
          </a:xfrm>
          <a:solidFill>
            <a:schemeClr val="tx2"/>
          </a:solidFill>
        </p:grpSpPr>
        <p:sp>
          <p:nvSpPr>
            <p:cNvPr id="28" name="Freeform 131">
              <a:extLst>
                <a:ext uri="{FF2B5EF4-FFF2-40B4-BE49-F238E27FC236}">
                  <a16:creationId xmlns:a16="http://schemas.microsoft.com/office/drawing/2014/main" id="{5D306E27-F9C5-30C9-BD43-28695BD5B0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11336" y="2097052"/>
              <a:ext cx="433388" cy="325437"/>
            </a:xfrm>
            <a:custGeom>
              <a:avLst/>
              <a:gdLst>
                <a:gd name="T0" fmla="*/ 384 w 467"/>
                <a:gd name="T1" fmla="*/ 33 h 350"/>
                <a:gd name="T2" fmla="*/ 84 w 467"/>
                <a:gd name="T3" fmla="*/ 33 h 350"/>
                <a:gd name="T4" fmla="*/ 84 w 467"/>
                <a:gd name="T5" fmla="*/ 217 h 350"/>
                <a:gd name="T6" fmla="*/ 384 w 467"/>
                <a:gd name="T7" fmla="*/ 217 h 350"/>
                <a:gd name="T8" fmla="*/ 384 w 467"/>
                <a:gd name="T9" fmla="*/ 33 h 350"/>
                <a:gd name="T10" fmla="*/ 467 w 467"/>
                <a:gd name="T11" fmla="*/ 317 h 350"/>
                <a:gd name="T12" fmla="*/ 467 w 467"/>
                <a:gd name="T13" fmla="*/ 283 h 350"/>
                <a:gd name="T14" fmla="*/ 0 w 467"/>
                <a:gd name="T15" fmla="*/ 283 h 350"/>
                <a:gd name="T16" fmla="*/ 0 w 467"/>
                <a:gd name="T17" fmla="*/ 317 h 350"/>
                <a:gd name="T18" fmla="*/ 34 w 467"/>
                <a:gd name="T19" fmla="*/ 350 h 350"/>
                <a:gd name="T20" fmla="*/ 434 w 467"/>
                <a:gd name="T21" fmla="*/ 350 h 350"/>
                <a:gd name="T22" fmla="*/ 467 w 467"/>
                <a:gd name="T23" fmla="*/ 317 h 350"/>
                <a:gd name="T24" fmla="*/ 417 w 467"/>
                <a:gd name="T25" fmla="*/ 250 h 350"/>
                <a:gd name="T26" fmla="*/ 50 w 467"/>
                <a:gd name="T27" fmla="*/ 250 h 350"/>
                <a:gd name="T28" fmla="*/ 50 w 467"/>
                <a:gd name="T29" fmla="*/ 33 h 350"/>
                <a:gd name="T30" fmla="*/ 84 w 467"/>
                <a:gd name="T31" fmla="*/ 0 h 350"/>
                <a:gd name="T32" fmla="*/ 384 w 467"/>
                <a:gd name="T33" fmla="*/ 0 h 350"/>
                <a:gd name="T34" fmla="*/ 417 w 467"/>
                <a:gd name="T35" fmla="*/ 33 h 350"/>
                <a:gd name="T36" fmla="*/ 417 w 467"/>
                <a:gd name="T37" fmla="*/ 25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7" h="350">
                  <a:moveTo>
                    <a:pt x="384" y="33"/>
                  </a:moveTo>
                  <a:lnTo>
                    <a:pt x="84" y="33"/>
                  </a:lnTo>
                  <a:lnTo>
                    <a:pt x="84" y="217"/>
                  </a:lnTo>
                  <a:lnTo>
                    <a:pt x="384" y="217"/>
                  </a:lnTo>
                  <a:lnTo>
                    <a:pt x="384" y="33"/>
                  </a:lnTo>
                  <a:close/>
                  <a:moveTo>
                    <a:pt x="467" y="317"/>
                  </a:moveTo>
                  <a:lnTo>
                    <a:pt x="467" y="283"/>
                  </a:lnTo>
                  <a:lnTo>
                    <a:pt x="0" y="283"/>
                  </a:lnTo>
                  <a:lnTo>
                    <a:pt x="0" y="317"/>
                  </a:lnTo>
                  <a:cubicBezTo>
                    <a:pt x="0" y="335"/>
                    <a:pt x="15" y="350"/>
                    <a:pt x="34" y="350"/>
                  </a:cubicBezTo>
                  <a:lnTo>
                    <a:pt x="434" y="350"/>
                  </a:lnTo>
                  <a:cubicBezTo>
                    <a:pt x="452" y="350"/>
                    <a:pt x="467" y="335"/>
                    <a:pt x="467" y="317"/>
                  </a:cubicBezTo>
                  <a:close/>
                  <a:moveTo>
                    <a:pt x="417" y="250"/>
                  </a:moveTo>
                  <a:lnTo>
                    <a:pt x="50" y="250"/>
                  </a:lnTo>
                  <a:lnTo>
                    <a:pt x="50" y="33"/>
                  </a:lnTo>
                  <a:cubicBezTo>
                    <a:pt x="50" y="15"/>
                    <a:pt x="65" y="0"/>
                    <a:pt x="84" y="0"/>
                  </a:cubicBezTo>
                  <a:lnTo>
                    <a:pt x="384" y="0"/>
                  </a:lnTo>
                  <a:cubicBezTo>
                    <a:pt x="402" y="0"/>
                    <a:pt x="417" y="15"/>
                    <a:pt x="417" y="33"/>
                  </a:cubicBezTo>
                  <a:lnTo>
                    <a:pt x="417" y="2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9" name="Freeform 33">
              <a:extLst>
                <a:ext uri="{FF2B5EF4-FFF2-40B4-BE49-F238E27FC236}">
                  <a16:creationId xmlns:a16="http://schemas.microsoft.com/office/drawing/2014/main" id="{C963FA80-3C2B-3AFF-C791-0900EE8EAC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5935" y="2152641"/>
              <a:ext cx="144190" cy="110361"/>
            </a:xfrm>
            <a:custGeom>
              <a:avLst/>
              <a:gdLst>
                <a:gd name="T0" fmla="*/ 3 w 106"/>
                <a:gd name="T1" fmla="*/ 35 h 81"/>
                <a:gd name="T2" fmla="*/ 14 w 106"/>
                <a:gd name="T3" fmla="*/ 35 h 81"/>
                <a:gd name="T4" fmla="*/ 37 w 106"/>
                <a:gd name="T5" fmla="*/ 58 h 81"/>
                <a:gd name="T6" fmla="*/ 92 w 106"/>
                <a:gd name="T7" fmla="*/ 3 h 81"/>
                <a:gd name="T8" fmla="*/ 103 w 106"/>
                <a:gd name="T9" fmla="*/ 3 h 81"/>
                <a:gd name="T10" fmla="*/ 103 w 106"/>
                <a:gd name="T11" fmla="*/ 15 h 81"/>
                <a:gd name="T12" fmla="*/ 37 w 106"/>
                <a:gd name="T13" fmla="*/ 81 h 81"/>
                <a:gd name="T14" fmla="*/ 3 w 106"/>
                <a:gd name="T15" fmla="*/ 47 h 81"/>
                <a:gd name="T16" fmla="*/ 3 w 106"/>
                <a:gd name="T17" fmla="*/ 3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6" h="81">
                  <a:moveTo>
                    <a:pt x="3" y="35"/>
                  </a:moveTo>
                  <a:cubicBezTo>
                    <a:pt x="6" y="32"/>
                    <a:pt x="11" y="32"/>
                    <a:pt x="14" y="35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5" y="0"/>
                    <a:pt x="100" y="0"/>
                    <a:pt x="103" y="3"/>
                  </a:cubicBezTo>
                  <a:cubicBezTo>
                    <a:pt x="106" y="6"/>
                    <a:pt x="106" y="12"/>
                    <a:pt x="103" y="15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0" y="44"/>
                    <a:pt x="0" y="38"/>
                    <a:pt x="3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5E913E0A-FAA2-6461-B6CF-BE30C0E4E658}"/>
              </a:ext>
            </a:extLst>
          </p:cNvPr>
          <p:cNvGrpSpPr>
            <a:grpSpLocks/>
          </p:cNvGrpSpPr>
          <p:nvPr/>
        </p:nvGrpSpPr>
        <p:grpSpPr>
          <a:xfrm>
            <a:off x="4547196" y="2371274"/>
            <a:ext cx="277536" cy="266772"/>
            <a:chOff x="4594010" y="2281236"/>
            <a:chExt cx="326145" cy="313497"/>
          </a:xfrm>
          <a:solidFill>
            <a:schemeClr val="tx2"/>
          </a:solidFill>
        </p:grpSpPr>
        <p:sp>
          <p:nvSpPr>
            <p:cNvPr id="458" name="Freeform 29">
              <a:extLst>
                <a:ext uri="{FF2B5EF4-FFF2-40B4-BE49-F238E27FC236}">
                  <a16:creationId xmlns:a16="http://schemas.microsoft.com/office/drawing/2014/main" id="{85D73DF3-718F-486F-B60C-AE8AB5161A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94010" y="2364581"/>
              <a:ext cx="215433" cy="230152"/>
            </a:xfrm>
            <a:custGeom>
              <a:avLst/>
              <a:gdLst>
                <a:gd name="T0" fmla="*/ 183 w 333"/>
                <a:gd name="T1" fmla="*/ 334 h 367"/>
                <a:gd name="T2" fmla="*/ 333 w 333"/>
                <a:gd name="T3" fmla="*/ 334 h 367"/>
                <a:gd name="T4" fmla="*/ 333 w 333"/>
                <a:gd name="T5" fmla="*/ 367 h 367"/>
                <a:gd name="T6" fmla="*/ 0 w 333"/>
                <a:gd name="T7" fmla="*/ 367 h 367"/>
                <a:gd name="T8" fmla="*/ 0 w 333"/>
                <a:gd name="T9" fmla="*/ 334 h 367"/>
                <a:gd name="T10" fmla="*/ 150 w 333"/>
                <a:gd name="T11" fmla="*/ 334 h 367"/>
                <a:gd name="T12" fmla="*/ 150 w 333"/>
                <a:gd name="T13" fmla="*/ 300 h 367"/>
                <a:gd name="T14" fmla="*/ 183 w 333"/>
                <a:gd name="T15" fmla="*/ 300 h 367"/>
                <a:gd name="T16" fmla="*/ 183 w 333"/>
                <a:gd name="T17" fmla="*/ 334 h 367"/>
                <a:gd name="T18" fmla="*/ 17 w 333"/>
                <a:gd name="T19" fmla="*/ 217 h 367"/>
                <a:gd name="T20" fmla="*/ 67 w 333"/>
                <a:gd name="T21" fmla="*/ 217 h 367"/>
                <a:gd name="T22" fmla="*/ 67 w 333"/>
                <a:gd name="T23" fmla="*/ 250 h 367"/>
                <a:gd name="T24" fmla="*/ 17 w 333"/>
                <a:gd name="T25" fmla="*/ 250 h 367"/>
                <a:gd name="T26" fmla="*/ 17 w 333"/>
                <a:gd name="T27" fmla="*/ 217 h 367"/>
                <a:gd name="T28" fmla="*/ 0 w 333"/>
                <a:gd name="T29" fmla="*/ 267 h 367"/>
                <a:gd name="T30" fmla="*/ 333 w 333"/>
                <a:gd name="T31" fmla="*/ 267 h 367"/>
                <a:gd name="T32" fmla="*/ 333 w 333"/>
                <a:gd name="T33" fmla="*/ 200 h 367"/>
                <a:gd name="T34" fmla="*/ 0 w 333"/>
                <a:gd name="T35" fmla="*/ 200 h 367"/>
                <a:gd name="T36" fmla="*/ 0 w 333"/>
                <a:gd name="T37" fmla="*/ 267 h 367"/>
                <a:gd name="T38" fmla="*/ 17 w 333"/>
                <a:gd name="T39" fmla="*/ 117 h 367"/>
                <a:gd name="T40" fmla="*/ 67 w 333"/>
                <a:gd name="T41" fmla="*/ 117 h 367"/>
                <a:gd name="T42" fmla="*/ 67 w 333"/>
                <a:gd name="T43" fmla="*/ 150 h 367"/>
                <a:gd name="T44" fmla="*/ 17 w 333"/>
                <a:gd name="T45" fmla="*/ 150 h 367"/>
                <a:gd name="T46" fmla="*/ 17 w 333"/>
                <a:gd name="T47" fmla="*/ 117 h 367"/>
                <a:gd name="T48" fmla="*/ 0 w 333"/>
                <a:gd name="T49" fmla="*/ 167 h 367"/>
                <a:gd name="T50" fmla="*/ 333 w 333"/>
                <a:gd name="T51" fmla="*/ 167 h 367"/>
                <a:gd name="T52" fmla="*/ 333 w 333"/>
                <a:gd name="T53" fmla="*/ 100 h 367"/>
                <a:gd name="T54" fmla="*/ 0 w 333"/>
                <a:gd name="T55" fmla="*/ 100 h 367"/>
                <a:gd name="T56" fmla="*/ 0 w 333"/>
                <a:gd name="T57" fmla="*/ 167 h 367"/>
                <a:gd name="T58" fmla="*/ 67 w 333"/>
                <a:gd name="T59" fmla="*/ 50 h 367"/>
                <a:gd name="T60" fmla="*/ 17 w 333"/>
                <a:gd name="T61" fmla="*/ 50 h 367"/>
                <a:gd name="T62" fmla="*/ 17 w 333"/>
                <a:gd name="T63" fmla="*/ 17 h 367"/>
                <a:gd name="T64" fmla="*/ 67 w 333"/>
                <a:gd name="T65" fmla="*/ 17 h 367"/>
                <a:gd name="T66" fmla="*/ 67 w 333"/>
                <a:gd name="T67" fmla="*/ 50 h 367"/>
                <a:gd name="T68" fmla="*/ 0 w 333"/>
                <a:gd name="T69" fmla="*/ 67 h 367"/>
                <a:gd name="T70" fmla="*/ 333 w 333"/>
                <a:gd name="T71" fmla="*/ 67 h 367"/>
                <a:gd name="T72" fmla="*/ 333 w 333"/>
                <a:gd name="T73" fmla="*/ 0 h 367"/>
                <a:gd name="T74" fmla="*/ 0 w 333"/>
                <a:gd name="T75" fmla="*/ 0 h 367"/>
                <a:gd name="T76" fmla="*/ 0 w 333"/>
                <a:gd name="T77" fmla="*/ 67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33" h="367">
                  <a:moveTo>
                    <a:pt x="183" y="334"/>
                  </a:moveTo>
                  <a:lnTo>
                    <a:pt x="333" y="334"/>
                  </a:lnTo>
                  <a:lnTo>
                    <a:pt x="333" y="367"/>
                  </a:lnTo>
                  <a:lnTo>
                    <a:pt x="0" y="367"/>
                  </a:lnTo>
                  <a:lnTo>
                    <a:pt x="0" y="334"/>
                  </a:lnTo>
                  <a:lnTo>
                    <a:pt x="150" y="334"/>
                  </a:lnTo>
                  <a:lnTo>
                    <a:pt x="150" y="300"/>
                  </a:lnTo>
                  <a:lnTo>
                    <a:pt x="183" y="300"/>
                  </a:lnTo>
                  <a:lnTo>
                    <a:pt x="183" y="334"/>
                  </a:lnTo>
                  <a:close/>
                  <a:moveTo>
                    <a:pt x="17" y="217"/>
                  </a:moveTo>
                  <a:lnTo>
                    <a:pt x="67" y="217"/>
                  </a:lnTo>
                  <a:lnTo>
                    <a:pt x="67" y="250"/>
                  </a:lnTo>
                  <a:lnTo>
                    <a:pt x="17" y="250"/>
                  </a:lnTo>
                  <a:lnTo>
                    <a:pt x="17" y="217"/>
                  </a:lnTo>
                  <a:close/>
                  <a:moveTo>
                    <a:pt x="0" y="267"/>
                  </a:moveTo>
                  <a:lnTo>
                    <a:pt x="333" y="267"/>
                  </a:lnTo>
                  <a:lnTo>
                    <a:pt x="333" y="200"/>
                  </a:lnTo>
                  <a:lnTo>
                    <a:pt x="0" y="200"/>
                  </a:lnTo>
                  <a:lnTo>
                    <a:pt x="0" y="267"/>
                  </a:lnTo>
                  <a:close/>
                  <a:moveTo>
                    <a:pt x="17" y="117"/>
                  </a:moveTo>
                  <a:lnTo>
                    <a:pt x="67" y="117"/>
                  </a:lnTo>
                  <a:lnTo>
                    <a:pt x="67" y="150"/>
                  </a:lnTo>
                  <a:lnTo>
                    <a:pt x="17" y="150"/>
                  </a:lnTo>
                  <a:lnTo>
                    <a:pt x="17" y="117"/>
                  </a:lnTo>
                  <a:close/>
                  <a:moveTo>
                    <a:pt x="0" y="167"/>
                  </a:moveTo>
                  <a:lnTo>
                    <a:pt x="333" y="167"/>
                  </a:lnTo>
                  <a:lnTo>
                    <a:pt x="333" y="100"/>
                  </a:lnTo>
                  <a:lnTo>
                    <a:pt x="0" y="100"/>
                  </a:lnTo>
                  <a:lnTo>
                    <a:pt x="0" y="167"/>
                  </a:lnTo>
                  <a:close/>
                  <a:moveTo>
                    <a:pt x="67" y="50"/>
                  </a:moveTo>
                  <a:lnTo>
                    <a:pt x="17" y="50"/>
                  </a:lnTo>
                  <a:lnTo>
                    <a:pt x="17" y="17"/>
                  </a:lnTo>
                  <a:lnTo>
                    <a:pt x="67" y="17"/>
                  </a:lnTo>
                  <a:lnTo>
                    <a:pt x="67" y="50"/>
                  </a:lnTo>
                  <a:close/>
                  <a:moveTo>
                    <a:pt x="0" y="67"/>
                  </a:moveTo>
                  <a:lnTo>
                    <a:pt x="333" y="67"/>
                  </a:lnTo>
                  <a:lnTo>
                    <a:pt x="333" y="0"/>
                  </a:lnTo>
                  <a:lnTo>
                    <a:pt x="0" y="0"/>
                  </a:lnTo>
                  <a:lnTo>
                    <a:pt x="0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" name="Freeform 41">
              <a:extLst>
                <a:ext uri="{FF2B5EF4-FFF2-40B4-BE49-F238E27FC236}">
                  <a16:creationId xmlns:a16="http://schemas.microsoft.com/office/drawing/2014/main" id="{F630C70D-B4C2-A81F-F25E-B21976A69C63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4790683" y="2281236"/>
              <a:ext cx="129472" cy="150777"/>
            </a:xfrm>
            <a:custGeom>
              <a:avLst/>
              <a:gdLst>
                <a:gd name="T0" fmla="*/ 96 w 96"/>
                <a:gd name="T1" fmla="*/ 64 h 112"/>
                <a:gd name="T2" fmla="*/ 48 w 96"/>
                <a:gd name="T3" fmla="*/ 112 h 112"/>
                <a:gd name="T4" fmla="*/ 0 w 96"/>
                <a:gd name="T5" fmla="*/ 64 h 112"/>
                <a:gd name="T6" fmla="*/ 44 w 96"/>
                <a:gd name="T7" fmla="*/ 16 h 112"/>
                <a:gd name="T8" fmla="*/ 44 w 96"/>
                <a:gd name="T9" fmla="*/ 6 h 112"/>
                <a:gd name="T10" fmla="*/ 51 w 96"/>
                <a:gd name="T11" fmla="*/ 3 h 112"/>
                <a:gd name="T12" fmla="*/ 72 w 96"/>
                <a:gd name="T13" fmla="*/ 24 h 112"/>
                <a:gd name="T14" fmla="*/ 51 w 96"/>
                <a:gd name="T15" fmla="*/ 45 h 112"/>
                <a:gd name="T16" fmla="*/ 44 w 96"/>
                <a:gd name="T17" fmla="*/ 42 h 112"/>
                <a:gd name="T18" fmla="*/ 44 w 96"/>
                <a:gd name="T19" fmla="*/ 31 h 112"/>
                <a:gd name="T20" fmla="*/ 15 w 96"/>
                <a:gd name="T21" fmla="*/ 64 h 112"/>
                <a:gd name="T22" fmla="*/ 48 w 96"/>
                <a:gd name="T23" fmla="*/ 97 h 112"/>
                <a:gd name="T24" fmla="*/ 81 w 96"/>
                <a:gd name="T25" fmla="*/ 64 h 112"/>
                <a:gd name="T26" fmla="*/ 96 w 96"/>
                <a:gd name="T27" fmla="*/ 6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112">
                  <a:moveTo>
                    <a:pt x="96" y="64"/>
                  </a:moveTo>
                  <a:cubicBezTo>
                    <a:pt x="96" y="91"/>
                    <a:pt x="75" y="112"/>
                    <a:pt x="48" y="112"/>
                  </a:cubicBezTo>
                  <a:cubicBezTo>
                    <a:pt x="21" y="112"/>
                    <a:pt x="0" y="91"/>
                    <a:pt x="0" y="64"/>
                  </a:cubicBezTo>
                  <a:cubicBezTo>
                    <a:pt x="0" y="39"/>
                    <a:pt x="19" y="18"/>
                    <a:pt x="44" y="16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4" y="2"/>
                    <a:pt x="48" y="0"/>
                    <a:pt x="51" y="3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48" y="48"/>
                    <a:pt x="44" y="46"/>
                    <a:pt x="44" y="42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28" y="33"/>
                    <a:pt x="15" y="47"/>
                    <a:pt x="15" y="64"/>
                  </a:cubicBezTo>
                  <a:cubicBezTo>
                    <a:pt x="15" y="82"/>
                    <a:pt x="30" y="97"/>
                    <a:pt x="48" y="97"/>
                  </a:cubicBezTo>
                  <a:cubicBezTo>
                    <a:pt x="66" y="97"/>
                    <a:pt x="81" y="82"/>
                    <a:pt x="81" y="64"/>
                  </a:cubicBezTo>
                  <a:lnTo>
                    <a:pt x="96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9" name="Gruppieren 468">
            <a:extLst>
              <a:ext uri="{FF2B5EF4-FFF2-40B4-BE49-F238E27FC236}">
                <a16:creationId xmlns:a16="http://schemas.microsoft.com/office/drawing/2014/main" id="{328BC4CB-8FF5-7772-F981-B93412AD7779}"/>
              </a:ext>
            </a:extLst>
          </p:cNvPr>
          <p:cNvGrpSpPr/>
          <p:nvPr/>
        </p:nvGrpSpPr>
        <p:grpSpPr>
          <a:xfrm>
            <a:off x="3520477" y="2734214"/>
            <a:ext cx="401638" cy="401638"/>
            <a:chOff x="3520477" y="2734214"/>
            <a:chExt cx="401638" cy="401638"/>
          </a:xfrm>
        </p:grpSpPr>
        <p:sp>
          <p:nvSpPr>
            <p:cNvPr id="465" name="Ellipse 464">
              <a:extLst>
                <a:ext uri="{FF2B5EF4-FFF2-40B4-BE49-F238E27FC236}">
                  <a16:creationId xmlns:a16="http://schemas.microsoft.com/office/drawing/2014/main" id="{1AFF7434-3D8B-7C22-C2BA-81D05EAD5978}"/>
                </a:ext>
              </a:extLst>
            </p:cNvPr>
            <p:cNvSpPr>
              <a:spLocks/>
            </p:cNvSpPr>
            <p:nvPr/>
          </p:nvSpPr>
          <p:spPr>
            <a:xfrm>
              <a:off x="3606996" y="2820733"/>
              <a:ext cx="228600" cy="228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Freeform 61">
              <a:extLst>
                <a:ext uri="{FF2B5EF4-FFF2-40B4-BE49-F238E27FC236}">
                  <a16:creationId xmlns:a16="http://schemas.microsoft.com/office/drawing/2014/main" id="{0AEF295C-6572-8A42-55F8-C932004E2C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0477" y="2734214"/>
              <a:ext cx="401638" cy="401638"/>
            </a:xfrm>
            <a:custGeom>
              <a:avLst/>
              <a:gdLst>
                <a:gd name="T0" fmla="*/ 300 w 433"/>
                <a:gd name="T1" fmla="*/ 217 h 433"/>
                <a:gd name="T2" fmla="*/ 217 w 433"/>
                <a:gd name="T3" fmla="*/ 300 h 433"/>
                <a:gd name="T4" fmla="*/ 133 w 433"/>
                <a:gd name="T5" fmla="*/ 217 h 433"/>
                <a:gd name="T6" fmla="*/ 217 w 433"/>
                <a:gd name="T7" fmla="*/ 133 h 433"/>
                <a:gd name="T8" fmla="*/ 300 w 433"/>
                <a:gd name="T9" fmla="*/ 217 h 433"/>
                <a:gd name="T10" fmla="*/ 433 w 433"/>
                <a:gd name="T11" fmla="*/ 250 h 433"/>
                <a:gd name="T12" fmla="*/ 433 w 433"/>
                <a:gd name="T13" fmla="*/ 183 h 433"/>
                <a:gd name="T14" fmla="*/ 360 w 433"/>
                <a:gd name="T15" fmla="*/ 171 h 433"/>
                <a:gd name="T16" fmla="*/ 350 w 433"/>
                <a:gd name="T17" fmla="*/ 148 h 433"/>
                <a:gd name="T18" fmla="*/ 393 w 433"/>
                <a:gd name="T19" fmla="*/ 87 h 433"/>
                <a:gd name="T20" fmla="*/ 346 w 433"/>
                <a:gd name="T21" fmla="*/ 40 h 433"/>
                <a:gd name="T22" fmla="*/ 285 w 433"/>
                <a:gd name="T23" fmla="*/ 83 h 433"/>
                <a:gd name="T24" fmla="*/ 262 w 433"/>
                <a:gd name="T25" fmla="*/ 74 h 433"/>
                <a:gd name="T26" fmla="*/ 250 w 433"/>
                <a:gd name="T27" fmla="*/ 0 h 433"/>
                <a:gd name="T28" fmla="*/ 183 w 433"/>
                <a:gd name="T29" fmla="*/ 0 h 433"/>
                <a:gd name="T30" fmla="*/ 171 w 433"/>
                <a:gd name="T31" fmla="*/ 74 h 433"/>
                <a:gd name="T32" fmla="*/ 148 w 433"/>
                <a:gd name="T33" fmla="*/ 83 h 433"/>
                <a:gd name="T34" fmla="*/ 87 w 433"/>
                <a:gd name="T35" fmla="*/ 40 h 433"/>
                <a:gd name="T36" fmla="*/ 40 w 433"/>
                <a:gd name="T37" fmla="*/ 87 h 433"/>
                <a:gd name="T38" fmla="*/ 83 w 433"/>
                <a:gd name="T39" fmla="*/ 148 h 433"/>
                <a:gd name="T40" fmla="*/ 74 w 433"/>
                <a:gd name="T41" fmla="*/ 171 h 433"/>
                <a:gd name="T42" fmla="*/ 0 w 433"/>
                <a:gd name="T43" fmla="*/ 183 h 433"/>
                <a:gd name="T44" fmla="*/ 0 w 433"/>
                <a:gd name="T45" fmla="*/ 250 h 433"/>
                <a:gd name="T46" fmla="*/ 74 w 433"/>
                <a:gd name="T47" fmla="*/ 262 h 433"/>
                <a:gd name="T48" fmla="*/ 83 w 433"/>
                <a:gd name="T49" fmla="*/ 285 h 433"/>
                <a:gd name="T50" fmla="*/ 40 w 433"/>
                <a:gd name="T51" fmla="*/ 346 h 433"/>
                <a:gd name="T52" fmla="*/ 87 w 433"/>
                <a:gd name="T53" fmla="*/ 393 h 433"/>
                <a:gd name="T54" fmla="*/ 148 w 433"/>
                <a:gd name="T55" fmla="*/ 350 h 433"/>
                <a:gd name="T56" fmla="*/ 171 w 433"/>
                <a:gd name="T57" fmla="*/ 360 h 433"/>
                <a:gd name="T58" fmla="*/ 183 w 433"/>
                <a:gd name="T59" fmla="*/ 433 h 433"/>
                <a:gd name="T60" fmla="*/ 250 w 433"/>
                <a:gd name="T61" fmla="*/ 433 h 433"/>
                <a:gd name="T62" fmla="*/ 262 w 433"/>
                <a:gd name="T63" fmla="*/ 360 h 433"/>
                <a:gd name="T64" fmla="*/ 285 w 433"/>
                <a:gd name="T65" fmla="*/ 350 h 433"/>
                <a:gd name="T66" fmla="*/ 346 w 433"/>
                <a:gd name="T67" fmla="*/ 393 h 433"/>
                <a:gd name="T68" fmla="*/ 393 w 433"/>
                <a:gd name="T69" fmla="*/ 346 h 433"/>
                <a:gd name="T70" fmla="*/ 350 w 433"/>
                <a:gd name="T71" fmla="*/ 285 h 433"/>
                <a:gd name="T72" fmla="*/ 360 w 433"/>
                <a:gd name="T73" fmla="*/ 262 h 433"/>
                <a:gd name="T74" fmla="*/ 433 w 433"/>
                <a:gd name="T75" fmla="*/ 250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33" h="433">
                  <a:moveTo>
                    <a:pt x="300" y="217"/>
                  </a:moveTo>
                  <a:cubicBezTo>
                    <a:pt x="300" y="263"/>
                    <a:pt x="263" y="300"/>
                    <a:pt x="217" y="300"/>
                  </a:cubicBezTo>
                  <a:cubicBezTo>
                    <a:pt x="171" y="300"/>
                    <a:pt x="133" y="263"/>
                    <a:pt x="133" y="217"/>
                  </a:cubicBezTo>
                  <a:cubicBezTo>
                    <a:pt x="133" y="171"/>
                    <a:pt x="171" y="133"/>
                    <a:pt x="217" y="133"/>
                  </a:cubicBezTo>
                  <a:cubicBezTo>
                    <a:pt x="263" y="133"/>
                    <a:pt x="300" y="171"/>
                    <a:pt x="300" y="217"/>
                  </a:cubicBezTo>
                  <a:close/>
                  <a:moveTo>
                    <a:pt x="433" y="250"/>
                  </a:moveTo>
                  <a:lnTo>
                    <a:pt x="433" y="183"/>
                  </a:lnTo>
                  <a:lnTo>
                    <a:pt x="360" y="171"/>
                  </a:lnTo>
                  <a:cubicBezTo>
                    <a:pt x="357" y="163"/>
                    <a:pt x="354" y="155"/>
                    <a:pt x="350" y="148"/>
                  </a:cubicBezTo>
                  <a:lnTo>
                    <a:pt x="393" y="87"/>
                  </a:lnTo>
                  <a:lnTo>
                    <a:pt x="346" y="40"/>
                  </a:lnTo>
                  <a:lnTo>
                    <a:pt x="285" y="83"/>
                  </a:lnTo>
                  <a:cubicBezTo>
                    <a:pt x="278" y="80"/>
                    <a:pt x="270" y="76"/>
                    <a:pt x="262" y="74"/>
                  </a:cubicBezTo>
                  <a:lnTo>
                    <a:pt x="250" y="0"/>
                  </a:lnTo>
                  <a:lnTo>
                    <a:pt x="183" y="0"/>
                  </a:lnTo>
                  <a:lnTo>
                    <a:pt x="171" y="74"/>
                  </a:lnTo>
                  <a:cubicBezTo>
                    <a:pt x="163" y="76"/>
                    <a:pt x="155" y="80"/>
                    <a:pt x="148" y="83"/>
                  </a:cubicBezTo>
                  <a:lnTo>
                    <a:pt x="87" y="40"/>
                  </a:lnTo>
                  <a:lnTo>
                    <a:pt x="40" y="87"/>
                  </a:lnTo>
                  <a:lnTo>
                    <a:pt x="83" y="148"/>
                  </a:lnTo>
                  <a:cubicBezTo>
                    <a:pt x="80" y="155"/>
                    <a:pt x="76" y="163"/>
                    <a:pt x="74" y="171"/>
                  </a:cubicBezTo>
                  <a:lnTo>
                    <a:pt x="0" y="183"/>
                  </a:lnTo>
                  <a:lnTo>
                    <a:pt x="0" y="250"/>
                  </a:lnTo>
                  <a:lnTo>
                    <a:pt x="74" y="262"/>
                  </a:lnTo>
                  <a:cubicBezTo>
                    <a:pt x="76" y="270"/>
                    <a:pt x="80" y="278"/>
                    <a:pt x="83" y="285"/>
                  </a:cubicBezTo>
                  <a:lnTo>
                    <a:pt x="40" y="346"/>
                  </a:lnTo>
                  <a:lnTo>
                    <a:pt x="87" y="393"/>
                  </a:lnTo>
                  <a:lnTo>
                    <a:pt x="148" y="350"/>
                  </a:lnTo>
                  <a:cubicBezTo>
                    <a:pt x="155" y="354"/>
                    <a:pt x="163" y="357"/>
                    <a:pt x="171" y="360"/>
                  </a:cubicBezTo>
                  <a:lnTo>
                    <a:pt x="183" y="433"/>
                  </a:lnTo>
                  <a:lnTo>
                    <a:pt x="250" y="433"/>
                  </a:lnTo>
                  <a:lnTo>
                    <a:pt x="262" y="360"/>
                  </a:lnTo>
                  <a:cubicBezTo>
                    <a:pt x="270" y="357"/>
                    <a:pt x="278" y="354"/>
                    <a:pt x="285" y="350"/>
                  </a:cubicBezTo>
                  <a:lnTo>
                    <a:pt x="346" y="393"/>
                  </a:lnTo>
                  <a:lnTo>
                    <a:pt x="393" y="346"/>
                  </a:lnTo>
                  <a:lnTo>
                    <a:pt x="350" y="285"/>
                  </a:lnTo>
                  <a:cubicBezTo>
                    <a:pt x="354" y="278"/>
                    <a:pt x="357" y="270"/>
                    <a:pt x="360" y="262"/>
                  </a:cubicBezTo>
                  <a:lnTo>
                    <a:pt x="433" y="25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1" name="Gruppieren 470">
            <a:extLst>
              <a:ext uri="{FF2B5EF4-FFF2-40B4-BE49-F238E27FC236}">
                <a16:creationId xmlns:a16="http://schemas.microsoft.com/office/drawing/2014/main" id="{66995C3A-4C02-855C-5ACB-52FE4A6AA55E}"/>
              </a:ext>
            </a:extLst>
          </p:cNvPr>
          <p:cNvGrpSpPr>
            <a:grpSpLocks/>
          </p:cNvGrpSpPr>
          <p:nvPr/>
        </p:nvGrpSpPr>
        <p:grpSpPr>
          <a:xfrm>
            <a:off x="5256615" y="3088482"/>
            <a:ext cx="289830" cy="217636"/>
            <a:chOff x="4311336" y="2097052"/>
            <a:chExt cx="433388" cy="325437"/>
          </a:xfrm>
          <a:solidFill>
            <a:schemeClr val="tx2"/>
          </a:solidFill>
        </p:grpSpPr>
        <p:sp>
          <p:nvSpPr>
            <p:cNvPr id="472" name="Freeform 131">
              <a:extLst>
                <a:ext uri="{FF2B5EF4-FFF2-40B4-BE49-F238E27FC236}">
                  <a16:creationId xmlns:a16="http://schemas.microsoft.com/office/drawing/2014/main" id="{04581880-7EB2-D128-1BDA-D94B7695C7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11336" y="2097052"/>
              <a:ext cx="433388" cy="325437"/>
            </a:xfrm>
            <a:custGeom>
              <a:avLst/>
              <a:gdLst>
                <a:gd name="T0" fmla="*/ 384 w 467"/>
                <a:gd name="T1" fmla="*/ 33 h 350"/>
                <a:gd name="T2" fmla="*/ 84 w 467"/>
                <a:gd name="T3" fmla="*/ 33 h 350"/>
                <a:gd name="T4" fmla="*/ 84 w 467"/>
                <a:gd name="T5" fmla="*/ 217 h 350"/>
                <a:gd name="T6" fmla="*/ 384 w 467"/>
                <a:gd name="T7" fmla="*/ 217 h 350"/>
                <a:gd name="T8" fmla="*/ 384 w 467"/>
                <a:gd name="T9" fmla="*/ 33 h 350"/>
                <a:gd name="T10" fmla="*/ 467 w 467"/>
                <a:gd name="T11" fmla="*/ 317 h 350"/>
                <a:gd name="T12" fmla="*/ 467 w 467"/>
                <a:gd name="T13" fmla="*/ 283 h 350"/>
                <a:gd name="T14" fmla="*/ 0 w 467"/>
                <a:gd name="T15" fmla="*/ 283 h 350"/>
                <a:gd name="T16" fmla="*/ 0 w 467"/>
                <a:gd name="T17" fmla="*/ 317 h 350"/>
                <a:gd name="T18" fmla="*/ 34 w 467"/>
                <a:gd name="T19" fmla="*/ 350 h 350"/>
                <a:gd name="T20" fmla="*/ 434 w 467"/>
                <a:gd name="T21" fmla="*/ 350 h 350"/>
                <a:gd name="T22" fmla="*/ 467 w 467"/>
                <a:gd name="T23" fmla="*/ 317 h 350"/>
                <a:gd name="T24" fmla="*/ 417 w 467"/>
                <a:gd name="T25" fmla="*/ 250 h 350"/>
                <a:gd name="T26" fmla="*/ 50 w 467"/>
                <a:gd name="T27" fmla="*/ 250 h 350"/>
                <a:gd name="T28" fmla="*/ 50 w 467"/>
                <a:gd name="T29" fmla="*/ 33 h 350"/>
                <a:gd name="T30" fmla="*/ 84 w 467"/>
                <a:gd name="T31" fmla="*/ 0 h 350"/>
                <a:gd name="T32" fmla="*/ 384 w 467"/>
                <a:gd name="T33" fmla="*/ 0 h 350"/>
                <a:gd name="T34" fmla="*/ 417 w 467"/>
                <a:gd name="T35" fmla="*/ 33 h 350"/>
                <a:gd name="T36" fmla="*/ 417 w 467"/>
                <a:gd name="T37" fmla="*/ 25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7" h="350">
                  <a:moveTo>
                    <a:pt x="384" y="33"/>
                  </a:moveTo>
                  <a:lnTo>
                    <a:pt x="84" y="33"/>
                  </a:lnTo>
                  <a:lnTo>
                    <a:pt x="84" y="217"/>
                  </a:lnTo>
                  <a:lnTo>
                    <a:pt x="384" y="217"/>
                  </a:lnTo>
                  <a:lnTo>
                    <a:pt x="384" y="33"/>
                  </a:lnTo>
                  <a:close/>
                  <a:moveTo>
                    <a:pt x="467" y="317"/>
                  </a:moveTo>
                  <a:lnTo>
                    <a:pt x="467" y="283"/>
                  </a:lnTo>
                  <a:lnTo>
                    <a:pt x="0" y="283"/>
                  </a:lnTo>
                  <a:lnTo>
                    <a:pt x="0" y="317"/>
                  </a:lnTo>
                  <a:cubicBezTo>
                    <a:pt x="0" y="335"/>
                    <a:pt x="15" y="350"/>
                    <a:pt x="34" y="350"/>
                  </a:cubicBezTo>
                  <a:lnTo>
                    <a:pt x="434" y="350"/>
                  </a:lnTo>
                  <a:cubicBezTo>
                    <a:pt x="452" y="350"/>
                    <a:pt x="467" y="335"/>
                    <a:pt x="467" y="317"/>
                  </a:cubicBezTo>
                  <a:close/>
                  <a:moveTo>
                    <a:pt x="417" y="250"/>
                  </a:moveTo>
                  <a:lnTo>
                    <a:pt x="50" y="250"/>
                  </a:lnTo>
                  <a:lnTo>
                    <a:pt x="50" y="33"/>
                  </a:lnTo>
                  <a:cubicBezTo>
                    <a:pt x="50" y="15"/>
                    <a:pt x="65" y="0"/>
                    <a:pt x="84" y="0"/>
                  </a:cubicBezTo>
                  <a:lnTo>
                    <a:pt x="384" y="0"/>
                  </a:lnTo>
                  <a:cubicBezTo>
                    <a:pt x="402" y="0"/>
                    <a:pt x="417" y="15"/>
                    <a:pt x="417" y="33"/>
                  </a:cubicBezTo>
                  <a:lnTo>
                    <a:pt x="417" y="2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" name="Freeform 33">
              <a:extLst>
                <a:ext uri="{FF2B5EF4-FFF2-40B4-BE49-F238E27FC236}">
                  <a16:creationId xmlns:a16="http://schemas.microsoft.com/office/drawing/2014/main" id="{223F6F3C-348B-59B6-468A-1D440BEA74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5935" y="2152641"/>
              <a:ext cx="144190" cy="110361"/>
            </a:xfrm>
            <a:custGeom>
              <a:avLst/>
              <a:gdLst>
                <a:gd name="T0" fmla="*/ 3 w 106"/>
                <a:gd name="T1" fmla="*/ 35 h 81"/>
                <a:gd name="T2" fmla="*/ 14 w 106"/>
                <a:gd name="T3" fmla="*/ 35 h 81"/>
                <a:gd name="T4" fmla="*/ 37 w 106"/>
                <a:gd name="T5" fmla="*/ 58 h 81"/>
                <a:gd name="T6" fmla="*/ 92 w 106"/>
                <a:gd name="T7" fmla="*/ 3 h 81"/>
                <a:gd name="T8" fmla="*/ 103 w 106"/>
                <a:gd name="T9" fmla="*/ 3 h 81"/>
                <a:gd name="T10" fmla="*/ 103 w 106"/>
                <a:gd name="T11" fmla="*/ 15 h 81"/>
                <a:gd name="T12" fmla="*/ 37 w 106"/>
                <a:gd name="T13" fmla="*/ 81 h 81"/>
                <a:gd name="T14" fmla="*/ 3 w 106"/>
                <a:gd name="T15" fmla="*/ 47 h 81"/>
                <a:gd name="T16" fmla="*/ 3 w 106"/>
                <a:gd name="T17" fmla="*/ 3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6" h="81">
                  <a:moveTo>
                    <a:pt x="3" y="35"/>
                  </a:moveTo>
                  <a:cubicBezTo>
                    <a:pt x="6" y="32"/>
                    <a:pt x="11" y="32"/>
                    <a:pt x="14" y="35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5" y="0"/>
                    <a:pt x="100" y="0"/>
                    <a:pt x="103" y="3"/>
                  </a:cubicBezTo>
                  <a:cubicBezTo>
                    <a:pt x="106" y="6"/>
                    <a:pt x="106" y="12"/>
                    <a:pt x="103" y="15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0" y="44"/>
                    <a:pt x="0" y="38"/>
                    <a:pt x="3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F3EDB42F-2DF9-E830-2252-263B4232FEA9}"/>
              </a:ext>
            </a:extLst>
          </p:cNvPr>
          <p:cNvGrpSpPr>
            <a:grpSpLocks/>
          </p:cNvGrpSpPr>
          <p:nvPr/>
        </p:nvGrpSpPr>
        <p:grpSpPr>
          <a:xfrm>
            <a:off x="5972181" y="3088482"/>
            <a:ext cx="289830" cy="217636"/>
            <a:chOff x="5824543" y="3045619"/>
            <a:chExt cx="289830" cy="217636"/>
          </a:xfrm>
          <a:solidFill>
            <a:schemeClr val="tx2"/>
          </a:solidFill>
        </p:grpSpPr>
        <p:sp>
          <p:nvSpPr>
            <p:cNvPr id="452" name="Freeform 125">
              <a:extLst>
                <a:ext uri="{FF2B5EF4-FFF2-40B4-BE49-F238E27FC236}">
                  <a16:creationId xmlns:a16="http://schemas.microsoft.com/office/drawing/2014/main" id="{ED16626B-231F-7B29-E99F-79F2854A4F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9116" y="3087862"/>
              <a:ext cx="100684" cy="70040"/>
            </a:xfrm>
            <a:custGeom>
              <a:avLst/>
              <a:gdLst>
                <a:gd name="T0" fmla="*/ 110 w 112"/>
                <a:gd name="T1" fmla="*/ 12 h 78"/>
                <a:gd name="T2" fmla="*/ 100 w 112"/>
                <a:gd name="T3" fmla="*/ 2 h 78"/>
                <a:gd name="T4" fmla="*/ 56 w 112"/>
                <a:gd name="T5" fmla="*/ 0 h 78"/>
                <a:gd name="T6" fmla="*/ 12 w 112"/>
                <a:gd name="T7" fmla="*/ 2 h 78"/>
                <a:gd name="T8" fmla="*/ 2 w 112"/>
                <a:gd name="T9" fmla="*/ 12 h 78"/>
                <a:gd name="T10" fmla="*/ 0 w 112"/>
                <a:gd name="T11" fmla="*/ 39 h 78"/>
                <a:gd name="T12" fmla="*/ 2 w 112"/>
                <a:gd name="T13" fmla="*/ 66 h 78"/>
                <a:gd name="T14" fmla="*/ 12 w 112"/>
                <a:gd name="T15" fmla="*/ 76 h 78"/>
                <a:gd name="T16" fmla="*/ 56 w 112"/>
                <a:gd name="T17" fmla="*/ 78 h 78"/>
                <a:gd name="T18" fmla="*/ 100 w 112"/>
                <a:gd name="T19" fmla="*/ 76 h 78"/>
                <a:gd name="T20" fmla="*/ 110 w 112"/>
                <a:gd name="T21" fmla="*/ 66 h 78"/>
                <a:gd name="T22" fmla="*/ 112 w 112"/>
                <a:gd name="T23" fmla="*/ 39 h 78"/>
                <a:gd name="T24" fmla="*/ 110 w 112"/>
                <a:gd name="T25" fmla="*/ 12 h 78"/>
                <a:gd name="T26" fmla="*/ 45 w 112"/>
                <a:gd name="T27" fmla="*/ 56 h 78"/>
                <a:gd name="T28" fmla="*/ 45 w 112"/>
                <a:gd name="T29" fmla="*/ 22 h 78"/>
                <a:gd name="T30" fmla="*/ 74 w 112"/>
                <a:gd name="T31" fmla="*/ 39 h 78"/>
                <a:gd name="T32" fmla="*/ 45 w 112"/>
                <a:gd name="T33" fmla="*/ 5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" h="78">
                  <a:moveTo>
                    <a:pt x="110" y="12"/>
                  </a:moveTo>
                  <a:cubicBezTo>
                    <a:pt x="108" y="7"/>
                    <a:pt x="105" y="3"/>
                    <a:pt x="100" y="2"/>
                  </a:cubicBezTo>
                  <a:cubicBezTo>
                    <a:pt x="91" y="0"/>
                    <a:pt x="56" y="0"/>
                    <a:pt x="56" y="0"/>
                  </a:cubicBezTo>
                  <a:cubicBezTo>
                    <a:pt x="56" y="0"/>
                    <a:pt x="21" y="0"/>
                    <a:pt x="12" y="2"/>
                  </a:cubicBezTo>
                  <a:cubicBezTo>
                    <a:pt x="7" y="3"/>
                    <a:pt x="4" y="7"/>
                    <a:pt x="2" y="12"/>
                  </a:cubicBezTo>
                  <a:cubicBezTo>
                    <a:pt x="0" y="21"/>
                    <a:pt x="0" y="39"/>
                    <a:pt x="0" y="39"/>
                  </a:cubicBezTo>
                  <a:cubicBezTo>
                    <a:pt x="0" y="39"/>
                    <a:pt x="0" y="57"/>
                    <a:pt x="2" y="66"/>
                  </a:cubicBezTo>
                  <a:cubicBezTo>
                    <a:pt x="4" y="71"/>
                    <a:pt x="7" y="75"/>
                    <a:pt x="12" y="76"/>
                  </a:cubicBezTo>
                  <a:cubicBezTo>
                    <a:pt x="21" y="78"/>
                    <a:pt x="56" y="78"/>
                    <a:pt x="56" y="78"/>
                  </a:cubicBezTo>
                  <a:cubicBezTo>
                    <a:pt x="56" y="78"/>
                    <a:pt x="91" y="78"/>
                    <a:pt x="100" y="76"/>
                  </a:cubicBezTo>
                  <a:cubicBezTo>
                    <a:pt x="105" y="75"/>
                    <a:pt x="108" y="71"/>
                    <a:pt x="110" y="66"/>
                  </a:cubicBezTo>
                  <a:cubicBezTo>
                    <a:pt x="112" y="57"/>
                    <a:pt x="112" y="39"/>
                    <a:pt x="112" y="39"/>
                  </a:cubicBezTo>
                  <a:cubicBezTo>
                    <a:pt x="112" y="39"/>
                    <a:pt x="112" y="21"/>
                    <a:pt x="110" y="12"/>
                  </a:cubicBezTo>
                  <a:close/>
                  <a:moveTo>
                    <a:pt x="45" y="56"/>
                  </a:moveTo>
                  <a:cubicBezTo>
                    <a:pt x="45" y="22"/>
                    <a:pt x="45" y="22"/>
                    <a:pt x="45" y="22"/>
                  </a:cubicBezTo>
                  <a:cubicBezTo>
                    <a:pt x="74" y="39"/>
                    <a:pt x="74" y="39"/>
                    <a:pt x="74" y="39"/>
                  </a:cubicBezTo>
                  <a:lnTo>
                    <a:pt x="45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31">
              <a:extLst>
                <a:ext uri="{FF2B5EF4-FFF2-40B4-BE49-F238E27FC236}">
                  <a16:creationId xmlns:a16="http://schemas.microsoft.com/office/drawing/2014/main" id="{5D3526A2-9D31-4F5C-365C-884B02F74D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4543" y="3045619"/>
              <a:ext cx="289830" cy="217636"/>
            </a:xfrm>
            <a:custGeom>
              <a:avLst/>
              <a:gdLst>
                <a:gd name="T0" fmla="*/ 384 w 467"/>
                <a:gd name="T1" fmla="*/ 33 h 350"/>
                <a:gd name="T2" fmla="*/ 84 w 467"/>
                <a:gd name="T3" fmla="*/ 33 h 350"/>
                <a:gd name="T4" fmla="*/ 84 w 467"/>
                <a:gd name="T5" fmla="*/ 217 h 350"/>
                <a:gd name="T6" fmla="*/ 384 w 467"/>
                <a:gd name="T7" fmla="*/ 217 h 350"/>
                <a:gd name="T8" fmla="*/ 384 w 467"/>
                <a:gd name="T9" fmla="*/ 33 h 350"/>
                <a:gd name="T10" fmla="*/ 467 w 467"/>
                <a:gd name="T11" fmla="*/ 317 h 350"/>
                <a:gd name="T12" fmla="*/ 467 w 467"/>
                <a:gd name="T13" fmla="*/ 283 h 350"/>
                <a:gd name="T14" fmla="*/ 0 w 467"/>
                <a:gd name="T15" fmla="*/ 283 h 350"/>
                <a:gd name="T16" fmla="*/ 0 w 467"/>
                <a:gd name="T17" fmla="*/ 317 h 350"/>
                <a:gd name="T18" fmla="*/ 34 w 467"/>
                <a:gd name="T19" fmla="*/ 350 h 350"/>
                <a:gd name="T20" fmla="*/ 434 w 467"/>
                <a:gd name="T21" fmla="*/ 350 h 350"/>
                <a:gd name="T22" fmla="*/ 467 w 467"/>
                <a:gd name="T23" fmla="*/ 317 h 350"/>
                <a:gd name="T24" fmla="*/ 417 w 467"/>
                <a:gd name="T25" fmla="*/ 250 h 350"/>
                <a:gd name="T26" fmla="*/ 50 w 467"/>
                <a:gd name="T27" fmla="*/ 250 h 350"/>
                <a:gd name="T28" fmla="*/ 50 w 467"/>
                <a:gd name="T29" fmla="*/ 33 h 350"/>
                <a:gd name="T30" fmla="*/ 84 w 467"/>
                <a:gd name="T31" fmla="*/ 0 h 350"/>
                <a:gd name="T32" fmla="*/ 384 w 467"/>
                <a:gd name="T33" fmla="*/ 0 h 350"/>
                <a:gd name="T34" fmla="*/ 417 w 467"/>
                <a:gd name="T35" fmla="*/ 33 h 350"/>
                <a:gd name="T36" fmla="*/ 417 w 467"/>
                <a:gd name="T37" fmla="*/ 25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7" h="350">
                  <a:moveTo>
                    <a:pt x="384" y="33"/>
                  </a:moveTo>
                  <a:lnTo>
                    <a:pt x="84" y="33"/>
                  </a:lnTo>
                  <a:lnTo>
                    <a:pt x="84" y="217"/>
                  </a:lnTo>
                  <a:lnTo>
                    <a:pt x="384" y="217"/>
                  </a:lnTo>
                  <a:lnTo>
                    <a:pt x="384" y="33"/>
                  </a:lnTo>
                  <a:close/>
                  <a:moveTo>
                    <a:pt x="467" y="317"/>
                  </a:moveTo>
                  <a:lnTo>
                    <a:pt x="467" y="283"/>
                  </a:lnTo>
                  <a:lnTo>
                    <a:pt x="0" y="283"/>
                  </a:lnTo>
                  <a:lnTo>
                    <a:pt x="0" y="317"/>
                  </a:lnTo>
                  <a:cubicBezTo>
                    <a:pt x="0" y="335"/>
                    <a:pt x="15" y="350"/>
                    <a:pt x="34" y="350"/>
                  </a:cubicBezTo>
                  <a:lnTo>
                    <a:pt x="434" y="350"/>
                  </a:lnTo>
                  <a:cubicBezTo>
                    <a:pt x="452" y="350"/>
                    <a:pt x="467" y="335"/>
                    <a:pt x="467" y="317"/>
                  </a:cubicBezTo>
                  <a:close/>
                  <a:moveTo>
                    <a:pt x="417" y="250"/>
                  </a:moveTo>
                  <a:lnTo>
                    <a:pt x="50" y="250"/>
                  </a:lnTo>
                  <a:lnTo>
                    <a:pt x="50" y="33"/>
                  </a:lnTo>
                  <a:cubicBezTo>
                    <a:pt x="50" y="15"/>
                    <a:pt x="65" y="0"/>
                    <a:pt x="84" y="0"/>
                  </a:cubicBezTo>
                  <a:lnTo>
                    <a:pt x="384" y="0"/>
                  </a:lnTo>
                  <a:cubicBezTo>
                    <a:pt x="402" y="0"/>
                    <a:pt x="417" y="15"/>
                    <a:pt x="417" y="33"/>
                  </a:cubicBezTo>
                  <a:lnTo>
                    <a:pt x="417" y="2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8D8A8990-9BFD-FD4A-9550-E3CAC68505D6}"/>
              </a:ext>
            </a:extLst>
          </p:cNvPr>
          <p:cNvGrpSpPr>
            <a:grpSpLocks/>
          </p:cNvGrpSpPr>
          <p:nvPr/>
        </p:nvGrpSpPr>
        <p:grpSpPr>
          <a:xfrm>
            <a:off x="6026019" y="2403409"/>
            <a:ext cx="182154" cy="230840"/>
            <a:chOff x="5437597" y="2170077"/>
            <a:chExt cx="344488" cy="436562"/>
          </a:xfrm>
          <a:solidFill>
            <a:schemeClr val="tx2"/>
          </a:solidFill>
        </p:grpSpPr>
        <p:sp>
          <p:nvSpPr>
            <p:cNvPr id="455" name="Freeform 107">
              <a:extLst>
                <a:ext uri="{FF2B5EF4-FFF2-40B4-BE49-F238E27FC236}">
                  <a16:creationId xmlns:a16="http://schemas.microsoft.com/office/drawing/2014/main" id="{03DE8145-A5BE-5015-BCE0-15B9BD3E40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7597" y="2170077"/>
              <a:ext cx="344488" cy="436562"/>
            </a:xfrm>
            <a:custGeom>
              <a:avLst/>
              <a:gdLst>
                <a:gd name="T0" fmla="*/ 40 w 217"/>
                <a:gd name="T1" fmla="*/ 0 h 275"/>
                <a:gd name="T2" fmla="*/ 40 w 217"/>
                <a:gd name="T3" fmla="*/ 236 h 275"/>
                <a:gd name="T4" fmla="*/ 217 w 217"/>
                <a:gd name="T5" fmla="*/ 236 h 275"/>
                <a:gd name="T6" fmla="*/ 217 w 217"/>
                <a:gd name="T7" fmla="*/ 78 h 275"/>
                <a:gd name="T8" fmla="*/ 138 w 217"/>
                <a:gd name="T9" fmla="*/ 78 h 275"/>
                <a:gd name="T10" fmla="*/ 138 w 217"/>
                <a:gd name="T11" fmla="*/ 0 h 275"/>
                <a:gd name="T12" fmla="*/ 40 w 217"/>
                <a:gd name="T13" fmla="*/ 0 h 275"/>
                <a:gd name="T14" fmla="*/ 217 w 217"/>
                <a:gd name="T15" fmla="*/ 59 h 275"/>
                <a:gd name="T16" fmla="*/ 158 w 217"/>
                <a:gd name="T17" fmla="*/ 0 h 275"/>
                <a:gd name="T18" fmla="*/ 158 w 217"/>
                <a:gd name="T19" fmla="*/ 59 h 275"/>
                <a:gd name="T20" fmla="*/ 217 w 217"/>
                <a:gd name="T21" fmla="*/ 59 h 275"/>
                <a:gd name="T22" fmla="*/ 0 w 217"/>
                <a:gd name="T23" fmla="*/ 39 h 275"/>
                <a:gd name="T24" fmla="*/ 0 w 217"/>
                <a:gd name="T25" fmla="*/ 275 h 275"/>
                <a:gd name="T26" fmla="*/ 178 w 217"/>
                <a:gd name="T27" fmla="*/ 275 h 275"/>
                <a:gd name="T28" fmla="*/ 178 w 217"/>
                <a:gd name="T29" fmla="*/ 255 h 275"/>
                <a:gd name="T30" fmla="*/ 20 w 217"/>
                <a:gd name="T31" fmla="*/ 255 h 275"/>
                <a:gd name="T32" fmla="*/ 20 w 217"/>
                <a:gd name="T33" fmla="*/ 39 h 275"/>
                <a:gd name="T34" fmla="*/ 0 w 217"/>
                <a:gd name="T35" fmla="*/ 3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75">
                  <a:moveTo>
                    <a:pt x="40" y="0"/>
                  </a:moveTo>
                  <a:lnTo>
                    <a:pt x="40" y="236"/>
                  </a:lnTo>
                  <a:lnTo>
                    <a:pt x="217" y="236"/>
                  </a:lnTo>
                  <a:lnTo>
                    <a:pt x="217" y="78"/>
                  </a:lnTo>
                  <a:lnTo>
                    <a:pt x="138" y="78"/>
                  </a:lnTo>
                  <a:lnTo>
                    <a:pt x="138" y="0"/>
                  </a:lnTo>
                  <a:lnTo>
                    <a:pt x="40" y="0"/>
                  </a:lnTo>
                  <a:close/>
                  <a:moveTo>
                    <a:pt x="217" y="59"/>
                  </a:moveTo>
                  <a:lnTo>
                    <a:pt x="158" y="0"/>
                  </a:lnTo>
                  <a:lnTo>
                    <a:pt x="158" y="59"/>
                  </a:lnTo>
                  <a:lnTo>
                    <a:pt x="217" y="59"/>
                  </a:lnTo>
                  <a:close/>
                  <a:moveTo>
                    <a:pt x="0" y="39"/>
                  </a:moveTo>
                  <a:lnTo>
                    <a:pt x="0" y="275"/>
                  </a:lnTo>
                  <a:lnTo>
                    <a:pt x="178" y="275"/>
                  </a:lnTo>
                  <a:lnTo>
                    <a:pt x="178" y="255"/>
                  </a:lnTo>
                  <a:lnTo>
                    <a:pt x="20" y="255"/>
                  </a:lnTo>
                  <a:lnTo>
                    <a:pt x="20" y="39"/>
                  </a:lnTo>
                  <a:lnTo>
                    <a:pt x="0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61">
              <a:extLst>
                <a:ext uri="{FF2B5EF4-FFF2-40B4-BE49-F238E27FC236}">
                  <a16:creationId xmlns:a16="http://schemas.microsoft.com/office/drawing/2014/main" id="{62A26D7D-A848-D113-D3CC-243582888B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5477" y="2340444"/>
              <a:ext cx="141886" cy="141886"/>
            </a:xfrm>
            <a:custGeom>
              <a:avLst/>
              <a:gdLst>
                <a:gd name="T0" fmla="*/ 300 w 433"/>
                <a:gd name="T1" fmla="*/ 217 h 433"/>
                <a:gd name="T2" fmla="*/ 217 w 433"/>
                <a:gd name="T3" fmla="*/ 300 h 433"/>
                <a:gd name="T4" fmla="*/ 133 w 433"/>
                <a:gd name="T5" fmla="*/ 217 h 433"/>
                <a:gd name="T6" fmla="*/ 217 w 433"/>
                <a:gd name="T7" fmla="*/ 133 h 433"/>
                <a:gd name="T8" fmla="*/ 300 w 433"/>
                <a:gd name="T9" fmla="*/ 217 h 433"/>
                <a:gd name="T10" fmla="*/ 433 w 433"/>
                <a:gd name="T11" fmla="*/ 250 h 433"/>
                <a:gd name="T12" fmla="*/ 433 w 433"/>
                <a:gd name="T13" fmla="*/ 183 h 433"/>
                <a:gd name="T14" fmla="*/ 360 w 433"/>
                <a:gd name="T15" fmla="*/ 171 h 433"/>
                <a:gd name="T16" fmla="*/ 350 w 433"/>
                <a:gd name="T17" fmla="*/ 148 h 433"/>
                <a:gd name="T18" fmla="*/ 393 w 433"/>
                <a:gd name="T19" fmla="*/ 87 h 433"/>
                <a:gd name="T20" fmla="*/ 346 w 433"/>
                <a:gd name="T21" fmla="*/ 40 h 433"/>
                <a:gd name="T22" fmla="*/ 285 w 433"/>
                <a:gd name="T23" fmla="*/ 83 h 433"/>
                <a:gd name="T24" fmla="*/ 262 w 433"/>
                <a:gd name="T25" fmla="*/ 74 h 433"/>
                <a:gd name="T26" fmla="*/ 250 w 433"/>
                <a:gd name="T27" fmla="*/ 0 h 433"/>
                <a:gd name="T28" fmla="*/ 183 w 433"/>
                <a:gd name="T29" fmla="*/ 0 h 433"/>
                <a:gd name="T30" fmla="*/ 171 w 433"/>
                <a:gd name="T31" fmla="*/ 74 h 433"/>
                <a:gd name="T32" fmla="*/ 148 w 433"/>
                <a:gd name="T33" fmla="*/ 83 h 433"/>
                <a:gd name="T34" fmla="*/ 87 w 433"/>
                <a:gd name="T35" fmla="*/ 40 h 433"/>
                <a:gd name="T36" fmla="*/ 40 w 433"/>
                <a:gd name="T37" fmla="*/ 87 h 433"/>
                <a:gd name="T38" fmla="*/ 83 w 433"/>
                <a:gd name="T39" fmla="*/ 148 h 433"/>
                <a:gd name="T40" fmla="*/ 74 w 433"/>
                <a:gd name="T41" fmla="*/ 171 h 433"/>
                <a:gd name="T42" fmla="*/ 0 w 433"/>
                <a:gd name="T43" fmla="*/ 183 h 433"/>
                <a:gd name="T44" fmla="*/ 0 w 433"/>
                <a:gd name="T45" fmla="*/ 250 h 433"/>
                <a:gd name="T46" fmla="*/ 74 w 433"/>
                <a:gd name="T47" fmla="*/ 262 h 433"/>
                <a:gd name="T48" fmla="*/ 83 w 433"/>
                <a:gd name="T49" fmla="*/ 285 h 433"/>
                <a:gd name="T50" fmla="*/ 40 w 433"/>
                <a:gd name="T51" fmla="*/ 346 h 433"/>
                <a:gd name="T52" fmla="*/ 87 w 433"/>
                <a:gd name="T53" fmla="*/ 393 h 433"/>
                <a:gd name="T54" fmla="*/ 148 w 433"/>
                <a:gd name="T55" fmla="*/ 350 h 433"/>
                <a:gd name="T56" fmla="*/ 171 w 433"/>
                <a:gd name="T57" fmla="*/ 360 h 433"/>
                <a:gd name="T58" fmla="*/ 183 w 433"/>
                <a:gd name="T59" fmla="*/ 433 h 433"/>
                <a:gd name="T60" fmla="*/ 250 w 433"/>
                <a:gd name="T61" fmla="*/ 433 h 433"/>
                <a:gd name="T62" fmla="*/ 262 w 433"/>
                <a:gd name="T63" fmla="*/ 360 h 433"/>
                <a:gd name="T64" fmla="*/ 285 w 433"/>
                <a:gd name="T65" fmla="*/ 350 h 433"/>
                <a:gd name="T66" fmla="*/ 346 w 433"/>
                <a:gd name="T67" fmla="*/ 393 h 433"/>
                <a:gd name="T68" fmla="*/ 393 w 433"/>
                <a:gd name="T69" fmla="*/ 346 h 433"/>
                <a:gd name="T70" fmla="*/ 350 w 433"/>
                <a:gd name="T71" fmla="*/ 285 h 433"/>
                <a:gd name="T72" fmla="*/ 360 w 433"/>
                <a:gd name="T73" fmla="*/ 262 h 433"/>
                <a:gd name="T74" fmla="*/ 433 w 433"/>
                <a:gd name="T75" fmla="*/ 250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33" h="433">
                  <a:moveTo>
                    <a:pt x="300" y="217"/>
                  </a:moveTo>
                  <a:cubicBezTo>
                    <a:pt x="300" y="263"/>
                    <a:pt x="263" y="300"/>
                    <a:pt x="217" y="300"/>
                  </a:cubicBezTo>
                  <a:cubicBezTo>
                    <a:pt x="171" y="300"/>
                    <a:pt x="133" y="263"/>
                    <a:pt x="133" y="217"/>
                  </a:cubicBezTo>
                  <a:cubicBezTo>
                    <a:pt x="133" y="171"/>
                    <a:pt x="171" y="133"/>
                    <a:pt x="217" y="133"/>
                  </a:cubicBezTo>
                  <a:cubicBezTo>
                    <a:pt x="263" y="133"/>
                    <a:pt x="300" y="171"/>
                    <a:pt x="300" y="217"/>
                  </a:cubicBezTo>
                  <a:close/>
                  <a:moveTo>
                    <a:pt x="433" y="250"/>
                  </a:moveTo>
                  <a:lnTo>
                    <a:pt x="433" y="183"/>
                  </a:lnTo>
                  <a:lnTo>
                    <a:pt x="360" y="171"/>
                  </a:lnTo>
                  <a:cubicBezTo>
                    <a:pt x="357" y="163"/>
                    <a:pt x="354" y="155"/>
                    <a:pt x="350" y="148"/>
                  </a:cubicBezTo>
                  <a:lnTo>
                    <a:pt x="393" y="87"/>
                  </a:lnTo>
                  <a:lnTo>
                    <a:pt x="346" y="40"/>
                  </a:lnTo>
                  <a:lnTo>
                    <a:pt x="285" y="83"/>
                  </a:lnTo>
                  <a:cubicBezTo>
                    <a:pt x="278" y="80"/>
                    <a:pt x="270" y="76"/>
                    <a:pt x="262" y="74"/>
                  </a:cubicBezTo>
                  <a:lnTo>
                    <a:pt x="250" y="0"/>
                  </a:lnTo>
                  <a:lnTo>
                    <a:pt x="183" y="0"/>
                  </a:lnTo>
                  <a:lnTo>
                    <a:pt x="171" y="74"/>
                  </a:lnTo>
                  <a:cubicBezTo>
                    <a:pt x="163" y="76"/>
                    <a:pt x="155" y="80"/>
                    <a:pt x="148" y="83"/>
                  </a:cubicBezTo>
                  <a:lnTo>
                    <a:pt x="87" y="40"/>
                  </a:lnTo>
                  <a:lnTo>
                    <a:pt x="40" y="87"/>
                  </a:lnTo>
                  <a:lnTo>
                    <a:pt x="83" y="148"/>
                  </a:lnTo>
                  <a:cubicBezTo>
                    <a:pt x="80" y="155"/>
                    <a:pt x="76" y="163"/>
                    <a:pt x="74" y="171"/>
                  </a:cubicBezTo>
                  <a:lnTo>
                    <a:pt x="0" y="183"/>
                  </a:lnTo>
                  <a:lnTo>
                    <a:pt x="0" y="250"/>
                  </a:lnTo>
                  <a:lnTo>
                    <a:pt x="74" y="262"/>
                  </a:lnTo>
                  <a:cubicBezTo>
                    <a:pt x="76" y="270"/>
                    <a:pt x="80" y="278"/>
                    <a:pt x="83" y="285"/>
                  </a:cubicBezTo>
                  <a:lnTo>
                    <a:pt x="40" y="346"/>
                  </a:lnTo>
                  <a:lnTo>
                    <a:pt x="87" y="393"/>
                  </a:lnTo>
                  <a:lnTo>
                    <a:pt x="148" y="350"/>
                  </a:lnTo>
                  <a:cubicBezTo>
                    <a:pt x="155" y="354"/>
                    <a:pt x="163" y="357"/>
                    <a:pt x="171" y="360"/>
                  </a:cubicBezTo>
                  <a:lnTo>
                    <a:pt x="183" y="433"/>
                  </a:lnTo>
                  <a:lnTo>
                    <a:pt x="250" y="433"/>
                  </a:lnTo>
                  <a:lnTo>
                    <a:pt x="262" y="360"/>
                  </a:lnTo>
                  <a:cubicBezTo>
                    <a:pt x="270" y="357"/>
                    <a:pt x="278" y="354"/>
                    <a:pt x="285" y="350"/>
                  </a:cubicBezTo>
                  <a:lnTo>
                    <a:pt x="346" y="393"/>
                  </a:lnTo>
                  <a:lnTo>
                    <a:pt x="393" y="346"/>
                  </a:lnTo>
                  <a:lnTo>
                    <a:pt x="350" y="285"/>
                  </a:lnTo>
                  <a:cubicBezTo>
                    <a:pt x="354" y="278"/>
                    <a:pt x="357" y="270"/>
                    <a:pt x="360" y="262"/>
                  </a:cubicBezTo>
                  <a:lnTo>
                    <a:pt x="433" y="2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8" name="Gruppieren 107">
            <a:extLst>
              <a:ext uri="{FF2B5EF4-FFF2-40B4-BE49-F238E27FC236}">
                <a16:creationId xmlns:a16="http://schemas.microsoft.com/office/drawing/2014/main" id="{6DBC9C5D-EC9C-3595-B700-9077EC81620B}"/>
              </a:ext>
            </a:extLst>
          </p:cNvPr>
          <p:cNvGrpSpPr>
            <a:grpSpLocks/>
          </p:cNvGrpSpPr>
          <p:nvPr/>
        </p:nvGrpSpPr>
        <p:grpSpPr>
          <a:xfrm>
            <a:off x="6747440" y="2657570"/>
            <a:ext cx="554926" cy="554926"/>
            <a:chOff x="9798749" y="5417011"/>
            <a:chExt cx="554926" cy="554926"/>
          </a:xfrm>
        </p:grpSpPr>
        <p:grpSp>
          <p:nvGrpSpPr>
            <p:cNvPr id="106" name="Gruppieren 105">
              <a:extLst>
                <a:ext uri="{FF2B5EF4-FFF2-40B4-BE49-F238E27FC236}">
                  <a16:creationId xmlns:a16="http://schemas.microsoft.com/office/drawing/2014/main" id="{16553977-E07D-424D-FCF7-A58701722209}"/>
                </a:ext>
              </a:extLst>
            </p:cNvPr>
            <p:cNvGrpSpPr/>
            <p:nvPr/>
          </p:nvGrpSpPr>
          <p:grpSpPr>
            <a:xfrm>
              <a:off x="9798749" y="5417011"/>
              <a:ext cx="554926" cy="554926"/>
              <a:chOff x="9798749" y="5417011"/>
              <a:chExt cx="554926" cy="554926"/>
            </a:xfrm>
          </p:grpSpPr>
          <p:sp>
            <p:nvSpPr>
              <p:cNvPr id="104" name="Ellipse 103">
                <a:extLst>
                  <a:ext uri="{FF2B5EF4-FFF2-40B4-BE49-F238E27FC236}">
                    <a16:creationId xmlns:a16="http://schemas.microsoft.com/office/drawing/2014/main" id="{FE4BA38F-1EA3-6604-4BCD-536222607E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798749" y="5417011"/>
                <a:ext cx="554926" cy="55492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Ellipse 104">
                <a:extLst>
                  <a:ext uri="{FF2B5EF4-FFF2-40B4-BE49-F238E27FC236}">
                    <a16:creationId xmlns:a16="http://schemas.microsoft.com/office/drawing/2014/main" id="{BFE5B4EE-5A8A-72FC-CBB8-C9AD816ADBE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853518" y="5471780"/>
                <a:ext cx="445388" cy="44538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07" name="Grafik 102">
              <a:extLst>
                <a:ext uri="{FF2B5EF4-FFF2-40B4-BE49-F238E27FC236}">
                  <a16:creationId xmlns:a16="http://schemas.microsoft.com/office/drawing/2014/main" id="{1CF2E75D-563F-0F43-E86E-29E98E792F93}"/>
                </a:ext>
              </a:extLst>
            </p:cNvPr>
            <p:cNvSpPr/>
            <p:nvPr/>
          </p:nvSpPr>
          <p:spPr>
            <a:xfrm rot="18900000">
              <a:off x="9934808" y="5606288"/>
              <a:ext cx="269408" cy="176150"/>
            </a:xfrm>
            <a:custGeom>
              <a:avLst/>
              <a:gdLst>
                <a:gd name="connsiteX0" fmla="*/ 233363 w 247650"/>
                <a:gd name="connsiteY0" fmla="*/ 104775 h 161925"/>
                <a:gd name="connsiteX1" fmla="*/ 190500 w 247650"/>
                <a:gd name="connsiteY1" fmla="*/ 104775 h 161925"/>
                <a:gd name="connsiteX2" fmla="*/ 190500 w 247650"/>
                <a:gd name="connsiteY2" fmla="*/ 57150 h 161925"/>
                <a:gd name="connsiteX3" fmla="*/ 233363 w 247650"/>
                <a:gd name="connsiteY3" fmla="*/ 57150 h 161925"/>
                <a:gd name="connsiteX4" fmla="*/ 247650 w 247650"/>
                <a:gd name="connsiteY4" fmla="*/ 42863 h 161925"/>
                <a:gd name="connsiteX5" fmla="*/ 233363 w 247650"/>
                <a:gd name="connsiteY5" fmla="*/ 28575 h 161925"/>
                <a:gd name="connsiteX6" fmla="*/ 190500 w 247650"/>
                <a:gd name="connsiteY6" fmla="*/ 28575 h 161925"/>
                <a:gd name="connsiteX7" fmla="*/ 190500 w 247650"/>
                <a:gd name="connsiteY7" fmla="*/ 0 h 161925"/>
                <a:gd name="connsiteX8" fmla="*/ 142875 w 247650"/>
                <a:gd name="connsiteY8" fmla="*/ 0 h 161925"/>
                <a:gd name="connsiteX9" fmla="*/ 85725 w 247650"/>
                <a:gd name="connsiteY9" fmla="*/ 57150 h 161925"/>
                <a:gd name="connsiteX10" fmla="*/ 19050 w 247650"/>
                <a:gd name="connsiteY10" fmla="*/ 57150 h 161925"/>
                <a:gd name="connsiteX11" fmla="*/ 0 w 247650"/>
                <a:gd name="connsiteY11" fmla="*/ 104775 h 161925"/>
                <a:gd name="connsiteX12" fmla="*/ 85725 w 247650"/>
                <a:gd name="connsiteY12" fmla="*/ 104775 h 161925"/>
                <a:gd name="connsiteX13" fmla="*/ 142875 w 247650"/>
                <a:gd name="connsiteY13" fmla="*/ 161925 h 161925"/>
                <a:gd name="connsiteX14" fmla="*/ 190500 w 247650"/>
                <a:gd name="connsiteY14" fmla="*/ 161925 h 161925"/>
                <a:gd name="connsiteX15" fmla="*/ 190500 w 247650"/>
                <a:gd name="connsiteY15" fmla="*/ 133350 h 161925"/>
                <a:gd name="connsiteX16" fmla="*/ 233363 w 247650"/>
                <a:gd name="connsiteY16" fmla="*/ 133350 h 161925"/>
                <a:gd name="connsiteX17" fmla="*/ 247650 w 247650"/>
                <a:gd name="connsiteY17" fmla="*/ 119063 h 161925"/>
                <a:gd name="connsiteX18" fmla="*/ 233363 w 247650"/>
                <a:gd name="connsiteY18" fmla="*/ 10477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7650" h="161925">
                  <a:moveTo>
                    <a:pt x="233363" y="104775"/>
                  </a:moveTo>
                  <a:lnTo>
                    <a:pt x="190500" y="104775"/>
                  </a:lnTo>
                  <a:lnTo>
                    <a:pt x="190500" y="57150"/>
                  </a:lnTo>
                  <a:lnTo>
                    <a:pt x="233363" y="57150"/>
                  </a:lnTo>
                  <a:cubicBezTo>
                    <a:pt x="241268" y="57150"/>
                    <a:pt x="247650" y="50768"/>
                    <a:pt x="247650" y="42863"/>
                  </a:cubicBezTo>
                  <a:cubicBezTo>
                    <a:pt x="247650" y="34957"/>
                    <a:pt x="241268" y="28575"/>
                    <a:pt x="233363" y="28575"/>
                  </a:cubicBezTo>
                  <a:lnTo>
                    <a:pt x="190500" y="28575"/>
                  </a:lnTo>
                  <a:lnTo>
                    <a:pt x="190500" y="0"/>
                  </a:lnTo>
                  <a:lnTo>
                    <a:pt x="142875" y="0"/>
                  </a:lnTo>
                  <a:cubicBezTo>
                    <a:pt x="111347" y="0"/>
                    <a:pt x="85725" y="25622"/>
                    <a:pt x="85725" y="57150"/>
                  </a:cubicBezTo>
                  <a:lnTo>
                    <a:pt x="19050" y="57150"/>
                  </a:lnTo>
                  <a:lnTo>
                    <a:pt x="0" y="104775"/>
                  </a:lnTo>
                  <a:lnTo>
                    <a:pt x="85725" y="104775"/>
                  </a:lnTo>
                  <a:cubicBezTo>
                    <a:pt x="85725" y="136303"/>
                    <a:pt x="111347" y="161925"/>
                    <a:pt x="142875" y="161925"/>
                  </a:cubicBezTo>
                  <a:lnTo>
                    <a:pt x="190500" y="161925"/>
                  </a:lnTo>
                  <a:lnTo>
                    <a:pt x="190500" y="133350"/>
                  </a:lnTo>
                  <a:lnTo>
                    <a:pt x="233363" y="133350"/>
                  </a:lnTo>
                  <a:cubicBezTo>
                    <a:pt x="241268" y="133350"/>
                    <a:pt x="247650" y="126968"/>
                    <a:pt x="247650" y="119063"/>
                  </a:cubicBezTo>
                  <a:cubicBezTo>
                    <a:pt x="247650" y="111157"/>
                    <a:pt x="241268" y="104775"/>
                    <a:pt x="233363" y="104775"/>
                  </a:cubicBezTo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9" name="TextBox 5">
            <a:extLst>
              <a:ext uri="{FF2B5EF4-FFF2-40B4-BE49-F238E27FC236}">
                <a16:creationId xmlns:a16="http://schemas.microsoft.com/office/drawing/2014/main" id="{212B07CA-40B1-89F3-EE6F-8E4988EC8C38}"/>
              </a:ext>
            </a:extLst>
          </p:cNvPr>
          <p:cNvSpPr txBox="1"/>
          <p:nvPr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17</a:t>
            </a:fld>
            <a:endParaRPr lang="de-DE" sz="1000" b="1" i="0" u="none" kern="1200" spc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20" name="Restricted">
            <a:extLst>
              <a:ext uri="{FF2B5EF4-FFF2-40B4-BE49-F238E27FC236}">
                <a16:creationId xmlns:a16="http://schemas.microsoft.com/office/drawing/2014/main" id="{EAEB6F20-3D28-BA6B-FCA4-1FA410A17667}"/>
              </a:ext>
            </a:extLst>
          </p:cNvPr>
          <p:cNvSpPr txBox="1"/>
          <p:nvPr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de-DE" sz="1000">
                <a:solidFill>
                  <a:schemeClr val="tx1"/>
                </a:solidFill>
              </a:rPr>
              <a:t>Frei verwendbar © Siemens Healthineers, 2023</a:t>
            </a:r>
          </a:p>
        </p:txBody>
      </p:sp>
    </p:spTree>
    <p:extLst>
      <p:ext uri="{BB962C8B-B14F-4D97-AF65-F5344CB8AC3E}">
        <p14:creationId xmlns:p14="http://schemas.microsoft.com/office/powerpoint/2010/main" val="31760569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4431FE4-7F0D-EC2E-3B14-C5CFAF847A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0695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4431FE4-7F0D-EC2E-3B14-C5CFAF847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F195622B-C0F7-62BF-CFEB-1DBD102F5B75}"/>
              </a:ext>
            </a:extLst>
          </p:cNvPr>
          <p:cNvSpPr/>
          <p:nvPr/>
        </p:nvSpPr>
        <p:spPr>
          <a:xfrm>
            <a:off x="9396602" y="6489700"/>
            <a:ext cx="1017398" cy="368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D28BFC53-BC03-050C-96E8-4AAFDE7043D7}"/>
              </a:ext>
            </a:extLst>
          </p:cNvPr>
          <p:cNvSpPr>
            <a:spLocks/>
          </p:cNvSpPr>
          <p:nvPr/>
        </p:nvSpPr>
        <p:spPr>
          <a:xfrm rot="10800000">
            <a:off x="8999007" y="1619250"/>
            <a:ext cx="3170768" cy="5238750"/>
          </a:xfrm>
          <a:custGeom>
            <a:avLst/>
            <a:gdLst>
              <a:gd name="connsiteX0" fmla="*/ 541336 w 3170768"/>
              <a:gd name="connsiteY0" fmla="*/ 5238750 h 5238750"/>
              <a:gd name="connsiteX1" fmla="*/ 0 w 3170768"/>
              <a:gd name="connsiteY1" fmla="*/ 3914362 h 5238750"/>
              <a:gd name="connsiteX2" fmla="*/ 0 w 3170768"/>
              <a:gd name="connsiteY2" fmla="*/ 3129699 h 5238750"/>
              <a:gd name="connsiteX3" fmla="*/ 0 w 3170768"/>
              <a:gd name="connsiteY3" fmla="*/ 202195 h 5238750"/>
              <a:gd name="connsiteX4" fmla="*/ 0 w 3170768"/>
              <a:gd name="connsiteY4" fmla="*/ 0 h 5238750"/>
              <a:gd name="connsiteX5" fmla="*/ 1891521 w 3170768"/>
              <a:gd name="connsiteY5" fmla="*/ 0 h 5238750"/>
              <a:gd name="connsiteX6" fmla="*/ 3170768 w 3170768"/>
              <a:gd name="connsiteY6" fmla="*/ 3129699 h 5238750"/>
              <a:gd name="connsiteX7" fmla="*/ 541336 w 3170768"/>
              <a:gd name="connsiteY7" fmla="*/ 3129699 h 5238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70768" h="5238750">
                <a:moveTo>
                  <a:pt x="541336" y="5238750"/>
                </a:moveTo>
                <a:lnTo>
                  <a:pt x="0" y="3914362"/>
                </a:lnTo>
                <a:lnTo>
                  <a:pt x="0" y="3129699"/>
                </a:lnTo>
                <a:lnTo>
                  <a:pt x="0" y="202195"/>
                </a:lnTo>
                <a:lnTo>
                  <a:pt x="0" y="0"/>
                </a:lnTo>
                <a:lnTo>
                  <a:pt x="1891521" y="0"/>
                </a:lnTo>
                <a:lnTo>
                  <a:pt x="3170768" y="3129699"/>
                </a:lnTo>
                <a:lnTo>
                  <a:pt x="541336" y="3129699"/>
                </a:lnTo>
                <a:close/>
              </a:path>
            </a:pathLst>
          </a:custGeom>
          <a:pattFill prst="wdDnDiag">
            <a:fgClr>
              <a:srgbClr val="ECECEC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DE674B1-ABA4-E555-C67A-598AE433B7E8}"/>
              </a:ext>
            </a:extLst>
          </p:cNvPr>
          <p:cNvSpPr>
            <a:spLocks/>
          </p:cNvSpPr>
          <p:nvPr/>
        </p:nvSpPr>
        <p:spPr>
          <a:xfrm>
            <a:off x="540000" y="3863395"/>
            <a:ext cx="11088438" cy="2331029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8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BBE71C9-1048-6A56-4456-7A1541C52599}"/>
              </a:ext>
            </a:extLst>
          </p:cNvPr>
          <p:cNvSpPr>
            <a:spLocks/>
          </p:cNvSpPr>
          <p:nvPr/>
        </p:nvSpPr>
        <p:spPr>
          <a:xfrm>
            <a:off x="8999007" y="1619250"/>
            <a:ext cx="2629432" cy="2109051"/>
          </a:xfrm>
          <a:prstGeom prst="rect">
            <a:avLst/>
          </a:prstGeom>
          <a:solidFill>
            <a:srgbClr val="EC6602"/>
          </a:solidFill>
          <a:ln>
            <a:noFill/>
          </a:ln>
          <a:effectLst>
            <a:outerShdw blurRad="50800" dist="38100" dir="27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2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FE264C-AB67-D64D-E96D-161E8E24C4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19599"/>
            <a:ext cx="9706936" cy="832913"/>
          </a:xfrm>
        </p:spPr>
        <p:txBody>
          <a:bodyPr vert="horz"/>
          <a:lstStyle/>
          <a:p>
            <a:r>
              <a:rPr lang="de-AT"/>
              <a:t>teamplay </a:t>
            </a:r>
            <a:r>
              <a:rPr lang="de-AT" err="1"/>
              <a:t>images</a:t>
            </a:r>
            <a:r>
              <a:rPr lang="de-AT"/>
              <a:t> Integration – DICOM Studien eintragen</a:t>
            </a:r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4B195B-5CEE-8D68-ED88-88F87B72BC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5635C34-6773-1729-08E4-A46D7A72E7C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pt-BR"/>
              <a:t>A91GER-H-001672-E4</a:t>
            </a:r>
            <a:endParaRPr lang="de-DE"/>
          </a:p>
        </p:txBody>
      </p:sp>
      <p:sp>
        <p:nvSpPr>
          <p:cNvPr id="25" name="Rectangle 2">
            <a:extLst>
              <a:ext uri="{FF2B5EF4-FFF2-40B4-BE49-F238E27FC236}">
                <a16:creationId xmlns:a16="http://schemas.microsoft.com/office/drawing/2014/main" id="{3E30A4B6-F7CD-22C5-3BC9-D27E43DE0AF7}"/>
              </a:ext>
            </a:extLst>
          </p:cNvPr>
          <p:cNvSpPr>
            <a:spLocks/>
          </p:cNvSpPr>
          <p:nvPr/>
        </p:nvSpPr>
        <p:spPr>
          <a:xfrm>
            <a:off x="5877784" y="4069695"/>
            <a:ext cx="5536991" cy="1918430"/>
          </a:xfrm>
          <a:prstGeom prst="rect">
            <a:avLst/>
          </a:prstGeom>
          <a:ln w="19050">
            <a:miter lim="800000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08000" tIns="72000" rIns="108000" bIns="72000" rtlCol="0" anchor="t">
            <a:noAutofit/>
          </a:bodyPr>
          <a:lstStyle/>
          <a:p>
            <a:pPr algn="r"/>
            <a:r>
              <a:rPr lang="de-AT" sz="1200" b="1" err="1"/>
              <a:t>teamplay</a:t>
            </a:r>
            <a:r>
              <a:rPr lang="de-AT" sz="1200" b="1"/>
              <a:t> digital </a:t>
            </a:r>
            <a:br>
              <a:rPr lang="de-AT" sz="1200" b="1"/>
            </a:br>
            <a:r>
              <a:rPr lang="de-AT" sz="1200" b="1" err="1"/>
              <a:t>health</a:t>
            </a:r>
            <a:r>
              <a:rPr lang="de-AT" sz="1200" b="1"/>
              <a:t> </a:t>
            </a:r>
            <a:r>
              <a:rPr lang="de-AT" sz="1200" b="1" err="1"/>
              <a:t>platform</a:t>
            </a:r>
            <a:br>
              <a:rPr lang="de-AT" sz="1200" b="1"/>
            </a:br>
            <a:r>
              <a:rPr lang="de-AT" sz="1200" b="1"/>
              <a:t>Konnektor</a:t>
            </a:r>
          </a:p>
        </p:txBody>
      </p:sp>
      <p:sp>
        <p:nvSpPr>
          <p:cNvPr id="26" name="Rectangle 2">
            <a:extLst>
              <a:ext uri="{FF2B5EF4-FFF2-40B4-BE49-F238E27FC236}">
                <a16:creationId xmlns:a16="http://schemas.microsoft.com/office/drawing/2014/main" id="{1765272A-3A91-1441-B204-DF3DD4B1CD3F}"/>
              </a:ext>
            </a:extLst>
          </p:cNvPr>
          <p:cNvSpPr>
            <a:spLocks/>
          </p:cNvSpPr>
          <p:nvPr/>
        </p:nvSpPr>
        <p:spPr>
          <a:xfrm>
            <a:off x="1962936" y="4069695"/>
            <a:ext cx="3303607" cy="1166539"/>
          </a:xfrm>
          <a:prstGeom prst="rect">
            <a:avLst/>
          </a:prstGeom>
          <a:ln w="19050">
            <a:miter lim="800000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08000" tIns="72000" rIns="108000" bIns="72000" rtlCol="0" anchor="t">
            <a:noAutofit/>
          </a:bodyPr>
          <a:lstStyle/>
          <a:p>
            <a:r>
              <a:rPr lang="de-AT" sz="1200" b="1" err="1"/>
              <a:t>teamplay</a:t>
            </a:r>
            <a:r>
              <a:rPr lang="de-AT" sz="1200" b="1"/>
              <a:t> Receiver</a:t>
            </a:r>
          </a:p>
        </p:txBody>
      </p:sp>
      <p:sp>
        <p:nvSpPr>
          <p:cNvPr id="27" name="Rectangle 5">
            <a:extLst>
              <a:ext uri="{FF2B5EF4-FFF2-40B4-BE49-F238E27FC236}">
                <a16:creationId xmlns:a16="http://schemas.microsoft.com/office/drawing/2014/main" id="{B5164EC7-D7DD-81CE-D791-6FEC3488B00F}"/>
              </a:ext>
            </a:extLst>
          </p:cNvPr>
          <p:cNvSpPr>
            <a:spLocks/>
          </p:cNvSpPr>
          <p:nvPr/>
        </p:nvSpPr>
        <p:spPr>
          <a:xfrm>
            <a:off x="2092887" y="4610700"/>
            <a:ext cx="1688897" cy="482982"/>
          </a:xfrm>
          <a:prstGeom prst="roundRect">
            <a:avLst>
              <a:gd name="adj" fmla="val 50000"/>
            </a:avLst>
          </a:prstGeom>
          <a:solidFill>
            <a:srgbClr val="87D2D2"/>
          </a:solidFill>
          <a:ln w="19050">
            <a:solidFill>
              <a:srgbClr val="009999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tIns="72000" rtlCol="0" anchor="ctr"/>
          <a:lstStyle/>
          <a:p>
            <a:pPr algn="ctr">
              <a:lnSpc>
                <a:spcPct val="80000"/>
              </a:lnSpc>
            </a:pPr>
            <a:r>
              <a:rPr lang="de-AT" sz="1600" b="1" err="1">
                <a:solidFill>
                  <a:schemeClr val="bg1"/>
                </a:solidFill>
              </a:rPr>
              <a:t>Dicom</a:t>
            </a:r>
            <a:r>
              <a:rPr lang="de-AT" sz="1600" b="1">
                <a:solidFill>
                  <a:schemeClr val="bg1"/>
                </a:solidFill>
              </a:rPr>
              <a:t> Hub</a:t>
            </a:r>
          </a:p>
        </p:txBody>
      </p:sp>
      <p:sp>
        <p:nvSpPr>
          <p:cNvPr id="29" name="Rectangle 11">
            <a:extLst>
              <a:ext uri="{FF2B5EF4-FFF2-40B4-BE49-F238E27FC236}">
                <a16:creationId xmlns:a16="http://schemas.microsoft.com/office/drawing/2014/main" id="{9E12AD61-05C6-21D8-A9AD-5CC1D1544829}"/>
              </a:ext>
            </a:extLst>
          </p:cNvPr>
          <p:cNvSpPr>
            <a:spLocks/>
          </p:cNvSpPr>
          <p:nvPr/>
        </p:nvSpPr>
        <p:spPr>
          <a:xfrm>
            <a:off x="9220200" y="2340444"/>
            <a:ext cx="2200276" cy="517239"/>
          </a:xfrm>
          <a:prstGeom prst="roundRect">
            <a:avLst>
              <a:gd name="adj" fmla="val 50000"/>
            </a:avLst>
          </a:prstGeom>
          <a:solidFill>
            <a:srgbClr val="87D2D2"/>
          </a:solidFill>
          <a:ln w="19050">
            <a:solidFill>
              <a:srgbClr val="009999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tIns="72000" rtlCol="0" anchor="ctr"/>
          <a:lstStyle/>
          <a:p>
            <a:pPr algn="ctr">
              <a:lnSpc>
                <a:spcPct val="80000"/>
              </a:lnSpc>
            </a:pPr>
            <a:r>
              <a:rPr lang="de-AT" sz="1000" i="1" err="1">
                <a:solidFill>
                  <a:schemeClr val="accent3"/>
                </a:solidFill>
              </a:rPr>
              <a:t>eHealth</a:t>
            </a:r>
            <a:endParaRPr lang="de-AT" sz="1000" i="1">
              <a:solidFill>
                <a:schemeClr val="accent3"/>
              </a:solidFill>
            </a:endParaRPr>
          </a:p>
          <a:p>
            <a:pPr algn="ctr">
              <a:lnSpc>
                <a:spcPct val="80000"/>
              </a:lnSpc>
            </a:pPr>
            <a:r>
              <a:rPr lang="de-AT" b="1">
                <a:solidFill>
                  <a:schemeClr val="bg1"/>
                </a:solidFill>
              </a:rPr>
              <a:t>MPI</a:t>
            </a:r>
          </a:p>
        </p:txBody>
      </p:sp>
      <p:sp>
        <p:nvSpPr>
          <p:cNvPr id="30" name="Rectangle 12">
            <a:extLst>
              <a:ext uri="{FF2B5EF4-FFF2-40B4-BE49-F238E27FC236}">
                <a16:creationId xmlns:a16="http://schemas.microsoft.com/office/drawing/2014/main" id="{E1DC9DE5-4FF9-5A8F-35B2-7766AAD45E99}"/>
              </a:ext>
            </a:extLst>
          </p:cNvPr>
          <p:cNvSpPr>
            <a:spLocks/>
          </p:cNvSpPr>
          <p:nvPr/>
        </p:nvSpPr>
        <p:spPr>
          <a:xfrm>
            <a:off x="9220200" y="3013308"/>
            <a:ext cx="2200276" cy="517239"/>
          </a:xfrm>
          <a:prstGeom prst="roundRect">
            <a:avLst>
              <a:gd name="adj" fmla="val 50000"/>
            </a:avLst>
          </a:prstGeom>
          <a:solidFill>
            <a:srgbClr val="87D2D2"/>
          </a:solidFill>
          <a:ln w="19050">
            <a:solidFill>
              <a:srgbClr val="009999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tIns="72000" rtlCol="0" anchor="ctr"/>
          <a:lstStyle/>
          <a:p>
            <a:pPr algn="ctr">
              <a:lnSpc>
                <a:spcPct val="80000"/>
              </a:lnSpc>
            </a:pPr>
            <a:r>
              <a:rPr lang="de-AT" sz="1000" i="1" err="1">
                <a:solidFill>
                  <a:schemeClr val="accent3"/>
                </a:solidFill>
              </a:rPr>
              <a:t>eHealth</a:t>
            </a:r>
            <a:endParaRPr lang="de-AT" sz="1000" i="1">
              <a:solidFill>
                <a:schemeClr val="accent3"/>
              </a:solidFill>
            </a:endParaRPr>
          </a:p>
          <a:p>
            <a:pPr algn="ctr">
              <a:lnSpc>
                <a:spcPct val="80000"/>
              </a:lnSpc>
            </a:pPr>
            <a:r>
              <a:rPr lang="de-AT" b="1">
                <a:solidFill>
                  <a:schemeClr val="bg1"/>
                </a:solidFill>
              </a:rPr>
              <a:t>Registry</a:t>
            </a:r>
          </a:p>
        </p:txBody>
      </p:sp>
      <p:sp>
        <p:nvSpPr>
          <p:cNvPr id="31" name="Rectangle 13">
            <a:extLst>
              <a:ext uri="{FF2B5EF4-FFF2-40B4-BE49-F238E27FC236}">
                <a16:creationId xmlns:a16="http://schemas.microsoft.com/office/drawing/2014/main" id="{5759FB33-181A-5897-0AD9-FF58DFE8B7E2}"/>
              </a:ext>
            </a:extLst>
          </p:cNvPr>
          <p:cNvSpPr>
            <a:spLocks/>
          </p:cNvSpPr>
          <p:nvPr/>
        </p:nvSpPr>
        <p:spPr>
          <a:xfrm>
            <a:off x="6218093" y="4610700"/>
            <a:ext cx="1688897" cy="482982"/>
          </a:xfrm>
          <a:prstGeom prst="roundRect">
            <a:avLst>
              <a:gd name="adj" fmla="val 50000"/>
            </a:avLst>
          </a:prstGeom>
          <a:solidFill>
            <a:srgbClr val="87D2D2"/>
          </a:solidFill>
          <a:ln w="19050">
            <a:solidFill>
              <a:srgbClr val="009999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tIns="72000" rtlCol="0" anchor="ctr"/>
          <a:lstStyle/>
          <a:p>
            <a:pPr algn="ctr">
              <a:lnSpc>
                <a:spcPct val="80000"/>
              </a:lnSpc>
            </a:pPr>
            <a:r>
              <a:rPr lang="de-AT" sz="1000" i="1" err="1">
                <a:solidFill>
                  <a:schemeClr val="accent3"/>
                </a:solidFill>
              </a:rPr>
              <a:t>eHealth</a:t>
            </a:r>
            <a:endParaRPr lang="de-AT" sz="1000" i="1">
              <a:solidFill>
                <a:schemeClr val="accent3"/>
              </a:solidFill>
            </a:endParaRPr>
          </a:p>
          <a:p>
            <a:pPr algn="ctr">
              <a:lnSpc>
                <a:spcPct val="80000"/>
              </a:lnSpc>
            </a:pPr>
            <a:r>
              <a:rPr lang="de-AT" sz="1600" b="1">
                <a:solidFill>
                  <a:schemeClr val="bg1"/>
                </a:solidFill>
              </a:rPr>
              <a:t>TPI </a:t>
            </a:r>
            <a:r>
              <a:rPr lang="de-AT" sz="1600" b="1" err="1">
                <a:solidFill>
                  <a:schemeClr val="bg1"/>
                </a:solidFill>
              </a:rPr>
              <a:t>Facade</a:t>
            </a:r>
            <a:endParaRPr lang="de-AT" sz="1600" b="1">
              <a:solidFill>
                <a:schemeClr val="bg1"/>
              </a:solidFill>
            </a:endParaRPr>
          </a:p>
        </p:txBody>
      </p:sp>
      <p:sp>
        <p:nvSpPr>
          <p:cNvPr id="35" name="Rectangle 20">
            <a:extLst>
              <a:ext uri="{FF2B5EF4-FFF2-40B4-BE49-F238E27FC236}">
                <a16:creationId xmlns:a16="http://schemas.microsoft.com/office/drawing/2014/main" id="{9205A34F-9C37-D7ED-7869-39D0F7C01624}"/>
              </a:ext>
            </a:extLst>
          </p:cNvPr>
          <p:cNvSpPr>
            <a:spLocks/>
          </p:cNvSpPr>
          <p:nvPr/>
        </p:nvSpPr>
        <p:spPr>
          <a:xfrm>
            <a:off x="8689388" y="4610700"/>
            <a:ext cx="1688897" cy="482982"/>
          </a:xfrm>
          <a:prstGeom prst="roundRect">
            <a:avLst>
              <a:gd name="adj" fmla="val 50000"/>
            </a:avLst>
          </a:prstGeom>
          <a:solidFill>
            <a:srgbClr val="87D2D2"/>
          </a:solidFill>
          <a:ln w="19050">
            <a:solidFill>
              <a:srgbClr val="009999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tIns="72000" rtlCol="0" anchor="ctr"/>
          <a:lstStyle/>
          <a:p>
            <a:pPr algn="ctr">
              <a:lnSpc>
                <a:spcPct val="80000"/>
              </a:lnSpc>
            </a:pPr>
            <a:r>
              <a:rPr lang="de-AT" sz="1000" i="1" err="1">
                <a:solidFill>
                  <a:schemeClr val="accent3"/>
                </a:solidFill>
              </a:rPr>
              <a:t>eHealth</a:t>
            </a:r>
            <a:endParaRPr lang="de-AT" sz="1000" i="1">
              <a:solidFill>
                <a:schemeClr val="accent3"/>
              </a:solidFill>
            </a:endParaRPr>
          </a:p>
          <a:p>
            <a:pPr algn="ctr">
              <a:lnSpc>
                <a:spcPct val="80000"/>
              </a:lnSpc>
            </a:pPr>
            <a:r>
              <a:rPr lang="de-AT" sz="1600" b="1">
                <a:solidFill>
                  <a:schemeClr val="bg1"/>
                </a:solidFill>
              </a:rPr>
              <a:t>Repository</a:t>
            </a:r>
          </a:p>
        </p:txBody>
      </p:sp>
      <p:sp>
        <p:nvSpPr>
          <p:cNvPr id="36" name="TextBox 22">
            <a:extLst>
              <a:ext uri="{FF2B5EF4-FFF2-40B4-BE49-F238E27FC236}">
                <a16:creationId xmlns:a16="http://schemas.microsoft.com/office/drawing/2014/main" id="{9A538587-9ADC-E4DC-4D6D-C00538EB7D81}"/>
              </a:ext>
            </a:extLst>
          </p:cNvPr>
          <p:cNvSpPr txBox="1">
            <a:spLocks/>
          </p:cNvSpPr>
          <p:nvPr/>
        </p:nvSpPr>
        <p:spPr>
          <a:xfrm>
            <a:off x="5157050" y="3329525"/>
            <a:ext cx="140051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AT" sz="1200" err="1"/>
              <a:t>Notification</a:t>
            </a:r>
            <a:r>
              <a:rPr lang="de-AT" sz="1200"/>
              <a:t> (</a:t>
            </a:r>
            <a:r>
              <a:rPr lang="de-AT" sz="1200" err="1"/>
              <a:t>Structure</a:t>
            </a:r>
            <a:r>
              <a:rPr lang="de-AT" sz="1200"/>
              <a:t>)</a:t>
            </a:r>
          </a:p>
        </p:txBody>
      </p:sp>
      <p:sp>
        <p:nvSpPr>
          <p:cNvPr id="42" name="TextBox 35">
            <a:extLst>
              <a:ext uri="{FF2B5EF4-FFF2-40B4-BE49-F238E27FC236}">
                <a16:creationId xmlns:a16="http://schemas.microsoft.com/office/drawing/2014/main" id="{48B70FBF-3834-9B8A-DA40-BA5894319CE0}"/>
              </a:ext>
            </a:extLst>
          </p:cNvPr>
          <p:cNvSpPr txBox="1">
            <a:spLocks/>
          </p:cNvSpPr>
          <p:nvPr/>
        </p:nvSpPr>
        <p:spPr>
          <a:xfrm>
            <a:off x="7635635" y="3335772"/>
            <a:ext cx="1196132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AT" sz="1200"/>
              <a:t>Register/</a:t>
            </a:r>
            <a:r>
              <a:rPr lang="de-AT" sz="1200" err="1"/>
              <a:t>resolves</a:t>
            </a:r>
            <a:r>
              <a:rPr lang="de-AT" sz="1200"/>
              <a:t> </a:t>
            </a:r>
            <a:br>
              <a:rPr lang="de-AT" sz="1200"/>
            </a:br>
            <a:r>
              <a:rPr lang="de-AT" sz="1200" err="1"/>
              <a:t>with</a:t>
            </a:r>
            <a:r>
              <a:rPr lang="de-AT" sz="1200"/>
              <a:t> </a:t>
            </a:r>
            <a:r>
              <a:rPr lang="de-AT" sz="1200" err="1"/>
              <a:t>demographics</a:t>
            </a:r>
            <a:endParaRPr lang="de-AT" sz="1200"/>
          </a:p>
        </p:txBody>
      </p:sp>
      <p:sp>
        <p:nvSpPr>
          <p:cNvPr id="48" name="TextBox 26">
            <a:extLst>
              <a:ext uri="{FF2B5EF4-FFF2-40B4-BE49-F238E27FC236}">
                <a16:creationId xmlns:a16="http://schemas.microsoft.com/office/drawing/2014/main" id="{54577ACA-66B1-29BD-F46F-79FF70D735F8}"/>
              </a:ext>
            </a:extLst>
          </p:cNvPr>
          <p:cNvSpPr txBox="1">
            <a:spLocks/>
          </p:cNvSpPr>
          <p:nvPr/>
        </p:nvSpPr>
        <p:spPr>
          <a:xfrm>
            <a:off x="3366718" y="5765879"/>
            <a:ext cx="742919" cy="18962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AT" sz="1200" b="1"/>
              <a:t>De</a:t>
            </a:r>
            <a:r>
              <a:rPr lang="de-AT" sz="1200"/>
              <a:t>-</a:t>
            </a:r>
            <a:r>
              <a:rPr lang="de-AT" sz="1200" err="1"/>
              <a:t>Identify</a:t>
            </a:r>
            <a:endParaRPr lang="de-AT" sz="1200"/>
          </a:p>
        </p:txBody>
      </p:sp>
      <p:pic>
        <p:nvPicPr>
          <p:cNvPr id="50" name="Grafik 49">
            <a:extLst>
              <a:ext uri="{FF2B5EF4-FFF2-40B4-BE49-F238E27FC236}">
                <a16:creationId xmlns:a16="http://schemas.microsoft.com/office/drawing/2014/main" id="{9851D3E0-FD4E-F6C9-4D05-31DFF871FD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4376" y="4002212"/>
            <a:ext cx="614200" cy="408333"/>
          </a:xfrm>
          <a:prstGeom prst="rect">
            <a:avLst/>
          </a:prstGeom>
        </p:spPr>
      </p:pic>
      <p:sp>
        <p:nvSpPr>
          <p:cNvPr id="51" name="TextBox 22">
            <a:extLst>
              <a:ext uri="{FF2B5EF4-FFF2-40B4-BE49-F238E27FC236}">
                <a16:creationId xmlns:a16="http://schemas.microsoft.com/office/drawing/2014/main" id="{92FFF94E-0129-2FA5-61C4-CA82330A6CF1}"/>
              </a:ext>
            </a:extLst>
          </p:cNvPr>
          <p:cNvSpPr txBox="1">
            <a:spLocks/>
          </p:cNvSpPr>
          <p:nvPr/>
        </p:nvSpPr>
        <p:spPr>
          <a:xfrm>
            <a:off x="3114899" y="3329525"/>
            <a:ext cx="504983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AT" sz="1200"/>
              <a:t>DICOM</a:t>
            </a:r>
            <a:br>
              <a:rPr lang="de-AT" sz="1200"/>
            </a:br>
            <a:r>
              <a:rPr lang="de-AT" sz="1200"/>
              <a:t>Transfer</a:t>
            </a:r>
          </a:p>
        </p:txBody>
      </p:sp>
      <p:sp>
        <p:nvSpPr>
          <p:cNvPr id="68" name="TextBox 22">
            <a:extLst>
              <a:ext uri="{FF2B5EF4-FFF2-40B4-BE49-F238E27FC236}">
                <a16:creationId xmlns:a16="http://schemas.microsoft.com/office/drawing/2014/main" id="{26FE80B9-5E9D-62F3-2CBF-03146E3FFD12}"/>
              </a:ext>
            </a:extLst>
          </p:cNvPr>
          <p:cNvSpPr txBox="1">
            <a:spLocks/>
          </p:cNvSpPr>
          <p:nvPr/>
        </p:nvSpPr>
        <p:spPr>
          <a:xfrm>
            <a:off x="823060" y="4632068"/>
            <a:ext cx="1131933" cy="1846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AT" sz="1200"/>
              <a:t>DICOM Transfer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04BB32E9-52CD-D682-B0B7-EFE8E8AB1525}"/>
              </a:ext>
            </a:extLst>
          </p:cNvPr>
          <p:cNvGrpSpPr>
            <a:grpSpLocks/>
          </p:cNvGrpSpPr>
          <p:nvPr/>
        </p:nvGrpSpPr>
        <p:grpSpPr>
          <a:xfrm>
            <a:off x="9166452" y="1739582"/>
            <a:ext cx="368076" cy="367260"/>
            <a:chOff x="2390245" y="4477500"/>
            <a:chExt cx="477308" cy="476250"/>
          </a:xfrm>
          <a:solidFill>
            <a:schemeClr val="bg1"/>
          </a:solidFill>
        </p:grpSpPr>
        <p:sp>
          <p:nvSpPr>
            <p:cNvPr id="80" name="Freeform 13">
              <a:extLst>
                <a:ext uri="{FF2B5EF4-FFF2-40B4-BE49-F238E27FC236}">
                  <a16:creationId xmlns:a16="http://schemas.microsoft.com/office/drawing/2014/main" id="{4023AA35-0DBD-4E4A-D26F-0A21078CD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0245" y="4886017"/>
              <a:ext cx="477308" cy="67733"/>
            </a:xfrm>
            <a:custGeom>
              <a:avLst/>
              <a:gdLst>
                <a:gd name="T0" fmla="*/ 0 w 903"/>
                <a:gd name="T1" fmla="*/ 0 h 128"/>
                <a:gd name="T2" fmla="*/ 0 w 903"/>
                <a:gd name="T3" fmla="*/ 63 h 128"/>
                <a:gd name="T4" fmla="*/ 0 w 903"/>
                <a:gd name="T5" fmla="*/ 63 h 128"/>
                <a:gd name="T6" fmla="*/ 1 w 903"/>
                <a:gd name="T7" fmla="*/ 76 h 128"/>
                <a:gd name="T8" fmla="*/ 5 w 903"/>
                <a:gd name="T9" fmla="*/ 88 h 128"/>
                <a:gd name="T10" fmla="*/ 11 w 903"/>
                <a:gd name="T11" fmla="*/ 99 h 128"/>
                <a:gd name="T12" fmla="*/ 20 w 903"/>
                <a:gd name="T13" fmla="*/ 109 h 128"/>
                <a:gd name="T14" fmla="*/ 29 w 903"/>
                <a:gd name="T15" fmla="*/ 117 h 128"/>
                <a:gd name="T16" fmla="*/ 40 w 903"/>
                <a:gd name="T17" fmla="*/ 123 h 128"/>
                <a:gd name="T18" fmla="*/ 52 w 903"/>
                <a:gd name="T19" fmla="*/ 127 h 128"/>
                <a:gd name="T20" fmla="*/ 65 w 903"/>
                <a:gd name="T21" fmla="*/ 128 h 128"/>
                <a:gd name="T22" fmla="*/ 838 w 903"/>
                <a:gd name="T23" fmla="*/ 128 h 128"/>
                <a:gd name="T24" fmla="*/ 838 w 903"/>
                <a:gd name="T25" fmla="*/ 128 h 128"/>
                <a:gd name="T26" fmla="*/ 852 w 903"/>
                <a:gd name="T27" fmla="*/ 127 h 128"/>
                <a:gd name="T28" fmla="*/ 864 w 903"/>
                <a:gd name="T29" fmla="*/ 123 h 128"/>
                <a:gd name="T30" fmla="*/ 875 w 903"/>
                <a:gd name="T31" fmla="*/ 117 h 128"/>
                <a:gd name="T32" fmla="*/ 884 w 903"/>
                <a:gd name="T33" fmla="*/ 109 h 128"/>
                <a:gd name="T34" fmla="*/ 893 w 903"/>
                <a:gd name="T35" fmla="*/ 99 h 128"/>
                <a:gd name="T36" fmla="*/ 899 w 903"/>
                <a:gd name="T37" fmla="*/ 88 h 128"/>
                <a:gd name="T38" fmla="*/ 902 w 903"/>
                <a:gd name="T39" fmla="*/ 76 h 128"/>
                <a:gd name="T40" fmla="*/ 903 w 903"/>
                <a:gd name="T41" fmla="*/ 63 h 128"/>
                <a:gd name="T42" fmla="*/ 903 w 903"/>
                <a:gd name="T43" fmla="*/ 0 h 128"/>
                <a:gd name="T44" fmla="*/ 0 w 903"/>
                <a:gd name="T45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3" h="128">
                  <a:moveTo>
                    <a:pt x="0" y="0"/>
                  </a:moveTo>
                  <a:lnTo>
                    <a:pt x="0" y="63"/>
                  </a:lnTo>
                  <a:lnTo>
                    <a:pt x="0" y="63"/>
                  </a:lnTo>
                  <a:lnTo>
                    <a:pt x="1" y="76"/>
                  </a:lnTo>
                  <a:lnTo>
                    <a:pt x="5" y="88"/>
                  </a:lnTo>
                  <a:lnTo>
                    <a:pt x="11" y="99"/>
                  </a:lnTo>
                  <a:lnTo>
                    <a:pt x="20" y="109"/>
                  </a:lnTo>
                  <a:lnTo>
                    <a:pt x="29" y="117"/>
                  </a:lnTo>
                  <a:lnTo>
                    <a:pt x="40" y="123"/>
                  </a:lnTo>
                  <a:lnTo>
                    <a:pt x="52" y="127"/>
                  </a:lnTo>
                  <a:lnTo>
                    <a:pt x="65" y="128"/>
                  </a:lnTo>
                  <a:lnTo>
                    <a:pt x="838" y="128"/>
                  </a:lnTo>
                  <a:lnTo>
                    <a:pt x="838" y="128"/>
                  </a:lnTo>
                  <a:lnTo>
                    <a:pt x="852" y="127"/>
                  </a:lnTo>
                  <a:lnTo>
                    <a:pt x="864" y="123"/>
                  </a:lnTo>
                  <a:lnTo>
                    <a:pt x="875" y="117"/>
                  </a:lnTo>
                  <a:lnTo>
                    <a:pt x="884" y="109"/>
                  </a:lnTo>
                  <a:lnTo>
                    <a:pt x="893" y="99"/>
                  </a:lnTo>
                  <a:lnTo>
                    <a:pt x="899" y="88"/>
                  </a:lnTo>
                  <a:lnTo>
                    <a:pt x="902" y="76"/>
                  </a:lnTo>
                  <a:lnTo>
                    <a:pt x="903" y="63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14">
              <a:extLst>
                <a:ext uri="{FF2B5EF4-FFF2-40B4-BE49-F238E27FC236}">
                  <a16:creationId xmlns:a16="http://schemas.microsoft.com/office/drawing/2014/main" id="{10C352A0-5B7F-4EBA-97F8-3F16644574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1045" y="4477500"/>
              <a:ext cx="375708" cy="373592"/>
            </a:xfrm>
            <a:custGeom>
              <a:avLst/>
              <a:gdLst>
                <a:gd name="T0" fmla="*/ 65 w 710"/>
                <a:gd name="T1" fmla="*/ 289 h 707"/>
                <a:gd name="T2" fmla="*/ 710 w 710"/>
                <a:gd name="T3" fmla="*/ 289 h 707"/>
                <a:gd name="T4" fmla="*/ 704 w 710"/>
                <a:gd name="T5" fmla="*/ 264 h 707"/>
                <a:gd name="T6" fmla="*/ 681 w 710"/>
                <a:gd name="T7" fmla="*/ 235 h 707"/>
                <a:gd name="T8" fmla="*/ 645 w 710"/>
                <a:gd name="T9" fmla="*/ 224 h 707"/>
                <a:gd name="T10" fmla="*/ 516 w 710"/>
                <a:gd name="T11" fmla="*/ 143 h 707"/>
                <a:gd name="T12" fmla="*/ 523 w 710"/>
                <a:gd name="T13" fmla="*/ 90 h 707"/>
                <a:gd name="T14" fmla="*/ 539 w 710"/>
                <a:gd name="T15" fmla="*/ 76 h 707"/>
                <a:gd name="T16" fmla="*/ 548 w 710"/>
                <a:gd name="T17" fmla="*/ 55 h 707"/>
                <a:gd name="T18" fmla="*/ 548 w 710"/>
                <a:gd name="T19" fmla="*/ 38 h 707"/>
                <a:gd name="T20" fmla="*/ 534 w 710"/>
                <a:gd name="T21" fmla="*/ 14 h 707"/>
                <a:gd name="T22" fmla="*/ 510 w 710"/>
                <a:gd name="T23" fmla="*/ 1 h 707"/>
                <a:gd name="T24" fmla="*/ 490 w 710"/>
                <a:gd name="T25" fmla="*/ 1 h 707"/>
                <a:gd name="T26" fmla="*/ 466 w 710"/>
                <a:gd name="T27" fmla="*/ 14 h 707"/>
                <a:gd name="T28" fmla="*/ 452 w 710"/>
                <a:gd name="T29" fmla="*/ 38 h 707"/>
                <a:gd name="T30" fmla="*/ 452 w 710"/>
                <a:gd name="T31" fmla="*/ 55 h 707"/>
                <a:gd name="T32" fmla="*/ 461 w 710"/>
                <a:gd name="T33" fmla="*/ 76 h 707"/>
                <a:gd name="T34" fmla="*/ 478 w 710"/>
                <a:gd name="T35" fmla="*/ 90 h 707"/>
                <a:gd name="T36" fmla="*/ 436 w 710"/>
                <a:gd name="T37" fmla="*/ 178 h 707"/>
                <a:gd name="T38" fmla="*/ 371 w 710"/>
                <a:gd name="T39" fmla="*/ 94 h 707"/>
                <a:gd name="T40" fmla="*/ 384 w 710"/>
                <a:gd name="T41" fmla="*/ 86 h 707"/>
                <a:gd name="T42" fmla="*/ 398 w 710"/>
                <a:gd name="T43" fmla="*/ 70 h 707"/>
                <a:gd name="T44" fmla="*/ 403 w 710"/>
                <a:gd name="T45" fmla="*/ 48 h 707"/>
                <a:gd name="T46" fmla="*/ 399 w 710"/>
                <a:gd name="T47" fmla="*/ 29 h 707"/>
                <a:gd name="T48" fmla="*/ 381 w 710"/>
                <a:gd name="T49" fmla="*/ 8 h 707"/>
                <a:gd name="T50" fmla="*/ 355 w 710"/>
                <a:gd name="T51" fmla="*/ 0 h 707"/>
                <a:gd name="T52" fmla="*/ 336 w 710"/>
                <a:gd name="T53" fmla="*/ 4 h 707"/>
                <a:gd name="T54" fmla="*/ 315 w 710"/>
                <a:gd name="T55" fmla="*/ 22 h 707"/>
                <a:gd name="T56" fmla="*/ 307 w 710"/>
                <a:gd name="T57" fmla="*/ 48 h 707"/>
                <a:gd name="T58" fmla="*/ 309 w 710"/>
                <a:gd name="T59" fmla="*/ 62 h 707"/>
                <a:gd name="T60" fmla="*/ 320 w 710"/>
                <a:gd name="T61" fmla="*/ 82 h 707"/>
                <a:gd name="T62" fmla="*/ 339 w 710"/>
                <a:gd name="T63" fmla="*/ 94 h 707"/>
                <a:gd name="T64" fmla="*/ 274 w 710"/>
                <a:gd name="T65" fmla="*/ 178 h 707"/>
                <a:gd name="T66" fmla="*/ 226 w 710"/>
                <a:gd name="T67" fmla="*/ 94 h 707"/>
                <a:gd name="T68" fmla="*/ 244 w 710"/>
                <a:gd name="T69" fmla="*/ 82 h 707"/>
                <a:gd name="T70" fmla="*/ 256 w 710"/>
                <a:gd name="T71" fmla="*/ 62 h 707"/>
                <a:gd name="T72" fmla="*/ 259 w 710"/>
                <a:gd name="T73" fmla="*/ 48 h 707"/>
                <a:gd name="T74" fmla="*/ 250 w 710"/>
                <a:gd name="T75" fmla="*/ 22 h 707"/>
                <a:gd name="T76" fmla="*/ 228 w 710"/>
                <a:gd name="T77" fmla="*/ 4 h 707"/>
                <a:gd name="T78" fmla="*/ 209 w 710"/>
                <a:gd name="T79" fmla="*/ 0 h 707"/>
                <a:gd name="T80" fmla="*/ 183 w 710"/>
                <a:gd name="T81" fmla="*/ 8 h 707"/>
                <a:gd name="T82" fmla="*/ 165 w 710"/>
                <a:gd name="T83" fmla="*/ 29 h 707"/>
                <a:gd name="T84" fmla="*/ 161 w 710"/>
                <a:gd name="T85" fmla="*/ 48 h 707"/>
                <a:gd name="T86" fmla="*/ 167 w 710"/>
                <a:gd name="T87" fmla="*/ 70 h 707"/>
                <a:gd name="T88" fmla="*/ 180 w 710"/>
                <a:gd name="T89" fmla="*/ 86 h 707"/>
                <a:gd name="T90" fmla="*/ 193 w 710"/>
                <a:gd name="T91" fmla="*/ 143 h 707"/>
                <a:gd name="T92" fmla="*/ 65 w 710"/>
                <a:gd name="T93" fmla="*/ 224 h 707"/>
                <a:gd name="T94" fmla="*/ 39 w 710"/>
                <a:gd name="T95" fmla="*/ 230 h 707"/>
                <a:gd name="T96" fmla="*/ 12 w 710"/>
                <a:gd name="T97" fmla="*/ 253 h 707"/>
                <a:gd name="T98" fmla="*/ 0 w 710"/>
                <a:gd name="T99" fmla="*/ 289 h 707"/>
                <a:gd name="T100" fmla="*/ 710 w 710"/>
                <a:gd name="T101" fmla="*/ 289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10" h="707">
                  <a:moveTo>
                    <a:pt x="645" y="643"/>
                  </a:moveTo>
                  <a:lnTo>
                    <a:pt x="65" y="643"/>
                  </a:lnTo>
                  <a:lnTo>
                    <a:pt x="65" y="289"/>
                  </a:lnTo>
                  <a:lnTo>
                    <a:pt x="645" y="289"/>
                  </a:lnTo>
                  <a:lnTo>
                    <a:pt x="645" y="643"/>
                  </a:lnTo>
                  <a:close/>
                  <a:moveTo>
                    <a:pt x="710" y="289"/>
                  </a:moveTo>
                  <a:lnTo>
                    <a:pt x="710" y="289"/>
                  </a:lnTo>
                  <a:lnTo>
                    <a:pt x="709" y="276"/>
                  </a:lnTo>
                  <a:lnTo>
                    <a:pt x="704" y="264"/>
                  </a:lnTo>
                  <a:lnTo>
                    <a:pt x="699" y="253"/>
                  </a:lnTo>
                  <a:lnTo>
                    <a:pt x="691" y="244"/>
                  </a:lnTo>
                  <a:lnTo>
                    <a:pt x="681" y="235"/>
                  </a:lnTo>
                  <a:lnTo>
                    <a:pt x="670" y="230"/>
                  </a:lnTo>
                  <a:lnTo>
                    <a:pt x="658" y="226"/>
                  </a:lnTo>
                  <a:lnTo>
                    <a:pt x="645" y="224"/>
                  </a:lnTo>
                  <a:lnTo>
                    <a:pt x="468" y="224"/>
                  </a:lnTo>
                  <a:lnTo>
                    <a:pt x="468" y="191"/>
                  </a:lnTo>
                  <a:lnTo>
                    <a:pt x="516" y="143"/>
                  </a:lnTo>
                  <a:lnTo>
                    <a:pt x="516" y="94"/>
                  </a:lnTo>
                  <a:lnTo>
                    <a:pt x="516" y="94"/>
                  </a:lnTo>
                  <a:lnTo>
                    <a:pt x="523" y="90"/>
                  </a:lnTo>
                  <a:lnTo>
                    <a:pt x="529" y="86"/>
                  </a:lnTo>
                  <a:lnTo>
                    <a:pt x="534" y="82"/>
                  </a:lnTo>
                  <a:lnTo>
                    <a:pt x="539" y="76"/>
                  </a:lnTo>
                  <a:lnTo>
                    <a:pt x="543" y="70"/>
                  </a:lnTo>
                  <a:lnTo>
                    <a:pt x="546" y="62"/>
                  </a:lnTo>
                  <a:lnTo>
                    <a:pt x="548" y="55"/>
                  </a:lnTo>
                  <a:lnTo>
                    <a:pt x="549" y="48"/>
                  </a:lnTo>
                  <a:lnTo>
                    <a:pt x="549" y="48"/>
                  </a:lnTo>
                  <a:lnTo>
                    <a:pt x="548" y="38"/>
                  </a:lnTo>
                  <a:lnTo>
                    <a:pt x="545" y="29"/>
                  </a:lnTo>
                  <a:lnTo>
                    <a:pt x="540" y="22"/>
                  </a:lnTo>
                  <a:lnTo>
                    <a:pt x="534" y="14"/>
                  </a:lnTo>
                  <a:lnTo>
                    <a:pt x="527" y="8"/>
                  </a:lnTo>
                  <a:lnTo>
                    <a:pt x="519" y="4"/>
                  </a:lnTo>
                  <a:lnTo>
                    <a:pt x="510" y="1"/>
                  </a:lnTo>
                  <a:lnTo>
                    <a:pt x="501" y="0"/>
                  </a:lnTo>
                  <a:lnTo>
                    <a:pt x="501" y="0"/>
                  </a:lnTo>
                  <a:lnTo>
                    <a:pt x="490" y="1"/>
                  </a:lnTo>
                  <a:lnTo>
                    <a:pt x="481" y="4"/>
                  </a:lnTo>
                  <a:lnTo>
                    <a:pt x="473" y="8"/>
                  </a:lnTo>
                  <a:lnTo>
                    <a:pt x="466" y="14"/>
                  </a:lnTo>
                  <a:lnTo>
                    <a:pt x="460" y="22"/>
                  </a:lnTo>
                  <a:lnTo>
                    <a:pt x="456" y="29"/>
                  </a:lnTo>
                  <a:lnTo>
                    <a:pt x="452" y="38"/>
                  </a:lnTo>
                  <a:lnTo>
                    <a:pt x="451" y="48"/>
                  </a:lnTo>
                  <a:lnTo>
                    <a:pt x="451" y="48"/>
                  </a:lnTo>
                  <a:lnTo>
                    <a:pt x="452" y="55"/>
                  </a:lnTo>
                  <a:lnTo>
                    <a:pt x="454" y="62"/>
                  </a:lnTo>
                  <a:lnTo>
                    <a:pt x="457" y="70"/>
                  </a:lnTo>
                  <a:lnTo>
                    <a:pt x="461" y="76"/>
                  </a:lnTo>
                  <a:lnTo>
                    <a:pt x="466" y="82"/>
                  </a:lnTo>
                  <a:lnTo>
                    <a:pt x="470" y="86"/>
                  </a:lnTo>
                  <a:lnTo>
                    <a:pt x="478" y="90"/>
                  </a:lnTo>
                  <a:lnTo>
                    <a:pt x="484" y="94"/>
                  </a:lnTo>
                  <a:lnTo>
                    <a:pt x="484" y="130"/>
                  </a:lnTo>
                  <a:lnTo>
                    <a:pt x="436" y="178"/>
                  </a:lnTo>
                  <a:lnTo>
                    <a:pt x="436" y="224"/>
                  </a:lnTo>
                  <a:lnTo>
                    <a:pt x="371" y="224"/>
                  </a:lnTo>
                  <a:lnTo>
                    <a:pt x="371" y="94"/>
                  </a:lnTo>
                  <a:lnTo>
                    <a:pt x="371" y="94"/>
                  </a:lnTo>
                  <a:lnTo>
                    <a:pt x="378" y="90"/>
                  </a:lnTo>
                  <a:lnTo>
                    <a:pt x="384" y="86"/>
                  </a:lnTo>
                  <a:lnTo>
                    <a:pt x="390" y="82"/>
                  </a:lnTo>
                  <a:lnTo>
                    <a:pt x="395" y="76"/>
                  </a:lnTo>
                  <a:lnTo>
                    <a:pt x="398" y="70"/>
                  </a:lnTo>
                  <a:lnTo>
                    <a:pt x="401" y="62"/>
                  </a:lnTo>
                  <a:lnTo>
                    <a:pt x="403" y="55"/>
                  </a:lnTo>
                  <a:lnTo>
                    <a:pt x="403" y="48"/>
                  </a:lnTo>
                  <a:lnTo>
                    <a:pt x="403" y="48"/>
                  </a:lnTo>
                  <a:lnTo>
                    <a:pt x="402" y="38"/>
                  </a:lnTo>
                  <a:lnTo>
                    <a:pt x="399" y="29"/>
                  </a:lnTo>
                  <a:lnTo>
                    <a:pt x="395" y="22"/>
                  </a:lnTo>
                  <a:lnTo>
                    <a:pt x="389" y="14"/>
                  </a:lnTo>
                  <a:lnTo>
                    <a:pt x="381" y="8"/>
                  </a:lnTo>
                  <a:lnTo>
                    <a:pt x="374" y="4"/>
                  </a:lnTo>
                  <a:lnTo>
                    <a:pt x="364" y="1"/>
                  </a:lnTo>
                  <a:lnTo>
                    <a:pt x="355" y="0"/>
                  </a:lnTo>
                  <a:lnTo>
                    <a:pt x="355" y="0"/>
                  </a:lnTo>
                  <a:lnTo>
                    <a:pt x="345" y="1"/>
                  </a:lnTo>
                  <a:lnTo>
                    <a:pt x="336" y="4"/>
                  </a:lnTo>
                  <a:lnTo>
                    <a:pt x="328" y="8"/>
                  </a:lnTo>
                  <a:lnTo>
                    <a:pt x="321" y="14"/>
                  </a:lnTo>
                  <a:lnTo>
                    <a:pt x="315" y="22"/>
                  </a:lnTo>
                  <a:lnTo>
                    <a:pt x="310" y="29"/>
                  </a:lnTo>
                  <a:lnTo>
                    <a:pt x="308" y="38"/>
                  </a:lnTo>
                  <a:lnTo>
                    <a:pt x="307" y="48"/>
                  </a:lnTo>
                  <a:lnTo>
                    <a:pt x="307" y="48"/>
                  </a:lnTo>
                  <a:lnTo>
                    <a:pt x="307" y="55"/>
                  </a:lnTo>
                  <a:lnTo>
                    <a:pt x="309" y="62"/>
                  </a:lnTo>
                  <a:lnTo>
                    <a:pt x="312" y="70"/>
                  </a:lnTo>
                  <a:lnTo>
                    <a:pt x="315" y="76"/>
                  </a:lnTo>
                  <a:lnTo>
                    <a:pt x="320" y="82"/>
                  </a:lnTo>
                  <a:lnTo>
                    <a:pt x="326" y="86"/>
                  </a:lnTo>
                  <a:lnTo>
                    <a:pt x="332" y="90"/>
                  </a:lnTo>
                  <a:lnTo>
                    <a:pt x="339" y="94"/>
                  </a:lnTo>
                  <a:lnTo>
                    <a:pt x="339" y="224"/>
                  </a:lnTo>
                  <a:lnTo>
                    <a:pt x="274" y="224"/>
                  </a:lnTo>
                  <a:lnTo>
                    <a:pt x="274" y="178"/>
                  </a:lnTo>
                  <a:lnTo>
                    <a:pt x="226" y="130"/>
                  </a:lnTo>
                  <a:lnTo>
                    <a:pt x="226" y="94"/>
                  </a:lnTo>
                  <a:lnTo>
                    <a:pt x="226" y="94"/>
                  </a:lnTo>
                  <a:lnTo>
                    <a:pt x="232" y="90"/>
                  </a:lnTo>
                  <a:lnTo>
                    <a:pt x="239" y="86"/>
                  </a:lnTo>
                  <a:lnTo>
                    <a:pt x="244" y="82"/>
                  </a:lnTo>
                  <a:lnTo>
                    <a:pt x="249" y="76"/>
                  </a:lnTo>
                  <a:lnTo>
                    <a:pt x="252" y="70"/>
                  </a:lnTo>
                  <a:lnTo>
                    <a:pt x="256" y="62"/>
                  </a:lnTo>
                  <a:lnTo>
                    <a:pt x="257" y="55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7" y="38"/>
                  </a:lnTo>
                  <a:lnTo>
                    <a:pt x="254" y="29"/>
                  </a:lnTo>
                  <a:lnTo>
                    <a:pt x="250" y="22"/>
                  </a:lnTo>
                  <a:lnTo>
                    <a:pt x="244" y="14"/>
                  </a:lnTo>
                  <a:lnTo>
                    <a:pt x="237" y="8"/>
                  </a:lnTo>
                  <a:lnTo>
                    <a:pt x="228" y="4"/>
                  </a:lnTo>
                  <a:lnTo>
                    <a:pt x="220" y="1"/>
                  </a:lnTo>
                  <a:lnTo>
                    <a:pt x="209" y="0"/>
                  </a:lnTo>
                  <a:lnTo>
                    <a:pt x="209" y="0"/>
                  </a:lnTo>
                  <a:lnTo>
                    <a:pt x="200" y="1"/>
                  </a:lnTo>
                  <a:lnTo>
                    <a:pt x="191" y="4"/>
                  </a:lnTo>
                  <a:lnTo>
                    <a:pt x="183" y="8"/>
                  </a:lnTo>
                  <a:lnTo>
                    <a:pt x="175" y="14"/>
                  </a:lnTo>
                  <a:lnTo>
                    <a:pt x="169" y="22"/>
                  </a:lnTo>
                  <a:lnTo>
                    <a:pt x="165" y="29"/>
                  </a:lnTo>
                  <a:lnTo>
                    <a:pt x="162" y="38"/>
                  </a:lnTo>
                  <a:lnTo>
                    <a:pt x="161" y="48"/>
                  </a:lnTo>
                  <a:lnTo>
                    <a:pt x="161" y="48"/>
                  </a:lnTo>
                  <a:lnTo>
                    <a:pt x="162" y="55"/>
                  </a:lnTo>
                  <a:lnTo>
                    <a:pt x="163" y="62"/>
                  </a:lnTo>
                  <a:lnTo>
                    <a:pt x="167" y="70"/>
                  </a:lnTo>
                  <a:lnTo>
                    <a:pt x="171" y="76"/>
                  </a:lnTo>
                  <a:lnTo>
                    <a:pt x="175" y="82"/>
                  </a:lnTo>
                  <a:lnTo>
                    <a:pt x="180" y="86"/>
                  </a:lnTo>
                  <a:lnTo>
                    <a:pt x="186" y="90"/>
                  </a:lnTo>
                  <a:lnTo>
                    <a:pt x="193" y="94"/>
                  </a:lnTo>
                  <a:lnTo>
                    <a:pt x="193" y="143"/>
                  </a:lnTo>
                  <a:lnTo>
                    <a:pt x="242" y="191"/>
                  </a:lnTo>
                  <a:lnTo>
                    <a:pt x="242" y="224"/>
                  </a:lnTo>
                  <a:lnTo>
                    <a:pt x="65" y="224"/>
                  </a:lnTo>
                  <a:lnTo>
                    <a:pt x="65" y="224"/>
                  </a:lnTo>
                  <a:lnTo>
                    <a:pt x="51" y="226"/>
                  </a:lnTo>
                  <a:lnTo>
                    <a:pt x="39" y="230"/>
                  </a:lnTo>
                  <a:lnTo>
                    <a:pt x="29" y="235"/>
                  </a:lnTo>
                  <a:lnTo>
                    <a:pt x="19" y="244"/>
                  </a:lnTo>
                  <a:lnTo>
                    <a:pt x="12" y="253"/>
                  </a:lnTo>
                  <a:lnTo>
                    <a:pt x="6" y="264"/>
                  </a:lnTo>
                  <a:lnTo>
                    <a:pt x="1" y="276"/>
                  </a:lnTo>
                  <a:lnTo>
                    <a:pt x="0" y="289"/>
                  </a:lnTo>
                  <a:lnTo>
                    <a:pt x="0" y="707"/>
                  </a:lnTo>
                  <a:lnTo>
                    <a:pt x="710" y="707"/>
                  </a:lnTo>
                  <a:lnTo>
                    <a:pt x="710" y="2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15">
              <a:extLst>
                <a:ext uri="{FF2B5EF4-FFF2-40B4-BE49-F238E27FC236}">
                  <a16:creationId xmlns:a16="http://schemas.microsoft.com/office/drawing/2014/main" id="{272A5989-842A-BC3F-6675-AFBF8BDA3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9104" y="4663767"/>
              <a:ext cx="119592" cy="119592"/>
            </a:xfrm>
            <a:custGeom>
              <a:avLst/>
              <a:gdLst>
                <a:gd name="T0" fmla="*/ 80 w 226"/>
                <a:gd name="T1" fmla="*/ 225 h 225"/>
                <a:gd name="T2" fmla="*/ 145 w 226"/>
                <a:gd name="T3" fmla="*/ 225 h 225"/>
                <a:gd name="T4" fmla="*/ 145 w 226"/>
                <a:gd name="T5" fmla="*/ 145 h 225"/>
                <a:gd name="T6" fmla="*/ 226 w 226"/>
                <a:gd name="T7" fmla="*/ 145 h 225"/>
                <a:gd name="T8" fmla="*/ 226 w 226"/>
                <a:gd name="T9" fmla="*/ 80 h 225"/>
                <a:gd name="T10" fmla="*/ 145 w 226"/>
                <a:gd name="T11" fmla="*/ 80 h 225"/>
                <a:gd name="T12" fmla="*/ 145 w 226"/>
                <a:gd name="T13" fmla="*/ 0 h 225"/>
                <a:gd name="T14" fmla="*/ 80 w 226"/>
                <a:gd name="T15" fmla="*/ 0 h 225"/>
                <a:gd name="T16" fmla="*/ 80 w 226"/>
                <a:gd name="T17" fmla="*/ 80 h 225"/>
                <a:gd name="T18" fmla="*/ 0 w 226"/>
                <a:gd name="T19" fmla="*/ 80 h 225"/>
                <a:gd name="T20" fmla="*/ 0 w 226"/>
                <a:gd name="T21" fmla="*/ 145 h 225"/>
                <a:gd name="T22" fmla="*/ 80 w 226"/>
                <a:gd name="T23" fmla="*/ 145 h 225"/>
                <a:gd name="T24" fmla="*/ 80 w 226"/>
                <a:gd name="T25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" h="225">
                  <a:moveTo>
                    <a:pt x="80" y="225"/>
                  </a:moveTo>
                  <a:lnTo>
                    <a:pt x="145" y="225"/>
                  </a:lnTo>
                  <a:lnTo>
                    <a:pt x="145" y="145"/>
                  </a:lnTo>
                  <a:lnTo>
                    <a:pt x="226" y="145"/>
                  </a:lnTo>
                  <a:lnTo>
                    <a:pt x="226" y="80"/>
                  </a:lnTo>
                  <a:lnTo>
                    <a:pt x="145" y="80"/>
                  </a:lnTo>
                  <a:lnTo>
                    <a:pt x="145" y="0"/>
                  </a:lnTo>
                  <a:lnTo>
                    <a:pt x="80" y="0"/>
                  </a:lnTo>
                  <a:lnTo>
                    <a:pt x="80" y="80"/>
                  </a:lnTo>
                  <a:lnTo>
                    <a:pt x="0" y="80"/>
                  </a:lnTo>
                  <a:lnTo>
                    <a:pt x="0" y="145"/>
                  </a:lnTo>
                  <a:lnTo>
                    <a:pt x="80" y="145"/>
                  </a:lnTo>
                  <a:lnTo>
                    <a:pt x="80" y="2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85" name="Gruppieren 84">
            <a:extLst>
              <a:ext uri="{FF2B5EF4-FFF2-40B4-BE49-F238E27FC236}">
                <a16:creationId xmlns:a16="http://schemas.microsoft.com/office/drawing/2014/main" id="{4EE7907E-2D4B-E06F-B7F5-FAC9552DEE94}"/>
              </a:ext>
            </a:extLst>
          </p:cNvPr>
          <p:cNvGrpSpPr/>
          <p:nvPr/>
        </p:nvGrpSpPr>
        <p:grpSpPr>
          <a:xfrm>
            <a:off x="9832234" y="1730715"/>
            <a:ext cx="1669204" cy="393359"/>
            <a:chOff x="8537926" y="1146540"/>
            <a:chExt cx="1815748" cy="427892"/>
          </a:xfrm>
        </p:grpSpPr>
        <p:pic>
          <p:nvPicPr>
            <p:cNvPr id="83" name="Grafik 82">
              <a:extLst>
                <a:ext uri="{FF2B5EF4-FFF2-40B4-BE49-F238E27FC236}">
                  <a16:creationId xmlns:a16="http://schemas.microsoft.com/office/drawing/2014/main" id="{EE8C7C9D-546B-AA39-8C76-C9769FF749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biLevel thresh="25000"/>
            </a:blip>
            <a:srcRect r="42974" b="39474"/>
            <a:stretch/>
          </p:blipFill>
          <p:spPr>
            <a:xfrm>
              <a:off x="8537926" y="1146540"/>
              <a:ext cx="1725262" cy="246920"/>
            </a:xfrm>
            <a:prstGeom prst="rect">
              <a:avLst/>
            </a:prstGeom>
          </p:spPr>
        </p:pic>
        <p:pic>
          <p:nvPicPr>
            <p:cNvPr id="84" name="Grafik 83">
              <a:extLst>
                <a:ext uri="{FF2B5EF4-FFF2-40B4-BE49-F238E27FC236}">
                  <a16:creationId xmlns:a16="http://schemas.microsoft.com/office/drawing/2014/main" id="{ADA5FFE6-4881-172E-E3AB-FC77897B7CA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biLevel thresh="25000"/>
            </a:blip>
            <a:srcRect l="57813" b="39474"/>
            <a:stretch/>
          </p:blipFill>
          <p:spPr>
            <a:xfrm>
              <a:off x="9077324" y="1327512"/>
              <a:ext cx="1276350" cy="246920"/>
            </a:xfrm>
            <a:prstGeom prst="rect">
              <a:avLst/>
            </a:prstGeom>
          </p:spPr>
        </p:pic>
      </p:grpSp>
      <p:grpSp>
        <p:nvGrpSpPr>
          <p:cNvPr id="108" name="Gruppieren 107">
            <a:extLst>
              <a:ext uri="{FF2B5EF4-FFF2-40B4-BE49-F238E27FC236}">
                <a16:creationId xmlns:a16="http://schemas.microsoft.com/office/drawing/2014/main" id="{6DBC9C5D-EC9C-3595-B700-9077EC81620B}"/>
              </a:ext>
            </a:extLst>
          </p:cNvPr>
          <p:cNvGrpSpPr/>
          <p:nvPr/>
        </p:nvGrpSpPr>
        <p:grpSpPr>
          <a:xfrm>
            <a:off x="10694099" y="5274136"/>
            <a:ext cx="554926" cy="554926"/>
            <a:chOff x="9798749" y="5417011"/>
            <a:chExt cx="554926" cy="554926"/>
          </a:xfrm>
        </p:grpSpPr>
        <p:grpSp>
          <p:nvGrpSpPr>
            <p:cNvPr id="106" name="Gruppieren 105">
              <a:extLst>
                <a:ext uri="{FF2B5EF4-FFF2-40B4-BE49-F238E27FC236}">
                  <a16:creationId xmlns:a16="http://schemas.microsoft.com/office/drawing/2014/main" id="{16553977-E07D-424D-FCF7-A58701722209}"/>
                </a:ext>
              </a:extLst>
            </p:cNvPr>
            <p:cNvGrpSpPr/>
            <p:nvPr/>
          </p:nvGrpSpPr>
          <p:grpSpPr>
            <a:xfrm>
              <a:off x="9798749" y="5417011"/>
              <a:ext cx="554926" cy="554926"/>
              <a:chOff x="9798749" y="5417011"/>
              <a:chExt cx="554926" cy="554926"/>
            </a:xfrm>
          </p:grpSpPr>
          <p:sp>
            <p:nvSpPr>
              <p:cNvPr id="104" name="Ellipse 103">
                <a:extLst>
                  <a:ext uri="{FF2B5EF4-FFF2-40B4-BE49-F238E27FC236}">
                    <a16:creationId xmlns:a16="http://schemas.microsoft.com/office/drawing/2014/main" id="{FE4BA38F-1EA3-6604-4BCD-536222607E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798749" y="5417011"/>
                <a:ext cx="554926" cy="55492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Ellipse 104">
                <a:extLst>
                  <a:ext uri="{FF2B5EF4-FFF2-40B4-BE49-F238E27FC236}">
                    <a16:creationId xmlns:a16="http://schemas.microsoft.com/office/drawing/2014/main" id="{BFE5B4EE-5A8A-72FC-CBB8-C9AD816ADBE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853518" y="5471780"/>
                <a:ext cx="445388" cy="44538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07" name="Grafik 102">
              <a:extLst>
                <a:ext uri="{FF2B5EF4-FFF2-40B4-BE49-F238E27FC236}">
                  <a16:creationId xmlns:a16="http://schemas.microsoft.com/office/drawing/2014/main" id="{1CF2E75D-563F-0F43-E86E-29E98E792F93}"/>
                </a:ext>
              </a:extLst>
            </p:cNvPr>
            <p:cNvSpPr/>
            <p:nvPr/>
          </p:nvSpPr>
          <p:spPr>
            <a:xfrm rot="18900000">
              <a:off x="9934808" y="5606288"/>
              <a:ext cx="269408" cy="176150"/>
            </a:xfrm>
            <a:custGeom>
              <a:avLst/>
              <a:gdLst>
                <a:gd name="connsiteX0" fmla="*/ 233363 w 247650"/>
                <a:gd name="connsiteY0" fmla="*/ 104775 h 161925"/>
                <a:gd name="connsiteX1" fmla="*/ 190500 w 247650"/>
                <a:gd name="connsiteY1" fmla="*/ 104775 h 161925"/>
                <a:gd name="connsiteX2" fmla="*/ 190500 w 247650"/>
                <a:gd name="connsiteY2" fmla="*/ 57150 h 161925"/>
                <a:gd name="connsiteX3" fmla="*/ 233363 w 247650"/>
                <a:gd name="connsiteY3" fmla="*/ 57150 h 161925"/>
                <a:gd name="connsiteX4" fmla="*/ 247650 w 247650"/>
                <a:gd name="connsiteY4" fmla="*/ 42863 h 161925"/>
                <a:gd name="connsiteX5" fmla="*/ 233363 w 247650"/>
                <a:gd name="connsiteY5" fmla="*/ 28575 h 161925"/>
                <a:gd name="connsiteX6" fmla="*/ 190500 w 247650"/>
                <a:gd name="connsiteY6" fmla="*/ 28575 h 161925"/>
                <a:gd name="connsiteX7" fmla="*/ 190500 w 247650"/>
                <a:gd name="connsiteY7" fmla="*/ 0 h 161925"/>
                <a:gd name="connsiteX8" fmla="*/ 142875 w 247650"/>
                <a:gd name="connsiteY8" fmla="*/ 0 h 161925"/>
                <a:gd name="connsiteX9" fmla="*/ 85725 w 247650"/>
                <a:gd name="connsiteY9" fmla="*/ 57150 h 161925"/>
                <a:gd name="connsiteX10" fmla="*/ 19050 w 247650"/>
                <a:gd name="connsiteY10" fmla="*/ 57150 h 161925"/>
                <a:gd name="connsiteX11" fmla="*/ 0 w 247650"/>
                <a:gd name="connsiteY11" fmla="*/ 104775 h 161925"/>
                <a:gd name="connsiteX12" fmla="*/ 85725 w 247650"/>
                <a:gd name="connsiteY12" fmla="*/ 104775 h 161925"/>
                <a:gd name="connsiteX13" fmla="*/ 142875 w 247650"/>
                <a:gd name="connsiteY13" fmla="*/ 161925 h 161925"/>
                <a:gd name="connsiteX14" fmla="*/ 190500 w 247650"/>
                <a:gd name="connsiteY14" fmla="*/ 161925 h 161925"/>
                <a:gd name="connsiteX15" fmla="*/ 190500 w 247650"/>
                <a:gd name="connsiteY15" fmla="*/ 133350 h 161925"/>
                <a:gd name="connsiteX16" fmla="*/ 233363 w 247650"/>
                <a:gd name="connsiteY16" fmla="*/ 133350 h 161925"/>
                <a:gd name="connsiteX17" fmla="*/ 247650 w 247650"/>
                <a:gd name="connsiteY17" fmla="*/ 119063 h 161925"/>
                <a:gd name="connsiteX18" fmla="*/ 233363 w 247650"/>
                <a:gd name="connsiteY18" fmla="*/ 10477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7650" h="161925">
                  <a:moveTo>
                    <a:pt x="233363" y="104775"/>
                  </a:moveTo>
                  <a:lnTo>
                    <a:pt x="190500" y="104775"/>
                  </a:lnTo>
                  <a:lnTo>
                    <a:pt x="190500" y="57150"/>
                  </a:lnTo>
                  <a:lnTo>
                    <a:pt x="233363" y="57150"/>
                  </a:lnTo>
                  <a:cubicBezTo>
                    <a:pt x="241268" y="57150"/>
                    <a:pt x="247650" y="50768"/>
                    <a:pt x="247650" y="42863"/>
                  </a:cubicBezTo>
                  <a:cubicBezTo>
                    <a:pt x="247650" y="34957"/>
                    <a:pt x="241268" y="28575"/>
                    <a:pt x="233363" y="28575"/>
                  </a:cubicBezTo>
                  <a:lnTo>
                    <a:pt x="190500" y="28575"/>
                  </a:lnTo>
                  <a:lnTo>
                    <a:pt x="190500" y="0"/>
                  </a:lnTo>
                  <a:lnTo>
                    <a:pt x="142875" y="0"/>
                  </a:lnTo>
                  <a:cubicBezTo>
                    <a:pt x="111347" y="0"/>
                    <a:pt x="85725" y="25622"/>
                    <a:pt x="85725" y="57150"/>
                  </a:cubicBezTo>
                  <a:lnTo>
                    <a:pt x="19050" y="57150"/>
                  </a:lnTo>
                  <a:lnTo>
                    <a:pt x="0" y="104775"/>
                  </a:lnTo>
                  <a:lnTo>
                    <a:pt x="85725" y="104775"/>
                  </a:lnTo>
                  <a:cubicBezTo>
                    <a:pt x="85725" y="136303"/>
                    <a:pt x="111347" y="161925"/>
                    <a:pt x="142875" y="161925"/>
                  </a:cubicBezTo>
                  <a:lnTo>
                    <a:pt x="190500" y="161925"/>
                  </a:lnTo>
                  <a:lnTo>
                    <a:pt x="190500" y="133350"/>
                  </a:lnTo>
                  <a:lnTo>
                    <a:pt x="233363" y="133350"/>
                  </a:lnTo>
                  <a:cubicBezTo>
                    <a:pt x="241268" y="133350"/>
                    <a:pt x="247650" y="126968"/>
                    <a:pt x="247650" y="119063"/>
                  </a:cubicBezTo>
                  <a:cubicBezTo>
                    <a:pt x="247650" y="111157"/>
                    <a:pt x="241268" y="104775"/>
                    <a:pt x="233363" y="104775"/>
                  </a:cubicBezTo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46" name="Gruppieren 345">
            <a:extLst>
              <a:ext uri="{FF2B5EF4-FFF2-40B4-BE49-F238E27FC236}">
                <a16:creationId xmlns:a16="http://schemas.microsoft.com/office/drawing/2014/main" id="{85FED164-58C6-F256-254B-F55BE2DA0FDB}"/>
              </a:ext>
            </a:extLst>
          </p:cNvPr>
          <p:cNvGrpSpPr/>
          <p:nvPr/>
        </p:nvGrpSpPr>
        <p:grpSpPr>
          <a:xfrm>
            <a:off x="684375" y="5073475"/>
            <a:ext cx="926458" cy="958929"/>
            <a:chOff x="-19051" y="1911473"/>
            <a:chExt cx="1700573" cy="1760176"/>
          </a:xfrm>
        </p:grpSpPr>
        <p:grpSp>
          <p:nvGrpSpPr>
            <p:cNvPr id="347" name="Grafik 110">
              <a:extLst>
                <a:ext uri="{FF2B5EF4-FFF2-40B4-BE49-F238E27FC236}">
                  <a16:creationId xmlns:a16="http://schemas.microsoft.com/office/drawing/2014/main" id="{B33A9A6E-2C49-1407-8CC5-9AEC4D0FFE13}"/>
                </a:ext>
              </a:extLst>
            </p:cNvPr>
            <p:cNvGrpSpPr/>
            <p:nvPr/>
          </p:nvGrpSpPr>
          <p:grpSpPr>
            <a:xfrm>
              <a:off x="190120" y="1927759"/>
              <a:ext cx="890134" cy="837107"/>
              <a:chOff x="190120" y="1927759"/>
              <a:chExt cx="890134" cy="837107"/>
            </a:xfrm>
          </p:grpSpPr>
          <p:grpSp>
            <p:nvGrpSpPr>
              <p:cNvPr id="403" name="Grafik 110">
                <a:extLst>
                  <a:ext uri="{FF2B5EF4-FFF2-40B4-BE49-F238E27FC236}">
                    <a16:creationId xmlns:a16="http://schemas.microsoft.com/office/drawing/2014/main" id="{E109C5F0-AA63-E67B-872A-1FED3754352D}"/>
                  </a:ext>
                </a:extLst>
              </p:cNvPr>
              <p:cNvGrpSpPr/>
              <p:nvPr/>
            </p:nvGrpSpPr>
            <p:grpSpPr>
              <a:xfrm>
                <a:off x="190120" y="1927759"/>
                <a:ext cx="890134" cy="553500"/>
                <a:chOff x="190120" y="1927759"/>
                <a:chExt cx="890134" cy="553500"/>
              </a:xfrm>
            </p:grpSpPr>
            <p:sp>
              <p:nvSpPr>
                <p:cNvPr id="407" name="Freihandform: Form 406">
                  <a:extLst>
                    <a:ext uri="{FF2B5EF4-FFF2-40B4-BE49-F238E27FC236}">
                      <a16:creationId xmlns:a16="http://schemas.microsoft.com/office/drawing/2014/main" id="{686D2359-976D-ADA7-EBAC-938779116FC6}"/>
                    </a:ext>
                  </a:extLst>
                </p:cNvPr>
                <p:cNvSpPr/>
                <p:nvPr/>
              </p:nvSpPr>
              <p:spPr>
                <a:xfrm>
                  <a:off x="205091" y="1942786"/>
                  <a:ext cx="854624" cy="523278"/>
                </a:xfrm>
                <a:custGeom>
                  <a:avLst/>
                  <a:gdLst>
                    <a:gd name="connsiteX0" fmla="*/ 0 w 854624"/>
                    <a:gd name="connsiteY0" fmla="*/ 0 h 523278"/>
                    <a:gd name="connsiteX1" fmla="*/ 854624 w 854624"/>
                    <a:gd name="connsiteY1" fmla="*/ 0 h 523278"/>
                    <a:gd name="connsiteX2" fmla="*/ 854624 w 854624"/>
                    <a:gd name="connsiteY2" fmla="*/ 523279 h 523278"/>
                    <a:gd name="connsiteX3" fmla="*/ 0 w 854624"/>
                    <a:gd name="connsiteY3" fmla="*/ 523279 h 5232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54624" h="523278">
                      <a:moveTo>
                        <a:pt x="0" y="0"/>
                      </a:moveTo>
                      <a:lnTo>
                        <a:pt x="854624" y="0"/>
                      </a:lnTo>
                      <a:lnTo>
                        <a:pt x="854624" y="523279"/>
                      </a:lnTo>
                      <a:lnTo>
                        <a:pt x="0" y="523279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27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8" name="Freihandform: Form 407">
                  <a:extLst>
                    <a:ext uri="{FF2B5EF4-FFF2-40B4-BE49-F238E27FC236}">
                      <a16:creationId xmlns:a16="http://schemas.microsoft.com/office/drawing/2014/main" id="{ECE6530B-FB84-2220-9E63-E0EF6AD6EB22}"/>
                    </a:ext>
                  </a:extLst>
                </p:cNvPr>
                <p:cNvSpPr/>
                <p:nvPr/>
              </p:nvSpPr>
              <p:spPr>
                <a:xfrm>
                  <a:off x="190120" y="1927759"/>
                  <a:ext cx="890134" cy="553500"/>
                </a:xfrm>
                <a:custGeom>
                  <a:avLst/>
                  <a:gdLst>
                    <a:gd name="connsiteX0" fmla="*/ 890106 w 890134"/>
                    <a:gd name="connsiteY0" fmla="*/ 553500 h 553500"/>
                    <a:gd name="connsiteX1" fmla="*/ 0 w 890134"/>
                    <a:gd name="connsiteY1" fmla="*/ 553500 h 553500"/>
                    <a:gd name="connsiteX2" fmla="*/ 0 w 890134"/>
                    <a:gd name="connsiteY2" fmla="*/ 0 h 553500"/>
                    <a:gd name="connsiteX3" fmla="*/ 890134 w 890134"/>
                    <a:gd name="connsiteY3" fmla="*/ 0 h 553500"/>
                    <a:gd name="connsiteX4" fmla="*/ 890134 w 890134"/>
                    <a:gd name="connsiteY4" fmla="*/ 553500 h 553500"/>
                    <a:gd name="connsiteX5" fmla="*/ 16902 w 890134"/>
                    <a:gd name="connsiteY5" fmla="*/ 536571 h 553500"/>
                    <a:gd name="connsiteX6" fmla="*/ 873177 w 890134"/>
                    <a:gd name="connsiteY6" fmla="*/ 536571 h 553500"/>
                    <a:gd name="connsiteX7" fmla="*/ 873177 w 890134"/>
                    <a:gd name="connsiteY7" fmla="*/ 16930 h 553500"/>
                    <a:gd name="connsiteX8" fmla="*/ 16902 w 890134"/>
                    <a:gd name="connsiteY8" fmla="*/ 16930 h 553500"/>
                    <a:gd name="connsiteX9" fmla="*/ 16902 w 890134"/>
                    <a:gd name="connsiteY9" fmla="*/ 536571 h 553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90134" h="553500">
                      <a:moveTo>
                        <a:pt x="890106" y="553500"/>
                      </a:moveTo>
                      <a:lnTo>
                        <a:pt x="0" y="553500"/>
                      </a:lnTo>
                      <a:lnTo>
                        <a:pt x="0" y="0"/>
                      </a:lnTo>
                      <a:lnTo>
                        <a:pt x="890134" y="0"/>
                      </a:lnTo>
                      <a:lnTo>
                        <a:pt x="890134" y="553500"/>
                      </a:lnTo>
                      <a:close/>
                      <a:moveTo>
                        <a:pt x="16902" y="536571"/>
                      </a:moveTo>
                      <a:lnTo>
                        <a:pt x="873177" y="536571"/>
                      </a:lnTo>
                      <a:lnTo>
                        <a:pt x="873177" y="16930"/>
                      </a:lnTo>
                      <a:lnTo>
                        <a:pt x="16902" y="16930"/>
                      </a:lnTo>
                      <a:lnTo>
                        <a:pt x="16902" y="536571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27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404" name="Freihandform: Form 403">
                <a:extLst>
                  <a:ext uri="{FF2B5EF4-FFF2-40B4-BE49-F238E27FC236}">
                    <a16:creationId xmlns:a16="http://schemas.microsoft.com/office/drawing/2014/main" id="{BA9B8AB9-4E7B-E0A6-0E85-8A9795815B12}"/>
                  </a:ext>
                </a:extLst>
              </p:cNvPr>
              <p:cNvSpPr/>
              <p:nvPr/>
            </p:nvSpPr>
            <p:spPr>
              <a:xfrm>
                <a:off x="547797" y="2474488"/>
                <a:ext cx="174780" cy="286096"/>
              </a:xfrm>
              <a:custGeom>
                <a:avLst/>
                <a:gdLst>
                  <a:gd name="connsiteX0" fmla="*/ 0 w 174780"/>
                  <a:gd name="connsiteY0" fmla="*/ 0 h 286096"/>
                  <a:gd name="connsiteX1" fmla="*/ 174781 w 174780"/>
                  <a:gd name="connsiteY1" fmla="*/ 0 h 286096"/>
                  <a:gd name="connsiteX2" fmla="*/ 174781 w 174780"/>
                  <a:gd name="connsiteY2" fmla="*/ 286096 h 286096"/>
                  <a:gd name="connsiteX3" fmla="*/ 0 w 174780"/>
                  <a:gd name="connsiteY3" fmla="*/ 286096 h 286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4780" h="286096">
                    <a:moveTo>
                      <a:pt x="0" y="0"/>
                    </a:moveTo>
                    <a:lnTo>
                      <a:pt x="174781" y="0"/>
                    </a:lnTo>
                    <a:lnTo>
                      <a:pt x="174781" y="286096"/>
                    </a:lnTo>
                    <a:lnTo>
                      <a:pt x="0" y="286096"/>
                    </a:lnTo>
                    <a:close/>
                  </a:path>
                </a:pathLst>
              </a:custGeom>
              <a:solidFill>
                <a:srgbClr val="404040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5" name="Freihandform: Form 404">
                <a:extLst>
                  <a:ext uri="{FF2B5EF4-FFF2-40B4-BE49-F238E27FC236}">
                    <a16:creationId xmlns:a16="http://schemas.microsoft.com/office/drawing/2014/main" id="{F4482013-B466-DF55-B623-4B855CBD25DF}"/>
                  </a:ext>
                </a:extLst>
              </p:cNvPr>
              <p:cNvSpPr/>
              <p:nvPr/>
            </p:nvSpPr>
            <p:spPr>
              <a:xfrm>
                <a:off x="467598" y="2743711"/>
                <a:ext cx="335150" cy="21155"/>
              </a:xfrm>
              <a:custGeom>
                <a:avLst/>
                <a:gdLst>
                  <a:gd name="connsiteX0" fmla="*/ 0 w 335150"/>
                  <a:gd name="connsiteY0" fmla="*/ 0 h 21155"/>
                  <a:gd name="connsiteX1" fmla="*/ 335151 w 335150"/>
                  <a:gd name="connsiteY1" fmla="*/ 0 h 21155"/>
                  <a:gd name="connsiteX2" fmla="*/ 335151 w 335150"/>
                  <a:gd name="connsiteY2" fmla="*/ 21155 h 21155"/>
                  <a:gd name="connsiteX3" fmla="*/ 0 w 335150"/>
                  <a:gd name="connsiteY3" fmla="*/ 21155 h 21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150" h="21155">
                    <a:moveTo>
                      <a:pt x="0" y="0"/>
                    </a:moveTo>
                    <a:lnTo>
                      <a:pt x="335151" y="0"/>
                    </a:lnTo>
                    <a:lnTo>
                      <a:pt x="335151" y="21155"/>
                    </a:lnTo>
                    <a:lnTo>
                      <a:pt x="0" y="21155"/>
                    </a:lnTo>
                    <a:close/>
                  </a:path>
                </a:pathLst>
              </a:custGeom>
              <a:solidFill>
                <a:srgbClr val="404040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6" name="Freihandform: Form 405">
                <a:extLst>
                  <a:ext uri="{FF2B5EF4-FFF2-40B4-BE49-F238E27FC236}">
                    <a16:creationId xmlns:a16="http://schemas.microsoft.com/office/drawing/2014/main" id="{B89B728D-AC48-BFA3-D8FD-4E6E0FB5D153}"/>
                  </a:ext>
                </a:extLst>
              </p:cNvPr>
              <p:cNvSpPr/>
              <p:nvPr/>
            </p:nvSpPr>
            <p:spPr>
              <a:xfrm>
                <a:off x="547797" y="2481260"/>
                <a:ext cx="174780" cy="32152"/>
              </a:xfrm>
              <a:custGeom>
                <a:avLst/>
                <a:gdLst>
                  <a:gd name="connsiteX0" fmla="*/ 0 w 174780"/>
                  <a:gd name="connsiteY0" fmla="*/ 0 h 32152"/>
                  <a:gd name="connsiteX1" fmla="*/ 174781 w 174780"/>
                  <a:gd name="connsiteY1" fmla="*/ 0 h 32152"/>
                  <a:gd name="connsiteX2" fmla="*/ 174781 w 174780"/>
                  <a:gd name="connsiteY2" fmla="*/ 32152 h 32152"/>
                  <a:gd name="connsiteX3" fmla="*/ 0 w 174780"/>
                  <a:gd name="connsiteY3" fmla="*/ 32152 h 32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4780" h="32152">
                    <a:moveTo>
                      <a:pt x="0" y="0"/>
                    </a:moveTo>
                    <a:lnTo>
                      <a:pt x="174781" y="0"/>
                    </a:lnTo>
                    <a:lnTo>
                      <a:pt x="174781" y="32152"/>
                    </a:lnTo>
                    <a:lnTo>
                      <a:pt x="0" y="32152"/>
                    </a:lnTo>
                    <a:close/>
                  </a:path>
                </a:pathLst>
              </a:custGeom>
              <a:solidFill>
                <a:srgbClr val="1E1E1E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48" name="Freihandform: Form 347">
              <a:extLst>
                <a:ext uri="{FF2B5EF4-FFF2-40B4-BE49-F238E27FC236}">
                  <a16:creationId xmlns:a16="http://schemas.microsoft.com/office/drawing/2014/main" id="{A5327C77-25C0-0564-B113-4E5307104F40}"/>
                </a:ext>
              </a:extLst>
            </p:cNvPr>
            <p:cNvSpPr/>
            <p:nvPr/>
          </p:nvSpPr>
          <p:spPr>
            <a:xfrm>
              <a:off x="-19051" y="2765145"/>
              <a:ext cx="1700573" cy="30697"/>
            </a:xfrm>
            <a:custGeom>
              <a:avLst/>
              <a:gdLst>
                <a:gd name="connsiteX0" fmla="*/ 0 w 1700573"/>
                <a:gd name="connsiteY0" fmla="*/ 0 h 30697"/>
                <a:gd name="connsiteX1" fmla="*/ 1700573 w 1700573"/>
                <a:gd name="connsiteY1" fmla="*/ 0 h 30697"/>
                <a:gd name="connsiteX2" fmla="*/ 1700573 w 1700573"/>
                <a:gd name="connsiteY2" fmla="*/ 30697 h 30697"/>
                <a:gd name="connsiteX3" fmla="*/ 0 w 1700573"/>
                <a:gd name="connsiteY3" fmla="*/ 30697 h 30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0573" h="30697">
                  <a:moveTo>
                    <a:pt x="0" y="0"/>
                  </a:moveTo>
                  <a:lnTo>
                    <a:pt x="1700573" y="0"/>
                  </a:lnTo>
                  <a:lnTo>
                    <a:pt x="1700573" y="30697"/>
                  </a:lnTo>
                  <a:lnTo>
                    <a:pt x="0" y="30697"/>
                  </a:lnTo>
                  <a:close/>
                </a:path>
              </a:pathLst>
            </a:custGeom>
            <a:solidFill>
              <a:srgbClr val="404040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49" name="Grafik 110">
              <a:extLst>
                <a:ext uri="{FF2B5EF4-FFF2-40B4-BE49-F238E27FC236}">
                  <a16:creationId xmlns:a16="http://schemas.microsoft.com/office/drawing/2014/main" id="{9E5E3A63-D89F-0952-6DAE-5F19A1AABDA0}"/>
                </a:ext>
              </a:extLst>
            </p:cNvPr>
            <p:cNvGrpSpPr/>
            <p:nvPr/>
          </p:nvGrpSpPr>
          <p:grpSpPr>
            <a:xfrm>
              <a:off x="212563" y="2542234"/>
              <a:ext cx="401721" cy="222911"/>
              <a:chOff x="212563" y="2542234"/>
              <a:chExt cx="401721" cy="222911"/>
            </a:xfrm>
          </p:grpSpPr>
          <p:sp>
            <p:nvSpPr>
              <p:cNvPr id="392" name="Freihandform: Form 391">
                <a:extLst>
                  <a:ext uri="{FF2B5EF4-FFF2-40B4-BE49-F238E27FC236}">
                    <a16:creationId xmlns:a16="http://schemas.microsoft.com/office/drawing/2014/main" id="{B159D55B-5B13-035A-1234-D219B1242DB9}"/>
                  </a:ext>
                </a:extLst>
              </p:cNvPr>
              <p:cNvSpPr/>
              <p:nvPr/>
            </p:nvSpPr>
            <p:spPr>
              <a:xfrm>
                <a:off x="272026" y="2542234"/>
                <a:ext cx="287663" cy="172905"/>
              </a:xfrm>
              <a:custGeom>
                <a:avLst/>
                <a:gdLst>
                  <a:gd name="connsiteX0" fmla="*/ 15698 w 287663"/>
                  <a:gd name="connsiteY0" fmla="*/ 0 h 172905"/>
                  <a:gd name="connsiteX1" fmla="*/ 271965 w 287663"/>
                  <a:gd name="connsiteY1" fmla="*/ 0 h 172905"/>
                  <a:gd name="connsiteX2" fmla="*/ 287664 w 287663"/>
                  <a:gd name="connsiteY2" fmla="*/ 15698 h 172905"/>
                  <a:gd name="connsiteX3" fmla="*/ 287664 w 287663"/>
                  <a:gd name="connsiteY3" fmla="*/ 172906 h 172905"/>
                  <a:gd name="connsiteX4" fmla="*/ 0 w 287663"/>
                  <a:gd name="connsiteY4" fmla="*/ 172906 h 172905"/>
                  <a:gd name="connsiteX5" fmla="*/ 0 w 287663"/>
                  <a:gd name="connsiteY5" fmla="*/ 15698 h 172905"/>
                  <a:gd name="connsiteX6" fmla="*/ 15698 w 287663"/>
                  <a:gd name="connsiteY6" fmla="*/ 0 h 172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7663" h="172905">
                    <a:moveTo>
                      <a:pt x="15698" y="0"/>
                    </a:moveTo>
                    <a:lnTo>
                      <a:pt x="271965" y="0"/>
                    </a:lnTo>
                    <a:cubicBezTo>
                      <a:pt x="280640" y="0"/>
                      <a:pt x="287664" y="7024"/>
                      <a:pt x="287664" y="15698"/>
                    </a:cubicBezTo>
                    <a:lnTo>
                      <a:pt x="287664" y="172906"/>
                    </a:lnTo>
                    <a:lnTo>
                      <a:pt x="0" y="172906"/>
                    </a:lnTo>
                    <a:lnTo>
                      <a:pt x="0" y="15698"/>
                    </a:lnTo>
                    <a:cubicBezTo>
                      <a:pt x="0" y="7024"/>
                      <a:pt x="7024" y="0"/>
                      <a:pt x="15698" y="0"/>
                    </a:cubicBezTo>
                    <a:close/>
                  </a:path>
                </a:pathLst>
              </a:custGeom>
              <a:solidFill>
                <a:srgbClr val="E6E6E6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3" name="Freihandform: Form 392">
                <a:extLst>
                  <a:ext uri="{FF2B5EF4-FFF2-40B4-BE49-F238E27FC236}">
                    <a16:creationId xmlns:a16="http://schemas.microsoft.com/office/drawing/2014/main" id="{6636EAFA-A620-8E4E-7628-D2F8B0F14E82}"/>
                  </a:ext>
                </a:extLst>
              </p:cNvPr>
              <p:cNvSpPr/>
              <p:nvPr/>
            </p:nvSpPr>
            <p:spPr>
              <a:xfrm>
                <a:off x="295923" y="2563389"/>
                <a:ext cx="239868" cy="130623"/>
              </a:xfrm>
              <a:custGeom>
                <a:avLst/>
                <a:gdLst>
                  <a:gd name="connsiteX0" fmla="*/ 0 w 239868"/>
                  <a:gd name="connsiteY0" fmla="*/ 0 h 130623"/>
                  <a:gd name="connsiteX1" fmla="*/ 239869 w 239868"/>
                  <a:gd name="connsiteY1" fmla="*/ 0 h 130623"/>
                  <a:gd name="connsiteX2" fmla="*/ 239869 w 239868"/>
                  <a:gd name="connsiteY2" fmla="*/ 130624 h 130623"/>
                  <a:gd name="connsiteX3" fmla="*/ 0 w 239868"/>
                  <a:gd name="connsiteY3" fmla="*/ 130624 h 130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9868" h="130623">
                    <a:moveTo>
                      <a:pt x="0" y="0"/>
                    </a:moveTo>
                    <a:lnTo>
                      <a:pt x="239869" y="0"/>
                    </a:lnTo>
                    <a:lnTo>
                      <a:pt x="239869" y="130624"/>
                    </a:lnTo>
                    <a:lnTo>
                      <a:pt x="0" y="130624"/>
                    </a:lnTo>
                    <a:close/>
                  </a:path>
                </a:pathLst>
              </a:custGeom>
              <a:solidFill>
                <a:srgbClr val="404040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4" name="Freihandform: Form 393">
                <a:extLst>
                  <a:ext uri="{FF2B5EF4-FFF2-40B4-BE49-F238E27FC236}">
                    <a16:creationId xmlns:a16="http://schemas.microsoft.com/office/drawing/2014/main" id="{4B1D9152-0DA8-7BB7-8B2D-D01E052068FF}"/>
                  </a:ext>
                </a:extLst>
              </p:cNvPr>
              <p:cNvSpPr/>
              <p:nvPr/>
            </p:nvSpPr>
            <p:spPr>
              <a:xfrm>
                <a:off x="327796" y="2572232"/>
                <a:ext cx="50453" cy="37049"/>
              </a:xfrm>
              <a:custGeom>
                <a:avLst/>
                <a:gdLst>
                  <a:gd name="connsiteX0" fmla="*/ 0 w 50453"/>
                  <a:gd name="connsiteY0" fmla="*/ 0 h 37049"/>
                  <a:gd name="connsiteX1" fmla="*/ 50453 w 50453"/>
                  <a:gd name="connsiteY1" fmla="*/ 0 h 37049"/>
                  <a:gd name="connsiteX2" fmla="*/ 50453 w 50453"/>
                  <a:gd name="connsiteY2" fmla="*/ 37049 h 37049"/>
                  <a:gd name="connsiteX3" fmla="*/ 0 w 50453"/>
                  <a:gd name="connsiteY3" fmla="*/ 37049 h 37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453" h="37049">
                    <a:moveTo>
                      <a:pt x="0" y="0"/>
                    </a:moveTo>
                    <a:lnTo>
                      <a:pt x="50453" y="0"/>
                    </a:lnTo>
                    <a:lnTo>
                      <a:pt x="50453" y="37049"/>
                    </a:lnTo>
                    <a:lnTo>
                      <a:pt x="0" y="37049"/>
                    </a:lnTo>
                    <a:close/>
                  </a:path>
                </a:pathLst>
              </a:custGeom>
              <a:solidFill>
                <a:srgbClr val="E6E6E6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5" name="Freihandform: Form 394">
                <a:extLst>
                  <a:ext uri="{FF2B5EF4-FFF2-40B4-BE49-F238E27FC236}">
                    <a16:creationId xmlns:a16="http://schemas.microsoft.com/office/drawing/2014/main" id="{17B0F93B-94A9-4A82-3B2A-72BB54BF611A}"/>
                  </a:ext>
                </a:extLst>
              </p:cNvPr>
              <p:cNvSpPr/>
              <p:nvPr/>
            </p:nvSpPr>
            <p:spPr>
              <a:xfrm>
                <a:off x="391093" y="2572232"/>
                <a:ext cx="50453" cy="37049"/>
              </a:xfrm>
              <a:custGeom>
                <a:avLst/>
                <a:gdLst>
                  <a:gd name="connsiteX0" fmla="*/ 0 w 50453"/>
                  <a:gd name="connsiteY0" fmla="*/ 0 h 37049"/>
                  <a:gd name="connsiteX1" fmla="*/ 50453 w 50453"/>
                  <a:gd name="connsiteY1" fmla="*/ 0 h 37049"/>
                  <a:gd name="connsiteX2" fmla="*/ 50453 w 50453"/>
                  <a:gd name="connsiteY2" fmla="*/ 37049 h 37049"/>
                  <a:gd name="connsiteX3" fmla="*/ 0 w 50453"/>
                  <a:gd name="connsiteY3" fmla="*/ 37049 h 37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453" h="37049">
                    <a:moveTo>
                      <a:pt x="0" y="0"/>
                    </a:moveTo>
                    <a:lnTo>
                      <a:pt x="50453" y="0"/>
                    </a:lnTo>
                    <a:lnTo>
                      <a:pt x="50453" y="37049"/>
                    </a:lnTo>
                    <a:lnTo>
                      <a:pt x="0" y="37049"/>
                    </a:lnTo>
                    <a:close/>
                  </a:path>
                </a:pathLst>
              </a:custGeom>
              <a:solidFill>
                <a:srgbClr val="E6E6E6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6" name="Freihandform: Form 395">
                <a:extLst>
                  <a:ext uri="{FF2B5EF4-FFF2-40B4-BE49-F238E27FC236}">
                    <a16:creationId xmlns:a16="http://schemas.microsoft.com/office/drawing/2014/main" id="{CCDAE962-5EB7-86F1-9AF7-6C3B060A9293}"/>
                  </a:ext>
                </a:extLst>
              </p:cNvPr>
              <p:cNvSpPr/>
              <p:nvPr/>
            </p:nvSpPr>
            <p:spPr>
              <a:xfrm>
                <a:off x="454362" y="2572232"/>
                <a:ext cx="50453" cy="37049"/>
              </a:xfrm>
              <a:custGeom>
                <a:avLst/>
                <a:gdLst>
                  <a:gd name="connsiteX0" fmla="*/ 0 w 50453"/>
                  <a:gd name="connsiteY0" fmla="*/ 0 h 37049"/>
                  <a:gd name="connsiteX1" fmla="*/ 50453 w 50453"/>
                  <a:gd name="connsiteY1" fmla="*/ 0 h 37049"/>
                  <a:gd name="connsiteX2" fmla="*/ 50453 w 50453"/>
                  <a:gd name="connsiteY2" fmla="*/ 37049 h 37049"/>
                  <a:gd name="connsiteX3" fmla="*/ 0 w 50453"/>
                  <a:gd name="connsiteY3" fmla="*/ 37049 h 37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453" h="37049">
                    <a:moveTo>
                      <a:pt x="0" y="0"/>
                    </a:moveTo>
                    <a:lnTo>
                      <a:pt x="50453" y="0"/>
                    </a:lnTo>
                    <a:lnTo>
                      <a:pt x="50453" y="37049"/>
                    </a:lnTo>
                    <a:lnTo>
                      <a:pt x="0" y="37049"/>
                    </a:lnTo>
                    <a:close/>
                  </a:path>
                </a:pathLst>
              </a:custGeom>
              <a:solidFill>
                <a:srgbClr val="EC6602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7" name="Freihandform: Form 396">
                <a:extLst>
                  <a:ext uri="{FF2B5EF4-FFF2-40B4-BE49-F238E27FC236}">
                    <a16:creationId xmlns:a16="http://schemas.microsoft.com/office/drawing/2014/main" id="{9501F320-2E1D-3B65-D369-C11D831E94D8}"/>
                  </a:ext>
                </a:extLst>
              </p:cNvPr>
              <p:cNvSpPr/>
              <p:nvPr/>
            </p:nvSpPr>
            <p:spPr>
              <a:xfrm>
                <a:off x="212563" y="2715140"/>
                <a:ext cx="401721" cy="50005"/>
              </a:xfrm>
              <a:custGeom>
                <a:avLst/>
                <a:gdLst>
                  <a:gd name="connsiteX0" fmla="*/ 393411 w 401721"/>
                  <a:gd name="connsiteY0" fmla="*/ 0 h 50005"/>
                  <a:gd name="connsiteX1" fmla="*/ 8311 w 401721"/>
                  <a:gd name="connsiteY1" fmla="*/ 0 h 50005"/>
                  <a:gd name="connsiteX2" fmla="*/ 0 w 401721"/>
                  <a:gd name="connsiteY2" fmla="*/ 8311 h 50005"/>
                  <a:gd name="connsiteX3" fmla="*/ 0 w 401721"/>
                  <a:gd name="connsiteY3" fmla="*/ 41694 h 50005"/>
                  <a:gd name="connsiteX4" fmla="*/ 8311 w 401721"/>
                  <a:gd name="connsiteY4" fmla="*/ 50005 h 50005"/>
                  <a:gd name="connsiteX5" fmla="*/ 393411 w 401721"/>
                  <a:gd name="connsiteY5" fmla="*/ 50005 h 50005"/>
                  <a:gd name="connsiteX6" fmla="*/ 401722 w 401721"/>
                  <a:gd name="connsiteY6" fmla="*/ 41694 h 50005"/>
                  <a:gd name="connsiteX7" fmla="*/ 401722 w 401721"/>
                  <a:gd name="connsiteY7" fmla="*/ 8311 h 50005"/>
                  <a:gd name="connsiteX8" fmla="*/ 393411 w 401721"/>
                  <a:gd name="connsiteY8" fmla="*/ 0 h 50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1721" h="50005">
                    <a:moveTo>
                      <a:pt x="393411" y="0"/>
                    </a:moveTo>
                    <a:lnTo>
                      <a:pt x="8311" y="0"/>
                    </a:lnTo>
                    <a:cubicBezTo>
                      <a:pt x="3722" y="0"/>
                      <a:pt x="0" y="3722"/>
                      <a:pt x="0" y="8311"/>
                    </a:cubicBezTo>
                    <a:lnTo>
                      <a:pt x="0" y="41694"/>
                    </a:lnTo>
                    <a:cubicBezTo>
                      <a:pt x="0" y="46284"/>
                      <a:pt x="3722" y="50005"/>
                      <a:pt x="8311" y="50005"/>
                    </a:cubicBezTo>
                    <a:lnTo>
                      <a:pt x="393411" y="50005"/>
                    </a:lnTo>
                    <a:cubicBezTo>
                      <a:pt x="398000" y="50005"/>
                      <a:pt x="401722" y="46284"/>
                      <a:pt x="401722" y="41694"/>
                    </a:cubicBezTo>
                    <a:lnTo>
                      <a:pt x="401722" y="8311"/>
                    </a:lnTo>
                    <a:cubicBezTo>
                      <a:pt x="401722" y="3722"/>
                      <a:pt x="398000" y="0"/>
                      <a:pt x="393411" y="0"/>
                    </a:cubicBezTo>
                    <a:close/>
                  </a:path>
                </a:pathLst>
              </a:custGeom>
              <a:solidFill>
                <a:srgbClr val="EDEDED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8" name="Freihandform: Form 397">
                <a:extLst>
                  <a:ext uri="{FF2B5EF4-FFF2-40B4-BE49-F238E27FC236}">
                    <a16:creationId xmlns:a16="http://schemas.microsoft.com/office/drawing/2014/main" id="{BDBFA576-DB63-5F02-A438-BC08D5AE7C81}"/>
                  </a:ext>
                </a:extLst>
              </p:cNvPr>
              <p:cNvSpPr/>
              <p:nvPr/>
            </p:nvSpPr>
            <p:spPr>
              <a:xfrm>
                <a:off x="315903" y="2650388"/>
                <a:ext cx="39343" cy="64724"/>
              </a:xfrm>
              <a:custGeom>
                <a:avLst/>
                <a:gdLst>
                  <a:gd name="connsiteX0" fmla="*/ 8031 w 39343"/>
                  <a:gd name="connsiteY0" fmla="*/ 0 h 64724"/>
                  <a:gd name="connsiteX1" fmla="*/ 31341 w 39343"/>
                  <a:gd name="connsiteY1" fmla="*/ 0 h 64724"/>
                  <a:gd name="connsiteX2" fmla="*/ 39344 w 39343"/>
                  <a:gd name="connsiteY2" fmla="*/ 8003 h 64724"/>
                  <a:gd name="connsiteX3" fmla="*/ 39344 w 39343"/>
                  <a:gd name="connsiteY3" fmla="*/ 64724 h 64724"/>
                  <a:gd name="connsiteX4" fmla="*/ 0 w 39343"/>
                  <a:gd name="connsiteY4" fmla="*/ 64724 h 64724"/>
                  <a:gd name="connsiteX5" fmla="*/ 0 w 39343"/>
                  <a:gd name="connsiteY5" fmla="*/ 8003 h 64724"/>
                  <a:gd name="connsiteX6" fmla="*/ 8003 w 39343"/>
                  <a:gd name="connsiteY6" fmla="*/ 0 h 64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343" h="64724">
                    <a:moveTo>
                      <a:pt x="8031" y="0"/>
                    </a:moveTo>
                    <a:lnTo>
                      <a:pt x="31341" y="0"/>
                    </a:lnTo>
                    <a:cubicBezTo>
                      <a:pt x="35762" y="0"/>
                      <a:pt x="39344" y="3582"/>
                      <a:pt x="39344" y="8003"/>
                    </a:cubicBezTo>
                    <a:lnTo>
                      <a:pt x="39344" y="64724"/>
                    </a:lnTo>
                    <a:lnTo>
                      <a:pt x="0" y="64724"/>
                    </a:lnTo>
                    <a:lnTo>
                      <a:pt x="0" y="8003"/>
                    </a:lnTo>
                    <a:cubicBezTo>
                      <a:pt x="0" y="3582"/>
                      <a:pt x="3582" y="0"/>
                      <a:pt x="8003" y="0"/>
                    </a:cubicBezTo>
                    <a:close/>
                  </a:path>
                </a:pathLst>
              </a:custGeom>
              <a:solidFill>
                <a:srgbClr val="BFBFBF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9" name="Freihandform: Form 398">
                <a:extLst>
                  <a:ext uri="{FF2B5EF4-FFF2-40B4-BE49-F238E27FC236}">
                    <a16:creationId xmlns:a16="http://schemas.microsoft.com/office/drawing/2014/main" id="{EC86E366-BC96-F65E-E02C-BEEECC1E7772}"/>
                  </a:ext>
                </a:extLst>
              </p:cNvPr>
              <p:cNvSpPr/>
              <p:nvPr/>
            </p:nvSpPr>
            <p:spPr>
              <a:xfrm>
                <a:off x="394871" y="2650416"/>
                <a:ext cx="44296" cy="64724"/>
              </a:xfrm>
              <a:custGeom>
                <a:avLst/>
                <a:gdLst>
                  <a:gd name="connsiteX0" fmla="*/ 44297 w 44296"/>
                  <a:gd name="connsiteY0" fmla="*/ 64724 h 64724"/>
                  <a:gd name="connsiteX1" fmla="*/ 0 w 44296"/>
                  <a:gd name="connsiteY1" fmla="*/ 64724 h 64724"/>
                  <a:gd name="connsiteX2" fmla="*/ 4953 w 44296"/>
                  <a:gd name="connsiteY2" fmla="*/ 49362 h 64724"/>
                  <a:gd name="connsiteX3" fmla="*/ 4953 w 44296"/>
                  <a:gd name="connsiteY3" fmla="*/ 8003 h 64724"/>
                  <a:gd name="connsiteX4" fmla="*/ 12956 w 44296"/>
                  <a:gd name="connsiteY4" fmla="*/ 0 h 64724"/>
                  <a:gd name="connsiteX5" fmla="*/ 31313 w 44296"/>
                  <a:gd name="connsiteY5" fmla="*/ 0 h 64724"/>
                  <a:gd name="connsiteX6" fmla="*/ 39316 w 44296"/>
                  <a:gd name="connsiteY6" fmla="*/ 8003 h 64724"/>
                  <a:gd name="connsiteX7" fmla="*/ 39316 w 44296"/>
                  <a:gd name="connsiteY7" fmla="*/ 49362 h 64724"/>
                  <a:gd name="connsiteX8" fmla="*/ 44269 w 44296"/>
                  <a:gd name="connsiteY8" fmla="*/ 64724 h 64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296" h="64724">
                    <a:moveTo>
                      <a:pt x="44297" y="64724"/>
                    </a:moveTo>
                    <a:lnTo>
                      <a:pt x="0" y="64724"/>
                    </a:lnTo>
                    <a:lnTo>
                      <a:pt x="4953" y="49362"/>
                    </a:lnTo>
                    <a:lnTo>
                      <a:pt x="4953" y="8003"/>
                    </a:lnTo>
                    <a:cubicBezTo>
                      <a:pt x="4953" y="3582"/>
                      <a:pt x="8535" y="0"/>
                      <a:pt x="12956" y="0"/>
                    </a:cubicBezTo>
                    <a:lnTo>
                      <a:pt x="31313" y="0"/>
                    </a:lnTo>
                    <a:cubicBezTo>
                      <a:pt x="35734" y="0"/>
                      <a:pt x="39316" y="3582"/>
                      <a:pt x="39316" y="8003"/>
                    </a:cubicBezTo>
                    <a:lnTo>
                      <a:pt x="39316" y="49362"/>
                    </a:lnTo>
                    <a:lnTo>
                      <a:pt x="44269" y="64724"/>
                    </a:lnTo>
                    <a:close/>
                  </a:path>
                </a:pathLst>
              </a:custGeom>
              <a:solidFill>
                <a:srgbClr val="FFFFFF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0" name="Freihandform: Form 399">
                <a:extLst>
                  <a:ext uri="{FF2B5EF4-FFF2-40B4-BE49-F238E27FC236}">
                    <a16:creationId xmlns:a16="http://schemas.microsoft.com/office/drawing/2014/main" id="{D955331C-BE3C-5F9D-3EC1-86A889A098F7}"/>
                  </a:ext>
                </a:extLst>
              </p:cNvPr>
              <p:cNvSpPr/>
              <p:nvPr/>
            </p:nvSpPr>
            <p:spPr>
              <a:xfrm>
                <a:off x="474986" y="2650388"/>
                <a:ext cx="44296" cy="64724"/>
              </a:xfrm>
              <a:custGeom>
                <a:avLst/>
                <a:gdLst>
                  <a:gd name="connsiteX0" fmla="*/ 8003 w 44296"/>
                  <a:gd name="connsiteY0" fmla="*/ 0 h 64724"/>
                  <a:gd name="connsiteX1" fmla="*/ 36294 w 44296"/>
                  <a:gd name="connsiteY1" fmla="*/ 0 h 64724"/>
                  <a:gd name="connsiteX2" fmla="*/ 44297 w 44296"/>
                  <a:gd name="connsiteY2" fmla="*/ 8003 h 64724"/>
                  <a:gd name="connsiteX3" fmla="*/ 44297 w 44296"/>
                  <a:gd name="connsiteY3" fmla="*/ 64724 h 64724"/>
                  <a:gd name="connsiteX4" fmla="*/ 0 w 44296"/>
                  <a:gd name="connsiteY4" fmla="*/ 64724 h 64724"/>
                  <a:gd name="connsiteX5" fmla="*/ 0 w 44296"/>
                  <a:gd name="connsiteY5" fmla="*/ 8003 h 64724"/>
                  <a:gd name="connsiteX6" fmla="*/ 8003 w 44296"/>
                  <a:gd name="connsiteY6" fmla="*/ 0 h 64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296" h="64724">
                    <a:moveTo>
                      <a:pt x="8003" y="0"/>
                    </a:moveTo>
                    <a:lnTo>
                      <a:pt x="36294" y="0"/>
                    </a:lnTo>
                    <a:cubicBezTo>
                      <a:pt x="40715" y="0"/>
                      <a:pt x="44297" y="3582"/>
                      <a:pt x="44297" y="8003"/>
                    </a:cubicBezTo>
                    <a:lnTo>
                      <a:pt x="44297" y="64724"/>
                    </a:lnTo>
                    <a:lnTo>
                      <a:pt x="0" y="64724"/>
                    </a:lnTo>
                    <a:lnTo>
                      <a:pt x="0" y="8003"/>
                    </a:lnTo>
                    <a:cubicBezTo>
                      <a:pt x="0" y="3582"/>
                      <a:pt x="3582" y="0"/>
                      <a:pt x="800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1" name="Freihandform: Form 400">
                <a:extLst>
                  <a:ext uri="{FF2B5EF4-FFF2-40B4-BE49-F238E27FC236}">
                    <a16:creationId xmlns:a16="http://schemas.microsoft.com/office/drawing/2014/main" id="{BFFAB8FE-723B-061F-284F-1CCFEB48B4E5}"/>
                  </a:ext>
                </a:extLst>
              </p:cNvPr>
              <p:cNvSpPr/>
              <p:nvPr/>
            </p:nvSpPr>
            <p:spPr>
              <a:xfrm>
                <a:off x="310391" y="2649772"/>
                <a:ext cx="50397" cy="32376"/>
              </a:xfrm>
              <a:custGeom>
                <a:avLst/>
                <a:gdLst>
                  <a:gd name="connsiteX0" fmla="*/ 44884 w 50397"/>
                  <a:gd name="connsiteY0" fmla="*/ 0 h 32376"/>
                  <a:gd name="connsiteX1" fmla="*/ 50397 w 50397"/>
                  <a:gd name="connsiteY1" fmla="*/ 5513 h 32376"/>
                  <a:gd name="connsiteX2" fmla="*/ 50397 w 50397"/>
                  <a:gd name="connsiteY2" fmla="*/ 26863 h 32376"/>
                  <a:gd name="connsiteX3" fmla="*/ 44884 w 50397"/>
                  <a:gd name="connsiteY3" fmla="*/ 32376 h 32376"/>
                  <a:gd name="connsiteX4" fmla="*/ 5513 w 50397"/>
                  <a:gd name="connsiteY4" fmla="*/ 32376 h 32376"/>
                  <a:gd name="connsiteX5" fmla="*/ 0 w 50397"/>
                  <a:gd name="connsiteY5" fmla="*/ 26863 h 32376"/>
                  <a:gd name="connsiteX6" fmla="*/ 0 w 50397"/>
                  <a:gd name="connsiteY6" fmla="*/ 5513 h 32376"/>
                  <a:gd name="connsiteX7" fmla="*/ 5513 w 50397"/>
                  <a:gd name="connsiteY7" fmla="*/ 0 h 32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397" h="32376">
                    <a:moveTo>
                      <a:pt x="44884" y="0"/>
                    </a:moveTo>
                    <a:cubicBezTo>
                      <a:pt x="47929" y="0"/>
                      <a:pt x="50397" y="2468"/>
                      <a:pt x="50397" y="5513"/>
                    </a:cubicBezTo>
                    <a:lnTo>
                      <a:pt x="50397" y="26863"/>
                    </a:lnTo>
                    <a:cubicBezTo>
                      <a:pt x="50397" y="29908"/>
                      <a:pt x="47929" y="32376"/>
                      <a:pt x="44884" y="32376"/>
                    </a:cubicBezTo>
                    <a:lnTo>
                      <a:pt x="5513" y="32376"/>
                    </a:lnTo>
                    <a:cubicBezTo>
                      <a:pt x="2468" y="32376"/>
                      <a:pt x="0" y="29908"/>
                      <a:pt x="0" y="26863"/>
                    </a:cubicBezTo>
                    <a:lnTo>
                      <a:pt x="0" y="5513"/>
                    </a:lnTo>
                    <a:cubicBezTo>
                      <a:pt x="0" y="2468"/>
                      <a:pt x="2468" y="0"/>
                      <a:pt x="5513" y="0"/>
                    </a:cubicBezTo>
                    <a:close/>
                  </a:path>
                </a:pathLst>
              </a:custGeom>
              <a:solidFill>
                <a:srgbClr val="BFBFBF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2" name="Freihandform: Form 401">
                <a:extLst>
                  <a:ext uri="{FF2B5EF4-FFF2-40B4-BE49-F238E27FC236}">
                    <a16:creationId xmlns:a16="http://schemas.microsoft.com/office/drawing/2014/main" id="{5C806C4B-E34E-9BFF-86FB-7DF7431B586B}"/>
                  </a:ext>
                </a:extLst>
              </p:cNvPr>
              <p:cNvSpPr/>
              <p:nvPr/>
            </p:nvSpPr>
            <p:spPr>
              <a:xfrm>
                <a:off x="575948" y="2696811"/>
                <a:ext cx="18328" cy="18328"/>
              </a:xfrm>
              <a:custGeom>
                <a:avLst/>
                <a:gdLst>
                  <a:gd name="connsiteX0" fmla="*/ 4337 w 18328"/>
                  <a:gd name="connsiteY0" fmla="*/ 0 h 18328"/>
                  <a:gd name="connsiteX1" fmla="*/ 13963 w 18328"/>
                  <a:gd name="connsiteY1" fmla="*/ 0 h 18328"/>
                  <a:gd name="connsiteX2" fmla="*/ 18329 w 18328"/>
                  <a:gd name="connsiteY2" fmla="*/ 4365 h 18328"/>
                  <a:gd name="connsiteX3" fmla="*/ 18329 w 18328"/>
                  <a:gd name="connsiteY3" fmla="*/ 18329 h 18328"/>
                  <a:gd name="connsiteX4" fmla="*/ 0 w 18328"/>
                  <a:gd name="connsiteY4" fmla="*/ 18329 h 18328"/>
                  <a:gd name="connsiteX5" fmla="*/ 0 w 18328"/>
                  <a:gd name="connsiteY5" fmla="*/ 4365 h 18328"/>
                  <a:gd name="connsiteX6" fmla="*/ 4365 w 18328"/>
                  <a:gd name="connsiteY6" fmla="*/ 0 h 18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328" h="18328">
                    <a:moveTo>
                      <a:pt x="4337" y="0"/>
                    </a:moveTo>
                    <a:lnTo>
                      <a:pt x="13963" y="0"/>
                    </a:lnTo>
                    <a:cubicBezTo>
                      <a:pt x="16370" y="0"/>
                      <a:pt x="18329" y="1959"/>
                      <a:pt x="18329" y="4365"/>
                    </a:cubicBezTo>
                    <a:lnTo>
                      <a:pt x="18329" y="18329"/>
                    </a:lnTo>
                    <a:lnTo>
                      <a:pt x="0" y="18329"/>
                    </a:lnTo>
                    <a:lnTo>
                      <a:pt x="0" y="4365"/>
                    </a:lnTo>
                    <a:cubicBezTo>
                      <a:pt x="0" y="1959"/>
                      <a:pt x="1959" y="0"/>
                      <a:pt x="4365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50" name="Freihandform: Form 349">
              <a:extLst>
                <a:ext uri="{FF2B5EF4-FFF2-40B4-BE49-F238E27FC236}">
                  <a16:creationId xmlns:a16="http://schemas.microsoft.com/office/drawing/2014/main" id="{4DC2B6BA-F7C5-7AF2-CDA8-9F251DD6C708}"/>
                </a:ext>
              </a:extLst>
            </p:cNvPr>
            <p:cNvSpPr/>
            <p:nvPr/>
          </p:nvSpPr>
          <p:spPr>
            <a:xfrm>
              <a:off x="97917" y="2795843"/>
              <a:ext cx="20259" cy="875806"/>
            </a:xfrm>
            <a:custGeom>
              <a:avLst/>
              <a:gdLst>
                <a:gd name="connsiteX0" fmla="*/ 0 w 20259"/>
                <a:gd name="connsiteY0" fmla="*/ 0 h 875806"/>
                <a:gd name="connsiteX1" fmla="*/ 20260 w 20259"/>
                <a:gd name="connsiteY1" fmla="*/ 0 h 875806"/>
                <a:gd name="connsiteX2" fmla="*/ 20260 w 20259"/>
                <a:gd name="connsiteY2" fmla="*/ 875806 h 875806"/>
                <a:gd name="connsiteX3" fmla="*/ 0 w 20259"/>
                <a:gd name="connsiteY3" fmla="*/ 875806 h 875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59" h="875806">
                  <a:moveTo>
                    <a:pt x="0" y="0"/>
                  </a:moveTo>
                  <a:lnTo>
                    <a:pt x="20260" y="0"/>
                  </a:lnTo>
                  <a:lnTo>
                    <a:pt x="20260" y="875806"/>
                  </a:lnTo>
                  <a:lnTo>
                    <a:pt x="0" y="875806"/>
                  </a:lnTo>
                  <a:close/>
                </a:path>
              </a:pathLst>
            </a:custGeom>
            <a:solidFill>
              <a:srgbClr val="404040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1" name="Freihandform: Form 350">
              <a:extLst>
                <a:ext uri="{FF2B5EF4-FFF2-40B4-BE49-F238E27FC236}">
                  <a16:creationId xmlns:a16="http://schemas.microsoft.com/office/drawing/2014/main" id="{B7C6CD86-DDE6-8993-ED52-A8FBC4CA37A2}"/>
                </a:ext>
              </a:extLst>
            </p:cNvPr>
            <p:cNvSpPr/>
            <p:nvPr/>
          </p:nvSpPr>
          <p:spPr>
            <a:xfrm>
              <a:off x="1109916" y="3526642"/>
              <a:ext cx="84676" cy="84676"/>
            </a:xfrm>
            <a:custGeom>
              <a:avLst/>
              <a:gdLst>
                <a:gd name="connsiteX0" fmla="*/ 84676 w 84676"/>
                <a:gd name="connsiteY0" fmla="*/ 42338 h 84676"/>
                <a:gd name="connsiteX1" fmla="*/ 42338 w 84676"/>
                <a:gd name="connsiteY1" fmla="*/ 84676 h 84676"/>
                <a:gd name="connsiteX2" fmla="*/ 0 w 84676"/>
                <a:gd name="connsiteY2" fmla="*/ 42338 h 84676"/>
                <a:gd name="connsiteX3" fmla="*/ 42338 w 84676"/>
                <a:gd name="connsiteY3" fmla="*/ 0 h 84676"/>
                <a:gd name="connsiteX4" fmla="*/ 84676 w 84676"/>
                <a:gd name="connsiteY4" fmla="*/ 42338 h 84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676" h="84676">
                  <a:moveTo>
                    <a:pt x="84676" y="42338"/>
                  </a:moveTo>
                  <a:cubicBezTo>
                    <a:pt x="84676" y="65721"/>
                    <a:pt x="65721" y="84676"/>
                    <a:pt x="42338" y="84676"/>
                  </a:cubicBezTo>
                  <a:cubicBezTo>
                    <a:pt x="18955" y="84676"/>
                    <a:pt x="0" y="65721"/>
                    <a:pt x="0" y="42338"/>
                  </a:cubicBezTo>
                  <a:cubicBezTo>
                    <a:pt x="0" y="18955"/>
                    <a:pt x="18955" y="0"/>
                    <a:pt x="42338" y="0"/>
                  </a:cubicBezTo>
                  <a:cubicBezTo>
                    <a:pt x="65721" y="0"/>
                    <a:pt x="84676" y="18955"/>
                    <a:pt x="84676" y="42338"/>
                  </a:cubicBezTo>
                  <a:close/>
                </a:path>
              </a:pathLst>
            </a:custGeom>
            <a:solidFill>
              <a:srgbClr val="1E1E1E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2" name="Freihandform: Form 351">
              <a:extLst>
                <a:ext uri="{FF2B5EF4-FFF2-40B4-BE49-F238E27FC236}">
                  <a16:creationId xmlns:a16="http://schemas.microsoft.com/office/drawing/2014/main" id="{225A91D1-2141-1570-A93D-F4D7E2A6273E}"/>
                </a:ext>
              </a:extLst>
            </p:cNvPr>
            <p:cNvSpPr/>
            <p:nvPr/>
          </p:nvSpPr>
          <p:spPr>
            <a:xfrm>
              <a:off x="914372" y="3526642"/>
              <a:ext cx="84676" cy="84676"/>
            </a:xfrm>
            <a:custGeom>
              <a:avLst/>
              <a:gdLst>
                <a:gd name="connsiteX0" fmla="*/ 84676 w 84676"/>
                <a:gd name="connsiteY0" fmla="*/ 42338 h 84676"/>
                <a:gd name="connsiteX1" fmla="*/ 42338 w 84676"/>
                <a:gd name="connsiteY1" fmla="*/ 84676 h 84676"/>
                <a:gd name="connsiteX2" fmla="*/ 0 w 84676"/>
                <a:gd name="connsiteY2" fmla="*/ 42338 h 84676"/>
                <a:gd name="connsiteX3" fmla="*/ 42338 w 84676"/>
                <a:gd name="connsiteY3" fmla="*/ 0 h 84676"/>
                <a:gd name="connsiteX4" fmla="*/ 84676 w 84676"/>
                <a:gd name="connsiteY4" fmla="*/ 42338 h 84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676" h="84676">
                  <a:moveTo>
                    <a:pt x="84676" y="42338"/>
                  </a:moveTo>
                  <a:cubicBezTo>
                    <a:pt x="84676" y="65721"/>
                    <a:pt x="65721" y="84676"/>
                    <a:pt x="42338" y="84676"/>
                  </a:cubicBezTo>
                  <a:cubicBezTo>
                    <a:pt x="18955" y="84676"/>
                    <a:pt x="0" y="65721"/>
                    <a:pt x="0" y="42338"/>
                  </a:cubicBezTo>
                  <a:cubicBezTo>
                    <a:pt x="0" y="18955"/>
                    <a:pt x="18955" y="0"/>
                    <a:pt x="42338" y="0"/>
                  </a:cubicBezTo>
                  <a:cubicBezTo>
                    <a:pt x="65721" y="0"/>
                    <a:pt x="84676" y="18955"/>
                    <a:pt x="84676" y="42338"/>
                  </a:cubicBezTo>
                  <a:close/>
                </a:path>
              </a:pathLst>
            </a:custGeom>
            <a:solidFill>
              <a:srgbClr val="1E1E1E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3" name="Freihandform: Form 352">
              <a:extLst>
                <a:ext uri="{FF2B5EF4-FFF2-40B4-BE49-F238E27FC236}">
                  <a16:creationId xmlns:a16="http://schemas.microsoft.com/office/drawing/2014/main" id="{D994D1E6-380B-713E-DD60-55BF059AD29E}"/>
                </a:ext>
              </a:extLst>
            </p:cNvPr>
            <p:cNvSpPr/>
            <p:nvPr/>
          </p:nvSpPr>
          <p:spPr>
            <a:xfrm>
              <a:off x="876987" y="3428758"/>
              <a:ext cx="121109" cy="141201"/>
            </a:xfrm>
            <a:custGeom>
              <a:avLst/>
              <a:gdLst>
                <a:gd name="connsiteX0" fmla="*/ 95505 w 121109"/>
                <a:gd name="connsiteY0" fmla="*/ 28 h 141201"/>
                <a:gd name="connsiteX1" fmla="*/ 121110 w 121109"/>
                <a:gd name="connsiteY1" fmla="*/ 131379 h 141201"/>
                <a:gd name="connsiteX2" fmla="*/ 37385 w 121109"/>
                <a:gd name="connsiteY2" fmla="*/ 141201 h 141201"/>
                <a:gd name="connsiteX3" fmla="*/ 0 w 121109"/>
                <a:gd name="connsiteY3" fmla="*/ 1679 h 141201"/>
                <a:gd name="connsiteX4" fmla="*/ 95505 w 121109"/>
                <a:gd name="connsiteY4" fmla="*/ 0 h 141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109" h="141201">
                  <a:moveTo>
                    <a:pt x="95505" y="28"/>
                  </a:moveTo>
                  <a:cubicBezTo>
                    <a:pt x="95701" y="6800"/>
                    <a:pt x="121110" y="131379"/>
                    <a:pt x="121110" y="131379"/>
                  </a:cubicBezTo>
                  <a:lnTo>
                    <a:pt x="37385" y="141201"/>
                  </a:lnTo>
                  <a:cubicBezTo>
                    <a:pt x="30082" y="115233"/>
                    <a:pt x="0" y="1679"/>
                    <a:pt x="0" y="1679"/>
                  </a:cubicBezTo>
                  <a:lnTo>
                    <a:pt x="95505" y="0"/>
                  </a:lnTo>
                  <a:close/>
                </a:path>
              </a:pathLst>
            </a:custGeom>
            <a:solidFill>
              <a:srgbClr val="1E1E1E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4" name="Freihandform: Form 353">
              <a:extLst>
                <a:ext uri="{FF2B5EF4-FFF2-40B4-BE49-F238E27FC236}">
                  <a16:creationId xmlns:a16="http://schemas.microsoft.com/office/drawing/2014/main" id="{11B84908-F83F-80CA-B065-4A28CE66B256}"/>
                </a:ext>
              </a:extLst>
            </p:cNvPr>
            <p:cNvSpPr/>
            <p:nvPr/>
          </p:nvSpPr>
          <p:spPr>
            <a:xfrm>
              <a:off x="1109077" y="3416418"/>
              <a:ext cx="88425" cy="152674"/>
            </a:xfrm>
            <a:custGeom>
              <a:avLst/>
              <a:gdLst>
                <a:gd name="connsiteX0" fmla="*/ 88426 w 88425"/>
                <a:gd name="connsiteY0" fmla="*/ 0 h 152674"/>
                <a:gd name="connsiteX1" fmla="*/ 85488 w 88425"/>
                <a:gd name="connsiteY1" fmla="*/ 152674 h 152674"/>
                <a:gd name="connsiteX2" fmla="*/ 840 w 88425"/>
                <a:gd name="connsiteY2" fmla="*/ 152674 h 152674"/>
                <a:gd name="connsiteX3" fmla="*/ 0 w 88425"/>
                <a:gd name="connsiteY3" fmla="*/ 0 h 152674"/>
                <a:gd name="connsiteX4" fmla="*/ 88426 w 88425"/>
                <a:gd name="connsiteY4" fmla="*/ 0 h 152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425" h="152674">
                  <a:moveTo>
                    <a:pt x="88426" y="0"/>
                  </a:moveTo>
                  <a:lnTo>
                    <a:pt x="85488" y="152674"/>
                  </a:lnTo>
                  <a:lnTo>
                    <a:pt x="840" y="152674"/>
                  </a:lnTo>
                  <a:lnTo>
                    <a:pt x="0" y="0"/>
                  </a:lnTo>
                  <a:lnTo>
                    <a:pt x="88426" y="0"/>
                  </a:lnTo>
                  <a:close/>
                </a:path>
              </a:pathLst>
            </a:custGeom>
            <a:solidFill>
              <a:srgbClr val="1E1E1E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5" name="Freihandform: Form 354">
              <a:extLst>
                <a:ext uri="{FF2B5EF4-FFF2-40B4-BE49-F238E27FC236}">
                  <a16:creationId xmlns:a16="http://schemas.microsoft.com/office/drawing/2014/main" id="{9E6BC1FC-7DF5-2A7C-E3F0-89261727A346}"/>
                </a:ext>
              </a:extLst>
            </p:cNvPr>
            <p:cNvSpPr/>
            <p:nvPr/>
          </p:nvSpPr>
          <p:spPr>
            <a:xfrm>
              <a:off x="1070824" y="3562460"/>
              <a:ext cx="164874" cy="82863"/>
            </a:xfrm>
            <a:custGeom>
              <a:avLst/>
              <a:gdLst>
                <a:gd name="connsiteX0" fmla="*/ 0 w 164874"/>
                <a:gd name="connsiteY0" fmla="*/ 78772 h 82863"/>
                <a:gd name="connsiteX1" fmla="*/ 27983 w 164874"/>
                <a:gd name="connsiteY1" fmla="*/ 17209 h 82863"/>
                <a:gd name="connsiteX2" fmla="*/ 32152 w 164874"/>
                <a:gd name="connsiteY2" fmla="*/ 0 h 82863"/>
                <a:gd name="connsiteX3" fmla="*/ 131212 w 164874"/>
                <a:gd name="connsiteY3" fmla="*/ 0 h 82863"/>
                <a:gd name="connsiteX4" fmla="*/ 132751 w 164874"/>
                <a:gd name="connsiteY4" fmla="*/ 15810 h 82863"/>
                <a:gd name="connsiteX5" fmla="*/ 164875 w 164874"/>
                <a:gd name="connsiteY5" fmla="*/ 78772 h 82863"/>
                <a:gd name="connsiteX6" fmla="*/ 0 w 164874"/>
                <a:gd name="connsiteY6" fmla="*/ 78772 h 82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4874" h="82863">
                  <a:moveTo>
                    <a:pt x="0" y="78772"/>
                  </a:moveTo>
                  <a:cubicBezTo>
                    <a:pt x="7275" y="57896"/>
                    <a:pt x="17573" y="37301"/>
                    <a:pt x="27983" y="17209"/>
                  </a:cubicBezTo>
                  <a:cubicBezTo>
                    <a:pt x="29998" y="3666"/>
                    <a:pt x="32152" y="0"/>
                    <a:pt x="32152" y="0"/>
                  </a:cubicBezTo>
                  <a:lnTo>
                    <a:pt x="131212" y="0"/>
                  </a:lnTo>
                  <a:cubicBezTo>
                    <a:pt x="131212" y="0"/>
                    <a:pt x="131212" y="0"/>
                    <a:pt x="132751" y="15810"/>
                  </a:cubicBezTo>
                  <a:cubicBezTo>
                    <a:pt x="144112" y="34195"/>
                    <a:pt x="155445" y="56805"/>
                    <a:pt x="164875" y="78772"/>
                  </a:cubicBezTo>
                  <a:cubicBezTo>
                    <a:pt x="112519" y="84760"/>
                    <a:pt x="57113" y="83669"/>
                    <a:pt x="0" y="78772"/>
                  </a:cubicBezTo>
                  <a:close/>
                </a:path>
              </a:pathLst>
            </a:custGeom>
            <a:solidFill>
              <a:srgbClr val="1E1E1E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56" name="Grafik 110">
              <a:extLst>
                <a:ext uri="{FF2B5EF4-FFF2-40B4-BE49-F238E27FC236}">
                  <a16:creationId xmlns:a16="http://schemas.microsoft.com/office/drawing/2014/main" id="{1F42AB78-C8A8-F2ED-85EC-7A0E0BC36385}"/>
                </a:ext>
              </a:extLst>
            </p:cNvPr>
            <p:cNvGrpSpPr/>
            <p:nvPr/>
          </p:nvGrpSpPr>
          <p:grpSpPr>
            <a:xfrm>
              <a:off x="776753" y="3564391"/>
              <a:ext cx="255763" cy="80895"/>
              <a:chOff x="776753" y="3564391"/>
              <a:chExt cx="255763" cy="80895"/>
            </a:xfrm>
            <a:solidFill>
              <a:srgbClr val="1E1E1E"/>
            </a:solidFill>
          </p:grpSpPr>
          <p:sp>
            <p:nvSpPr>
              <p:cNvPr id="390" name="Freihandform: Form 389">
                <a:extLst>
                  <a:ext uri="{FF2B5EF4-FFF2-40B4-BE49-F238E27FC236}">
                    <a16:creationId xmlns:a16="http://schemas.microsoft.com/office/drawing/2014/main" id="{48DA3EB5-496D-98CC-4242-EAC821B55421}"/>
                  </a:ext>
                </a:extLst>
              </p:cNvPr>
              <p:cNvSpPr/>
              <p:nvPr/>
            </p:nvSpPr>
            <p:spPr>
              <a:xfrm>
                <a:off x="904690" y="3564391"/>
                <a:ext cx="28" cy="2798"/>
              </a:xfrm>
              <a:custGeom>
                <a:avLst/>
                <a:gdLst>
                  <a:gd name="connsiteX0" fmla="*/ 0 w 28"/>
                  <a:gd name="connsiteY0" fmla="*/ 0 h 2798"/>
                  <a:gd name="connsiteX1" fmla="*/ 28 w 28"/>
                  <a:gd name="connsiteY1" fmla="*/ 0 h 2798"/>
                  <a:gd name="connsiteX2" fmla="*/ 0 w 28"/>
                  <a:gd name="connsiteY2" fmla="*/ 0 h 2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" h="2798">
                    <a:moveTo>
                      <a:pt x="0" y="0"/>
                    </a:moveTo>
                    <a:lnTo>
                      <a:pt x="28" y="0"/>
                    </a:lnTo>
                    <a:cubicBezTo>
                      <a:pt x="28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1E1E1E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1" name="Freihandform: Form 390">
                <a:extLst>
                  <a:ext uri="{FF2B5EF4-FFF2-40B4-BE49-F238E27FC236}">
                    <a16:creationId xmlns:a16="http://schemas.microsoft.com/office/drawing/2014/main" id="{AC70CD30-6C01-D873-1C5B-0A5E98E5EC17}"/>
                  </a:ext>
                </a:extLst>
              </p:cNvPr>
              <p:cNvSpPr/>
              <p:nvPr/>
            </p:nvSpPr>
            <p:spPr>
              <a:xfrm>
                <a:off x="776753" y="3564391"/>
                <a:ext cx="255763" cy="80895"/>
              </a:xfrm>
              <a:custGeom>
                <a:avLst/>
                <a:gdLst>
                  <a:gd name="connsiteX0" fmla="*/ 255763 w 255763"/>
                  <a:gd name="connsiteY0" fmla="*/ 76841 h 80895"/>
                  <a:gd name="connsiteX1" fmla="*/ 230886 w 255763"/>
                  <a:gd name="connsiteY1" fmla="*/ 13879 h 80895"/>
                  <a:gd name="connsiteX2" fmla="*/ 228844 w 255763"/>
                  <a:gd name="connsiteY2" fmla="*/ 0 h 80895"/>
                  <a:gd name="connsiteX3" fmla="*/ 127966 w 255763"/>
                  <a:gd name="connsiteY3" fmla="*/ 0 h 80895"/>
                  <a:gd name="connsiteX4" fmla="*/ 118088 w 255763"/>
                  <a:gd name="connsiteY4" fmla="*/ 13991 h 80895"/>
                  <a:gd name="connsiteX5" fmla="*/ 70936 w 255763"/>
                  <a:gd name="connsiteY5" fmla="*/ 36825 h 80895"/>
                  <a:gd name="connsiteX6" fmla="*/ 9710 w 255763"/>
                  <a:gd name="connsiteY6" fmla="*/ 55042 h 80895"/>
                  <a:gd name="connsiteX7" fmla="*/ 0 w 255763"/>
                  <a:gd name="connsiteY7" fmla="*/ 75330 h 80895"/>
                  <a:gd name="connsiteX8" fmla="*/ 168 w 255763"/>
                  <a:gd name="connsiteY8" fmla="*/ 77708 h 80895"/>
                  <a:gd name="connsiteX9" fmla="*/ 109273 w 255763"/>
                  <a:gd name="connsiteY9" fmla="*/ 77708 h 80895"/>
                  <a:gd name="connsiteX10" fmla="*/ 255763 w 255763"/>
                  <a:gd name="connsiteY10" fmla="*/ 76841 h 80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55763" h="80895">
                    <a:moveTo>
                      <a:pt x="255763" y="76841"/>
                    </a:moveTo>
                    <a:cubicBezTo>
                      <a:pt x="252153" y="55462"/>
                      <a:pt x="243227" y="31033"/>
                      <a:pt x="230886" y="13879"/>
                    </a:cubicBezTo>
                    <a:cubicBezTo>
                      <a:pt x="230886" y="4701"/>
                      <a:pt x="228844" y="0"/>
                      <a:pt x="228844" y="0"/>
                    </a:cubicBezTo>
                    <a:lnTo>
                      <a:pt x="127966" y="0"/>
                    </a:lnTo>
                    <a:cubicBezTo>
                      <a:pt x="127798" y="336"/>
                      <a:pt x="126315" y="2546"/>
                      <a:pt x="118088" y="13991"/>
                    </a:cubicBezTo>
                    <a:cubicBezTo>
                      <a:pt x="101634" y="31341"/>
                      <a:pt x="70936" y="36825"/>
                      <a:pt x="70936" y="36825"/>
                    </a:cubicBezTo>
                    <a:cubicBezTo>
                      <a:pt x="53475" y="41554"/>
                      <a:pt x="37217" y="45388"/>
                      <a:pt x="9710" y="55042"/>
                    </a:cubicBezTo>
                    <a:cubicBezTo>
                      <a:pt x="1651" y="57868"/>
                      <a:pt x="0" y="68082"/>
                      <a:pt x="0" y="75330"/>
                    </a:cubicBezTo>
                    <a:cubicBezTo>
                      <a:pt x="0" y="76141"/>
                      <a:pt x="112" y="76925"/>
                      <a:pt x="168" y="77708"/>
                    </a:cubicBezTo>
                    <a:lnTo>
                      <a:pt x="109273" y="77708"/>
                    </a:lnTo>
                    <a:cubicBezTo>
                      <a:pt x="161545" y="81794"/>
                      <a:pt x="206877" y="82409"/>
                      <a:pt x="255763" y="76841"/>
                    </a:cubicBezTo>
                    <a:close/>
                  </a:path>
                </a:pathLst>
              </a:custGeom>
              <a:solidFill>
                <a:srgbClr val="1E1E1E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57" name="Freihandform: Form 356">
              <a:extLst>
                <a:ext uri="{FF2B5EF4-FFF2-40B4-BE49-F238E27FC236}">
                  <a16:creationId xmlns:a16="http://schemas.microsoft.com/office/drawing/2014/main" id="{209D958F-D84B-871B-F78A-5B5818385485}"/>
                </a:ext>
              </a:extLst>
            </p:cNvPr>
            <p:cNvSpPr/>
            <p:nvPr/>
          </p:nvSpPr>
          <p:spPr>
            <a:xfrm>
              <a:off x="815537" y="2663120"/>
              <a:ext cx="457855" cy="457854"/>
            </a:xfrm>
            <a:custGeom>
              <a:avLst/>
              <a:gdLst>
                <a:gd name="connsiteX0" fmla="*/ 457855 w 457855"/>
                <a:gd name="connsiteY0" fmla="*/ 228927 h 457854"/>
                <a:gd name="connsiteX1" fmla="*/ 228928 w 457855"/>
                <a:gd name="connsiteY1" fmla="*/ 457855 h 457854"/>
                <a:gd name="connsiteX2" fmla="*/ 0 w 457855"/>
                <a:gd name="connsiteY2" fmla="*/ 228927 h 457854"/>
                <a:gd name="connsiteX3" fmla="*/ 228928 w 457855"/>
                <a:gd name="connsiteY3" fmla="*/ 0 h 457854"/>
                <a:gd name="connsiteX4" fmla="*/ 457855 w 457855"/>
                <a:gd name="connsiteY4" fmla="*/ 228927 h 45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7855" h="457854">
                  <a:moveTo>
                    <a:pt x="457855" y="228927"/>
                  </a:moveTo>
                  <a:cubicBezTo>
                    <a:pt x="457855" y="355361"/>
                    <a:pt x="355361" y="457855"/>
                    <a:pt x="228928" y="457855"/>
                  </a:cubicBezTo>
                  <a:cubicBezTo>
                    <a:pt x="102494" y="457855"/>
                    <a:pt x="0" y="355361"/>
                    <a:pt x="0" y="228927"/>
                  </a:cubicBezTo>
                  <a:cubicBezTo>
                    <a:pt x="0" y="102494"/>
                    <a:pt x="102494" y="0"/>
                    <a:pt x="228928" y="0"/>
                  </a:cubicBezTo>
                  <a:cubicBezTo>
                    <a:pt x="355361" y="0"/>
                    <a:pt x="457855" y="102494"/>
                    <a:pt x="457855" y="228927"/>
                  </a:cubicBezTo>
                  <a:close/>
                </a:path>
              </a:pathLst>
            </a:custGeom>
            <a:solidFill>
              <a:srgbClr val="009999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8" name="Freihandform: Form 357">
              <a:extLst>
                <a:ext uri="{FF2B5EF4-FFF2-40B4-BE49-F238E27FC236}">
                  <a16:creationId xmlns:a16="http://schemas.microsoft.com/office/drawing/2014/main" id="{5BDAF0F6-E3A5-32EC-A9E7-48ADD42AA36E}"/>
                </a:ext>
              </a:extLst>
            </p:cNvPr>
            <p:cNvSpPr/>
            <p:nvPr/>
          </p:nvSpPr>
          <p:spPr>
            <a:xfrm>
              <a:off x="663450" y="2324836"/>
              <a:ext cx="234188" cy="411039"/>
            </a:xfrm>
            <a:custGeom>
              <a:avLst/>
              <a:gdLst>
                <a:gd name="connsiteX0" fmla="*/ 104572 w 234188"/>
                <a:gd name="connsiteY0" fmla="*/ 0 h 411039"/>
                <a:gd name="connsiteX1" fmla="*/ 57057 w 234188"/>
                <a:gd name="connsiteY1" fmla="*/ 103788 h 411039"/>
                <a:gd name="connsiteX2" fmla="*/ 0 w 234188"/>
                <a:gd name="connsiteY2" fmla="*/ 375501 h 411039"/>
                <a:gd name="connsiteX3" fmla="*/ 159642 w 234188"/>
                <a:gd name="connsiteY3" fmla="*/ 411040 h 411039"/>
                <a:gd name="connsiteX4" fmla="*/ 234188 w 234188"/>
                <a:gd name="connsiteY4" fmla="*/ 76029 h 411039"/>
                <a:gd name="connsiteX5" fmla="*/ 104572 w 234188"/>
                <a:gd name="connsiteY5" fmla="*/ 0 h 411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188" h="411039">
                  <a:moveTo>
                    <a:pt x="104572" y="0"/>
                  </a:moveTo>
                  <a:cubicBezTo>
                    <a:pt x="104572" y="0"/>
                    <a:pt x="72727" y="26556"/>
                    <a:pt x="57057" y="103788"/>
                  </a:cubicBezTo>
                  <a:cubicBezTo>
                    <a:pt x="37329" y="201085"/>
                    <a:pt x="0" y="375501"/>
                    <a:pt x="0" y="375501"/>
                  </a:cubicBezTo>
                  <a:lnTo>
                    <a:pt x="159642" y="411040"/>
                  </a:lnTo>
                  <a:lnTo>
                    <a:pt x="234188" y="76029"/>
                  </a:lnTo>
                  <a:cubicBezTo>
                    <a:pt x="175229" y="29214"/>
                    <a:pt x="104572" y="0"/>
                    <a:pt x="104572" y="0"/>
                  </a:cubicBezTo>
                  <a:close/>
                </a:path>
              </a:pathLst>
            </a:custGeom>
            <a:solidFill>
              <a:srgbClr val="009999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9" name="Freihandform: Form 358">
              <a:extLst>
                <a:ext uri="{FF2B5EF4-FFF2-40B4-BE49-F238E27FC236}">
                  <a16:creationId xmlns:a16="http://schemas.microsoft.com/office/drawing/2014/main" id="{2A8C8EDB-363B-585B-B35B-E4ABEAF6602F}"/>
                </a:ext>
              </a:extLst>
            </p:cNvPr>
            <p:cNvSpPr/>
            <p:nvPr/>
          </p:nvSpPr>
          <p:spPr>
            <a:xfrm>
              <a:off x="966168" y="2082050"/>
              <a:ext cx="145510" cy="236797"/>
            </a:xfrm>
            <a:custGeom>
              <a:avLst/>
              <a:gdLst>
                <a:gd name="connsiteX0" fmla="*/ 0 w 145510"/>
                <a:gd name="connsiteY0" fmla="*/ 205316 h 236797"/>
                <a:gd name="connsiteX1" fmla="*/ 145511 w 145510"/>
                <a:gd name="connsiteY1" fmla="*/ 205316 h 236797"/>
                <a:gd name="connsiteX2" fmla="*/ 145511 w 145510"/>
                <a:gd name="connsiteY2" fmla="*/ 51243 h 236797"/>
                <a:gd name="connsiteX3" fmla="*/ 0 w 145510"/>
                <a:gd name="connsiteY3" fmla="*/ 51243 h 236797"/>
                <a:gd name="connsiteX4" fmla="*/ 0 w 145510"/>
                <a:gd name="connsiteY4" fmla="*/ 205316 h 236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510" h="236797">
                  <a:moveTo>
                    <a:pt x="0" y="205316"/>
                  </a:moveTo>
                  <a:cubicBezTo>
                    <a:pt x="25297" y="246983"/>
                    <a:pt x="115737" y="247598"/>
                    <a:pt x="145511" y="205316"/>
                  </a:cubicBezTo>
                  <a:lnTo>
                    <a:pt x="145511" y="51243"/>
                  </a:lnTo>
                  <a:cubicBezTo>
                    <a:pt x="145511" y="-14852"/>
                    <a:pt x="0" y="-19274"/>
                    <a:pt x="0" y="51243"/>
                  </a:cubicBezTo>
                  <a:lnTo>
                    <a:pt x="0" y="205316"/>
                  </a:lnTo>
                  <a:close/>
                </a:path>
              </a:pathLst>
            </a:custGeom>
            <a:solidFill>
              <a:srgbClr val="F9D9D2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0" name="Freihandform: Form 359">
              <a:extLst>
                <a:ext uri="{FF2B5EF4-FFF2-40B4-BE49-F238E27FC236}">
                  <a16:creationId xmlns:a16="http://schemas.microsoft.com/office/drawing/2014/main" id="{EF4BE8A8-2D97-E550-7A48-66E4A7A65820}"/>
                </a:ext>
              </a:extLst>
            </p:cNvPr>
            <p:cNvSpPr/>
            <p:nvPr/>
          </p:nvSpPr>
          <p:spPr>
            <a:xfrm>
              <a:off x="966196" y="2081967"/>
              <a:ext cx="145510" cy="205531"/>
            </a:xfrm>
            <a:custGeom>
              <a:avLst/>
              <a:gdLst>
                <a:gd name="connsiteX0" fmla="*/ 145511 w 145510"/>
                <a:gd name="connsiteY0" fmla="*/ 205399 h 205531"/>
                <a:gd name="connsiteX1" fmla="*/ 145511 w 145510"/>
                <a:gd name="connsiteY1" fmla="*/ 51326 h 205531"/>
                <a:gd name="connsiteX2" fmla="*/ 0 w 145510"/>
                <a:gd name="connsiteY2" fmla="*/ 51326 h 205531"/>
                <a:gd name="connsiteX3" fmla="*/ 0 w 145510"/>
                <a:gd name="connsiteY3" fmla="*/ 93580 h 205531"/>
                <a:gd name="connsiteX4" fmla="*/ 97268 w 145510"/>
                <a:gd name="connsiteY4" fmla="*/ 119744 h 205531"/>
                <a:gd name="connsiteX5" fmla="*/ 129421 w 145510"/>
                <a:gd name="connsiteY5" fmla="*/ 145936 h 205531"/>
                <a:gd name="connsiteX6" fmla="*/ 145511 w 145510"/>
                <a:gd name="connsiteY6" fmla="*/ 205427 h 205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510" h="205531">
                  <a:moveTo>
                    <a:pt x="145511" y="205399"/>
                  </a:moveTo>
                  <a:lnTo>
                    <a:pt x="145511" y="51326"/>
                  </a:lnTo>
                  <a:cubicBezTo>
                    <a:pt x="143944" y="-16253"/>
                    <a:pt x="0" y="-17959"/>
                    <a:pt x="0" y="51326"/>
                  </a:cubicBezTo>
                  <a:lnTo>
                    <a:pt x="0" y="93580"/>
                  </a:lnTo>
                  <a:cubicBezTo>
                    <a:pt x="15558" y="111293"/>
                    <a:pt x="52132" y="133651"/>
                    <a:pt x="97268" y="119744"/>
                  </a:cubicBezTo>
                  <a:cubicBezTo>
                    <a:pt x="111036" y="115491"/>
                    <a:pt x="137088" y="124809"/>
                    <a:pt x="129421" y="145936"/>
                  </a:cubicBezTo>
                  <a:cubicBezTo>
                    <a:pt x="116716" y="180803"/>
                    <a:pt x="144112" y="207414"/>
                    <a:pt x="145511" y="205427"/>
                  </a:cubicBezTo>
                  <a:close/>
                </a:path>
              </a:pathLst>
            </a:custGeom>
            <a:solidFill>
              <a:srgbClr val="F2BBB3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1" name="Freihandform: Form 360">
              <a:extLst>
                <a:ext uri="{FF2B5EF4-FFF2-40B4-BE49-F238E27FC236}">
                  <a16:creationId xmlns:a16="http://schemas.microsoft.com/office/drawing/2014/main" id="{DEE64BA5-8EDC-BB7E-43CB-39E3DA98C73B}"/>
                </a:ext>
              </a:extLst>
            </p:cNvPr>
            <p:cNvSpPr/>
            <p:nvPr/>
          </p:nvSpPr>
          <p:spPr>
            <a:xfrm>
              <a:off x="1119291" y="2611464"/>
              <a:ext cx="288335" cy="159558"/>
            </a:xfrm>
            <a:custGeom>
              <a:avLst/>
              <a:gdLst>
                <a:gd name="connsiteX0" fmla="*/ 288335 w 288335"/>
                <a:gd name="connsiteY0" fmla="*/ 152926 h 159558"/>
                <a:gd name="connsiteX1" fmla="*/ 0 w 288335"/>
                <a:gd name="connsiteY1" fmla="*/ 159558 h 159558"/>
                <a:gd name="connsiteX2" fmla="*/ 5820 w 288335"/>
                <a:gd name="connsiteY2" fmla="*/ 27955 h 159558"/>
                <a:gd name="connsiteX3" fmla="*/ 282067 w 288335"/>
                <a:gd name="connsiteY3" fmla="*/ 0 h 159558"/>
                <a:gd name="connsiteX4" fmla="*/ 288335 w 288335"/>
                <a:gd name="connsiteY4" fmla="*/ 152926 h 159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8335" h="159558">
                  <a:moveTo>
                    <a:pt x="288335" y="152926"/>
                  </a:moveTo>
                  <a:lnTo>
                    <a:pt x="0" y="159558"/>
                  </a:lnTo>
                  <a:lnTo>
                    <a:pt x="5820" y="27955"/>
                  </a:lnTo>
                  <a:lnTo>
                    <a:pt x="282067" y="0"/>
                  </a:lnTo>
                  <a:cubicBezTo>
                    <a:pt x="282067" y="0"/>
                    <a:pt x="282067" y="70657"/>
                    <a:pt x="288335" y="152926"/>
                  </a:cubicBezTo>
                  <a:close/>
                </a:path>
              </a:pathLst>
            </a:custGeom>
            <a:solidFill>
              <a:srgbClr val="009999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2" name="Freihandform: Form 361">
              <a:extLst>
                <a:ext uri="{FF2B5EF4-FFF2-40B4-BE49-F238E27FC236}">
                  <a16:creationId xmlns:a16="http://schemas.microsoft.com/office/drawing/2014/main" id="{274F8813-96CC-3960-8BE4-3D406B1251E1}"/>
                </a:ext>
              </a:extLst>
            </p:cNvPr>
            <p:cNvSpPr/>
            <p:nvPr/>
          </p:nvSpPr>
          <p:spPr>
            <a:xfrm>
              <a:off x="1197083" y="2357072"/>
              <a:ext cx="279968" cy="363412"/>
            </a:xfrm>
            <a:custGeom>
              <a:avLst/>
              <a:gdLst>
                <a:gd name="connsiteX0" fmla="*/ 143160 w 279968"/>
                <a:gd name="connsiteY0" fmla="*/ 0 h 363412"/>
                <a:gd name="connsiteX1" fmla="*/ 279968 w 279968"/>
                <a:gd name="connsiteY1" fmla="*/ 302802 h 363412"/>
                <a:gd name="connsiteX2" fmla="*/ 139522 w 279968"/>
                <a:gd name="connsiteY2" fmla="*/ 363413 h 363412"/>
                <a:gd name="connsiteX3" fmla="*/ 0 w 279968"/>
                <a:gd name="connsiteY3" fmla="*/ 61142 h 363412"/>
                <a:gd name="connsiteX4" fmla="*/ 143160 w 279968"/>
                <a:gd name="connsiteY4" fmla="*/ 0 h 363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968" h="363412">
                  <a:moveTo>
                    <a:pt x="143160" y="0"/>
                  </a:moveTo>
                  <a:cubicBezTo>
                    <a:pt x="179930" y="92203"/>
                    <a:pt x="279968" y="302802"/>
                    <a:pt x="279968" y="302802"/>
                  </a:cubicBezTo>
                  <a:lnTo>
                    <a:pt x="139522" y="363413"/>
                  </a:lnTo>
                  <a:lnTo>
                    <a:pt x="0" y="61142"/>
                  </a:lnTo>
                  <a:cubicBezTo>
                    <a:pt x="0" y="61142"/>
                    <a:pt x="64808" y="33076"/>
                    <a:pt x="143160" y="0"/>
                  </a:cubicBezTo>
                  <a:close/>
                </a:path>
              </a:pathLst>
            </a:custGeom>
            <a:solidFill>
              <a:srgbClr val="009999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3" name="Freihandform: Form 362">
              <a:extLst>
                <a:ext uri="{FF2B5EF4-FFF2-40B4-BE49-F238E27FC236}">
                  <a16:creationId xmlns:a16="http://schemas.microsoft.com/office/drawing/2014/main" id="{CA41FAA4-9867-5EAA-109C-B66A7501E676}"/>
                </a:ext>
              </a:extLst>
            </p:cNvPr>
            <p:cNvSpPr/>
            <p:nvPr/>
          </p:nvSpPr>
          <p:spPr>
            <a:xfrm>
              <a:off x="1329302" y="2611352"/>
              <a:ext cx="153066" cy="153066"/>
            </a:xfrm>
            <a:custGeom>
              <a:avLst/>
              <a:gdLst>
                <a:gd name="connsiteX0" fmla="*/ 153066 w 153066"/>
                <a:gd name="connsiteY0" fmla="*/ 76533 h 153066"/>
                <a:gd name="connsiteX1" fmla="*/ 76533 w 153066"/>
                <a:gd name="connsiteY1" fmla="*/ 153066 h 153066"/>
                <a:gd name="connsiteX2" fmla="*/ 0 w 153066"/>
                <a:gd name="connsiteY2" fmla="*/ 76533 h 153066"/>
                <a:gd name="connsiteX3" fmla="*/ 76533 w 153066"/>
                <a:gd name="connsiteY3" fmla="*/ 0 h 153066"/>
                <a:gd name="connsiteX4" fmla="*/ 153066 w 153066"/>
                <a:gd name="connsiteY4" fmla="*/ 76533 h 153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3066" h="153066">
                  <a:moveTo>
                    <a:pt x="153066" y="76533"/>
                  </a:moveTo>
                  <a:cubicBezTo>
                    <a:pt x="153066" y="118801"/>
                    <a:pt x="118801" y="153066"/>
                    <a:pt x="76533" y="153066"/>
                  </a:cubicBezTo>
                  <a:cubicBezTo>
                    <a:pt x="34265" y="153066"/>
                    <a:pt x="0" y="118801"/>
                    <a:pt x="0" y="76533"/>
                  </a:cubicBezTo>
                  <a:cubicBezTo>
                    <a:pt x="0" y="34265"/>
                    <a:pt x="34265" y="0"/>
                    <a:pt x="76533" y="0"/>
                  </a:cubicBezTo>
                  <a:cubicBezTo>
                    <a:pt x="118801" y="0"/>
                    <a:pt x="153066" y="34265"/>
                    <a:pt x="153066" y="76533"/>
                  </a:cubicBezTo>
                  <a:close/>
                </a:path>
              </a:pathLst>
            </a:custGeom>
            <a:solidFill>
              <a:srgbClr val="009999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4" name="Freihandform: Form 363">
              <a:extLst>
                <a:ext uri="{FF2B5EF4-FFF2-40B4-BE49-F238E27FC236}">
                  <a16:creationId xmlns:a16="http://schemas.microsoft.com/office/drawing/2014/main" id="{995F7FEC-4558-1BBA-5E00-9706A4098A0A}"/>
                </a:ext>
              </a:extLst>
            </p:cNvPr>
            <p:cNvSpPr/>
            <p:nvPr/>
          </p:nvSpPr>
          <p:spPr>
            <a:xfrm>
              <a:off x="747343" y="2913960"/>
              <a:ext cx="273448" cy="600061"/>
            </a:xfrm>
            <a:custGeom>
              <a:avLst/>
              <a:gdLst>
                <a:gd name="connsiteX0" fmla="*/ 0 w 273448"/>
                <a:gd name="connsiteY0" fmla="*/ 93013 h 600061"/>
                <a:gd name="connsiteX1" fmla="*/ 112491 w 273448"/>
                <a:gd name="connsiteY1" fmla="*/ 600062 h 600061"/>
                <a:gd name="connsiteX2" fmla="*/ 273448 w 273448"/>
                <a:gd name="connsiteY2" fmla="*/ 600062 h 600061"/>
                <a:gd name="connsiteX3" fmla="*/ 218854 w 273448"/>
                <a:gd name="connsiteY3" fmla="*/ 154043 h 600061"/>
                <a:gd name="connsiteX4" fmla="*/ 28 w 273448"/>
                <a:gd name="connsiteY4" fmla="*/ 93013 h 600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448" h="600061">
                  <a:moveTo>
                    <a:pt x="0" y="93013"/>
                  </a:moveTo>
                  <a:cubicBezTo>
                    <a:pt x="0" y="258783"/>
                    <a:pt x="84088" y="461239"/>
                    <a:pt x="112491" y="600062"/>
                  </a:cubicBezTo>
                  <a:lnTo>
                    <a:pt x="273448" y="600062"/>
                  </a:lnTo>
                  <a:lnTo>
                    <a:pt x="218854" y="154043"/>
                  </a:lnTo>
                  <a:cubicBezTo>
                    <a:pt x="218854" y="78713"/>
                    <a:pt x="95981" y="-114172"/>
                    <a:pt x="28" y="93013"/>
                  </a:cubicBezTo>
                  <a:close/>
                </a:path>
              </a:pathLst>
            </a:custGeom>
            <a:solidFill>
              <a:srgbClr val="009999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5" name="Freihandform: Form 364">
              <a:extLst>
                <a:ext uri="{FF2B5EF4-FFF2-40B4-BE49-F238E27FC236}">
                  <a16:creationId xmlns:a16="http://schemas.microsoft.com/office/drawing/2014/main" id="{A1D3B7F0-1B8B-06A8-1B08-B9CFFEA5ABEB}"/>
                </a:ext>
              </a:extLst>
            </p:cNvPr>
            <p:cNvSpPr/>
            <p:nvPr/>
          </p:nvSpPr>
          <p:spPr>
            <a:xfrm>
              <a:off x="1063325" y="3054722"/>
              <a:ext cx="197369" cy="459299"/>
            </a:xfrm>
            <a:custGeom>
              <a:avLst/>
              <a:gdLst>
                <a:gd name="connsiteX0" fmla="*/ 193725 w 197369"/>
                <a:gd name="connsiteY0" fmla="*/ 4495 h 459299"/>
                <a:gd name="connsiteX1" fmla="*/ 168457 w 197369"/>
                <a:gd name="connsiteY1" fmla="*/ 459300 h 459299"/>
                <a:gd name="connsiteX2" fmla="*/ 16482 w 197369"/>
                <a:gd name="connsiteY2" fmla="*/ 459300 h 459299"/>
                <a:gd name="connsiteX3" fmla="*/ 0 w 197369"/>
                <a:gd name="connsiteY3" fmla="*/ 13281 h 459299"/>
                <a:gd name="connsiteX4" fmla="*/ 193725 w 197369"/>
                <a:gd name="connsiteY4" fmla="*/ 4495 h 459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7369" h="459299">
                  <a:moveTo>
                    <a:pt x="193725" y="4495"/>
                  </a:moveTo>
                  <a:cubicBezTo>
                    <a:pt x="202148" y="196093"/>
                    <a:pt x="196859" y="320449"/>
                    <a:pt x="168457" y="459300"/>
                  </a:cubicBezTo>
                  <a:cubicBezTo>
                    <a:pt x="144559" y="459300"/>
                    <a:pt x="16482" y="459300"/>
                    <a:pt x="16482" y="459300"/>
                  </a:cubicBezTo>
                  <a:lnTo>
                    <a:pt x="0" y="13281"/>
                  </a:lnTo>
                  <a:cubicBezTo>
                    <a:pt x="73231" y="-2529"/>
                    <a:pt x="138011" y="-2529"/>
                    <a:pt x="193725" y="4495"/>
                  </a:cubicBezTo>
                  <a:close/>
                </a:path>
              </a:pathLst>
            </a:custGeom>
            <a:solidFill>
              <a:srgbClr val="009999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6" name="Freihandform: Form 365">
              <a:extLst>
                <a:ext uri="{FF2B5EF4-FFF2-40B4-BE49-F238E27FC236}">
                  <a16:creationId xmlns:a16="http://schemas.microsoft.com/office/drawing/2014/main" id="{2E198C77-B338-32E7-733E-3708AADB59C8}"/>
                </a:ext>
              </a:extLst>
            </p:cNvPr>
            <p:cNvSpPr/>
            <p:nvPr/>
          </p:nvSpPr>
          <p:spPr>
            <a:xfrm>
              <a:off x="768022" y="2246400"/>
              <a:ext cx="534444" cy="640918"/>
            </a:xfrm>
            <a:custGeom>
              <a:avLst/>
              <a:gdLst>
                <a:gd name="connsiteX0" fmla="*/ 47571 w 534444"/>
                <a:gd name="connsiteY0" fmla="*/ 640919 h 640918"/>
                <a:gd name="connsiteX1" fmla="*/ 62514 w 534444"/>
                <a:gd name="connsiteY1" fmla="*/ 465019 h 640918"/>
                <a:gd name="connsiteX2" fmla="*/ 0 w 534444"/>
                <a:gd name="connsiteY2" fmla="*/ 78408 h 640918"/>
                <a:gd name="connsiteX3" fmla="*/ 198147 w 534444"/>
                <a:gd name="connsiteY3" fmla="*/ 0 h 640918"/>
                <a:gd name="connsiteX4" fmla="*/ 343657 w 534444"/>
                <a:gd name="connsiteY4" fmla="*/ 0 h 640918"/>
                <a:gd name="connsiteX5" fmla="*/ 534444 w 534444"/>
                <a:gd name="connsiteY5" fmla="*/ 69929 h 640918"/>
                <a:gd name="connsiteX6" fmla="*/ 491099 w 534444"/>
                <a:gd name="connsiteY6" fmla="*/ 451447 h 640918"/>
                <a:gd name="connsiteX7" fmla="*/ 505370 w 534444"/>
                <a:gd name="connsiteY7" fmla="*/ 640891 h 640918"/>
                <a:gd name="connsiteX8" fmla="*/ 47571 w 534444"/>
                <a:gd name="connsiteY8" fmla="*/ 640891 h 640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4444" h="640918">
                  <a:moveTo>
                    <a:pt x="47571" y="640919"/>
                  </a:moveTo>
                  <a:lnTo>
                    <a:pt x="62514" y="465019"/>
                  </a:lnTo>
                  <a:lnTo>
                    <a:pt x="0" y="78408"/>
                  </a:lnTo>
                  <a:cubicBezTo>
                    <a:pt x="42954" y="38253"/>
                    <a:pt x="142908" y="16258"/>
                    <a:pt x="198147" y="0"/>
                  </a:cubicBezTo>
                  <a:cubicBezTo>
                    <a:pt x="241492" y="32628"/>
                    <a:pt x="336130" y="11081"/>
                    <a:pt x="343657" y="0"/>
                  </a:cubicBezTo>
                  <a:cubicBezTo>
                    <a:pt x="415209" y="21687"/>
                    <a:pt x="463284" y="35566"/>
                    <a:pt x="534444" y="69929"/>
                  </a:cubicBezTo>
                  <a:cubicBezTo>
                    <a:pt x="534444" y="69929"/>
                    <a:pt x="487489" y="393998"/>
                    <a:pt x="491099" y="451447"/>
                  </a:cubicBezTo>
                  <a:cubicBezTo>
                    <a:pt x="494709" y="508924"/>
                    <a:pt x="505370" y="640891"/>
                    <a:pt x="505370" y="640891"/>
                  </a:cubicBezTo>
                  <a:lnTo>
                    <a:pt x="47571" y="640891"/>
                  </a:lnTo>
                  <a:close/>
                </a:path>
              </a:pathLst>
            </a:custGeom>
            <a:solidFill>
              <a:srgbClr val="009999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67" name="Grafik 110">
              <a:extLst>
                <a:ext uri="{FF2B5EF4-FFF2-40B4-BE49-F238E27FC236}">
                  <a16:creationId xmlns:a16="http://schemas.microsoft.com/office/drawing/2014/main" id="{C3996625-78C7-116D-D6E1-ED39FBFBA87A}"/>
                </a:ext>
              </a:extLst>
            </p:cNvPr>
            <p:cNvGrpSpPr/>
            <p:nvPr/>
          </p:nvGrpSpPr>
          <p:grpSpPr>
            <a:xfrm>
              <a:off x="463205" y="2594133"/>
              <a:ext cx="390887" cy="235325"/>
              <a:chOff x="463205" y="2594133"/>
              <a:chExt cx="390887" cy="235325"/>
            </a:xfrm>
          </p:grpSpPr>
          <p:sp>
            <p:nvSpPr>
              <p:cNvPr id="386" name="Freihandform: Form 385">
                <a:extLst>
                  <a:ext uri="{FF2B5EF4-FFF2-40B4-BE49-F238E27FC236}">
                    <a16:creationId xmlns:a16="http://schemas.microsoft.com/office/drawing/2014/main" id="{395FFAA4-8583-1E5D-464A-D8070DD47261}"/>
                  </a:ext>
                </a:extLst>
              </p:cNvPr>
              <p:cNvSpPr/>
              <p:nvPr/>
            </p:nvSpPr>
            <p:spPr>
              <a:xfrm>
                <a:off x="463205" y="2604048"/>
                <a:ext cx="192961" cy="123460"/>
              </a:xfrm>
              <a:custGeom>
                <a:avLst/>
                <a:gdLst>
                  <a:gd name="connsiteX0" fmla="*/ 22190 w 192961"/>
                  <a:gd name="connsiteY0" fmla="*/ 0 h 123460"/>
                  <a:gd name="connsiteX1" fmla="*/ 0 w 192961"/>
                  <a:gd name="connsiteY1" fmla="*/ 22442 h 123460"/>
                  <a:gd name="connsiteX2" fmla="*/ 4645 w 192961"/>
                  <a:gd name="connsiteY2" fmla="*/ 92399 h 123460"/>
                  <a:gd name="connsiteX3" fmla="*/ 52524 w 192961"/>
                  <a:gd name="connsiteY3" fmla="*/ 113778 h 123460"/>
                  <a:gd name="connsiteX4" fmla="*/ 179650 w 192961"/>
                  <a:gd name="connsiteY4" fmla="*/ 123460 h 123460"/>
                  <a:gd name="connsiteX5" fmla="*/ 191962 w 192961"/>
                  <a:gd name="connsiteY5" fmla="*/ 46927 h 123460"/>
                  <a:gd name="connsiteX6" fmla="*/ 106811 w 192961"/>
                  <a:gd name="connsiteY6" fmla="*/ 22442 h 123460"/>
                  <a:gd name="connsiteX7" fmla="*/ 76897 w 192961"/>
                  <a:gd name="connsiteY7" fmla="*/ 0 h 123460"/>
                  <a:gd name="connsiteX8" fmla="*/ 22190 w 192961"/>
                  <a:gd name="connsiteY8" fmla="*/ 0 h 123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2961" h="123460">
                    <a:moveTo>
                      <a:pt x="22190" y="0"/>
                    </a:moveTo>
                    <a:lnTo>
                      <a:pt x="0" y="22442"/>
                    </a:lnTo>
                    <a:lnTo>
                      <a:pt x="4645" y="92399"/>
                    </a:lnTo>
                    <a:cubicBezTo>
                      <a:pt x="4645" y="92399"/>
                      <a:pt x="37749" y="109833"/>
                      <a:pt x="52524" y="113778"/>
                    </a:cubicBezTo>
                    <a:cubicBezTo>
                      <a:pt x="67299" y="117724"/>
                      <a:pt x="179650" y="123460"/>
                      <a:pt x="179650" y="123460"/>
                    </a:cubicBezTo>
                    <a:cubicBezTo>
                      <a:pt x="179650" y="123460"/>
                      <a:pt x="197279" y="44633"/>
                      <a:pt x="191962" y="46927"/>
                    </a:cubicBezTo>
                    <a:cubicBezTo>
                      <a:pt x="186646" y="49222"/>
                      <a:pt x="112911" y="37497"/>
                      <a:pt x="106811" y="22442"/>
                    </a:cubicBezTo>
                    <a:cubicBezTo>
                      <a:pt x="100710" y="7388"/>
                      <a:pt x="76897" y="0"/>
                      <a:pt x="76897" y="0"/>
                    </a:cubicBezTo>
                    <a:lnTo>
                      <a:pt x="22190" y="0"/>
                    </a:lnTo>
                    <a:close/>
                  </a:path>
                </a:pathLst>
              </a:custGeom>
              <a:solidFill>
                <a:srgbClr val="F9D9D2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87" name="Freihandform: Form 386">
                <a:extLst>
                  <a:ext uri="{FF2B5EF4-FFF2-40B4-BE49-F238E27FC236}">
                    <a16:creationId xmlns:a16="http://schemas.microsoft.com/office/drawing/2014/main" id="{AA93EF7C-71F3-2496-2AA1-4FBF8CDF9021}"/>
                  </a:ext>
                </a:extLst>
              </p:cNvPr>
              <p:cNvSpPr/>
              <p:nvPr/>
            </p:nvSpPr>
            <p:spPr>
              <a:xfrm>
                <a:off x="575444" y="2618068"/>
                <a:ext cx="180573" cy="177774"/>
              </a:xfrm>
              <a:custGeom>
                <a:avLst/>
                <a:gdLst>
                  <a:gd name="connsiteX0" fmla="*/ 0 w 180573"/>
                  <a:gd name="connsiteY0" fmla="*/ 129476 h 177774"/>
                  <a:gd name="connsiteX1" fmla="*/ 140894 w 180573"/>
                  <a:gd name="connsiteY1" fmla="*/ 177775 h 177774"/>
                  <a:gd name="connsiteX2" fmla="*/ 180573 w 180573"/>
                  <a:gd name="connsiteY2" fmla="*/ 19420 h 177774"/>
                  <a:gd name="connsiteX3" fmla="*/ 33384 w 180573"/>
                  <a:gd name="connsiteY3" fmla="*/ 0 h 177774"/>
                  <a:gd name="connsiteX4" fmla="*/ 0 w 180573"/>
                  <a:gd name="connsiteY4" fmla="*/ 129476 h 177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0573" h="177774">
                    <a:moveTo>
                      <a:pt x="0" y="129476"/>
                    </a:moveTo>
                    <a:lnTo>
                      <a:pt x="140894" y="177775"/>
                    </a:lnTo>
                    <a:lnTo>
                      <a:pt x="180573" y="19420"/>
                    </a:lnTo>
                    <a:lnTo>
                      <a:pt x="33384" y="0"/>
                    </a:lnTo>
                    <a:lnTo>
                      <a:pt x="0" y="129476"/>
                    </a:lnTo>
                    <a:close/>
                  </a:path>
                </a:pathLst>
              </a:custGeom>
              <a:solidFill>
                <a:srgbClr val="009999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88" name="Freihandform: Form 387">
                <a:extLst>
                  <a:ext uri="{FF2B5EF4-FFF2-40B4-BE49-F238E27FC236}">
                    <a16:creationId xmlns:a16="http://schemas.microsoft.com/office/drawing/2014/main" id="{82AE899A-01A9-ADB6-9781-7E2EBC7D9F8A}"/>
                  </a:ext>
                </a:extLst>
              </p:cNvPr>
              <p:cNvSpPr/>
              <p:nvPr/>
            </p:nvSpPr>
            <p:spPr>
              <a:xfrm rot="-1622399">
                <a:off x="531048" y="2617314"/>
                <a:ext cx="134261" cy="134261"/>
              </a:xfrm>
              <a:custGeom>
                <a:avLst/>
                <a:gdLst>
                  <a:gd name="connsiteX0" fmla="*/ 134262 w 134261"/>
                  <a:gd name="connsiteY0" fmla="*/ 67131 h 134261"/>
                  <a:gd name="connsiteX1" fmla="*/ 67131 w 134261"/>
                  <a:gd name="connsiteY1" fmla="*/ 134262 h 134261"/>
                  <a:gd name="connsiteX2" fmla="*/ 0 w 134261"/>
                  <a:gd name="connsiteY2" fmla="*/ 67131 h 134261"/>
                  <a:gd name="connsiteX3" fmla="*/ 67131 w 134261"/>
                  <a:gd name="connsiteY3" fmla="*/ 0 h 134261"/>
                  <a:gd name="connsiteX4" fmla="*/ 134262 w 134261"/>
                  <a:gd name="connsiteY4" fmla="*/ 67131 h 134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261" h="134261">
                    <a:moveTo>
                      <a:pt x="134262" y="67131"/>
                    </a:moveTo>
                    <a:cubicBezTo>
                      <a:pt x="134262" y="104206"/>
                      <a:pt x="104206" y="134262"/>
                      <a:pt x="67131" y="134262"/>
                    </a:cubicBezTo>
                    <a:cubicBezTo>
                      <a:pt x="30055" y="134262"/>
                      <a:pt x="0" y="104206"/>
                      <a:pt x="0" y="67131"/>
                    </a:cubicBezTo>
                    <a:cubicBezTo>
                      <a:pt x="0" y="30056"/>
                      <a:pt x="30055" y="0"/>
                      <a:pt x="67131" y="0"/>
                    </a:cubicBezTo>
                    <a:cubicBezTo>
                      <a:pt x="104206" y="0"/>
                      <a:pt x="134262" y="30056"/>
                      <a:pt x="134262" y="67131"/>
                    </a:cubicBezTo>
                    <a:close/>
                  </a:path>
                </a:pathLst>
              </a:custGeom>
              <a:solidFill>
                <a:srgbClr val="009999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89" name="Freihandform: Form 388">
                <a:extLst>
                  <a:ext uri="{FF2B5EF4-FFF2-40B4-BE49-F238E27FC236}">
                    <a16:creationId xmlns:a16="http://schemas.microsoft.com/office/drawing/2014/main" id="{B2D42E7B-5255-DC04-2132-C45935FDCB8D}"/>
                  </a:ext>
                </a:extLst>
              </p:cNvPr>
              <p:cNvSpPr/>
              <p:nvPr/>
            </p:nvSpPr>
            <p:spPr>
              <a:xfrm rot="-3694800">
                <a:off x="661105" y="2636471"/>
                <a:ext cx="163867" cy="163867"/>
              </a:xfrm>
              <a:custGeom>
                <a:avLst/>
                <a:gdLst>
                  <a:gd name="connsiteX0" fmla="*/ 163867 w 163867"/>
                  <a:gd name="connsiteY0" fmla="*/ 81934 h 163867"/>
                  <a:gd name="connsiteX1" fmla="*/ 81934 w 163867"/>
                  <a:gd name="connsiteY1" fmla="*/ 163867 h 163867"/>
                  <a:gd name="connsiteX2" fmla="*/ 0 w 163867"/>
                  <a:gd name="connsiteY2" fmla="*/ 81934 h 163867"/>
                  <a:gd name="connsiteX3" fmla="*/ 81934 w 163867"/>
                  <a:gd name="connsiteY3" fmla="*/ 0 h 163867"/>
                  <a:gd name="connsiteX4" fmla="*/ 163867 w 163867"/>
                  <a:gd name="connsiteY4" fmla="*/ 81934 h 163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67" h="163867">
                    <a:moveTo>
                      <a:pt x="163867" y="81934"/>
                    </a:moveTo>
                    <a:cubicBezTo>
                      <a:pt x="163867" y="127184"/>
                      <a:pt x="127184" y="163867"/>
                      <a:pt x="81934" y="163867"/>
                    </a:cubicBezTo>
                    <a:cubicBezTo>
                      <a:pt x="36683" y="163867"/>
                      <a:pt x="0" y="127184"/>
                      <a:pt x="0" y="81934"/>
                    </a:cubicBezTo>
                    <a:cubicBezTo>
                      <a:pt x="0" y="36683"/>
                      <a:pt x="36683" y="0"/>
                      <a:pt x="81934" y="0"/>
                    </a:cubicBezTo>
                    <a:cubicBezTo>
                      <a:pt x="127184" y="0"/>
                      <a:pt x="163867" y="36683"/>
                      <a:pt x="163867" y="81934"/>
                    </a:cubicBezTo>
                    <a:close/>
                  </a:path>
                </a:pathLst>
              </a:custGeom>
              <a:solidFill>
                <a:srgbClr val="009999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68" name="Freihandform: Form 367">
              <a:extLst>
                <a:ext uri="{FF2B5EF4-FFF2-40B4-BE49-F238E27FC236}">
                  <a16:creationId xmlns:a16="http://schemas.microsoft.com/office/drawing/2014/main" id="{EAD5E1CC-A932-1C85-C7FE-D98B09061906}"/>
                </a:ext>
              </a:extLst>
            </p:cNvPr>
            <p:cNvSpPr/>
            <p:nvPr/>
          </p:nvSpPr>
          <p:spPr>
            <a:xfrm>
              <a:off x="957858" y="2231009"/>
              <a:ext cx="161293" cy="43009"/>
            </a:xfrm>
            <a:custGeom>
              <a:avLst/>
              <a:gdLst>
                <a:gd name="connsiteX0" fmla="*/ 0 w 161293"/>
                <a:gd name="connsiteY0" fmla="*/ 17825 h 43009"/>
                <a:gd name="connsiteX1" fmla="*/ 8087 w 161293"/>
                <a:gd name="connsiteY1" fmla="*/ 0 h 43009"/>
                <a:gd name="connsiteX2" fmla="*/ 154102 w 161293"/>
                <a:gd name="connsiteY2" fmla="*/ 0 h 43009"/>
                <a:gd name="connsiteX3" fmla="*/ 161293 w 161293"/>
                <a:gd name="connsiteY3" fmla="*/ 18357 h 43009"/>
                <a:gd name="connsiteX4" fmla="*/ 84172 w 161293"/>
                <a:gd name="connsiteY4" fmla="*/ 43010 h 43009"/>
                <a:gd name="connsiteX5" fmla="*/ 0 w 161293"/>
                <a:gd name="connsiteY5" fmla="*/ 17825 h 43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1293" h="43009">
                  <a:moveTo>
                    <a:pt x="0" y="17825"/>
                  </a:moveTo>
                  <a:lnTo>
                    <a:pt x="8087" y="0"/>
                  </a:lnTo>
                  <a:cubicBezTo>
                    <a:pt x="54595" y="7611"/>
                    <a:pt x="103145" y="8031"/>
                    <a:pt x="154102" y="0"/>
                  </a:cubicBezTo>
                  <a:lnTo>
                    <a:pt x="161293" y="18357"/>
                  </a:lnTo>
                  <a:cubicBezTo>
                    <a:pt x="161293" y="18357"/>
                    <a:pt x="129281" y="43121"/>
                    <a:pt x="84172" y="43010"/>
                  </a:cubicBezTo>
                  <a:cubicBezTo>
                    <a:pt x="15782" y="42814"/>
                    <a:pt x="0" y="17825"/>
                    <a:pt x="0" y="17825"/>
                  </a:cubicBezTo>
                  <a:close/>
                </a:path>
              </a:pathLst>
            </a:custGeom>
            <a:solidFill>
              <a:srgbClr val="009999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9" name="Freihandform: Form 368">
              <a:extLst>
                <a:ext uri="{FF2B5EF4-FFF2-40B4-BE49-F238E27FC236}">
                  <a16:creationId xmlns:a16="http://schemas.microsoft.com/office/drawing/2014/main" id="{C57C5DF7-92E7-7AF5-FC48-944EBB85BE6C}"/>
                </a:ext>
              </a:extLst>
            </p:cNvPr>
            <p:cNvSpPr/>
            <p:nvPr/>
          </p:nvSpPr>
          <p:spPr>
            <a:xfrm>
              <a:off x="502996" y="2604048"/>
              <a:ext cx="23897" cy="11249"/>
            </a:xfrm>
            <a:custGeom>
              <a:avLst/>
              <a:gdLst>
                <a:gd name="connsiteX0" fmla="*/ 0 w 23897"/>
                <a:gd name="connsiteY0" fmla="*/ 0 h 11249"/>
                <a:gd name="connsiteX1" fmla="*/ 23897 w 23897"/>
                <a:gd name="connsiteY1" fmla="*/ 11249 h 11249"/>
                <a:gd name="connsiteX2" fmla="*/ 22162 w 23897"/>
                <a:gd name="connsiteY2" fmla="*/ 0 h 11249"/>
                <a:gd name="connsiteX3" fmla="*/ 0 w 23897"/>
                <a:gd name="connsiteY3" fmla="*/ 0 h 11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97" h="11249">
                  <a:moveTo>
                    <a:pt x="0" y="0"/>
                  </a:moveTo>
                  <a:cubicBezTo>
                    <a:pt x="0" y="5597"/>
                    <a:pt x="23897" y="11249"/>
                    <a:pt x="23897" y="11249"/>
                  </a:cubicBezTo>
                  <a:lnTo>
                    <a:pt x="2216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2BBB3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70" name="Grafik 110">
              <a:extLst>
                <a:ext uri="{FF2B5EF4-FFF2-40B4-BE49-F238E27FC236}">
                  <a16:creationId xmlns:a16="http://schemas.microsoft.com/office/drawing/2014/main" id="{B21067B0-CB5B-51E1-8F8C-80F211C1E4E4}"/>
                </a:ext>
              </a:extLst>
            </p:cNvPr>
            <p:cNvGrpSpPr/>
            <p:nvPr/>
          </p:nvGrpSpPr>
          <p:grpSpPr>
            <a:xfrm>
              <a:off x="465707" y="2656558"/>
              <a:ext cx="18174" cy="10207"/>
              <a:chOff x="465707" y="2656558"/>
              <a:chExt cx="18174" cy="10207"/>
            </a:xfrm>
            <a:solidFill>
              <a:srgbClr val="F2BBB3"/>
            </a:solidFill>
          </p:grpSpPr>
          <p:sp>
            <p:nvSpPr>
              <p:cNvPr id="384" name="Freihandform: Form 383">
                <a:extLst>
                  <a:ext uri="{FF2B5EF4-FFF2-40B4-BE49-F238E27FC236}">
                    <a16:creationId xmlns:a16="http://schemas.microsoft.com/office/drawing/2014/main" id="{3460C89A-70D5-94C5-94DF-716B26B7598C}"/>
                  </a:ext>
                </a:extLst>
              </p:cNvPr>
              <p:cNvSpPr/>
              <p:nvPr/>
            </p:nvSpPr>
            <p:spPr>
              <a:xfrm>
                <a:off x="466479" y="2659370"/>
                <a:ext cx="16621" cy="4701"/>
              </a:xfrm>
              <a:custGeom>
                <a:avLst/>
                <a:gdLst>
                  <a:gd name="connsiteX0" fmla="*/ 0 w 16621"/>
                  <a:gd name="connsiteY0" fmla="*/ 0 h 4701"/>
                  <a:gd name="connsiteX1" fmla="*/ 16622 w 16621"/>
                  <a:gd name="connsiteY1" fmla="*/ 4701 h 4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21" h="4701">
                    <a:moveTo>
                      <a:pt x="0" y="0"/>
                    </a:moveTo>
                    <a:lnTo>
                      <a:pt x="16622" y="4701"/>
                    </a:lnTo>
                  </a:path>
                </a:pathLst>
              </a:custGeom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85" name="Freihandform: Form 384">
                <a:extLst>
                  <a:ext uri="{FF2B5EF4-FFF2-40B4-BE49-F238E27FC236}">
                    <a16:creationId xmlns:a16="http://schemas.microsoft.com/office/drawing/2014/main" id="{5C224471-9A41-1164-E7DC-A0A3615E29AD}"/>
                  </a:ext>
                </a:extLst>
              </p:cNvPr>
              <p:cNvSpPr/>
              <p:nvPr/>
            </p:nvSpPr>
            <p:spPr>
              <a:xfrm rot="-4455001">
                <a:off x="471926" y="2653029"/>
                <a:ext cx="5736" cy="17265"/>
              </a:xfrm>
              <a:custGeom>
                <a:avLst/>
                <a:gdLst>
                  <a:gd name="connsiteX0" fmla="*/ 0 w 5736"/>
                  <a:gd name="connsiteY0" fmla="*/ 0 h 17265"/>
                  <a:gd name="connsiteX1" fmla="*/ 5737 w 5736"/>
                  <a:gd name="connsiteY1" fmla="*/ 0 h 17265"/>
                  <a:gd name="connsiteX2" fmla="*/ 5737 w 5736"/>
                  <a:gd name="connsiteY2" fmla="*/ 17265 h 17265"/>
                  <a:gd name="connsiteX3" fmla="*/ 0 w 5736"/>
                  <a:gd name="connsiteY3" fmla="*/ 17265 h 17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36" h="17265">
                    <a:moveTo>
                      <a:pt x="0" y="0"/>
                    </a:moveTo>
                    <a:lnTo>
                      <a:pt x="5737" y="0"/>
                    </a:lnTo>
                    <a:lnTo>
                      <a:pt x="5737" y="17265"/>
                    </a:lnTo>
                    <a:lnTo>
                      <a:pt x="0" y="17265"/>
                    </a:lnTo>
                    <a:close/>
                  </a:path>
                </a:pathLst>
              </a:custGeom>
              <a:solidFill>
                <a:srgbClr val="F2BBB3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71" name="Freihandform: Form 370">
              <a:extLst>
                <a:ext uri="{FF2B5EF4-FFF2-40B4-BE49-F238E27FC236}">
                  <a16:creationId xmlns:a16="http://schemas.microsoft.com/office/drawing/2014/main" id="{D208538F-BDD5-5B14-A91D-AA3A5571DB2E}"/>
                </a:ext>
              </a:extLst>
            </p:cNvPr>
            <p:cNvSpPr/>
            <p:nvPr/>
          </p:nvSpPr>
          <p:spPr>
            <a:xfrm>
              <a:off x="797617" y="2887318"/>
              <a:ext cx="498748" cy="225954"/>
            </a:xfrm>
            <a:custGeom>
              <a:avLst/>
              <a:gdLst>
                <a:gd name="connsiteX0" fmla="*/ 475775 w 498748"/>
                <a:gd name="connsiteY0" fmla="*/ 0 h 225954"/>
                <a:gd name="connsiteX1" fmla="*/ 244916 w 498748"/>
                <a:gd name="connsiteY1" fmla="*/ 225010 h 225954"/>
                <a:gd name="connsiteX2" fmla="*/ 17975 w 498748"/>
                <a:gd name="connsiteY2" fmla="*/ 0 h 225954"/>
                <a:gd name="connsiteX3" fmla="*/ 475775 w 498748"/>
                <a:gd name="connsiteY3" fmla="*/ 0 h 225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8748" h="225954">
                  <a:moveTo>
                    <a:pt x="475775" y="0"/>
                  </a:moveTo>
                  <a:cubicBezTo>
                    <a:pt x="545032" y="253944"/>
                    <a:pt x="454732" y="224870"/>
                    <a:pt x="244916" y="225010"/>
                  </a:cubicBezTo>
                  <a:cubicBezTo>
                    <a:pt x="33618" y="225150"/>
                    <a:pt x="-37207" y="236679"/>
                    <a:pt x="17975" y="0"/>
                  </a:cubicBezTo>
                  <a:lnTo>
                    <a:pt x="475775" y="0"/>
                  </a:lnTo>
                  <a:close/>
                </a:path>
              </a:pathLst>
            </a:custGeom>
            <a:solidFill>
              <a:srgbClr val="009999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2" name="Freihandform: Form 371">
              <a:extLst>
                <a:ext uri="{FF2B5EF4-FFF2-40B4-BE49-F238E27FC236}">
                  <a16:creationId xmlns:a16="http://schemas.microsoft.com/office/drawing/2014/main" id="{6C7DBFD3-9F0C-3C0D-600A-901406BE08F3}"/>
                </a:ext>
              </a:extLst>
            </p:cNvPr>
            <p:cNvSpPr/>
            <p:nvPr/>
          </p:nvSpPr>
          <p:spPr>
            <a:xfrm>
              <a:off x="1190199" y="2308354"/>
              <a:ext cx="155640" cy="155640"/>
            </a:xfrm>
            <a:custGeom>
              <a:avLst/>
              <a:gdLst>
                <a:gd name="connsiteX0" fmla="*/ 155641 w 155640"/>
                <a:gd name="connsiteY0" fmla="*/ 77820 h 155640"/>
                <a:gd name="connsiteX1" fmla="*/ 77820 w 155640"/>
                <a:gd name="connsiteY1" fmla="*/ 155640 h 155640"/>
                <a:gd name="connsiteX2" fmla="*/ 0 w 155640"/>
                <a:gd name="connsiteY2" fmla="*/ 77820 h 155640"/>
                <a:gd name="connsiteX3" fmla="*/ 77820 w 155640"/>
                <a:gd name="connsiteY3" fmla="*/ 0 h 155640"/>
                <a:gd name="connsiteX4" fmla="*/ 155641 w 155640"/>
                <a:gd name="connsiteY4" fmla="*/ 77820 h 155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640" h="155640">
                  <a:moveTo>
                    <a:pt x="155641" y="77820"/>
                  </a:moveTo>
                  <a:cubicBezTo>
                    <a:pt x="155641" y="120799"/>
                    <a:pt x="120799" y="155640"/>
                    <a:pt x="77820" y="155640"/>
                  </a:cubicBezTo>
                  <a:cubicBezTo>
                    <a:pt x="34841" y="155640"/>
                    <a:pt x="0" y="120799"/>
                    <a:pt x="0" y="77820"/>
                  </a:cubicBezTo>
                  <a:cubicBezTo>
                    <a:pt x="0" y="34841"/>
                    <a:pt x="34841" y="0"/>
                    <a:pt x="77820" y="0"/>
                  </a:cubicBezTo>
                  <a:cubicBezTo>
                    <a:pt x="120799" y="0"/>
                    <a:pt x="155641" y="34841"/>
                    <a:pt x="155641" y="77820"/>
                  </a:cubicBezTo>
                  <a:close/>
                </a:path>
              </a:pathLst>
            </a:custGeom>
            <a:solidFill>
              <a:srgbClr val="009999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3" name="Freihandform: Form 372">
              <a:extLst>
                <a:ext uri="{FF2B5EF4-FFF2-40B4-BE49-F238E27FC236}">
                  <a16:creationId xmlns:a16="http://schemas.microsoft.com/office/drawing/2014/main" id="{ADF4D056-40FF-E8AB-8FCE-1895392D258A}"/>
                </a:ext>
              </a:extLst>
            </p:cNvPr>
            <p:cNvSpPr/>
            <p:nvPr/>
          </p:nvSpPr>
          <p:spPr>
            <a:xfrm>
              <a:off x="744740" y="2302533"/>
              <a:ext cx="155640" cy="155640"/>
            </a:xfrm>
            <a:custGeom>
              <a:avLst/>
              <a:gdLst>
                <a:gd name="connsiteX0" fmla="*/ 155641 w 155640"/>
                <a:gd name="connsiteY0" fmla="*/ 77820 h 155640"/>
                <a:gd name="connsiteX1" fmla="*/ 77820 w 155640"/>
                <a:gd name="connsiteY1" fmla="*/ 155640 h 155640"/>
                <a:gd name="connsiteX2" fmla="*/ 0 w 155640"/>
                <a:gd name="connsiteY2" fmla="*/ 77820 h 155640"/>
                <a:gd name="connsiteX3" fmla="*/ 77820 w 155640"/>
                <a:gd name="connsiteY3" fmla="*/ 0 h 155640"/>
                <a:gd name="connsiteX4" fmla="*/ 155641 w 155640"/>
                <a:gd name="connsiteY4" fmla="*/ 77820 h 155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640" h="155640">
                  <a:moveTo>
                    <a:pt x="155641" y="77820"/>
                  </a:moveTo>
                  <a:cubicBezTo>
                    <a:pt x="155641" y="120799"/>
                    <a:pt x="120799" y="155640"/>
                    <a:pt x="77820" y="155640"/>
                  </a:cubicBezTo>
                  <a:cubicBezTo>
                    <a:pt x="34841" y="155640"/>
                    <a:pt x="0" y="120799"/>
                    <a:pt x="0" y="77820"/>
                  </a:cubicBezTo>
                  <a:cubicBezTo>
                    <a:pt x="0" y="34841"/>
                    <a:pt x="34841" y="0"/>
                    <a:pt x="77820" y="0"/>
                  </a:cubicBezTo>
                  <a:cubicBezTo>
                    <a:pt x="120799" y="0"/>
                    <a:pt x="155641" y="34841"/>
                    <a:pt x="155641" y="77820"/>
                  </a:cubicBezTo>
                  <a:close/>
                </a:path>
              </a:pathLst>
            </a:custGeom>
            <a:solidFill>
              <a:srgbClr val="009999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4" name="Freihandform: Form 373">
              <a:extLst>
                <a:ext uri="{FF2B5EF4-FFF2-40B4-BE49-F238E27FC236}">
                  <a16:creationId xmlns:a16="http://schemas.microsoft.com/office/drawing/2014/main" id="{6D11BC7B-934C-9DEE-CACF-344EC99056F1}"/>
                </a:ext>
              </a:extLst>
            </p:cNvPr>
            <p:cNvSpPr/>
            <p:nvPr/>
          </p:nvSpPr>
          <p:spPr>
            <a:xfrm rot="17558400">
              <a:off x="1081984" y="2073291"/>
              <a:ext cx="81150" cy="52383"/>
            </a:xfrm>
            <a:custGeom>
              <a:avLst/>
              <a:gdLst>
                <a:gd name="connsiteX0" fmla="*/ 81150 w 81150"/>
                <a:gd name="connsiteY0" fmla="*/ 26192 h 52383"/>
                <a:gd name="connsiteX1" fmla="*/ 40575 w 81150"/>
                <a:gd name="connsiteY1" fmla="*/ 52384 h 52383"/>
                <a:gd name="connsiteX2" fmla="*/ 0 w 81150"/>
                <a:gd name="connsiteY2" fmla="*/ 26192 h 52383"/>
                <a:gd name="connsiteX3" fmla="*/ 40575 w 81150"/>
                <a:gd name="connsiteY3" fmla="*/ 0 h 52383"/>
                <a:gd name="connsiteX4" fmla="*/ 81150 w 81150"/>
                <a:gd name="connsiteY4" fmla="*/ 26192 h 52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150" h="52383">
                  <a:moveTo>
                    <a:pt x="81150" y="26192"/>
                  </a:moveTo>
                  <a:cubicBezTo>
                    <a:pt x="81150" y="40657"/>
                    <a:pt x="62984" y="52384"/>
                    <a:pt x="40575" y="52384"/>
                  </a:cubicBezTo>
                  <a:cubicBezTo>
                    <a:pt x="18166" y="52384"/>
                    <a:pt x="0" y="40657"/>
                    <a:pt x="0" y="26192"/>
                  </a:cubicBezTo>
                  <a:cubicBezTo>
                    <a:pt x="0" y="11727"/>
                    <a:pt x="18166" y="0"/>
                    <a:pt x="40575" y="0"/>
                  </a:cubicBezTo>
                  <a:cubicBezTo>
                    <a:pt x="62984" y="0"/>
                    <a:pt x="81150" y="11727"/>
                    <a:pt x="81150" y="26192"/>
                  </a:cubicBezTo>
                  <a:close/>
                </a:path>
              </a:pathLst>
            </a:custGeom>
            <a:solidFill>
              <a:srgbClr val="F9D9D2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5" name="Freihandform: Form 374">
              <a:extLst>
                <a:ext uri="{FF2B5EF4-FFF2-40B4-BE49-F238E27FC236}">
                  <a16:creationId xmlns:a16="http://schemas.microsoft.com/office/drawing/2014/main" id="{510B70BD-B3F8-2516-EA58-DA2ADBB1952A}"/>
                </a:ext>
              </a:extLst>
            </p:cNvPr>
            <p:cNvSpPr/>
            <p:nvPr/>
          </p:nvSpPr>
          <p:spPr>
            <a:xfrm rot="20568601">
              <a:off x="930289" y="2058921"/>
              <a:ext cx="52383" cy="81150"/>
            </a:xfrm>
            <a:custGeom>
              <a:avLst/>
              <a:gdLst>
                <a:gd name="connsiteX0" fmla="*/ 52384 w 52383"/>
                <a:gd name="connsiteY0" fmla="*/ 40575 h 81150"/>
                <a:gd name="connsiteX1" fmla="*/ 26192 w 52383"/>
                <a:gd name="connsiteY1" fmla="*/ 81150 h 81150"/>
                <a:gd name="connsiteX2" fmla="*/ 0 w 52383"/>
                <a:gd name="connsiteY2" fmla="*/ 40575 h 81150"/>
                <a:gd name="connsiteX3" fmla="*/ 26192 w 52383"/>
                <a:gd name="connsiteY3" fmla="*/ 0 h 81150"/>
                <a:gd name="connsiteX4" fmla="*/ 52384 w 52383"/>
                <a:gd name="connsiteY4" fmla="*/ 40575 h 8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383" h="81150">
                  <a:moveTo>
                    <a:pt x="52384" y="40575"/>
                  </a:moveTo>
                  <a:cubicBezTo>
                    <a:pt x="52384" y="62984"/>
                    <a:pt x="40657" y="81150"/>
                    <a:pt x="26192" y="81150"/>
                  </a:cubicBezTo>
                  <a:cubicBezTo>
                    <a:pt x="11727" y="81150"/>
                    <a:pt x="0" y="62984"/>
                    <a:pt x="0" y="40575"/>
                  </a:cubicBezTo>
                  <a:cubicBezTo>
                    <a:pt x="0" y="18166"/>
                    <a:pt x="11727" y="0"/>
                    <a:pt x="26192" y="0"/>
                  </a:cubicBezTo>
                  <a:cubicBezTo>
                    <a:pt x="40657" y="0"/>
                    <a:pt x="52384" y="18166"/>
                    <a:pt x="52384" y="40575"/>
                  </a:cubicBezTo>
                  <a:close/>
                </a:path>
              </a:pathLst>
            </a:custGeom>
            <a:solidFill>
              <a:srgbClr val="F9D9D2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6" name="Freihandform: Form 375">
              <a:extLst>
                <a:ext uri="{FF2B5EF4-FFF2-40B4-BE49-F238E27FC236}">
                  <a16:creationId xmlns:a16="http://schemas.microsoft.com/office/drawing/2014/main" id="{664049BD-C07C-8FD3-5110-F317BBA50417}"/>
                </a:ext>
              </a:extLst>
            </p:cNvPr>
            <p:cNvSpPr/>
            <p:nvPr/>
          </p:nvSpPr>
          <p:spPr>
            <a:xfrm>
              <a:off x="938493" y="1934335"/>
              <a:ext cx="200860" cy="209983"/>
            </a:xfrm>
            <a:custGeom>
              <a:avLst/>
              <a:gdLst>
                <a:gd name="connsiteX0" fmla="*/ 200861 w 200860"/>
                <a:gd name="connsiteY0" fmla="*/ 104992 h 209983"/>
                <a:gd name="connsiteX1" fmla="*/ 100430 w 200860"/>
                <a:gd name="connsiteY1" fmla="*/ 209983 h 209983"/>
                <a:gd name="connsiteX2" fmla="*/ 0 w 200860"/>
                <a:gd name="connsiteY2" fmla="*/ 104992 h 209983"/>
                <a:gd name="connsiteX3" fmla="*/ 100430 w 200860"/>
                <a:gd name="connsiteY3" fmla="*/ 0 h 209983"/>
                <a:gd name="connsiteX4" fmla="*/ 200861 w 200860"/>
                <a:gd name="connsiteY4" fmla="*/ 104992 h 209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860" h="209983">
                  <a:moveTo>
                    <a:pt x="200861" y="104992"/>
                  </a:moveTo>
                  <a:cubicBezTo>
                    <a:pt x="200861" y="162977"/>
                    <a:pt x="155897" y="209983"/>
                    <a:pt x="100430" y="209983"/>
                  </a:cubicBezTo>
                  <a:cubicBezTo>
                    <a:pt x="44964" y="209983"/>
                    <a:pt x="0" y="162977"/>
                    <a:pt x="0" y="104992"/>
                  </a:cubicBezTo>
                  <a:cubicBezTo>
                    <a:pt x="0" y="47006"/>
                    <a:pt x="44964" y="0"/>
                    <a:pt x="100430" y="0"/>
                  </a:cubicBezTo>
                  <a:cubicBezTo>
                    <a:pt x="155897" y="0"/>
                    <a:pt x="200861" y="47006"/>
                    <a:pt x="200861" y="104992"/>
                  </a:cubicBezTo>
                  <a:close/>
                </a:path>
              </a:pathLst>
            </a:custGeom>
            <a:solidFill>
              <a:srgbClr val="C09066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7" name="Freihandform: Form 376">
              <a:extLst>
                <a:ext uri="{FF2B5EF4-FFF2-40B4-BE49-F238E27FC236}">
                  <a16:creationId xmlns:a16="http://schemas.microsoft.com/office/drawing/2014/main" id="{B623A461-57D0-07AD-9E78-D6E6A318D2F5}"/>
                </a:ext>
              </a:extLst>
            </p:cNvPr>
            <p:cNvSpPr/>
            <p:nvPr/>
          </p:nvSpPr>
          <p:spPr>
            <a:xfrm>
              <a:off x="940100" y="2004376"/>
              <a:ext cx="198475" cy="186651"/>
            </a:xfrm>
            <a:custGeom>
              <a:avLst/>
              <a:gdLst>
                <a:gd name="connsiteX0" fmla="*/ 197687 w 198475"/>
                <a:gd name="connsiteY0" fmla="*/ 57896 h 186651"/>
                <a:gd name="connsiteX1" fmla="*/ 98824 w 198475"/>
                <a:gd name="connsiteY1" fmla="*/ 0 h 186651"/>
                <a:gd name="connsiteX2" fmla="*/ 912 w 198475"/>
                <a:gd name="connsiteY2" fmla="*/ 62234 h 186651"/>
                <a:gd name="connsiteX3" fmla="*/ 13420 w 198475"/>
                <a:gd name="connsiteY3" fmla="*/ 132163 h 186651"/>
                <a:gd name="connsiteX4" fmla="*/ 26544 w 198475"/>
                <a:gd name="connsiteY4" fmla="*/ 161685 h 186651"/>
                <a:gd name="connsiteX5" fmla="*/ 172055 w 198475"/>
                <a:gd name="connsiteY5" fmla="*/ 163560 h 186651"/>
                <a:gd name="connsiteX6" fmla="*/ 184563 w 198475"/>
                <a:gd name="connsiteY6" fmla="*/ 119599 h 186651"/>
                <a:gd name="connsiteX7" fmla="*/ 197687 w 198475"/>
                <a:gd name="connsiteY7" fmla="*/ 57868 h 186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8475" h="186651">
                  <a:moveTo>
                    <a:pt x="197687" y="57896"/>
                  </a:moveTo>
                  <a:cubicBezTo>
                    <a:pt x="197687" y="57896"/>
                    <a:pt x="213945" y="0"/>
                    <a:pt x="98824" y="0"/>
                  </a:cubicBezTo>
                  <a:cubicBezTo>
                    <a:pt x="-16298" y="0"/>
                    <a:pt x="912" y="62234"/>
                    <a:pt x="912" y="62234"/>
                  </a:cubicBezTo>
                  <a:cubicBezTo>
                    <a:pt x="912" y="62234"/>
                    <a:pt x="10706" y="117584"/>
                    <a:pt x="13420" y="132163"/>
                  </a:cubicBezTo>
                  <a:cubicBezTo>
                    <a:pt x="15994" y="145874"/>
                    <a:pt x="21843" y="152926"/>
                    <a:pt x="26544" y="161685"/>
                  </a:cubicBezTo>
                  <a:cubicBezTo>
                    <a:pt x="48622" y="197447"/>
                    <a:pt x="154537" y="191822"/>
                    <a:pt x="172055" y="163560"/>
                  </a:cubicBezTo>
                  <a:cubicBezTo>
                    <a:pt x="183444" y="138599"/>
                    <a:pt x="181933" y="133310"/>
                    <a:pt x="184563" y="119599"/>
                  </a:cubicBezTo>
                  <a:cubicBezTo>
                    <a:pt x="188117" y="101242"/>
                    <a:pt x="197687" y="57868"/>
                    <a:pt x="197687" y="57868"/>
                  </a:cubicBezTo>
                  <a:close/>
                </a:path>
              </a:pathLst>
            </a:custGeom>
            <a:solidFill>
              <a:srgbClr val="404040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8" name="Freihandform: Form 377">
              <a:extLst>
                <a:ext uri="{FF2B5EF4-FFF2-40B4-BE49-F238E27FC236}">
                  <a16:creationId xmlns:a16="http://schemas.microsoft.com/office/drawing/2014/main" id="{78EE7339-101C-0EC8-E81D-361958BBA7A7}"/>
                </a:ext>
              </a:extLst>
            </p:cNvPr>
            <p:cNvSpPr/>
            <p:nvPr/>
          </p:nvSpPr>
          <p:spPr>
            <a:xfrm>
              <a:off x="932419" y="1911473"/>
              <a:ext cx="213004" cy="264926"/>
            </a:xfrm>
            <a:custGeom>
              <a:avLst/>
              <a:gdLst>
                <a:gd name="connsiteX0" fmla="*/ 210209 w 213004"/>
                <a:gd name="connsiteY0" fmla="*/ 145707 h 264926"/>
                <a:gd name="connsiteX1" fmla="*/ 106532 w 213004"/>
                <a:gd name="connsiteY1" fmla="*/ 0 h 264926"/>
                <a:gd name="connsiteX2" fmla="*/ 3444 w 213004"/>
                <a:gd name="connsiteY2" fmla="*/ 146462 h 264926"/>
                <a:gd name="connsiteX3" fmla="*/ 19254 w 213004"/>
                <a:gd name="connsiteY3" fmla="*/ 214936 h 264926"/>
                <a:gd name="connsiteX4" fmla="*/ 190201 w 213004"/>
                <a:gd name="connsiteY4" fmla="*/ 215720 h 264926"/>
                <a:gd name="connsiteX5" fmla="*/ 210209 w 213004"/>
                <a:gd name="connsiteY5" fmla="*/ 145735 h 264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004" h="264926">
                  <a:moveTo>
                    <a:pt x="210209" y="145707"/>
                  </a:moveTo>
                  <a:cubicBezTo>
                    <a:pt x="221150" y="60499"/>
                    <a:pt x="202653" y="0"/>
                    <a:pt x="106532" y="0"/>
                  </a:cubicBezTo>
                  <a:cubicBezTo>
                    <a:pt x="21912" y="0"/>
                    <a:pt x="-11471" y="29074"/>
                    <a:pt x="3444" y="146462"/>
                  </a:cubicBezTo>
                  <a:cubicBezTo>
                    <a:pt x="3863" y="150799"/>
                    <a:pt x="17939" y="211074"/>
                    <a:pt x="19254" y="214936"/>
                  </a:cubicBezTo>
                  <a:cubicBezTo>
                    <a:pt x="42648" y="283326"/>
                    <a:pt x="179568" y="279576"/>
                    <a:pt x="190201" y="215720"/>
                  </a:cubicBezTo>
                  <a:cubicBezTo>
                    <a:pt x="191628" y="207213"/>
                    <a:pt x="204444" y="181972"/>
                    <a:pt x="210209" y="145735"/>
                  </a:cubicBezTo>
                  <a:close/>
                </a:path>
              </a:pathLst>
            </a:custGeom>
            <a:solidFill>
              <a:srgbClr val="404040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79" name="Grafik 110">
              <a:extLst>
                <a:ext uri="{FF2B5EF4-FFF2-40B4-BE49-F238E27FC236}">
                  <a16:creationId xmlns:a16="http://schemas.microsoft.com/office/drawing/2014/main" id="{5B099E0D-16E0-4D05-8C1A-F133A7479B0F}"/>
                </a:ext>
              </a:extLst>
            </p:cNvPr>
            <p:cNvGrpSpPr/>
            <p:nvPr/>
          </p:nvGrpSpPr>
          <p:grpSpPr>
            <a:xfrm>
              <a:off x="794214" y="2833144"/>
              <a:ext cx="528232" cy="837889"/>
              <a:chOff x="794214" y="2833144"/>
              <a:chExt cx="528232" cy="837889"/>
            </a:xfrm>
            <a:solidFill>
              <a:srgbClr val="404040"/>
            </a:solidFill>
          </p:grpSpPr>
          <p:sp>
            <p:nvSpPr>
              <p:cNvPr id="381" name="Freihandform: Form 380">
                <a:extLst>
                  <a:ext uri="{FF2B5EF4-FFF2-40B4-BE49-F238E27FC236}">
                    <a16:creationId xmlns:a16="http://schemas.microsoft.com/office/drawing/2014/main" id="{9A81C0FE-DA91-CDF2-C035-C64598CEC573}"/>
                  </a:ext>
                </a:extLst>
              </p:cNvPr>
              <p:cNvSpPr/>
              <p:nvPr/>
            </p:nvSpPr>
            <p:spPr>
              <a:xfrm>
                <a:off x="794214" y="3532350"/>
                <a:ext cx="528232" cy="138682"/>
              </a:xfrm>
              <a:custGeom>
                <a:avLst/>
                <a:gdLst>
                  <a:gd name="connsiteX0" fmla="*/ 506294 w 528232"/>
                  <a:gd name="connsiteY0" fmla="*/ 138683 h 138682"/>
                  <a:gd name="connsiteX1" fmla="*/ 397636 w 528232"/>
                  <a:gd name="connsiteY1" fmla="*/ 23366 h 138682"/>
                  <a:gd name="connsiteX2" fmla="*/ 129309 w 528232"/>
                  <a:gd name="connsiteY2" fmla="*/ 23366 h 138682"/>
                  <a:gd name="connsiteX3" fmla="*/ 22582 w 528232"/>
                  <a:gd name="connsiteY3" fmla="*/ 137759 h 138682"/>
                  <a:gd name="connsiteX4" fmla="*/ 0 w 528232"/>
                  <a:gd name="connsiteY4" fmla="*/ 131687 h 138682"/>
                  <a:gd name="connsiteX5" fmla="*/ 129281 w 528232"/>
                  <a:gd name="connsiteY5" fmla="*/ 0 h 138682"/>
                  <a:gd name="connsiteX6" fmla="*/ 397608 w 528232"/>
                  <a:gd name="connsiteY6" fmla="*/ 0 h 138682"/>
                  <a:gd name="connsiteX7" fmla="*/ 528232 w 528232"/>
                  <a:gd name="connsiteY7" fmla="*/ 130764 h 138682"/>
                  <a:gd name="connsiteX8" fmla="*/ 506238 w 528232"/>
                  <a:gd name="connsiteY8" fmla="*/ 138683 h 138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8232" h="138682">
                    <a:moveTo>
                      <a:pt x="506294" y="138683"/>
                    </a:moveTo>
                    <a:cubicBezTo>
                      <a:pt x="477191" y="57840"/>
                      <a:pt x="444703" y="23366"/>
                      <a:pt x="397636" y="23366"/>
                    </a:cubicBezTo>
                    <a:lnTo>
                      <a:pt x="129309" y="23366"/>
                    </a:lnTo>
                    <a:cubicBezTo>
                      <a:pt x="84564" y="23366"/>
                      <a:pt x="40659" y="70405"/>
                      <a:pt x="22582" y="137759"/>
                    </a:cubicBezTo>
                    <a:lnTo>
                      <a:pt x="0" y="131687"/>
                    </a:lnTo>
                    <a:cubicBezTo>
                      <a:pt x="21155" y="52915"/>
                      <a:pt x="73119" y="0"/>
                      <a:pt x="129281" y="0"/>
                    </a:cubicBezTo>
                    <a:lnTo>
                      <a:pt x="397608" y="0"/>
                    </a:lnTo>
                    <a:cubicBezTo>
                      <a:pt x="455393" y="0"/>
                      <a:pt x="495688" y="40323"/>
                      <a:pt x="528232" y="130764"/>
                    </a:cubicBezTo>
                    <a:lnTo>
                      <a:pt x="506238" y="138683"/>
                    </a:lnTo>
                    <a:close/>
                  </a:path>
                </a:pathLst>
              </a:custGeom>
              <a:solidFill>
                <a:srgbClr val="404040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82" name="Freihandform: Form 381">
                <a:extLst>
                  <a:ext uri="{FF2B5EF4-FFF2-40B4-BE49-F238E27FC236}">
                    <a16:creationId xmlns:a16="http://schemas.microsoft.com/office/drawing/2014/main" id="{5480E187-8224-2BF4-0122-78C9BF1763C8}"/>
                  </a:ext>
                </a:extLst>
              </p:cNvPr>
              <p:cNvSpPr/>
              <p:nvPr/>
            </p:nvSpPr>
            <p:spPr>
              <a:xfrm>
                <a:off x="1046815" y="2833144"/>
                <a:ext cx="23365" cy="718235"/>
              </a:xfrm>
              <a:custGeom>
                <a:avLst/>
                <a:gdLst>
                  <a:gd name="connsiteX0" fmla="*/ 0 w 23365"/>
                  <a:gd name="connsiteY0" fmla="*/ 0 h 718235"/>
                  <a:gd name="connsiteX1" fmla="*/ 23366 w 23365"/>
                  <a:gd name="connsiteY1" fmla="*/ 0 h 718235"/>
                  <a:gd name="connsiteX2" fmla="*/ 23366 w 23365"/>
                  <a:gd name="connsiteY2" fmla="*/ 718235 h 718235"/>
                  <a:gd name="connsiteX3" fmla="*/ 0 w 23365"/>
                  <a:gd name="connsiteY3" fmla="*/ 718235 h 718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365" h="718235">
                    <a:moveTo>
                      <a:pt x="0" y="0"/>
                    </a:moveTo>
                    <a:lnTo>
                      <a:pt x="23366" y="0"/>
                    </a:lnTo>
                    <a:lnTo>
                      <a:pt x="23366" y="718235"/>
                    </a:lnTo>
                    <a:lnTo>
                      <a:pt x="0" y="718235"/>
                    </a:lnTo>
                    <a:close/>
                  </a:path>
                </a:pathLst>
              </a:custGeom>
              <a:solidFill>
                <a:srgbClr val="404040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83" name="Freihandform: Form 382">
                <a:extLst>
                  <a:ext uri="{FF2B5EF4-FFF2-40B4-BE49-F238E27FC236}">
                    <a16:creationId xmlns:a16="http://schemas.microsoft.com/office/drawing/2014/main" id="{28CD47DF-C533-AD95-B053-DCE49E332B6F}"/>
                  </a:ext>
                </a:extLst>
              </p:cNvPr>
              <p:cNvSpPr/>
              <p:nvPr/>
            </p:nvSpPr>
            <p:spPr>
              <a:xfrm>
                <a:off x="809353" y="3097301"/>
                <a:ext cx="498234" cy="76029"/>
              </a:xfrm>
              <a:custGeom>
                <a:avLst/>
                <a:gdLst>
                  <a:gd name="connsiteX0" fmla="*/ 368058 w 498234"/>
                  <a:gd name="connsiteY0" fmla="*/ 0 h 76029"/>
                  <a:gd name="connsiteX1" fmla="*/ 0 w 498234"/>
                  <a:gd name="connsiteY1" fmla="*/ 0 h 76029"/>
                  <a:gd name="connsiteX2" fmla="*/ 76029 w 498234"/>
                  <a:gd name="connsiteY2" fmla="*/ 76029 h 76029"/>
                  <a:gd name="connsiteX3" fmla="*/ 422205 w 498234"/>
                  <a:gd name="connsiteY3" fmla="*/ 76029 h 76029"/>
                  <a:gd name="connsiteX4" fmla="*/ 498235 w 498234"/>
                  <a:gd name="connsiteY4" fmla="*/ 0 h 76029"/>
                  <a:gd name="connsiteX5" fmla="*/ 498235 w 498234"/>
                  <a:gd name="connsiteY5" fmla="*/ 0 h 76029"/>
                  <a:gd name="connsiteX6" fmla="*/ 368030 w 498234"/>
                  <a:gd name="connsiteY6" fmla="*/ 0 h 76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98234" h="76029">
                    <a:moveTo>
                      <a:pt x="368058" y="0"/>
                    </a:moveTo>
                    <a:lnTo>
                      <a:pt x="0" y="0"/>
                    </a:lnTo>
                    <a:cubicBezTo>
                      <a:pt x="0" y="42002"/>
                      <a:pt x="34055" y="76029"/>
                      <a:pt x="76029" y="76029"/>
                    </a:cubicBezTo>
                    <a:lnTo>
                      <a:pt x="422205" y="76029"/>
                    </a:lnTo>
                    <a:cubicBezTo>
                      <a:pt x="464207" y="76029"/>
                      <a:pt x="498235" y="41974"/>
                      <a:pt x="498235" y="0"/>
                    </a:cubicBezTo>
                    <a:lnTo>
                      <a:pt x="498235" y="0"/>
                    </a:lnTo>
                    <a:cubicBezTo>
                      <a:pt x="498235" y="0"/>
                      <a:pt x="368030" y="0"/>
                      <a:pt x="368030" y="0"/>
                    </a:cubicBezTo>
                    <a:close/>
                  </a:path>
                </a:pathLst>
              </a:custGeom>
              <a:solidFill>
                <a:srgbClr val="404040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80" name="Freihandform: Form 379">
              <a:extLst>
                <a:ext uri="{FF2B5EF4-FFF2-40B4-BE49-F238E27FC236}">
                  <a16:creationId xmlns:a16="http://schemas.microsoft.com/office/drawing/2014/main" id="{49844610-5566-77A7-6B5A-C5AFF1F13253}"/>
                </a:ext>
              </a:extLst>
            </p:cNvPr>
            <p:cNvSpPr/>
            <p:nvPr/>
          </p:nvSpPr>
          <p:spPr>
            <a:xfrm>
              <a:off x="808121" y="2539968"/>
              <a:ext cx="500613" cy="425758"/>
            </a:xfrm>
            <a:custGeom>
              <a:avLst/>
              <a:gdLst>
                <a:gd name="connsiteX0" fmla="*/ 49614 w 500613"/>
                <a:gd name="connsiteY0" fmla="*/ 0 h 425758"/>
                <a:gd name="connsiteX1" fmla="*/ 450972 w 500613"/>
                <a:gd name="connsiteY1" fmla="*/ 0 h 425758"/>
                <a:gd name="connsiteX2" fmla="*/ 500613 w 500613"/>
                <a:gd name="connsiteY2" fmla="*/ 49642 h 425758"/>
                <a:gd name="connsiteX3" fmla="*/ 500613 w 500613"/>
                <a:gd name="connsiteY3" fmla="*/ 374942 h 425758"/>
                <a:gd name="connsiteX4" fmla="*/ 449796 w 500613"/>
                <a:gd name="connsiteY4" fmla="*/ 425759 h 425758"/>
                <a:gd name="connsiteX5" fmla="*/ 50817 w 500613"/>
                <a:gd name="connsiteY5" fmla="*/ 425759 h 425758"/>
                <a:gd name="connsiteX6" fmla="*/ 0 w 500613"/>
                <a:gd name="connsiteY6" fmla="*/ 374942 h 425758"/>
                <a:gd name="connsiteX7" fmla="*/ 0 w 500613"/>
                <a:gd name="connsiteY7" fmla="*/ 49642 h 425758"/>
                <a:gd name="connsiteX8" fmla="*/ 49642 w 500613"/>
                <a:gd name="connsiteY8" fmla="*/ 0 h 425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0613" h="425758">
                  <a:moveTo>
                    <a:pt x="49614" y="0"/>
                  </a:moveTo>
                  <a:lnTo>
                    <a:pt x="450972" y="0"/>
                  </a:lnTo>
                  <a:cubicBezTo>
                    <a:pt x="478367" y="0"/>
                    <a:pt x="500613" y="22246"/>
                    <a:pt x="500613" y="49642"/>
                  </a:cubicBezTo>
                  <a:lnTo>
                    <a:pt x="500613" y="374942"/>
                  </a:lnTo>
                  <a:cubicBezTo>
                    <a:pt x="500613" y="403009"/>
                    <a:pt x="477835" y="425759"/>
                    <a:pt x="449796" y="425759"/>
                  </a:cubicBezTo>
                  <a:lnTo>
                    <a:pt x="50817" y="425759"/>
                  </a:lnTo>
                  <a:cubicBezTo>
                    <a:pt x="22750" y="425759"/>
                    <a:pt x="0" y="402981"/>
                    <a:pt x="0" y="374942"/>
                  </a:cubicBezTo>
                  <a:lnTo>
                    <a:pt x="0" y="49642"/>
                  </a:lnTo>
                  <a:cubicBezTo>
                    <a:pt x="0" y="22246"/>
                    <a:pt x="22246" y="0"/>
                    <a:pt x="49642" y="0"/>
                  </a:cubicBezTo>
                  <a:close/>
                </a:path>
              </a:pathLst>
            </a:custGeom>
            <a:solidFill>
              <a:srgbClr val="404040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32" name="Gruppieren 431">
            <a:extLst>
              <a:ext uri="{FF2B5EF4-FFF2-40B4-BE49-F238E27FC236}">
                <a16:creationId xmlns:a16="http://schemas.microsoft.com/office/drawing/2014/main" id="{F4B0B4C0-20A9-E172-480E-56502DEDE65E}"/>
              </a:ext>
            </a:extLst>
          </p:cNvPr>
          <p:cNvGrpSpPr/>
          <p:nvPr/>
        </p:nvGrpSpPr>
        <p:grpSpPr>
          <a:xfrm>
            <a:off x="3972809" y="4548189"/>
            <a:ext cx="1061540" cy="552663"/>
            <a:chOff x="3972809" y="4548189"/>
            <a:chExt cx="1061540" cy="552663"/>
          </a:xfrm>
        </p:grpSpPr>
        <p:sp>
          <p:nvSpPr>
            <p:cNvPr id="37" name="Cylinder 8">
              <a:extLst>
                <a:ext uri="{FF2B5EF4-FFF2-40B4-BE49-F238E27FC236}">
                  <a16:creationId xmlns:a16="http://schemas.microsoft.com/office/drawing/2014/main" id="{8569943E-E66D-9ECF-407F-55BDCA99030B}"/>
                </a:ext>
              </a:extLst>
            </p:cNvPr>
            <p:cNvSpPr>
              <a:spLocks/>
            </p:cNvSpPr>
            <p:nvPr/>
          </p:nvSpPr>
          <p:spPr>
            <a:xfrm>
              <a:off x="3972809" y="4946964"/>
              <a:ext cx="1061540" cy="1538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r>
                <a:rPr lang="de-AT" sz="1000"/>
                <a:t>Re-Identification DB</a:t>
              </a:r>
            </a:p>
          </p:txBody>
        </p:sp>
        <p:sp>
          <p:nvSpPr>
            <p:cNvPr id="430" name="Freeform 29">
              <a:extLst>
                <a:ext uri="{FF2B5EF4-FFF2-40B4-BE49-F238E27FC236}">
                  <a16:creationId xmlns:a16="http://schemas.microsoft.com/office/drawing/2014/main" id="{A478283D-0140-52BA-E3EB-126093C4FA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42213" y="4548189"/>
              <a:ext cx="322732" cy="355508"/>
            </a:xfrm>
            <a:custGeom>
              <a:avLst/>
              <a:gdLst>
                <a:gd name="T0" fmla="*/ 183 w 333"/>
                <a:gd name="T1" fmla="*/ 334 h 367"/>
                <a:gd name="T2" fmla="*/ 333 w 333"/>
                <a:gd name="T3" fmla="*/ 334 h 367"/>
                <a:gd name="T4" fmla="*/ 333 w 333"/>
                <a:gd name="T5" fmla="*/ 367 h 367"/>
                <a:gd name="T6" fmla="*/ 0 w 333"/>
                <a:gd name="T7" fmla="*/ 367 h 367"/>
                <a:gd name="T8" fmla="*/ 0 w 333"/>
                <a:gd name="T9" fmla="*/ 334 h 367"/>
                <a:gd name="T10" fmla="*/ 150 w 333"/>
                <a:gd name="T11" fmla="*/ 334 h 367"/>
                <a:gd name="T12" fmla="*/ 150 w 333"/>
                <a:gd name="T13" fmla="*/ 300 h 367"/>
                <a:gd name="T14" fmla="*/ 183 w 333"/>
                <a:gd name="T15" fmla="*/ 300 h 367"/>
                <a:gd name="T16" fmla="*/ 183 w 333"/>
                <a:gd name="T17" fmla="*/ 334 h 367"/>
                <a:gd name="T18" fmla="*/ 17 w 333"/>
                <a:gd name="T19" fmla="*/ 217 h 367"/>
                <a:gd name="T20" fmla="*/ 67 w 333"/>
                <a:gd name="T21" fmla="*/ 217 h 367"/>
                <a:gd name="T22" fmla="*/ 67 w 333"/>
                <a:gd name="T23" fmla="*/ 250 h 367"/>
                <a:gd name="T24" fmla="*/ 17 w 333"/>
                <a:gd name="T25" fmla="*/ 250 h 367"/>
                <a:gd name="T26" fmla="*/ 17 w 333"/>
                <a:gd name="T27" fmla="*/ 217 h 367"/>
                <a:gd name="T28" fmla="*/ 0 w 333"/>
                <a:gd name="T29" fmla="*/ 267 h 367"/>
                <a:gd name="T30" fmla="*/ 333 w 333"/>
                <a:gd name="T31" fmla="*/ 267 h 367"/>
                <a:gd name="T32" fmla="*/ 333 w 333"/>
                <a:gd name="T33" fmla="*/ 200 h 367"/>
                <a:gd name="T34" fmla="*/ 0 w 333"/>
                <a:gd name="T35" fmla="*/ 200 h 367"/>
                <a:gd name="T36" fmla="*/ 0 w 333"/>
                <a:gd name="T37" fmla="*/ 267 h 367"/>
                <a:gd name="T38" fmla="*/ 17 w 333"/>
                <a:gd name="T39" fmla="*/ 117 h 367"/>
                <a:gd name="T40" fmla="*/ 67 w 333"/>
                <a:gd name="T41" fmla="*/ 117 h 367"/>
                <a:gd name="T42" fmla="*/ 67 w 333"/>
                <a:gd name="T43" fmla="*/ 150 h 367"/>
                <a:gd name="T44" fmla="*/ 17 w 333"/>
                <a:gd name="T45" fmla="*/ 150 h 367"/>
                <a:gd name="T46" fmla="*/ 17 w 333"/>
                <a:gd name="T47" fmla="*/ 117 h 367"/>
                <a:gd name="T48" fmla="*/ 0 w 333"/>
                <a:gd name="T49" fmla="*/ 167 h 367"/>
                <a:gd name="T50" fmla="*/ 333 w 333"/>
                <a:gd name="T51" fmla="*/ 167 h 367"/>
                <a:gd name="T52" fmla="*/ 333 w 333"/>
                <a:gd name="T53" fmla="*/ 100 h 367"/>
                <a:gd name="T54" fmla="*/ 0 w 333"/>
                <a:gd name="T55" fmla="*/ 100 h 367"/>
                <a:gd name="T56" fmla="*/ 0 w 333"/>
                <a:gd name="T57" fmla="*/ 167 h 367"/>
                <a:gd name="T58" fmla="*/ 67 w 333"/>
                <a:gd name="T59" fmla="*/ 50 h 367"/>
                <a:gd name="T60" fmla="*/ 17 w 333"/>
                <a:gd name="T61" fmla="*/ 50 h 367"/>
                <a:gd name="T62" fmla="*/ 17 w 333"/>
                <a:gd name="T63" fmla="*/ 17 h 367"/>
                <a:gd name="T64" fmla="*/ 67 w 333"/>
                <a:gd name="T65" fmla="*/ 17 h 367"/>
                <a:gd name="T66" fmla="*/ 67 w 333"/>
                <a:gd name="T67" fmla="*/ 50 h 367"/>
                <a:gd name="T68" fmla="*/ 0 w 333"/>
                <a:gd name="T69" fmla="*/ 67 h 367"/>
                <a:gd name="T70" fmla="*/ 333 w 333"/>
                <a:gd name="T71" fmla="*/ 67 h 367"/>
                <a:gd name="T72" fmla="*/ 333 w 333"/>
                <a:gd name="T73" fmla="*/ 0 h 367"/>
                <a:gd name="T74" fmla="*/ 0 w 333"/>
                <a:gd name="T75" fmla="*/ 0 h 367"/>
                <a:gd name="T76" fmla="*/ 0 w 333"/>
                <a:gd name="T77" fmla="*/ 67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33" h="367">
                  <a:moveTo>
                    <a:pt x="183" y="334"/>
                  </a:moveTo>
                  <a:lnTo>
                    <a:pt x="333" y="334"/>
                  </a:lnTo>
                  <a:lnTo>
                    <a:pt x="333" y="367"/>
                  </a:lnTo>
                  <a:lnTo>
                    <a:pt x="0" y="367"/>
                  </a:lnTo>
                  <a:lnTo>
                    <a:pt x="0" y="334"/>
                  </a:lnTo>
                  <a:lnTo>
                    <a:pt x="150" y="334"/>
                  </a:lnTo>
                  <a:lnTo>
                    <a:pt x="150" y="300"/>
                  </a:lnTo>
                  <a:lnTo>
                    <a:pt x="183" y="300"/>
                  </a:lnTo>
                  <a:lnTo>
                    <a:pt x="183" y="334"/>
                  </a:lnTo>
                  <a:close/>
                  <a:moveTo>
                    <a:pt x="17" y="217"/>
                  </a:moveTo>
                  <a:lnTo>
                    <a:pt x="67" y="217"/>
                  </a:lnTo>
                  <a:lnTo>
                    <a:pt x="67" y="250"/>
                  </a:lnTo>
                  <a:lnTo>
                    <a:pt x="17" y="250"/>
                  </a:lnTo>
                  <a:lnTo>
                    <a:pt x="17" y="217"/>
                  </a:lnTo>
                  <a:close/>
                  <a:moveTo>
                    <a:pt x="0" y="267"/>
                  </a:moveTo>
                  <a:lnTo>
                    <a:pt x="333" y="267"/>
                  </a:lnTo>
                  <a:lnTo>
                    <a:pt x="333" y="200"/>
                  </a:lnTo>
                  <a:lnTo>
                    <a:pt x="0" y="200"/>
                  </a:lnTo>
                  <a:lnTo>
                    <a:pt x="0" y="267"/>
                  </a:lnTo>
                  <a:close/>
                  <a:moveTo>
                    <a:pt x="17" y="117"/>
                  </a:moveTo>
                  <a:lnTo>
                    <a:pt x="67" y="117"/>
                  </a:lnTo>
                  <a:lnTo>
                    <a:pt x="67" y="150"/>
                  </a:lnTo>
                  <a:lnTo>
                    <a:pt x="17" y="150"/>
                  </a:lnTo>
                  <a:lnTo>
                    <a:pt x="17" y="117"/>
                  </a:lnTo>
                  <a:close/>
                  <a:moveTo>
                    <a:pt x="0" y="167"/>
                  </a:moveTo>
                  <a:lnTo>
                    <a:pt x="333" y="167"/>
                  </a:lnTo>
                  <a:lnTo>
                    <a:pt x="333" y="100"/>
                  </a:lnTo>
                  <a:lnTo>
                    <a:pt x="0" y="100"/>
                  </a:lnTo>
                  <a:lnTo>
                    <a:pt x="0" y="167"/>
                  </a:lnTo>
                  <a:close/>
                  <a:moveTo>
                    <a:pt x="67" y="50"/>
                  </a:moveTo>
                  <a:lnTo>
                    <a:pt x="17" y="50"/>
                  </a:lnTo>
                  <a:lnTo>
                    <a:pt x="17" y="17"/>
                  </a:lnTo>
                  <a:lnTo>
                    <a:pt x="67" y="17"/>
                  </a:lnTo>
                  <a:lnTo>
                    <a:pt x="67" y="50"/>
                  </a:lnTo>
                  <a:close/>
                  <a:moveTo>
                    <a:pt x="0" y="67"/>
                  </a:moveTo>
                  <a:lnTo>
                    <a:pt x="333" y="67"/>
                  </a:lnTo>
                  <a:lnTo>
                    <a:pt x="333" y="0"/>
                  </a:lnTo>
                  <a:lnTo>
                    <a:pt x="0" y="0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35" name="Gruppieren 434">
            <a:extLst>
              <a:ext uri="{FF2B5EF4-FFF2-40B4-BE49-F238E27FC236}">
                <a16:creationId xmlns:a16="http://schemas.microsoft.com/office/drawing/2014/main" id="{00FC9813-1EB1-4ED7-44B5-7C6ACCABCFB4}"/>
              </a:ext>
            </a:extLst>
          </p:cNvPr>
          <p:cNvGrpSpPr>
            <a:grpSpLocks/>
          </p:cNvGrpSpPr>
          <p:nvPr/>
        </p:nvGrpSpPr>
        <p:grpSpPr>
          <a:xfrm>
            <a:off x="2973564" y="5305425"/>
            <a:ext cx="1529227" cy="292100"/>
            <a:chOff x="4572000" y="3386137"/>
            <a:chExt cx="406648" cy="180976"/>
          </a:xfrm>
        </p:grpSpPr>
        <p:sp>
          <p:nvSpPr>
            <p:cNvPr id="433" name="Freihandform: Form 432">
              <a:extLst>
                <a:ext uri="{FF2B5EF4-FFF2-40B4-BE49-F238E27FC236}">
                  <a16:creationId xmlns:a16="http://schemas.microsoft.com/office/drawing/2014/main" id="{481E976E-81BD-0DAC-6395-3B5DFD4A8872}"/>
                </a:ext>
              </a:extLst>
            </p:cNvPr>
            <p:cNvSpPr/>
            <p:nvPr/>
          </p:nvSpPr>
          <p:spPr>
            <a:xfrm>
              <a:off x="4572000" y="3386138"/>
              <a:ext cx="219075" cy="180975"/>
            </a:xfrm>
            <a:custGeom>
              <a:avLst/>
              <a:gdLst>
                <a:gd name="connsiteX0" fmla="*/ 0 w 219075"/>
                <a:gd name="connsiteY0" fmla="*/ 0 h 180975"/>
                <a:gd name="connsiteX1" fmla="*/ 0 w 219075"/>
                <a:gd name="connsiteY1" fmla="*/ 180975 h 180975"/>
                <a:gd name="connsiteX2" fmla="*/ 219075 w 219075"/>
                <a:gd name="connsiteY2" fmla="*/ 180975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9075" h="180975">
                  <a:moveTo>
                    <a:pt x="0" y="0"/>
                  </a:moveTo>
                  <a:lnTo>
                    <a:pt x="0" y="180975"/>
                  </a:lnTo>
                  <a:lnTo>
                    <a:pt x="219075" y="180975"/>
                  </a:lnTo>
                </a:path>
              </a:pathLst>
            </a:custGeom>
            <a:noFill/>
            <a:ln w="31750">
              <a:solidFill>
                <a:schemeClr val="accent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4" name="Freihandform: Form 433">
              <a:extLst>
                <a:ext uri="{FF2B5EF4-FFF2-40B4-BE49-F238E27FC236}">
                  <a16:creationId xmlns:a16="http://schemas.microsoft.com/office/drawing/2014/main" id="{5A5057E7-816B-E64F-2D3D-030A3D824BB8}"/>
                </a:ext>
              </a:extLst>
            </p:cNvPr>
            <p:cNvSpPr/>
            <p:nvPr/>
          </p:nvSpPr>
          <p:spPr>
            <a:xfrm rot="16200000">
              <a:off x="4778625" y="3367087"/>
              <a:ext cx="180974" cy="219073"/>
            </a:xfrm>
            <a:custGeom>
              <a:avLst/>
              <a:gdLst>
                <a:gd name="connsiteX0" fmla="*/ 0 w 219075"/>
                <a:gd name="connsiteY0" fmla="*/ 0 h 180975"/>
                <a:gd name="connsiteX1" fmla="*/ 0 w 219075"/>
                <a:gd name="connsiteY1" fmla="*/ 180975 h 180975"/>
                <a:gd name="connsiteX2" fmla="*/ 219075 w 219075"/>
                <a:gd name="connsiteY2" fmla="*/ 180975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9075" h="180975">
                  <a:moveTo>
                    <a:pt x="0" y="0"/>
                  </a:moveTo>
                  <a:lnTo>
                    <a:pt x="0" y="180975"/>
                  </a:lnTo>
                  <a:lnTo>
                    <a:pt x="219075" y="180975"/>
                  </a:lnTo>
                </a:path>
              </a:pathLst>
            </a:custGeom>
            <a:noFill/>
            <a:ln w="31750">
              <a:solidFill>
                <a:schemeClr val="accent3"/>
              </a:solidFill>
              <a:miter lim="800000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1" name="Rechteck 440">
            <a:extLst>
              <a:ext uri="{FF2B5EF4-FFF2-40B4-BE49-F238E27FC236}">
                <a16:creationId xmlns:a16="http://schemas.microsoft.com/office/drawing/2014/main" id="{B86C8A26-F56F-350C-1C9E-F75275261401}"/>
              </a:ext>
            </a:extLst>
          </p:cNvPr>
          <p:cNvSpPr/>
          <p:nvPr/>
        </p:nvSpPr>
        <p:spPr>
          <a:xfrm>
            <a:off x="5815890" y="4711700"/>
            <a:ext cx="132473" cy="336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Box 26">
            <a:extLst>
              <a:ext uri="{FF2B5EF4-FFF2-40B4-BE49-F238E27FC236}">
                <a16:creationId xmlns:a16="http://schemas.microsoft.com/office/drawing/2014/main" id="{4684E1A4-F728-2F1B-F79A-3B7D5F5DE2BC}"/>
              </a:ext>
            </a:extLst>
          </p:cNvPr>
          <p:cNvSpPr txBox="1">
            <a:spLocks/>
          </p:cNvSpPr>
          <p:nvPr/>
        </p:nvSpPr>
        <p:spPr>
          <a:xfrm>
            <a:off x="5368868" y="5042351"/>
            <a:ext cx="742919" cy="18962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AT" sz="1200" b="1"/>
              <a:t>Re</a:t>
            </a:r>
            <a:r>
              <a:rPr lang="de-AT" sz="1200"/>
              <a:t>-</a:t>
            </a:r>
            <a:r>
              <a:rPr lang="de-AT" sz="1200" err="1"/>
              <a:t>Identify</a:t>
            </a:r>
            <a:endParaRPr lang="de-AT" sz="1200"/>
          </a:p>
        </p:txBody>
      </p:sp>
      <p:cxnSp>
        <p:nvCxnSpPr>
          <p:cNvPr id="439" name="Gerader Verbinder 438">
            <a:extLst>
              <a:ext uri="{FF2B5EF4-FFF2-40B4-BE49-F238E27FC236}">
                <a16:creationId xmlns:a16="http://schemas.microsoft.com/office/drawing/2014/main" id="{70004697-80CB-24CC-D774-773F542DE23F}"/>
              </a:ext>
            </a:extLst>
          </p:cNvPr>
          <p:cNvCxnSpPr>
            <a:cxnSpLocks/>
          </p:cNvCxnSpPr>
          <p:nvPr/>
        </p:nvCxnSpPr>
        <p:spPr>
          <a:xfrm>
            <a:off x="5262563" y="4852191"/>
            <a:ext cx="955529" cy="0"/>
          </a:xfrm>
          <a:prstGeom prst="line">
            <a:avLst/>
          </a:prstGeom>
          <a:noFill/>
          <a:ln w="19050">
            <a:solidFill>
              <a:schemeClr val="accent5"/>
            </a:solidFill>
            <a:miter lim="800000"/>
            <a:headEnd type="triangle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443" name="Gruppieren 442">
            <a:extLst>
              <a:ext uri="{FF2B5EF4-FFF2-40B4-BE49-F238E27FC236}">
                <a16:creationId xmlns:a16="http://schemas.microsoft.com/office/drawing/2014/main" id="{713ACBB9-1366-0867-FE46-E5F224810E88}"/>
              </a:ext>
            </a:extLst>
          </p:cNvPr>
          <p:cNvGrpSpPr>
            <a:grpSpLocks/>
          </p:cNvGrpSpPr>
          <p:nvPr/>
        </p:nvGrpSpPr>
        <p:grpSpPr>
          <a:xfrm>
            <a:off x="6746717" y="5167312"/>
            <a:ext cx="631649" cy="185738"/>
            <a:chOff x="4572000" y="3386137"/>
            <a:chExt cx="406648" cy="180976"/>
          </a:xfrm>
        </p:grpSpPr>
        <p:sp>
          <p:nvSpPr>
            <p:cNvPr id="444" name="Freihandform: Form 443">
              <a:extLst>
                <a:ext uri="{FF2B5EF4-FFF2-40B4-BE49-F238E27FC236}">
                  <a16:creationId xmlns:a16="http://schemas.microsoft.com/office/drawing/2014/main" id="{268FA70E-E5C0-9BE1-E4FD-DDFA8F449D69}"/>
                </a:ext>
              </a:extLst>
            </p:cNvPr>
            <p:cNvSpPr/>
            <p:nvPr/>
          </p:nvSpPr>
          <p:spPr>
            <a:xfrm>
              <a:off x="4572000" y="3386138"/>
              <a:ext cx="219075" cy="180975"/>
            </a:xfrm>
            <a:custGeom>
              <a:avLst/>
              <a:gdLst>
                <a:gd name="connsiteX0" fmla="*/ 0 w 219075"/>
                <a:gd name="connsiteY0" fmla="*/ 0 h 180975"/>
                <a:gd name="connsiteX1" fmla="*/ 0 w 219075"/>
                <a:gd name="connsiteY1" fmla="*/ 180975 h 180975"/>
                <a:gd name="connsiteX2" fmla="*/ 219075 w 219075"/>
                <a:gd name="connsiteY2" fmla="*/ 180975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9075" h="180975">
                  <a:moveTo>
                    <a:pt x="0" y="0"/>
                  </a:moveTo>
                  <a:lnTo>
                    <a:pt x="0" y="180975"/>
                  </a:lnTo>
                  <a:lnTo>
                    <a:pt x="219075" y="180975"/>
                  </a:lnTo>
                </a:path>
              </a:pathLst>
            </a:custGeom>
            <a:noFill/>
            <a:ln w="31750">
              <a:solidFill>
                <a:schemeClr val="accent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5" name="Freihandform: Form 444">
              <a:extLst>
                <a:ext uri="{FF2B5EF4-FFF2-40B4-BE49-F238E27FC236}">
                  <a16:creationId xmlns:a16="http://schemas.microsoft.com/office/drawing/2014/main" id="{D39F6991-2E71-2E20-A935-653DB26CF5F5}"/>
                </a:ext>
              </a:extLst>
            </p:cNvPr>
            <p:cNvSpPr/>
            <p:nvPr/>
          </p:nvSpPr>
          <p:spPr>
            <a:xfrm rot="16200000">
              <a:off x="4778625" y="3367087"/>
              <a:ext cx="180974" cy="219073"/>
            </a:xfrm>
            <a:custGeom>
              <a:avLst/>
              <a:gdLst>
                <a:gd name="connsiteX0" fmla="*/ 0 w 219075"/>
                <a:gd name="connsiteY0" fmla="*/ 0 h 180975"/>
                <a:gd name="connsiteX1" fmla="*/ 0 w 219075"/>
                <a:gd name="connsiteY1" fmla="*/ 180975 h 180975"/>
                <a:gd name="connsiteX2" fmla="*/ 219075 w 219075"/>
                <a:gd name="connsiteY2" fmla="*/ 180975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9075" h="180975">
                  <a:moveTo>
                    <a:pt x="0" y="0"/>
                  </a:moveTo>
                  <a:lnTo>
                    <a:pt x="0" y="180975"/>
                  </a:lnTo>
                  <a:lnTo>
                    <a:pt x="219075" y="180975"/>
                  </a:lnTo>
                </a:path>
              </a:pathLst>
            </a:custGeom>
            <a:noFill/>
            <a:ln w="31750">
              <a:solidFill>
                <a:schemeClr val="accent3"/>
              </a:solidFill>
              <a:miter lim="800000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19" name="Ellipse 418">
            <a:extLst>
              <a:ext uri="{FF2B5EF4-FFF2-40B4-BE49-F238E27FC236}">
                <a16:creationId xmlns:a16="http://schemas.microsoft.com/office/drawing/2014/main" id="{9E5BD2D7-EE74-A931-B229-CBBAB7D98F0B}"/>
              </a:ext>
            </a:extLst>
          </p:cNvPr>
          <p:cNvSpPr>
            <a:spLocks/>
          </p:cNvSpPr>
          <p:nvPr/>
        </p:nvSpPr>
        <p:spPr>
          <a:xfrm>
            <a:off x="6918541" y="5212022"/>
            <a:ext cx="288000" cy="28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446" name="TextBox 38">
            <a:extLst>
              <a:ext uri="{FF2B5EF4-FFF2-40B4-BE49-F238E27FC236}">
                <a16:creationId xmlns:a16="http://schemas.microsoft.com/office/drawing/2014/main" id="{D9987CEB-1549-21E1-1A87-BBBBE0B66EB1}"/>
              </a:ext>
            </a:extLst>
          </p:cNvPr>
          <p:cNvSpPr txBox="1">
            <a:spLocks/>
          </p:cNvSpPr>
          <p:nvPr/>
        </p:nvSpPr>
        <p:spPr>
          <a:xfrm>
            <a:off x="6163623" y="5519086"/>
            <a:ext cx="1797835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200"/>
              <a:t>Generate DICOM Key Object Selection Document (KOS) </a:t>
            </a:r>
          </a:p>
        </p:txBody>
      </p:sp>
      <p:sp>
        <p:nvSpPr>
          <p:cNvPr id="448" name="TextBox 26">
            <a:extLst>
              <a:ext uri="{FF2B5EF4-FFF2-40B4-BE49-F238E27FC236}">
                <a16:creationId xmlns:a16="http://schemas.microsoft.com/office/drawing/2014/main" id="{FCC5EECB-C9C8-2BBE-BD39-FD5AC8A8D3B7}"/>
              </a:ext>
            </a:extLst>
          </p:cNvPr>
          <p:cNvSpPr txBox="1">
            <a:spLocks/>
          </p:cNvSpPr>
          <p:nvPr/>
        </p:nvSpPr>
        <p:spPr>
          <a:xfrm>
            <a:off x="8202505" y="5042351"/>
            <a:ext cx="916096" cy="5488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AT" sz="1200" err="1"/>
              <a:t>Provide</a:t>
            </a:r>
            <a:r>
              <a:rPr lang="de-AT" sz="1200"/>
              <a:t> </a:t>
            </a:r>
            <a:br>
              <a:rPr lang="de-AT" sz="1200"/>
            </a:br>
            <a:r>
              <a:rPr lang="de-AT" sz="1200"/>
              <a:t>and Register/</a:t>
            </a:r>
            <a:br>
              <a:rPr lang="de-AT" sz="1200"/>
            </a:br>
            <a:r>
              <a:rPr lang="de-AT" sz="1200"/>
              <a:t>ITI-41/RAD-68</a:t>
            </a:r>
          </a:p>
        </p:txBody>
      </p:sp>
      <p:cxnSp>
        <p:nvCxnSpPr>
          <p:cNvPr id="450" name="Gerader Verbinder 449">
            <a:extLst>
              <a:ext uri="{FF2B5EF4-FFF2-40B4-BE49-F238E27FC236}">
                <a16:creationId xmlns:a16="http://schemas.microsoft.com/office/drawing/2014/main" id="{C8FA8BED-B188-3D28-618F-52AE47D4046F}"/>
              </a:ext>
            </a:extLst>
          </p:cNvPr>
          <p:cNvCxnSpPr>
            <a:cxnSpLocks/>
          </p:cNvCxnSpPr>
          <p:nvPr/>
        </p:nvCxnSpPr>
        <p:spPr>
          <a:xfrm>
            <a:off x="7908874" y="4852191"/>
            <a:ext cx="781101" cy="0"/>
          </a:xfrm>
          <a:prstGeom prst="line">
            <a:avLst/>
          </a:prstGeom>
          <a:noFill/>
          <a:ln w="19050">
            <a:solidFill>
              <a:schemeClr val="accent5"/>
            </a:solidFill>
            <a:miter lim="800000"/>
            <a:headEnd type="triangle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14" name="Ellipse 413">
            <a:extLst>
              <a:ext uri="{FF2B5EF4-FFF2-40B4-BE49-F238E27FC236}">
                <a16:creationId xmlns:a16="http://schemas.microsoft.com/office/drawing/2014/main" id="{F89B1E4C-D5C4-6424-5605-2E117340520A}"/>
              </a:ext>
            </a:extLst>
          </p:cNvPr>
          <p:cNvSpPr>
            <a:spLocks/>
          </p:cNvSpPr>
          <p:nvPr/>
        </p:nvSpPr>
        <p:spPr>
          <a:xfrm>
            <a:off x="3594178" y="5450784"/>
            <a:ext cx="288000" cy="28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49" name="Ellipse 448">
            <a:extLst>
              <a:ext uri="{FF2B5EF4-FFF2-40B4-BE49-F238E27FC236}">
                <a16:creationId xmlns:a16="http://schemas.microsoft.com/office/drawing/2014/main" id="{19D36A9B-A1AE-44D9-DB31-B5950B648166}"/>
              </a:ext>
            </a:extLst>
          </p:cNvPr>
          <p:cNvSpPr>
            <a:spLocks/>
          </p:cNvSpPr>
          <p:nvPr/>
        </p:nvSpPr>
        <p:spPr>
          <a:xfrm>
            <a:off x="8155425" y="4708191"/>
            <a:ext cx="288000" cy="28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>
                <a:solidFill>
                  <a:schemeClr val="bg1"/>
                </a:solidFill>
              </a:rPr>
              <a:t>8</a:t>
            </a:r>
          </a:p>
        </p:txBody>
      </p:sp>
      <p:grpSp>
        <p:nvGrpSpPr>
          <p:cNvPr id="468" name="Gruppieren 467">
            <a:extLst>
              <a:ext uri="{FF2B5EF4-FFF2-40B4-BE49-F238E27FC236}">
                <a16:creationId xmlns:a16="http://schemas.microsoft.com/office/drawing/2014/main" id="{362FB754-FE1D-87AE-6BCE-081FCD412689}"/>
              </a:ext>
            </a:extLst>
          </p:cNvPr>
          <p:cNvGrpSpPr/>
          <p:nvPr/>
        </p:nvGrpSpPr>
        <p:grpSpPr>
          <a:xfrm>
            <a:off x="4202078" y="2127250"/>
            <a:ext cx="2209138" cy="914400"/>
            <a:chOff x="4202078" y="2051050"/>
            <a:chExt cx="2209138" cy="914400"/>
          </a:xfrm>
        </p:grpSpPr>
        <p:sp>
          <p:nvSpPr>
            <p:cNvPr id="462" name="Rectangle 2">
              <a:extLst>
                <a:ext uri="{FF2B5EF4-FFF2-40B4-BE49-F238E27FC236}">
                  <a16:creationId xmlns:a16="http://schemas.microsoft.com/office/drawing/2014/main" id="{A23C38B3-8CBD-BDC9-1EDB-5BA87D7FE1AE}"/>
                </a:ext>
              </a:extLst>
            </p:cNvPr>
            <p:cNvSpPr>
              <a:spLocks/>
            </p:cNvSpPr>
            <p:nvPr/>
          </p:nvSpPr>
          <p:spPr>
            <a:xfrm>
              <a:off x="4202078" y="2051050"/>
              <a:ext cx="2209138" cy="914400"/>
            </a:xfrm>
            <a:prstGeom prst="rect">
              <a:avLst/>
            </a:prstGeom>
            <a:solidFill>
              <a:srgbClr val="C8E6E6"/>
            </a:solidFill>
            <a:ln w="19050">
              <a:noFill/>
              <a:miter lim="800000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ctr"/>
              <a:r>
                <a:rPr lang="de-AT" sz="1600" b="1">
                  <a:solidFill>
                    <a:schemeClr val="bg1"/>
                  </a:solidFill>
                </a:rPr>
                <a:t>Azure</a:t>
              </a:r>
            </a:p>
          </p:txBody>
        </p:sp>
        <p:sp>
          <p:nvSpPr>
            <p:cNvPr id="463" name="TextBox 35">
              <a:extLst>
                <a:ext uri="{FF2B5EF4-FFF2-40B4-BE49-F238E27FC236}">
                  <a16:creationId xmlns:a16="http://schemas.microsoft.com/office/drawing/2014/main" id="{345AEE5D-C281-35BC-194C-A7D2160DEFB0}"/>
                </a:ext>
              </a:extLst>
            </p:cNvPr>
            <p:cNvSpPr txBox="1">
              <a:spLocks/>
            </p:cNvSpPr>
            <p:nvPr/>
          </p:nvSpPr>
          <p:spPr>
            <a:xfrm>
              <a:off x="4794250" y="2440422"/>
              <a:ext cx="150495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de-AT" sz="1000" b="1">
                  <a:solidFill>
                    <a:schemeClr val="accent3"/>
                  </a:solidFill>
                </a:rPr>
                <a:t>DICOM Hub (SHS </a:t>
              </a:r>
              <a:r>
                <a:rPr lang="de-AT" sz="1000" b="1" err="1">
                  <a:solidFill>
                    <a:schemeClr val="accent3"/>
                  </a:solidFill>
                </a:rPr>
                <a:t>tp</a:t>
              </a:r>
              <a:r>
                <a:rPr lang="de-AT" sz="1000" b="1">
                  <a:solidFill>
                    <a:schemeClr val="accent3"/>
                  </a:solidFill>
                </a:rPr>
                <a:t> Images)</a:t>
              </a:r>
            </a:p>
            <a:p>
              <a:pPr algn="l"/>
              <a:r>
                <a:rPr lang="de-AT" sz="1000" err="1">
                  <a:solidFill>
                    <a:schemeClr val="accent3"/>
                  </a:solidFill>
                </a:rPr>
                <a:t>Minimized</a:t>
              </a:r>
              <a:r>
                <a:rPr lang="de-AT" sz="1000">
                  <a:solidFill>
                    <a:schemeClr val="accent3"/>
                  </a:solidFill>
                </a:rPr>
                <a:t> DICOM Images</a:t>
              </a:r>
            </a:p>
          </p:txBody>
        </p:sp>
        <p:sp>
          <p:nvSpPr>
            <p:cNvPr id="464" name="Freeform 29">
              <a:extLst>
                <a:ext uri="{FF2B5EF4-FFF2-40B4-BE49-F238E27FC236}">
                  <a16:creationId xmlns:a16="http://schemas.microsoft.com/office/drawing/2014/main" id="{C56574DE-D8F4-7CCD-9B81-27A16DB40C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67613" y="2453684"/>
              <a:ext cx="322732" cy="355508"/>
            </a:xfrm>
            <a:custGeom>
              <a:avLst/>
              <a:gdLst>
                <a:gd name="T0" fmla="*/ 183 w 333"/>
                <a:gd name="T1" fmla="*/ 334 h 367"/>
                <a:gd name="T2" fmla="*/ 333 w 333"/>
                <a:gd name="T3" fmla="*/ 334 h 367"/>
                <a:gd name="T4" fmla="*/ 333 w 333"/>
                <a:gd name="T5" fmla="*/ 367 h 367"/>
                <a:gd name="T6" fmla="*/ 0 w 333"/>
                <a:gd name="T7" fmla="*/ 367 h 367"/>
                <a:gd name="T8" fmla="*/ 0 w 333"/>
                <a:gd name="T9" fmla="*/ 334 h 367"/>
                <a:gd name="T10" fmla="*/ 150 w 333"/>
                <a:gd name="T11" fmla="*/ 334 h 367"/>
                <a:gd name="T12" fmla="*/ 150 w 333"/>
                <a:gd name="T13" fmla="*/ 300 h 367"/>
                <a:gd name="T14" fmla="*/ 183 w 333"/>
                <a:gd name="T15" fmla="*/ 300 h 367"/>
                <a:gd name="T16" fmla="*/ 183 w 333"/>
                <a:gd name="T17" fmla="*/ 334 h 367"/>
                <a:gd name="T18" fmla="*/ 17 w 333"/>
                <a:gd name="T19" fmla="*/ 217 h 367"/>
                <a:gd name="T20" fmla="*/ 67 w 333"/>
                <a:gd name="T21" fmla="*/ 217 h 367"/>
                <a:gd name="T22" fmla="*/ 67 w 333"/>
                <a:gd name="T23" fmla="*/ 250 h 367"/>
                <a:gd name="T24" fmla="*/ 17 w 333"/>
                <a:gd name="T25" fmla="*/ 250 h 367"/>
                <a:gd name="T26" fmla="*/ 17 w 333"/>
                <a:gd name="T27" fmla="*/ 217 h 367"/>
                <a:gd name="T28" fmla="*/ 0 w 333"/>
                <a:gd name="T29" fmla="*/ 267 h 367"/>
                <a:gd name="T30" fmla="*/ 333 w 333"/>
                <a:gd name="T31" fmla="*/ 267 h 367"/>
                <a:gd name="T32" fmla="*/ 333 w 333"/>
                <a:gd name="T33" fmla="*/ 200 h 367"/>
                <a:gd name="T34" fmla="*/ 0 w 333"/>
                <a:gd name="T35" fmla="*/ 200 h 367"/>
                <a:gd name="T36" fmla="*/ 0 w 333"/>
                <a:gd name="T37" fmla="*/ 267 h 367"/>
                <a:gd name="T38" fmla="*/ 17 w 333"/>
                <a:gd name="T39" fmla="*/ 117 h 367"/>
                <a:gd name="T40" fmla="*/ 67 w 333"/>
                <a:gd name="T41" fmla="*/ 117 h 367"/>
                <a:gd name="T42" fmla="*/ 67 w 333"/>
                <a:gd name="T43" fmla="*/ 150 h 367"/>
                <a:gd name="T44" fmla="*/ 17 w 333"/>
                <a:gd name="T45" fmla="*/ 150 h 367"/>
                <a:gd name="T46" fmla="*/ 17 w 333"/>
                <a:gd name="T47" fmla="*/ 117 h 367"/>
                <a:gd name="T48" fmla="*/ 0 w 333"/>
                <a:gd name="T49" fmla="*/ 167 h 367"/>
                <a:gd name="T50" fmla="*/ 333 w 333"/>
                <a:gd name="T51" fmla="*/ 167 h 367"/>
                <a:gd name="T52" fmla="*/ 333 w 333"/>
                <a:gd name="T53" fmla="*/ 100 h 367"/>
                <a:gd name="T54" fmla="*/ 0 w 333"/>
                <a:gd name="T55" fmla="*/ 100 h 367"/>
                <a:gd name="T56" fmla="*/ 0 w 333"/>
                <a:gd name="T57" fmla="*/ 167 h 367"/>
                <a:gd name="T58" fmla="*/ 67 w 333"/>
                <a:gd name="T59" fmla="*/ 50 h 367"/>
                <a:gd name="T60" fmla="*/ 17 w 333"/>
                <a:gd name="T61" fmla="*/ 50 h 367"/>
                <a:gd name="T62" fmla="*/ 17 w 333"/>
                <a:gd name="T63" fmla="*/ 17 h 367"/>
                <a:gd name="T64" fmla="*/ 67 w 333"/>
                <a:gd name="T65" fmla="*/ 17 h 367"/>
                <a:gd name="T66" fmla="*/ 67 w 333"/>
                <a:gd name="T67" fmla="*/ 50 h 367"/>
                <a:gd name="T68" fmla="*/ 0 w 333"/>
                <a:gd name="T69" fmla="*/ 67 h 367"/>
                <a:gd name="T70" fmla="*/ 333 w 333"/>
                <a:gd name="T71" fmla="*/ 67 h 367"/>
                <a:gd name="T72" fmla="*/ 333 w 333"/>
                <a:gd name="T73" fmla="*/ 0 h 367"/>
                <a:gd name="T74" fmla="*/ 0 w 333"/>
                <a:gd name="T75" fmla="*/ 0 h 367"/>
                <a:gd name="T76" fmla="*/ 0 w 333"/>
                <a:gd name="T77" fmla="*/ 67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33" h="367">
                  <a:moveTo>
                    <a:pt x="183" y="334"/>
                  </a:moveTo>
                  <a:lnTo>
                    <a:pt x="333" y="334"/>
                  </a:lnTo>
                  <a:lnTo>
                    <a:pt x="333" y="367"/>
                  </a:lnTo>
                  <a:lnTo>
                    <a:pt x="0" y="367"/>
                  </a:lnTo>
                  <a:lnTo>
                    <a:pt x="0" y="334"/>
                  </a:lnTo>
                  <a:lnTo>
                    <a:pt x="150" y="334"/>
                  </a:lnTo>
                  <a:lnTo>
                    <a:pt x="150" y="300"/>
                  </a:lnTo>
                  <a:lnTo>
                    <a:pt x="183" y="300"/>
                  </a:lnTo>
                  <a:lnTo>
                    <a:pt x="183" y="334"/>
                  </a:lnTo>
                  <a:close/>
                  <a:moveTo>
                    <a:pt x="17" y="217"/>
                  </a:moveTo>
                  <a:lnTo>
                    <a:pt x="67" y="217"/>
                  </a:lnTo>
                  <a:lnTo>
                    <a:pt x="67" y="250"/>
                  </a:lnTo>
                  <a:lnTo>
                    <a:pt x="17" y="250"/>
                  </a:lnTo>
                  <a:lnTo>
                    <a:pt x="17" y="217"/>
                  </a:lnTo>
                  <a:close/>
                  <a:moveTo>
                    <a:pt x="0" y="267"/>
                  </a:moveTo>
                  <a:lnTo>
                    <a:pt x="333" y="267"/>
                  </a:lnTo>
                  <a:lnTo>
                    <a:pt x="333" y="200"/>
                  </a:lnTo>
                  <a:lnTo>
                    <a:pt x="0" y="200"/>
                  </a:lnTo>
                  <a:lnTo>
                    <a:pt x="0" y="267"/>
                  </a:lnTo>
                  <a:close/>
                  <a:moveTo>
                    <a:pt x="17" y="117"/>
                  </a:moveTo>
                  <a:lnTo>
                    <a:pt x="67" y="117"/>
                  </a:lnTo>
                  <a:lnTo>
                    <a:pt x="67" y="150"/>
                  </a:lnTo>
                  <a:lnTo>
                    <a:pt x="17" y="150"/>
                  </a:lnTo>
                  <a:lnTo>
                    <a:pt x="17" y="117"/>
                  </a:lnTo>
                  <a:close/>
                  <a:moveTo>
                    <a:pt x="0" y="167"/>
                  </a:moveTo>
                  <a:lnTo>
                    <a:pt x="333" y="167"/>
                  </a:lnTo>
                  <a:lnTo>
                    <a:pt x="333" y="100"/>
                  </a:lnTo>
                  <a:lnTo>
                    <a:pt x="0" y="100"/>
                  </a:lnTo>
                  <a:lnTo>
                    <a:pt x="0" y="167"/>
                  </a:lnTo>
                  <a:close/>
                  <a:moveTo>
                    <a:pt x="67" y="50"/>
                  </a:moveTo>
                  <a:lnTo>
                    <a:pt x="17" y="50"/>
                  </a:lnTo>
                  <a:lnTo>
                    <a:pt x="17" y="17"/>
                  </a:lnTo>
                  <a:lnTo>
                    <a:pt x="67" y="17"/>
                  </a:lnTo>
                  <a:lnTo>
                    <a:pt x="67" y="50"/>
                  </a:lnTo>
                  <a:close/>
                  <a:moveTo>
                    <a:pt x="0" y="67"/>
                  </a:moveTo>
                  <a:lnTo>
                    <a:pt x="333" y="67"/>
                  </a:lnTo>
                  <a:lnTo>
                    <a:pt x="333" y="0"/>
                  </a:lnTo>
                  <a:lnTo>
                    <a:pt x="0" y="0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7" name="Freeform 17">
              <a:extLst>
                <a:ext uri="{FF2B5EF4-FFF2-40B4-BE49-F238E27FC236}">
                  <a16:creationId xmlns:a16="http://schemas.microsoft.com/office/drawing/2014/main" id="{D4974311-BD7B-443B-1658-AC0CDFA6F4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3372" y="2143081"/>
              <a:ext cx="267612" cy="174669"/>
            </a:xfrm>
            <a:custGeom>
              <a:avLst/>
              <a:gdLst>
                <a:gd name="T0" fmla="*/ 367 w 433"/>
                <a:gd name="T1" fmla="*/ 119 h 284"/>
                <a:gd name="T2" fmla="*/ 367 w 433"/>
                <a:gd name="T3" fmla="*/ 117 h 284"/>
                <a:gd name="T4" fmla="*/ 300 w 433"/>
                <a:gd name="T5" fmla="*/ 50 h 284"/>
                <a:gd name="T6" fmla="*/ 270 w 433"/>
                <a:gd name="T7" fmla="*/ 58 h 284"/>
                <a:gd name="T8" fmla="*/ 175 w 433"/>
                <a:gd name="T9" fmla="*/ 0 h 284"/>
                <a:gd name="T10" fmla="*/ 67 w 433"/>
                <a:gd name="T11" fmla="*/ 109 h 284"/>
                <a:gd name="T12" fmla="*/ 67 w 433"/>
                <a:gd name="T13" fmla="*/ 119 h 284"/>
                <a:gd name="T14" fmla="*/ 0 w 433"/>
                <a:gd name="T15" fmla="*/ 200 h 284"/>
                <a:gd name="T16" fmla="*/ 83 w 433"/>
                <a:gd name="T17" fmla="*/ 284 h 284"/>
                <a:gd name="T18" fmla="*/ 350 w 433"/>
                <a:gd name="T19" fmla="*/ 284 h 284"/>
                <a:gd name="T20" fmla="*/ 433 w 433"/>
                <a:gd name="T21" fmla="*/ 200 h 284"/>
                <a:gd name="T22" fmla="*/ 367 w 433"/>
                <a:gd name="T23" fmla="*/ 119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3" h="284">
                  <a:moveTo>
                    <a:pt x="367" y="119"/>
                  </a:moveTo>
                  <a:cubicBezTo>
                    <a:pt x="367" y="118"/>
                    <a:pt x="367" y="118"/>
                    <a:pt x="367" y="117"/>
                  </a:cubicBezTo>
                  <a:cubicBezTo>
                    <a:pt x="367" y="80"/>
                    <a:pt x="337" y="50"/>
                    <a:pt x="300" y="50"/>
                  </a:cubicBezTo>
                  <a:cubicBezTo>
                    <a:pt x="289" y="50"/>
                    <a:pt x="279" y="53"/>
                    <a:pt x="270" y="58"/>
                  </a:cubicBezTo>
                  <a:cubicBezTo>
                    <a:pt x="252" y="23"/>
                    <a:pt x="216" y="0"/>
                    <a:pt x="175" y="0"/>
                  </a:cubicBezTo>
                  <a:cubicBezTo>
                    <a:pt x="115" y="0"/>
                    <a:pt x="67" y="49"/>
                    <a:pt x="67" y="109"/>
                  </a:cubicBezTo>
                  <a:cubicBezTo>
                    <a:pt x="67" y="112"/>
                    <a:pt x="67" y="115"/>
                    <a:pt x="67" y="119"/>
                  </a:cubicBezTo>
                  <a:cubicBezTo>
                    <a:pt x="29" y="126"/>
                    <a:pt x="0" y="160"/>
                    <a:pt x="0" y="200"/>
                  </a:cubicBezTo>
                  <a:cubicBezTo>
                    <a:pt x="0" y="246"/>
                    <a:pt x="37" y="284"/>
                    <a:pt x="83" y="284"/>
                  </a:cubicBezTo>
                  <a:lnTo>
                    <a:pt x="350" y="284"/>
                  </a:lnTo>
                  <a:cubicBezTo>
                    <a:pt x="396" y="284"/>
                    <a:pt x="433" y="246"/>
                    <a:pt x="433" y="200"/>
                  </a:cubicBezTo>
                  <a:cubicBezTo>
                    <a:pt x="433" y="160"/>
                    <a:pt x="405" y="126"/>
                    <a:pt x="367" y="1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17" name="Ellipse 416">
            <a:extLst>
              <a:ext uri="{FF2B5EF4-FFF2-40B4-BE49-F238E27FC236}">
                <a16:creationId xmlns:a16="http://schemas.microsoft.com/office/drawing/2014/main" id="{B72AF4D4-4630-947C-8191-98AED88CF1F5}"/>
              </a:ext>
            </a:extLst>
          </p:cNvPr>
          <p:cNvSpPr>
            <a:spLocks/>
          </p:cNvSpPr>
          <p:nvPr/>
        </p:nvSpPr>
        <p:spPr>
          <a:xfrm>
            <a:off x="5596327" y="4708191"/>
            <a:ext cx="288000" cy="28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69" name="Rechteck 468">
            <a:extLst>
              <a:ext uri="{FF2B5EF4-FFF2-40B4-BE49-F238E27FC236}">
                <a16:creationId xmlns:a16="http://schemas.microsoft.com/office/drawing/2014/main" id="{195C0860-C3BF-68B3-AF84-B6C3B51EF6ED}"/>
              </a:ext>
            </a:extLst>
          </p:cNvPr>
          <p:cNvSpPr/>
          <p:nvPr/>
        </p:nvSpPr>
        <p:spPr>
          <a:xfrm>
            <a:off x="3766933" y="3795743"/>
            <a:ext cx="144780" cy="144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8" name="Freihandform: Form 457">
            <a:extLst>
              <a:ext uri="{FF2B5EF4-FFF2-40B4-BE49-F238E27FC236}">
                <a16:creationId xmlns:a16="http://schemas.microsoft.com/office/drawing/2014/main" id="{36C6CF38-FF01-3D9E-DC18-3CEBAB807AB4}"/>
              </a:ext>
            </a:extLst>
          </p:cNvPr>
          <p:cNvSpPr/>
          <p:nvPr/>
        </p:nvSpPr>
        <p:spPr>
          <a:xfrm rot="10800000" flipH="1">
            <a:off x="3839324" y="2592486"/>
            <a:ext cx="357883" cy="1486061"/>
          </a:xfrm>
          <a:custGeom>
            <a:avLst/>
            <a:gdLst>
              <a:gd name="connsiteX0" fmla="*/ 0 w 219075"/>
              <a:gd name="connsiteY0" fmla="*/ 0 h 180975"/>
              <a:gd name="connsiteX1" fmla="*/ 0 w 219075"/>
              <a:gd name="connsiteY1" fmla="*/ 180975 h 180975"/>
              <a:gd name="connsiteX2" fmla="*/ 219075 w 219075"/>
              <a:gd name="connsiteY2" fmla="*/ 180975 h 180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9075" h="180975">
                <a:moveTo>
                  <a:pt x="0" y="0"/>
                </a:moveTo>
                <a:lnTo>
                  <a:pt x="0" y="180975"/>
                </a:lnTo>
                <a:lnTo>
                  <a:pt x="219075" y="180975"/>
                </a:lnTo>
              </a:path>
            </a:pathLst>
          </a:custGeom>
          <a:noFill/>
          <a:ln w="19050">
            <a:solidFill>
              <a:schemeClr val="accent5"/>
            </a:solidFill>
            <a:miter lim="800000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5" name="Ellipse 414">
            <a:extLst>
              <a:ext uri="{FF2B5EF4-FFF2-40B4-BE49-F238E27FC236}">
                <a16:creationId xmlns:a16="http://schemas.microsoft.com/office/drawing/2014/main" id="{BB9B9920-E37B-288A-FF8E-79D448200E8C}"/>
              </a:ext>
            </a:extLst>
          </p:cNvPr>
          <p:cNvSpPr>
            <a:spLocks/>
          </p:cNvSpPr>
          <p:nvPr/>
        </p:nvSpPr>
        <p:spPr>
          <a:xfrm>
            <a:off x="3695323" y="3370191"/>
            <a:ext cx="288000" cy="28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70" name="Rechteck 469">
            <a:extLst>
              <a:ext uri="{FF2B5EF4-FFF2-40B4-BE49-F238E27FC236}">
                <a16:creationId xmlns:a16="http://schemas.microsoft.com/office/drawing/2014/main" id="{9666A351-5D57-0728-E938-B31ACBFC2163}"/>
              </a:ext>
            </a:extLst>
          </p:cNvPr>
          <p:cNvSpPr/>
          <p:nvPr/>
        </p:nvSpPr>
        <p:spPr>
          <a:xfrm>
            <a:off x="6693324" y="3795743"/>
            <a:ext cx="144780" cy="144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1" name="Rechteck 470">
            <a:extLst>
              <a:ext uri="{FF2B5EF4-FFF2-40B4-BE49-F238E27FC236}">
                <a16:creationId xmlns:a16="http://schemas.microsoft.com/office/drawing/2014/main" id="{FCE7828C-7ECB-7B1D-394A-14F90A1ED424}"/>
              </a:ext>
            </a:extLst>
          </p:cNvPr>
          <p:cNvSpPr/>
          <p:nvPr/>
        </p:nvSpPr>
        <p:spPr>
          <a:xfrm>
            <a:off x="7385896" y="3795743"/>
            <a:ext cx="144780" cy="144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6" name="Freihandform: Form 455">
            <a:extLst>
              <a:ext uri="{FF2B5EF4-FFF2-40B4-BE49-F238E27FC236}">
                <a16:creationId xmlns:a16="http://schemas.microsoft.com/office/drawing/2014/main" id="{0EBB7943-B38E-2321-9DA1-CC1A60BDAE2C}"/>
              </a:ext>
            </a:extLst>
          </p:cNvPr>
          <p:cNvSpPr/>
          <p:nvPr/>
        </p:nvSpPr>
        <p:spPr>
          <a:xfrm rot="10800000" flipH="1">
            <a:off x="7454900" y="2592486"/>
            <a:ext cx="1759849" cy="2017614"/>
          </a:xfrm>
          <a:custGeom>
            <a:avLst/>
            <a:gdLst>
              <a:gd name="connsiteX0" fmla="*/ 0 w 219075"/>
              <a:gd name="connsiteY0" fmla="*/ 0 h 180975"/>
              <a:gd name="connsiteX1" fmla="*/ 0 w 219075"/>
              <a:gd name="connsiteY1" fmla="*/ 180975 h 180975"/>
              <a:gd name="connsiteX2" fmla="*/ 219075 w 219075"/>
              <a:gd name="connsiteY2" fmla="*/ 180975 h 180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9075" h="180975">
                <a:moveTo>
                  <a:pt x="0" y="0"/>
                </a:moveTo>
                <a:lnTo>
                  <a:pt x="0" y="180975"/>
                </a:lnTo>
                <a:lnTo>
                  <a:pt x="219075" y="180975"/>
                </a:lnTo>
              </a:path>
            </a:pathLst>
          </a:custGeom>
          <a:noFill/>
          <a:ln w="19050">
            <a:solidFill>
              <a:schemeClr val="accent5"/>
            </a:solidFill>
            <a:miter lim="800000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7" name="Freihandform: Form 456">
            <a:extLst>
              <a:ext uri="{FF2B5EF4-FFF2-40B4-BE49-F238E27FC236}">
                <a16:creationId xmlns:a16="http://schemas.microsoft.com/office/drawing/2014/main" id="{EAFF8777-2226-B6A2-0D83-94664C3E2638}"/>
              </a:ext>
            </a:extLst>
          </p:cNvPr>
          <p:cNvSpPr/>
          <p:nvPr/>
        </p:nvSpPr>
        <p:spPr>
          <a:xfrm rot="10800000">
            <a:off x="6411217" y="2592486"/>
            <a:ext cx="357883" cy="2017614"/>
          </a:xfrm>
          <a:custGeom>
            <a:avLst/>
            <a:gdLst>
              <a:gd name="connsiteX0" fmla="*/ 0 w 219075"/>
              <a:gd name="connsiteY0" fmla="*/ 0 h 180975"/>
              <a:gd name="connsiteX1" fmla="*/ 0 w 219075"/>
              <a:gd name="connsiteY1" fmla="*/ 180975 h 180975"/>
              <a:gd name="connsiteX2" fmla="*/ 219075 w 219075"/>
              <a:gd name="connsiteY2" fmla="*/ 180975 h 180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9075" h="180975">
                <a:moveTo>
                  <a:pt x="0" y="0"/>
                </a:moveTo>
                <a:lnTo>
                  <a:pt x="0" y="180975"/>
                </a:lnTo>
                <a:lnTo>
                  <a:pt x="219075" y="180975"/>
                </a:lnTo>
              </a:path>
            </a:pathLst>
          </a:custGeom>
          <a:noFill/>
          <a:ln w="19050">
            <a:solidFill>
              <a:schemeClr val="accent5"/>
            </a:solidFill>
            <a:miter lim="800000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6" name="Ellipse 415">
            <a:extLst>
              <a:ext uri="{FF2B5EF4-FFF2-40B4-BE49-F238E27FC236}">
                <a16:creationId xmlns:a16="http://schemas.microsoft.com/office/drawing/2014/main" id="{65911D70-75A9-8B06-B57C-E7DEAB379606}"/>
              </a:ext>
            </a:extLst>
          </p:cNvPr>
          <p:cNvSpPr>
            <a:spLocks/>
          </p:cNvSpPr>
          <p:nvPr/>
        </p:nvSpPr>
        <p:spPr>
          <a:xfrm>
            <a:off x="6621714" y="3370191"/>
            <a:ext cx="288000" cy="28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18" name="Ellipse 417">
            <a:extLst>
              <a:ext uri="{FF2B5EF4-FFF2-40B4-BE49-F238E27FC236}">
                <a16:creationId xmlns:a16="http://schemas.microsoft.com/office/drawing/2014/main" id="{584BBC41-7682-C7A8-C78F-FAB844375FA7}"/>
              </a:ext>
            </a:extLst>
          </p:cNvPr>
          <p:cNvSpPr>
            <a:spLocks/>
          </p:cNvSpPr>
          <p:nvPr/>
        </p:nvSpPr>
        <p:spPr>
          <a:xfrm>
            <a:off x="7302532" y="3370191"/>
            <a:ext cx="288000" cy="28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472" name="Rechteck 471">
            <a:extLst>
              <a:ext uri="{FF2B5EF4-FFF2-40B4-BE49-F238E27FC236}">
                <a16:creationId xmlns:a16="http://schemas.microsoft.com/office/drawing/2014/main" id="{99A54085-8049-50EC-F154-427EAA27A1FC}"/>
              </a:ext>
            </a:extLst>
          </p:cNvPr>
          <p:cNvSpPr/>
          <p:nvPr/>
        </p:nvSpPr>
        <p:spPr>
          <a:xfrm>
            <a:off x="9487922" y="3840955"/>
            <a:ext cx="144780" cy="99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54" name="Gerader Verbinder 453">
            <a:extLst>
              <a:ext uri="{FF2B5EF4-FFF2-40B4-BE49-F238E27FC236}">
                <a16:creationId xmlns:a16="http://schemas.microsoft.com/office/drawing/2014/main" id="{888230EA-F80C-7754-2A36-81A720C9F12A}"/>
              </a:ext>
            </a:extLst>
          </p:cNvPr>
          <p:cNvCxnSpPr>
            <a:cxnSpLocks/>
          </p:cNvCxnSpPr>
          <p:nvPr/>
        </p:nvCxnSpPr>
        <p:spPr>
          <a:xfrm flipV="1">
            <a:off x="9560312" y="3530547"/>
            <a:ext cx="0" cy="1079553"/>
          </a:xfrm>
          <a:prstGeom prst="line">
            <a:avLst/>
          </a:prstGeom>
          <a:noFill/>
          <a:ln w="19050">
            <a:solidFill>
              <a:schemeClr val="accent5"/>
            </a:solidFill>
            <a:miter lim="800000"/>
            <a:headEnd type="none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21" name="Ellipse 420">
            <a:extLst>
              <a:ext uri="{FF2B5EF4-FFF2-40B4-BE49-F238E27FC236}">
                <a16:creationId xmlns:a16="http://schemas.microsoft.com/office/drawing/2014/main" id="{E5FED302-C913-7780-E737-F223BD841502}"/>
              </a:ext>
            </a:extLst>
          </p:cNvPr>
          <p:cNvSpPr>
            <a:spLocks/>
          </p:cNvSpPr>
          <p:nvPr/>
        </p:nvSpPr>
        <p:spPr>
          <a:xfrm>
            <a:off x="9416312" y="4175731"/>
            <a:ext cx="288000" cy="28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473" name="Rechteck 472">
            <a:extLst>
              <a:ext uri="{FF2B5EF4-FFF2-40B4-BE49-F238E27FC236}">
                <a16:creationId xmlns:a16="http://schemas.microsoft.com/office/drawing/2014/main" id="{55B3B329-1806-8B0A-E15A-8C3285743AD3}"/>
              </a:ext>
            </a:extLst>
          </p:cNvPr>
          <p:cNvSpPr/>
          <p:nvPr/>
        </p:nvSpPr>
        <p:spPr>
          <a:xfrm>
            <a:off x="1889604" y="4774650"/>
            <a:ext cx="144780" cy="144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7" name="Freihandform: Form 436">
            <a:extLst>
              <a:ext uri="{FF2B5EF4-FFF2-40B4-BE49-F238E27FC236}">
                <a16:creationId xmlns:a16="http://schemas.microsoft.com/office/drawing/2014/main" id="{83C7E9F5-AA75-7AEB-097B-3A1A84C44F54}"/>
              </a:ext>
            </a:extLst>
          </p:cNvPr>
          <p:cNvSpPr/>
          <p:nvPr/>
        </p:nvSpPr>
        <p:spPr>
          <a:xfrm>
            <a:off x="828675" y="4848226"/>
            <a:ext cx="1264212" cy="136708"/>
          </a:xfrm>
          <a:custGeom>
            <a:avLst/>
            <a:gdLst>
              <a:gd name="connsiteX0" fmla="*/ 0 w 209550"/>
              <a:gd name="connsiteY0" fmla="*/ 261937 h 261937"/>
              <a:gd name="connsiteX1" fmla="*/ 0 w 209550"/>
              <a:gd name="connsiteY1" fmla="*/ 0 h 261937"/>
              <a:gd name="connsiteX2" fmla="*/ 209550 w 209550"/>
              <a:gd name="connsiteY2" fmla="*/ 0 h 26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9550" h="261937">
                <a:moveTo>
                  <a:pt x="0" y="261937"/>
                </a:moveTo>
                <a:lnTo>
                  <a:pt x="0" y="0"/>
                </a:lnTo>
                <a:lnTo>
                  <a:pt x="209550" y="0"/>
                </a:lnTo>
              </a:path>
            </a:pathLst>
          </a:custGeom>
          <a:noFill/>
          <a:ln w="19050">
            <a:solidFill>
              <a:schemeClr val="accent5"/>
            </a:solidFill>
            <a:miter lim="800000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Ellipse 51">
            <a:extLst>
              <a:ext uri="{FF2B5EF4-FFF2-40B4-BE49-F238E27FC236}">
                <a16:creationId xmlns:a16="http://schemas.microsoft.com/office/drawing/2014/main" id="{0C17646D-8EB0-380E-D520-D837E5E5B2A3}"/>
              </a:ext>
            </a:extLst>
          </p:cNvPr>
          <p:cNvSpPr>
            <a:spLocks/>
          </p:cNvSpPr>
          <p:nvPr/>
        </p:nvSpPr>
        <p:spPr>
          <a:xfrm>
            <a:off x="686433" y="4957376"/>
            <a:ext cx="288000" cy="28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" name="TextBox 5">
            <a:extLst>
              <a:ext uri="{FF2B5EF4-FFF2-40B4-BE49-F238E27FC236}">
                <a16:creationId xmlns:a16="http://schemas.microsoft.com/office/drawing/2014/main" id="{F76EE993-9D08-7C30-1157-31C774FB480D}"/>
              </a:ext>
            </a:extLst>
          </p:cNvPr>
          <p:cNvSpPr txBox="1"/>
          <p:nvPr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18</a:t>
            </a:fld>
            <a:endParaRPr lang="de-DE" sz="1000" b="1" i="0" u="none" kern="1200" spc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8" name="Restricted">
            <a:extLst>
              <a:ext uri="{FF2B5EF4-FFF2-40B4-BE49-F238E27FC236}">
                <a16:creationId xmlns:a16="http://schemas.microsoft.com/office/drawing/2014/main" id="{1ED39F9B-10FB-698D-A08E-4331E31CE970}"/>
              </a:ext>
            </a:extLst>
          </p:cNvPr>
          <p:cNvSpPr txBox="1"/>
          <p:nvPr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de-DE" sz="1000">
                <a:solidFill>
                  <a:schemeClr val="tx1"/>
                </a:solidFill>
              </a:rPr>
              <a:t>Frei verwendbar © Siemens Healthineers, 2023</a:t>
            </a:r>
          </a:p>
        </p:txBody>
      </p:sp>
    </p:spTree>
    <p:extLst>
      <p:ext uri="{BB962C8B-B14F-4D97-AF65-F5344CB8AC3E}">
        <p14:creationId xmlns:p14="http://schemas.microsoft.com/office/powerpoint/2010/main" val="24995570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4431FE4-7F0D-EC2E-3B14-C5CFAF847A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1613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4431FE4-7F0D-EC2E-3B14-C5CFAF847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EF72CB8C-A3D4-AAEF-09A4-148BB10C6170}"/>
              </a:ext>
            </a:extLst>
          </p:cNvPr>
          <p:cNvSpPr/>
          <p:nvPr/>
        </p:nvSpPr>
        <p:spPr>
          <a:xfrm>
            <a:off x="9396602" y="6489700"/>
            <a:ext cx="1017398" cy="368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64CD3224-9117-6CC5-543A-F13A7CF158DB}"/>
              </a:ext>
            </a:extLst>
          </p:cNvPr>
          <p:cNvSpPr>
            <a:spLocks/>
          </p:cNvSpPr>
          <p:nvPr/>
        </p:nvSpPr>
        <p:spPr>
          <a:xfrm rot="10800000">
            <a:off x="8999007" y="1619250"/>
            <a:ext cx="3170768" cy="5238750"/>
          </a:xfrm>
          <a:custGeom>
            <a:avLst/>
            <a:gdLst>
              <a:gd name="connsiteX0" fmla="*/ 541336 w 3170768"/>
              <a:gd name="connsiteY0" fmla="*/ 5238750 h 5238750"/>
              <a:gd name="connsiteX1" fmla="*/ 0 w 3170768"/>
              <a:gd name="connsiteY1" fmla="*/ 3914362 h 5238750"/>
              <a:gd name="connsiteX2" fmla="*/ 0 w 3170768"/>
              <a:gd name="connsiteY2" fmla="*/ 3129699 h 5238750"/>
              <a:gd name="connsiteX3" fmla="*/ 0 w 3170768"/>
              <a:gd name="connsiteY3" fmla="*/ 202195 h 5238750"/>
              <a:gd name="connsiteX4" fmla="*/ 0 w 3170768"/>
              <a:gd name="connsiteY4" fmla="*/ 0 h 5238750"/>
              <a:gd name="connsiteX5" fmla="*/ 1891521 w 3170768"/>
              <a:gd name="connsiteY5" fmla="*/ 0 h 5238750"/>
              <a:gd name="connsiteX6" fmla="*/ 3170768 w 3170768"/>
              <a:gd name="connsiteY6" fmla="*/ 3129699 h 5238750"/>
              <a:gd name="connsiteX7" fmla="*/ 541336 w 3170768"/>
              <a:gd name="connsiteY7" fmla="*/ 3129699 h 5238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70768" h="5238750">
                <a:moveTo>
                  <a:pt x="541336" y="5238750"/>
                </a:moveTo>
                <a:lnTo>
                  <a:pt x="0" y="3914362"/>
                </a:lnTo>
                <a:lnTo>
                  <a:pt x="0" y="3129699"/>
                </a:lnTo>
                <a:lnTo>
                  <a:pt x="0" y="202195"/>
                </a:lnTo>
                <a:lnTo>
                  <a:pt x="0" y="0"/>
                </a:lnTo>
                <a:lnTo>
                  <a:pt x="1891521" y="0"/>
                </a:lnTo>
                <a:lnTo>
                  <a:pt x="3170768" y="3129699"/>
                </a:lnTo>
                <a:lnTo>
                  <a:pt x="541336" y="3129699"/>
                </a:lnTo>
                <a:close/>
              </a:path>
            </a:pathLst>
          </a:custGeom>
          <a:pattFill prst="wdDnDiag">
            <a:fgClr>
              <a:srgbClr val="ECECEC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DE674B1-ABA4-E555-C67A-598AE433B7E8}"/>
              </a:ext>
            </a:extLst>
          </p:cNvPr>
          <p:cNvSpPr>
            <a:spLocks/>
          </p:cNvSpPr>
          <p:nvPr/>
        </p:nvSpPr>
        <p:spPr>
          <a:xfrm>
            <a:off x="540000" y="3863395"/>
            <a:ext cx="11088438" cy="2331029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8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BBE71C9-1048-6A56-4456-7A1541C52599}"/>
              </a:ext>
            </a:extLst>
          </p:cNvPr>
          <p:cNvSpPr>
            <a:spLocks/>
          </p:cNvSpPr>
          <p:nvPr/>
        </p:nvSpPr>
        <p:spPr>
          <a:xfrm>
            <a:off x="8999007" y="1619250"/>
            <a:ext cx="2629432" cy="2109051"/>
          </a:xfrm>
          <a:prstGeom prst="rect">
            <a:avLst/>
          </a:prstGeom>
          <a:solidFill>
            <a:srgbClr val="EC6602"/>
          </a:solidFill>
          <a:ln>
            <a:noFill/>
          </a:ln>
          <a:effectLst>
            <a:outerShdw blurRad="50800" dist="38100" dir="27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2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FE264C-AB67-D64D-E96D-161E8E24C4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AT"/>
              <a:t>teamplay </a:t>
            </a:r>
            <a:r>
              <a:rPr lang="de-AT" err="1"/>
              <a:t>images</a:t>
            </a:r>
            <a:r>
              <a:rPr lang="de-AT"/>
              <a:t> Integration – DICOM Studien abrufen</a:t>
            </a:r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4B195B-5CEE-8D68-ED88-88F87B72BC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5635C34-6773-1729-08E4-A46D7A72E7C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pt-BR"/>
              <a:t>A91GER-H-001672-E4</a:t>
            </a:r>
            <a:endParaRPr lang="de-DE"/>
          </a:p>
        </p:txBody>
      </p:sp>
      <p:sp>
        <p:nvSpPr>
          <p:cNvPr id="26" name="Rectangle 2">
            <a:extLst>
              <a:ext uri="{FF2B5EF4-FFF2-40B4-BE49-F238E27FC236}">
                <a16:creationId xmlns:a16="http://schemas.microsoft.com/office/drawing/2014/main" id="{1765272A-3A91-1441-B204-DF3DD4B1CD3F}"/>
              </a:ext>
            </a:extLst>
          </p:cNvPr>
          <p:cNvSpPr>
            <a:spLocks/>
          </p:cNvSpPr>
          <p:nvPr/>
        </p:nvSpPr>
        <p:spPr>
          <a:xfrm>
            <a:off x="1962936" y="4069695"/>
            <a:ext cx="4448280" cy="1918428"/>
          </a:xfrm>
          <a:prstGeom prst="rect">
            <a:avLst/>
          </a:prstGeom>
          <a:ln w="19050">
            <a:miter lim="800000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08000" tIns="72000" rIns="108000" bIns="72000" rtlCol="0" anchor="t">
            <a:noAutofit/>
          </a:bodyPr>
          <a:lstStyle/>
          <a:p>
            <a:r>
              <a:rPr lang="de-AT" sz="1200" b="1" err="1"/>
              <a:t>teamplay</a:t>
            </a:r>
            <a:r>
              <a:rPr lang="de-AT" sz="1200" b="1"/>
              <a:t> digital </a:t>
            </a:r>
            <a:r>
              <a:rPr lang="de-AT" sz="1200" b="1" err="1"/>
              <a:t>health</a:t>
            </a:r>
            <a:r>
              <a:rPr lang="de-AT" sz="1200" b="1"/>
              <a:t> </a:t>
            </a:r>
            <a:r>
              <a:rPr lang="de-AT" sz="1200" b="1" err="1"/>
              <a:t>platform</a:t>
            </a:r>
            <a:r>
              <a:rPr lang="de-AT" sz="1200" b="1"/>
              <a:t> Konnektor</a:t>
            </a:r>
          </a:p>
        </p:txBody>
      </p:sp>
      <p:sp>
        <p:nvSpPr>
          <p:cNvPr id="29" name="Rectangle 11">
            <a:extLst>
              <a:ext uri="{FF2B5EF4-FFF2-40B4-BE49-F238E27FC236}">
                <a16:creationId xmlns:a16="http://schemas.microsoft.com/office/drawing/2014/main" id="{9E12AD61-05C6-21D8-A9AD-5CC1D1544829}"/>
              </a:ext>
            </a:extLst>
          </p:cNvPr>
          <p:cNvSpPr>
            <a:spLocks/>
          </p:cNvSpPr>
          <p:nvPr/>
        </p:nvSpPr>
        <p:spPr>
          <a:xfrm>
            <a:off x="9220200" y="2340444"/>
            <a:ext cx="2200276" cy="517239"/>
          </a:xfrm>
          <a:prstGeom prst="roundRect">
            <a:avLst>
              <a:gd name="adj" fmla="val 50000"/>
            </a:avLst>
          </a:prstGeom>
          <a:solidFill>
            <a:srgbClr val="87D2D2"/>
          </a:solidFill>
          <a:ln w="19050">
            <a:solidFill>
              <a:srgbClr val="009999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tIns="72000" rtlCol="0" anchor="ctr"/>
          <a:lstStyle/>
          <a:p>
            <a:pPr algn="ctr">
              <a:lnSpc>
                <a:spcPct val="80000"/>
              </a:lnSpc>
            </a:pPr>
            <a:r>
              <a:rPr lang="de-AT" sz="1000" i="1" err="1">
                <a:solidFill>
                  <a:schemeClr val="accent3"/>
                </a:solidFill>
              </a:rPr>
              <a:t>eHealth</a:t>
            </a:r>
            <a:endParaRPr lang="de-AT" sz="1000" i="1">
              <a:solidFill>
                <a:schemeClr val="accent3"/>
              </a:solidFill>
            </a:endParaRPr>
          </a:p>
          <a:p>
            <a:pPr algn="ctr">
              <a:lnSpc>
                <a:spcPct val="80000"/>
              </a:lnSpc>
            </a:pPr>
            <a:r>
              <a:rPr lang="de-AT" b="1">
                <a:solidFill>
                  <a:schemeClr val="bg1"/>
                </a:solidFill>
              </a:rPr>
              <a:t>MPI</a:t>
            </a:r>
          </a:p>
        </p:txBody>
      </p:sp>
      <p:sp>
        <p:nvSpPr>
          <p:cNvPr id="30" name="Rectangle 12">
            <a:extLst>
              <a:ext uri="{FF2B5EF4-FFF2-40B4-BE49-F238E27FC236}">
                <a16:creationId xmlns:a16="http://schemas.microsoft.com/office/drawing/2014/main" id="{E1DC9DE5-4FF9-5A8F-35B2-7766AAD45E99}"/>
              </a:ext>
            </a:extLst>
          </p:cNvPr>
          <p:cNvSpPr>
            <a:spLocks/>
          </p:cNvSpPr>
          <p:nvPr/>
        </p:nvSpPr>
        <p:spPr>
          <a:xfrm>
            <a:off x="9220200" y="3013308"/>
            <a:ext cx="2200276" cy="517239"/>
          </a:xfrm>
          <a:prstGeom prst="roundRect">
            <a:avLst>
              <a:gd name="adj" fmla="val 50000"/>
            </a:avLst>
          </a:prstGeom>
          <a:solidFill>
            <a:srgbClr val="87D2D2"/>
          </a:solidFill>
          <a:ln w="19050">
            <a:solidFill>
              <a:srgbClr val="009999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tIns="72000" rtlCol="0" anchor="ctr"/>
          <a:lstStyle/>
          <a:p>
            <a:pPr algn="ctr">
              <a:lnSpc>
                <a:spcPct val="80000"/>
              </a:lnSpc>
            </a:pPr>
            <a:r>
              <a:rPr lang="de-AT" sz="1000" i="1" err="1">
                <a:solidFill>
                  <a:schemeClr val="accent3"/>
                </a:solidFill>
              </a:rPr>
              <a:t>eHealth</a:t>
            </a:r>
            <a:endParaRPr lang="de-AT" sz="1000" i="1">
              <a:solidFill>
                <a:schemeClr val="accent3"/>
              </a:solidFill>
            </a:endParaRPr>
          </a:p>
          <a:p>
            <a:pPr algn="ctr">
              <a:lnSpc>
                <a:spcPct val="80000"/>
              </a:lnSpc>
            </a:pPr>
            <a:r>
              <a:rPr lang="de-AT" b="1">
                <a:solidFill>
                  <a:schemeClr val="bg1"/>
                </a:solidFill>
              </a:rPr>
              <a:t>Registry</a:t>
            </a:r>
          </a:p>
        </p:txBody>
      </p:sp>
      <p:sp>
        <p:nvSpPr>
          <p:cNvPr id="31" name="Rectangle 13">
            <a:extLst>
              <a:ext uri="{FF2B5EF4-FFF2-40B4-BE49-F238E27FC236}">
                <a16:creationId xmlns:a16="http://schemas.microsoft.com/office/drawing/2014/main" id="{5759FB33-181A-5897-0AD9-FF58DFE8B7E2}"/>
              </a:ext>
            </a:extLst>
          </p:cNvPr>
          <p:cNvSpPr>
            <a:spLocks/>
          </p:cNvSpPr>
          <p:nvPr/>
        </p:nvSpPr>
        <p:spPr>
          <a:xfrm>
            <a:off x="2092887" y="4610700"/>
            <a:ext cx="1688897" cy="482982"/>
          </a:xfrm>
          <a:prstGeom prst="roundRect">
            <a:avLst>
              <a:gd name="adj" fmla="val 50000"/>
            </a:avLst>
          </a:prstGeom>
          <a:solidFill>
            <a:srgbClr val="87D2D2"/>
          </a:solidFill>
          <a:ln w="19050">
            <a:solidFill>
              <a:srgbClr val="009999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tIns="72000" rtlCol="0" anchor="ctr"/>
          <a:lstStyle/>
          <a:p>
            <a:pPr algn="ctr">
              <a:lnSpc>
                <a:spcPct val="80000"/>
              </a:lnSpc>
            </a:pPr>
            <a:r>
              <a:rPr lang="de-AT" sz="1000" i="1" err="1">
                <a:solidFill>
                  <a:schemeClr val="accent3"/>
                </a:solidFill>
              </a:rPr>
              <a:t>eHealth</a:t>
            </a:r>
            <a:endParaRPr lang="de-AT" sz="1000" i="1">
              <a:solidFill>
                <a:schemeClr val="accent3"/>
              </a:solidFill>
            </a:endParaRPr>
          </a:p>
          <a:p>
            <a:pPr algn="ctr">
              <a:lnSpc>
                <a:spcPct val="80000"/>
              </a:lnSpc>
            </a:pPr>
            <a:r>
              <a:rPr lang="de-AT" sz="1600" b="1">
                <a:solidFill>
                  <a:schemeClr val="bg1"/>
                </a:solidFill>
              </a:rPr>
              <a:t>TPI </a:t>
            </a:r>
            <a:r>
              <a:rPr lang="de-AT" sz="1600" b="1" err="1">
                <a:solidFill>
                  <a:schemeClr val="bg1"/>
                </a:solidFill>
              </a:rPr>
              <a:t>Facade</a:t>
            </a:r>
            <a:endParaRPr lang="de-AT" sz="1600" b="1">
              <a:solidFill>
                <a:schemeClr val="bg1"/>
              </a:solidFill>
            </a:endParaRPr>
          </a:p>
        </p:txBody>
      </p:sp>
      <p:pic>
        <p:nvPicPr>
          <p:cNvPr id="50" name="Grafik 49">
            <a:extLst>
              <a:ext uri="{FF2B5EF4-FFF2-40B4-BE49-F238E27FC236}">
                <a16:creationId xmlns:a16="http://schemas.microsoft.com/office/drawing/2014/main" id="{9851D3E0-FD4E-F6C9-4D05-31DFF871FD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4376" y="4002212"/>
            <a:ext cx="614200" cy="408333"/>
          </a:xfrm>
          <a:prstGeom prst="rect">
            <a:avLst/>
          </a:prstGeom>
        </p:spPr>
      </p:pic>
      <p:sp>
        <p:nvSpPr>
          <p:cNvPr id="51" name="TextBox 22">
            <a:extLst>
              <a:ext uri="{FF2B5EF4-FFF2-40B4-BE49-F238E27FC236}">
                <a16:creationId xmlns:a16="http://schemas.microsoft.com/office/drawing/2014/main" id="{92FFF94E-0129-2FA5-61C4-CA82330A6CF1}"/>
              </a:ext>
            </a:extLst>
          </p:cNvPr>
          <p:cNvSpPr txBox="1">
            <a:spLocks/>
          </p:cNvSpPr>
          <p:nvPr/>
        </p:nvSpPr>
        <p:spPr>
          <a:xfrm>
            <a:off x="2997201" y="3329525"/>
            <a:ext cx="622682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AT" sz="1200" err="1"/>
              <a:t>Retrieve</a:t>
            </a:r>
            <a:br>
              <a:rPr lang="de-AT" sz="1200"/>
            </a:br>
            <a:r>
              <a:rPr lang="de-AT" sz="1200"/>
              <a:t>Image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04BB32E9-52CD-D682-B0B7-EFE8E8AB1525}"/>
              </a:ext>
            </a:extLst>
          </p:cNvPr>
          <p:cNvGrpSpPr>
            <a:grpSpLocks/>
          </p:cNvGrpSpPr>
          <p:nvPr/>
        </p:nvGrpSpPr>
        <p:grpSpPr>
          <a:xfrm>
            <a:off x="9166452" y="1739582"/>
            <a:ext cx="368076" cy="367260"/>
            <a:chOff x="2390245" y="4477500"/>
            <a:chExt cx="477308" cy="476250"/>
          </a:xfrm>
          <a:solidFill>
            <a:schemeClr val="bg1"/>
          </a:solidFill>
        </p:grpSpPr>
        <p:sp>
          <p:nvSpPr>
            <p:cNvPr id="80" name="Freeform 13">
              <a:extLst>
                <a:ext uri="{FF2B5EF4-FFF2-40B4-BE49-F238E27FC236}">
                  <a16:creationId xmlns:a16="http://schemas.microsoft.com/office/drawing/2014/main" id="{4023AA35-0DBD-4E4A-D26F-0A21078CD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0245" y="4886017"/>
              <a:ext cx="477308" cy="67733"/>
            </a:xfrm>
            <a:custGeom>
              <a:avLst/>
              <a:gdLst>
                <a:gd name="T0" fmla="*/ 0 w 903"/>
                <a:gd name="T1" fmla="*/ 0 h 128"/>
                <a:gd name="T2" fmla="*/ 0 w 903"/>
                <a:gd name="T3" fmla="*/ 63 h 128"/>
                <a:gd name="T4" fmla="*/ 0 w 903"/>
                <a:gd name="T5" fmla="*/ 63 h 128"/>
                <a:gd name="T6" fmla="*/ 1 w 903"/>
                <a:gd name="T7" fmla="*/ 76 h 128"/>
                <a:gd name="T8" fmla="*/ 5 w 903"/>
                <a:gd name="T9" fmla="*/ 88 h 128"/>
                <a:gd name="T10" fmla="*/ 11 w 903"/>
                <a:gd name="T11" fmla="*/ 99 h 128"/>
                <a:gd name="T12" fmla="*/ 20 w 903"/>
                <a:gd name="T13" fmla="*/ 109 h 128"/>
                <a:gd name="T14" fmla="*/ 29 w 903"/>
                <a:gd name="T15" fmla="*/ 117 h 128"/>
                <a:gd name="T16" fmla="*/ 40 w 903"/>
                <a:gd name="T17" fmla="*/ 123 h 128"/>
                <a:gd name="T18" fmla="*/ 52 w 903"/>
                <a:gd name="T19" fmla="*/ 127 h 128"/>
                <a:gd name="T20" fmla="*/ 65 w 903"/>
                <a:gd name="T21" fmla="*/ 128 h 128"/>
                <a:gd name="T22" fmla="*/ 838 w 903"/>
                <a:gd name="T23" fmla="*/ 128 h 128"/>
                <a:gd name="T24" fmla="*/ 838 w 903"/>
                <a:gd name="T25" fmla="*/ 128 h 128"/>
                <a:gd name="T26" fmla="*/ 852 w 903"/>
                <a:gd name="T27" fmla="*/ 127 h 128"/>
                <a:gd name="T28" fmla="*/ 864 w 903"/>
                <a:gd name="T29" fmla="*/ 123 h 128"/>
                <a:gd name="T30" fmla="*/ 875 w 903"/>
                <a:gd name="T31" fmla="*/ 117 h 128"/>
                <a:gd name="T32" fmla="*/ 884 w 903"/>
                <a:gd name="T33" fmla="*/ 109 h 128"/>
                <a:gd name="T34" fmla="*/ 893 w 903"/>
                <a:gd name="T35" fmla="*/ 99 h 128"/>
                <a:gd name="T36" fmla="*/ 899 w 903"/>
                <a:gd name="T37" fmla="*/ 88 h 128"/>
                <a:gd name="T38" fmla="*/ 902 w 903"/>
                <a:gd name="T39" fmla="*/ 76 h 128"/>
                <a:gd name="T40" fmla="*/ 903 w 903"/>
                <a:gd name="T41" fmla="*/ 63 h 128"/>
                <a:gd name="T42" fmla="*/ 903 w 903"/>
                <a:gd name="T43" fmla="*/ 0 h 128"/>
                <a:gd name="T44" fmla="*/ 0 w 903"/>
                <a:gd name="T45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3" h="128">
                  <a:moveTo>
                    <a:pt x="0" y="0"/>
                  </a:moveTo>
                  <a:lnTo>
                    <a:pt x="0" y="63"/>
                  </a:lnTo>
                  <a:lnTo>
                    <a:pt x="0" y="63"/>
                  </a:lnTo>
                  <a:lnTo>
                    <a:pt x="1" y="76"/>
                  </a:lnTo>
                  <a:lnTo>
                    <a:pt x="5" y="88"/>
                  </a:lnTo>
                  <a:lnTo>
                    <a:pt x="11" y="99"/>
                  </a:lnTo>
                  <a:lnTo>
                    <a:pt x="20" y="109"/>
                  </a:lnTo>
                  <a:lnTo>
                    <a:pt x="29" y="117"/>
                  </a:lnTo>
                  <a:lnTo>
                    <a:pt x="40" y="123"/>
                  </a:lnTo>
                  <a:lnTo>
                    <a:pt x="52" y="127"/>
                  </a:lnTo>
                  <a:lnTo>
                    <a:pt x="65" y="128"/>
                  </a:lnTo>
                  <a:lnTo>
                    <a:pt x="838" y="128"/>
                  </a:lnTo>
                  <a:lnTo>
                    <a:pt x="838" y="128"/>
                  </a:lnTo>
                  <a:lnTo>
                    <a:pt x="852" y="127"/>
                  </a:lnTo>
                  <a:lnTo>
                    <a:pt x="864" y="123"/>
                  </a:lnTo>
                  <a:lnTo>
                    <a:pt x="875" y="117"/>
                  </a:lnTo>
                  <a:lnTo>
                    <a:pt x="884" y="109"/>
                  </a:lnTo>
                  <a:lnTo>
                    <a:pt x="893" y="99"/>
                  </a:lnTo>
                  <a:lnTo>
                    <a:pt x="899" y="88"/>
                  </a:lnTo>
                  <a:lnTo>
                    <a:pt x="902" y="76"/>
                  </a:lnTo>
                  <a:lnTo>
                    <a:pt x="903" y="63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14">
              <a:extLst>
                <a:ext uri="{FF2B5EF4-FFF2-40B4-BE49-F238E27FC236}">
                  <a16:creationId xmlns:a16="http://schemas.microsoft.com/office/drawing/2014/main" id="{10C352A0-5B7F-4EBA-97F8-3F16644574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1045" y="4477500"/>
              <a:ext cx="375708" cy="373592"/>
            </a:xfrm>
            <a:custGeom>
              <a:avLst/>
              <a:gdLst>
                <a:gd name="T0" fmla="*/ 65 w 710"/>
                <a:gd name="T1" fmla="*/ 289 h 707"/>
                <a:gd name="T2" fmla="*/ 710 w 710"/>
                <a:gd name="T3" fmla="*/ 289 h 707"/>
                <a:gd name="T4" fmla="*/ 704 w 710"/>
                <a:gd name="T5" fmla="*/ 264 h 707"/>
                <a:gd name="T6" fmla="*/ 681 w 710"/>
                <a:gd name="T7" fmla="*/ 235 h 707"/>
                <a:gd name="T8" fmla="*/ 645 w 710"/>
                <a:gd name="T9" fmla="*/ 224 h 707"/>
                <a:gd name="T10" fmla="*/ 516 w 710"/>
                <a:gd name="T11" fmla="*/ 143 h 707"/>
                <a:gd name="T12" fmla="*/ 523 w 710"/>
                <a:gd name="T13" fmla="*/ 90 h 707"/>
                <a:gd name="T14" fmla="*/ 539 w 710"/>
                <a:gd name="T15" fmla="*/ 76 h 707"/>
                <a:gd name="T16" fmla="*/ 548 w 710"/>
                <a:gd name="T17" fmla="*/ 55 h 707"/>
                <a:gd name="T18" fmla="*/ 548 w 710"/>
                <a:gd name="T19" fmla="*/ 38 h 707"/>
                <a:gd name="T20" fmla="*/ 534 w 710"/>
                <a:gd name="T21" fmla="*/ 14 h 707"/>
                <a:gd name="T22" fmla="*/ 510 w 710"/>
                <a:gd name="T23" fmla="*/ 1 h 707"/>
                <a:gd name="T24" fmla="*/ 490 w 710"/>
                <a:gd name="T25" fmla="*/ 1 h 707"/>
                <a:gd name="T26" fmla="*/ 466 w 710"/>
                <a:gd name="T27" fmla="*/ 14 h 707"/>
                <a:gd name="T28" fmla="*/ 452 w 710"/>
                <a:gd name="T29" fmla="*/ 38 h 707"/>
                <a:gd name="T30" fmla="*/ 452 w 710"/>
                <a:gd name="T31" fmla="*/ 55 h 707"/>
                <a:gd name="T32" fmla="*/ 461 w 710"/>
                <a:gd name="T33" fmla="*/ 76 h 707"/>
                <a:gd name="T34" fmla="*/ 478 w 710"/>
                <a:gd name="T35" fmla="*/ 90 h 707"/>
                <a:gd name="T36" fmla="*/ 436 w 710"/>
                <a:gd name="T37" fmla="*/ 178 h 707"/>
                <a:gd name="T38" fmla="*/ 371 w 710"/>
                <a:gd name="T39" fmla="*/ 94 h 707"/>
                <a:gd name="T40" fmla="*/ 384 w 710"/>
                <a:gd name="T41" fmla="*/ 86 h 707"/>
                <a:gd name="T42" fmla="*/ 398 w 710"/>
                <a:gd name="T43" fmla="*/ 70 h 707"/>
                <a:gd name="T44" fmla="*/ 403 w 710"/>
                <a:gd name="T45" fmla="*/ 48 h 707"/>
                <a:gd name="T46" fmla="*/ 399 w 710"/>
                <a:gd name="T47" fmla="*/ 29 h 707"/>
                <a:gd name="T48" fmla="*/ 381 w 710"/>
                <a:gd name="T49" fmla="*/ 8 h 707"/>
                <a:gd name="T50" fmla="*/ 355 w 710"/>
                <a:gd name="T51" fmla="*/ 0 h 707"/>
                <a:gd name="T52" fmla="*/ 336 w 710"/>
                <a:gd name="T53" fmla="*/ 4 h 707"/>
                <a:gd name="T54" fmla="*/ 315 w 710"/>
                <a:gd name="T55" fmla="*/ 22 h 707"/>
                <a:gd name="T56" fmla="*/ 307 w 710"/>
                <a:gd name="T57" fmla="*/ 48 h 707"/>
                <a:gd name="T58" fmla="*/ 309 w 710"/>
                <a:gd name="T59" fmla="*/ 62 h 707"/>
                <a:gd name="T60" fmla="*/ 320 w 710"/>
                <a:gd name="T61" fmla="*/ 82 h 707"/>
                <a:gd name="T62" fmla="*/ 339 w 710"/>
                <a:gd name="T63" fmla="*/ 94 h 707"/>
                <a:gd name="T64" fmla="*/ 274 w 710"/>
                <a:gd name="T65" fmla="*/ 178 h 707"/>
                <a:gd name="T66" fmla="*/ 226 w 710"/>
                <a:gd name="T67" fmla="*/ 94 h 707"/>
                <a:gd name="T68" fmla="*/ 244 w 710"/>
                <a:gd name="T69" fmla="*/ 82 h 707"/>
                <a:gd name="T70" fmla="*/ 256 w 710"/>
                <a:gd name="T71" fmla="*/ 62 h 707"/>
                <a:gd name="T72" fmla="*/ 259 w 710"/>
                <a:gd name="T73" fmla="*/ 48 h 707"/>
                <a:gd name="T74" fmla="*/ 250 w 710"/>
                <a:gd name="T75" fmla="*/ 22 h 707"/>
                <a:gd name="T76" fmla="*/ 228 w 710"/>
                <a:gd name="T77" fmla="*/ 4 h 707"/>
                <a:gd name="T78" fmla="*/ 209 w 710"/>
                <a:gd name="T79" fmla="*/ 0 h 707"/>
                <a:gd name="T80" fmla="*/ 183 w 710"/>
                <a:gd name="T81" fmla="*/ 8 h 707"/>
                <a:gd name="T82" fmla="*/ 165 w 710"/>
                <a:gd name="T83" fmla="*/ 29 h 707"/>
                <a:gd name="T84" fmla="*/ 161 w 710"/>
                <a:gd name="T85" fmla="*/ 48 h 707"/>
                <a:gd name="T86" fmla="*/ 167 w 710"/>
                <a:gd name="T87" fmla="*/ 70 h 707"/>
                <a:gd name="T88" fmla="*/ 180 w 710"/>
                <a:gd name="T89" fmla="*/ 86 h 707"/>
                <a:gd name="T90" fmla="*/ 193 w 710"/>
                <a:gd name="T91" fmla="*/ 143 h 707"/>
                <a:gd name="T92" fmla="*/ 65 w 710"/>
                <a:gd name="T93" fmla="*/ 224 h 707"/>
                <a:gd name="T94" fmla="*/ 39 w 710"/>
                <a:gd name="T95" fmla="*/ 230 h 707"/>
                <a:gd name="T96" fmla="*/ 12 w 710"/>
                <a:gd name="T97" fmla="*/ 253 h 707"/>
                <a:gd name="T98" fmla="*/ 0 w 710"/>
                <a:gd name="T99" fmla="*/ 289 h 707"/>
                <a:gd name="T100" fmla="*/ 710 w 710"/>
                <a:gd name="T101" fmla="*/ 289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10" h="707">
                  <a:moveTo>
                    <a:pt x="645" y="643"/>
                  </a:moveTo>
                  <a:lnTo>
                    <a:pt x="65" y="643"/>
                  </a:lnTo>
                  <a:lnTo>
                    <a:pt x="65" y="289"/>
                  </a:lnTo>
                  <a:lnTo>
                    <a:pt x="645" y="289"/>
                  </a:lnTo>
                  <a:lnTo>
                    <a:pt x="645" y="643"/>
                  </a:lnTo>
                  <a:close/>
                  <a:moveTo>
                    <a:pt x="710" y="289"/>
                  </a:moveTo>
                  <a:lnTo>
                    <a:pt x="710" y="289"/>
                  </a:lnTo>
                  <a:lnTo>
                    <a:pt x="709" y="276"/>
                  </a:lnTo>
                  <a:lnTo>
                    <a:pt x="704" y="264"/>
                  </a:lnTo>
                  <a:lnTo>
                    <a:pt x="699" y="253"/>
                  </a:lnTo>
                  <a:lnTo>
                    <a:pt x="691" y="244"/>
                  </a:lnTo>
                  <a:lnTo>
                    <a:pt x="681" y="235"/>
                  </a:lnTo>
                  <a:lnTo>
                    <a:pt x="670" y="230"/>
                  </a:lnTo>
                  <a:lnTo>
                    <a:pt x="658" y="226"/>
                  </a:lnTo>
                  <a:lnTo>
                    <a:pt x="645" y="224"/>
                  </a:lnTo>
                  <a:lnTo>
                    <a:pt x="468" y="224"/>
                  </a:lnTo>
                  <a:lnTo>
                    <a:pt x="468" y="191"/>
                  </a:lnTo>
                  <a:lnTo>
                    <a:pt x="516" y="143"/>
                  </a:lnTo>
                  <a:lnTo>
                    <a:pt x="516" y="94"/>
                  </a:lnTo>
                  <a:lnTo>
                    <a:pt x="516" y="94"/>
                  </a:lnTo>
                  <a:lnTo>
                    <a:pt x="523" y="90"/>
                  </a:lnTo>
                  <a:lnTo>
                    <a:pt x="529" y="86"/>
                  </a:lnTo>
                  <a:lnTo>
                    <a:pt x="534" y="82"/>
                  </a:lnTo>
                  <a:lnTo>
                    <a:pt x="539" y="76"/>
                  </a:lnTo>
                  <a:lnTo>
                    <a:pt x="543" y="70"/>
                  </a:lnTo>
                  <a:lnTo>
                    <a:pt x="546" y="62"/>
                  </a:lnTo>
                  <a:lnTo>
                    <a:pt x="548" y="55"/>
                  </a:lnTo>
                  <a:lnTo>
                    <a:pt x="549" y="48"/>
                  </a:lnTo>
                  <a:lnTo>
                    <a:pt x="549" y="48"/>
                  </a:lnTo>
                  <a:lnTo>
                    <a:pt x="548" y="38"/>
                  </a:lnTo>
                  <a:lnTo>
                    <a:pt x="545" y="29"/>
                  </a:lnTo>
                  <a:lnTo>
                    <a:pt x="540" y="22"/>
                  </a:lnTo>
                  <a:lnTo>
                    <a:pt x="534" y="14"/>
                  </a:lnTo>
                  <a:lnTo>
                    <a:pt x="527" y="8"/>
                  </a:lnTo>
                  <a:lnTo>
                    <a:pt x="519" y="4"/>
                  </a:lnTo>
                  <a:lnTo>
                    <a:pt x="510" y="1"/>
                  </a:lnTo>
                  <a:lnTo>
                    <a:pt x="501" y="0"/>
                  </a:lnTo>
                  <a:lnTo>
                    <a:pt x="501" y="0"/>
                  </a:lnTo>
                  <a:lnTo>
                    <a:pt x="490" y="1"/>
                  </a:lnTo>
                  <a:lnTo>
                    <a:pt x="481" y="4"/>
                  </a:lnTo>
                  <a:lnTo>
                    <a:pt x="473" y="8"/>
                  </a:lnTo>
                  <a:lnTo>
                    <a:pt x="466" y="14"/>
                  </a:lnTo>
                  <a:lnTo>
                    <a:pt x="460" y="22"/>
                  </a:lnTo>
                  <a:lnTo>
                    <a:pt x="456" y="29"/>
                  </a:lnTo>
                  <a:lnTo>
                    <a:pt x="452" y="38"/>
                  </a:lnTo>
                  <a:lnTo>
                    <a:pt x="451" y="48"/>
                  </a:lnTo>
                  <a:lnTo>
                    <a:pt x="451" y="48"/>
                  </a:lnTo>
                  <a:lnTo>
                    <a:pt x="452" y="55"/>
                  </a:lnTo>
                  <a:lnTo>
                    <a:pt x="454" y="62"/>
                  </a:lnTo>
                  <a:lnTo>
                    <a:pt x="457" y="70"/>
                  </a:lnTo>
                  <a:lnTo>
                    <a:pt x="461" y="76"/>
                  </a:lnTo>
                  <a:lnTo>
                    <a:pt x="466" y="82"/>
                  </a:lnTo>
                  <a:lnTo>
                    <a:pt x="470" y="86"/>
                  </a:lnTo>
                  <a:lnTo>
                    <a:pt x="478" y="90"/>
                  </a:lnTo>
                  <a:lnTo>
                    <a:pt x="484" y="94"/>
                  </a:lnTo>
                  <a:lnTo>
                    <a:pt x="484" y="130"/>
                  </a:lnTo>
                  <a:lnTo>
                    <a:pt x="436" y="178"/>
                  </a:lnTo>
                  <a:lnTo>
                    <a:pt x="436" y="224"/>
                  </a:lnTo>
                  <a:lnTo>
                    <a:pt x="371" y="224"/>
                  </a:lnTo>
                  <a:lnTo>
                    <a:pt x="371" y="94"/>
                  </a:lnTo>
                  <a:lnTo>
                    <a:pt x="371" y="94"/>
                  </a:lnTo>
                  <a:lnTo>
                    <a:pt x="378" y="90"/>
                  </a:lnTo>
                  <a:lnTo>
                    <a:pt x="384" y="86"/>
                  </a:lnTo>
                  <a:lnTo>
                    <a:pt x="390" y="82"/>
                  </a:lnTo>
                  <a:lnTo>
                    <a:pt x="395" y="76"/>
                  </a:lnTo>
                  <a:lnTo>
                    <a:pt x="398" y="70"/>
                  </a:lnTo>
                  <a:lnTo>
                    <a:pt x="401" y="62"/>
                  </a:lnTo>
                  <a:lnTo>
                    <a:pt x="403" y="55"/>
                  </a:lnTo>
                  <a:lnTo>
                    <a:pt x="403" y="48"/>
                  </a:lnTo>
                  <a:lnTo>
                    <a:pt x="403" y="48"/>
                  </a:lnTo>
                  <a:lnTo>
                    <a:pt x="402" y="38"/>
                  </a:lnTo>
                  <a:lnTo>
                    <a:pt x="399" y="29"/>
                  </a:lnTo>
                  <a:lnTo>
                    <a:pt x="395" y="22"/>
                  </a:lnTo>
                  <a:lnTo>
                    <a:pt x="389" y="14"/>
                  </a:lnTo>
                  <a:lnTo>
                    <a:pt x="381" y="8"/>
                  </a:lnTo>
                  <a:lnTo>
                    <a:pt x="374" y="4"/>
                  </a:lnTo>
                  <a:lnTo>
                    <a:pt x="364" y="1"/>
                  </a:lnTo>
                  <a:lnTo>
                    <a:pt x="355" y="0"/>
                  </a:lnTo>
                  <a:lnTo>
                    <a:pt x="355" y="0"/>
                  </a:lnTo>
                  <a:lnTo>
                    <a:pt x="345" y="1"/>
                  </a:lnTo>
                  <a:lnTo>
                    <a:pt x="336" y="4"/>
                  </a:lnTo>
                  <a:lnTo>
                    <a:pt x="328" y="8"/>
                  </a:lnTo>
                  <a:lnTo>
                    <a:pt x="321" y="14"/>
                  </a:lnTo>
                  <a:lnTo>
                    <a:pt x="315" y="22"/>
                  </a:lnTo>
                  <a:lnTo>
                    <a:pt x="310" y="29"/>
                  </a:lnTo>
                  <a:lnTo>
                    <a:pt x="308" y="38"/>
                  </a:lnTo>
                  <a:lnTo>
                    <a:pt x="307" y="48"/>
                  </a:lnTo>
                  <a:lnTo>
                    <a:pt x="307" y="48"/>
                  </a:lnTo>
                  <a:lnTo>
                    <a:pt x="307" y="55"/>
                  </a:lnTo>
                  <a:lnTo>
                    <a:pt x="309" y="62"/>
                  </a:lnTo>
                  <a:lnTo>
                    <a:pt x="312" y="70"/>
                  </a:lnTo>
                  <a:lnTo>
                    <a:pt x="315" y="76"/>
                  </a:lnTo>
                  <a:lnTo>
                    <a:pt x="320" y="82"/>
                  </a:lnTo>
                  <a:lnTo>
                    <a:pt x="326" y="86"/>
                  </a:lnTo>
                  <a:lnTo>
                    <a:pt x="332" y="90"/>
                  </a:lnTo>
                  <a:lnTo>
                    <a:pt x="339" y="94"/>
                  </a:lnTo>
                  <a:lnTo>
                    <a:pt x="339" y="224"/>
                  </a:lnTo>
                  <a:lnTo>
                    <a:pt x="274" y="224"/>
                  </a:lnTo>
                  <a:lnTo>
                    <a:pt x="274" y="178"/>
                  </a:lnTo>
                  <a:lnTo>
                    <a:pt x="226" y="130"/>
                  </a:lnTo>
                  <a:lnTo>
                    <a:pt x="226" y="94"/>
                  </a:lnTo>
                  <a:lnTo>
                    <a:pt x="226" y="94"/>
                  </a:lnTo>
                  <a:lnTo>
                    <a:pt x="232" y="90"/>
                  </a:lnTo>
                  <a:lnTo>
                    <a:pt x="239" y="86"/>
                  </a:lnTo>
                  <a:lnTo>
                    <a:pt x="244" y="82"/>
                  </a:lnTo>
                  <a:lnTo>
                    <a:pt x="249" y="76"/>
                  </a:lnTo>
                  <a:lnTo>
                    <a:pt x="252" y="70"/>
                  </a:lnTo>
                  <a:lnTo>
                    <a:pt x="256" y="62"/>
                  </a:lnTo>
                  <a:lnTo>
                    <a:pt x="257" y="55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7" y="38"/>
                  </a:lnTo>
                  <a:lnTo>
                    <a:pt x="254" y="29"/>
                  </a:lnTo>
                  <a:lnTo>
                    <a:pt x="250" y="22"/>
                  </a:lnTo>
                  <a:lnTo>
                    <a:pt x="244" y="14"/>
                  </a:lnTo>
                  <a:lnTo>
                    <a:pt x="237" y="8"/>
                  </a:lnTo>
                  <a:lnTo>
                    <a:pt x="228" y="4"/>
                  </a:lnTo>
                  <a:lnTo>
                    <a:pt x="220" y="1"/>
                  </a:lnTo>
                  <a:lnTo>
                    <a:pt x="209" y="0"/>
                  </a:lnTo>
                  <a:lnTo>
                    <a:pt x="209" y="0"/>
                  </a:lnTo>
                  <a:lnTo>
                    <a:pt x="200" y="1"/>
                  </a:lnTo>
                  <a:lnTo>
                    <a:pt x="191" y="4"/>
                  </a:lnTo>
                  <a:lnTo>
                    <a:pt x="183" y="8"/>
                  </a:lnTo>
                  <a:lnTo>
                    <a:pt x="175" y="14"/>
                  </a:lnTo>
                  <a:lnTo>
                    <a:pt x="169" y="22"/>
                  </a:lnTo>
                  <a:lnTo>
                    <a:pt x="165" y="29"/>
                  </a:lnTo>
                  <a:lnTo>
                    <a:pt x="162" y="38"/>
                  </a:lnTo>
                  <a:lnTo>
                    <a:pt x="161" y="48"/>
                  </a:lnTo>
                  <a:lnTo>
                    <a:pt x="161" y="48"/>
                  </a:lnTo>
                  <a:lnTo>
                    <a:pt x="162" y="55"/>
                  </a:lnTo>
                  <a:lnTo>
                    <a:pt x="163" y="62"/>
                  </a:lnTo>
                  <a:lnTo>
                    <a:pt x="167" y="70"/>
                  </a:lnTo>
                  <a:lnTo>
                    <a:pt x="171" y="76"/>
                  </a:lnTo>
                  <a:lnTo>
                    <a:pt x="175" y="82"/>
                  </a:lnTo>
                  <a:lnTo>
                    <a:pt x="180" y="86"/>
                  </a:lnTo>
                  <a:lnTo>
                    <a:pt x="186" y="90"/>
                  </a:lnTo>
                  <a:lnTo>
                    <a:pt x="193" y="94"/>
                  </a:lnTo>
                  <a:lnTo>
                    <a:pt x="193" y="143"/>
                  </a:lnTo>
                  <a:lnTo>
                    <a:pt x="242" y="191"/>
                  </a:lnTo>
                  <a:lnTo>
                    <a:pt x="242" y="224"/>
                  </a:lnTo>
                  <a:lnTo>
                    <a:pt x="65" y="224"/>
                  </a:lnTo>
                  <a:lnTo>
                    <a:pt x="65" y="224"/>
                  </a:lnTo>
                  <a:lnTo>
                    <a:pt x="51" y="226"/>
                  </a:lnTo>
                  <a:lnTo>
                    <a:pt x="39" y="230"/>
                  </a:lnTo>
                  <a:lnTo>
                    <a:pt x="29" y="235"/>
                  </a:lnTo>
                  <a:lnTo>
                    <a:pt x="19" y="244"/>
                  </a:lnTo>
                  <a:lnTo>
                    <a:pt x="12" y="253"/>
                  </a:lnTo>
                  <a:lnTo>
                    <a:pt x="6" y="264"/>
                  </a:lnTo>
                  <a:lnTo>
                    <a:pt x="1" y="276"/>
                  </a:lnTo>
                  <a:lnTo>
                    <a:pt x="0" y="289"/>
                  </a:lnTo>
                  <a:lnTo>
                    <a:pt x="0" y="707"/>
                  </a:lnTo>
                  <a:lnTo>
                    <a:pt x="710" y="707"/>
                  </a:lnTo>
                  <a:lnTo>
                    <a:pt x="710" y="2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15">
              <a:extLst>
                <a:ext uri="{FF2B5EF4-FFF2-40B4-BE49-F238E27FC236}">
                  <a16:creationId xmlns:a16="http://schemas.microsoft.com/office/drawing/2014/main" id="{272A5989-842A-BC3F-6675-AFBF8BDA3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9104" y="4663767"/>
              <a:ext cx="119592" cy="119592"/>
            </a:xfrm>
            <a:custGeom>
              <a:avLst/>
              <a:gdLst>
                <a:gd name="T0" fmla="*/ 80 w 226"/>
                <a:gd name="T1" fmla="*/ 225 h 225"/>
                <a:gd name="T2" fmla="*/ 145 w 226"/>
                <a:gd name="T3" fmla="*/ 225 h 225"/>
                <a:gd name="T4" fmla="*/ 145 w 226"/>
                <a:gd name="T5" fmla="*/ 145 h 225"/>
                <a:gd name="T6" fmla="*/ 226 w 226"/>
                <a:gd name="T7" fmla="*/ 145 h 225"/>
                <a:gd name="T8" fmla="*/ 226 w 226"/>
                <a:gd name="T9" fmla="*/ 80 h 225"/>
                <a:gd name="T10" fmla="*/ 145 w 226"/>
                <a:gd name="T11" fmla="*/ 80 h 225"/>
                <a:gd name="T12" fmla="*/ 145 w 226"/>
                <a:gd name="T13" fmla="*/ 0 h 225"/>
                <a:gd name="T14" fmla="*/ 80 w 226"/>
                <a:gd name="T15" fmla="*/ 0 h 225"/>
                <a:gd name="T16" fmla="*/ 80 w 226"/>
                <a:gd name="T17" fmla="*/ 80 h 225"/>
                <a:gd name="T18" fmla="*/ 0 w 226"/>
                <a:gd name="T19" fmla="*/ 80 h 225"/>
                <a:gd name="T20" fmla="*/ 0 w 226"/>
                <a:gd name="T21" fmla="*/ 145 h 225"/>
                <a:gd name="T22" fmla="*/ 80 w 226"/>
                <a:gd name="T23" fmla="*/ 145 h 225"/>
                <a:gd name="T24" fmla="*/ 80 w 226"/>
                <a:gd name="T25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" h="225">
                  <a:moveTo>
                    <a:pt x="80" y="225"/>
                  </a:moveTo>
                  <a:lnTo>
                    <a:pt x="145" y="225"/>
                  </a:lnTo>
                  <a:lnTo>
                    <a:pt x="145" y="145"/>
                  </a:lnTo>
                  <a:lnTo>
                    <a:pt x="226" y="145"/>
                  </a:lnTo>
                  <a:lnTo>
                    <a:pt x="226" y="80"/>
                  </a:lnTo>
                  <a:lnTo>
                    <a:pt x="145" y="80"/>
                  </a:lnTo>
                  <a:lnTo>
                    <a:pt x="145" y="0"/>
                  </a:lnTo>
                  <a:lnTo>
                    <a:pt x="80" y="0"/>
                  </a:lnTo>
                  <a:lnTo>
                    <a:pt x="80" y="80"/>
                  </a:lnTo>
                  <a:lnTo>
                    <a:pt x="0" y="80"/>
                  </a:lnTo>
                  <a:lnTo>
                    <a:pt x="0" y="145"/>
                  </a:lnTo>
                  <a:lnTo>
                    <a:pt x="80" y="145"/>
                  </a:lnTo>
                  <a:lnTo>
                    <a:pt x="80" y="2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85" name="Gruppieren 84">
            <a:extLst>
              <a:ext uri="{FF2B5EF4-FFF2-40B4-BE49-F238E27FC236}">
                <a16:creationId xmlns:a16="http://schemas.microsoft.com/office/drawing/2014/main" id="{4EE7907E-2D4B-E06F-B7F5-FAC9552DEE94}"/>
              </a:ext>
            </a:extLst>
          </p:cNvPr>
          <p:cNvGrpSpPr/>
          <p:nvPr/>
        </p:nvGrpSpPr>
        <p:grpSpPr>
          <a:xfrm>
            <a:off x="9832234" y="1730715"/>
            <a:ext cx="1669204" cy="393359"/>
            <a:chOff x="8537926" y="1146540"/>
            <a:chExt cx="1815748" cy="427892"/>
          </a:xfrm>
        </p:grpSpPr>
        <p:pic>
          <p:nvPicPr>
            <p:cNvPr id="83" name="Grafik 82">
              <a:extLst>
                <a:ext uri="{FF2B5EF4-FFF2-40B4-BE49-F238E27FC236}">
                  <a16:creationId xmlns:a16="http://schemas.microsoft.com/office/drawing/2014/main" id="{EE8C7C9D-546B-AA39-8C76-C9769FF749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biLevel thresh="25000"/>
            </a:blip>
            <a:srcRect r="42974" b="39474"/>
            <a:stretch/>
          </p:blipFill>
          <p:spPr>
            <a:xfrm>
              <a:off x="8537926" y="1146540"/>
              <a:ext cx="1725262" cy="246920"/>
            </a:xfrm>
            <a:prstGeom prst="rect">
              <a:avLst/>
            </a:prstGeom>
          </p:spPr>
        </p:pic>
        <p:pic>
          <p:nvPicPr>
            <p:cNvPr id="84" name="Grafik 83">
              <a:extLst>
                <a:ext uri="{FF2B5EF4-FFF2-40B4-BE49-F238E27FC236}">
                  <a16:creationId xmlns:a16="http://schemas.microsoft.com/office/drawing/2014/main" id="{ADA5FFE6-4881-172E-E3AB-FC77897B7CA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biLevel thresh="25000"/>
            </a:blip>
            <a:srcRect l="57813" b="39474"/>
            <a:stretch/>
          </p:blipFill>
          <p:spPr>
            <a:xfrm>
              <a:off x="9077324" y="1327512"/>
              <a:ext cx="1276350" cy="246920"/>
            </a:xfrm>
            <a:prstGeom prst="rect">
              <a:avLst/>
            </a:prstGeom>
          </p:spPr>
        </p:pic>
      </p:grpSp>
      <p:sp>
        <p:nvSpPr>
          <p:cNvPr id="441" name="Rechteck 440">
            <a:extLst>
              <a:ext uri="{FF2B5EF4-FFF2-40B4-BE49-F238E27FC236}">
                <a16:creationId xmlns:a16="http://schemas.microsoft.com/office/drawing/2014/main" id="{B86C8A26-F56F-350C-1C9E-F75275261401}"/>
              </a:ext>
            </a:extLst>
          </p:cNvPr>
          <p:cNvSpPr/>
          <p:nvPr/>
        </p:nvSpPr>
        <p:spPr>
          <a:xfrm>
            <a:off x="5815890" y="4548189"/>
            <a:ext cx="132473" cy="7048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6" name="TextBox 38">
            <a:extLst>
              <a:ext uri="{FF2B5EF4-FFF2-40B4-BE49-F238E27FC236}">
                <a16:creationId xmlns:a16="http://schemas.microsoft.com/office/drawing/2014/main" id="{D9987CEB-1549-21E1-1A87-BBBBE0B66EB1}"/>
              </a:ext>
            </a:extLst>
          </p:cNvPr>
          <p:cNvSpPr txBox="1">
            <a:spLocks/>
          </p:cNvSpPr>
          <p:nvPr/>
        </p:nvSpPr>
        <p:spPr>
          <a:xfrm>
            <a:off x="4991371" y="5161899"/>
            <a:ext cx="823642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1200"/>
              <a:t>Retrieve </a:t>
            </a:r>
            <a:br>
              <a:rPr lang="en-US" sz="1200"/>
            </a:br>
            <a:r>
              <a:rPr lang="en-US" sz="1200"/>
              <a:t>KOS/ITI-43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EB87A16C-AA85-1642-315E-8800A494AC0C}"/>
              </a:ext>
            </a:extLst>
          </p:cNvPr>
          <p:cNvSpPr>
            <a:spLocks/>
          </p:cNvSpPr>
          <p:nvPr/>
        </p:nvSpPr>
        <p:spPr>
          <a:xfrm>
            <a:off x="6731044" y="1619250"/>
            <a:ext cx="1948136" cy="2097010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accent3"/>
              </a:solidFill>
            </a:endParaRPr>
          </a:p>
        </p:txBody>
      </p:sp>
      <p:sp>
        <p:nvSpPr>
          <p:cNvPr id="13" name="Rectangle 20">
            <a:extLst>
              <a:ext uri="{FF2B5EF4-FFF2-40B4-BE49-F238E27FC236}">
                <a16:creationId xmlns:a16="http://schemas.microsoft.com/office/drawing/2014/main" id="{6CFE7713-9893-64CA-282A-D4E26923E0BF}"/>
              </a:ext>
            </a:extLst>
          </p:cNvPr>
          <p:cNvSpPr>
            <a:spLocks/>
          </p:cNvSpPr>
          <p:nvPr/>
        </p:nvSpPr>
        <p:spPr>
          <a:xfrm>
            <a:off x="6860663" y="2317559"/>
            <a:ext cx="1688897" cy="482982"/>
          </a:xfrm>
          <a:prstGeom prst="roundRect">
            <a:avLst>
              <a:gd name="adj" fmla="val 50000"/>
            </a:avLst>
          </a:prstGeom>
          <a:solidFill>
            <a:srgbClr val="87D2D2"/>
          </a:solidFill>
          <a:ln w="19050">
            <a:solidFill>
              <a:srgbClr val="009999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tIns="72000" rtlCol="0" anchor="ctr"/>
          <a:lstStyle/>
          <a:p>
            <a:pPr algn="ctr">
              <a:lnSpc>
                <a:spcPct val="80000"/>
              </a:lnSpc>
            </a:pPr>
            <a:r>
              <a:rPr lang="de-AT" sz="1000" i="1" err="1">
                <a:solidFill>
                  <a:schemeClr val="accent3"/>
                </a:solidFill>
              </a:rPr>
              <a:t>eHealth</a:t>
            </a:r>
            <a:endParaRPr lang="de-AT" sz="1000" i="1">
              <a:solidFill>
                <a:schemeClr val="accent3"/>
              </a:solidFill>
            </a:endParaRPr>
          </a:p>
          <a:p>
            <a:pPr algn="ctr">
              <a:lnSpc>
                <a:spcPct val="80000"/>
              </a:lnSpc>
            </a:pPr>
            <a:r>
              <a:rPr lang="de-AT" sz="1600" b="1">
                <a:solidFill>
                  <a:schemeClr val="bg1"/>
                </a:solidFill>
              </a:rPr>
              <a:t>Repository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3E4CDD7D-4F33-0CAE-08DD-9F711B2101C3}"/>
              </a:ext>
            </a:extLst>
          </p:cNvPr>
          <p:cNvGrpSpPr>
            <a:grpSpLocks/>
          </p:cNvGrpSpPr>
          <p:nvPr/>
        </p:nvGrpSpPr>
        <p:grpSpPr>
          <a:xfrm>
            <a:off x="7427649" y="2977813"/>
            <a:ext cx="554926" cy="554926"/>
            <a:chOff x="9798749" y="5417011"/>
            <a:chExt cx="554926" cy="554926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8630890C-A373-6F8D-9257-B31073F0D160}"/>
                </a:ext>
              </a:extLst>
            </p:cNvPr>
            <p:cNvGrpSpPr/>
            <p:nvPr/>
          </p:nvGrpSpPr>
          <p:grpSpPr>
            <a:xfrm>
              <a:off x="9798749" y="5417011"/>
              <a:ext cx="554926" cy="554926"/>
              <a:chOff x="9798749" y="5417011"/>
              <a:chExt cx="554926" cy="554926"/>
            </a:xfrm>
          </p:grpSpPr>
          <p:sp>
            <p:nvSpPr>
              <p:cNvPr id="17" name="Ellipse 16">
                <a:extLst>
                  <a:ext uri="{FF2B5EF4-FFF2-40B4-BE49-F238E27FC236}">
                    <a16:creationId xmlns:a16="http://schemas.microsoft.com/office/drawing/2014/main" id="{23BF2D9D-0C73-5A4F-0D3F-F9E2E70D91F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798749" y="5417011"/>
                <a:ext cx="554926" cy="55492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Ellipse 17">
                <a:extLst>
                  <a:ext uri="{FF2B5EF4-FFF2-40B4-BE49-F238E27FC236}">
                    <a16:creationId xmlns:a16="http://schemas.microsoft.com/office/drawing/2014/main" id="{E06BE10C-58EA-5BBC-5773-BACF5FFE729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853518" y="5471780"/>
                <a:ext cx="445388" cy="44538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6" name="Grafik 102">
              <a:extLst>
                <a:ext uri="{FF2B5EF4-FFF2-40B4-BE49-F238E27FC236}">
                  <a16:creationId xmlns:a16="http://schemas.microsoft.com/office/drawing/2014/main" id="{95F18B5D-9DAD-EC68-C260-915CA70FE760}"/>
                </a:ext>
              </a:extLst>
            </p:cNvPr>
            <p:cNvSpPr/>
            <p:nvPr/>
          </p:nvSpPr>
          <p:spPr>
            <a:xfrm rot="18900000">
              <a:off x="9934808" y="5606288"/>
              <a:ext cx="269408" cy="176150"/>
            </a:xfrm>
            <a:custGeom>
              <a:avLst/>
              <a:gdLst>
                <a:gd name="connsiteX0" fmla="*/ 233363 w 247650"/>
                <a:gd name="connsiteY0" fmla="*/ 104775 h 161925"/>
                <a:gd name="connsiteX1" fmla="*/ 190500 w 247650"/>
                <a:gd name="connsiteY1" fmla="*/ 104775 h 161925"/>
                <a:gd name="connsiteX2" fmla="*/ 190500 w 247650"/>
                <a:gd name="connsiteY2" fmla="*/ 57150 h 161925"/>
                <a:gd name="connsiteX3" fmla="*/ 233363 w 247650"/>
                <a:gd name="connsiteY3" fmla="*/ 57150 h 161925"/>
                <a:gd name="connsiteX4" fmla="*/ 247650 w 247650"/>
                <a:gd name="connsiteY4" fmla="*/ 42863 h 161925"/>
                <a:gd name="connsiteX5" fmla="*/ 233363 w 247650"/>
                <a:gd name="connsiteY5" fmla="*/ 28575 h 161925"/>
                <a:gd name="connsiteX6" fmla="*/ 190500 w 247650"/>
                <a:gd name="connsiteY6" fmla="*/ 28575 h 161925"/>
                <a:gd name="connsiteX7" fmla="*/ 190500 w 247650"/>
                <a:gd name="connsiteY7" fmla="*/ 0 h 161925"/>
                <a:gd name="connsiteX8" fmla="*/ 142875 w 247650"/>
                <a:gd name="connsiteY8" fmla="*/ 0 h 161925"/>
                <a:gd name="connsiteX9" fmla="*/ 85725 w 247650"/>
                <a:gd name="connsiteY9" fmla="*/ 57150 h 161925"/>
                <a:gd name="connsiteX10" fmla="*/ 19050 w 247650"/>
                <a:gd name="connsiteY10" fmla="*/ 57150 h 161925"/>
                <a:gd name="connsiteX11" fmla="*/ 0 w 247650"/>
                <a:gd name="connsiteY11" fmla="*/ 104775 h 161925"/>
                <a:gd name="connsiteX12" fmla="*/ 85725 w 247650"/>
                <a:gd name="connsiteY12" fmla="*/ 104775 h 161925"/>
                <a:gd name="connsiteX13" fmla="*/ 142875 w 247650"/>
                <a:gd name="connsiteY13" fmla="*/ 161925 h 161925"/>
                <a:gd name="connsiteX14" fmla="*/ 190500 w 247650"/>
                <a:gd name="connsiteY14" fmla="*/ 161925 h 161925"/>
                <a:gd name="connsiteX15" fmla="*/ 190500 w 247650"/>
                <a:gd name="connsiteY15" fmla="*/ 133350 h 161925"/>
                <a:gd name="connsiteX16" fmla="*/ 233363 w 247650"/>
                <a:gd name="connsiteY16" fmla="*/ 133350 h 161925"/>
                <a:gd name="connsiteX17" fmla="*/ 247650 w 247650"/>
                <a:gd name="connsiteY17" fmla="*/ 119063 h 161925"/>
                <a:gd name="connsiteX18" fmla="*/ 233363 w 247650"/>
                <a:gd name="connsiteY18" fmla="*/ 10477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7650" h="161925">
                  <a:moveTo>
                    <a:pt x="233363" y="104775"/>
                  </a:moveTo>
                  <a:lnTo>
                    <a:pt x="190500" y="104775"/>
                  </a:lnTo>
                  <a:lnTo>
                    <a:pt x="190500" y="57150"/>
                  </a:lnTo>
                  <a:lnTo>
                    <a:pt x="233363" y="57150"/>
                  </a:lnTo>
                  <a:cubicBezTo>
                    <a:pt x="241268" y="57150"/>
                    <a:pt x="247650" y="50768"/>
                    <a:pt x="247650" y="42863"/>
                  </a:cubicBezTo>
                  <a:cubicBezTo>
                    <a:pt x="247650" y="34957"/>
                    <a:pt x="241268" y="28575"/>
                    <a:pt x="233363" y="28575"/>
                  </a:cubicBezTo>
                  <a:lnTo>
                    <a:pt x="190500" y="28575"/>
                  </a:lnTo>
                  <a:lnTo>
                    <a:pt x="190500" y="0"/>
                  </a:lnTo>
                  <a:lnTo>
                    <a:pt x="142875" y="0"/>
                  </a:lnTo>
                  <a:cubicBezTo>
                    <a:pt x="111347" y="0"/>
                    <a:pt x="85725" y="25622"/>
                    <a:pt x="85725" y="57150"/>
                  </a:cubicBezTo>
                  <a:lnTo>
                    <a:pt x="19050" y="57150"/>
                  </a:lnTo>
                  <a:lnTo>
                    <a:pt x="0" y="104775"/>
                  </a:lnTo>
                  <a:lnTo>
                    <a:pt x="85725" y="104775"/>
                  </a:lnTo>
                  <a:cubicBezTo>
                    <a:pt x="85725" y="136303"/>
                    <a:pt x="111347" y="161925"/>
                    <a:pt x="142875" y="161925"/>
                  </a:cubicBezTo>
                  <a:lnTo>
                    <a:pt x="190500" y="161925"/>
                  </a:lnTo>
                  <a:lnTo>
                    <a:pt x="190500" y="133350"/>
                  </a:lnTo>
                  <a:lnTo>
                    <a:pt x="233363" y="133350"/>
                  </a:lnTo>
                  <a:cubicBezTo>
                    <a:pt x="241268" y="133350"/>
                    <a:pt x="247650" y="126968"/>
                    <a:pt x="247650" y="119063"/>
                  </a:cubicBezTo>
                  <a:cubicBezTo>
                    <a:pt x="247650" y="111157"/>
                    <a:pt x="241268" y="104775"/>
                    <a:pt x="233363" y="104775"/>
                  </a:cubicBezTo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9" name="Grafik 18">
            <a:extLst>
              <a:ext uri="{FF2B5EF4-FFF2-40B4-BE49-F238E27FC236}">
                <a16:creationId xmlns:a16="http://schemas.microsoft.com/office/drawing/2014/main" id="{C5EC0DF3-D816-0D81-4C71-914B842736D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01049" y="1738937"/>
            <a:ext cx="614200" cy="408333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77AB184F-3405-2E44-5542-010B5668B3DD}"/>
              </a:ext>
            </a:extLst>
          </p:cNvPr>
          <p:cNvGrpSpPr/>
          <p:nvPr/>
        </p:nvGrpSpPr>
        <p:grpSpPr>
          <a:xfrm>
            <a:off x="4202078" y="2127250"/>
            <a:ext cx="2209138" cy="914400"/>
            <a:chOff x="4202078" y="2051050"/>
            <a:chExt cx="2209138" cy="914400"/>
          </a:xfrm>
        </p:grpSpPr>
        <p:sp>
          <p:nvSpPr>
            <p:cNvPr id="21" name="Rectangle 2">
              <a:extLst>
                <a:ext uri="{FF2B5EF4-FFF2-40B4-BE49-F238E27FC236}">
                  <a16:creationId xmlns:a16="http://schemas.microsoft.com/office/drawing/2014/main" id="{66414549-373B-F545-9272-5D2DEFC54ED0}"/>
                </a:ext>
              </a:extLst>
            </p:cNvPr>
            <p:cNvSpPr>
              <a:spLocks/>
            </p:cNvSpPr>
            <p:nvPr/>
          </p:nvSpPr>
          <p:spPr>
            <a:xfrm>
              <a:off x="4202078" y="2051050"/>
              <a:ext cx="2209138" cy="914400"/>
            </a:xfrm>
            <a:prstGeom prst="rect">
              <a:avLst/>
            </a:prstGeom>
            <a:solidFill>
              <a:srgbClr val="C8E6E6"/>
            </a:solidFill>
            <a:ln w="19050">
              <a:noFill/>
              <a:miter lim="800000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ctr"/>
              <a:r>
                <a:rPr lang="de-AT" sz="1600" b="1">
                  <a:solidFill>
                    <a:schemeClr val="bg1"/>
                  </a:solidFill>
                </a:rPr>
                <a:t>Azure</a:t>
              </a:r>
            </a:p>
          </p:txBody>
        </p:sp>
        <p:sp>
          <p:nvSpPr>
            <p:cNvPr id="22" name="TextBox 35">
              <a:extLst>
                <a:ext uri="{FF2B5EF4-FFF2-40B4-BE49-F238E27FC236}">
                  <a16:creationId xmlns:a16="http://schemas.microsoft.com/office/drawing/2014/main" id="{06AFF20F-F761-E649-8223-A85B0616F3BF}"/>
                </a:ext>
              </a:extLst>
            </p:cNvPr>
            <p:cNvSpPr txBox="1">
              <a:spLocks/>
            </p:cNvSpPr>
            <p:nvPr/>
          </p:nvSpPr>
          <p:spPr>
            <a:xfrm>
              <a:off x="4794250" y="2440422"/>
              <a:ext cx="150495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de-AT" sz="1000" b="1">
                  <a:solidFill>
                    <a:schemeClr val="accent3"/>
                  </a:solidFill>
                </a:rPr>
                <a:t>DICOM Hub (SHS </a:t>
              </a:r>
              <a:r>
                <a:rPr lang="de-AT" sz="1000" b="1" err="1">
                  <a:solidFill>
                    <a:schemeClr val="accent3"/>
                  </a:solidFill>
                </a:rPr>
                <a:t>tp</a:t>
              </a:r>
              <a:r>
                <a:rPr lang="de-AT" sz="1000" b="1">
                  <a:solidFill>
                    <a:schemeClr val="accent3"/>
                  </a:solidFill>
                </a:rPr>
                <a:t> Images)</a:t>
              </a:r>
            </a:p>
            <a:p>
              <a:pPr algn="l"/>
              <a:r>
                <a:rPr lang="de-AT" sz="1000" err="1">
                  <a:solidFill>
                    <a:schemeClr val="accent3"/>
                  </a:solidFill>
                </a:rPr>
                <a:t>Minimized</a:t>
              </a:r>
              <a:r>
                <a:rPr lang="de-AT" sz="1000">
                  <a:solidFill>
                    <a:schemeClr val="accent3"/>
                  </a:solidFill>
                </a:rPr>
                <a:t> DICOM Images</a:t>
              </a:r>
            </a:p>
          </p:txBody>
        </p:sp>
        <p:sp>
          <p:nvSpPr>
            <p:cNvPr id="23" name="Freeform 29">
              <a:extLst>
                <a:ext uri="{FF2B5EF4-FFF2-40B4-BE49-F238E27FC236}">
                  <a16:creationId xmlns:a16="http://schemas.microsoft.com/office/drawing/2014/main" id="{3B597394-EE76-1B9B-CD66-777335B491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67613" y="2453684"/>
              <a:ext cx="322732" cy="355508"/>
            </a:xfrm>
            <a:custGeom>
              <a:avLst/>
              <a:gdLst>
                <a:gd name="T0" fmla="*/ 183 w 333"/>
                <a:gd name="T1" fmla="*/ 334 h 367"/>
                <a:gd name="T2" fmla="*/ 333 w 333"/>
                <a:gd name="T3" fmla="*/ 334 h 367"/>
                <a:gd name="T4" fmla="*/ 333 w 333"/>
                <a:gd name="T5" fmla="*/ 367 h 367"/>
                <a:gd name="T6" fmla="*/ 0 w 333"/>
                <a:gd name="T7" fmla="*/ 367 h 367"/>
                <a:gd name="T8" fmla="*/ 0 w 333"/>
                <a:gd name="T9" fmla="*/ 334 h 367"/>
                <a:gd name="T10" fmla="*/ 150 w 333"/>
                <a:gd name="T11" fmla="*/ 334 h 367"/>
                <a:gd name="T12" fmla="*/ 150 w 333"/>
                <a:gd name="T13" fmla="*/ 300 h 367"/>
                <a:gd name="T14" fmla="*/ 183 w 333"/>
                <a:gd name="T15" fmla="*/ 300 h 367"/>
                <a:gd name="T16" fmla="*/ 183 w 333"/>
                <a:gd name="T17" fmla="*/ 334 h 367"/>
                <a:gd name="T18" fmla="*/ 17 w 333"/>
                <a:gd name="T19" fmla="*/ 217 h 367"/>
                <a:gd name="T20" fmla="*/ 67 w 333"/>
                <a:gd name="T21" fmla="*/ 217 h 367"/>
                <a:gd name="T22" fmla="*/ 67 w 333"/>
                <a:gd name="T23" fmla="*/ 250 h 367"/>
                <a:gd name="T24" fmla="*/ 17 w 333"/>
                <a:gd name="T25" fmla="*/ 250 h 367"/>
                <a:gd name="T26" fmla="*/ 17 w 333"/>
                <a:gd name="T27" fmla="*/ 217 h 367"/>
                <a:gd name="T28" fmla="*/ 0 w 333"/>
                <a:gd name="T29" fmla="*/ 267 h 367"/>
                <a:gd name="T30" fmla="*/ 333 w 333"/>
                <a:gd name="T31" fmla="*/ 267 h 367"/>
                <a:gd name="T32" fmla="*/ 333 w 333"/>
                <a:gd name="T33" fmla="*/ 200 h 367"/>
                <a:gd name="T34" fmla="*/ 0 w 333"/>
                <a:gd name="T35" fmla="*/ 200 h 367"/>
                <a:gd name="T36" fmla="*/ 0 w 333"/>
                <a:gd name="T37" fmla="*/ 267 h 367"/>
                <a:gd name="T38" fmla="*/ 17 w 333"/>
                <a:gd name="T39" fmla="*/ 117 h 367"/>
                <a:gd name="T40" fmla="*/ 67 w 333"/>
                <a:gd name="T41" fmla="*/ 117 h 367"/>
                <a:gd name="T42" fmla="*/ 67 w 333"/>
                <a:gd name="T43" fmla="*/ 150 h 367"/>
                <a:gd name="T44" fmla="*/ 17 w 333"/>
                <a:gd name="T45" fmla="*/ 150 h 367"/>
                <a:gd name="T46" fmla="*/ 17 w 333"/>
                <a:gd name="T47" fmla="*/ 117 h 367"/>
                <a:gd name="T48" fmla="*/ 0 w 333"/>
                <a:gd name="T49" fmla="*/ 167 h 367"/>
                <a:gd name="T50" fmla="*/ 333 w 333"/>
                <a:gd name="T51" fmla="*/ 167 h 367"/>
                <a:gd name="T52" fmla="*/ 333 w 333"/>
                <a:gd name="T53" fmla="*/ 100 h 367"/>
                <a:gd name="T54" fmla="*/ 0 w 333"/>
                <a:gd name="T55" fmla="*/ 100 h 367"/>
                <a:gd name="T56" fmla="*/ 0 w 333"/>
                <a:gd name="T57" fmla="*/ 167 h 367"/>
                <a:gd name="T58" fmla="*/ 67 w 333"/>
                <a:gd name="T59" fmla="*/ 50 h 367"/>
                <a:gd name="T60" fmla="*/ 17 w 333"/>
                <a:gd name="T61" fmla="*/ 50 h 367"/>
                <a:gd name="T62" fmla="*/ 17 w 333"/>
                <a:gd name="T63" fmla="*/ 17 h 367"/>
                <a:gd name="T64" fmla="*/ 67 w 333"/>
                <a:gd name="T65" fmla="*/ 17 h 367"/>
                <a:gd name="T66" fmla="*/ 67 w 333"/>
                <a:gd name="T67" fmla="*/ 50 h 367"/>
                <a:gd name="T68" fmla="*/ 0 w 333"/>
                <a:gd name="T69" fmla="*/ 67 h 367"/>
                <a:gd name="T70" fmla="*/ 333 w 333"/>
                <a:gd name="T71" fmla="*/ 67 h 367"/>
                <a:gd name="T72" fmla="*/ 333 w 333"/>
                <a:gd name="T73" fmla="*/ 0 h 367"/>
                <a:gd name="T74" fmla="*/ 0 w 333"/>
                <a:gd name="T75" fmla="*/ 0 h 367"/>
                <a:gd name="T76" fmla="*/ 0 w 333"/>
                <a:gd name="T77" fmla="*/ 67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33" h="367">
                  <a:moveTo>
                    <a:pt x="183" y="334"/>
                  </a:moveTo>
                  <a:lnTo>
                    <a:pt x="333" y="334"/>
                  </a:lnTo>
                  <a:lnTo>
                    <a:pt x="333" y="367"/>
                  </a:lnTo>
                  <a:lnTo>
                    <a:pt x="0" y="367"/>
                  </a:lnTo>
                  <a:lnTo>
                    <a:pt x="0" y="334"/>
                  </a:lnTo>
                  <a:lnTo>
                    <a:pt x="150" y="334"/>
                  </a:lnTo>
                  <a:lnTo>
                    <a:pt x="150" y="300"/>
                  </a:lnTo>
                  <a:lnTo>
                    <a:pt x="183" y="300"/>
                  </a:lnTo>
                  <a:lnTo>
                    <a:pt x="183" y="334"/>
                  </a:lnTo>
                  <a:close/>
                  <a:moveTo>
                    <a:pt x="17" y="217"/>
                  </a:moveTo>
                  <a:lnTo>
                    <a:pt x="67" y="217"/>
                  </a:lnTo>
                  <a:lnTo>
                    <a:pt x="67" y="250"/>
                  </a:lnTo>
                  <a:lnTo>
                    <a:pt x="17" y="250"/>
                  </a:lnTo>
                  <a:lnTo>
                    <a:pt x="17" y="217"/>
                  </a:lnTo>
                  <a:close/>
                  <a:moveTo>
                    <a:pt x="0" y="267"/>
                  </a:moveTo>
                  <a:lnTo>
                    <a:pt x="333" y="267"/>
                  </a:lnTo>
                  <a:lnTo>
                    <a:pt x="333" y="200"/>
                  </a:lnTo>
                  <a:lnTo>
                    <a:pt x="0" y="200"/>
                  </a:lnTo>
                  <a:lnTo>
                    <a:pt x="0" y="267"/>
                  </a:lnTo>
                  <a:close/>
                  <a:moveTo>
                    <a:pt x="17" y="117"/>
                  </a:moveTo>
                  <a:lnTo>
                    <a:pt x="67" y="117"/>
                  </a:lnTo>
                  <a:lnTo>
                    <a:pt x="67" y="150"/>
                  </a:lnTo>
                  <a:lnTo>
                    <a:pt x="17" y="150"/>
                  </a:lnTo>
                  <a:lnTo>
                    <a:pt x="17" y="117"/>
                  </a:lnTo>
                  <a:close/>
                  <a:moveTo>
                    <a:pt x="0" y="167"/>
                  </a:moveTo>
                  <a:lnTo>
                    <a:pt x="333" y="167"/>
                  </a:lnTo>
                  <a:lnTo>
                    <a:pt x="333" y="100"/>
                  </a:lnTo>
                  <a:lnTo>
                    <a:pt x="0" y="100"/>
                  </a:lnTo>
                  <a:lnTo>
                    <a:pt x="0" y="167"/>
                  </a:lnTo>
                  <a:close/>
                  <a:moveTo>
                    <a:pt x="67" y="50"/>
                  </a:moveTo>
                  <a:lnTo>
                    <a:pt x="17" y="50"/>
                  </a:lnTo>
                  <a:lnTo>
                    <a:pt x="17" y="17"/>
                  </a:lnTo>
                  <a:lnTo>
                    <a:pt x="67" y="17"/>
                  </a:lnTo>
                  <a:lnTo>
                    <a:pt x="67" y="50"/>
                  </a:lnTo>
                  <a:close/>
                  <a:moveTo>
                    <a:pt x="0" y="67"/>
                  </a:moveTo>
                  <a:lnTo>
                    <a:pt x="333" y="67"/>
                  </a:lnTo>
                  <a:lnTo>
                    <a:pt x="333" y="0"/>
                  </a:lnTo>
                  <a:lnTo>
                    <a:pt x="0" y="0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F6EEC699-448D-E8C5-BADD-6AA0F8ADC4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3372" y="2143081"/>
              <a:ext cx="267612" cy="174669"/>
            </a:xfrm>
            <a:custGeom>
              <a:avLst/>
              <a:gdLst>
                <a:gd name="T0" fmla="*/ 367 w 433"/>
                <a:gd name="T1" fmla="*/ 119 h 284"/>
                <a:gd name="T2" fmla="*/ 367 w 433"/>
                <a:gd name="T3" fmla="*/ 117 h 284"/>
                <a:gd name="T4" fmla="*/ 300 w 433"/>
                <a:gd name="T5" fmla="*/ 50 h 284"/>
                <a:gd name="T6" fmla="*/ 270 w 433"/>
                <a:gd name="T7" fmla="*/ 58 h 284"/>
                <a:gd name="T8" fmla="*/ 175 w 433"/>
                <a:gd name="T9" fmla="*/ 0 h 284"/>
                <a:gd name="T10" fmla="*/ 67 w 433"/>
                <a:gd name="T11" fmla="*/ 109 h 284"/>
                <a:gd name="T12" fmla="*/ 67 w 433"/>
                <a:gd name="T13" fmla="*/ 119 h 284"/>
                <a:gd name="T14" fmla="*/ 0 w 433"/>
                <a:gd name="T15" fmla="*/ 200 h 284"/>
                <a:gd name="T16" fmla="*/ 83 w 433"/>
                <a:gd name="T17" fmla="*/ 284 h 284"/>
                <a:gd name="T18" fmla="*/ 350 w 433"/>
                <a:gd name="T19" fmla="*/ 284 h 284"/>
                <a:gd name="T20" fmla="*/ 433 w 433"/>
                <a:gd name="T21" fmla="*/ 200 h 284"/>
                <a:gd name="T22" fmla="*/ 367 w 433"/>
                <a:gd name="T23" fmla="*/ 119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3" h="284">
                  <a:moveTo>
                    <a:pt x="367" y="119"/>
                  </a:moveTo>
                  <a:cubicBezTo>
                    <a:pt x="367" y="118"/>
                    <a:pt x="367" y="118"/>
                    <a:pt x="367" y="117"/>
                  </a:cubicBezTo>
                  <a:cubicBezTo>
                    <a:pt x="367" y="80"/>
                    <a:pt x="337" y="50"/>
                    <a:pt x="300" y="50"/>
                  </a:cubicBezTo>
                  <a:cubicBezTo>
                    <a:pt x="289" y="50"/>
                    <a:pt x="279" y="53"/>
                    <a:pt x="270" y="58"/>
                  </a:cubicBezTo>
                  <a:cubicBezTo>
                    <a:pt x="252" y="23"/>
                    <a:pt x="216" y="0"/>
                    <a:pt x="175" y="0"/>
                  </a:cubicBezTo>
                  <a:cubicBezTo>
                    <a:pt x="115" y="0"/>
                    <a:pt x="67" y="49"/>
                    <a:pt x="67" y="109"/>
                  </a:cubicBezTo>
                  <a:cubicBezTo>
                    <a:pt x="67" y="112"/>
                    <a:pt x="67" y="115"/>
                    <a:pt x="67" y="119"/>
                  </a:cubicBezTo>
                  <a:cubicBezTo>
                    <a:pt x="29" y="126"/>
                    <a:pt x="0" y="160"/>
                    <a:pt x="0" y="200"/>
                  </a:cubicBezTo>
                  <a:cubicBezTo>
                    <a:pt x="0" y="246"/>
                    <a:pt x="37" y="284"/>
                    <a:pt x="83" y="284"/>
                  </a:cubicBezTo>
                  <a:lnTo>
                    <a:pt x="350" y="284"/>
                  </a:lnTo>
                  <a:cubicBezTo>
                    <a:pt x="396" y="284"/>
                    <a:pt x="433" y="246"/>
                    <a:pt x="433" y="200"/>
                  </a:cubicBezTo>
                  <a:cubicBezTo>
                    <a:pt x="433" y="160"/>
                    <a:pt x="405" y="126"/>
                    <a:pt x="367" y="1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1" name="Gruppieren 450">
            <a:extLst>
              <a:ext uri="{FF2B5EF4-FFF2-40B4-BE49-F238E27FC236}">
                <a16:creationId xmlns:a16="http://schemas.microsoft.com/office/drawing/2014/main" id="{6ED2C181-0F3C-7255-FCA2-BE39D4B39BEE}"/>
              </a:ext>
            </a:extLst>
          </p:cNvPr>
          <p:cNvGrpSpPr>
            <a:grpSpLocks/>
          </p:cNvGrpSpPr>
          <p:nvPr/>
        </p:nvGrpSpPr>
        <p:grpSpPr>
          <a:xfrm>
            <a:off x="5733479" y="4199716"/>
            <a:ext cx="554926" cy="554926"/>
            <a:chOff x="9798749" y="5417011"/>
            <a:chExt cx="554926" cy="554926"/>
          </a:xfrm>
        </p:grpSpPr>
        <p:grpSp>
          <p:nvGrpSpPr>
            <p:cNvPr id="452" name="Gruppieren 451">
              <a:extLst>
                <a:ext uri="{FF2B5EF4-FFF2-40B4-BE49-F238E27FC236}">
                  <a16:creationId xmlns:a16="http://schemas.microsoft.com/office/drawing/2014/main" id="{E24D4DA2-3901-B305-4900-813EA907ADB3}"/>
                </a:ext>
              </a:extLst>
            </p:cNvPr>
            <p:cNvGrpSpPr/>
            <p:nvPr/>
          </p:nvGrpSpPr>
          <p:grpSpPr>
            <a:xfrm>
              <a:off x="9798749" y="5417011"/>
              <a:ext cx="554926" cy="554926"/>
              <a:chOff x="9798749" y="5417011"/>
              <a:chExt cx="554926" cy="554926"/>
            </a:xfrm>
          </p:grpSpPr>
          <p:sp>
            <p:nvSpPr>
              <p:cNvPr id="455" name="Ellipse 454">
                <a:extLst>
                  <a:ext uri="{FF2B5EF4-FFF2-40B4-BE49-F238E27FC236}">
                    <a16:creationId xmlns:a16="http://schemas.microsoft.com/office/drawing/2014/main" id="{3DA613F0-5A7E-C877-69FA-087D73EC80C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798749" y="5417011"/>
                <a:ext cx="554926" cy="55492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9" name="Ellipse 458">
                <a:extLst>
                  <a:ext uri="{FF2B5EF4-FFF2-40B4-BE49-F238E27FC236}">
                    <a16:creationId xmlns:a16="http://schemas.microsoft.com/office/drawing/2014/main" id="{EF5CE63E-37CD-5FE5-7F41-AAB17AC81DC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853518" y="5471780"/>
                <a:ext cx="445388" cy="44538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53" name="Grafik 102">
              <a:extLst>
                <a:ext uri="{FF2B5EF4-FFF2-40B4-BE49-F238E27FC236}">
                  <a16:creationId xmlns:a16="http://schemas.microsoft.com/office/drawing/2014/main" id="{A675633C-9166-2C32-5FBC-7691183C81BB}"/>
                </a:ext>
              </a:extLst>
            </p:cNvPr>
            <p:cNvSpPr/>
            <p:nvPr/>
          </p:nvSpPr>
          <p:spPr>
            <a:xfrm rot="18900000">
              <a:off x="9934808" y="5606288"/>
              <a:ext cx="269408" cy="176150"/>
            </a:xfrm>
            <a:custGeom>
              <a:avLst/>
              <a:gdLst>
                <a:gd name="connsiteX0" fmla="*/ 233363 w 247650"/>
                <a:gd name="connsiteY0" fmla="*/ 104775 h 161925"/>
                <a:gd name="connsiteX1" fmla="*/ 190500 w 247650"/>
                <a:gd name="connsiteY1" fmla="*/ 104775 h 161925"/>
                <a:gd name="connsiteX2" fmla="*/ 190500 w 247650"/>
                <a:gd name="connsiteY2" fmla="*/ 57150 h 161925"/>
                <a:gd name="connsiteX3" fmla="*/ 233363 w 247650"/>
                <a:gd name="connsiteY3" fmla="*/ 57150 h 161925"/>
                <a:gd name="connsiteX4" fmla="*/ 247650 w 247650"/>
                <a:gd name="connsiteY4" fmla="*/ 42863 h 161925"/>
                <a:gd name="connsiteX5" fmla="*/ 233363 w 247650"/>
                <a:gd name="connsiteY5" fmla="*/ 28575 h 161925"/>
                <a:gd name="connsiteX6" fmla="*/ 190500 w 247650"/>
                <a:gd name="connsiteY6" fmla="*/ 28575 h 161925"/>
                <a:gd name="connsiteX7" fmla="*/ 190500 w 247650"/>
                <a:gd name="connsiteY7" fmla="*/ 0 h 161925"/>
                <a:gd name="connsiteX8" fmla="*/ 142875 w 247650"/>
                <a:gd name="connsiteY8" fmla="*/ 0 h 161925"/>
                <a:gd name="connsiteX9" fmla="*/ 85725 w 247650"/>
                <a:gd name="connsiteY9" fmla="*/ 57150 h 161925"/>
                <a:gd name="connsiteX10" fmla="*/ 19050 w 247650"/>
                <a:gd name="connsiteY10" fmla="*/ 57150 h 161925"/>
                <a:gd name="connsiteX11" fmla="*/ 0 w 247650"/>
                <a:gd name="connsiteY11" fmla="*/ 104775 h 161925"/>
                <a:gd name="connsiteX12" fmla="*/ 85725 w 247650"/>
                <a:gd name="connsiteY12" fmla="*/ 104775 h 161925"/>
                <a:gd name="connsiteX13" fmla="*/ 142875 w 247650"/>
                <a:gd name="connsiteY13" fmla="*/ 161925 h 161925"/>
                <a:gd name="connsiteX14" fmla="*/ 190500 w 247650"/>
                <a:gd name="connsiteY14" fmla="*/ 161925 h 161925"/>
                <a:gd name="connsiteX15" fmla="*/ 190500 w 247650"/>
                <a:gd name="connsiteY15" fmla="*/ 133350 h 161925"/>
                <a:gd name="connsiteX16" fmla="*/ 233363 w 247650"/>
                <a:gd name="connsiteY16" fmla="*/ 133350 h 161925"/>
                <a:gd name="connsiteX17" fmla="*/ 247650 w 247650"/>
                <a:gd name="connsiteY17" fmla="*/ 119063 h 161925"/>
                <a:gd name="connsiteX18" fmla="*/ 233363 w 247650"/>
                <a:gd name="connsiteY18" fmla="*/ 10477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7650" h="161925">
                  <a:moveTo>
                    <a:pt x="233363" y="104775"/>
                  </a:moveTo>
                  <a:lnTo>
                    <a:pt x="190500" y="104775"/>
                  </a:lnTo>
                  <a:lnTo>
                    <a:pt x="190500" y="57150"/>
                  </a:lnTo>
                  <a:lnTo>
                    <a:pt x="233363" y="57150"/>
                  </a:lnTo>
                  <a:cubicBezTo>
                    <a:pt x="241268" y="57150"/>
                    <a:pt x="247650" y="50768"/>
                    <a:pt x="247650" y="42863"/>
                  </a:cubicBezTo>
                  <a:cubicBezTo>
                    <a:pt x="247650" y="34957"/>
                    <a:pt x="241268" y="28575"/>
                    <a:pt x="233363" y="28575"/>
                  </a:cubicBezTo>
                  <a:lnTo>
                    <a:pt x="190500" y="28575"/>
                  </a:lnTo>
                  <a:lnTo>
                    <a:pt x="190500" y="0"/>
                  </a:lnTo>
                  <a:lnTo>
                    <a:pt x="142875" y="0"/>
                  </a:lnTo>
                  <a:cubicBezTo>
                    <a:pt x="111347" y="0"/>
                    <a:pt x="85725" y="25622"/>
                    <a:pt x="85725" y="57150"/>
                  </a:cubicBezTo>
                  <a:lnTo>
                    <a:pt x="19050" y="57150"/>
                  </a:lnTo>
                  <a:lnTo>
                    <a:pt x="0" y="104775"/>
                  </a:lnTo>
                  <a:lnTo>
                    <a:pt x="85725" y="104775"/>
                  </a:lnTo>
                  <a:cubicBezTo>
                    <a:pt x="85725" y="136303"/>
                    <a:pt x="111347" y="161925"/>
                    <a:pt x="142875" y="161925"/>
                  </a:cubicBezTo>
                  <a:lnTo>
                    <a:pt x="190500" y="161925"/>
                  </a:lnTo>
                  <a:lnTo>
                    <a:pt x="190500" y="133350"/>
                  </a:lnTo>
                  <a:lnTo>
                    <a:pt x="233363" y="133350"/>
                  </a:lnTo>
                  <a:cubicBezTo>
                    <a:pt x="241268" y="133350"/>
                    <a:pt x="247650" y="126968"/>
                    <a:pt x="247650" y="119063"/>
                  </a:cubicBezTo>
                  <a:cubicBezTo>
                    <a:pt x="247650" y="111157"/>
                    <a:pt x="241268" y="104775"/>
                    <a:pt x="233363" y="104775"/>
                  </a:cubicBezTo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460" name="Picture 6">
            <a:extLst>
              <a:ext uri="{FF2B5EF4-FFF2-40B4-BE49-F238E27FC236}">
                <a16:creationId xmlns:a16="http://schemas.microsoft.com/office/drawing/2014/main" id="{D3C348AC-BB28-5A28-AD52-2FB3B88D16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08807" y="4745289"/>
            <a:ext cx="2189263" cy="1242834"/>
          </a:xfrm>
          <a:prstGeom prst="rect">
            <a:avLst/>
          </a:prstGeom>
          <a:ln w="6350">
            <a:solidFill>
              <a:schemeClr val="accent5"/>
            </a:solidFill>
          </a:ln>
        </p:spPr>
      </p:pic>
      <p:sp>
        <p:nvSpPr>
          <p:cNvPr id="461" name="TextBox 22">
            <a:extLst>
              <a:ext uri="{FF2B5EF4-FFF2-40B4-BE49-F238E27FC236}">
                <a16:creationId xmlns:a16="http://schemas.microsoft.com/office/drawing/2014/main" id="{68851C2C-0359-8150-AE5D-34DF5E2ABFB7}"/>
              </a:ext>
            </a:extLst>
          </p:cNvPr>
          <p:cNvSpPr txBox="1">
            <a:spLocks/>
          </p:cNvSpPr>
          <p:nvPr/>
        </p:nvSpPr>
        <p:spPr>
          <a:xfrm>
            <a:off x="7496175" y="4227398"/>
            <a:ext cx="1838708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AT" sz="1200"/>
              <a:t>Query </a:t>
            </a:r>
            <a:r>
              <a:rPr lang="de-AT" sz="1200" err="1"/>
              <a:t>for</a:t>
            </a:r>
            <a:r>
              <a:rPr lang="de-AT" sz="1200"/>
              <a:t> </a:t>
            </a:r>
            <a:r>
              <a:rPr lang="de-AT" sz="1200" err="1"/>
              <a:t>documents</a:t>
            </a:r>
            <a:r>
              <a:rPr lang="de-AT" sz="1200"/>
              <a:t>/ITI-18</a:t>
            </a:r>
          </a:p>
        </p:txBody>
      </p:sp>
      <p:sp>
        <p:nvSpPr>
          <p:cNvPr id="469" name="Rectangle 20">
            <a:extLst>
              <a:ext uri="{FF2B5EF4-FFF2-40B4-BE49-F238E27FC236}">
                <a16:creationId xmlns:a16="http://schemas.microsoft.com/office/drawing/2014/main" id="{96F49150-43FF-973F-B449-27B2C671268C}"/>
              </a:ext>
            </a:extLst>
          </p:cNvPr>
          <p:cNvSpPr>
            <a:spLocks/>
          </p:cNvSpPr>
          <p:nvPr/>
        </p:nvSpPr>
        <p:spPr>
          <a:xfrm>
            <a:off x="8689388" y="4610700"/>
            <a:ext cx="1688897" cy="482982"/>
          </a:xfrm>
          <a:prstGeom prst="roundRect">
            <a:avLst>
              <a:gd name="adj" fmla="val 50000"/>
            </a:avLst>
          </a:prstGeom>
          <a:solidFill>
            <a:srgbClr val="87D2D2"/>
          </a:solidFill>
          <a:ln w="19050">
            <a:solidFill>
              <a:srgbClr val="009999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tIns="72000" rtlCol="0" anchor="ctr"/>
          <a:lstStyle/>
          <a:p>
            <a:pPr algn="ctr">
              <a:lnSpc>
                <a:spcPct val="80000"/>
              </a:lnSpc>
            </a:pPr>
            <a:r>
              <a:rPr lang="de-AT" sz="1000" i="1" err="1">
                <a:solidFill>
                  <a:schemeClr val="accent3"/>
                </a:solidFill>
              </a:rPr>
              <a:t>eHealth</a:t>
            </a:r>
            <a:endParaRPr lang="de-AT" sz="1000" i="1">
              <a:solidFill>
                <a:schemeClr val="accent3"/>
              </a:solidFill>
            </a:endParaRPr>
          </a:p>
          <a:p>
            <a:pPr algn="ctr">
              <a:lnSpc>
                <a:spcPct val="80000"/>
              </a:lnSpc>
            </a:pPr>
            <a:r>
              <a:rPr lang="de-AT" sz="1600" b="1">
                <a:solidFill>
                  <a:schemeClr val="bg1"/>
                </a:solidFill>
              </a:rPr>
              <a:t>Consumer</a:t>
            </a:r>
          </a:p>
        </p:txBody>
      </p:sp>
      <p:grpSp>
        <p:nvGrpSpPr>
          <p:cNvPr id="470" name="Gruppieren 469">
            <a:extLst>
              <a:ext uri="{FF2B5EF4-FFF2-40B4-BE49-F238E27FC236}">
                <a16:creationId xmlns:a16="http://schemas.microsoft.com/office/drawing/2014/main" id="{3591FA5F-9083-D629-E95B-2DDA4D5245F4}"/>
              </a:ext>
            </a:extLst>
          </p:cNvPr>
          <p:cNvGrpSpPr/>
          <p:nvPr/>
        </p:nvGrpSpPr>
        <p:grpSpPr>
          <a:xfrm>
            <a:off x="10495125" y="5073475"/>
            <a:ext cx="926458" cy="958929"/>
            <a:chOff x="-19051" y="1911473"/>
            <a:chExt cx="1700573" cy="1760176"/>
          </a:xfrm>
        </p:grpSpPr>
        <p:grpSp>
          <p:nvGrpSpPr>
            <p:cNvPr id="471" name="Grafik 110">
              <a:extLst>
                <a:ext uri="{FF2B5EF4-FFF2-40B4-BE49-F238E27FC236}">
                  <a16:creationId xmlns:a16="http://schemas.microsoft.com/office/drawing/2014/main" id="{A61AD131-EBEB-62AF-2F7B-285E69449381}"/>
                </a:ext>
              </a:extLst>
            </p:cNvPr>
            <p:cNvGrpSpPr/>
            <p:nvPr/>
          </p:nvGrpSpPr>
          <p:grpSpPr>
            <a:xfrm>
              <a:off x="190120" y="1927759"/>
              <a:ext cx="890134" cy="837107"/>
              <a:chOff x="190120" y="1927759"/>
              <a:chExt cx="890134" cy="837107"/>
            </a:xfrm>
          </p:grpSpPr>
          <p:grpSp>
            <p:nvGrpSpPr>
              <p:cNvPr id="97" name="Grafik 110">
                <a:extLst>
                  <a:ext uri="{FF2B5EF4-FFF2-40B4-BE49-F238E27FC236}">
                    <a16:creationId xmlns:a16="http://schemas.microsoft.com/office/drawing/2014/main" id="{815A446B-3B3D-3E85-0912-54A1A6DF620F}"/>
                  </a:ext>
                </a:extLst>
              </p:cNvPr>
              <p:cNvGrpSpPr/>
              <p:nvPr/>
            </p:nvGrpSpPr>
            <p:grpSpPr>
              <a:xfrm>
                <a:off x="190120" y="1927759"/>
                <a:ext cx="890134" cy="553500"/>
                <a:chOff x="190120" y="1927759"/>
                <a:chExt cx="890134" cy="553500"/>
              </a:xfrm>
            </p:grpSpPr>
            <p:sp>
              <p:nvSpPr>
                <p:cNvPr id="103" name="Freihandform: Form 102">
                  <a:extLst>
                    <a:ext uri="{FF2B5EF4-FFF2-40B4-BE49-F238E27FC236}">
                      <a16:creationId xmlns:a16="http://schemas.microsoft.com/office/drawing/2014/main" id="{8D8CB26D-7D90-8414-F8E6-A4248CA0B7DF}"/>
                    </a:ext>
                  </a:extLst>
                </p:cNvPr>
                <p:cNvSpPr/>
                <p:nvPr/>
              </p:nvSpPr>
              <p:spPr>
                <a:xfrm>
                  <a:off x="205091" y="1942786"/>
                  <a:ext cx="854624" cy="523278"/>
                </a:xfrm>
                <a:custGeom>
                  <a:avLst/>
                  <a:gdLst>
                    <a:gd name="connsiteX0" fmla="*/ 0 w 854624"/>
                    <a:gd name="connsiteY0" fmla="*/ 0 h 523278"/>
                    <a:gd name="connsiteX1" fmla="*/ 854624 w 854624"/>
                    <a:gd name="connsiteY1" fmla="*/ 0 h 523278"/>
                    <a:gd name="connsiteX2" fmla="*/ 854624 w 854624"/>
                    <a:gd name="connsiteY2" fmla="*/ 523279 h 523278"/>
                    <a:gd name="connsiteX3" fmla="*/ 0 w 854624"/>
                    <a:gd name="connsiteY3" fmla="*/ 523279 h 5232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54624" h="523278">
                      <a:moveTo>
                        <a:pt x="0" y="0"/>
                      </a:moveTo>
                      <a:lnTo>
                        <a:pt x="854624" y="0"/>
                      </a:lnTo>
                      <a:lnTo>
                        <a:pt x="854624" y="523279"/>
                      </a:lnTo>
                      <a:lnTo>
                        <a:pt x="0" y="523279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27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9" name="Freihandform: Form 108">
                  <a:extLst>
                    <a:ext uri="{FF2B5EF4-FFF2-40B4-BE49-F238E27FC236}">
                      <a16:creationId xmlns:a16="http://schemas.microsoft.com/office/drawing/2014/main" id="{F9BF8EEA-28DF-B28D-45CD-1022563E04A8}"/>
                    </a:ext>
                  </a:extLst>
                </p:cNvPr>
                <p:cNvSpPr/>
                <p:nvPr/>
              </p:nvSpPr>
              <p:spPr>
                <a:xfrm>
                  <a:off x="190120" y="1927759"/>
                  <a:ext cx="890134" cy="553500"/>
                </a:xfrm>
                <a:custGeom>
                  <a:avLst/>
                  <a:gdLst>
                    <a:gd name="connsiteX0" fmla="*/ 890106 w 890134"/>
                    <a:gd name="connsiteY0" fmla="*/ 553500 h 553500"/>
                    <a:gd name="connsiteX1" fmla="*/ 0 w 890134"/>
                    <a:gd name="connsiteY1" fmla="*/ 553500 h 553500"/>
                    <a:gd name="connsiteX2" fmla="*/ 0 w 890134"/>
                    <a:gd name="connsiteY2" fmla="*/ 0 h 553500"/>
                    <a:gd name="connsiteX3" fmla="*/ 890134 w 890134"/>
                    <a:gd name="connsiteY3" fmla="*/ 0 h 553500"/>
                    <a:gd name="connsiteX4" fmla="*/ 890134 w 890134"/>
                    <a:gd name="connsiteY4" fmla="*/ 553500 h 553500"/>
                    <a:gd name="connsiteX5" fmla="*/ 16902 w 890134"/>
                    <a:gd name="connsiteY5" fmla="*/ 536571 h 553500"/>
                    <a:gd name="connsiteX6" fmla="*/ 873177 w 890134"/>
                    <a:gd name="connsiteY6" fmla="*/ 536571 h 553500"/>
                    <a:gd name="connsiteX7" fmla="*/ 873177 w 890134"/>
                    <a:gd name="connsiteY7" fmla="*/ 16930 h 553500"/>
                    <a:gd name="connsiteX8" fmla="*/ 16902 w 890134"/>
                    <a:gd name="connsiteY8" fmla="*/ 16930 h 553500"/>
                    <a:gd name="connsiteX9" fmla="*/ 16902 w 890134"/>
                    <a:gd name="connsiteY9" fmla="*/ 536571 h 553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90134" h="553500">
                      <a:moveTo>
                        <a:pt x="890106" y="553500"/>
                      </a:moveTo>
                      <a:lnTo>
                        <a:pt x="0" y="553500"/>
                      </a:lnTo>
                      <a:lnTo>
                        <a:pt x="0" y="0"/>
                      </a:lnTo>
                      <a:lnTo>
                        <a:pt x="890134" y="0"/>
                      </a:lnTo>
                      <a:lnTo>
                        <a:pt x="890134" y="553500"/>
                      </a:lnTo>
                      <a:close/>
                      <a:moveTo>
                        <a:pt x="16902" y="536571"/>
                      </a:moveTo>
                      <a:lnTo>
                        <a:pt x="873177" y="536571"/>
                      </a:lnTo>
                      <a:lnTo>
                        <a:pt x="873177" y="16930"/>
                      </a:lnTo>
                      <a:lnTo>
                        <a:pt x="16902" y="16930"/>
                      </a:lnTo>
                      <a:lnTo>
                        <a:pt x="16902" y="536571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27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100" name="Freihandform: Form 99">
                <a:extLst>
                  <a:ext uri="{FF2B5EF4-FFF2-40B4-BE49-F238E27FC236}">
                    <a16:creationId xmlns:a16="http://schemas.microsoft.com/office/drawing/2014/main" id="{33307733-C528-F50E-E351-303E25F6D661}"/>
                  </a:ext>
                </a:extLst>
              </p:cNvPr>
              <p:cNvSpPr/>
              <p:nvPr/>
            </p:nvSpPr>
            <p:spPr>
              <a:xfrm>
                <a:off x="547797" y="2474488"/>
                <a:ext cx="174780" cy="286096"/>
              </a:xfrm>
              <a:custGeom>
                <a:avLst/>
                <a:gdLst>
                  <a:gd name="connsiteX0" fmla="*/ 0 w 174780"/>
                  <a:gd name="connsiteY0" fmla="*/ 0 h 286096"/>
                  <a:gd name="connsiteX1" fmla="*/ 174781 w 174780"/>
                  <a:gd name="connsiteY1" fmla="*/ 0 h 286096"/>
                  <a:gd name="connsiteX2" fmla="*/ 174781 w 174780"/>
                  <a:gd name="connsiteY2" fmla="*/ 286096 h 286096"/>
                  <a:gd name="connsiteX3" fmla="*/ 0 w 174780"/>
                  <a:gd name="connsiteY3" fmla="*/ 286096 h 286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4780" h="286096">
                    <a:moveTo>
                      <a:pt x="0" y="0"/>
                    </a:moveTo>
                    <a:lnTo>
                      <a:pt x="174781" y="0"/>
                    </a:lnTo>
                    <a:lnTo>
                      <a:pt x="174781" y="286096"/>
                    </a:lnTo>
                    <a:lnTo>
                      <a:pt x="0" y="286096"/>
                    </a:lnTo>
                    <a:close/>
                  </a:path>
                </a:pathLst>
              </a:custGeom>
              <a:solidFill>
                <a:srgbClr val="404040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1" name="Freihandform: Form 100">
                <a:extLst>
                  <a:ext uri="{FF2B5EF4-FFF2-40B4-BE49-F238E27FC236}">
                    <a16:creationId xmlns:a16="http://schemas.microsoft.com/office/drawing/2014/main" id="{80975804-7552-8A4F-7E24-FA399FEB4551}"/>
                  </a:ext>
                </a:extLst>
              </p:cNvPr>
              <p:cNvSpPr/>
              <p:nvPr/>
            </p:nvSpPr>
            <p:spPr>
              <a:xfrm>
                <a:off x="467598" y="2743711"/>
                <a:ext cx="335150" cy="21155"/>
              </a:xfrm>
              <a:custGeom>
                <a:avLst/>
                <a:gdLst>
                  <a:gd name="connsiteX0" fmla="*/ 0 w 335150"/>
                  <a:gd name="connsiteY0" fmla="*/ 0 h 21155"/>
                  <a:gd name="connsiteX1" fmla="*/ 335151 w 335150"/>
                  <a:gd name="connsiteY1" fmla="*/ 0 h 21155"/>
                  <a:gd name="connsiteX2" fmla="*/ 335151 w 335150"/>
                  <a:gd name="connsiteY2" fmla="*/ 21155 h 21155"/>
                  <a:gd name="connsiteX3" fmla="*/ 0 w 335150"/>
                  <a:gd name="connsiteY3" fmla="*/ 21155 h 21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150" h="21155">
                    <a:moveTo>
                      <a:pt x="0" y="0"/>
                    </a:moveTo>
                    <a:lnTo>
                      <a:pt x="335151" y="0"/>
                    </a:lnTo>
                    <a:lnTo>
                      <a:pt x="335151" y="21155"/>
                    </a:lnTo>
                    <a:lnTo>
                      <a:pt x="0" y="21155"/>
                    </a:lnTo>
                    <a:close/>
                  </a:path>
                </a:pathLst>
              </a:custGeom>
              <a:solidFill>
                <a:srgbClr val="404040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2" name="Freihandform: Form 101">
                <a:extLst>
                  <a:ext uri="{FF2B5EF4-FFF2-40B4-BE49-F238E27FC236}">
                    <a16:creationId xmlns:a16="http://schemas.microsoft.com/office/drawing/2014/main" id="{668A5BC1-AE15-048B-8262-C1029E4AAE7E}"/>
                  </a:ext>
                </a:extLst>
              </p:cNvPr>
              <p:cNvSpPr/>
              <p:nvPr/>
            </p:nvSpPr>
            <p:spPr>
              <a:xfrm>
                <a:off x="547797" y="2481260"/>
                <a:ext cx="174780" cy="32152"/>
              </a:xfrm>
              <a:custGeom>
                <a:avLst/>
                <a:gdLst>
                  <a:gd name="connsiteX0" fmla="*/ 0 w 174780"/>
                  <a:gd name="connsiteY0" fmla="*/ 0 h 32152"/>
                  <a:gd name="connsiteX1" fmla="*/ 174781 w 174780"/>
                  <a:gd name="connsiteY1" fmla="*/ 0 h 32152"/>
                  <a:gd name="connsiteX2" fmla="*/ 174781 w 174780"/>
                  <a:gd name="connsiteY2" fmla="*/ 32152 h 32152"/>
                  <a:gd name="connsiteX3" fmla="*/ 0 w 174780"/>
                  <a:gd name="connsiteY3" fmla="*/ 32152 h 32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4780" h="32152">
                    <a:moveTo>
                      <a:pt x="0" y="0"/>
                    </a:moveTo>
                    <a:lnTo>
                      <a:pt x="174781" y="0"/>
                    </a:lnTo>
                    <a:lnTo>
                      <a:pt x="174781" y="32152"/>
                    </a:lnTo>
                    <a:lnTo>
                      <a:pt x="0" y="32152"/>
                    </a:lnTo>
                    <a:close/>
                  </a:path>
                </a:pathLst>
              </a:custGeom>
              <a:solidFill>
                <a:srgbClr val="1E1E1E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72" name="Freihandform: Form 471">
              <a:extLst>
                <a:ext uri="{FF2B5EF4-FFF2-40B4-BE49-F238E27FC236}">
                  <a16:creationId xmlns:a16="http://schemas.microsoft.com/office/drawing/2014/main" id="{B83CAB9F-2EB3-2897-D8C3-22DE42ED3EC3}"/>
                </a:ext>
              </a:extLst>
            </p:cNvPr>
            <p:cNvSpPr/>
            <p:nvPr/>
          </p:nvSpPr>
          <p:spPr>
            <a:xfrm>
              <a:off x="-19051" y="2765145"/>
              <a:ext cx="1700573" cy="30697"/>
            </a:xfrm>
            <a:custGeom>
              <a:avLst/>
              <a:gdLst>
                <a:gd name="connsiteX0" fmla="*/ 0 w 1700573"/>
                <a:gd name="connsiteY0" fmla="*/ 0 h 30697"/>
                <a:gd name="connsiteX1" fmla="*/ 1700573 w 1700573"/>
                <a:gd name="connsiteY1" fmla="*/ 0 h 30697"/>
                <a:gd name="connsiteX2" fmla="*/ 1700573 w 1700573"/>
                <a:gd name="connsiteY2" fmla="*/ 30697 h 30697"/>
                <a:gd name="connsiteX3" fmla="*/ 0 w 1700573"/>
                <a:gd name="connsiteY3" fmla="*/ 30697 h 30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0573" h="30697">
                  <a:moveTo>
                    <a:pt x="0" y="0"/>
                  </a:moveTo>
                  <a:lnTo>
                    <a:pt x="1700573" y="0"/>
                  </a:lnTo>
                  <a:lnTo>
                    <a:pt x="1700573" y="30697"/>
                  </a:lnTo>
                  <a:lnTo>
                    <a:pt x="0" y="30697"/>
                  </a:lnTo>
                  <a:close/>
                </a:path>
              </a:pathLst>
            </a:custGeom>
            <a:solidFill>
              <a:srgbClr val="404040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473" name="Grafik 110">
              <a:extLst>
                <a:ext uri="{FF2B5EF4-FFF2-40B4-BE49-F238E27FC236}">
                  <a16:creationId xmlns:a16="http://schemas.microsoft.com/office/drawing/2014/main" id="{A766D4C7-DFA0-50A1-1AA7-03A90166E1CC}"/>
                </a:ext>
              </a:extLst>
            </p:cNvPr>
            <p:cNvGrpSpPr/>
            <p:nvPr/>
          </p:nvGrpSpPr>
          <p:grpSpPr>
            <a:xfrm>
              <a:off x="212563" y="2542234"/>
              <a:ext cx="401721" cy="222911"/>
              <a:chOff x="212563" y="2542234"/>
              <a:chExt cx="401721" cy="222911"/>
            </a:xfrm>
          </p:grpSpPr>
          <p:sp>
            <p:nvSpPr>
              <p:cNvPr id="86" name="Freihandform: Form 85">
                <a:extLst>
                  <a:ext uri="{FF2B5EF4-FFF2-40B4-BE49-F238E27FC236}">
                    <a16:creationId xmlns:a16="http://schemas.microsoft.com/office/drawing/2014/main" id="{58E8B134-1307-8132-79E8-C296BF5360F2}"/>
                  </a:ext>
                </a:extLst>
              </p:cNvPr>
              <p:cNvSpPr/>
              <p:nvPr/>
            </p:nvSpPr>
            <p:spPr>
              <a:xfrm>
                <a:off x="272026" y="2542234"/>
                <a:ext cx="287663" cy="172905"/>
              </a:xfrm>
              <a:custGeom>
                <a:avLst/>
                <a:gdLst>
                  <a:gd name="connsiteX0" fmla="*/ 15698 w 287663"/>
                  <a:gd name="connsiteY0" fmla="*/ 0 h 172905"/>
                  <a:gd name="connsiteX1" fmla="*/ 271965 w 287663"/>
                  <a:gd name="connsiteY1" fmla="*/ 0 h 172905"/>
                  <a:gd name="connsiteX2" fmla="*/ 287664 w 287663"/>
                  <a:gd name="connsiteY2" fmla="*/ 15698 h 172905"/>
                  <a:gd name="connsiteX3" fmla="*/ 287664 w 287663"/>
                  <a:gd name="connsiteY3" fmla="*/ 172906 h 172905"/>
                  <a:gd name="connsiteX4" fmla="*/ 0 w 287663"/>
                  <a:gd name="connsiteY4" fmla="*/ 172906 h 172905"/>
                  <a:gd name="connsiteX5" fmla="*/ 0 w 287663"/>
                  <a:gd name="connsiteY5" fmla="*/ 15698 h 172905"/>
                  <a:gd name="connsiteX6" fmla="*/ 15698 w 287663"/>
                  <a:gd name="connsiteY6" fmla="*/ 0 h 172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7663" h="172905">
                    <a:moveTo>
                      <a:pt x="15698" y="0"/>
                    </a:moveTo>
                    <a:lnTo>
                      <a:pt x="271965" y="0"/>
                    </a:lnTo>
                    <a:cubicBezTo>
                      <a:pt x="280640" y="0"/>
                      <a:pt x="287664" y="7024"/>
                      <a:pt x="287664" y="15698"/>
                    </a:cubicBezTo>
                    <a:lnTo>
                      <a:pt x="287664" y="172906"/>
                    </a:lnTo>
                    <a:lnTo>
                      <a:pt x="0" y="172906"/>
                    </a:lnTo>
                    <a:lnTo>
                      <a:pt x="0" y="15698"/>
                    </a:lnTo>
                    <a:cubicBezTo>
                      <a:pt x="0" y="7024"/>
                      <a:pt x="7024" y="0"/>
                      <a:pt x="15698" y="0"/>
                    </a:cubicBezTo>
                    <a:close/>
                  </a:path>
                </a:pathLst>
              </a:custGeom>
              <a:solidFill>
                <a:srgbClr val="E6E6E6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7" name="Freihandform: Form 86">
                <a:extLst>
                  <a:ext uri="{FF2B5EF4-FFF2-40B4-BE49-F238E27FC236}">
                    <a16:creationId xmlns:a16="http://schemas.microsoft.com/office/drawing/2014/main" id="{A1A55B65-F97F-5466-16A4-77F2AA785A75}"/>
                  </a:ext>
                </a:extLst>
              </p:cNvPr>
              <p:cNvSpPr/>
              <p:nvPr/>
            </p:nvSpPr>
            <p:spPr>
              <a:xfrm>
                <a:off x="295923" y="2563389"/>
                <a:ext cx="239868" cy="130623"/>
              </a:xfrm>
              <a:custGeom>
                <a:avLst/>
                <a:gdLst>
                  <a:gd name="connsiteX0" fmla="*/ 0 w 239868"/>
                  <a:gd name="connsiteY0" fmla="*/ 0 h 130623"/>
                  <a:gd name="connsiteX1" fmla="*/ 239869 w 239868"/>
                  <a:gd name="connsiteY1" fmla="*/ 0 h 130623"/>
                  <a:gd name="connsiteX2" fmla="*/ 239869 w 239868"/>
                  <a:gd name="connsiteY2" fmla="*/ 130624 h 130623"/>
                  <a:gd name="connsiteX3" fmla="*/ 0 w 239868"/>
                  <a:gd name="connsiteY3" fmla="*/ 130624 h 130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9868" h="130623">
                    <a:moveTo>
                      <a:pt x="0" y="0"/>
                    </a:moveTo>
                    <a:lnTo>
                      <a:pt x="239869" y="0"/>
                    </a:lnTo>
                    <a:lnTo>
                      <a:pt x="239869" y="130624"/>
                    </a:lnTo>
                    <a:lnTo>
                      <a:pt x="0" y="130624"/>
                    </a:lnTo>
                    <a:close/>
                  </a:path>
                </a:pathLst>
              </a:custGeom>
              <a:solidFill>
                <a:srgbClr val="404040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8" name="Freihandform: Form 87">
                <a:extLst>
                  <a:ext uri="{FF2B5EF4-FFF2-40B4-BE49-F238E27FC236}">
                    <a16:creationId xmlns:a16="http://schemas.microsoft.com/office/drawing/2014/main" id="{58F9A113-11A5-063E-D5FD-B5CFC49DB80F}"/>
                  </a:ext>
                </a:extLst>
              </p:cNvPr>
              <p:cNvSpPr/>
              <p:nvPr/>
            </p:nvSpPr>
            <p:spPr>
              <a:xfrm>
                <a:off x="327796" y="2572232"/>
                <a:ext cx="50453" cy="37049"/>
              </a:xfrm>
              <a:custGeom>
                <a:avLst/>
                <a:gdLst>
                  <a:gd name="connsiteX0" fmla="*/ 0 w 50453"/>
                  <a:gd name="connsiteY0" fmla="*/ 0 h 37049"/>
                  <a:gd name="connsiteX1" fmla="*/ 50453 w 50453"/>
                  <a:gd name="connsiteY1" fmla="*/ 0 h 37049"/>
                  <a:gd name="connsiteX2" fmla="*/ 50453 w 50453"/>
                  <a:gd name="connsiteY2" fmla="*/ 37049 h 37049"/>
                  <a:gd name="connsiteX3" fmla="*/ 0 w 50453"/>
                  <a:gd name="connsiteY3" fmla="*/ 37049 h 37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453" h="37049">
                    <a:moveTo>
                      <a:pt x="0" y="0"/>
                    </a:moveTo>
                    <a:lnTo>
                      <a:pt x="50453" y="0"/>
                    </a:lnTo>
                    <a:lnTo>
                      <a:pt x="50453" y="37049"/>
                    </a:lnTo>
                    <a:lnTo>
                      <a:pt x="0" y="37049"/>
                    </a:lnTo>
                    <a:close/>
                  </a:path>
                </a:pathLst>
              </a:custGeom>
              <a:solidFill>
                <a:srgbClr val="E6E6E6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9" name="Freihandform: Form 88">
                <a:extLst>
                  <a:ext uri="{FF2B5EF4-FFF2-40B4-BE49-F238E27FC236}">
                    <a16:creationId xmlns:a16="http://schemas.microsoft.com/office/drawing/2014/main" id="{6D004776-7215-6B36-11C7-32B8E039B83B}"/>
                  </a:ext>
                </a:extLst>
              </p:cNvPr>
              <p:cNvSpPr/>
              <p:nvPr/>
            </p:nvSpPr>
            <p:spPr>
              <a:xfrm>
                <a:off x="391093" y="2572232"/>
                <a:ext cx="50453" cy="37049"/>
              </a:xfrm>
              <a:custGeom>
                <a:avLst/>
                <a:gdLst>
                  <a:gd name="connsiteX0" fmla="*/ 0 w 50453"/>
                  <a:gd name="connsiteY0" fmla="*/ 0 h 37049"/>
                  <a:gd name="connsiteX1" fmla="*/ 50453 w 50453"/>
                  <a:gd name="connsiteY1" fmla="*/ 0 h 37049"/>
                  <a:gd name="connsiteX2" fmla="*/ 50453 w 50453"/>
                  <a:gd name="connsiteY2" fmla="*/ 37049 h 37049"/>
                  <a:gd name="connsiteX3" fmla="*/ 0 w 50453"/>
                  <a:gd name="connsiteY3" fmla="*/ 37049 h 37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453" h="37049">
                    <a:moveTo>
                      <a:pt x="0" y="0"/>
                    </a:moveTo>
                    <a:lnTo>
                      <a:pt x="50453" y="0"/>
                    </a:lnTo>
                    <a:lnTo>
                      <a:pt x="50453" y="37049"/>
                    </a:lnTo>
                    <a:lnTo>
                      <a:pt x="0" y="37049"/>
                    </a:lnTo>
                    <a:close/>
                  </a:path>
                </a:pathLst>
              </a:custGeom>
              <a:solidFill>
                <a:srgbClr val="E6E6E6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0" name="Freihandform: Form 89">
                <a:extLst>
                  <a:ext uri="{FF2B5EF4-FFF2-40B4-BE49-F238E27FC236}">
                    <a16:creationId xmlns:a16="http://schemas.microsoft.com/office/drawing/2014/main" id="{703EC8AD-8501-4A25-386C-6187B5CEDDA2}"/>
                  </a:ext>
                </a:extLst>
              </p:cNvPr>
              <p:cNvSpPr/>
              <p:nvPr/>
            </p:nvSpPr>
            <p:spPr>
              <a:xfrm>
                <a:off x="454362" y="2572232"/>
                <a:ext cx="50453" cy="37049"/>
              </a:xfrm>
              <a:custGeom>
                <a:avLst/>
                <a:gdLst>
                  <a:gd name="connsiteX0" fmla="*/ 0 w 50453"/>
                  <a:gd name="connsiteY0" fmla="*/ 0 h 37049"/>
                  <a:gd name="connsiteX1" fmla="*/ 50453 w 50453"/>
                  <a:gd name="connsiteY1" fmla="*/ 0 h 37049"/>
                  <a:gd name="connsiteX2" fmla="*/ 50453 w 50453"/>
                  <a:gd name="connsiteY2" fmla="*/ 37049 h 37049"/>
                  <a:gd name="connsiteX3" fmla="*/ 0 w 50453"/>
                  <a:gd name="connsiteY3" fmla="*/ 37049 h 37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453" h="37049">
                    <a:moveTo>
                      <a:pt x="0" y="0"/>
                    </a:moveTo>
                    <a:lnTo>
                      <a:pt x="50453" y="0"/>
                    </a:lnTo>
                    <a:lnTo>
                      <a:pt x="50453" y="37049"/>
                    </a:lnTo>
                    <a:lnTo>
                      <a:pt x="0" y="37049"/>
                    </a:lnTo>
                    <a:close/>
                  </a:path>
                </a:pathLst>
              </a:custGeom>
              <a:solidFill>
                <a:srgbClr val="EC6602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" name="Freihandform: Form 90">
                <a:extLst>
                  <a:ext uri="{FF2B5EF4-FFF2-40B4-BE49-F238E27FC236}">
                    <a16:creationId xmlns:a16="http://schemas.microsoft.com/office/drawing/2014/main" id="{17D94E44-C5CC-FCAA-16B2-3BDF1D21538E}"/>
                  </a:ext>
                </a:extLst>
              </p:cNvPr>
              <p:cNvSpPr/>
              <p:nvPr/>
            </p:nvSpPr>
            <p:spPr>
              <a:xfrm>
                <a:off x="212563" y="2715140"/>
                <a:ext cx="401721" cy="50005"/>
              </a:xfrm>
              <a:custGeom>
                <a:avLst/>
                <a:gdLst>
                  <a:gd name="connsiteX0" fmla="*/ 393411 w 401721"/>
                  <a:gd name="connsiteY0" fmla="*/ 0 h 50005"/>
                  <a:gd name="connsiteX1" fmla="*/ 8311 w 401721"/>
                  <a:gd name="connsiteY1" fmla="*/ 0 h 50005"/>
                  <a:gd name="connsiteX2" fmla="*/ 0 w 401721"/>
                  <a:gd name="connsiteY2" fmla="*/ 8311 h 50005"/>
                  <a:gd name="connsiteX3" fmla="*/ 0 w 401721"/>
                  <a:gd name="connsiteY3" fmla="*/ 41694 h 50005"/>
                  <a:gd name="connsiteX4" fmla="*/ 8311 w 401721"/>
                  <a:gd name="connsiteY4" fmla="*/ 50005 h 50005"/>
                  <a:gd name="connsiteX5" fmla="*/ 393411 w 401721"/>
                  <a:gd name="connsiteY5" fmla="*/ 50005 h 50005"/>
                  <a:gd name="connsiteX6" fmla="*/ 401722 w 401721"/>
                  <a:gd name="connsiteY6" fmla="*/ 41694 h 50005"/>
                  <a:gd name="connsiteX7" fmla="*/ 401722 w 401721"/>
                  <a:gd name="connsiteY7" fmla="*/ 8311 h 50005"/>
                  <a:gd name="connsiteX8" fmla="*/ 393411 w 401721"/>
                  <a:gd name="connsiteY8" fmla="*/ 0 h 50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1721" h="50005">
                    <a:moveTo>
                      <a:pt x="393411" y="0"/>
                    </a:moveTo>
                    <a:lnTo>
                      <a:pt x="8311" y="0"/>
                    </a:lnTo>
                    <a:cubicBezTo>
                      <a:pt x="3722" y="0"/>
                      <a:pt x="0" y="3722"/>
                      <a:pt x="0" y="8311"/>
                    </a:cubicBezTo>
                    <a:lnTo>
                      <a:pt x="0" y="41694"/>
                    </a:lnTo>
                    <a:cubicBezTo>
                      <a:pt x="0" y="46284"/>
                      <a:pt x="3722" y="50005"/>
                      <a:pt x="8311" y="50005"/>
                    </a:cubicBezTo>
                    <a:lnTo>
                      <a:pt x="393411" y="50005"/>
                    </a:lnTo>
                    <a:cubicBezTo>
                      <a:pt x="398000" y="50005"/>
                      <a:pt x="401722" y="46284"/>
                      <a:pt x="401722" y="41694"/>
                    </a:cubicBezTo>
                    <a:lnTo>
                      <a:pt x="401722" y="8311"/>
                    </a:lnTo>
                    <a:cubicBezTo>
                      <a:pt x="401722" y="3722"/>
                      <a:pt x="398000" y="0"/>
                      <a:pt x="393411" y="0"/>
                    </a:cubicBezTo>
                    <a:close/>
                  </a:path>
                </a:pathLst>
              </a:custGeom>
              <a:solidFill>
                <a:srgbClr val="EDEDED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2" name="Freihandform: Form 91">
                <a:extLst>
                  <a:ext uri="{FF2B5EF4-FFF2-40B4-BE49-F238E27FC236}">
                    <a16:creationId xmlns:a16="http://schemas.microsoft.com/office/drawing/2014/main" id="{2C25C233-A8B6-36E2-35CA-6A30548899F6}"/>
                  </a:ext>
                </a:extLst>
              </p:cNvPr>
              <p:cNvSpPr/>
              <p:nvPr/>
            </p:nvSpPr>
            <p:spPr>
              <a:xfrm>
                <a:off x="315903" y="2650388"/>
                <a:ext cx="39343" cy="64724"/>
              </a:xfrm>
              <a:custGeom>
                <a:avLst/>
                <a:gdLst>
                  <a:gd name="connsiteX0" fmla="*/ 8031 w 39343"/>
                  <a:gd name="connsiteY0" fmla="*/ 0 h 64724"/>
                  <a:gd name="connsiteX1" fmla="*/ 31341 w 39343"/>
                  <a:gd name="connsiteY1" fmla="*/ 0 h 64724"/>
                  <a:gd name="connsiteX2" fmla="*/ 39344 w 39343"/>
                  <a:gd name="connsiteY2" fmla="*/ 8003 h 64724"/>
                  <a:gd name="connsiteX3" fmla="*/ 39344 w 39343"/>
                  <a:gd name="connsiteY3" fmla="*/ 64724 h 64724"/>
                  <a:gd name="connsiteX4" fmla="*/ 0 w 39343"/>
                  <a:gd name="connsiteY4" fmla="*/ 64724 h 64724"/>
                  <a:gd name="connsiteX5" fmla="*/ 0 w 39343"/>
                  <a:gd name="connsiteY5" fmla="*/ 8003 h 64724"/>
                  <a:gd name="connsiteX6" fmla="*/ 8003 w 39343"/>
                  <a:gd name="connsiteY6" fmla="*/ 0 h 64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343" h="64724">
                    <a:moveTo>
                      <a:pt x="8031" y="0"/>
                    </a:moveTo>
                    <a:lnTo>
                      <a:pt x="31341" y="0"/>
                    </a:lnTo>
                    <a:cubicBezTo>
                      <a:pt x="35762" y="0"/>
                      <a:pt x="39344" y="3582"/>
                      <a:pt x="39344" y="8003"/>
                    </a:cubicBezTo>
                    <a:lnTo>
                      <a:pt x="39344" y="64724"/>
                    </a:lnTo>
                    <a:lnTo>
                      <a:pt x="0" y="64724"/>
                    </a:lnTo>
                    <a:lnTo>
                      <a:pt x="0" y="8003"/>
                    </a:lnTo>
                    <a:cubicBezTo>
                      <a:pt x="0" y="3582"/>
                      <a:pt x="3582" y="0"/>
                      <a:pt x="8003" y="0"/>
                    </a:cubicBezTo>
                    <a:close/>
                  </a:path>
                </a:pathLst>
              </a:custGeom>
              <a:solidFill>
                <a:srgbClr val="BFBFBF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3" name="Freihandform: Form 92">
                <a:extLst>
                  <a:ext uri="{FF2B5EF4-FFF2-40B4-BE49-F238E27FC236}">
                    <a16:creationId xmlns:a16="http://schemas.microsoft.com/office/drawing/2014/main" id="{EB62FCB5-1165-9C04-8CDA-3D63608D8B21}"/>
                  </a:ext>
                </a:extLst>
              </p:cNvPr>
              <p:cNvSpPr/>
              <p:nvPr/>
            </p:nvSpPr>
            <p:spPr>
              <a:xfrm>
                <a:off x="394871" y="2650416"/>
                <a:ext cx="44296" cy="64724"/>
              </a:xfrm>
              <a:custGeom>
                <a:avLst/>
                <a:gdLst>
                  <a:gd name="connsiteX0" fmla="*/ 44297 w 44296"/>
                  <a:gd name="connsiteY0" fmla="*/ 64724 h 64724"/>
                  <a:gd name="connsiteX1" fmla="*/ 0 w 44296"/>
                  <a:gd name="connsiteY1" fmla="*/ 64724 h 64724"/>
                  <a:gd name="connsiteX2" fmla="*/ 4953 w 44296"/>
                  <a:gd name="connsiteY2" fmla="*/ 49362 h 64724"/>
                  <a:gd name="connsiteX3" fmla="*/ 4953 w 44296"/>
                  <a:gd name="connsiteY3" fmla="*/ 8003 h 64724"/>
                  <a:gd name="connsiteX4" fmla="*/ 12956 w 44296"/>
                  <a:gd name="connsiteY4" fmla="*/ 0 h 64724"/>
                  <a:gd name="connsiteX5" fmla="*/ 31313 w 44296"/>
                  <a:gd name="connsiteY5" fmla="*/ 0 h 64724"/>
                  <a:gd name="connsiteX6" fmla="*/ 39316 w 44296"/>
                  <a:gd name="connsiteY6" fmla="*/ 8003 h 64724"/>
                  <a:gd name="connsiteX7" fmla="*/ 39316 w 44296"/>
                  <a:gd name="connsiteY7" fmla="*/ 49362 h 64724"/>
                  <a:gd name="connsiteX8" fmla="*/ 44269 w 44296"/>
                  <a:gd name="connsiteY8" fmla="*/ 64724 h 64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296" h="64724">
                    <a:moveTo>
                      <a:pt x="44297" y="64724"/>
                    </a:moveTo>
                    <a:lnTo>
                      <a:pt x="0" y="64724"/>
                    </a:lnTo>
                    <a:lnTo>
                      <a:pt x="4953" y="49362"/>
                    </a:lnTo>
                    <a:lnTo>
                      <a:pt x="4953" y="8003"/>
                    </a:lnTo>
                    <a:cubicBezTo>
                      <a:pt x="4953" y="3582"/>
                      <a:pt x="8535" y="0"/>
                      <a:pt x="12956" y="0"/>
                    </a:cubicBezTo>
                    <a:lnTo>
                      <a:pt x="31313" y="0"/>
                    </a:lnTo>
                    <a:cubicBezTo>
                      <a:pt x="35734" y="0"/>
                      <a:pt x="39316" y="3582"/>
                      <a:pt x="39316" y="8003"/>
                    </a:cubicBezTo>
                    <a:lnTo>
                      <a:pt x="39316" y="49362"/>
                    </a:lnTo>
                    <a:lnTo>
                      <a:pt x="44269" y="64724"/>
                    </a:lnTo>
                    <a:close/>
                  </a:path>
                </a:pathLst>
              </a:custGeom>
              <a:solidFill>
                <a:srgbClr val="FFFFFF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4" name="Freihandform: Form 93">
                <a:extLst>
                  <a:ext uri="{FF2B5EF4-FFF2-40B4-BE49-F238E27FC236}">
                    <a16:creationId xmlns:a16="http://schemas.microsoft.com/office/drawing/2014/main" id="{95A1ECE7-8371-4E3A-674D-934ABF331EB5}"/>
                  </a:ext>
                </a:extLst>
              </p:cNvPr>
              <p:cNvSpPr/>
              <p:nvPr/>
            </p:nvSpPr>
            <p:spPr>
              <a:xfrm>
                <a:off x="474986" y="2650388"/>
                <a:ext cx="44296" cy="64724"/>
              </a:xfrm>
              <a:custGeom>
                <a:avLst/>
                <a:gdLst>
                  <a:gd name="connsiteX0" fmla="*/ 8003 w 44296"/>
                  <a:gd name="connsiteY0" fmla="*/ 0 h 64724"/>
                  <a:gd name="connsiteX1" fmla="*/ 36294 w 44296"/>
                  <a:gd name="connsiteY1" fmla="*/ 0 h 64724"/>
                  <a:gd name="connsiteX2" fmla="*/ 44297 w 44296"/>
                  <a:gd name="connsiteY2" fmla="*/ 8003 h 64724"/>
                  <a:gd name="connsiteX3" fmla="*/ 44297 w 44296"/>
                  <a:gd name="connsiteY3" fmla="*/ 64724 h 64724"/>
                  <a:gd name="connsiteX4" fmla="*/ 0 w 44296"/>
                  <a:gd name="connsiteY4" fmla="*/ 64724 h 64724"/>
                  <a:gd name="connsiteX5" fmla="*/ 0 w 44296"/>
                  <a:gd name="connsiteY5" fmla="*/ 8003 h 64724"/>
                  <a:gd name="connsiteX6" fmla="*/ 8003 w 44296"/>
                  <a:gd name="connsiteY6" fmla="*/ 0 h 64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296" h="64724">
                    <a:moveTo>
                      <a:pt x="8003" y="0"/>
                    </a:moveTo>
                    <a:lnTo>
                      <a:pt x="36294" y="0"/>
                    </a:lnTo>
                    <a:cubicBezTo>
                      <a:pt x="40715" y="0"/>
                      <a:pt x="44297" y="3582"/>
                      <a:pt x="44297" y="8003"/>
                    </a:cubicBezTo>
                    <a:lnTo>
                      <a:pt x="44297" y="64724"/>
                    </a:lnTo>
                    <a:lnTo>
                      <a:pt x="0" y="64724"/>
                    </a:lnTo>
                    <a:lnTo>
                      <a:pt x="0" y="8003"/>
                    </a:lnTo>
                    <a:cubicBezTo>
                      <a:pt x="0" y="3582"/>
                      <a:pt x="3582" y="0"/>
                      <a:pt x="800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5" name="Freihandform: Form 94">
                <a:extLst>
                  <a:ext uri="{FF2B5EF4-FFF2-40B4-BE49-F238E27FC236}">
                    <a16:creationId xmlns:a16="http://schemas.microsoft.com/office/drawing/2014/main" id="{13B8633A-E0F1-E1FD-9F05-E24CA656CB97}"/>
                  </a:ext>
                </a:extLst>
              </p:cNvPr>
              <p:cNvSpPr/>
              <p:nvPr/>
            </p:nvSpPr>
            <p:spPr>
              <a:xfrm>
                <a:off x="310391" y="2649772"/>
                <a:ext cx="50397" cy="32376"/>
              </a:xfrm>
              <a:custGeom>
                <a:avLst/>
                <a:gdLst>
                  <a:gd name="connsiteX0" fmla="*/ 44884 w 50397"/>
                  <a:gd name="connsiteY0" fmla="*/ 0 h 32376"/>
                  <a:gd name="connsiteX1" fmla="*/ 50397 w 50397"/>
                  <a:gd name="connsiteY1" fmla="*/ 5513 h 32376"/>
                  <a:gd name="connsiteX2" fmla="*/ 50397 w 50397"/>
                  <a:gd name="connsiteY2" fmla="*/ 26863 h 32376"/>
                  <a:gd name="connsiteX3" fmla="*/ 44884 w 50397"/>
                  <a:gd name="connsiteY3" fmla="*/ 32376 h 32376"/>
                  <a:gd name="connsiteX4" fmla="*/ 5513 w 50397"/>
                  <a:gd name="connsiteY4" fmla="*/ 32376 h 32376"/>
                  <a:gd name="connsiteX5" fmla="*/ 0 w 50397"/>
                  <a:gd name="connsiteY5" fmla="*/ 26863 h 32376"/>
                  <a:gd name="connsiteX6" fmla="*/ 0 w 50397"/>
                  <a:gd name="connsiteY6" fmla="*/ 5513 h 32376"/>
                  <a:gd name="connsiteX7" fmla="*/ 5513 w 50397"/>
                  <a:gd name="connsiteY7" fmla="*/ 0 h 32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397" h="32376">
                    <a:moveTo>
                      <a:pt x="44884" y="0"/>
                    </a:moveTo>
                    <a:cubicBezTo>
                      <a:pt x="47929" y="0"/>
                      <a:pt x="50397" y="2468"/>
                      <a:pt x="50397" y="5513"/>
                    </a:cubicBezTo>
                    <a:lnTo>
                      <a:pt x="50397" y="26863"/>
                    </a:lnTo>
                    <a:cubicBezTo>
                      <a:pt x="50397" y="29908"/>
                      <a:pt x="47929" y="32376"/>
                      <a:pt x="44884" y="32376"/>
                    </a:cubicBezTo>
                    <a:lnTo>
                      <a:pt x="5513" y="32376"/>
                    </a:lnTo>
                    <a:cubicBezTo>
                      <a:pt x="2468" y="32376"/>
                      <a:pt x="0" y="29908"/>
                      <a:pt x="0" y="26863"/>
                    </a:cubicBezTo>
                    <a:lnTo>
                      <a:pt x="0" y="5513"/>
                    </a:lnTo>
                    <a:cubicBezTo>
                      <a:pt x="0" y="2468"/>
                      <a:pt x="2468" y="0"/>
                      <a:pt x="5513" y="0"/>
                    </a:cubicBezTo>
                    <a:close/>
                  </a:path>
                </a:pathLst>
              </a:custGeom>
              <a:solidFill>
                <a:srgbClr val="BFBFBF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6" name="Freihandform: Form 95">
                <a:extLst>
                  <a:ext uri="{FF2B5EF4-FFF2-40B4-BE49-F238E27FC236}">
                    <a16:creationId xmlns:a16="http://schemas.microsoft.com/office/drawing/2014/main" id="{414EE2FF-4C3B-A957-37B9-6C93BA56F881}"/>
                  </a:ext>
                </a:extLst>
              </p:cNvPr>
              <p:cNvSpPr/>
              <p:nvPr/>
            </p:nvSpPr>
            <p:spPr>
              <a:xfrm>
                <a:off x="575948" y="2696811"/>
                <a:ext cx="18328" cy="18328"/>
              </a:xfrm>
              <a:custGeom>
                <a:avLst/>
                <a:gdLst>
                  <a:gd name="connsiteX0" fmla="*/ 4337 w 18328"/>
                  <a:gd name="connsiteY0" fmla="*/ 0 h 18328"/>
                  <a:gd name="connsiteX1" fmla="*/ 13963 w 18328"/>
                  <a:gd name="connsiteY1" fmla="*/ 0 h 18328"/>
                  <a:gd name="connsiteX2" fmla="*/ 18329 w 18328"/>
                  <a:gd name="connsiteY2" fmla="*/ 4365 h 18328"/>
                  <a:gd name="connsiteX3" fmla="*/ 18329 w 18328"/>
                  <a:gd name="connsiteY3" fmla="*/ 18329 h 18328"/>
                  <a:gd name="connsiteX4" fmla="*/ 0 w 18328"/>
                  <a:gd name="connsiteY4" fmla="*/ 18329 h 18328"/>
                  <a:gd name="connsiteX5" fmla="*/ 0 w 18328"/>
                  <a:gd name="connsiteY5" fmla="*/ 4365 h 18328"/>
                  <a:gd name="connsiteX6" fmla="*/ 4365 w 18328"/>
                  <a:gd name="connsiteY6" fmla="*/ 0 h 18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328" h="18328">
                    <a:moveTo>
                      <a:pt x="4337" y="0"/>
                    </a:moveTo>
                    <a:lnTo>
                      <a:pt x="13963" y="0"/>
                    </a:lnTo>
                    <a:cubicBezTo>
                      <a:pt x="16370" y="0"/>
                      <a:pt x="18329" y="1959"/>
                      <a:pt x="18329" y="4365"/>
                    </a:cubicBezTo>
                    <a:lnTo>
                      <a:pt x="18329" y="18329"/>
                    </a:lnTo>
                    <a:lnTo>
                      <a:pt x="0" y="18329"/>
                    </a:lnTo>
                    <a:lnTo>
                      <a:pt x="0" y="4365"/>
                    </a:lnTo>
                    <a:cubicBezTo>
                      <a:pt x="0" y="1959"/>
                      <a:pt x="1959" y="0"/>
                      <a:pt x="4365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74" name="Freihandform: Form 473">
              <a:extLst>
                <a:ext uri="{FF2B5EF4-FFF2-40B4-BE49-F238E27FC236}">
                  <a16:creationId xmlns:a16="http://schemas.microsoft.com/office/drawing/2014/main" id="{8DC2001D-DBE1-69FF-9D83-E1D84889E7A3}"/>
                </a:ext>
              </a:extLst>
            </p:cNvPr>
            <p:cNvSpPr/>
            <p:nvPr/>
          </p:nvSpPr>
          <p:spPr>
            <a:xfrm>
              <a:off x="97917" y="2795843"/>
              <a:ext cx="20259" cy="875806"/>
            </a:xfrm>
            <a:custGeom>
              <a:avLst/>
              <a:gdLst>
                <a:gd name="connsiteX0" fmla="*/ 0 w 20259"/>
                <a:gd name="connsiteY0" fmla="*/ 0 h 875806"/>
                <a:gd name="connsiteX1" fmla="*/ 20260 w 20259"/>
                <a:gd name="connsiteY1" fmla="*/ 0 h 875806"/>
                <a:gd name="connsiteX2" fmla="*/ 20260 w 20259"/>
                <a:gd name="connsiteY2" fmla="*/ 875806 h 875806"/>
                <a:gd name="connsiteX3" fmla="*/ 0 w 20259"/>
                <a:gd name="connsiteY3" fmla="*/ 875806 h 875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59" h="875806">
                  <a:moveTo>
                    <a:pt x="0" y="0"/>
                  </a:moveTo>
                  <a:lnTo>
                    <a:pt x="20260" y="0"/>
                  </a:lnTo>
                  <a:lnTo>
                    <a:pt x="20260" y="875806"/>
                  </a:lnTo>
                  <a:lnTo>
                    <a:pt x="0" y="875806"/>
                  </a:lnTo>
                  <a:close/>
                </a:path>
              </a:pathLst>
            </a:custGeom>
            <a:solidFill>
              <a:srgbClr val="404040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5" name="Freihandform: Form 474">
              <a:extLst>
                <a:ext uri="{FF2B5EF4-FFF2-40B4-BE49-F238E27FC236}">
                  <a16:creationId xmlns:a16="http://schemas.microsoft.com/office/drawing/2014/main" id="{1FA8D294-79F3-0A3A-43AF-72D51C961C49}"/>
                </a:ext>
              </a:extLst>
            </p:cNvPr>
            <p:cNvSpPr/>
            <p:nvPr/>
          </p:nvSpPr>
          <p:spPr>
            <a:xfrm>
              <a:off x="1109916" y="3526642"/>
              <a:ext cx="84676" cy="84676"/>
            </a:xfrm>
            <a:custGeom>
              <a:avLst/>
              <a:gdLst>
                <a:gd name="connsiteX0" fmla="*/ 84676 w 84676"/>
                <a:gd name="connsiteY0" fmla="*/ 42338 h 84676"/>
                <a:gd name="connsiteX1" fmla="*/ 42338 w 84676"/>
                <a:gd name="connsiteY1" fmla="*/ 84676 h 84676"/>
                <a:gd name="connsiteX2" fmla="*/ 0 w 84676"/>
                <a:gd name="connsiteY2" fmla="*/ 42338 h 84676"/>
                <a:gd name="connsiteX3" fmla="*/ 42338 w 84676"/>
                <a:gd name="connsiteY3" fmla="*/ 0 h 84676"/>
                <a:gd name="connsiteX4" fmla="*/ 84676 w 84676"/>
                <a:gd name="connsiteY4" fmla="*/ 42338 h 84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676" h="84676">
                  <a:moveTo>
                    <a:pt x="84676" y="42338"/>
                  </a:moveTo>
                  <a:cubicBezTo>
                    <a:pt x="84676" y="65721"/>
                    <a:pt x="65721" y="84676"/>
                    <a:pt x="42338" y="84676"/>
                  </a:cubicBezTo>
                  <a:cubicBezTo>
                    <a:pt x="18955" y="84676"/>
                    <a:pt x="0" y="65721"/>
                    <a:pt x="0" y="42338"/>
                  </a:cubicBezTo>
                  <a:cubicBezTo>
                    <a:pt x="0" y="18955"/>
                    <a:pt x="18955" y="0"/>
                    <a:pt x="42338" y="0"/>
                  </a:cubicBezTo>
                  <a:cubicBezTo>
                    <a:pt x="65721" y="0"/>
                    <a:pt x="84676" y="18955"/>
                    <a:pt x="84676" y="42338"/>
                  </a:cubicBezTo>
                  <a:close/>
                </a:path>
              </a:pathLst>
            </a:custGeom>
            <a:solidFill>
              <a:srgbClr val="1E1E1E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6" name="Freihandform: Form 475">
              <a:extLst>
                <a:ext uri="{FF2B5EF4-FFF2-40B4-BE49-F238E27FC236}">
                  <a16:creationId xmlns:a16="http://schemas.microsoft.com/office/drawing/2014/main" id="{81994B8D-7269-8E78-729E-FC10C1C4BB7B}"/>
                </a:ext>
              </a:extLst>
            </p:cNvPr>
            <p:cNvSpPr/>
            <p:nvPr/>
          </p:nvSpPr>
          <p:spPr>
            <a:xfrm>
              <a:off x="914372" y="3526642"/>
              <a:ext cx="84676" cy="84676"/>
            </a:xfrm>
            <a:custGeom>
              <a:avLst/>
              <a:gdLst>
                <a:gd name="connsiteX0" fmla="*/ 84676 w 84676"/>
                <a:gd name="connsiteY0" fmla="*/ 42338 h 84676"/>
                <a:gd name="connsiteX1" fmla="*/ 42338 w 84676"/>
                <a:gd name="connsiteY1" fmla="*/ 84676 h 84676"/>
                <a:gd name="connsiteX2" fmla="*/ 0 w 84676"/>
                <a:gd name="connsiteY2" fmla="*/ 42338 h 84676"/>
                <a:gd name="connsiteX3" fmla="*/ 42338 w 84676"/>
                <a:gd name="connsiteY3" fmla="*/ 0 h 84676"/>
                <a:gd name="connsiteX4" fmla="*/ 84676 w 84676"/>
                <a:gd name="connsiteY4" fmla="*/ 42338 h 84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676" h="84676">
                  <a:moveTo>
                    <a:pt x="84676" y="42338"/>
                  </a:moveTo>
                  <a:cubicBezTo>
                    <a:pt x="84676" y="65721"/>
                    <a:pt x="65721" y="84676"/>
                    <a:pt x="42338" y="84676"/>
                  </a:cubicBezTo>
                  <a:cubicBezTo>
                    <a:pt x="18955" y="84676"/>
                    <a:pt x="0" y="65721"/>
                    <a:pt x="0" y="42338"/>
                  </a:cubicBezTo>
                  <a:cubicBezTo>
                    <a:pt x="0" y="18955"/>
                    <a:pt x="18955" y="0"/>
                    <a:pt x="42338" y="0"/>
                  </a:cubicBezTo>
                  <a:cubicBezTo>
                    <a:pt x="65721" y="0"/>
                    <a:pt x="84676" y="18955"/>
                    <a:pt x="84676" y="42338"/>
                  </a:cubicBezTo>
                  <a:close/>
                </a:path>
              </a:pathLst>
            </a:custGeom>
            <a:solidFill>
              <a:srgbClr val="1E1E1E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7" name="Freihandform: Form 476">
              <a:extLst>
                <a:ext uri="{FF2B5EF4-FFF2-40B4-BE49-F238E27FC236}">
                  <a16:creationId xmlns:a16="http://schemas.microsoft.com/office/drawing/2014/main" id="{A766276C-9C7A-9151-C3F6-245E79FDAC3E}"/>
                </a:ext>
              </a:extLst>
            </p:cNvPr>
            <p:cNvSpPr/>
            <p:nvPr/>
          </p:nvSpPr>
          <p:spPr>
            <a:xfrm>
              <a:off x="876987" y="3428758"/>
              <a:ext cx="121109" cy="141201"/>
            </a:xfrm>
            <a:custGeom>
              <a:avLst/>
              <a:gdLst>
                <a:gd name="connsiteX0" fmla="*/ 95505 w 121109"/>
                <a:gd name="connsiteY0" fmla="*/ 28 h 141201"/>
                <a:gd name="connsiteX1" fmla="*/ 121110 w 121109"/>
                <a:gd name="connsiteY1" fmla="*/ 131379 h 141201"/>
                <a:gd name="connsiteX2" fmla="*/ 37385 w 121109"/>
                <a:gd name="connsiteY2" fmla="*/ 141201 h 141201"/>
                <a:gd name="connsiteX3" fmla="*/ 0 w 121109"/>
                <a:gd name="connsiteY3" fmla="*/ 1679 h 141201"/>
                <a:gd name="connsiteX4" fmla="*/ 95505 w 121109"/>
                <a:gd name="connsiteY4" fmla="*/ 0 h 141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109" h="141201">
                  <a:moveTo>
                    <a:pt x="95505" y="28"/>
                  </a:moveTo>
                  <a:cubicBezTo>
                    <a:pt x="95701" y="6800"/>
                    <a:pt x="121110" y="131379"/>
                    <a:pt x="121110" y="131379"/>
                  </a:cubicBezTo>
                  <a:lnTo>
                    <a:pt x="37385" y="141201"/>
                  </a:lnTo>
                  <a:cubicBezTo>
                    <a:pt x="30082" y="115233"/>
                    <a:pt x="0" y="1679"/>
                    <a:pt x="0" y="1679"/>
                  </a:cubicBezTo>
                  <a:lnTo>
                    <a:pt x="95505" y="0"/>
                  </a:lnTo>
                  <a:close/>
                </a:path>
              </a:pathLst>
            </a:custGeom>
            <a:solidFill>
              <a:srgbClr val="1E1E1E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8" name="Freihandform: Form 477">
              <a:extLst>
                <a:ext uri="{FF2B5EF4-FFF2-40B4-BE49-F238E27FC236}">
                  <a16:creationId xmlns:a16="http://schemas.microsoft.com/office/drawing/2014/main" id="{C019A92C-814D-0D92-88FB-7D6AB9C9D153}"/>
                </a:ext>
              </a:extLst>
            </p:cNvPr>
            <p:cNvSpPr/>
            <p:nvPr/>
          </p:nvSpPr>
          <p:spPr>
            <a:xfrm>
              <a:off x="1109077" y="3416418"/>
              <a:ext cx="88425" cy="152674"/>
            </a:xfrm>
            <a:custGeom>
              <a:avLst/>
              <a:gdLst>
                <a:gd name="connsiteX0" fmla="*/ 88426 w 88425"/>
                <a:gd name="connsiteY0" fmla="*/ 0 h 152674"/>
                <a:gd name="connsiteX1" fmla="*/ 85488 w 88425"/>
                <a:gd name="connsiteY1" fmla="*/ 152674 h 152674"/>
                <a:gd name="connsiteX2" fmla="*/ 840 w 88425"/>
                <a:gd name="connsiteY2" fmla="*/ 152674 h 152674"/>
                <a:gd name="connsiteX3" fmla="*/ 0 w 88425"/>
                <a:gd name="connsiteY3" fmla="*/ 0 h 152674"/>
                <a:gd name="connsiteX4" fmla="*/ 88426 w 88425"/>
                <a:gd name="connsiteY4" fmla="*/ 0 h 152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425" h="152674">
                  <a:moveTo>
                    <a:pt x="88426" y="0"/>
                  </a:moveTo>
                  <a:lnTo>
                    <a:pt x="85488" y="152674"/>
                  </a:lnTo>
                  <a:lnTo>
                    <a:pt x="840" y="152674"/>
                  </a:lnTo>
                  <a:lnTo>
                    <a:pt x="0" y="0"/>
                  </a:lnTo>
                  <a:lnTo>
                    <a:pt x="88426" y="0"/>
                  </a:lnTo>
                  <a:close/>
                </a:path>
              </a:pathLst>
            </a:custGeom>
            <a:solidFill>
              <a:srgbClr val="1E1E1E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9" name="Freihandform: Form 478">
              <a:extLst>
                <a:ext uri="{FF2B5EF4-FFF2-40B4-BE49-F238E27FC236}">
                  <a16:creationId xmlns:a16="http://schemas.microsoft.com/office/drawing/2014/main" id="{1B46F3D3-4779-E814-1B2F-80E1A1416ABC}"/>
                </a:ext>
              </a:extLst>
            </p:cNvPr>
            <p:cNvSpPr/>
            <p:nvPr/>
          </p:nvSpPr>
          <p:spPr>
            <a:xfrm>
              <a:off x="1070824" y="3562460"/>
              <a:ext cx="164874" cy="82863"/>
            </a:xfrm>
            <a:custGeom>
              <a:avLst/>
              <a:gdLst>
                <a:gd name="connsiteX0" fmla="*/ 0 w 164874"/>
                <a:gd name="connsiteY0" fmla="*/ 78772 h 82863"/>
                <a:gd name="connsiteX1" fmla="*/ 27983 w 164874"/>
                <a:gd name="connsiteY1" fmla="*/ 17209 h 82863"/>
                <a:gd name="connsiteX2" fmla="*/ 32152 w 164874"/>
                <a:gd name="connsiteY2" fmla="*/ 0 h 82863"/>
                <a:gd name="connsiteX3" fmla="*/ 131212 w 164874"/>
                <a:gd name="connsiteY3" fmla="*/ 0 h 82863"/>
                <a:gd name="connsiteX4" fmla="*/ 132751 w 164874"/>
                <a:gd name="connsiteY4" fmla="*/ 15810 h 82863"/>
                <a:gd name="connsiteX5" fmla="*/ 164875 w 164874"/>
                <a:gd name="connsiteY5" fmla="*/ 78772 h 82863"/>
                <a:gd name="connsiteX6" fmla="*/ 0 w 164874"/>
                <a:gd name="connsiteY6" fmla="*/ 78772 h 82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4874" h="82863">
                  <a:moveTo>
                    <a:pt x="0" y="78772"/>
                  </a:moveTo>
                  <a:cubicBezTo>
                    <a:pt x="7275" y="57896"/>
                    <a:pt x="17573" y="37301"/>
                    <a:pt x="27983" y="17209"/>
                  </a:cubicBezTo>
                  <a:cubicBezTo>
                    <a:pt x="29998" y="3666"/>
                    <a:pt x="32152" y="0"/>
                    <a:pt x="32152" y="0"/>
                  </a:cubicBezTo>
                  <a:lnTo>
                    <a:pt x="131212" y="0"/>
                  </a:lnTo>
                  <a:cubicBezTo>
                    <a:pt x="131212" y="0"/>
                    <a:pt x="131212" y="0"/>
                    <a:pt x="132751" y="15810"/>
                  </a:cubicBezTo>
                  <a:cubicBezTo>
                    <a:pt x="144112" y="34195"/>
                    <a:pt x="155445" y="56805"/>
                    <a:pt x="164875" y="78772"/>
                  </a:cubicBezTo>
                  <a:cubicBezTo>
                    <a:pt x="112519" y="84760"/>
                    <a:pt x="57113" y="83669"/>
                    <a:pt x="0" y="78772"/>
                  </a:cubicBezTo>
                  <a:close/>
                </a:path>
              </a:pathLst>
            </a:custGeom>
            <a:solidFill>
              <a:srgbClr val="1E1E1E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2" name="Grafik 110">
              <a:extLst>
                <a:ext uri="{FF2B5EF4-FFF2-40B4-BE49-F238E27FC236}">
                  <a16:creationId xmlns:a16="http://schemas.microsoft.com/office/drawing/2014/main" id="{CE858CF5-87AF-6FA0-6B1A-BA124E82633F}"/>
                </a:ext>
              </a:extLst>
            </p:cNvPr>
            <p:cNvGrpSpPr/>
            <p:nvPr/>
          </p:nvGrpSpPr>
          <p:grpSpPr>
            <a:xfrm>
              <a:off x="776753" y="3564391"/>
              <a:ext cx="255763" cy="80895"/>
              <a:chOff x="776753" y="3564391"/>
              <a:chExt cx="255763" cy="80895"/>
            </a:xfrm>
            <a:solidFill>
              <a:srgbClr val="1E1E1E"/>
            </a:solidFill>
          </p:grpSpPr>
          <p:sp>
            <p:nvSpPr>
              <p:cNvPr id="77" name="Freihandform: Form 76">
                <a:extLst>
                  <a:ext uri="{FF2B5EF4-FFF2-40B4-BE49-F238E27FC236}">
                    <a16:creationId xmlns:a16="http://schemas.microsoft.com/office/drawing/2014/main" id="{FA9CAB31-B4E1-2006-5744-578C00E5B72F}"/>
                  </a:ext>
                </a:extLst>
              </p:cNvPr>
              <p:cNvSpPr/>
              <p:nvPr/>
            </p:nvSpPr>
            <p:spPr>
              <a:xfrm>
                <a:off x="904690" y="3564391"/>
                <a:ext cx="28" cy="2798"/>
              </a:xfrm>
              <a:custGeom>
                <a:avLst/>
                <a:gdLst>
                  <a:gd name="connsiteX0" fmla="*/ 0 w 28"/>
                  <a:gd name="connsiteY0" fmla="*/ 0 h 2798"/>
                  <a:gd name="connsiteX1" fmla="*/ 28 w 28"/>
                  <a:gd name="connsiteY1" fmla="*/ 0 h 2798"/>
                  <a:gd name="connsiteX2" fmla="*/ 0 w 28"/>
                  <a:gd name="connsiteY2" fmla="*/ 0 h 2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" h="2798">
                    <a:moveTo>
                      <a:pt x="0" y="0"/>
                    </a:moveTo>
                    <a:lnTo>
                      <a:pt x="28" y="0"/>
                    </a:lnTo>
                    <a:cubicBezTo>
                      <a:pt x="28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1E1E1E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8" name="Freihandform: Form 77">
                <a:extLst>
                  <a:ext uri="{FF2B5EF4-FFF2-40B4-BE49-F238E27FC236}">
                    <a16:creationId xmlns:a16="http://schemas.microsoft.com/office/drawing/2014/main" id="{362B051B-ECEA-7780-FB59-612E4E1BAD3F}"/>
                  </a:ext>
                </a:extLst>
              </p:cNvPr>
              <p:cNvSpPr/>
              <p:nvPr/>
            </p:nvSpPr>
            <p:spPr>
              <a:xfrm>
                <a:off x="776753" y="3564391"/>
                <a:ext cx="255763" cy="80895"/>
              </a:xfrm>
              <a:custGeom>
                <a:avLst/>
                <a:gdLst>
                  <a:gd name="connsiteX0" fmla="*/ 255763 w 255763"/>
                  <a:gd name="connsiteY0" fmla="*/ 76841 h 80895"/>
                  <a:gd name="connsiteX1" fmla="*/ 230886 w 255763"/>
                  <a:gd name="connsiteY1" fmla="*/ 13879 h 80895"/>
                  <a:gd name="connsiteX2" fmla="*/ 228844 w 255763"/>
                  <a:gd name="connsiteY2" fmla="*/ 0 h 80895"/>
                  <a:gd name="connsiteX3" fmla="*/ 127966 w 255763"/>
                  <a:gd name="connsiteY3" fmla="*/ 0 h 80895"/>
                  <a:gd name="connsiteX4" fmla="*/ 118088 w 255763"/>
                  <a:gd name="connsiteY4" fmla="*/ 13991 h 80895"/>
                  <a:gd name="connsiteX5" fmla="*/ 70936 w 255763"/>
                  <a:gd name="connsiteY5" fmla="*/ 36825 h 80895"/>
                  <a:gd name="connsiteX6" fmla="*/ 9710 w 255763"/>
                  <a:gd name="connsiteY6" fmla="*/ 55042 h 80895"/>
                  <a:gd name="connsiteX7" fmla="*/ 0 w 255763"/>
                  <a:gd name="connsiteY7" fmla="*/ 75330 h 80895"/>
                  <a:gd name="connsiteX8" fmla="*/ 168 w 255763"/>
                  <a:gd name="connsiteY8" fmla="*/ 77708 h 80895"/>
                  <a:gd name="connsiteX9" fmla="*/ 109273 w 255763"/>
                  <a:gd name="connsiteY9" fmla="*/ 77708 h 80895"/>
                  <a:gd name="connsiteX10" fmla="*/ 255763 w 255763"/>
                  <a:gd name="connsiteY10" fmla="*/ 76841 h 80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55763" h="80895">
                    <a:moveTo>
                      <a:pt x="255763" y="76841"/>
                    </a:moveTo>
                    <a:cubicBezTo>
                      <a:pt x="252153" y="55462"/>
                      <a:pt x="243227" y="31033"/>
                      <a:pt x="230886" y="13879"/>
                    </a:cubicBezTo>
                    <a:cubicBezTo>
                      <a:pt x="230886" y="4701"/>
                      <a:pt x="228844" y="0"/>
                      <a:pt x="228844" y="0"/>
                    </a:cubicBezTo>
                    <a:lnTo>
                      <a:pt x="127966" y="0"/>
                    </a:lnTo>
                    <a:cubicBezTo>
                      <a:pt x="127798" y="336"/>
                      <a:pt x="126315" y="2546"/>
                      <a:pt x="118088" y="13991"/>
                    </a:cubicBezTo>
                    <a:cubicBezTo>
                      <a:pt x="101634" y="31341"/>
                      <a:pt x="70936" y="36825"/>
                      <a:pt x="70936" y="36825"/>
                    </a:cubicBezTo>
                    <a:cubicBezTo>
                      <a:pt x="53475" y="41554"/>
                      <a:pt x="37217" y="45388"/>
                      <a:pt x="9710" y="55042"/>
                    </a:cubicBezTo>
                    <a:cubicBezTo>
                      <a:pt x="1651" y="57868"/>
                      <a:pt x="0" y="68082"/>
                      <a:pt x="0" y="75330"/>
                    </a:cubicBezTo>
                    <a:cubicBezTo>
                      <a:pt x="0" y="76141"/>
                      <a:pt x="112" y="76925"/>
                      <a:pt x="168" y="77708"/>
                    </a:cubicBezTo>
                    <a:lnTo>
                      <a:pt x="109273" y="77708"/>
                    </a:lnTo>
                    <a:cubicBezTo>
                      <a:pt x="161545" y="81794"/>
                      <a:pt x="206877" y="82409"/>
                      <a:pt x="255763" y="76841"/>
                    </a:cubicBezTo>
                    <a:close/>
                  </a:path>
                </a:pathLst>
              </a:custGeom>
              <a:solidFill>
                <a:srgbClr val="1E1E1E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DB847805-F1E3-9AA2-3C93-DA3E24DEDD21}"/>
                </a:ext>
              </a:extLst>
            </p:cNvPr>
            <p:cNvSpPr/>
            <p:nvPr/>
          </p:nvSpPr>
          <p:spPr>
            <a:xfrm>
              <a:off x="815537" y="2663120"/>
              <a:ext cx="457855" cy="457854"/>
            </a:xfrm>
            <a:custGeom>
              <a:avLst/>
              <a:gdLst>
                <a:gd name="connsiteX0" fmla="*/ 457855 w 457855"/>
                <a:gd name="connsiteY0" fmla="*/ 228927 h 457854"/>
                <a:gd name="connsiteX1" fmla="*/ 228928 w 457855"/>
                <a:gd name="connsiteY1" fmla="*/ 457855 h 457854"/>
                <a:gd name="connsiteX2" fmla="*/ 0 w 457855"/>
                <a:gd name="connsiteY2" fmla="*/ 228927 h 457854"/>
                <a:gd name="connsiteX3" fmla="*/ 228928 w 457855"/>
                <a:gd name="connsiteY3" fmla="*/ 0 h 457854"/>
                <a:gd name="connsiteX4" fmla="*/ 457855 w 457855"/>
                <a:gd name="connsiteY4" fmla="*/ 228927 h 45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7855" h="457854">
                  <a:moveTo>
                    <a:pt x="457855" y="228927"/>
                  </a:moveTo>
                  <a:cubicBezTo>
                    <a:pt x="457855" y="355361"/>
                    <a:pt x="355361" y="457855"/>
                    <a:pt x="228928" y="457855"/>
                  </a:cubicBezTo>
                  <a:cubicBezTo>
                    <a:pt x="102494" y="457855"/>
                    <a:pt x="0" y="355361"/>
                    <a:pt x="0" y="228927"/>
                  </a:cubicBezTo>
                  <a:cubicBezTo>
                    <a:pt x="0" y="102494"/>
                    <a:pt x="102494" y="0"/>
                    <a:pt x="228928" y="0"/>
                  </a:cubicBezTo>
                  <a:cubicBezTo>
                    <a:pt x="355361" y="0"/>
                    <a:pt x="457855" y="102494"/>
                    <a:pt x="457855" y="228927"/>
                  </a:cubicBezTo>
                  <a:close/>
                </a:path>
              </a:pathLst>
            </a:custGeom>
            <a:solidFill>
              <a:srgbClr val="009999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0EBF728E-024C-B313-F864-D4FED81122E3}"/>
                </a:ext>
              </a:extLst>
            </p:cNvPr>
            <p:cNvSpPr/>
            <p:nvPr/>
          </p:nvSpPr>
          <p:spPr>
            <a:xfrm>
              <a:off x="663450" y="2324836"/>
              <a:ext cx="234188" cy="411039"/>
            </a:xfrm>
            <a:custGeom>
              <a:avLst/>
              <a:gdLst>
                <a:gd name="connsiteX0" fmla="*/ 104572 w 234188"/>
                <a:gd name="connsiteY0" fmla="*/ 0 h 411039"/>
                <a:gd name="connsiteX1" fmla="*/ 57057 w 234188"/>
                <a:gd name="connsiteY1" fmla="*/ 103788 h 411039"/>
                <a:gd name="connsiteX2" fmla="*/ 0 w 234188"/>
                <a:gd name="connsiteY2" fmla="*/ 375501 h 411039"/>
                <a:gd name="connsiteX3" fmla="*/ 159642 w 234188"/>
                <a:gd name="connsiteY3" fmla="*/ 411040 h 411039"/>
                <a:gd name="connsiteX4" fmla="*/ 234188 w 234188"/>
                <a:gd name="connsiteY4" fmla="*/ 76029 h 411039"/>
                <a:gd name="connsiteX5" fmla="*/ 104572 w 234188"/>
                <a:gd name="connsiteY5" fmla="*/ 0 h 411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188" h="411039">
                  <a:moveTo>
                    <a:pt x="104572" y="0"/>
                  </a:moveTo>
                  <a:cubicBezTo>
                    <a:pt x="104572" y="0"/>
                    <a:pt x="72727" y="26556"/>
                    <a:pt x="57057" y="103788"/>
                  </a:cubicBezTo>
                  <a:cubicBezTo>
                    <a:pt x="37329" y="201085"/>
                    <a:pt x="0" y="375501"/>
                    <a:pt x="0" y="375501"/>
                  </a:cubicBezTo>
                  <a:lnTo>
                    <a:pt x="159642" y="411040"/>
                  </a:lnTo>
                  <a:lnTo>
                    <a:pt x="234188" y="76029"/>
                  </a:lnTo>
                  <a:cubicBezTo>
                    <a:pt x="175229" y="29214"/>
                    <a:pt x="104572" y="0"/>
                    <a:pt x="104572" y="0"/>
                  </a:cubicBezTo>
                  <a:close/>
                </a:path>
              </a:pathLst>
            </a:custGeom>
            <a:solidFill>
              <a:srgbClr val="009999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E2985378-FFF3-EA5F-83FB-41AB582FA263}"/>
                </a:ext>
              </a:extLst>
            </p:cNvPr>
            <p:cNvSpPr/>
            <p:nvPr/>
          </p:nvSpPr>
          <p:spPr>
            <a:xfrm>
              <a:off x="966168" y="2082050"/>
              <a:ext cx="145510" cy="236797"/>
            </a:xfrm>
            <a:custGeom>
              <a:avLst/>
              <a:gdLst>
                <a:gd name="connsiteX0" fmla="*/ 0 w 145510"/>
                <a:gd name="connsiteY0" fmla="*/ 205316 h 236797"/>
                <a:gd name="connsiteX1" fmla="*/ 145511 w 145510"/>
                <a:gd name="connsiteY1" fmla="*/ 205316 h 236797"/>
                <a:gd name="connsiteX2" fmla="*/ 145511 w 145510"/>
                <a:gd name="connsiteY2" fmla="*/ 51243 h 236797"/>
                <a:gd name="connsiteX3" fmla="*/ 0 w 145510"/>
                <a:gd name="connsiteY3" fmla="*/ 51243 h 236797"/>
                <a:gd name="connsiteX4" fmla="*/ 0 w 145510"/>
                <a:gd name="connsiteY4" fmla="*/ 205316 h 236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510" h="236797">
                  <a:moveTo>
                    <a:pt x="0" y="205316"/>
                  </a:moveTo>
                  <a:cubicBezTo>
                    <a:pt x="25297" y="246983"/>
                    <a:pt x="115737" y="247598"/>
                    <a:pt x="145511" y="205316"/>
                  </a:cubicBezTo>
                  <a:lnTo>
                    <a:pt x="145511" y="51243"/>
                  </a:lnTo>
                  <a:cubicBezTo>
                    <a:pt x="145511" y="-14852"/>
                    <a:pt x="0" y="-19274"/>
                    <a:pt x="0" y="51243"/>
                  </a:cubicBezTo>
                  <a:lnTo>
                    <a:pt x="0" y="205316"/>
                  </a:lnTo>
                  <a:close/>
                </a:path>
              </a:pathLst>
            </a:custGeom>
            <a:solidFill>
              <a:srgbClr val="F9D9D2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07B822CD-581F-C9A2-E239-F21CD24B6CC8}"/>
                </a:ext>
              </a:extLst>
            </p:cNvPr>
            <p:cNvSpPr/>
            <p:nvPr/>
          </p:nvSpPr>
          <p:spPr>
            <a:xfrm>
              <a:off x="966196" y="2081967"/>
              <a:ext cx="145510" cy="205531"/>
            </a:xfrm>
            <a:custGeom>
              <a:avLst/>
              <a:gdLst>
                <a:gd name="connsiteX0" fmla="*/ 145511 w 145510"/>
                <a:gd name="connsiteY0" fmla="*/ 205399 h 205531"/>
                <a:gd name="connsiteX1" fmla="*/ 145511 w 145510"/>
                <a:gd name="connsiteY1" fmla="*/ 51326 h 205531"/>
                <a:gd name="connsiteX2" fmla="*/ 0 w 145510"/>
                <a:gd name="connsiteY2" fmla="*/ 51326 h 205531"/>
                <a:gd name="connsiteX3" fmla="*/ 0 w 145510"/>
                <a:gd name="connsiteY3" fmla="*/ 93580 h 205531"/>
                <a:gd name="connsiteX4" fmla="*/ 97268 w 145510"/>
                <a:gd name="connsiteY4" fmla="*/ 119744 h 205531"/>
                <a:gd name="connsiteX5" fmla="*/ 129421 w 145510"/>
                <a:gd name="connsiteY5" fmla="*/ 145936 h 205531"/>
                <a:gd name="connsiteX6" fmla="*/ 145511 w 145510"/>
                <a:gd name="connsiteY6" fmla="*/ 205427 h 205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510" h="205531">
                  <a:moveTo>
                    <a:pt x="145511" y="205399"/>
                  </a:moveTo>
                  <a:lnTo>
                    <a:pt x="145511" y="51326"/>
                  </a:lnTo>
                  <a:cubicBezTo>
                    <a:pt x="143944" y="-16253"/>
                    <a:pt x="0" y="-17959"/>
                    <a:pt x="0" y="51326"/>
                  </a:cubicBezTo>
                  <a:lnTo>
                    <a:pt x="0" y="93580"/>
                  </a:lnTo>
                  <a:cubicBezTo>
                    <a:pt x="15558" y="111293"/>
                    <a:pt x="52132" y="133651"/>
                    <a:pt x="97268" y="119744"/>
                  </a:cubicBezTo>
                  <a:cubicBezTo>
                    <a:pt x="111036" y="115491"/>
                    <a:pt x="137088" y="124809"/>
                    <a:pt x="129421" y="145936"/>
                  </a:cubicBezTo>
                  <a:cubicBezTo>
                    <a:pt x="116716" y="180803"/>
                    <a:pt x="144112" y="207414"/>
                    <a:pt x="145511" y="205427"/>
                  </a:cubicBezTo>
                  <a:close/>
                </a:path>
              </a:pathLst>
            </a:custGeom>
            <a:solidFill>
              <a:srgbClr val="F2BBB3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CEF37099-6C7A-D843-E327-96BDA80C389B}"/>
                </a:ext>
              </a:extLst>
            </p:cNvPr>
            <p:cNvSpPr/>
            <p:nvPr/>
          </p:nvSpPr>
          <p:spPr>
            <a:xfrm>
              <a:off x="1119291" y="2611464"/>
              <a:ext cx="288335" cy="159558"/>
            </a:xfrm>
            <a:custGeom>
              <a:avLst/>
              <a:gdLst>
                <a:gd name="connsiteX0" fmla="*/ 288335 w 288335"/>
                <a:gd name="connsiteY0" fmla="*/ 152926 h 159558"/>
                <a:gd name="connsiteX1" fmla="*/ 0 w 288335"/>
                <a:gd name="connsiteY1" fmla="*/ 159558 h 159558"/>
                <a:gd name="connsiteX2" fmla="*/ 5820 w 288335"/>
                <a:gd name="connsiteY2" fmla="*/ 27955 h 159558"/>
                <a:gd name="connsiteX3" fmla="*/ 282067 w 288335"/>
                <a:gd name="connsiteY3" fmla="*/ 0 h 159558"/>
                <a:gd name="connsiteX4" fmla="*/ 288335 w 288335"/>
                <a:gd name="connsiteY4" fmla="*/ 152926 h 159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8335" h="159558">
                  <a:moveTo>
                    <a:pt x="288335" y="152926"/>
                  </a:moveTo>
                  <a:lnTo>
                    <a:pt x="0" y="159558"/>
                  </a:lnTo>
                  <a:lnTo>
                    <a:pt x="5820" y="27955"/>
                  </a:lnTo>
                  <a:lnTo>
                    <a:pt x="282067" y="0"/>
                  </a:lnTo>
                  <a:cubicBezTo>
                    <a:pt x="282067" y="0"/>
                    <a:pt x="282067" y="70657"/>
                    <a:pt x="288335" y="152926"/>
                  </a:cubicBezTo>
                  <a:close/>
                </a:path>
              </a:pathLst>
            </a:custGeom>
            <a:solidFill>
              <a:srgbClr val="009999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42F1D631-69DF-BF66-5F28-3140C763FCEC}"/>
                </a:ext>
              </a:extLst>
            </p:cNvPr>
            <p:cNvSpPr/>
            <p:nvPr/>
          </p:nvSpPr>
          <p:spPr>
            <a:xfrm>
              <a:off x="1197083" y="2357072"/>
              <a:ext cx="279968" cy="363412"/>
            </a:xfrm>
            <a:custGeom>
              <a:avLst/>
              <a:gdLst>
                <a:gd name="connsiteX0" fmla="*/ 143160 w 279968"/>
                <a:gd name="connsiteY0" fmla="*/ 0 h 363412"/>
                <a:gd name="connsiteX1" fmla="*/ 279968 w 279968"/>
                <a:gd name="connsiteY1" fmla="*/ 302802 h 363412"/>
                <a:gd name="connsiteX2" fmla="*/ 139522 w 279968"/>
                <a:gd name="connsiteY2" fmla="*/ 363413 h 363412"/>
                <a:gd name="connsiteX3" fmla="*/ 0 w 279968"/>
                <a:gd name="connsiteY3" fmla="*/ 61142 h 363412"/>
                <a:gd name="connsiteX4" fmla="*/ 143160 w 279968"/>
                <a:gd name="connsiteY4" fmla="*/ 0 h 363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968" h="363412">
                  <a:moveTo>
                    <a:pt x="143160" y="0"/>
                  </a:moveTo>
                  <a:cubicBezTo>
                    <a:pt x="179930" y="92203"/>
                    <a:pt x="279968" y="302802"/>
                    <a:pt x="279968" y="302802"/>
                  </a:cubicBezTo>
                  <a:lnTo>
                    <a:pt x="139522" y="363413"/>
                  </a:lnTo>
                  <a:lnTo>
                    <a:pt x="0" y="61142"/>
                  </a:lnTo>
                  <a:cubicBezTo>
                    <a:pt x="0" y="61142"/>
                    <a:pt x="64808" y="33076"/>
                    <a:pt x="143160" y="0"/>
                  </a:cubicBezTo>
                  <a:close/>
                </a:path>
              </a:pathLst>
            </a:custGeom>
            <a:solidFill>
              <a:srgbClr val="009999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9B1CF67F-7B5D-F77D-C886-F274E70B9E6C}"/>
                </a:ext>
              </a:extLst>
            </p:cNvPr>
            <p:cNvSpPr/>
            <p:nvPr/>
          </p:nvSpPr>
          <p:spPr>
            <a:xfrm>
              <a:off x="1329302" y="2611352"/>
              <a:ext cx="153066" cy="153066"/>
            </a:xfrm>
            <a:custGeom>
              <a:avLst/>
              <a:gdLst>
                <a:gd name="connsiteX0" fmla="*/ 153066 w 153066"/>
                <a:gd name="connsiteY0" fmla="*/ 76533 h 153066"/>
                <a:gd name="connsiteX1" fmla="*/ 76533 w 153066"/>
                <a:gd name="connsiteY1" fmla="*/ 153066 h 153066"/>
                <a:gd name="connsiteX2" fmla="*/ 0 w 153066"/>
                <a:gd name="connsiteY2" fmla="*/ 76533 h 153066"/>
                <a:gd name="connsiteX3" fmla="*/ 76533 w 153066"/>
                <a:gd name="connsiteY3" fmla="*/ 0 h 153066"/>
                <a:gd name="connsiteX4" fmla="*/ 153066 w 153066"/>
                <a:gd name="connsiteY4" fmla="*/ 76533 h 153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3066" h="153066">
                  <a:moveTo>
                    <a:pt x="153066" y="76533"/>
                  </a:moveTo>
                  <a:cubicBezTo>
                    <a:pt x="153066" y="118801"/>
                    <a:pt x="118801" y="153066"/>
                    <a:pt x="76533" y="153066"/>
                  </a:cubicBezTo>
                  <a:cubicBezTo>
                    <a:pt x="34265" y="153066"/>
                    <a:pt x="0" y="118801"/>
                    <a:pt x="0" y="76533"/>
                  </a:cubicBezTo>
                  <a:cubicBezTo>
                    <a:pt x="0" y="34265"/>
                    <a:pt x="34265" y="0"/>
                    <a:pt x="76533" y="0"/>
                  </a:cubicBezTo>
                  <a:cubicBezTo>
                    <a:pt x="118801" y="0"/>
                    <a:pt x="153066" y="34265"/>
                    <a:pt x="153066" y="76533"/>
                  </a:cubicBezTo>
                  <a:close/>
                </a:path>
              </a:pathLst>
            </a:custGeom>
            <a:solidFill>
              <a:srgbClr val="009999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1842D5A5-F29C-F981-D00A-695F0C4E8A41}"/>
                </a:ext>
              </a:extLst>
            </p:cNvPr>
            <p:cNvSpPr/>
            <p:nvPr/>
          </p:nvSpPr>
          <p:spPr>
            <a:xfrm>
              <a:off x="747343" y="2913960"/>
              <a:ext cx="273448" cy="600061"/>
            </a:xfrm>
            <a:custGeom>
              <a:avLst/>
              <a:gdLst>
                <a:gd name="connsiteX0" fmla="*/ 0 w 273448"/>
                <a:gd name="connsiteY0" fmla="*/ 93013 h 600061"/>
                <a:gd name="connsiteX1" fmla="*/ 112491 w 273448"/>
                <a:gd name="connsiteY1" fmla="*/ 600062 h 600061"/>
                <a:gd name="connsiteX2" fmla="*/ 273448 w 273448"/>
                <a:gd name="connsiteY2" fmla="*/ 600062 h 600061"/>
                <a:gd name="connsiteX3" fmla="*/ 218854 w 273448"/>
                <a:gd name="connsiteY3" fmla="*/ 154043 h 600061"/>
                <a:gd name="connsiteX4" fmla="*/ 28 w 273448"/>
                <a:gd name="connsiteY4" fmla="*/ 93013 h 600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448" h="600061">
                  <a:moveTo>
                    <a:pt x="0" y="93013"/>
                  </a:moveTo>
                  <a:cubicBezTo>
                    <a:pt x="0" y="258783"/>
                    <a:pt x="84088" y="461239"/>
                    <a:pt x="112491" y="600062"/>
                  </a:cubicBezTo>
                  <a:lnTo>
                    <a:pt x="273448" y="600062"/>
                  </a:lnTo>
                  <a:lnTo>
                    <a:pt x="218854" y="154043"/>
                  </a:lnTo>
                  <a:cubicBezTo>
                    <a:pt x="218854" y="78713"/>
                    <a:pt x="95981" y="-114172"/>
                    <a:pt x="28" y="93013"/>
                  </a:cubicBezTo>
                  <a:close/>
                </a:path>
              </a:pathLst>
            </a:custGeom>
            <a:solidFill>
              <a:srgbClr val="009999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520E736-E0D5-3826-8DA3-4FD84FD896B4}"/>
                </a:ext>
              </a:extLst>
            </p:cNvPr>
            <p:cNvSpPr/>
            <p:nvPr/>
          </p:nvSpPr>
          <p:spPr>
            <a:xfrm>
              <a:off x="1063325" y="3054722"/>
              <a:ext cx="197369" cy="459299"/>
            </a:xfrm>
            <a:custGeom>
              <a:avLst/>
              <a:gdLst>
                <a:gd name="connsiteX0" fmla="*/ 193725 w 197369"/>
                <a:gd name="connsiteY0" fmla="*/ 4495 h 459299"/>
                <a:gd name="connsiteX1" fmla="*/ 168457 w 197369"/>
                <a:gd name="connsiteY1" fmla="*/ 459300 h 459299"/>
                <a:gd name="connsiteX2" fmla="*/ 16482 w 197369"/>
                <a:gd name="connsiteY2" fmla="*/ 459300 h 459299"/>
                <a:gd name="connsiteX3" fmla="*/ 0 w 197369"/>
                <a:gd name="connsiteY3" fmla="*/ 13281 h 459299"/>
                <a:gd name="connsiteX4" fmla="*/ 193725 w 197369"/>
                <a:gd name="connsiteY4" fmla="*/ 4495 h 459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7369" h="459299">
                  <a:moveTo>
                    <a:pt x="193725" y="4495"/>
                  </a:moveTo>
                  <a:cubicBezTo>
                    <a:pt x="202148" y="196093"/>
                    <a:pt x="196859" y="320449"/>
                    <a:pt x="168457" y="459300"/>
                  </a:cubicBezTo>
                  <a:cubicBezTo>
                    <a:pt x="144559" y="459300"/>
                    <a:pt x="16482" y="459300"/>
                    <a:pt x="16482" y="459300"/>
                  </a:cubicBezTo>
                  <a:lnTo>
                    <a:pt x="0" y="13281"/>
                  </a:lnTo>
                  <a:cubicBezTo>
                    <a:pt x="73231" y="-2529"/>
                    <a:pt x="138011" y="-2529"/>
                    <a:pt x="193725" y="4495"/>
                  </a:cubicBezTo>
                  <a:close/>
                </a:path>
              </a:pathLst>
            </a:custGeom>
            <a:solidFill>
              <a:srgbClr val="009999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7DB6C7F3-3D77-A084-0493-3774FEED3EF2}"/>
                </a:ext>
              </a:extLst>
            </p:cNvPr>
            <p:cNvSpPr/>
            <p:nvPr/>
          </p:nvSpPr>
          <p:spPr>
            <a:xfrm>
              <a:off x="768022" y="2246400"/>
              <a:ext cx="534444" cy="640918"/>
            </a:xfrm>
            <a:custGeom>
              <a:avLst/>
              <a:gdLst>
                <a:gd name="connsiteX0" fmla="*/ 47571 w 534444"/>
                <a:gd name="connsiteY0" fmla="*/ 640919 h 640918"/>
                <a:gd name="connsiteX1" fmla="*/ 62514 w 534444"/>
                <a:gd name="connsiteY1" fmla="*/ 465019 h 640918"/>
                <a:gd name="connsiteX2" fmla="*/ 0 w 534444"/>
                <a:gd name="connsiteY2" fmla="*/ 78408 h 640918"/>
                <a:gd name="connsiteX3" fmla="*/ 198147 w 534444"/>
                <a:gd name="connsiteY3" fmla="*/ 0 h 640918"/>
                <a:gd name="connsiteX4" fmla="*/ 343657 w 534444"/>
                <a:gd name="connsiteY4" fmla="*/ 0 h 640918"/>
                <a:gd name="connsiteX5" fmla="*/ 534444 w 534444"/>
                <a:gd name="connsiteY5" fmla="*/ 69929 h 640918"/>
                <a:gd name="connsiteX6" fmla="*/ 491099 w 534444"/>
                <a:gd name="connsiteY6" fmla="*/ 451447 h 640918"/>
                <a:gd name="connsiteX7" fmla="*/ 505370 w 534444"/>
                <a:gd name="connsiteY7" fmla="*/ 640891 h 640918"/>
                <a:gd name="connsiteX8" fmla="*/ 47571 w 534444"/>
                <a:gd name="connsiteY8" fmla="*/ 640891 h 640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4444" h="640918">
                  <a:moveTo>
                    <a:pt x="47571" y="640919"/>
                  </a:moveTo>
                  <a:lnTo>
                    <a:pt x="62514" y="465019"/>
                  </a:lnTo>
                  <a:lnTo>
                    <a:pt x="0" y="78408"/>
                  </a:lnTo>
                  <a:cubicBezTo>
                    <a:pt x="42954" y="38253"/>
                    <a:pt x="142908" y="16258"/>
                    <a:pt x="198147" y="0"/>
                  </a:cubicBezTo>
                  <a:cubicBezTo>
                    <a:pt x="241492" y="32628"/>
                    <a:pt x="336130" y="11081"/>
                    <a:pt x="343657" y="0"/>
                  </a:cubicBezTo>
                  <a:cubicBezTo>
                    <a:pt x="415209" y="21687"/>
                    <a:pt x="463284" y="35566"/>
                    <a:pt x="534444" y="69929"/>
                  </a:cubicBezTo>
                  <a:cubicBezTo>
                    <a:pt x="534444" y="69929"/>
                    <a:pt x="487489" y="393998"/>
                    <a:pt x="491099" y="451447"/>
                  </a:cubicBezTo>
                  <a:cubicBezTo>
                    <a:pt x="494709" y="508924"/>
                    <a:pt x="505370" y="640891"/>
                    <a:pt x="505370" y="640891"/>
                  </a:cubicBezTo>
                  <a:lnTo>
                    <a:pt x="47571" y="640891"/>
                  </a:lnTo>
                  <a:close/>
                </a:path>
              </a:pathLst>
            </a:custGeom>
            <a:solidFill>
              <a:srgbClr val="009999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53" name="Grafik 110">
              <a:extLst>
                <a:ext uri="{FF2B5EF4-FFF2-40B4-BE49-F238E27FC236}">
                  <a16:creationId xmlns:a16="http://schemas.microsoft.com/office/drawing/2014/main" id="{4313BAC5-58F2-2056-2EC7-B9C88DC30D74}"/>
                </a:ext>
              </a:extLst>
            </p:cNvPr>
            <p:cNvGrpSpPr/>
            <p:nvPr/>
          </p:nvGrpSpPr>
          <p:grpSpPr>
            <a:xfrm>
              <a:off x="463205" y="2594133"/>
              <a:ext cx="390887" cy="235325"/>
              <a:chOff x="463205" y="2594133"/>
              <a:chExt cx="390887" cy="235325"/>
            </a:xfrm>
          </p:grpSpPr>
          <p:sp>
            <p:nvSpPr>
              <p:cNvPr id="73" name="Freihandform: Form 72">
                <a:extLst>
                  <a:ext uri="{FF2B5EF4-FFF2-40B4-BE49-F238E27FC236}">
                    <a16:creationId xmlns:a16="http://schemas.microsoft.com/office/drawing/2014/main" id="{8C053EF8-A2A7-2050-19CA-13375E131EF8}"/>
                  </a:ext>
                </a:extLst>
              </p:cNvPr>
              <p:cNvSpPr/>
              <p:nvPr/>
            </p:nvSpPr>
            <p:spPr>
              <a:xfrm>
                <a:off x="463205" y="2604048"/>
                <a:ext cx="192961" cy="123460"/>
              </a:xfrm>
              <a:custGeom>
                <a:avLst/>
                <a:gdLst>
                  <a:gd name="connsiteX0" fmla="*/ 22190 w 192961"/>
                  <a:gd name="connsiteY0" fmla="*/ 0 h 123460"/>
                  <a:gd name="connsiteX1" fmla="*/ 0 w 192961"/>
                  <a:gd name="connsiteY1" fmla="*/ 22442 h 123460"/>
                  <a:gd name="connsiteX2" fmla="*/ 4645 w 192961"/>
                  <a:gd name="connsiteY2" fmla="*/ 92399 h 123460"/>
                  <a:gd name="connsiteX3" fmla="*/ 52524 w 192961"/>
                  <a:gd name="connsiteY3" fmla="*/ 113778 h 123460"/>
                  <a:gd name="connsiteX4" fmla="*/ 179650 w 192961"/>
                  <a:gd name="connsiteY4" fmla="*/ 123460 h 123460"/>
                  <a:gd name="connsiteX5" fmla="*/ 191962 w 192961"/>
                  <a:gd name="connsiteY5" fmla="*/ 46927 h 123460"/>
                  <a:gd name="connsiteX6" fmla="*/ 106811 w 192961"/>
                  <a:gd name="connsiteY6" fmla="*/ 22442 h 123460"/>
                  <a:gd name="connsiteX7" fmla="*/ 76897 w 192961"/>
                  <a:gd name="connsiteY7" fmla="*/ 0 h 123460"/>
                  <a:gd name="connsiteX8" fmla="*/ 22190 w 192961"/>
                  <a:gd name="connsiteY8" fmla="*/ 0 h 123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2961" h="123460">
                    <a:moveTo>
                      <a:pt x="22190" y="0"/>
                    </a:moveTo>
                    <a:lnTo>
                      <a:pt x="0" y="22442"/>
                    </a:lnTo>
                    <a:lnTo>
                      <a:pt x="4645" y="92399"/>
                    </a:lnTo>
                    <a:cubicBezTo>
                      <a:pt x="4645" y="92399"/>
                      <a:pt x="37749" y="109833"/>
                      <a:pt x="52524" y="113778"/>
                    </a:cubicBezTo>
                    <a:cubicBezTo>
                      <a:pt x="67299" y="117724"/>
                      <a:pt x="179650" y="123460"/>
                      <a:pt x="179650" y="123460"/>
                    </a:cubicBezTo>
                    <a:cubicBezTo>
                      <a:pt x="179650" y="123460"/>
                      <a:pt x="197279" y="44633"/>
                      <a:pt x="191962" y="46927"/>
                    </a:cubicBezTo>
                    <a:cubicBezTo>
                      <a:pt x="186646" y="49222"/>
                      <a:pt x="112911" y="37497"/>
                      <a:pt x="106811" y="22442"/>
                    </a:cubicBezTo>
                    <a:cubicBezTo>
                      <a:pt x="100710" y="7388"/>
                      <a:pt x="76897" y="0"/>
                      <a:pt x="76897" y="0"/>
                    </a:cubicBezTo>
                    <a:lnTo>
                      <a:pt x="22190" y="0"/>
                    </a:lnTo>
                    <a:close/>
                  </a:path>
                </a:pathLst>
              </a:custGeom>
              <a:solidFill>
                <a:srgbClr val="F9D9D2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4" name="Freihandform: Form 73">
                <a:extLst>
                  <a:ext uri="{FF2B5EF4-FFF2-40B4-BE49-F238E27FC236}">
                    <a16:creationId xmlns:a16="http://schemas.microsoft.com/office/drawing/2014/main" id="{DB0B4F7A-AA9D-F537-5090-8D30386F0A49}"/>
                  </a:ext>
                </a:extLst>
              </p:cNvPr>
              <p:cNvSpPr/>
              <p:nvPr/>
            </p:nvSpPr>
            <p:spPr>
              <a:xfrm>
                <a:off x="575444" y="2618068"/>
                <a:ext cx="180573" cy="177774"/>
              </a:xfrm>
              <a:custGeom>
                <a:avLst/>
                <a:gdLst>
                  <a:gd name="connsiteX0" fmla="*/ 0 w 180573"/>
                  <a:gd name="connsiteY0" fmla="*/ 129476 h 177774"/>
                  <a:gd name="connsiteX1" fmla="*/ 140894 w 180573"/>
                  <a:gd name="connsiteY1" fmla="*/ 177775 h 177774"/>
                  <a:gd name="connsiteX2" fmla="*/ 180573 w 180573"/>
                  <a:gd name="connsiteY2" fmla="*/ 19420 h 177774"/>
                  <a:gd name="connsiteX3" fmla="*/ 33384 w 180573"/>
                  <a:gd name="connsiteY3" fmla="*/ 0 h 177774"/>
                  <a:gd name="connsiteX4" fmla="*/ 0 w 180573"/>
                  <a:gd name="connsiteY4" fmla="*/ 129476 h 177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0573" h="177774">
                    <a:moveTo>
                      <a:pt x="0" y="129476"/>
                    </a:moveTo>
                    <a:lnTo>
                      <a:pt x="140894" y="177775"/>
                    </a:lnTo>
                    <a:lnTo>
                      <a:pt x="180573" y="19420"/>
                    </a:lnTo>
                    <a:lnTo>
                      <a:pt x="33384" y="0"/>
                    </a:lnTo>
                    <a:lnTo>
                      <a:pt x="0" y="129476"/>
                    </a:lnTo>
                    <a:close/>
                  </a:path>
                </a:pathLst>
              </a:custGeom>
              <a:solidFill>
                <a:srgbClr val="009999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5" name="Freihandform: Form 74">
                <a:extLst>
                  <a:ext uri="{FF2B5EF4-FFF2-40B4-BE49-F238E27FC236}">
                    <a16:creationId xmlns:a16="http://schemas.microsoft.com/office/drawing/2014/main" id="{D95736C7-62A4-E555-F278-AD88BF2BFCBA}"/>
                  </a:ext>
                </a:extLst>
              </p:cNvPr>
              <p:cNvSpPr/>
              <p:nvPr/>
            </p:nvSpPr>
            <p:spPr>
              <a:xfrm rot="-1622399">
                <a:off x="531048" y="2617314"/>
                <a:ext cx="134261" cy="134261"/>
              </a:xfrm>
              <a:custGeom>
                <a:avLst/>
                <a:gdLst>
                  <a:gd name="connsiteX0" fmla="*/ 134262 w 134261"/>
                  <a:gd name="connsiteY0" fmla="*/ 67131 h 134261"/>
                  <a:gd name="connsiteX1" fmla="*/ 67131 w 134261"/>
                  <a:gd name="connsiteY1" fmla="*/ 134262 h 134261"/>
                  <a:gd name="connsiteX2" fmla="*/ 0 w 134261"/>
                  <a:gd name="connsiteY2" fmla="*/ 67131 h 134261"/>
                  <a:gd name="connsiteX3" fmla="*/ 67131 w 134261"/>
                  <a:gd name="connsiteY3" fmla="*/ 0 h 134261"/>
                  <a:gd name="connsiteX4" fmla="*/ 134262 w 134261"/>
                  <a:gd name="connsiteY4" fmla="*/ 67131 h 134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261" h="134261">
                    <a:moveTo>
                      <a:pt x="134262" y="67131"/>
                    </a:moveTo>
                    <a:cubicBezTo>
                      <a:pt x="134262" y="104206"/>
                      <a:pt x="104206" y="134262"/>
                      <a:pt x="67131" y="134262"/>
                    </a:cubicBezTo>
                    <a:cubicBezTo>
                      <a:pt x="30055" y="134262"/>
                      <a:pt x="0" y="104206"/>
                      <a:pt x="0" y="67131"/>
                    </a:cubicBezTo>
                    <a:cubicBezTo>
                      <a:pt x="0" y="30056"/>
                      <a:pt x="30055" y="0"/>
                      <a:pt x="67131" y="0"/>
                    </a:cubicBezTo>
                    <a:cubicBezTo>
                      <a:pt x="104206" y="0"/>
                      <a:pt x="134262" y="30056"/>
                      <a:pt x="134262" y="67131"/>
                    </a:cubicBezTo>
                    <a:close/>
                  </a:path>
                </a:pathLst>
              </a:custGeom>
              <a:solidFill>
                <a:srgbClr val="009999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6" name="Freihandform: Form 75">
                <a:extLst>
                  <a:ext uri="{FF2B5EF4-FFF2-40B4-BE49-F238E27FC236}">
                    <a16:creationId xmlns:a16="http://schemas.microsoft.com/office/drawing/2014/main" id="{3D55DF01-BD7C-A265-C357-5A33FB3EF11C}"/>
                  </a:ext>
                </a:extLst>
              </p:cNvPr>
              <p:cNvSpPr/>
              <p:nvPr/>
            </p:nvSpPr>
            <p:spPr>
              <a:xfrm rot="-3694800">
                <a:off x="661105" y="2636471"/>
                <a:ext cx="163867" cy="163867"/>
              </a:xfrm>
              <a:custGeom>
                <a:avLst/>
                <a:gdLst>
                  <a:gd name="connsiteX0" fmla="*/ 163867 w 163867"/>
                  <a:gd name="connsiteY0" fmla="*/ 81934 h 163867"/>
                  <a:gd name="connsiteX1" fmla="*/ 81934 w 163867"/>
                  <a:gd name="connsiteY1" fmla="*/ 163867 h 163867"/>
                  <a:gd name="connsiteX2" fmla="*/ 0 w 163867"/>
                  <a:gd name="connsiteY2" fmla="*/ 81934 h 163867"/>
                  <a:gd name="connsiteX3" fmla="*/ 81934 w 163867"/>
                  <a:gd name="connsiteY3" fmla="*/ 0 h 163867"/>
                  <a:gd name="connsiteX4" fmla="*/ 163867 w 163867"/>
                  <a:gd name="connsiteY4" fmla="*/ 81934 h 163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67" h="163867">
                    <a:moveTo>
                      <a:pt x="163867" y="81934"/>
                    </a:moveTo>
                    <a:cubicBezTo>
                      <a:pt x="163867" y="127184"/>
                      <a:pt x="127184" y="163867"/>
                      <a:pt x="81934" y="163867"/>
                    </a:cubicBezTo>
                    <a:cubicBezTo>
                      <a:pt x="36683" y="163867"/>
                      <a:pt x="0" y="127184"/>
                      <a:pt x="0" y="81934"/>
                    </a:cubicBezTo>
                    <a:cubicBezTo>
                      <a:pt x="0" y="36683"/>
                      <a:pt x="36683" y="0"/>
                      <a:pt x="81934" y="0"/>
                    </a:cubicBezTo>
                    <a:cubicBezTo>
                      <a:pt x="127184" y="0"/>
                      <a:pt x="163867" y="36683"/>
                      <a:pt x="163867" y="81934"/>
                    </a:cubicBezTo>
                    <a:close/>
                  </a:path>
                </a:pathLst>
              </a:custGeom>
              <a:solidFill>
                <a:srgbClr val="009999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BB04D258-D9CB-577A-353B-4F64974EE36A}"/>
                </a:ext>
              </a:extLst>
            </p:cNvPr>
            <p:cNvSpPr/>
            <p:nvPr/>
          </p:nvSpPr>
          <p:spPr>
            <a:xfrm>
              <a:off x="957858" y="2231009"/>
              <a:ext cx="161293" cy="43009"/>
            </a:xfrm>
            <a:custGeom>
              <a:avLst/>
              <a:gdLst>
                <a:gd name="connsiteX0" fmla="*/ 0 w 161293"/>
                <a:gd name="connsiteY0" fmla="*/ 17825 h 43009"/>
                <a:gd name="connsiteX1" fmla="*/ 8087 w 161293"/>
                <a:gd name="connsiteY1" fmla="*/ 0 h 43009"/>
                <a:gd name="connsiteX2" fmla="*/ 154102 w 161293"/>
                <a:gd name="connsiteY2" fmla="*/ 0 h 43009"/>
                <a:gd name="connsiteX3" fmla="*/ 161293 w 161293"/>
                <a:gd name="connsiteY3" fmla="*/ 18357 h 43009"/>
                <a:gd name="connsiteX4" fmla="*/ 84172 w 161293"/>
                <a:gd name="connsiteY4" fmla="*/ 43010 h 43009"/>
                <a:gd name="connsiteX5" fmla="*/ 0 w 161293"/>
                <a:gd name="connsiteY5" fmla="*/ 17825 h 43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1293" h="43009">
                  <a:moveTo>
                    <a:pt x="0" y="17825"/>
                  </a:moveTo>
                  <a:lnTo>
                    <a:pt x="8087" y="0"/>
                  </a:lnTo>
                  <a:cubicBezTo>
                    <a:pt x="54595" y="7611"/>
                    <a:pt x="103145" y="8031"/>
                    <a:pt x="154102" y="0"/>
                  </a:cubicBezTo>
                  <a:lnTo>
                    <a:pt x="161293" y="18357"/>
                  </a:lnTo>
                  <a:cubicBezTo>
                    <a:pt x="161293" y="18357"/>
                    <a:pt x="129281" y="43121"/>
                    <a:pt x="84172" y="43010"/>
                  </a:cubicBezTo>
                  <a:cubicBezTo>
                    <a:pt x="15782" y="42814"/>
                    <a:pt x="0" y="17825"/>
                    <a:pt x="0" y="17825"/>
                  </a:cubicBezTo>
                  <a:close/>
                </a:path>
              </a:pathLst>
            </a:custGeom>
            <a:solidFill>
              <a:srgbClr val="009999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743BFD43-063A-B75A-9351-281B6D63A562}"/>
                </a:ext>
              </a:extLst>
            </p:cNvPr>
            <p:cNvSpPr/>
            <p:nvPr/>
          </p:nvSpPr>
          <p:spPr>
            <a:xfrm>
              <a:off x="502996" y="2604048"/>
              <a:ext cx="23897" cy="11249"/>
            </a:xfrm>
            <a:custGeom>
              <a:avLst/>
              <a:gdLst>
                <a:gd name="connsiteX0" fmla="*/ 0 w 23897"/>
                <a:gd name="connsiteY0" fmla="*/ 0 h 11249"/>
                <a:gd name="connsiteX1" fmla="*/ 23897 w 23897"/>
                <a:gd name="connsiteY1" fmla="*/ 11249 h 11249"/>
                <a:gd name="connsiteX2" fmla="*/ 22162 w 23897"/>
                <a:gd name="connsiteY2" fmla="*/ 0 h 11249"/>
                <a:gd name="connsiteX3" fmla="*/ 0 w 23897"/>
                <a:gd name="connsiteY3" fmla="*/ 0 h 11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97" h="11249">
                  <a:moveTo>
                    <a:pt x="0" y="0"/>
                  </a:moveTo>
                  <a:cubicBezTo>
                    <a:pt x="0" y="5597"/>
                    <a:pt x="23897" y="11249"/>
                    <a:pt x="23897" y="11249"/>
                  </a:cubicBezTo>
                  <a:lnTo>
                    <a:pt x="2216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2BBB3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56" name="Grafik 110">
              <a:extLst>
                <a:ext uri="{FF2B5EF4-FFF2-40B4-BE49-F238E27FC236}">
                  <a16:creationId xmlns:a16="http://schemas.microsoft.com/office/drawing/2014/main" id="{95E95459-B3D1-C50F-53D5-6A7E616C91F0}"/>
                </a:ext>
              </a:extLst>
            </p:cNvPr>
            <p:cNvGrpSpPr/>
            <p:nvPr/>
          </p:nvGrpSpPr>
          <p:grpSpPr>
            <a:xfrm>
              <a:off x="465707" y="2656558"/>
              <a:ext cx="18174" cy="10207"/>
              <a:chOff x="465707" y="2656558"/>
              <a:chExt cx="18174" cy="10207"/>
            </a:xfrm>
            <a:solidFill>
              <a:srgbClr val="F2BBB3"/>
            </a:solidFill>
          </p:grpSpPr>
          <p:sp>
            <p:nvSpPr>
              <p:cNvPr id="71" name="Freihandform: Form 70">
                <a:extLst>
                  <a:ext uri="{FF2B5EF4-FFF2-40B4-BE49-F238E27FC236}">
                    <a16:creationId xmlns:a16="http://schemas.microsoft.com/office/drawing/2014/main" id="{6A1B9647-1EA4-F23A-2826-464D6DE45331}"/>
                  </a:ext>
                </a:extLst>
              </p:cNvPr>
              <p:cNvSpPr/>
              <p:nvPr/>
            </p:nvSpPr>
            <p:spPr>
              <a:xfrm>
                <a:off x="466479" y="2659370"/>
                <a:ext cx="16621" cy="4701"/>
              </a:xfrm>
              <a:custGeom>
                <a:avLst/>
                <a:gdLst>
                  <a:gd name="connsiteX0" fmla="*/ 0 w 16621"/>
                  <a:gd name="connsiteY0" fmla="*/ 0 h 4701"/>
                  <a:gd name="connsiteX1" fmla="*/ 16622 w 16621"/>
                  <a:gd name="connsiteY1" fmla="*/ 4701 h 4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21" h="4701">
                    <a:moveTo>
                      <a:pt x="0" y="0"/>
                    </a:moveTo>
                    <a:lnTo>
                      <a:pt x="16622" y="4701"/>
                    </a:lnTo>
                  </a:path>
                </a:pathLst>
              </a:custGeom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2" name="Freihandform: Form 71">
                <a:extLst>
                  <a:ext uri="{FF2B5EF4-FFF2-40B4-BE49-F238E27FC236}">
                    <a16:creationId xmlns:a16="http://schemas.microsoft.com/office/drawing/2014/main" id="{9DF4180C-8404-BD7D-1C5A-48CF2CFCFD02}"/>
                  </a:ext>
                </a:extLst>
              </p:cNvPr>
              <p:cNvSpPr/>
              <p:nvPr/>
            </p:nvSpPr>
            <p:spPr>
              <a:xfrm rot="-4455001">
                <a:off x="471926" y="2653029"/>
                <a:ext cx="5736" cy="17265"/>
              </a:xfrm>
              <a:custGeom>
                <a:avLst/>
                <a:gdLst>
                  <a:gd name="connsiteX0" fmla="*/ 0 w 5736"/>
                  <a:gd name="connsiteY0" fmla="*/ 0 h 17265"/>
                  <a:gd name="connsiteX1" fmla="*/ 5737 w 5736"/>
                  <a:gd name="connsiteY1" fmla="*/ 0 h 17265"/>
                  <a:gd name="connsiteX2" fmla="*/ 5737 w 5736"/>
                  <a:gd name="connsiteY2" fmla="*/ 17265 h 17265"/>
                  <a:gd name="connsiteX3" fmla="*/ 0 w 5736"/>
                  <a:gd name="connsiteY3" fmla="*/ 17265 h 17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36" h="17265">
                    <a:moveTo>
                      <a:pt x="0" y="0"/>
                    </a:moveTo>
                    <a:lnTo>
                      <a:pt x="5737" y="0"/>
                    </a:lnTo>
                    <a:lnTo>
                      <a:pt x="5737" y="17265"/>
                    </a:lnTo>
                    <a:lnTo>
                      <a:pt x="0" y="17265"/>
                    </a:lnTo>
                    <a:close/>
                  </a:path>
                </a:pathLst>
              </a:custGeom>
              <a:solidFill>
                <a:srgbClr val="F2BBB3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1261867F-750C-2AE4-8498-847BF3662F6C}"/>
                </a:ext>
              </a:extLst>
            </p:cNvPr>
            <p:cNvSpPr/>
            <p:nvPr/>
          </p:nvSpPr>
          <p:spPr>
            <a:xfrm>
              <a:off x="797617" y="2887318"/>
              <a:ext cx="498748" cy="225954"/>
            </a:xfrm>
            <a:custGeom>
              <a:avLst/>
              <a:gdLst>
                <a:gd name="connsiteX0" fmla="*/ 475775 w 498748"/>
                <a:gd name="connsiteY0" fmla="*/ 0 h 225954"/>
                <a:gd name="connsiteX1" fmla="*/ 244916 w 498748"/>
                <a:gd name="connsiteY1" fmla="*/ 225010 h 225954"/>
                <a:gd name="connsiteX2" fmla="*/ 17975 w 498748"/>
                <a:gd name="connsiteY2" fmla="*/ 0 h 225954"/>
                <a:gd name="connsiteX3" fmla="*/ 475775 w 498748"/>
                <a:gd name="connsiteY3" fmla="*/ 0 h 225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8748" h="225954">
                  <a:moveTo>
                    <a:pt x="475775" y="0"/>
                  </a:moveTo>
                  <a:cubicBezTo>
                    <a:pt x="545032" y="253944"/>
                    <a:pt x="454732" y="224870"/>
                    <a:pt x="244916" y="225010"/>
                  </a:cubicBezTo>
                  <a:cubicBezTo>
                    <a:pt x="33618" y="225150"/>
                    <a:pt x="-37207" y="236679"/>
                    <a:pt x="17975" y="0"/>
                  </a:cubicBezTo>
                  <a:lnTo>
                    <a:pt x="475775" y="0"/>
                  </a:lnTo>
                  <a:close/>
                </a:path>
              </a:pathLst>
            </a:custGeom>
            <a:solidFill>
              <a:srgbClr val="009999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C3EDB58C-CFEA-1A53-5DEE-2C8807D0A8DA}"/>
                </a:ext>
              </a:extLst>
            </p:cNvPr>
            <p:cNvSpPr/>
            <p:nvPr/>
          </p:nvSpPr>
          <p:spPr>
            <a:xfrm>
              <a:off x="1190199" y="2308354"/>
              <a:ext cx="155640" cy="155640"/>
            </a:xfrm>
            <a:custGeom>
              <a:avLst/>
              <a:gdLst>
                <a:gd name="connsiteX0" fmla="*/ 155641 w 155640"/>
                <a:gd name="connsiteY0" fmla="*/ 77820 h 155640"/>
                <a:gd name="connsiteX1" fmla="*/ 77820 w 155640"/>
                <a:gd name="connsiteY1" fmla="*/ 155640 h 155640"/>
                <a:gd name="connsiteX2" fmla="*/ 0 w 155640"/>
                <a:gd name="connsiteY2" fmla="*/ 77820 h 155640"/>
                <a:gd name="connsiteX3" fmla="*/ 77820 w 155640"/>
                <a:gd name="connsiteY3" fmla="*/ 0 h 155640"/>
                <a:gd name="connsiteX4" fmla="*/ 155641 w 155640"/>
                <a:gd name="connsiteY4" fmla="*/ 77820 h 155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640" h="155640">
                  <a:moveTo>
                    <a:pt x="155641" y="77820"/>
                  </a:moveTo>
                  <a:cubicBezTo>
                    <a:pt x="155641" y="120799"/>
                    <a:pt x="120799" y="155640"/>
                    <a:pt x="77820" y="155640"/>
                  </a:cubicBezTo>
                  <a:cubicBezTo>
                    <a:pt x="34841" y="155640"/>
                    <a:pt x="0" y="120799"/>
                    <a:pt x="0" y="77820"/>
                  </a:cubicBezTo>
                  <a:cubicBezTo>
                    <a:pt x="0" y="34841"/>
                    <a:pt x="34841" y="0"/>
                    <a:pt x="77820" y="0"/>
                  </a:cubicBezTo>
                  <a:cubicBezTo>
                    <a:pt x="120799" y="0"/>
                    <a:pt x="155641" y="34841"/>
                    <a:pt x="155641" y="77820"/>
                  </a:cubicBezTo>
                  <a:close/>
                </a:path>
              </a:pathLst>
            </a:custGeom>
            <a:solidFill>
              <a:srgbClr val="009999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2A08BA6D-5D34-293C-73BF-E586207FD197}"/>
                </a:ext>
              </a:extLst>
            </p:cNvPr>
            <p:cNvSpPr/>
            <p:nvPr/>
          </p:nvSpPr>
          <p:spPr>
            <a:xfrm>
              <a:off x="744740" y="2302533"/>
              <a:ext cx="155640" cy="155640"/>
            </a:xfrm>
            <a:custGeom>
              <a:avLst/>
              <a:gdLst>
                <a:gd name="connsiteX0" fmla="*/ 155641 w 155640"/>
                <a:gd name="connsiteY0" fmla="*/ 77820 h 155640"/>
                <a:gd name="connsiteX1" fmla="*/ 77820 w 155640"/>
                <a:gd name="connsiteY1" fmla="*/ 155640 h 155640"/>
                <a:gd name="connsiteX2" fmla="*/ 0 w 155640"/>
                <a:gd name="connsiteY2" fmla="*/ 77820 h 155640"/>
                <a:gd name="connsiteX3" fmla="*/ 77820 w 155640"/>
                <a:gd name="connsiteY3" fmla="*/ 0 h 155640"/>
                <a:gd name="connsiteX4" fmla="*/ 155641 w 155640"/>
                <a:gd name="connsiteY4" fmla="*/ 77820 h 155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640" h="155640">
                  <a:moveTo>
                    <a:pt x="155641" y="77820"/>
                  </a:moveTo>
                  <a:cubicBezTo>
                    <a:pt x="155641" y="120799"/>
                    <a:pt x="120799" y="155640"/>
                    <a:pt x="77820" y="155640"/>
                  </a:cubicBezTo>
                  <a:cubicBezTo>
                    <a:pt x="34841" y="155640"/>
                    <a:pt x="0" y="120799"/>
                    <a:pt x="0" y="77820"/>
                  </a:cubicBezTo>
                  <a:cubicBezTo>
                    <a:pt x="0" y="34841"/>
                    <a:pt x="34841" y="0"/>
                    <a:pt x="77820" y="0"/>
                  </a:cubicBezTo>
                  <a:cubicBezTo>
                    <a:pt x="120799" y="0"/>
                    <a:pt x="155641" y="34841"/>
                    <a:pt x="155641" y="77820"/>
                  </a:cubicBezTo>
                  <a:close/>
                </a:path>
              </a:pathLst>
            </a:custGeom>
            <a:solidFill>
              <a:srgbClr val="009999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AD459F85-2A5F-E2D2-2DC6-A248F0A742FB}"/>
                </a:ext>
              </a:extLst>
            </p:cNvPr>
            <p:cNvSpPr/>
            <p:nvPr/>
          </p:nvSpPr>
          <p:spPr>
            <a:xfrm rot="17558400">
              <a:off x="1081984" y="2073291"/>
              <a:ext cx="81150" cy="52383"/>
            </a:xfrm>
            <a:custGeom>
              <a:avLst/>
              <a:gdLst>
                <a:gd name="connsiteX0" fmla="*/ 81150 w 81150"/>
                <a:gd name="connsiteY0" fmla="*/ 26192 h 52383"/>
                <a:gd name="connsiteX1" fmla="*/ 40575 w 81150"/>
                <a:gd name="connsiteY1" fmla="*/ 52384 h 52383"/>
                <a:gd name="connsiteX2" fmla="*/ 0 w 81150"/>
                <a:gd name="connsiteY2" fmla="*/ 26192 h 52383"/>
                <a:gd name="connsiteX3" fmla="*/ 40575 w 81150"/>
                <a:gd name="connsiteY3" fmla="*/ 0 h 52383"/>
                <a:gd name="connsiteX4" fmla="*/ 81150 w 81150"/>
                <a:gd name="connsiteY4" fmla="*/ 26192 h 52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150" h="52383">
                  <a:moveTo>
                    <a:pt x="81150" y="26192"/>
                  </a:moveTo>
                  <a:cubicBezTo>
                    <a:pt x="81150" y="40657"/>
                    <a:pt x="62984" y="52384"/>
                    <a:pt x="40575" y="52384"/>
                  </a:cubicBezTo>
                  <a:cubicBezTo>
                    <a:pt x="18166" y="52384"/>
                    <a:pt x="0" y="40657"/>
                    <a:pt x="0" y="26192"/>
                  </a:cubicBezTo>
                  <a:cubicBezTo>
                    <a:pt x="0" y="11727"/>
                    <a:pt x="18166" y="0"/>
                    <a:pt x="40575" y="0"/>
                  </a:cubicBezTo>
                  <a:cubicBezTo>
                    <a:pt x="62984" y="0"/>
                    <a:pt x="81150" y="11727"/>
                    <a:pt x="81150" y="26192"/>
                  </a:cubicBezTo>
                  <a:close/>
                </a:path>
              </a:pathLst>
            </a:custGeom>
            <a:solidFill>
              <a:srgbClr val="F9D9D2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7786C401-39BE-DBC8-B946-115D696716AA}"/>
                </a:ext>
              </a:extLst>
            </p:cNvPr>
            <p:cNvSpPr/>
            <p:nvPr/>
          </p:nvSpPr>
          <p:spPr>
            <a:xfrm rot="20568601">
              <a:off x="930289" y="2058921"/>
              <a:ext cx="52383" cy="81150"/>
            </a:xfrm>
            <a:custGeom>
              <a:avLst/>
              <a:gdLst>
                <a:gd name="connsiteX0" fmla="*/ 52384 w 52383"/>
                <a:gd name="connsiteY0" fmla="*/ 40575 h 81150"/>
                <a:gd name="connsiteX1" fmla="*/ 26192 w 52383"/>
                <a:gd name="connsiteY1" fmla="*/ 81150 h 81150"/>
                <a:gd name="connsiteX2" fmla="*/ 0 w 52383"/>
                <a:gd name="connsiteY2" fmla="*/ 40575 h 81150"/>
                <a:gd name="connsiteX3" fmla="*/ 26192 w 52383"/>
                <a:gd name="connsiteY3" fmla="*/ 0 h 81150"/>
                <a:gd name="connsiteX4" fmla="*/ 52384 w 52383"/>
                <a:gd name="connsiteY4" fmla="*/ 40575 h 8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383" h="81150">
                  <a:moveTo>
                    <a:pt x="52384" y="40575"/>
                  </a:moveTo>
                  <a:cubicBezTo>
                    <a:pt x="52384" y="62984"/>
                    <a:pt x="40657" y="81150"/>
                    <a:pt x="26192" y="81150"/>
                  </a:cubicBezTo>
                  <a:cubicBezTo>
                    <a:pt x="11727" y="81150"/>
                    <a:pt x="0" y="62984"/>
                    <a:pt x="0" y="40575"/>
                  </a:cubicBezTo>
                  <a:cubicBezTo>
                    <a:pt x="0" y="18166"/>
                    <a:pt x="11727" y="0"/>
                    <a:pt x="26192" y="0"/>
                  </a:cubicBezTo>
                  <a:cubicBezTo>
                    <a:pt x="40657" y="0"/>
                    <a:pt x="52384" y="18166"/>
                    <a:pt x="52384" y="40575"/>
                  </a:cubicBezTo>
                  <a:close/>
                </a:path>
              </a:pathLst>
            </a:custGeom>
            <a:solidFill>
              <a:srgbClr val="F9D9D2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2CE32FDE-1870-ADB4-1C3A-81F3497AE4B1}"/>
                </a:ext>
              </a:extLst>
            </p:cNvPr>
            <p:cNvSpPr/>
            <p:nvPr/>
          </p:nvSpPr>
          <p:spPr>
            <a:xfrm>
              <a:off x="938493" y="1934335"/>
              <a:ext cx="200860" cy="209983"/>
            </a:xfrm>
            <a:custGeom>
              <a:avLst/>
              <a:gdLst>
                <a:gd name="connsiteX0" fmla="*/ 200861 w 200860"/>
                <a:gd name="connsiteY0" fmla="*/ 104992 h 209983"/>
                <a:gd name="connsiteX1" fmla="*/ 100430 w 200860"/>
                <a:gd name="connsiteY1" fmla="*/ 209983 h 209983"/>
                <a:gd name="connsiteX2" fmla="*/ 0 w 200860"/>
                <a:gd name="connsiteY2" fmla="*/ 104992 h 209983"/>
                <a:gd name="connsiteX3" fmla="*/ 100430 w 200860"/>
                <a:gd name="connsiteY3" fmla="*/ 0 h 209983"/>
                <a:gd name="connsiteX4" fmla="*/ 200861 w 200860"/>
                <a:gd name="connsiteY4" fmla="*/ 104992 h 209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860" h="209983">
                  <a:moveTo>
                    <a:pt x="200861" y="104992"/>
                  </a:moveTo>
                  <a:cubicBezTo>
                    <a:pt x="200861" y="162977"/>
                    <a:pt x="155897" y="209983"/>
                    <a:pt x="100430" y="209983"/>
                  </a:cubicBezTo>
                  <a:cubicBezTo>
                    <a:pt x="44964" y="209983"/>
                    <a:pt x="0" y="162977"/>
                    <a:pt x="0" y="104992"/>
                  </a:cubicBezTo>
                  <a:cubicBezTo>
                    <a:pt x="0" y="47006"/>
                    <a:pt x="44964" y="0"/>
                    <a:pt x="100430" y="0"/>
                  </a:cubicBezTo>
                  <a:cubicBezTo>
                    <a:pt x="155897" y="0"/>
                    <a:pt x="200861" y="47006"/>
                    <a:pt x="200861" y="104992"/>
                  </a:cubicBezTo>
                  <a:close/>
                </a:path>
              </a:pathLst>
            </a:custGeom>
            <a:solidFill>
              <a:srgbClr val="C09066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0FC6CA90-E26B-2ED8-C44A-22C32B18B8EB}"/>
                </a:ext>
              </a:extLst>
            </p:cNvPr>
            <p:cNvSpPr/>
            <p:nvPr/>
          </p:nvSpPr>
          <p:spPr>
            <a:xfrm>
              <a:off x="940100" y="2004376"/>
              <a:ext cx="198475" cy="186651"/>
            </a:xfrm>
            <a:custGeom>
              <a:avLst/>
              <a:gdLst>
                <a:gd name="connsiteX0" fmla="*/ 197687 w 198475"/>
                <a:gd name="connsiteY0" fmla="*/ 57896 h 186651"/>
                <a:gd name="connsiteX1" fmla="*/ 98824 w 198475"/>
                <a:gd name="connsiteY1" fmla="*/ 0 h 186651"/>
                <a:gd name="connsiteX2" fmla="*/ 912 w 198475"/>
                <a:gd name="connsiteY2" fmla="*/ 62234 h 186651"/>
                <a:gd name="connsiteX3" fmla="*/ 13420 w 198475"/>
                <a:gd name="connsiteY3" fmla="*/ 132163 h 186651"/>
                <a:gd name="connsiteX4" fmla="*/ 26544 w 198475"/>
                <a:gd name="connsiteY4" fmla="*/ 161685 h 186651"/>
                <a:gd name="connsiteX5" fmla="*/ 172055 w 198475"/>
                <a:gd name="connsiteY5" fmla="*/ 163560 h 186651"/>
                <a:gd name="connsiteX6" fmla="*/ 184563 w 198475"/>
                <a:gd name="connsiteY6" fmla="*/ 119599 h 186651"/>
                <a:gd name="connsiteX7" fmla="*/ 197687 w 198475"/>
                <a:gd name="connsiteY7" fmla="*/ 57868 h 186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8475" h="186651">
                  <a:moveTo>
                    <a:pt x="197687" y="57896"/>
                  </a:moveTo>
                  <a:cubicBezTo>
                    <a:pt x="197687" y="57896"/>
                    <a:pt x="213945" y="0"/>
                    <a:pt x="98824" y="0"/>
                  </a:cubicBezTo>
                  <a:cubicBezTo>
                    <a:pt x="-16298" y="0"/>
                    <a:pt x="912" y="62234"/>
                    <a:pt x="912" y="62234"/>
                  </a:cubicBezTo>
                  <a:cubicBezTo>
                    <a:pt x="912" y="62234"/>
                    <a:pt x="10706" y="117584"/>
                    <a:pt x="13420" y="132163"/>
                  </a:cubicBezTo>
                  <a:cubicBezTo>
                    <a:pt x="15994" y="145874"/>
                    <a:pt x="21843" y="152926"/>
                    <a:pt x="26544" y="161685"/>
                  </a:cubicBezTo>
                  <a:cubicBezTo>
                    <a:pt x="48622" y="197447"/>
                    <a:pt x="154537" y="191822"/>
                    <a:pt x="172055" y="163560"/>
                  </a:cubicBezTo>
                  <a:cubicBezTo>
                    <a:pt x="183444" y="138599"/>
                    <a:pt x="181933" y="133310"/>
                    <a:pt x="184563" y="119599"/>
                  </a:cubicBezTo>
                  <a:cubicBezTo>
                    <a:pt x="188117" y="101242"/>
                    <a:pt x="197687" y="57868"/>
                    <a:pt x="197687" y="57868"/>
                  </a:cubicBezTo>
                  <a:close/>
                </a:path>
              </a:pathLst>
            </a:custGeom>
            <a:solidFill>
              <a:srgbClr val="404040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6ECAF511-A6D1-28C5-8235-F94B33D68525}"/>
                </a:ext>
              </a:extLst>
            </p:cNvPr>
            <p:cNvSpPr/>
            <p:nvPr/>
          </p:nvSpPr>
          <p:spPr>
            <a:xfrm>
              <a:off x="932419" y="1911473"/>
              <a:ext cx="213004" cy="264926"/>
            </a:xfrm>
            <a:custGeom>
              <a:avLst/>
              <a:gdLst>
                <a:gd name="connsiteX0" fmla="*/ 210209 w 213004"/>
                <a:gd name="connsiteY0" fmla="*/ 145707 h 264926"/>
                <a:gd name="connsiteX1" fmla="*/ 106532 w 213004"/>
                <a:gd name="connsiteY1" fmla="*/ 0 h 264926"/>
                <a:gd name="connsiteX2" fmla="*/ 3444 w 213004"/>
                <a:gd name="connsiteY2" fmla="*/ 146462 h 264926"/>
                <a:gd name="connsiteX3" fmla="*/ 19254 w 213004"/>
                <a:gd name="connsiteY3" fmla="*/ 214936 h 264926"/>
                <a:gd name="connsiteX4" fmla="*/ 190201 w 213004"/>
                <a:gd name="connsiteY4" fmla="*/ 215720 h 264926"/>
                <a:gd name="connsiteX5" fmla="*/ 210209 w 213004"/>
                <a:gd name="connsiteY5" fmla="*/ 145735 h 264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004" h="264926">
                  <a:moveTo>
                    <a:pt x="210209" y="145707"/>
                  </a:moveTo>
                  <a:cubicBezTo>
                    <a:pt x="221150" y="60499"/>
                    <a:pt x="202653" y="0"/>
                    <a:pt x="106532" y="0"/>
                  </a:cubicBezTo>
                  <a:cubicBezTo>
                    <a:pt x="21912" y="0"/>
                    <a:pt x="-11471" y="29074"/>
                    <a:pt x="3444" y="146462"/>
                  </a:cubicBezTo>
                  <a:cubicBezTo>
                    <a:pt x="3863" y="150799"/>
                    <a:pt x="17939" y="211074"/>
                    <a:pt x="19254" y="214936"/>
                  </a:cubicBezTo>
                  <a:cubicBezTo>
                    <a:pt x="42648" y="283326"/>
                    <a:pt x="179568" y="279576"/>
                    <a:pt x="190201" y="215720"/>
                  </a:cubicBezTo>
                  <a:cubicBezTo>
                    <a:pt x="191628" y="207213"/>
                    <a:pt x="204444" y="181972"/>
                    <a:pt x="210209" y="145735"/>
                  </a:cubicBezTo>
                  <a:close/>
                </a:path>
              </a:pathLst>
            </a:custGeom>
            <a:solidFill>
              <a:srgbClr val="404040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65" name="Grafik 110">
              <a:extLst>
                <a:ext uri="{FF2B5EF4-FFF2-40B4-BE49-F238E27FC236}">
                  <a16:creationId xmlns:a16="http://schemas.microsoft.com/office/drawing/2014/main" id="{B86FB125-81DC-4010-7389-594CDC5891F3}"/>
                </a:ext>
              </a:extLst>
            </p:cNvPr>
            <p:cNvGrpSpPr/>
            <p:nvPr/>
          </p:nvGrpSpPr>
          <p:grpSpPr>
            <a:xfrm>
              <a:off x="794214" y="2833144"/>
              <a:ext cx="528232" cy="837889"/>
              <a:chOff x="794214" y="2833144"/>
              <a:chExt cx="528232" cy="837889"/>
            </a:xfrm>
            <a:solidFill>
              <a:srgbClr val="404040"/>
            </a:solidFill>
          </p:grpSpPr>
          <p:sp>
            <p:nvSpPr>
              <p:cNvPr id="67" name="Freihandform: Form 66">
                <a:extLst>
                  <a:ext uri="{FF2B5EF4-FFF2-40B4-BE49-F238E27FC236}">
                    <a16:creationId xmlns:a16="http://schemas.microsoft.com/office/drawing/2014/main" id="{E11D13F7-FA60-0381-D268-1DE96C0A4A6C}"/>
                  </a:ext>
                </a:extLst>
              </p:cNvPr>
              <p:cNvSpPr/>
              <p:nvPr/>
            </p:nvSpPr>
            <p:spPr>
              <a:xfrm>
                <a:off x="794214" y="3532350"/>
                <a:ext cx="528232" cy="138682"/>
              </a:xfrm>
              <a:custGeom>
                <a:avLst/>
                <a:gdLst>
                  <a:gd name="connsiteX0" fmla="*/ 506294 w 528232"/>
                  <a:gd name="connsiteY0" fmla="*/ 138683 h 138682"/>
                  <a:gd name="connsiteX1" fmla="*/ 397636 w 528232"/>
                  <a:gd name="connsiteY1" fmla="*/ 23366 h 138682"/>
                  <a:gd name="connsiteX2" fmla="*/ 129309 w 528232"/>
                  <a:gd name="connsiteY2" fmla="*/ 23366 h 138682"/>
                  <a:gd name="connsiteX3" fmla="*/ 22582 w 528232"/>
                  <a:gd name="connsiteY3" fmla="*/ 137759 h 138682"/>
                  <a:gd name="connsiteX4" fmla="*/ 0 w 528232"/>
                  <a:gd name="connsiteY4" fmla="*/ 131687 h 138682"/>
                  <a:gd name="connsiteX5" fmla="*/ 129281 w 528232"/>
                  <a:gd name="connsiteY5" fmla="*/ 0 h 138682"/>
                  <a:gd name="connsiteX6" fmla="*/ 397608 w 528232"/>
                  <a:gd name="connsiteY6" fmla="*/ 0 h 138682"/>
                  <a:gd name="connsiteX7" fmla="*/ 528232 w 528232"/>
                  <a:gd name="connsiteY7" fmla="*/ 130764 h 138682"/>
                  <a:gd name="connsiteX8" fmla="*/ 506238 w 528232"/>
                  <a:gd name="connsiteY8" fmla="*/ 138683 h 138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8232" h="138682">
                    <a:moveTo>
                      <a:pt x="506294" y="138683"/>
                    </a:moveTo>
                    <a:cubicBezTo>
                      <a:pt x="477191" y="57840"/>
                      <a:pt x="444703" y="23366"/>
                      <a:pt x="397636" y="23366"/>
                    </a:cubicBezTo>
                    <a:lnTo>
                      <a:pt x="129309" y="23366"/>
                    </a:lnTo>
                    <a:cubicBezTo>
                      <a:pt x="84564" y="23366"/>
                      <a:pt x="40659" y="70405"/>
                      <a:pt x="22582" y="137759"/>
                    </a:cubicBezTo>
                    <a:lnTo>
                      <a:pt x="0" y="131687"/>
                    </a:lnTo>
                    <a:cubicBezTo>
                      <a:pt x="21155" y="52915"/>
                      <a:pt x="73119" y="0"/>
                      <a:pt x="129281" y="0"/>
                    </a:cubicBezTo>
                    <a:lnTo>
                      <a:pt x="397608" y="0"/>
                    </a:lnTo>
                    <a:cubicBezTo>
                      <a:pt x="455393" y="0"/>
                      <a:pt x="495688" y="40323"/>
                      <a:pt x="528232" y="130764"/>
                    </a:cubicBezTo>
                    <a:lnTo>
                      <a:pt x="506238" y="138683"/>
                    </a:lnTo>
                    <a:close/>
                  </a:path>
                </a:pathLst>
              </a:custGeom>
              <a:solidFill>
                <a:srgbClr val="404040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" name="Freihandform: Form 68">
                <a:extLst>
                  <a:ext uri="{FF2B5EF4-FFF2-40B4-BE49-F238E27FC236}">
                    <a16:creationId xmlns:a16="http://schemas.microsoft.com/office/drawing/2014/main" id="{38FA7C62-2406-CE37-4DF6-C1BB6725DDCF}"/>
                  </a:ext>
                </a:extLst>
              </p:cNvPr>
              <p:cNvSpPr/>
              <p:nvPr/>
            </p:nvSpPr>
            <p:spPr>
              <a:xfrm>
                <a:off x="1046815" y="2833144"/>
                <a:ext cx="23365" cy="718235"/>
              </a:xfrm>
              <a:custGeom>
                <a:avLst/>
                <a:gdLst>
                  <a:gd name="connsiteX0" fmla="*/ 0 w 23365"/>
                  <a:gd name="connsiteY0" fmla="*/ 0 h 718235"/>
                  <a:gd name="connsiteX1" fmla="*/ 23366 w 23365"/>
                  <a:gd name="connsiteY1" fmla="*/ 0 h 718235"/>
                  <a:gd name="connsiteX2" fmla="*/ 23366 w 23365"/>
                  <a:gd name="connsiteY2" fmla="*/ 718235 h 718235"/>
                  <a:gd name="connsiteX3" fmla="*/ 0 w 23365"/>
                  <a:gd name="connsiteY3" fmla="*/ 718235 h 718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365" h="718235">
                    <a:moveTo>
                      <a:pt x="0" y="0"/>
                    </a:moveTo>
                    <a:lnTo>
                      <a:pt x="23366" y="0"/>
                    </a:lnTo>
                    <a:lnTo>
                      <a:pt x="23366" y="718235"/>
                    </a:lnTo>
                    <a:lnTo>
                      <a:pt x="0" y="718235"/>
                    </a:lnTo>
                    <a:close/>
                  </a:path>
                </a:pathLst>
              </a:custGeom>
              <a:solidFill>
                <a:srgbClr val="404040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0" name="Freihandform: Form 69">
                <a:extLst>
                  <a:ext uri="{FF2B5EF4-FFF2-40B4-BE49-F238E27FC236}">
                    <a16:creationId xmlns:a16="http://schemas.microsoft.com/office/drawing/2014/main" id="{16402208-38D0-35D5-B45A-1918931F0A71}"/>
                  </a:ext>
                </a:extLst>
              </p:cNvPr>
              <p:cNvSpPr/>
              <p:nvPr/>
            </p:nvSpPr>
            <p:spPr>
              <a:xfrm>
                <a:off x="809353" y="3097301"/>
                <a:ext cx="498234" cy="76029"/>
              </a:xfrm>
              <a:custGeom>
                <a:avLst/>
                <a:gdLst>
                  <a:gd name="connsiteX0" fmla="*/ 368058 w 498234"/>
                  <a:gd name="connsiteY0" fmla="*/ 0 h 76029"/>
                  <a:gd name="connsiteX1" fmla="*/ 0 w 498234"/>
                  <a:gd name="connsiteY1" fmla="*/ 0 h 76029"/>
                  <a:gd name="connsiteX2" fmla="*/ 76029 w 498234"/>
                  <a:gd name="connsiteY2" fmla="*/ 76029 h 76029"/>
                  <a:gd name="connsiteX3" fmla="*/ 422205 w 498234"/>
                  <a:gd name="connsiteY3" fmla="*/ 76029 h 76029"/>
                  <a:gd name="connsiteX4" fmla="*/ 498235 w 498234"/>
                  <a:gd name="connsiteY4" fmla="*/ 0 h 76029"/>
                  <a:gd name="connsiteX5" fmla="*/ 498235 w 498234"/>
                  <a:gd name="connsiteY5" fmla="*/ 0 h 76029"/>
                  <a:gd name="connsiteX6" fmla="*/ 368030 w 498234"/>
                  <a:gd name="connsiteY6" fmla="*/ 0 h 76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98234" h="76029">
                    <a:moveTo>
                      <a:pt x="368058" y="0"/>
                    </a:moveTo>
                    <a:lnTo>
                      <a:pt x="0" y="0"/>
                    </a:lnTo>
                    <a:cubicBezTo>
                      <a:pt x="0" y="42002"/>
                      <a:pt x="34055" y="76029"/>
                      <a:pt x="76029" y="76029"/>
                    </a:cubicBezTo>
                    <a:lnTo>
                      <a:pt x="422205" y="76029"/>
                    </a:lnTo>
                    <a:cubicBezTo>
                      <a:pt x="464207" y="76029"/>
                      <a:pt x="498235" y="41974"/>
                      <a:pt x="498235" y="0"/>
                    </a:cubicBezTo>
                    <a:lnTo>
                      <a:pt x="498235" y="0"/>
                    </a:lnTo>
                    <a:cubicBezTo>
                      <a:pt x="498235" y="0"/>
                      <a:pt x="368030" y="0"/>
                      <a:pt x="368030" y="0"/>
                    </a:cubicBezTo>
                    <a:close/>
                  </a:path>
                </a:pathLst>
              </a:custGeom>
              <a:solidFill>
                <a:srgbClr val="404040"/>
              </a:solidFill>
              <a:ln w="27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CC70AD14-4615-31EC-AD7B-8A48D7AA4CA5}"/>
                </a:ext>
              </a:extLst>
            </p:cNvPr>
            <p:cNvSpPr/>
            <p:nvPr/>
          </p:nvSpPr>
          <p:spPr>
            <a:xfrm>
              <a:off x="808121" y="2539968"/>
              <a:ext cx="500613" cy="425758"/>
            </a:xfrm>
            <a:custGeom>
              <a:avLst/>
              <a:gdLst>
                <a:gd name="connsiteX0" fmla="*/ 49614 w 500613"/>
                <a:gd name="connsiteY0" fmla="*/ 0 h 425758"/>
                <a:gd name="connsiteX1" fmla="*/ 450972 w 500613"/>
                <a:gd name="connsiteY1" fmla="*/ 0 h 425758"/>
                <a:gd name="connsiteX2" fmla="*/ 500613 w 500613"/>
                <a:gd name="connsiteY2" fmla="*/ 49642 h 425758"/>
                <a:gd name="connsiteX3" fmla="*/ 500613 w 500613"/>
                <a:gd name="connsiteY3" fmla="*/ 374942 h 425758"/>
                <a:gd name="connsiteX4" fmla="*/ 449796 w 500613"/>
                <a:gd name="connsiteY4" fmla="*/ 425759 h 425758"/>
                <a:gd name="connsiteX5" fmla="*/ 50817 w 500613"/>
                <a:gd name="connsiteY5" fmla="*/ 425759 h 425758"/>
                <a:gd name="connsiteX6" fmla="*/ 0 w 500613"/>
                <a:gd name="connsiteY6" fmla="*/ 374942 h 425758"/>
                <a:gd name="connsiteX7" fmla="*/ 0 w 500613"/>
                <a:gd name="connsiteY7" fmla="*/ 49642 h 425758"/>
                <a:gd name="connsiteX8" fmla="*/ 49642 w 500613"/>
                <a:gd name="connsiteY8" fmla="*/ 0 h 425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0613" h="425758">
                  <a:moveTo>
                    <a:pt x="49614" y="0"/>
                  </a:moveTo>
                  <a:lnTo>
                    <a:pt x="450972" y="0"/>
                  </a:lnTo>
                  <a:cubicBezTo>
                    <a:pt x="478367" y="0"/>
                    <a:pt x="500613" y="22246"/>
                    <a:pt x="500613" y="49642"/>
                  </a:cubicBezTo>
                  <a:lnTo>
                    <a:pt x="500613" y="374942"/>
                  </a:lnTo>
                  <a:cubicBezTo>
                    <a:pt x="500613" y="403009"/>
                    <a:pt x="477835" y="425759"/>
                    <a:pt x="449796" y="425759"/>
                  </a:cubicBezTo>
                  <a:lnTo>
                    <a:pt x="50817" y="425759"/>
                  </a:lnTo>
                  <a:cubicBezTo>
                    <a:pt x="22750" y="425759"/>
                    <a:pt x="0" y="402981"/>
                    <a:pt x="0" y="374942"/>
                  </a:cubicBezTo>
                  <a:lnTo>
                    <a:pt x="0" y="49642"/>
                  </a:lnTo>
                  <a:cubicBezTo>
                    <a:pt x="0" y="22246"/>
                    <a:pt x="22246" y="0"/>
                    <a:pt x="49642" y="0"/>
                  </a:cubicBezTo>
                  <a:close/>
                </a:path>
              </a:pathLst>
            </a:custGeom>
            <a:solidFill>
              <a:srgbClr val="404040"/>
            </a:solidFill>
            <a:ln w="27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14" name="Rechteck 113">
            <a:extLst>
              <a:ext uri="{FF2B5EF4-FFF2-40B4-BE49-F238E27FC236}">
                <a16:creationId xmlns:a16="http://schemas.microsoft.com/office/drawing/2014/main" id="{F7186025-CAB9-AE6E-E369-54A7159A1833}"/>
              </a:ext>
            </a:extLst>
          </p:cNvPr>
          <p:cNvSpPr/>
          <p:nvPr/>
        </p:nvSpPr>
        <p:spPr>
          <a:xfrm>
            <a:off x="3766933" y="3795743"/>
            <a:ext cx="144780" cy="144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BD8AE81-F076-EC6D-3239-D48FB3395CD1}"/>
              </a:ext>
            </a:extLst>
          </p:cNvPr>
          <p:cNvSpPr/>
          <p:nvPr/>
        </p:nvSpPr>
        <p:spPr>
          <a:xfrm>
            <a:off x="5931013" y="3795743"/>
            <a:ext cx="144780" cy="304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5FDE7035-0212-0121-A37A-BD820ECEF6AD}"/>
              </a:ext>
            </a:extLst>
          </p:cNvPr>
          <p:cNvSpPr/>
          <p:nvPr/>
        </p:nvSpPr>
        <p:spPr>
          <a:xfrm>
            <a:off x="6658654" y="3188970"/>
            <a:ext cx="144780" cy="144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8" name="Freihandform: Form 457">
            <a:extLst>
              <a:ext uri="{FF2B5EF4-FFF2-40B4-BE49-F238E27FC236}">
                <a16:creationId xmlns:a16="http://schemas.microsoft.com/office/drawing/2014/main" id="{36C6CF38-FF01-3D9E-DC18-3CEBAB807AB4}"/>
              </a:ext>
            </a:extLst>
          </p:cNvPr>
          <p:cNvSpPr/>
          <p:nvPr/>
        </p:nvSpPr>
        <p:spPr>
          <a:xfrm rot="10800000" flipH="1">
            <a:off x="3839324" y="2592486"/>
            <a:ext cx="357883" cy="1486061"/>
          </a:xfrm>
          <a:custGeom>
            <a:avLst/>
            <a:gdLst>
              <a:gd name="connsiteX0" fmla="*/ 0 w 219075"/>
              <a:gd name="connsiteY0" fmla="*/ 0 h 180975"/>
              <a:gd name="connsiteX1" fmla="*/ 0 w 219075"/>
              <a:gd name="connsiteY1" fmla="*/ 180975 h 180975"/>
              <a:gd name="connsiteX2" fmla="*/ 219075 w 219075"/>
              <a:gd name="connsiteY2" fmla="*/ 180975 h 180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9075" h="180975">
                <a:moveTo>
                  <a:pt x="0" y="0"/>
                </a:moveTo>
                <a:lnTo>
                  <a:pt x="0" y="180975"/>
                </a:lnTo>
                <a:lnTo>
                  <a:pt x="219075" y="180975"/>
                </a:lnTo>
              </a:path>
            </a:pathLst>
          </a:custGeom>
          <a:noFill/>
          <a:ln w="19050">
            <a:solidFill>
              <a:schemeClr val="accent5"/>
            </a:solidFill>
            <a:miter lim="800000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5" name="Ellipse 414">
            <a:extLst>
              <a:ext uri="{FF2B5EF4-FFF2-40B4-BE49-F238E27FC236}">
                <a16:creationId xmlns:a16="http://schemas.microsoft.com/office/drawing/2014/main" id="{BB9B9920-E37B-288A-FF8E-79D448200E8C}"/>
              </a:ext>
            </a:extLst>
          </p:cNvPr>
          <p:cNvSpPr>
            <a:spLocks/>
          </p:cNvSpPr>
          <p:nvPr/>
        </p:nvSpPr>
        <p:spPr>
          <a:xfrm>
            <a:off x="3695323" y="3370191"/>
            <a:ext cx="288000" cy="28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11" name="Freihandform: Form 110">
            <a:extLst>
              <a:ext uri="{FF2B5EF4-FFF2-40B4-BE49-F238E27FC236}">
                <a16:creationId xmlns:a16="http://schemas.microsoft.com/office/drawing/2014/main" id="{F61CD7C0-4938-4707-B100-C328704EAD25}"/>
              </a:ext>
            </a:extLst>
          </p:cNvPr>
          <p:cNvSpPr/>
          <p:nvPr/>
        </p:nvSpPr>
        <p:spPr>
          <a:xfrm rot="10800000" flipH="1">
            <a:off x="6004561" y="3261360"/>
            <a:ext cx="1423088" cy="938354"/>
          </a:xfrm>
          <a:custGeom>
            <a:avLst/>
            <a:gdLst>
              <a:gd name="connsiteX0" fmla="*/ 0 w 219075"/>
              <a:gd name="connsiteY0" fmla="*/ 0 h 180975"/>
              <a:gd name="connsiteX1" fmla="*/ 0 w 219075"/>
              <a:gd name="connsiteY1" fmla="*/ 180975 h 180975"/>
              <a:gd name="connsiteX2" fmla="*/ 219075 w 219075"/>
              <a:gd name="connsiteY2" fmla="*/ 180975 h 180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9075" h="180975">
                <a:moveTo>
                  <a:pt x="0" y="0"/>
                </a:moveTo>
                <a:lnTo>
                  <a:pt x="0" y="180975"/>
                </a:lnTo>
                <a:lnTo>
                  <a:pt x="219075" y="180975"/>
                </a:lnTo>
              </a:path>
            </a:pathLst>
          </a:custGeom>
          <a:noFill/>
          <a:ln w="19050">
            <a:solidFill>
              <a:schemeClr val="accent5"/>
            </a:solidFill>
            <a:miter lim="800000"/>
            <a:headEnd type="triangle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481947C5-0131-EBC0-75A5-FF252D8CDCF9}"/>
              </a:ext>
            </a:extLst>
          </p:cNvPr>
          <p:cNvSpPr/>
          <p:nvPr/>
        </p:nvSpPr>
        <p:spPr>
          <a:xfrm>
            <a:off x="9487922" y="3840955"/>
            <a:ext cx="144780" cy="99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54" name="Gerader Verbinder 453">
            <a:extLst>
              <a:ext uri="{FF2B5EF4-FFF2-40B4-BE49-F238E27FC236}">
                <a16:creationId xmlns:a16="http://schemas.microsoft.com/office/drawing/2014/main" id="{888230EA-F80C-7754-2A36-81A720C9F12A}"/>
              </a:ext>
            </a:extLst>
          </p:cNvPr>
          <p:cNvCxnSpPr>
            <a:cxnSpLocks/>
          </p:cNvCxnSpPr>
          <p:nvPr/>
        </p:nvCxnSpPr>
        <p:spPr>
          <a:xfrm flipV="1">
            <a:off x="9560312" y="3530547"/>
            <a:ext cx="0" cy="1079553"/>
          </a:xfrm>
          <a:prstGeom prst="line">
            <a:avLst/>
          </a:prstGeom>
          <a:noFill/>
          <a:ln w="19050">
            <a:solidFill>
              <a:schemeClr val="accent5"/>
            </a:solidFill>
            <a:miter lim="800000"/>
            <a:headEnd type="none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21" name="Ellipse 420">
            <a:extLst>
              <a:ext uri="{FF2B5EF4-FFF2-40B4-BE49-F238E27FC236}">
                <a16:creationId xmlns:a16="http://schemas.microsoft.com/office/drawing/2014/main" id="{E5FED302-C913-7780-E737-F223BD841502}"/>
              </a:ext>
            </a:extLst>
          </p:cNvPr>
          <p:cNvSpPr>
            <a:spLocks/>
          </p:cNvSpPr>
          <p:nvPr/>
        </p:nvSpPr>
        <p:spPr>
          <a:xfrm>
            <a:off x="9416312" y="4175731"/>
            <a:ext cx="288000" cy="28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B67C9540-411F-E5C1-3ED2-DB9C30E9A159}"/>
              </a:ext>
            </a:extLst>
          </p:cNvPr>
          <p:cNvSpPr/>
          <p:nvPr/>
        </p:nvSpPr>
        <p:spPr>
          <a:xfrm>
            <a:off x="6338549" y="4779801"/>
            <a:ext cx="144780" cy="144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6D1EF199-F6B3-153C-1E45-5CE40106C53D}"/>
              </a:ext>
            </a:extLst>
          </p:cNvPr>
          <p:cNvSpPr/>
          <p:nvPr/>
        </p:nvSpPr>
        <p:spPr>
          <a:xfrm>
            <a:off x="6338549" y="5276849"/>
            <a:ext cx="144780" cy="144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Box 26">
            <a:extLst>
              <a:ext uri="{FF2B5EF4-FFF2-40B4-BE49-F238E27FC236}">
                <a16:creationId xmlns:a16="http://schemas.microsoft.com/office/drawing/2014/main" id="{4684E1A4-F728-2F1B-F79A-3B7D5F5DE2BC}"/>
              </a:ext>
            </a:extLst>
          </p:cNvPr>
          <p:cNvSpPr txBox="1">
            <a:spLocks/>
          </p:cNvSpPr>
          <p:nvPr/>
        </p:nvSpPr>
        <p:spPr>
          <a:xfrm>
            <a:off x="3954780" y="4472439"/>
            <a:ext cx="1699807" cy="18962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AT" sz="1200" err="1"/>
              <a:t>Retrieve</a:t>
            </a:r>
            <a:r>
              <a:rPr lang="de-AT" sz="1200"/>
              <a:t> Images/RAD-69</a:t>
            </a:r>
          </a:p>
        </p:txBody>
      </p:sp>
      <p:cxnSp>
        <p:nvCxnSpPr>
          <p:cNvPr id="439" name="Gerader Verbinder 438">
            <a:extLst>
              <a:ext uri="{FF2B5EF4-FFF2-40B4-BE49-F238E27FC236}">
                <a16:creationId xmlns:a16="http://schemas.microsoft.com/office/drawing/2014/main" id="{70004697-80CB-24CC-D774-773F542DE23F}"/>
              </a:ext>
            </a:extLst>
          </p:cNvPr>
          <p:cNvCxnSpPr>
            <a:cxnSpLocks/>
          </p:cNvCxnSpPr>
          <p:nvPr/>
        </p:nvCxnSpPr>
        <p:spPr>
          <a:xfrm>
            <a:off x="3787140" y="4852191"/>
            <a:ext cx="3621668" cy="0"/>
          </a:xfrm>
          <a:prstGeom prst="line">
            <a:avLst/>
          </a:prstGeom>
          <a:noFill/>
          <a:ln w="19050">
            <a:solidFill>
              <a:schemeClr val="accent5"/>
            </a:solidFill>
            <a:miter lim="800000"/>
            <a:headEnd type="triangle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22" name="Rechteck 121">
            <a:extLst>
              <a:ext uri="{FF2B5EF4-FFF2-40B4-BE49-F238E27FC236}">
                <a16:creationId xmlns:a16="http://schemas.microsoft.com/office/drawing/2014/main" id="{2575C6C8-4B1E-895E-50E1-6045D64ECD6D}"/>
              </a:ext>
            </a:extLst>
          </p:cNvPr>
          <p:cNvSpPr/>
          <p:nvPr/>
        </p:nvSpPr>
        <p:spPr>
          <a:xfrm>
            <a:off x="5928290" y="4779801"/>
            <a:ext cx="144780" cy="144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Freihandform: Form 111">
            <a:extLst>
              <a:ext uri="{FF2B5EF4-FFF2-40B4-BE49-F238E27FC236}">
                <a16:creationId xmlns:a16="http://schemas.microsoft.com/office/drawing/2014/main" id="{266D208F-3C26-B7AA-A9F4-93BBB2C42CA7}"/>
              </a:ext>
            </a:extLst>
          </p:cNvPr>
          <p:cNvSpPr/>
          <p:nvPr/>
        </p:nvSpPr>
        <p:spPr>
          <a:xfrm rot="5400000" flipH="1">
            <a:off x="6405505" y="4353696"/>
            <a:ext cx="594597" cy="1396489"/>
          </a:xfrm>
          <a:custGeom>
            <a:avLst/>
            <a:gdLst>
              <a:gd name="connsiteX0" fmla="*/ 0 w 219075"/>
              <a:gd name="connsiteY0" fmla="*/ 0 h 180975"/>
              <a:gd name="connsiteX1" fmla="*/ 0 w 219075"/>
              <a:gd name="connsiteY1" fmla="*/ 180975 h 180975"/>
              <a:gd name="connsiteX2" fmla="*/ 219075 w 219075"/>
              <a:gd name="connsiteY2" fmla="*/ 180975 h 180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9075" h="180975">
                <a:moveTo>
                  <a:pt x="0" y="0"/>
                </a:moveTo>
                <a:lnTo>
                  <a:pt x="0" y="180975"/>
                </a:lnTo>
                <a:lnTo>
                  <a:pt x="219075" y="180975"/>
                </a:lnTo>
              </a:path>
            </a:pathLst>
          </a:custGeom>
          <a:noFill/>
          <a:ln w="19050">
            <a:solidFill>
              <a:schemeClr val="accent5"/>
            </a:solidFill>
            <a:miter lim="800000"/>
            <a:headEnd type="triangle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9" name="Ellipse 418">
            <a:extLst>
              <a:ext uri="{FF2B5EF4-FFF2-40B4-BE49-F238E27FC236}">
                <a16:creationId xmlns:a16="http://schemas.microsoft.com/office/drawing/2014/main" id="{9E5BD2D7-EE74-A931-B229-CBBAB7D98F0B}"/>
              </a:ext>
            </a:extLst>
          </p:cNvPr>
          <p:cNvSpPr>
            <a:spLocks/>
          </p:cNvSpPr>
          <p:nvPr/>
        </p:nvSpPr>
        <p:spPr>
          <a:xfrm>
            <a:off x="5855223" y="5202565"/>
            <a:ext cx="288000" cy="28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17" name="Ellipse 416">
            <a:extLst>
              <a:ext uri="{FF2B5EF4-FFF2-40B4-BE49-F238E27FC236}">
                <a16:creationId xmlns:a16="http://schemas.microsoft.com/office/drawing/2014/main" id="{B72AF4D4-4630-947C-8191-98AED88CF1F5}"/>
              </a:ext>
            </a:extLst>
          </p:cNvPr>
          <p:cNvSpPr>
            <a:spLocks/>
          </p:cNvSpPr>
          <p:nvPr/>
        </p:nvSpPr>
        <p:spPr>
          <a:xfrm>
            <a:off x="4660683" y="4708191"/>
            <a:ext cx="288000" cy="28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F0EC0590-3D3E-F016-C0B1-C67C13D77EEB}"/>
              </a:ext>
            </a:extLst>
          </p:cNvPr>
          <p:cNvSpPr txBox="1"/>
          <p:nvPr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19</a:t>
            </a:fld>
            <a:endParaRPr lang="de-DE" sz="1000" b="1" i="0" u="none" kern="1200" spc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2" name="Restricted">
            <a:extLst>
              <a:ext uri="{FF2B5EF4-FFF2-40B4-BE49-F238E27FC236}">
                <a16:creationId xmlns:a16="http://schemas.microsoft.com/office/drawing/2014/main" id="{56981A77-17FC-2453-B812-B364AC7BBE3E}"/>
              </a:ext>
            </a:extLst>
          </p:cNvPr>
          <p:cNvSpPr txBox="1"/>
          <p:nvPr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de-DE" sz="1000">
                <a:solidFill>
                  <a:schemeClr val="tx1"/>
                </a:solidFill>
              </a:rPr>
              <a:t>Frei verwendbar © Siemens Healthineers, 2023</a:t>
            </a:r>
          </a:p>
        </p:txBody>
      </p:sp>
    </p:spTree>
    <p:extLst>
      <p:ext uri="{BB962C8B-B14F-4D97-AF65-F5344CB8AC3E}">
        <p14:creationId xmlns:p14="http://schemas.microsoft.com/office/powerpoint/2010/main" val="18689734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0EEBCC4-587A-8DC2-169E-DE234983B0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5529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0EEBCC4-587A-8DC2-169E-DE234983B0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2A4494C4-F935-3B1E-C654-80BF9339086E}"/>
              </a:ext>
            </a:extLst>
          </p:cNvPr>
          <p:cNvSpPr>
            <a:spLocks/>
          </p:cNvSpPr>
          <p:nvPr/>
        </p:nvSpPr>
        <p:spPr>
          <a:xfrm>
            <a:off x="819138" y="1915789"/>
            <a:ext cx="5938940" cy="4942213"/>
          </a:xfrm>
          <a:custGeom>
            <a:avLst/>
            <a:gdLst>
              <a:gd name="connsiteX0" fmla="*/ 0 w 5938940"/>
              <a:gd name="connsiteY0" fmla="*/ 3304654 h 4942213"/>
              <a:gd name="connsiteX1" fmla="*/ 3918838 w 5938940"/>
              <a:gd name="connsiteY1" fmla="*/ 3304654 h 4942213"/>
              <a:gd name="connsiteX2" fmla="*/ 3918838 w 5938940"/>
              <a:gd name="connsiteY2" fmla="*/ 4942212 h 4942213"/>
              <a:gd name="connsiteX3" fmla="*/ 669342 w 5938940"/>
              <a:gd name="connsiteY3" fmla="*/ 4942212 h 4942213"/>
              <a:gd name="connsiteX4" fmla="*/ 3918839 w 5938940"/>
              <a:gd name="connsiteY4" fmla="*/ 0 h 4942213"/>
              <a:gd name="connsiteX5" fmla="*/ 5938940 w 5938940"/>
              <a:gd name="connsiteY5" fmla="*/ 4942213 h 4942213"/>
              <a:gd name="connsiteX6" fmla="*/ 3918839 w 5938940"/>
              <a:gd name="connsiteY6" fmla="*/ 4942213 h 4942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38940" h="4942213">
                <a:moveTo>
                  <a:pt x="0" y="3304654"/>
                </a:moveTo>
                <a:lnTo>
                  <a:pt x="3918838" y="3304654"/>
                </a:lnTo>
                <a:lnTo>
                  <a:pt x="3918838" y="4942212"/>
                </a:lnTo>
                <a:lnTo>
                  <a:pt x="669342" y="4942212"/>
                </a:lnTo>
                <a:close/>
                <a:moveTo>
                  <a:pt x="3918839" y="0"/>
                </a:moveTo>
                <a:lnTo>
                  <a:pt x="5938940" y="4942213"/>
                </a:lnTo>
                <a:lnTo>
                  <a:pt x="3918839" y="4942213"/>
                </a:lnTo>
                <a:close/>
              </a:path>
            </a:pathLst>
          </a:custGeom>
          <a:pattFill prst="wdDnDiag">
            <a:fgClr>
              <a:schemeClr val="tx1"/>
            </a:fgClr>
            <a:bgClr>
              <a:srgbClr val="1B1B1B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EFDD83F-37A3-1366-790D-D2481A867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Unsere Lösung – Vernetzung der Akteure durch eine </a:t>
            </a:r>
            <a:br>
              <a:rPr lang="de-DE"/>
            </a:br>
            <a:r>
              <a:rPr lang="de-DE"/>
              <a:t>offene und interoperable Gesundheitsplattform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C3408427-CD0B-98BC-8C24-AF2F01708F8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40C9533-E0F0-0B96-1887-2CEAD15D0FA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pt-BR"/>
              <a:t>A91GER-H-001672-E4</a:t>
            </a:r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FC5F905-4201-C215-DEC8-95580E184359}"/>
              </a:ext>
            </a:extLst>
          </p:cNvPr>
          <p:cNvSpPr>
            <a:spLocks/>
          </p:cNvSpPr>
          <p:nvPr/>
        </p:nvSpPr>
        <p:spPr>
          <a:xfrm>
            <a:off x="9704439" y="2077544"/>
            <a:ext cx="1923998" cy="14773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>
            <a:spAutoFit/>
          </a:bodyPr>
          <a:lstStyle/>
          <a:p>
            <a:r>
              <a:rPr lang="de-DE" sz="1600">
                <a:solidFill>
                  <a:schemeClr val="bg1"/>
                </a:solidFill>
              </a:rPr>
              <a:t>Entwicklung auf Basis </a:t>
            </a:r>
            <a:r>
              <a:rPr lang="de-DE" sz="1600" b="1">
                <a:solidFill>
                  <a:schemeClr val="bg1"/>
                </a:solidFill>
              </a:rPr>
              <a:t>internationaler Standards (IHE) </a:t>
            </a:r>
            <a:br>
              <a:rPr lang="de-DE" sz="1600" b="1">
                <a:solidFill>
                  <a:schemeClr val="bg1"/>
                </a:solidFill>
              </a:rPr>
            </a:br>
            <a:r>
              <a:rPr lang="de-DE" sz="1600" b="1">
                <a:solidFill>
                  <a:schemeClr val="bg1"/>
                </a:solidFill>
              </a:rPr>
              <a:t>und Erfahrungen </a:t>
            </a:r>
            <a:br>
              <a:rPr lang="de-DE" sz="1600" b="1">
                <a:solidFill>
                  <a:schemeClr val="bg1"/>
                </a:solidFill>
              </a:rPr>
            </a:br>
            <a:r>
              <a:rPr lang="de-DE" sz="1600">
                <a:solidFill>
                  <a:schemeClr val="bg1"/>
                </a:solidFill>
              </a:rPr>
              <a:t>aus Österreich (ELGA) </a:t>
            </a:r>
            <a:br>
              <a:rPr lang="de-DE" sz="1600">
                <a:solidFill>
                  <a:schemeClr val="bg1"/>
                </a:solidFill>
              </a:rPr>
            </a:br>
            <a:r>
              <a:rPr lang="de-DE" sz="1600">
                <a:solidFill>
                  <a:schemeClr val="bg1"/>
                </a:solidFill>
              </a:rPr>
              <a:t>und Schweiz (EPD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16AD3F4-BCD3-94E2-EEED-13CCD0C0FFDA}"/>
              </a:ext>
            </a:extLst>
          </p:cNvPr>
          <p:cNvSpPr>
            <a:spLocks/>
          </p:cNvSpPr>
          <p:nvPr/>
        </p:nvSpPr>
        <p:spPr>
          <a:xfrm>
            <a:off x="7398300" y="2816208"/>
            <a:ext cx="1991505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>
            <a:spAutoFit/>
          </a:bodyPr>
          <a:lstStyle/>
          <a:p>
            <a:r>
              <a:rPr lang="de-DE" sz="1600">
                <a:solidFill>
                  <a:schemeClr val="bg1"/>
                </a:solidFill>
              </a:rPr>
              <a:t>Berücksichtigung </a:t>
            </a:r>
            <a:br>
              <a:rPr lang="de-DE" sz="1600">
                <a:solidFill>
                  <a:schemeClr val="bg1"/>
                </a:solidFill>
              </a:rPr>
            </a:br>
            <a:r>
              <a:rPr lang="de-DE" sz="1600">
                <a:solidFill>
                  <a:schemeClr val="bg1"/>
                </a:solidFill>
              </a:rPr>
              <a:t>der vorhandenen </a:t>
            </a:r>
            <a:r>
              <a:rPr lang="de-DE" sz="1600" b="1">
                <a:solidFill>
                  <a:schemeClr val="bg1"/>
                </a:solidFill>
              </a:rPr>
              <a:t>Telematikinfrastruktur</a:t>
            </a:r>
            <a:endParaRPr lang="de-DE" sz="1600" b="1" baseline="30000">
              <a:solidFill>
                <a:schemeClr val="bg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E2579417-E059-C2C6-0FEF-CFD4531728EA}"/>
              </a:ext>
            </a:extLst>
          </p:cNvPr>
          <p:cNvSpPr>
            <a:spLocks/>
          </p:cNvSpPr>
          <p:nvPr/>
        </p:nvSpPr>
        <p:spPr>
          <a:xfrm>
            <a:off x="5335801" y="2323766"/>
            <a:ext cx="1862836" cy="12311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>
            <a:spAutoFit/>
          </a:bodyPr>
          <a:lstStyle/>
          <a:p>
            <a:r>
              <a:rPr lang="de-DE" sz="1600" b="1">
                <a:solidFill>
                  <a:schemeClr val="bg1"/>
                </a:solidFill>
              </a:rPr>
              <a:t>Offene und interoperable Plattform </a:t>
            </a:r>
            <a:r>
              <a:rPr lang="de-DE" sz="1600">
                <a:solidFill>
                  <a:schemeClr val="bg1"/>
                </a:solidFill>
              </a:rPr>
              <a:t>für die Vernetzung aller Akteure und Date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02C6FF41-0A71-41FA-D4C6-1AC97E65B5BB}"/>
              </a:ext>
            </a:extLst>
          </p:cNvPr>
          <p:cNvCxnSpPr>
            <a:cxnSpLocks/>
          </p:cNvCxnSpPr>
          <p:nvPr/>
        </p:nvCxnSpPr>
        <p:spPr>
          <a:xfrm flipV="1">
            <a:off x="4727996" y="4467270"/>
            <a:ext cx="7441779" cy="36557"/>
          </a:xfrm>
          <a:prstGeom prst="line">
            <a:avLst/>
          </a:prstGeom>
          <a:ln w="50800" cap="flat">
            <a:solidFill>
              <a:schemeClr val="bg1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2312782D-1948-ED5D-33EB-83602CF4FB2C}"/>
              </a:ext>
            </a:extLst>
          </p:cNvPr>
          <p:cNvSpPr/>
          <p:nvPr/>
        </p:nvSpPr>
        <p:spPr>
          <a:xfrm>
            <a:off x="-71438" y="2313072"/>
            <a:ext cx="1556109" cy="369270"/>
          </a:xfrm>
          <a:custGeom>
            <a:avLst/>
            <a:gdLst>
              <a:gd name="connsiteX0" fmla="*/ 1366684 w 1366684"/>
              <a:gd name="connsiteY0" fmla="*/ 294968 h 312447"/>
              <a:gd name="connsiteX1" fmla="*/ 580103 w 1366684"/>
              <a:gd name="connsiteY1" fmla="*/ 304800 h 312447"/>
              <a:gd name="connsiteX2" fmla="*/ 206478 w 1366684"/>
              <a:gd name="connsiteY2" fmla="*/ 196646 h 312447"/>
              <a:gd name="connsiteX3" fmla="*/ 0 w 1366684"/>
              <a:gd name="connsiteY3" fmla="*/ 0 h 312447"/>
              <a:gd name="connsiteX0" fmla="*/ 1371068 w 1371068"/>
              <a:gd name="connsiteY0" fmla="*/ 316012 h 323473"/>
              <a:gd name="connsiteX1" fmla="*/ 580103 w 1371068"/>
              <a:gd name="connsiteY1" fmla="*/ 304800 h 323473"/>
              <a:gd name="connsiteX2" fmla="*/ 206478 w 1371068"/>
              <a:gd name="connsiteY2" fmla="*/ 196646 h 323473"/>
              <a:gd name="connsiteX3" fmla="*/ 0 w 1371068"/>
              <a:gd name="connsiteY3" fmla="*/ 0 h 323473"/>
              <a:gd name="connsiteX0" fmla="*/ 1366684 w 1366684"/>
              <a:gd name="connsiteY0" fmla="*/ 324429 h 329998"/>
              <a:gd name="connsiteX1" fmla="*/ 580103 w 1366684"/>
              <a:gd name="connsiteY1" fmla="*/ 304800 h 329998"/>
              <a:gd name="connsiteX2" fmla="*/ 206478 w 1366684"/>
              <a:gd name="connsiteY2" fmla="*/ 196646 h 329998"/>
              <a:gd name="connsiteX3" fmla="*/ 0 w 1366684"/>
              <a:gd name="connsiteY3" fmla="*/ 0 h 329998"/>
              <a:gd name="connsiteX0" fmla="*/ 1366684 w 1366684"/>
              <a:gd name="connsiteY0" fmla="*/ 324429 h 326338"/>
              <a:gd name="connsiteX1" fmla="*/ 580103 w 1366684"/>
              <a:gd name="connsiteY1" fmla="*/ 304800 h 326338"/>
              <a:gd name="connsiteX2" fmla="*/ 206478 w 1366684"/>
              <a:gd name="connsiteY2" fmla="*/ 196646 h 326338"/>
              <a:gd name="connsiteX3" fmla="*/ 0 w 1366684"/>
              <a:gd name="connsiteY3" fmla="*/ 0 h 326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6684" h="326338">
                <a:moveTo>
                  <a:pt x="1366684" y="324429"/>
                </a:moveTo>
                <a:cubicBezTo>
                  <a:pt x="1087613" y="329120"/>
                  <a:pt x="773470" y="326097"/>
                  <a:pt x="580103" y="304800"/>
                </a:cubicBezTo>
                <a:cubicBezTo>
                  <a:pt x="386736" y="283503"/>
                  <a:pt x="303162" y="247446"/>
                  <a:pt x="206478" y="196646"/>
                </a:cubicBezTo>
                <a:cubicBezTo>
                  <a:pt x="109794" y="145846"/>
                  <a:pt x="54897" y="72923"/>
                  <a:pt x="0" y="0"/>
                </a:cubicBezTo>
              </a:path>
            </a:pathLst>
          </a:custGeom>
          <a:ln w="50800" cap="flat">
            <a:solidFill>
              <a:schemeClr val="bg1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D158FD76-1C7E-E5FD-B3ED-EBD09119F82C}"/>
              </a:ext>
            </a:extLst>
          </p:cNvPr>
          <p:cNvSpPr/>
          <p:nvPr/>
        </p:nvSpPr>
        <p:spPr>
          <a:xfrm flipV="1">
            <a:off x="-71438" y="4503827"/>
            <a:ext cx="1556109" cy="369270"/>
          </a:xfrm>
          <a:custGeom>
            <a:avLst/>
            <a:gdLst>
              <a:gd name="connsiteX0" fmla="*/ 1366684 w 1366684"/>
              <a:gd name="connsiteY0" fmla="*/ 294968 h 312447"/>
              <a:gd name="connsiteX1" fmla="*/ 580103 w 1366684"/>
              <a:gd name="connsiteY1" fmla="*/ 304800 h 312447"/>
              <a:gd name="connsiteX2" fmla="*/ 206478 w 1366684"/>
              <a:gd name="connsiteY2" fmla="*/ 196646 h 312447"/>
              <a:gd name="connsiteX3" fmla="*/ 0 w 1366684"/>
              <a:gd name="connsiteY3" fmla="*/ 0 h 312447"/>
              <a:gd name="connsiteX0" fmla="*/ 1371068 w 1371068"/>
              <a:gd name="connsiteY0" fmla="*/ 316012 h 323473"/>
              <a:gd name="connsiteX1" fmla="*/ 580103 w 1371068"/>
              <a:gd name="connsiteY1" fmla="*/ 304800 h 323473"/>
              <a:gd name="connsiteX2" fmla="*/ 206478 w 1371068"/>
              <a:gd name="connsiteY2" fmla="*/ 196646 h 323473"/>
              <a:gd name="connsiteX3" fmla="*/ 0 w 1371068"/>
              <a:gd name="connsiteY3" fmla="*/ 0 h 323473"/>
              <a:gd name="connsiteX0" fmla="*/ 1366684 w 1366684"/>
              <a:gd name="connsiteY0" fmla="*/ 324429 h 329998"/>
              <a:gd name="connsiteX1" fmla="*/ 580103 w 1366684"/>
              <a:gd name="connsiteY1" fmla="*/ 304800 h 329998"/>
              <a:gd name="connsiteX2" fmla="*/ 206478 w 1366684"/>
              <a:gd name="connsiteY2" fmla="*/ 196646 h 329998"/>
              <a:gd name="connsiteX3" fmla="*/ 0 w 1366684"/>
              <a:gd name="connsiteY3" fmla="*/ 0 h 329998"/>
              <a:gd name="connsiteX0" fmla="*/ 1366684 w 1366684"/>
              <a:gd name="connsiteY0" fmla="*/ 324429 h 326338"/>
              <a:gd name="connsiteX1" fmla="*/ 580103 w 1366684"/>
              <a:gd name="connsiteY1" fmla="*/ 304800 h 326338"/>
              <a:gd name="connsiteX2" fmla="*/ 206478 w 1366684"/>
              <a:gd name="connsiteY2" fmla="*/ 196646 h 326338"/>
              <a:gd name="connsiteX3" fmla="*/ 0 w 1366684"/>
              <a:gd name="connsiteY3" fmla="*/ 0 h 326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6684" h="326338">
                <a:moveTo>
                  <a:pt x="1366684" y="324429"/>
                </a:moveTo>
                <a:cubicBezTo>
                  <a:pt x="1087613" y="329120"/>
                  <a:pt x="773470" y="326097"/>
                  <a:pt x="580103" y="304800"/>
                </a:cubicBezTo>
                <a:cubicBezTo>
                  <a:pt x="386736" y="283503"/>
                  <a:pt x="303162" y="247446"/>
                  <a:pt x="206478" y="196646"/>
                </a:cubicBezTo>
                <a:cubicBezTo>
                  <a:pt x="109794" y="145846"/>
                  <a:pt x="54897" y="72923"/>
                  <a:pt x="0" y="0"/>
                </a:cubicBezTo>
              </a:path>
            </a:pathLst>
          </a:custGeom>
          <a:ln w="50800" cap="flat">
            <a:solidFill>
              <a:schemeClr val="bg1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945A3744-ABAA-8CA5-63AB-834AE8D4A15A}"/>
              </a:ext>
            </a:extLst>
          </p:cNvPr>
          <p:cNvSpPr/>
          <p:nvPr/>
        </p:nvSpPr>
        <p:spPr>
          <a:xfrm flipV="1">
            <a:off x="-180974" y="4046627"/>
            <a:ext cx="1665646" cy="232901"/>
          </a:xfrm>
          <a:custGeom>
            <a:avLst/>
            <a:gdLst>
              <a:gd name="connsiteX0" fmla="*/ 1366684 w 1366684"/>
              <a:gd name="connsiteY0" fmla="*/ 294968 h 312447"/>
              <a:gd name="connsiteX1" fmla="*/ 580103 w 1366684"/>
              <a:gd name="connsiteY1" fmla="*/ 304800 h 312447"/>
              <a:gd name="connsiteX2" fmla="*/ 206478 w 1366684"/>
              <a:gd name="connsiteY2" fmla="*/ 196646 h 312447"/>
              <a:gd name="connsiteX3" fmla="*/ 0 w 1366684"/>
              <a:gd name="connsiteY3" fmla="*/ 0 h 312447"/>
              <a:gd name="connsiteX0" fmla="*/ 1371068 w 1371068"/>
              <a:gd name="connsiteY0" fmla="*/ 316012 h 323473"/>
              <a:gd name="connsiteX1" fmla="*/ 580103 w 1371068"/>
              <a:gd name="connsiteY1" fmla="*/ 304800 h 323473"/>
              <a:gd name="connsiteX2" fmla="*/ 206478 w 1371068"/>
              <a:gd name="connsiteY2" fmla="*/ 196646 h 323473"/>
              <a:gd name="connsiteX3" fmla="*/ 0 w 1371068"/>
              <a:gd name="connsiteY3" fmla="*/ 0 h 323473"/>
              <a:gd name="connsiteX0" fmla="*/ 1366684 w 1366684"/>
              <a:gd name="connsiteY0" fmla="*/ 324429 h 329998"/>
              <a:gd name="connsiteX1" fmla="*/ 580103 w 1366684"/>
              <a:gd name="connsiteY1" fmla="*/ 304800 h 329998"/>
              <a:gd name="connsiteX2" fmla="*/ 206478 w 1366684"/>
              <a:gd name="connsiteY2" fmla="*/ 196646 h 329998"/>
              <a:gd name="connsiteX3" fmla="*/ 0 w 1366684"/>
              <a:gd name="connsiteY3" fmla="*/ 0 h 329998"/>
              <a:gd name="connsiteX0" fmla="*/ 1366684 w 1366684"/>
              <a:gd name="connsiteY0" fmla="*/ 324429 h 326338"/>
              <a:gd name="connsiteX1" fmla="*/ 580103 w 1366684"/>
              <a:gd name="connsiteY1" fmla="*/ 304800 h 326338"/>
              <a:gd name="connsiteX2" fmla="*/ 206478 w 1366684"/>
              <a:gd name="connsiteY2" fmla="*/ 196646 h 326338"/>
              <a:gd name="connsiteX3" fmla="*/ 0 w 1366684"/>
              <a:gd name="connsiteY3" fmla="*/ 0 h 326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6684" h="326338">
                <a:moveTo>
                  <a:pt x="1366684" y="324429"/>
                </a:moveTo>
                <a:cubicBezTo>
                  <a:pt x="1087613" y="329120"/>
                  <a:pt x="773470" y="326097"/>
                  <a:pt x="580103" y="304800"/>
                </a:cubicBezTo>
                <a:cubicBezTo>
                  <a:pt x="386736" y="283503"/>
                  <a:pt x="303162" y="247446"/>
                  <a:pt x="206478" y="196646"/>
                </a:cubicBezTo>
                <a:cubicBezTo>
                  <a:pt x="109794" y="145846"/>
                  <a:pt x="54897" y="72923"/>
                  <a:pt x="0" y="0"/>
                </a:cubicBezTo>
              </a:path>
            </a:pathLst>
          </a:custGeom>
          <a:ln w="50800" cap="flat">
            <a:solidFill>
              <a:schemeClr val="bg1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AAE1C3D6-96A9-3954-2201-7186918D40B9}"/>
              </a:ext>
            </a:extLst>
          </p:cNvPr>
          <p:cNvSpPr/>
          <p:nvPr/>
        </p:nvSpPr>
        <p:spPr>
          <a:xfrm>
            <a:off x="-180974" y="2897121"/>
            <a:ext cx="1665646" cy="232901"/>
          </a:xfrm>
          <a:custGeom>
            <a:avLst/>
            <a:gdLst>
              <a:gd name="connsiteX0" fmla="*/ 1366684 w 1366684"/>
              <a:gd name="connsiteY0" fmla="*/ 294968 h 312447"/>
              <a:gd name="connsiteX1" fmla="*/ 580103 w 1366684"/>
              <a:gd name="connsiteY1" fmla="*/ 304800 h 312447"/>
              <a:gd name="connsiteX2" fmla="*/ 206478 w 1366684"/>
              <a:gd name="connsiteY2" fmla="*/ 196646 h 312447"/>
              <a:gd name="connsiteX3" fmla="*/ 0 w 1366684"/>
              <a:gd name="connsiteY3" fmla="*/ 0 h 312447"/>
              <a:gd name="connsiteX0" fmla="*/ 1371068 w 1371068"/>
              <a:gd name="connsiteY0" fmla="*/ 316012 h 323473"/>
              <a:gd name="connsiteX1" fmla="*/ 580103 w 1371068"/>
              <a:gd name="connsiteY1" fmla="*/ 304800 h 323473"/>
              <a:gd name="connsiteX2" fmla="*/ 206478 w 1371068"/>
              <a:gd name="connsiteY2" fmla="*/ 196646 h 323473"/>
              <a:gd name="connsiteX3" fmla="*/ 0 w 1371068"/>
              <a:gd name="connsiteY3" fmla="*/ 0 h 323473"/>
              <a:gd name="connsiteX0" fmla="*/ 1366684 w 1366684"/>
              <a:gd name="connsiteY0" fmla="*/ 324429 h 329998"/>
              <a:gd name="connsiteX1" fmla="*/ 580103 w 1366684"/>
              <a:gd name="connsiteY1" fmla="*/ 304800 h 329998"/>
              <a:gd name="connsiteX2" fmla="*/ 206478 w 1366684"/>
              <a:gd name="connsiteY2" fmla="*/ 196646 h 329998"/>
              <a:gd name="connsiteX3" fmla="*/ 0 w 1366684"/>
              <a:gd name="connsiteY3" fmla="*/ 0 h 329998"/>
              <a:gd name="connsiteX0" fmla="*/ 1366684 w 1366684"/>
              <a:gd name="connsiteY0" fmla="*/ 324429 h 326338"/>
              <a:gd name="connsiteX1" fmla="*/ 580103 w 1366684"/>
              <a:gd name="connsiteY1" fmla="*/ 304800 h 326338"/>
              <a:gd name="connsiteX2" fmla="*/ 206478 w 1366684"/>
              <a:gd name="connsiteY2" fmla="*/ 196646 h 326338"/>
              <a:gd name="connsiteX3" fmla="*/ 0 w 1366684"/>
              <a:gd name="connsiteY3" fmla="*/ 0 h 326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6684" h="326338">
                <a:moveTo>
                  <a:pt x="1366684" y="324429"/>
                </a:moveTo>
                <a:cubicBezTo>
                  <a:pt x="1087613" y="329120"/>
                  <a:pt x="773470" y="326097"/>
                  <a:pt x="580103" y="304800"/>
                </a:cubicBezTo>
                <a:cubicBezTo>
                  <a:pt x="386736" y="283503"/>
                  <a:pt x="303162" y="247446"/>
                  <a:pt x="206478" y="196646"/>
                </a:cubicBezTo>
                <a:cubicBezTo>
                  <a:pt x="109794" y="145846"/>
                  <a:pt x="54897" y="72923"/>
                  <a:pt x="0" y="0"/>
                </a:cubicBezTo>
              </a:path>
            </a:pathLst>
          </a:custGeom>
          <a:ln w="50800" cap="flat">
            <a:solidFill>
              <a:schemeClr val="bg1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46E22F5A-1887-6B98-0ECC-6F80291B5E64}"/>
              </a:ext>
            </a:extLst>
          </p:cNvPr>
          <p:cNvCxnSpPr>
            <a:cxnSpLocks/>
          </p:cNvCxnSpPr>
          <p:nvPr/>
        </p:nvCxnSpPr>
        <p:spPr>
          <a:xfrm>
            <a:off x="-71438" y="3581899"/>
            <a:ext cx="1558200" cy="0"/>
          </a:xfrm>
          <a:prstGeom prst="line">
            <a:avLst/>
          </a:prstGeom>
          <a:ln w="50800" cap="flat">
            <a:solidFill>
              <a:schemeClr val="bg1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38CD5BB4-D86E-3BB1-1CF9-105FA7730688}"/>
              </a:ext>
            </a:extLst>
          </p:cNvPr>
          <p:cNvCxnSpPr>
            <a:cxnSpLocks/>
          </p:cNvCxnSpPr>
          <p:nvPr/>
        </p:nvCxnSpPr>
        <p:spPr>
          <a:xfrm>
            <a:off x="5655350" y="3591583"/>
            <a:ext cx="0" cy="501445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FAD276B5-850C-AF87-B74B-34E0AC4D3A9C}"/>
              </a:ext>
            </a:extLst>
          </p:cNvPr>
          <p:cNvCxnSpPr>
            <a:cxnSpLocks/>
          </p:cNvCxnSpPr>
          <p:nvPr/>
        </p:nvCxnSpPr>
        <p:spPr>
          <a:xfrm>
            <a:off x="7717850" y="3591583"/>
            <a:ext cx="0" cy="501445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76856F5-45EC-6FA5-8FCB-6BCC52D0FC70}"/>
              </a:ext>
            </a:extLst>
          </p:cNvPr>
          <p:cNvCxnSpPr>
            <a:cxnSpLocks/>
          </p:cNvCxnSpPr>
          <p:nvPr/>
        </p:nvCxnSpPr>
        <p:spPr>
          <a:xfrm>
            <a:off x="10085151" y="3591583"/>
            <a:ext cx="0" cy="501445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FC424C1F-0AAA-BD8D-00B0-80C86A8973E5}"/>
              </a:ext>
            </a:extLst>
          </p:cNvPr>
          <p:cNvSpPr>
            <a:spLocks/>
          </p:cNvSpPr>
          <p:nvPr/>
        </p:nvSpPr>
        <p:spPr>
          <a:xfrm>
            <a:off x="816848" y="1943353"/>
            <a:ext cx="3911148" cy="327709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F651414-04C0-6872-258D-8A8273FEAC0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30378"/>
          <a:stretch/>
        </p:blipFill>
        <p:spPr>
          <a:xfrm>
            <a:off x="1071047" y="2481659"/>
            <a:ext cx="3440462" cy="1620442"/>
          </a:xfrm>
          <a:prstGeom prst="rect">
            <a:avLst/>
          </a:prstGeom>
        </p:spPr>
      </p:pic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71BF94A1-2909-4844-B3DD-12DCE7728830}"/>
              </a:ext>
            </a:extLst>
          </p:cNvPr>
          <p:cNvGrpSpPr/>
          <p:nvPr/>
        </p:nvGrpSpPr>
        <p:grpSpPr>
          <a:xfrm>
            <a:off x="7398301" y="4147722"/>
            <a:ext cx="639098" cy="639096"/>
            <a:chOff x="7398301" y="4147722"/>
            <a:chExt cx="639098" cy="639096"/>
          </a:xfrm>
        </p:grpSpPr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39E8EB48-267C-DD21-FDB8-AF09440E2B95}"/>
                </a:ext>
              </a:extLst>
            </p:cNvPr>
            <p:cNvSpPr>
              <a:spLocks/>
            </p:cNvSpPr>
            <p:nvPr/>
          </p:nvSpPr>
          <p:spPr>
            <a:xfrm>
              <a:off x="7398301" y="4147722"/>
              <a:ext cx="639098" cy="63909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Grafik 18">
              <a:extLst>
                <a:ext uri="{FF2B5EF4-FFF2-40B4-BE49-F238E27FC236}">
                  <a16:creationId xmlns:a16="http://schemas.microsoft.com/office/drawing/2014/main" id="{F5927753-6859-78D3-C4A9-E6CACB872C2E}"/>
                </a:ext>
              </a:extLst>
            </p:cNvPr>
            <p:cNvSpPr>
              <a:spLocks/>
            </p:cNvSpPr>
            <p:nvPr/>
          </p:nvSpPr>
          <p:spPr>
            <a:xfrm>
              <a:off x="7536300" y="4271755"/>
              <a:ext cx="363100" cy="391030"/>
            </a:xfrm>
            <a:custGeom>
              <a:avLst/>
              <a:gdLst>
                <a:gd name="connsiteX0" fmla="*/ 142875 w 247650"/>
                <a:gd name="connsiteY0" fmla="*/ 0 h 266700"/>
                <a:gd name="connsiteX1" fmla="*/ 142875 w 247650"/>
                <a:gd name="connsiteY1" fmla="*/ 85725 h 266700"/>
                <a:gd name="connsiteX2" fmla="*/ 190500 w 247650"/>
                <a:gd name="connsiteY2" fmla="*/ 85725 h 266700"/>
                <a:gd name="connsiteX3" fmla="*/ 190500 w 247650"/>
                <a:gd name="connsiteY3" fmla="*/ 190500 h 266700"/>
                <a:gd name="connsiteX4" fmla="*/ 247650 w 247650"/>
                <a:gd name="connsiteY4" fmla="*/ 190500 h 266700"/>
                <a:gd name="connsiteX5" fmla="*/ 247650 w 247650"/>
                <a:gd name="connsiteY5" fmla="*/ 0 h 266700"/>
                <a:gd name="connsiteX6" fmla="*/ 142875 w 247650"/>
                <a:gd name="connsiteY6" fmla="*/ 0 h 266700"/>
                <a:gd name="connsiteX7" fmla="*/ 219075 w 247650"/>
                <a:gd name="connsiteY7" fmla="*/ 171450 h 266700"/>
                <a:gd name="connsiteX8" fmla="*/ 209550 w 247650"/>
                <a:gd name="connsiteY8" fmla="*/ 161925 h 266700"/>
                <a:gd name="connsiteX9" fmla="*/ 219075 w 247650"/>
                <a:gd name="connsiteY9" fmla="*/ 152400 h 266700"/>
                <a:gd name="connsiteX10" fmla="*/ 228600 w 247650"/>
                <a:gd name="connsiteY10" fmla="*/ 161925 h 266700"/>
                <a:gd name="connsiteX11" fmla="*/ 219075 w 247650"/>
                <a:gd name="connsiteY11" fmla="*/ 171450 h 266700"/>
                <a:gd name="connsiteX12" fmla="*/ 228600 w 247650"/>
                <a:gd name="connsiteY12" fmla="*/ 66675 h 266700"/>
                <a:gd name="connsiteX13" fmla="*/ 161925 w 247650"/>
                <a:gd name="connsiteY13" fmla="*/ 66675 h 266700"/>
                <a:gd name="connsiteX14" fmla="*/ 161925 w 247650"/>
                <a:gd name="connsiteY14" fmla="*/ 57150 h 266700"/>
                <a:gd name="connsiteX15" fmla="*/ 228600 w 247650"/>
                <a:gd name="connsiteY15" fmla="*/ 57150 h 266700"/>
                <a:gd name="connsiteX16" fmla="*/ 228600 w 247650"/>
                <a:gd name="connsiteY16" fmla="*/ 66675 h 266700"/>
                <a:gd name="connsiteX17" fmla="*/ 228600 w 247650"/>
                <a:gd name="connsiteY17" fmla="*/ 47625 h 266700"/>
                <a:gd name="connsiteX18" fmla="*/ 161925 w 247650"/>
                <a:gd name="connsiteY18" fmla="*/ 47625 h 266700"/>
                <a:gd name="connsiteX19" fmla="*/ 161925 w 247650"/>
                <a:gd name="connsiteY19" fmla="*/ 38100 h 266700"/>
                <a:gd name="connsiteX20" fmla="*/ 228600 w 247650"/>
                <a:gd name="connsiteY20" fmla="*/ 38100 h 266700"/>
                <a:gd name="connsiteX21" fmla="*/ 228600 w 247650"/>
                <a:gd name="connsiteY21" fmla="*/ 47625 h 266700"/>
                <a:gd name="connsiteX22" fmla="*/ 228600 w 247650"/>
                <a:gd name="connsiteY22" fmla="*/ 28575 h 266700"/>
                <a:gd name="connsiteX23" fmla="*/ 161925 w 247650"/>
                <a:gd name="connsiteY23" fmla="*/ 28575 h 266700"/>
                <a:gd name="connsiteX24" fmla="*/ 161925 w 247650"/>
                <a:gd name="connsiteY24" fmla="*/ 19050 h 266700"/>
                <a:gd name="connsiteX25" fmla="*/ 228600 w 247650"/>
                <a:gd name="connsiteY25" fmla="*/ 19050 h 266700"/>
                <a:gd name="connsiteX26" fmla="*/ 228600 w 247650"/>
                <a:gd name="connsiteY26" fmla="*/ 28575 h 266700"/>
                <a:gd name="connsiteX27" fmla="*/ 120491 w 247650"/>
                <a:gd name="connsiteY27" fmla="*/ 139541 h 266700"/>
                <a:gd name="connsiteX28" fmla="*/ 127254 w 247650"/>
                <a:gd name="connsiteY28" fmla="*/ 146304 h 266700"/>
                <a:gd name="connsiteX29" fmla="*/ 85820 w 247650"/>
                <a:gd name="connsiteY29" fmla="*/ 187738 h 266700"/>
                <a:gd name="connsiteX30" fmla="*/ 63437 w 247650"/>
                <a:gd name="connsiteY30" fmla="*/ 165354 h 266700"/>
                <a:gd name="connsiteX31" fmla="*/ 70199 w 247650"/>
                <a:gd name="connsiteY31" fmla="*/ 158591 h 266700"/>
                <a:gd name="connsiteX32" fmla="*/ 85916 w 247650"/>
                <a:gd name="connsiteY32" fmla="*/ 174308 h 266700"/>
                <a:gd name="connsiteX33" fmla="*/ 120682 w 247650"/>
                <a:gd name="connsiteY33" fmla="*/ 139541 h 266700"/>
                <a:gd name="connsiteX34" fmla="*/ 0 w 247650"/>
                <a:gd name="connsiteY34" fmla="*/ 228600 h 266700"/>
                <a:gd name="connsiteX35" fmla="*/ 66675 w 247650"/>
                <a:gd name="connsiteY35" fmla="*/ 228600 h 266700"/>
                <a:gd name="connsiteX36" fmla="*/ 66675 w 247650"/>
                <a:gd name="connsiteY36" fmla="*/ 257175 h 266700"/>
                <a:gd name="connsiteX37" fmla="*/ 38100 w 247650"/>
                <a:gd name="connsiteY37" fmla="*/ 257175 h 266700"/>
                <a:gd name="connsiteX38" fmla="*/ 38100 w 247650"/>
                <a:gd name="connsiteY38" fmla="*/ 266700 h 266700"/>
                <a:gd name="connsiteX39" fmla="*/ 142875 w 247650"/>
                <a:gd name="connsiteY39" fmla="*/ 266700 h 266700"/>
                <a:gd name="connsiteX40" fmla="*/ 142875 w 247650"/>
                <a:gd name="connsiteY40" fmla="*/ 257175 h 266700"/>
                <a:gd name="connsiteX41" fmla="*/ 114300 w 247650"/>
                <a:gd name="connsiteY41" fmla="*/ 257175 h 266700"/>
                <a:gd name="connsiteX42" fmla="*/ 114300 w 247650"/>
                <a:gd name="connsiteY42" fmla="*/ 228600 h 266700"/>
                <a:gd name="connsiteX43" fmla="*/ 180975 w 247650"/>
                <a:gd name="connsiteY43" fmla="*/ 228600 h 266700"/>
                <a:gd name="connsiteX44" fmla="*/ 180975 w 247650"/>
                <a:gd name="connsiteY44" fmla="*/ 95250 h 266700"/>
                <a:gd name="connsiteX45" fmla="*/ 0 w 247650"/>
                <a:gd name="connsiteY45" fmla="*/ 95250 h 266700"/>
                <a:gd name="connsiteX46" fmla="*/ 0 w 247650"/>
                <a:gd name="connsiteY46" fmla="*/ 228600 h 266700"/>
                <a:gd name="connsiteX47" fmla="*/ 19050 w 247650"/>
                <a:gd name="connsiteY47" fmla="*/ 114300 h 266700"/>
                <a:gd name="connsiteX48" fmla="*/ 161925 w 247650"/>
                <a:gd name="connsiteY48" fmla="*/ 114300 h 266700"/>
                <a:gd name="connsiteX49" fmla="*/ 161925 w 247650"/>
                <a:gd name="connsiteY49" fmla="*/ 209550 h 266700"/>
                <a:gd name="connsiteX50" fmla="*/ 19050 w 247650"/>
                <a:gd name="connsiteY50" fmla="*/ 209550 h 266700"/>
                <a:gd name="connsiteX51" fmla="*/ 19050 w 247650"/>
                <a:gd name="connsiteY51" fmla="*/ 11430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247650" h="266700">
                  <a:moveTo>
                    <a:pt x="142875" y="0"/>
                  </a:moveTo>
                  <a:lnTo>
                    <a:pt x="142875" y="85725"/>
                  </a:lnTo>
                  <a:lnTo>
                    <a:pt x="190500" y="85725"/>
                  </a:lnTo>
                  <a:lnTo>
                    <a:pt x="190500" y="190500"/>
                  </a:lnTo>
                  <a:lnTo>
                    <a:pt x="247650" y="190500"/>
                  </a:lnTo>
                  <a:lnTo>
                    <a:pt x="247650" y="0"/>
                  </a:lnTo>
                  <a:lnTo>
                    <a:pt x="142875" y="0"/>
                  </a:lnTo>
                  <a:close/>
                  <a:moveTo>
                    <a:pt x="219075" y="171450"/>
                  </a:moveTo>
                  <a:cubicBezTo>
                    <a:pt x="213836" y="171450"/>
                    <a:pt x="209550" y="167164"/>
                    <a:pt x="209550" y="161925"/>
                  </a:cubicBezTo>
                  <a:cubicBezTo>
                    <a:pt x="209550" y="156686"/>
                    <a:pt x="213836" y="152400"/>
                    <a:pt x="219075" y="152400"/>
                  </a:cubicBezTo>
                  <a:cubicBezTo>
                    <a:pt x="224314" y="152400"/>
                    <a:pt x="228600" y="156686"/>
                    <a:pt x="228600" y="161925"/>
                  </a:cubicBezTo>
                  <a:cubicBezTo>
                    <a:pt x="228600" y="167164"/>
                    <a:pt x="224314" y="171450"/>
                    <a:pt x="219075" y="171450"/>
                  </a:cubicBezTo>
                  <a:moveTo>
                    <a:pt x="228600" y="66675"/>
                  </a:moveTo>
                  <a:lnTo>
                    <a:pt x="161925" y="66675"/>
                  </a:lnTo>
                  <a:lnTo>
                    <a:pt x="161925" y="57150"/>
                  </a:lnTo>
                  <a:lnTo>
                    <a:pt x="228600" y="57150"/>
                  </a:lnTo>
                  <a:lnTo>
                    <a:pt x="228600" y="66675"/>
                  </a:lnTo>
                  <a:close/>
                  <a:moveTo>
                    <a:pt x="228600" y="47625"/>
                  </a:moveTo>
                  <a:lnTo>
                    <a:pt x="161925" y="47625"/>
                  </a:lnTo>
                  <a:lnTo>
                    <a:pt x="161925" y="38100"/>
                  </a:lnTo>
                  <a:lnTo>
                    <a:pt x="228600" y="38100"/>
                  </a:lnTo>
                  <a:lnTo>
                    <a:pt x="228600" y="47625"/>
                  </a:lnTo>
                  <a:close/>
                  <a:moveTo>
                    <a:pt x="228600" y="28575"/>
                  </a:moveTo>
                  <a:lnTo>
                    <a:pt x="161925" y="28575"/>
                  </a:lnTo>
                  <a:lnTo>
                    <a:pt x="161925" y="19050"/>
                  </a:lnTo>
                  <a:lnTo>
                    <a:pt x="228600" y="19050"/>
                  </a:lnTo>
                  <a:lnTo>
                    <a:pt x="228600" y="28575"/>
                  </a:lnTo>
                  <a:close/>
                  <a:moveTo>
                    <a:pt x="120491" y="139541"/>
                  </a:moveTo>
                  <a:lnTo>
                    <a:pt x="127254" y="146304"/>
                  </a:lnTo>
                  <a:lnTo>
                    <a:pt x="85820" y="187738"/>
                  </a:lnTo>
                  <a:lnTo>
                    <a:pt x="63437" y="165354"/>
                  </a:lnTo>
                  <a:lnTo>
                    <a:pt x="70199" y="158591"/>
                  </a:lnTo>
                  <a:lnTo>
                    <a:pt x="85916" y="174308"/>
                  </a:lnTo>
                  <a:lnTo>
                    <a:pt x="120682" y="139541"/>
                  </a:lnTo>
                  <a:close/>
                  <a:moveTo>
                    <a:pt x="0" y="228600"/>
                  </a:moveTo>
                  <a:lnTo>
                    <a:pt x="66675" y="228600"/>
                  </a:lnTo>
                  <a:lnTo>
                    <a:pt x="66675" y="257175"/>
                  </a:lnTo>
                  <a:lnTo>
                    <a:pt x="38100" y="257175"/>
                  </a:lnTo>
                  <a:lnTo>
                    <a:pt x="38100" y="266700"/>
                  </a:lnTo>
                  <a:lnTo>
                    <a:pt x="142875" y="266700"/>
                  </a:lnTo>
                  <a:lnTo>
                    <a:pt x="142875" y="257175"/>
                  </a:lnTo>
                  <a:lnTo>
                    <a:pt x="114300" y="257175"/>
                  </a:lnTo>
                  <a:lnTo>
                    <a:pt x="114300" y="228600"/>
                  </a:lnTo>
                  <a:lnTo>
                    <a:pt x="180975" y="228600"/>
                  </a:lnTo>
                  <a:lnTo>
                    <a:pt x="180975" y="95250"/>
                  </a:lnTo>
                  <a:lnTo>
                    <a:pt x="0" y="95250"/>
                  </a:lnTo>
                  <a:lnTo>
                    <a:pt x="0" y="228600"/>
                  </a:lnTo>
                  <a:close/>
                  <a:moveTo>
                    <a:pt x="19050" y="114300"/>
                  </a:moveTo>
                  <a:lnTo>
                    <a:pt x="161925" y="114300"/>
                  </a:lnTo>
                  <a:lnTo>
                    <a:pt x="161925" y="209550"/>
                  </a:lnTo>
                  <a:lnTo>
                    <a:pt x="19050" y="209550"/>
                  </a:lnTo>
                  <a:lnTo>
                    <a:pt x="19050" y="11430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6C3CD0CB-369C-0ADD-A244-22C95C516B0F}"/>
              </a:ext>
            </a:extLst>
          </p:cNvPr>
          <p:cNvGrpSpPr/>
          <p:nvPr/>
        </p:nvGrpSpPr>
        <p:grpSpPr>
          <a:xfrm>
            <a:off x="5335801" y="4147722"/>
            <a:ext cx="639098" cy="639096"/>
            <a:chOff x="5335801" y="4147722"/>
            <a:chExt cx="639098" cy="639096"/>
          </a:xfrm>
        </p:grpSpPr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F636DF2E-911E-EBD4-89D6-B2410419D19D}"/>
                </a:ext>
              </a:extLst>
            </p:cNvPr>
            <p:cNvSpPr>
              <a:spLocks/>
            </p:cNvSpPr>
            <p:nvPr/>
          </p:nvSpPr>
          <p:spPr>
            <a:xfrm>
              <a:off x="5335801" y="4147722"/>
              <a:ext cx="639098" cy="63909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22" name="Grafik 15">
              <a:extLst>
                <a:ext uri="{FF2B5EF4-FFF2-40B4-BE49-F238E27FC236}">
                  <a16:creationId xmlns:a16="http://schemas.microsoft.com/office/drawing/2014/main" id="{7577B182-212D-7BC1-15C1-97E1117703CC}"/>
                </a:ext>
              </a:extLst>
            </p:cNvPr>
            <p:cNvGrpSpPr>
              <a:grpSpLocks/>
            </p:cNvGrpSpPr>
            <p:nvPr/>
          </p:nvGrpSpPr>
          <p:grpSpPr>
            <a:xfrm>
              <a:off x="5458144" y="4252197"/>
              <a:ext cx="394413" cy="430146"/>
              <a:chOff x="6250537" y="4592873"/>
              <a:chExt cx="394413" cy="430146"/>
            </a:xfrm>
            <a:solidFill>
              <a:schemeClr val="bg1"/>
            </a:solidFill>
          </p:grpSpPr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1914EBEA-55BF-166B-07F4-16DB1F0FC1FA}"/>
                  </a:ext>
                </a:extLst>
              </p:cNvPr>
              <p:cNvSpPr/>
              <p:nvPr/>
            </p:nvSpPr>
            <p:spPr>
              <a:xfrm>
                <a:off x="6411704" y="4592873"/>
                <a:ext cx="71721" cy="71721"/>
              </a:xfrm>
              <a:custGeom>
                <a:avLst/>
                <a:gdLst>
                  <a:gd name="connsiteX0" fmla="*/ 71721 w 71721"/>
                  <a:gd name="connsiteY0" fmla="*/ 35861 h 71721"/>
                  <a:gd name="connsiteX1" fmla="*/ 35861 w 71721"/>
                  <a:gd name="connsiteY1" fmla="*/ 71721 h 71721"/>
                  <a:gd name="connsiteX2" fmla="*/ 0 w 71721"/>
                  <a:gd name="connsiteY2" fmla="*/ 35861 h 71721"/>
                  <a:gd name="connsiteX3" fmla="*/ 35861 w 71721"/>
                  <a:gd name="connsiteY3" fmla="*/ 0 h 71721"/>
                  <a:gd name="connsiteX4" fmla="*/ 71721 w 71721"/>
                  <a:gd name="connsiteY4" fmla="*/ 35861 h 7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21" h="71721">
                    <a:moveTo>
                      <a:pt x="71721" y="35861"/>
                    </a:moveTo>
                    <a:cubicBezTo>
                      <a:pt x="71721" y="55584"/>
                      <a:pt x="55584" y="71721"/>
                      <a:pt x="35861" y="71721"/>
                    </a:cubicBezTo>
                    <a:cubicBezTo>
                      <a:pt x="16137" y="71721"/>
                      <a:pt x="0" y="55584"/>
                      <a:pt x="0" y="35861"/>
                    </a:cubicBezTo>
                    <a:cubicBezTo>
                      <a:pt x="0" y="16137"/>
                      <a:pt x="16137" y="0"/>
                      <a:pt x="35861" y="0"/>
                    </a:cubicBezTo>
                    <a:cubicBezTo>
                      <a:pt x="55584" y="0"/>
                      <a:pt x="71721" y="16137"/>
                      <a:pt x="71721" y="35861"/>
                    </a:cubicBezTo>
                  </a:path>
                </a:pathLst>
              </a:custGeom>
              <a:grpFill/>
              <a:ln w="178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4D48407B-4B88-F94E-A0F5-7E8AE4725E65}"/>
                  </a:ext>
                </a:extLst>
              </p:cNvPr>
              <p:cNvSpPr/>
              <p:nvPr/>
            </p:nvSpPr>
            <p:spPr>
              <a:xfrm>
                <a:off x="6411883" y="4951299"/>
                <a:ext cx="71721" cy="71721"/>
              </a:xfrm>
              <a:custGeom>
                <a:avLst/>
                <a:gdLst>
                  <a:gd name="connsiteX0" fmla="*/ 71721 w 71721"/>
                  <a:gd name="connsiteY0" fmla="*/ 35861 h 71721"/>
                  <a:gd name="connsiteX1" fmla="*/ 35861 w 71721"/>
                  <a:gd name="connsiteY1" fmla="*/ 71721 h 71721"/>
                  <a:gd name="connsiteX2" fmla="*/ 0 w 71721"/>
                  <a:gd name="connsiteY2" fmla="*/ 35861 h 71721"/>
                  <a:gd name="connsiteX3" fmla="*/ 35861 w 71721"/>
                  <a:gd name="connsiteY3" fmla="*/ 0 h 71721"/>
                  <a:gd name="connsiteX4" fmla="*/ 71721 w 71721"/>
                  <a:gd name="connsiteY4" fmla="*/ 35861 h 7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721" h="71721">
                    <a:moveTo>
                      <a:pt x="71721" y="35861"/>
                    </a:moveTo>
                    <a:cubicBezTo>
                      <a:pt x="71721" y="55584"/>
                      <a:pt x="55584" y="71721"/>
                      <a:pt x="35861" y="71721"/>
                    </a:cubicBezTo>
                    <a:cubicBezTo>
                      <a:pt x="16137" y="71721"/>
                      <a:pt x="0" y="55584"/>
                      <a:pt x="0" y="35861"/>
                    </a:cubicBezTo>
                    <a:cubicBezTo>
                      <a:pt x="0" y="16137"/>
                      <a:pt x="16137" y="0"/>
                      <a:pt x="35861" y="0"/>
                    </a:cubicBezTo>
                    <a:cubicBezTo>
                      <a:pt x="55584" y="0"/>
                      <a:pt x="71721" y="16137"/>
                      <a:pt x="71721" y="35861"/>
                    </a:cubicBezTo>
                  </a:path>
                </a:pathLst>
              </a:custGeom>
              <a:grpFill/>
              <a:ln w="178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89B86CEE-B7AF-9937-AD62-0FE555AC69A9}"/>
                  </a:ext>
                </a:extLst>
              </p:cNvPr>
              <p:cNvSpPr/>
              <p:nvPr/>
            </p:nvSpPr>
            <p:spPr>
              <a:xfrm>
                <a:off x="6573281" y="4682410"/>
                <a:ext cx="71668" cy="71590"/>
              </a:xfrm>
              <a:custGeom>
                <a:avLst/>
                <a:gdLst>
                  <a:gd name="connsiteX0" fmla="*/ 53765 w 71668"/>
                  <a:gd name="connsiteY0" fmla="*/ 66814 h 71590"/>
                  <a:gd name="connsiteX1" fmla="*/ 4815 w 71668"/>
                  <a:gd name="connsiteY1" fmla="*/ 53725 h 71590"/>
                  <a:gd name="connsiteX2" fmla="*/ 17904 w 71668"/>
                  <a:gd name="connsiteY2" fmla="*/ 4776 h 71590"/>
                  <a:gd name="connsiteX3" fmla="*/ 66854 w 71668"/>
                  <a:gd name="connsiteY3" fmla="*/ 17865 h 71590"/>
                  <a:gd name="connsiteX4" fmla="*/ 53765 w 71668"/>
                  <a:gd name="connsiteY4" fmla="*/ 66814 h 71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668" h="71590">
                    <a:moveTo>
                      <a:pt x="53765" y="66814"/>
                    </a:moveTo>
                    <a:cubicBezTo>
                      <a:pt x="36551" y="76676"/>
                      <a:pt x="14677" y="70759"/>
                      <a:pt x="4815" y="53725"/>
                    </a:cubicBezTo>
                    <a:cubicBezTo>
                      <a:pt x="-5047" y="36512"/>
                      <a:pt x="691" y="14637"/>
                      <a:pt x="17904" y="4776"/>
                    </a:cubicBezTo>
                    <a:cubicBezTo>
                      <a:pt x="35117" y="-5086"/>
                      <a:pt x="56992" y="831"/>
                      <a:pt x="66854" y="17865"/>
                    </a:cubicBezTo>
                    <a:cubicBezTo>
                      <a:pt x="76715" y="35078"/>
                      <a:pt x="70978" y="56953"/>
                      <a:pt x="53765" y="66814"/>
                    </a:cubicBezTo>
                  </a:path>
                </a:pathLst>
              </a:custGeom>
              <a:grpFill/>
              <a:ln w="178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8B69C1BF-D475-F3AD-1FE1-BA65D2123DB8}"/>
                  </a:ext>
                </a:extLst>
              </p:cNvPr>
              <p:cNvSpPr/>
              <p:nvPr/>
            </p:nvSpPr>
            <p:spPr>
              <a:xfrm>
                <a:off x="6250537" y="4861673"/>
                <a:ext cx="71668" cy="71668"/>
              </a:xfrm>
              <a:custGeom>
                <a:avLst/>
                <a:gdLst>
                  <a:gd name="connsiteX0" fmla="*/ 53765 w 71668"/>
                  <a:gd name="connsiteY0" fmla="*/ 66854 h 71668"/>
                  <a:gd name="connsiteX1" fmla="*/ 4815 w 71668"/>
                  <a:gd name="connsiteY1" fmla="*/ 53765 h 71668"/>
                  <a:gd name="connsiteX2" fmla="*/ 17904 w 71668"/>
                  <a:gd name="connsiteY2" fmla="*/ 4815 h 71668"/>
                  <a:gd name="connsiteX3" fmla="*/ 66854 w 71668"/>
                  <a:gd name="connsiteY3" fmla="*/ 17904 h 71668"/>
                  <a:gd name="connsiteX4" fmla="*/ 53765 w 71668"/>
                  <a:gd name="connsiteY4" fmla="*/ 66854 h 71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668" h="71668">
                    <a:moveTo>
                      <a:pt x="53765" y="66854"/>
                    </a:moveTo>
                    <a:cubicBezTo>
                      <a:pt x="36551" y="76715"/>
                      <a:pt x="14677" y="70978"/>
                      <a:pt x="4815" y="53765"/>
                    </a:cubicBezTo>
                    <a:cubicBezTo>
                      <a:pt x="-5047" y="36551"/>
                      <a:pt x="691" y="14677"/>
                      <a:pt x="17904" y="4815"/>
                    </a:cubicBezTo>
                    <a:cubicBezTo>
                      <a:pt x="35117" y="-5047"/>
                      <a:pt x="56992" y="691"/>
                      <a:pt x="66854" y="17904"/>
                    </a:cubicBezTo>
                    <a:cubicBezTo>
                      <a:pt x="76715" y="35117"/>
                      <a:pt x="70978" y="56992"/>
                      <a:pt x="53765" y="66854"/>
                    </a:cubicBezTo>
                  </a:path>
                </a:pathLst>
              </a:custGeom>
              <a:grpFill/>
              <a:ln w="178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2DE1426D-3BF8-331C-3CEA-F042A7915960}"/>
                  </a:ext>
                </a:extLst>
              </p:cNvPr>
              <p:cNvSpPr/>
              <p:nvPr/>
            </p:nvSpPr>
            <p:spPr>
              <a:xfrm>
                <a:off x="6250537" y="4682371"/>
                <a:ext cx="71668" cy="71668"/>
              </a:xfrm>
              <a:custGeom>
                <a:avLst/>
                <a:gdLst>
                  <a:gd name="connsiteX0" fmla="*/ 53765 w 71668"/>
                  <a:gd name="connsiteY0" fmla="*/ 4815 h 71668"/>
                  <a:gd name="connsiteX1" fmla="*/ 66854 w 71668"/>
                  <a:gd name="connsiteY1" fmla="*/ 53765 h 71668"/>
                  <a:gd name="connsiteX2" fmla="*/ 17904 w 71668"/>
                  <a:gd name="connsiteY2" fmla="*/ 66854 h 71668"/>
                  <a:gd name="connsiteX3" fmla="*/ 4815 w 71668"/>
                  <a:gd name="connsiteY3" fmla="*/ 17904 h 71668"/>
                  <a:gd name="connsiteX4" fmla="*/ 53765 w 71668"/>
                  <a:gd name="connsiteY4" fmla="*/ 4815 h 71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668" h="71668">
                    <a:moveTo>
                      <a:pt x="53765" y="4815"/>
                    </a:moveTo>
                    <a:cubicBezTo>
                      <a:pt x="70978" y="14677"/>
                      <a:pt x="76715" y="36731"/>
                      <a:pt x="66854" y="53765"/>
                    </a:cubicBezTo>
                    <a:cubicBezTo>
                      <a:pt x="56992" y="70978"/>
                      <a:pt x="35117" y="76715"/>
                      <a:pt x="17904" y="66854"/>
                    </a:cubicBezTo>
                    <a:cubicBezTo>
                      <a:pt x="691" y="56992"/>
                      <a:pt x="-5047" y="34938"/>
                      <a:pt x="4815" y="17904"/>
                    </a:cubicBezTo>
                    <a:cubicBezTo>
                      <a:pt x="14677" y="691"/>
                      <a:pt x="36551" y="-5047"/>
                      <a:pt x="53765" y="4815"/>
                    </a:cubicBezTo>
                  </a:path>
                </a:pathLst>
              </a:custGeom>
              <a:grpFill/>
              <a:ln w="178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82B86E2B-8FE6-8AEB-2FDC-094CA0C5F451}"/>
                  </a:ext>
                </a:extLst>
              </p:cNvPr>
              <p:cNvSpPr/>
              <p:nvPr/>
            </p:nvSpPr>
            <p:spPr>
              <a:xfrm>
                <a:off x="6573281" y="4861673"/>
                <a:ext cx="71668" cy="71668"/>
              </a:xfrm>
              <a:custGeom>
                <a:avLst/>
                <a:gdLst>
                  <a:gd name="connsiteX0" fmla="*/ 53765 w 71668"/>
                  <a:gd name="connsiteY0" fmla="*/ 4815 h 71668"/>
                  <a:gd name="connsiteX1" fmla="*/ 66854 w 71668"/>
                  <a:gd name="connsiteY1" fmla="*/ 53765 h 71668"/>
                  <a:gd name="connsiteX2" fmla="*/ 17904 w 71668"/>
                  <a:gd name="connsiteY2" fmla="*/ 66854 h 71668"/>
                  <a:gd name="connsiteX3" fmla="*/ 4815 w 71668"/>
                  <a:gd name="connsiteY3" fmla="*/ 17904 h 71668"/>
                  <a:gd name="connsiteX4" fmla="*/ 53765 w 71668"/>
                  <a:gd name="connsiteY4" fmla="*/ 4815 h 71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668" h="71668">
                    <a:moveTo>
                      <a:pt x="53765" y="4815"/>
                    </a:moveTo>
                    <a:cubicBezTo>
                      <a:pt x="70978" y="14677"/>
                      <a:pt x="76715" y="36551"/>
                      <a:pt x="66854" y="53765"/>
                    </a:cubicBezTo>
                    <a:cubicBezTo>
                      <a:pt x="56992" y="70978"/>
                      <a:pt x="35117" y="76715"/>
                      <a:pt x="17904" y="66854"/>
                    </a:cubicBezTo>
                    <a:cubicBezTo>
                      <a:pt x="691" y="56992"/>
                      <a:pt x="-5047" y="35117"/>
                      <a:pt x="4815" y="17904"/>
                    </a:cubicBezTo>
                    <a:cubicBezTo>
                      <a:pt x="14677" y="691"/>
                      <a:pt x="36551" y="-5047"/>
                      <a:pt x="53765" y="4815"/>
                    </a:cubicBezTo>
                  </a:path>
                </a:pathLst>
              </a:custGeom>
              <a:grpFill/>
              <a:ln w="178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A3189CEB-2FEA-C6A5-9BEF-250B00D5D92D}"/>
                  </a:ext>
                </a:extLst>
              </p:cNvPr>
              <p:cNvSpPr/>
              <p:nvPr/>
            </p:nvSpPr>
            <p:spPr>
              <a:xfrm>
                <a:off x="6492928" y="4917410"/>
                <a:ext cx="75844" cy="57376"/>
              </a:xfrm>
              <a:custGeom>
                <a:avLst/>
                <a:gdLst>
                  <a:gd name="connsiteX0" fmla="*/ 0 w 75844"/>
                  <a:gd name="connsiteY0" fmla="*/ 40702 h 57376"/>
                  <a:gd name="connsiteX1" fmla="*/ 7172 w 75844"/>
                  <a:gd name="connsiteY1" fmla="*/ 57377 h 57376"/>
                  <a:gd name="connsiteX2" fmla="*/ 75845 w 75844"/>
                  <a:gd name="connsiteY2" fmla="*/ 15420 h 57376"/>
                  <a:gd name="connsiteX3" fmla="*/ 66521 w 75844"/>
                  <a:gd name="connsiteY3" fmla="*/ 0 h 57376"/>
                  <a:gd name="connsiteX4" fmla="*/ 0 w 75844"/>
                  <a:gd name="connsiteY4" fmla="*/ 40702 h 57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844" h="57376">
                    <a:moveTo>
                      <a:pt x="0" y="40702"/>
                    </a:moveTo>
                    <a:cubicBezTo>
                      <a:pt x="3227" y="45722"/>
                      <a:pt x="5558" y="51460"/>
                      <a:pt x="7172" y="57377"/>
                    </a:cubicBezTo>
                    <a:lnTo>
                      <a:pt x="75845" y="15420"/>
                    </a:lnTo>
                    <a:cubicBezTo>
                      <a:pt x="71900" y="10937"/>
                      <a:pt x="68852" y="5738"/>
                      <a:pt x="66521" y="0"/>
                    </a:cubicBezTo>
                    <a:lnTo>
                      <a:pt x="0" y="40702"/>
                    </a:lnTo>
                    <a:close/>
                  </a:path>
                </a:pathLst>
              </a:custGeom>
              <a:grpFill/>
              <a:ln w="178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D02BA91F-A180-D376-5F8C-AB0D11EF366B}"/>
                  </a:ext>
                </a:extLst>
              </p:cNvPr>
              <p:cNvSpPr/>
              <p:nvPr/>
            </p:nvSpPr>
            <p:spPr>
              <a:xfrm>
                <a:off x="6600151" y="4770741"/>
                <a:ext cx="17930" cy="74051"/>
              </a:xfrm>
              <a:custGeom>
                <a:avLst/>
                <a:gdLst>
                  <a:gd name="connsiteX0" fmla="*/ 0 w 17930"/>
                  <a:gd name="connsiteY0" fmla="*/ 0 h 74051"/>
                  <a:gd name="connsiteX1" fmla="*/ 0 w 17930"/>
                  <a:gd name="connsiteY1" fmla="*/ 74052 h 74051"/>
                  <a:gd name="connsiteX2" fmla="*/ 8965 w 17930"/>
                  <a:gd name="connsiteY2" fmla="*/ 72797 h 74051"/>
                  <a:gd name="connsiteX3" fmla="*/ 17930 w 17930"/>
                  <a:gd name="connsiteY3" fmla="*/ 74052 h 74051"/>
                  <a:gd name="connsiteX4" fmla="*/ 17930 w 17930"/>
                  <a:gd name="connsiteY4" fmla="*/ 0 h 74051"/>
                  <a:gd name="connsiteX5" fmla="*/ 8965 w 17930"/>
                  <a:gd name="connsiteY5" fmla="*/ 1255 h 74051"/>
                  <a:gd name="connsiteX6" fmla="*/ 0 w 17930"/>
                  <a:gd name="connsiteY6" fmla="*/ 0 h 74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930" h="74051">
                    <a:moveTo>
                      <a:pt x="0" y="0"/>
                    </a:moveTo>
                    <a:lnTo>
                      <a:pt x="0" y="74052"/>
                    </a:lnTo>
                    <a:cubicBezTo>
                      <a:pt x="3048" y="73514"/>
                      <a:pt x="5917" y="72797"/>
                      <a:pt x="8965" y="72797"/>
                    </a:cubicBezTo>
                    <a:cubicBezTo>
                      <a:pt x="12013" y="72797"/>
                      <a:pt x="14882" y="73514"/>
                      <a:pt x="17930" y="74052"/>
                    </a:cubicBezTo>
                    <a:lnTo>
                      <a:pt x="17930" y="0"/>
                    </a:lnTo>
                    <a:cubicBezTo>
                      <a:pt x="14882" y="538"/>
                      <a:pt x="12013" y="1255"/>
                      <a:pt x="8965" y="1255"/>
                    </a:cubicBezTo>
                    <a:cubicBezTo>
                      <a:pt x="5917" y="1255"/>
                      <a:pt x="2869" y="538"/>
                      <a:pt x="0" y="0"/>
                    </a:cubicBezTo>
                  </a:path>
                </a:pathLst>
              </a:custGeom>
              <a:grpFill/>
              <a:ln w="178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5B5D08EC-6BF4-91E5-93FA-C0CD59532D7B}"/>
                  </a:ext>
                </a:extLst>
              </p:cNvPr>
              <p:cNvSpPr/>
              <p:nvPr/>
            </p:nvSpPr>
            <p:spPr>
              <a:xfrm>
                <a:off x="6326714" y="4641105"/>
                <a:ext cx="75665" cy="57197"/>
              </a:xfrm>
              <a:custGeom>
                <a:avLst/>
                <a:gdLst>
                  <a:gd name="connsiteX0" fmla="*/ 75666 w 75665"/>
                  <a:gd name="connsiteY0" fmla="*/ 16675 h 57197"/>
                  <a:gd name="connsiteX1" fmla="*/ 68494 w 75665"/>
                  <a:gd name="connsiteY1" fmla="*/ 0 h 57197"/>
                  <a:gd name="connsiteX2" fmla="*/ 0 w 75665"/>
                  <a:gd name="connsiteY2" fmla="*/ 41957 h 57197"/>
                  <a:gd name="connsiteX3" fmla="*/ 9324 w 75665"/>
                  <a:gd name="connsiteY3" fmla="*/ 57198 h 57197"/>
                  <a:gd name="connsiteX4" fmla="*/ 75666 w 75665"/>
                  <a:gd name="connsiteY4" fmla="*/ 16675 h 57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665" h="57197">
                    <a:moveTo>
                      <a:pt x="75666" y="16675"/>
                    </a:moveTo>
                    <a:cubicBezTo>
                      <a:pt x="72438" y="11655"/>
                      <a:pt x="69928" y="6096"/>
                      <a:pt x="68494" y="0"/>
                    </a:cubicBezTo>
                    <a:lnTo>
                      <a:pt x="0" y="41957"/>
                    </a:lnTo>
                    <a:cubicBezTo>
                      <a:pt x="3945" y="46439"/>
                      <a:pt x="6993" y="51639"/>
                      <a:pt x="9324" y="57198"/>
                    </a:cubicBezTo>
                    <a:lnTo>
                      <a:pt x="75666" y="16675"/>
                    </a:lnTo>
                    <a:close/>
                  </a:path>
                </a:pathLst>
              </a:custGeom>
              <a:grpFill/>
              <a:ln w="178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030090E5-3A2F-E2A4-3EC3-C970F677E7A9}"/>
                  </a:ext>
                </a:extLst>
              </p:cNvPr>
              <p:cNvSpPr/>
              <p:nvPr/>
            </p:nvSpPr>
            <p:spPr>
              <a:xfrm>
                <a:off x="6326714" y="4917410"/>
                <a:ext cx="75844" cy="57376"/>
              </a:xfrm>
              <a:custGeom>
                <a:avLst/>
                <a:gdLst>
                  <a:gd name="connsiteX0" fmla="*/ 75845 w 75844"/>
                  <a:gd name="connsiteY0" fmla="*/ 40702 h 57376"/>
                  <a:gd name="connsiteX1" fmla="*/ 9324 w 75844"/>
                  <a:gd name="connsiteY1" fmla="*/ 0 h 57376"/>
                  <a:gd name="connsiteX2" fmla="*/ 0 w 75844"/>
                  <a:gd name="connsiteY2" fmla="*/ 15241 h 57376"/>
                  <a:gd name="connsiteX3" fmla="*/ 68673 w 75844"/>
                  <a:gd name="connsiteY3" fmla="*/ 57377 h 57376"/>
                  <a:gd name="connsiteX4" fmla="*/ 75845 w 75844"/>
                  <a:gd name="connsiteY4" fmla="*/ 40702 h 57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844" h="57376">
                    <a:moveTo>
                      <a:pt x="75845" y="40702"/>
                    </a:moveTo>
                    <a:lnTo>
                      <a:pt x="9324" y="0"/>
                    </a:lnTo>
                    <a:cubicBezTo>
                      <a:pt x="7172" y="5558"/>
                      <a:pt x="3945" y="10758"/>
                      <a:pt x="0" y="15241"/>
                    </a:cubicBezTo>
                    <a:lnTo>
                      <a:pt x="68673" y="57377"/>
                    </a:lnTo>
                    <a:cubicBezTo>
                      <a:pt x="70107" y="51280"/>
                      <a:pt x="72438" y="45722"/>
                      <a:pt x="75845" y="40702"/>
                    </a:cubicBezTo>
                  </a:path>
                </a:pathLst>
              </a:custGeom>
              <a:grpFill/>
              <a:ln w="178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21086EDE-E389-E7AA-A713-DF5CC1C36BCF}"/>
                  </a:ext>
                </a:extLst>
              </p:cNvPr>
              <p:cNvSpPr/>
              <p:nvPr/>
            </p:nvSpPr>
            <p:spPr>
              <a:xfrm>
                <a:off x="6277406" y="4770920"/>
                <a:ext cx="17930" cy="74051"/>
              </a:xfrm>
              <a:custGeom>
                <a:avLst/>
                <a:gdLst>
                  <a:gd name="connsiteX0" fmla="*/ 17930 w 17930"/>
                  <a:gd name="connsiteY0" fmla="*/ 74052 h 74051"/>
                  <a:gd name="connsiteX1" fmla="*/ 17930 w 17930"/>
                  <a:gd name="connsiteY1" fmla="*/ 0 h 74051"/>
                  <a:gd name="connsiteX2" fmla="*/ 8965 w 17930"/>
                  <a:gd name="connsiteY2" fmla="*/ 1255 h 74051"/>
                  <a:gd name="connsiteX3" fmla="*/ 0 w 17930"/>
                  <a:gd name="connsiteY3" fmla="*/ 0 h 74051"/>
                  <a:gd name="connsiteX4" fmla="*/ 0 w 17930"/>
                  <a:gd name="connsiteY4" fmla="*/ 74052 h 74051"/>
                  <a:gd name="connsiteX5" fmla="*/ 8965 w 17930"/>
                  <a:gd name="connsiteY5" fmla="*/ 72797 h 74051"/>
                  <a:gd name="connsiteX6" fmla="*/ 17930 w 17930"/>
                  <a:gd name="connsiteY6" fmla="*/ 74052 h 74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930" h="74051">
                    <a:moveTo>
                      <a:pt x="17930" y="74052"/>
                    </a:moveTo>
                    <a:lnTo>
                      <a:pt x="17930" y="0"/>
                    </a:lnTo>
                    <a:cubicBezTo>
                      <a:pt x="14882" y="538"/>
                      <a:pt x="12013" y="1255"/>
                      <a:pt x="8965" y="1255"/>
                    </a:cubicBezTo>
                    <a:cubicBezTo>
                      <a:pt x="5917" y="1255"/>
                      <a:pt x="3048" y="538"/>
                      <a:pt x="0" y="0"/>
                    </a:cubicBezTo>
                    <a:lnTo>
                      <a:pt x="0" y="74052"/>
                    </a:lnTo>
                    <a:cubicBezTo>
                      <a:pt x="2869" y="73514"/>
                      <a:pt x="5917" y="72797"/>
                      <a:pt x="8965" y="72797"/>
                    </a:cubicBezTo>
                    <a:cubicBezTo>
                      <a:pt x="12013" y="72797"/>
                      <a:pt x="15061" y="73514"/>
                      <a:pt x="17930" y="74052"/>
                    </a:cubicBezTo>
                  </a:path>
                </a:pathLst>
              </a:custGeom>
              <a:grpFill/>
              <a:ln w="178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C98E9FA8-C884-5880-BD53-58046E003516}"/>
                  </a:ext>
                </a:extLst>
              </p:cNvPr>
              <p:cNvSpPr/>
              <p:nvPr/>
            </p:nvSpPr>
            <p:spPr>
              <a:xfrm>
                <a:off x="6492748" y="4641105"/>
                <a:ext cx="75844" cy="57376"/>
              </a:xfrm>
              <a:custGeom>
                <a:avLst/>
                <a:gdLst>
                  <a:gd name="connsiteX0" fmla="*/ 75845 w 75844"/>
                  <a:gd name="connsiteY0" fmla="*/ 41957 h 57376"/>
                  <a:gd name="connsiteX1" fmla="*/ 6993 w 75844"/>
                  <a:gd name="connsiteY1" fmla="*/ 0 h 57376"/>
                  <a:gd name="connsiteX2" fmla="*/ 0 w 75844"/>
                  <a:gd name="connsiteY2" fmla="*/ 16675 h 57376"/>
                  <a:gd name="connsiteX3" fmla="*/ 66521 w 75844"/>
                  <a:gd name="connsiteY3" fmla="*/ 57377 h 57376"/>
                  <a:gd name="connsiteX4" fmla="*/ 75845 w 75844"/>
                  <a:gd name="connsiteY4" fmla="*/ 41957 h 57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844" h="57376">
                    <a:moveTo>
                      <a:pt x="75845" y="41957"/>
                    </a:moveTo>
                    <a:lnTo>
                      <a:pt x="6993" y="0"/>
                    </a:lnTo>
                    <a:cubicBezTo>
                      <a:pt x="5558" y="6096"/>
                      <a:pt x="3227" y="11655"/>
                      <a:pt x="0" y="16675"/>
                    </a:cubicBezTo>
                    <a:lnTo>
                      <a:pt x="66521" y="57377"/>
                    </a:lnTo>
                    <a:cubicBezTo>
                      <a:pt x="68852" y="51639"/>
                      <a:pt x="71900" y="46619"/>
                      <a:pt x="75845" y="41957"/>
                    </a:cubicBezTo>
                  </a:path>
                </a:pathLst>
              </a:custGeom>
              <a:grpFill/>
              <a:ln w="178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BBE45A21-F693-3781-F0F6-6ACF6083F5EF}"/>
              </a:ext>
            </a:extLst>
          </p:cNvPr>
          <p:cNvGrpSpPr/>
          <p:nvPr/>
        </p:nvGrpSpPr>
        <p:grpSpPr>
          <a:xfrm>
            <a:off x="9765602" y="4147722"/>
            <a:ext cx="639098" cy="639096"/>
            <a:chOff x="9765602" y="4147722"/>
            <a:chExt cx="639098" cy="639096"/>
          </a:xfrm>
        </p:grpSpPr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4B561C2A-C5EA-1EAD-C75F-BA1742814EAA}"/>
                </a:ext>
              </a:extLst>
            </p:cNvPr>
            <p:cNvSpPr>
              <a:spLocks/>
            </p:cNvSpPr>
            <p:nvPr/>
          </p:nvSpPr>
          <p:spPr>
            <a:xfrm>
              <a:off x="9765602" y="4147722"/>
              <a:ext cx="639098" cy="63909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" name="Grafik 10">
              <a:extLst>
                <a:ext uri="{FF2B5EF4-FFF2-40B4-BE49-F238E27FC236}">
                  <a16:creationId xmlns:a16="http://schemas.microsoft.com/office/drawing/2014/main" id="{DCF1E0DA-AC39-BEE5-EAF9-898A5A5DF210}"/>
                </a:ext>
              </a:extLst>
            </p:cNvPr>
            <p:cNvSpPr>
              <a:spLocks/>
            </p:cNvSpPr>
            <p:nvPr/>
          </p:nvSpPr>
          <p:spPr>
            <a:xfrm>
              <a:off x="9911877" y="4294119"/>
              <a:ext cx="346548" cy="346302"/>
            </a:xfrm>
            <a:custGeom>
              <a:avLst/>
              <a:gdLst>
                <a:gd name="connsiteX0" fmla="*/ 62579 w 266890"/>
                <a:gd name="connsiteY0" fmla="*/ 76200 h 266700"/>
                <a:gd name="connsiteX1" fmla="*/ 13049 w 266890"/>
                <a:gd name="connsiteY1" fmla="*/ 76200 h 266700"/>
                <a:gd name="connsiteX2" fmla="*/ 90011 w 266890"/>
                <a:gd name="connsiteY2" fmla="*/ 7334 h 266700"/>
                <a:gd name="connsiteX3" fmla="*/ 62579 w 266890"/>
                <a:gd name="connsiteY3" fmla="*/ 76200 h 266700"/>
                <a:gd name="connsiteX4" fmla="*/ 13049 w 266890"/>
                <a:gd name="connsiteY4" fmla="*/ 190500 h 266700"/>
                <a:gd name="connsiteX5" fmla="*/ 90011 w 266890"/>
                <a:gd name="connsiteY5" fmla="*/ 259366 h 266700"/>
                <a:gd name="connsiteX6" fmla="*/ 62579 w 266890"/>
                <a:gd name="connsiteY6" fmla="*/ 190500 h 266700"/>
                <a:gd name="connsiteX7" fmla="*/ 13049 w 266890"/>
                <a:gd name="connsiteY7" fmla="*/ 190500 h 266700"/>
                <a:gd name="connsiteX8" fmla="*/ 57245 w 266890"/>
                <a:gd name="connsiteY8" fmla="*/ 133350 h 266700"/>
                <a:gd name="connsiteX9" fmla="*/ 59627 w 266890"/>
                <a:gd name="connsiteY9" fmla="*/ 95250 h 266700"/>
                <a:gd name="connsiteX10" fmla="*/ 5620 w 266890"/>
                <a:gd name="connsiteY10" fmla="*/ 95250 h 266700"/>
                <a:gd name="connsiteX11" fmla="*/ 0 w 266890"/>
                <a:gd name="connsiteY11" fmla="*/ 133350 h 266700"/>
                <a:gd name="connsiteX12" fmla="*/ 5620 w 266890"/>
                <a:gd name="connsiteY12" fmla="*/ 171450 h 266700"/>
                <a:gd name="connsiteX13" fmla="*/ 59627 w 266890"/>
                <a:gd name="connsiteY13" fmla="*/ 171450 h 266700"/>
                <a:gd name="connsiteX14" fmla="*/ 57245 w 266890"/>
                <a:gd name="connsiteY14" fmla="*/ 133350 h 266700"/>
                <a:gd name="connsiteX15" fmla="*/ 76295 w 266890"/>
                <a:gd name="connsiteY15" fmla="*/ 133350 h 266700"/>
                <a:gd name="connsiteX16" fmla="*/ 78867 w 266890"/>
                <a:gd name="connsiteY16" fmla="*/ 171450 h 266700"/>
                <a:gd name="connsiteX17" fmla="*/ 188119 w 266890"/>
                <a:gd name="connsiteY17" fmla="*/ 171450 h 266700"/>
                <a:gd name="connsiteX18" fmla="*/ 190691 w 266890"/>
                <a:gd name="connsiteY18" fmla="*/ 133350 h 266700"/>
                <a:gd name="connsiteX19" fmla="*/ 188119 w 266890"/>
                <a:gd name="connsiteY19" fmla="*/ 95250 h 266700"/>
                <a:gd name="connsiteX20" fmla="*/ 78867 w 266890"/>
                <a:gd name="connsiteY20" fmla="*/ 95250 h 266700"/>
                <a:gd name="connsiteX21" fmla="*/ 76295 w 266890"/>
                <a:gd name="connsiteY21" fmla="*/ 133350 h 266700"/>
                <a:gd name="connsiteX22" fmla="*/ 253841 w 266890"/>
                <a:gd name="connsiteY22" fmla="*/ 76200 h 266700"/>
                <a:gd name="connsiteX23" fmla="*/ 176879 w 266890"/>
                <a:gd name="connsiteY23" fmla="*/ 7334 h 266700"/>
                <a:gd name="connsiteX24" fmla="*/ 204311 w 266890"/>
                <a:gd name="connsiteY24" fmla="*/ 76200 h 266700"/>
                <a:gd name="connsiteX25" fmla="*/ 253841 w 266890"/>
                <a:gd name="connsiteY25" fmla="*/ 76200 h 266700"/>
                <a:gd name="connsiteX26" fmla="*/ 82201 w 266890"/>
                <a:gd name="connsiteY26" fmla="*/ 190500 h 266700"/>
                <a:gd name="connsiteX27" fmla="*/ 133541 w 266890"/>
                <a:gd name="connsiteY27" fmla="*/ 266700 h 266700"/>
                <a:gd name="connsiteX28" fmla="*/ 184880 w 266890"/>
                <a:gd name="connsiteY28" fmla="*/ 190500 h 266700"/>
                <a:gd name="connsiteX29" fmla="*/ 82296 w 266890"/>
                <a:gd name="connsiteY29" fmla="*/ 190500 h 266700"/>
                <a:gd name="connsiteX30" fmla="*/ 184785 w 266890"/>
                <a:gd name="connsiteY30" fmla="*/ 76200 h 266700"/>
                <a:gd name="connsiteX31" fmla="*/ 133445 w 266890"/>
                <a:gd name="connsiteY31" fmla="*/ 0 h 266700"/>
                <a:gd name="connsiteX32" fmla="*/ 82106 w 266890"/>
                <a:gd name="connsiteY32" fmla="*/ 76200 h 266700"/>
                <a:gd name="connsiteX33" fmla="*/ 184690 w 266890"/>
                <a:gd name="connsiteY33" fmla="*/ 76200 h 266700"/>
                <a:gd name="connsiteX34" fmla="*/ 176879 w 266890"/>
                <a:gd name="connsiteY34" fmla="*/ 259366 h 266700"/>
                <a:gd name="connsiteX35" fmla="*/ 253841 w 266890"/>
                <a:gd name="connsiteY35" fmla="*/ 190500 h 266700"/>
                <a:gd name="connsiteX36" fmla="*/ 204311 w 266890"/>
                <a:gd name="connsiteY36" fmla="*/ 190500 h 266700"/>
                <a:gd name="connsiteX37" fmla="*/ 176879 w 266890"/>
                <a:gd name="connsiteY37" fmla="*/ 259366 h 266700"/>
                <a:gd name="connsiteX38" fmla="*/ 261271 w 266890"/>
                <a:gd name="connsiteY38" fmla="*/ 95250 h 266700"/>
                <a:gd name="connsiteX39" fmla="*/ 207359 w 266890"/>
                <a:gd name="connsiteY39" fmla="*/ 95250 h 266700"/>
                <a:gd name="connsiteX40" fmla="*/ 209741 w 266890"/>
                <a:gd name="connsiteY40" fmla="*/ 133350 h 266700"/>
                <a:gd name="connsiteX41" fmla="*/ 207359 w 266890"/>
                <a:gd name="connsiteY41" fmla="*/ 171450 h 266700"/>
                <a:gd name="connsiteX42" fmla="*/ 261271 w 266890"/>
                <a:gd name="connsiteY42" fmla="*/ 171450 h 266700"/>
                <a:gd name="connsiteX43" fmla="*/ 266891 w 266890"/>
                <a:gd name="connsiteY43" fmla="*/ 133350 h 266700"/>
                <a:gd name="connsiteX44" fmla="*/ 261271 w 266890"/>
                <a:gd name="connsiteY44" fmla="*/ 9525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66890" h="266700">
                  <a:moveTo>
                    <a:pt x="62579" y="76200"/>
                  </a:moveTo>
                  <a:lnTo>
                    <a:pt x="13049" y="76200"/>
                  </a:lnTo>
                  <a:cubicBezTo>
                    <a:pt x="28385" y="44101"/>
                    <a:pt x="56007" y="19050"/>
                    <a:pt x="90011" y="7334"/>
                  </a:cubicBezTo>
                  <a:cubicBezTo>
                    <a:pt x="77724" y="24098"/>
                    <a:pt x="68104" y="47911"/>
                    <a:pt x="62579" y="76200"/>
                  </a:cubicBezTo>
                  <a:moveTo>
                    <a:pt x="13049" y="190500"/>
                  </a:moveTo>
                  <a:cubicBezTo>
                    <a:pt x="28385" y="222599"/>
                    <a:pt x="56007" y="247650"/>
                    <a:pt x="90011" y="259366"/>
                  </a:cubicBezTo>
                  <a:cubicBezTo>
                    <a:pt x="77724" y="242602"/>
                    <a:pt x="68104" y="218694"/>
                    <a:pt x="62579" y="190500"/>
                  </a:cubicBezTo>
                  <a:lnTo>
                    <a:pt x="13049" y="190500"/>
                  </a:lnTo>
                  <a:close/>
                  <a:moveTo>
                    <a:pt x="57245" y="133350"/>
                  </a:moveTo>
                  <a:cubicBezTo>
                    <a:pt x="57245" y="120110"/>
                    <a:pt x="58103" y="107442"/>
                    <a:pt x="59627" y="95250"/>
                  </a:cubicBezTo>
                  <a:lnTo>
                    <a:pt x="5620" y="95250"/>
                  </a:lnTo>
                  <a:cubicBezTo>
                    <a:pt x="2000" y="107347"/>
                    <a:pt x="0" y="120110"/>
                    <a:pt x="0" y="133350"/>
                  </a:cubicBezTo>
                  <a:cubicBezTo>
                    <a:pt x="0" y="146590"/>
                    <a:pt x="2000" y="159353"/>
                    <a:pt x="5620" y="171450"/>
                  </a:cubicBezTo>
                  <a:lnTo>
                    <a:pt x="59627" y="171450"/>
                  </a:lnTo>
                  <a:cubicBezTo>
                    <a:pt x="58103" y="159258"/>
                    <a:pt x="57245" y="146590"/>
                    <a:pt x="57245" y="133350"/>
                  </a:cubicBezTo>
                  <a:moveTo>
                    <a:pt x="76295" y="133350"/>
                  </a:moveTo>
                  <a:cubicBezTo>
                    <a:pt x="76295" y="146780"/>
                    <a:pt x="77248" y="159544"/>
                    <a:pt x="78867" y="171450"/>
                  </a:cubicBezTo>
                  <a:lnTo>
                    <a:pt x="188119" y="171450"/>
                  </a:lnTo>
                  <a:cubicBezTo>
                    <a:pt x="189738" y="159544"/>
                    <a:pt x="190691" y="146780"/>
                    <a:pt x="190691" y="133350"/>
                  </a:cubicBezTo>
                  <a:cubicBezTo>
                    <a:pt x="190691" y="119920"/>
                    <a:pt x="189738" y="107156"/>
                    <a:pt x="188119" y="95250"/>
                  </a:cubicBezTo>
                  <a:lnTo>
                    <a:pt x="78867" y="95250"/>
                  </a:lnTo>
                  <a:cubicBezTo>
                    <a:pt x="77248" y="107156"/>
                    <a:pt x="76295" y="119920"/>
                    <a:pt x="76295" y="133350"/>
                  </a:cubicBezTo>
                  <a:moveTo>
                    <a:pt x="253841" y="76200"/>
                  </a:moveTo>
                  <a:cubicBezTo>
                    <a:pt x="238506" y="44101"/>
                    <a:pt x="210884" y="19050"/>
                    <a:pt x="176879" y="7334"/>
                  </a:cubicBezTo>
                  <a:cubicBezTo>
                    <a:pt x="189167" y="24098"/>
                    <a:pt x="198692" y="47911"/>
                    <a:pt x="204311" y="76200"/>
                  </a:cubicBezTo>
                  <a:lnTo>
                    <a:pt x="253841" y="76200"/>
                  </a:lnTo>
                  <a:close/>
                  <a:moveTo>
                    <a:pt x="82201" y="190500"/>
                  </a:moveTo>
                  <a:cubicBezTo>
                    <a:pt x="92297" y="237173"/>
                    <a:pt x="113728" y="266700"/>
                    <a:pt x="133541" y="266700"/>
                  </a:cubicBezTo>
                  <a:cubicBezTo>
                    <a:pt x="153353" y="266700"/>
                    <a:pt x="174784" y="237173"/>
                    <a:pt x="184880" y="190500"/>
                  </a:cubicBezTo>
                  <a:lnTo>
                    <a:pt x="82296" y="190500"/>
                  </a:lnTo>
                  <a:close/>
                  <a:moveTo>
                    <a:pt x="184785" y="76200"/>
                  </a:moveTo>
                  <a:cubicBezTo>
                    <a:pt x="174689" y="29528"/>
                    <a:pt x="153257" y="0"/>
                    <a:pt x="133445" y="0"/>
                  </a:cubicBezTo>
                  <a:cubicBezTo>
                    <a:pt x="113633" y="0"/>
                    <a:pt x="92202" y="29528"/>
                    <a:pt x="82106" y="76200"/>
                  </a:cubicBezTo>
                  <a:lnTo>
                    <a:pt x="184690" y="76200"/>
                  </a:lnTo>
                  <a:close/>
                  <a:moveTo>
                    <a:pt x="176879" y="259366"/>
                  </a:moveTo>
                  <a:cubicBezTo>
                    <a:pt x="210884" y="247650"/>
                    <a:pt x="238506" y="222694"/>
                    <a:pt x="253841" y="190500"/>
                  </a:cubicBezTo>
                  <a:lnTo>
                    <a:pt x="204311" y="190500"/>
                  </a:lnTo>
                  <a:cubicBezTo>
                    <a:pt x="198787" y="218694"/>
                    <a:pt x="189167" y="242602"/>
                    <a:pt x="176879" y="259366"/>
                  </a:cubicBezTo>
                  <a:moveTo>
                    <a:pt x="261271" y="95250"/>
                  </a:moveTo>
                  <a:lnTo>
                    <a:pt x="207359" y="95250"/>
                  </a:lnTo>
                  <a:cubicBezTo>
                    <a:pt x="208883" y="107442"/>
                    <a:pt x="209741" y="120110"/>
                    <a:pt x="209741" y="133350"/>
                  </a:cubicBezTo>
                  <a:cubicBezTo>
                    <a:pt x="209741" y="146590"/>
                    <a:pt x="208883" y="159258"/>
                    <a:pt x="207359" y="171450"/>
                  </a:cubicBezTo>
                  <a:lnTo>
                    <a:pt x="261271" y="171450"/>
                  </a:lnTo>
                  <a:cubicBezTo>
                    <a:pt x="264890" y="159353"/>
                    <a:pt x="266891" y="146590"/>
                    <a:pt x="266891" y="133350"/>
                  </a:cubicBezTo>
                  <a:cubicBezTo>
                    <a:pt x="266891" y="120110"/>
                    <a:pt x="264890" y="107347"/>
                    <a:pt x="261271" y="9525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54" name="Grafik 53">
            <a:extLst>
              <a:ext uri="{FF2B5EF4-FFF2-40B4-BE49-F238E27FC236}">
                <a16:creationId xmlns:a16="http://schemas.microsoft.com/office/drawing/2014/main" id="{B8688DDF-B340-2A0B-2100-0B7CDFAAE8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1772" y="4114800"/>
            <a:ext cx="3579012" cy="48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4396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77E4D6-6AAB-DC96-BBEE-9C550E6BB6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77E4D6-6AAB-DC96-BBEE-9C550E6BB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17" name="Gerader Verbinder 316">
            <a:extLst>
              <a:ext uri="{FF2B5EF4-FFF2-40B4-BE49-F238E27FC236}">
                <a16:creationId xmlns:a16="http://schemas.microsoft.com/office/drawing/2014/main" id="{C55CC0D9-2E61-19DE-BDF5-4289B879FA04}"/>
              </a:ext>
            </a:extLst>
          </p:cNvPr>
          <p:cNvCxnSpPr>
            <a:cxnSpLocks/>
          </p:cNvCxnSpPr>
          <p:nvPr/>
        </p:nvCxnSpPr>
        <p:spPr>
          <a:xfrm>
            <a:off x="3175002" y="2136485"/>
            <a:ext cx="8994773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11EA4DE3-7B80-4C74-90F2-6C4EB8C768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Elektronische Gesundheitsakte Österreich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5179DCD-0B7B-6B6C-45DC-A1195E4DF2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pt-BR"/>
              <a:t>A91GER-H-001672-E4</a:t>
            </a:r>
            <a:endParaRPr lang="de-DE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9364AC64-B7C3-0166-2335-D3E6A31B0B72}"/>
              </a:ext>
            </a:extLst>
          </p:cNvPr>
          <p:cNvGrpSpPr>
            <a:grpSpLocks/>
          </p:cNvGrpSpPr>
          <p:nvPr/>
        </p:nvGrpSpPr>
        <p:grpSpPr>
          <a:xfrm flipH="1">
            <a:off x="0" y="1619250"/>
            <a:ext cx="3175003" cy="5238751"/>
            <a:chOff x="8994773" y="1619250"/>
            <a:chExt cx="3175003" cy="5238751"/>
          </a:xfrm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A2510BED-1414-EA37-B1A4-6BF4190359C4}"/>
                </a:ext>
              </a:extLst>
            </p:cNvPr>
            <p:cNvSpPr/>
            <p:nvPr/>
          </p:nvSpPr>
          <p:spPr>
            <a:xfrm>
              <a:off x="8994773" y="1619250"/>
              <a:ext cx="3175003" cy="5238751"/>
            </a:xfrm>
            <a:custGeom>
              <a:avLst/>
              <a:gdLst>
                <a:gd name="connsiteX0" fmla="*/ 2641103 w 3175003"/>
                <a:gd name="connsiteY0" fmla="*/ 0 h 5238751"/>
                <a:gd name="connsiteX1" fmla="*/ 3175003 w 3175003"/>
                <a:gd name="connsiteY1" fmla="*/ 1401789 h 5238751"/>
                <a:gd name="connsiteX2" fmla="*/ 3175003 w 3175003"/>
                <a:gd name="connsiteY2" fmla="*/ 5238751 h 5238751"/>
                <a:gd name="connsiteX3" fmla="*/ 252737 w 3175003"/>
                <a:gd name="connsiteY3" fmla="*/ 5238751 h 5238751"/>
                <a:gd name="connsiteX4" fmla="*/ 0 w 3175003"/>
                <a:gd name="connsiteY4" fmla="*/ 4575174 h 5238751"/>
                <a:gd name="connsiteX5" fmla="*/ 2641103 w 3175003"/>
                <a:gd name="connsiteY5" fmla="*/ 4575174 h 5238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5003" h="5238751">
                  <a:moveTo>
                    <a:pt x="2641103" y="0"/>
                  </a:moveTo>
                  <a:lnTo>
                    <a:pt x="3175003" y="1401789"/>
                  </a:lnTo>
                  <a:lnTo>
                    <a:pt x="3175003" y="5238751"/>
                  </a:lnTo>
                  <a:lnTo>
                    <a:pt x="252737" y="5238751"/>
                  </a:lnTo>
                  <a:lnTo>
                    <a:pt x="0" y="4575174"/>
                  </a:lnTo>
                  <a:lnTo>
                    <a:pt x="2641103" y="4575174"/>
                  </a:lnTo>
                  <a:close/>
                </a:path>
              </a:pathLst>
            </a:custGeom>
            <a:pattFill prst="wdDnDiag">
              <a:fgClr>
                <a:srgbClr val="ECECEC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E4091980-35B6-5E03-4606-99A3C4B28D93}"/>
                </a:ext>
              </a:extLst>
            </p:cNvPr>
            <p:cNvSpPr txBox="1">
              <a:spLocks/>
            </p:cNvSpPr>
            <p:nvPr/>
          </p:nvSpPr>
          <p:spPr>
            <a:xfrm>
              <a:off x="8994774" y="1619250"/>
              <a:ext cx="2633663" cy="4575175"/>
            </a:xfrm>
            <a:prstGeom prst="rect">
              <a:avLst/>
            </a:prstGeom>
            <a:solidFill>
              <a:srgbClr val="ECECEC"/>
            </a:solidFill>
            <a:effectLst>
              <a:outerShdw blurRad="50800" dist="38100" dir="8100000" algn="tr" rotWithShape="0">
                <a:prstClr val="black">
                  <a:alpha val="8000"/>
                </a:prstClr>
              </a:outerShdw>
            </a:effectLst>
          </p:spPr>
          <p:txBody>
            <a:bodyPr wrap="square" lIns="180000" tIns="144000" rIns="180000" bIns="0" rtlCol="0" anchor="t">
              <a:noAutofit/>
            </a:bodyPr>
            <a:lstStyle/>
            <a:p>
              <a:pPr>
                <a:spcAft>
                  <a:spcPts val="300"/>
                </a:spcAft>
              </a:pPr>
              <a:endParaRPr lang="de-DE" sz="4400"/>
            </a:p>
          </p:txBody>
        </p:sp>
      </p:grpSp>
      <p:grpSp>
        <p:nvGrpSpPr>
          <p:cNvPr id="13" name="Gruppieren 21">
            <a:extLst>
              <a:ext uri="{FF2B5EF4-FFF2-40B4-BE49-F238E27FC236}">
                <a16:creationId xmlns:a16="http://schemas.microsoft.com/office/drawing/2014/main" id="{0C2338F5-A061-F136-DA5E-8B5CB17D9E88}"/>
              </a:ext>
            </a:extLst>
          </p:cNvPr>
          <p:cNvGrpSpPr>
            <a:grpSpLocks noChangeAspect="1"/>
          </p:cNvGrpSpPr>
          <p:nvPr/>
        </p:nvGrpSpPr>
        <p:grpSpPr>
          <a:xfrm>
            <a:off x="789694" y="4893720"/>
            <a:ext cx="2113164" cy="1001822"/>
            <a:chOff x="5575300" y="3142253"/>
            <a:chExt cx="6069013" cy="3133283"/>
          </a:xfrm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CD34E269-66E8-CE14-96A0-7C3E3D662D0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0000">
              <a:off x="5575300" y="4854763"/>
              <a:ext cx="568539" cy="900474"/>
            </a:xfrm>
            <a:custGeom>
              <a:avLst/>
              <a:gdLst>
                <a:gd name="T0" fmla="*/ 658258 w 2187"/>
                <a:gd name="T1" fmla="*/ 1175935 h 3462"/>
                <a:gd name="T2" fmla="*/ 616578 w 2187"/>
                <a:gd name="T3" fmla="*/ 1101158 h 3462"/>
                <a:gd name="T4" fmla="*/ 673708 w 2187"/>
                <a:gd name="T5" fmla="*/ 1028539 h 3462"/>
                <a:gd name="T6" fmla="*/ 660773 w 2187"/>
                <a:gd name="T7" fmla="*/ 949448 h 3462"/>
                <a:gd name="T8" fmla="*/ 687002 w 2187"/>
                <a:gd name="T9" fmla="*/ 887613 h 3462"/>
                <a:gd name="T10" fmla="*/ 691314 w 2187"/>
                <a:gd name="T11" fmla="*/ 817151 h 3462"/>
                <a:gd name="T12" fmla="*/ 746289 w 2187"/>
                <a:gd name="T13" fmla="*/ 722601 h 3462"/>
                <a:gd name="T14" fmla="*/ 748445 w 2187"/>
                <a:gd name="T15" fmla="*/ 632366 h 3462"/>
                <a:gd name="T16" fmla="*/ 715388 w 2187"/>
                <a:gd name="T17" fmla="*/ 534222 h 3462"/>
                <a:gd name="T18" fmla="*/ 715029 w 2187"/>
                <a:gd name="T19" fmla="*/ 508697 h 3462"/>
                <a:gd name="T20" fmla="*/ 758865 w 2187"/>
                <a:gd name="T21" fmla="*/ 482094 h 3462"/>
                <a:gd name="T22" fmla="*/ 758865 w 2187"/>
                <a:gd name="T23" fmla="*/ 422776 h 3462"/>
                <a:gd name="T24" fmla="*/ 774315 w 2187"/>
                <a:gd name="T25" fmla="*/ 339011 h 3462"/>
                <a:gd name="T26" fmla="*/ 697423 w 2187"/>
                <a:gd name="T27" fmla="*/ 363458 h 3462"/>
                <a:gd name="T28" fmla="*/ 631309 w 2187"/>
                <a:gd name="T29" fmla="*/ 383230 h 3462"/>
                <a:gd name="T30" fmla="*/ 602924 w 2187"/>
                <a:gd name="T31" fmla="*/ 299466 h 3462"/>
                <a:gd name="T32" fmla="*/ 633465 w 2187"/>
                <a:gd name="T33" fmla="*/ 233318 h 3462"/>
                <a:gd name="T34" fmla="*/ 582802 w 2187"/>
                <a:gd name="T35" fmla="*/ 198086 h 3462"/>
                <a:gd name="T36" fmla="*/ 565196 w 2187"/>
                <a:gd name="T37" fmla="*/ 165371 h 3462"/>
                <a:gd name="T38" fmla="*/ 523516 w 2187"/>
                <a:gd name="T39" fmla="*/ 171843 h 3462"/>
                <a:gd name="T40" fmla="*/ 488304 w 2187"/>
                <a:gd name="T41" fmla="*/ 110008 h 3462"/>
                <a:gd name="T42" fmla="*/ 424706 w 2187"/>
                <a:gd name="T43" fmla="*/ 101380 h 3462"/>
                <a:gd name="T44" fmla="*/ 374043 w 2187"/>
                <a:gd name="T45" fmla="*/ 92392 h 3462"/>
                <a:gd name="T46" fmla="*/ 332003 w 2187"/>
                <a:gd name="T47" fmla="*/ 24446 h 3462"/>
                <a:gd name="T48" fmla="*/ 264094 w 2187"/>
                <a:gd name="T49" fmla="*/ 2157 h 3462"/>
                <a:gd name="T50" fmla="*/ 217742 w 2187"/>
                <a:gd name="T51" fmla="*/ 97066 h 3462"/>
                <a:gd name="T52" fmla="*/ 50663 w 2187"/>
                <a:gd name="T53" fmla="*/ 99223 h 3462"/>
                <a:gd name="T54" fmla="*/ 45992 w 2187"/>
                <a:gd name="T55" fmla="*/ 171843 h 3462"/>
                <a:gd name="T56" fmla="*/ 140850 w 2187"/>
                <a:gd name="T57" fmla="*/ 231161 h 3462"/>
                <a:gd name="T58" fmla="*/ 160612 w 2187"/>
                <a:gd name="T59" fmla="*/ 323553 h 3462"/>
                <a:gd name="T60" fmla="*/ 123244 w 2187"/>
                <a:gd name="T61" fmla="*/ 374243 h 3462"/>
                <a:gd name="T62" fmla="*/ 63598 w 2187"/>
                <a:gd name="T63" fmla="*/ 444705 h 3462"/>
                <a:gd name="T64" fmla="*/ 0 w 2187"/>
                <a:gd name="T65" fmla="*/ 537098 h 3462"/>
                <a:gd name="T66" fmla="*/ 24074 w 2187"/>
                <a:gd name="T67" fmla="*/ 598932 h 3462"/>
                <a:gd name="T68" fmla="*/ 50663 w 2187"/>
                <a:gd name="T69" fmla="*/ 695639 h 3462"/>
                <a:gd name="T70" fmla="*/ 100966 w 2187"/>
                <a:gd name="T71" fmla="*/ 752800 h 3462"/>
                <a:gd name="T72" fmla="*/ 109949 w 2187"/>
                <a:gd name="T73" fmla="*/ 823262 h 3462"/>
                <a:gd name="T74" fmla="*/ 127555 w 2187"/>
                <a:gd name="T75" fmla="*/ 889411 h 3462"/>
                <a:gd name="T76" fmla="*/ 252955 w 2187"/>
                <a:gd name="T77" fmla="*/ 924642 h 3462"/>
                <a:gd name="T78" fmla="*/ 329847 w 2187"/>
                <a:gd name="T79" fmla="*/ 948729 h 3462"/>
                <a:gd name="T80" fmla="*/ 407099 w 2187"/>
                <a:gd name="T81" fmla="*/ 995105 h 3462"/>
                <a:gd name="T82" fmla="*/ 389493 w 2187"/>
                <a:gd name="T83" fmla="*/ 1047952 h 3462"/>
                <a:gd name="T84" fmla="*/ 417879 w 2187"/>
                <a:gd name="T85" fmla="*/ 1096485 h 3462"/>
                <a:gd name="T86" fmla="*/ 492615 w 2187"/>
                <a:gd name="T87" fmla="*/ 1133873 h 3462"/>
                <a:gd name="T88" fmla="*/ 538966 w 2187"/>
                <a:gd name="T89" fmla="*/ 1151489 h 3462"/>
                <a:gd name="T90" fmla="*/ 589629 w 2187"/>
                <a:gd name="T91" fmla="*/ 1212964 h 3462"/>
                <a:gd name="T92" fmla="*/ 655742 w 2187"/>
                <a:gd name="T93" fmla="*/ 1237410 h 34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187" h="3462">
                  <a:moveTo>
                    <a:pt x="1826" y="3461"/>
                  </a:moveTo>
                  <a:cubicBezTo>
                    <a:pt x="1828" y="3398"/>
                    <a:pt x="1830" y="3335"/>
                    <a:pt x="1832" y="3271"/>
                  </a:cubicBezTo>
                  <a:cubicBezTo>
                    <a:pt x="1797" y="3251"/>
                    <a:pt x="1763" y="3231"/>
                    <a:pt x="1728" y="3210"/>
                  </a:cubicBezTo>
                  <a:cubicBezTo>
                    <a:pt x="1724" y="3161"/>
                    <a:pt x="1720" y="3112"/>
                    <a:pt x="1716" y="3063"/>
                  </a:cubicBezTo>
                  <a:cubicBezTo>
                    <a:pt x="1753" y="3035"/>
                    <a:pt x="1789" y="3006"/>
                    <a:pt x="1826" y="2977"/>
                  </a:cubicBezTo>
                  <a:cubicBezTo>
                    <a:pt x="1842" y="2939"/>
                    <a:pt x="1859" y="2900"/>
                    <a:pt x="1875" y="2861"/>
                  </a:cubicBezTo>
                  <a:cubicBezTo>
                    <a:pt x="1873" y="2827"/>
                    <a:pt x="1871" y="2792"/>
                    <a:pt x="1869" y="2757"/>
                  </a:cubicBezTo>
                  <a:cubicBezTo>
                    <a:pt x="1859" y="2719"/>
                    <a:pt x="1849" y="2680"/>
                    <a:pt x="1839" y="2641"/>
                  </a:cubicBezTo>
                  <a:cubicBezTo>
                    <a:pt x="1843" y="2623"/>
                    <a:pt x="1847" y="2604"/>
                    <a:pt x="1851" y="2585"/>
                  </a:cubicBezTo>
                  <a:cubicBezTo>
                    <a:pt x="1871" y="2547"/>
                    <a:pt x="1892" y="2508"/>
                    <a:pt x="1912" y="2469"/>
                  </a:cubicBezTo>
                  <a:cubicBezTo>
                    <a:pt x="1906" y="2435"/>
                    <a:pt x="1900" y="2400"/>
                    <a:pt x="1894" y="2365"/>
                  </a:cubicBezTo>
                  <a:cubicBezTo>
                    <a:pt x="1904" y="2335"/>
                    <a:pt x="1914" y="2304"/>
                    <a:pt x="1924" y="2273"/>
                  </a:cubicBezTo>
                  <a:cubicBezTo>
                    <a:pt x="1953" y="2231"/>
                    <a:pt x="1981" y="2188"/>
                    <a:pt x="2010" y="2145"/>
                  </a:cubicBezTo>
                  <a:cubicBezTo>
                    <a:pt x="2032" y="2100"/>
                    <a:pt x="2055" y="2055"/>
                    <a:pt x="2077" y="2010"/>
                  </a:cubicBezTo>
                  <a:cubicBezTo>
                    <a:pt x="2085" y="1967"/>
                    <a:pt x="2094" y="1924"/>
                    <a:pt x="2102" y="1881"/>
                  </a:cubicBezTo>
                  <a:cubicBezTo>
                    <a:pt x="2096" y="1841"/>
                    <a:pt x="2089" y="1800"/>
                    <a:pt x="2083" y="1759"/>
                  </a:cubicBezTo>
                  <a:cubicBezTo>
                    <a:pt x="2067" y="1716"/>
                    <a:pt x="2050" y="1673"/>
                    <a:pt x="2034" y="1630"/>
                  </a:cubicBezTo>
                  <a:cubicBezTo>
                    <a:pt x="2020" y="1582"/>
                    <a:pt x="2005" y="1534"/>
                    <a:pt x="1991" y="1486"/>
                  </a:cubicBezTo>
                  <a:cubicBezTo>
                    <a:pt x="1991" y="1485"/>
                    <a:pt x="1990" y="1484"/>
                    <a:pt x="1990" y="1482"/>
                  </a:cubicBezTo>
                  <a:cubicBezTo>
                    <a:pt x="1990" y="1460"/>
                    <a:pt x="1990" y="1438"/>
                    <a:pt x="1990" y="1415"/>
                  </a:cubicBezTo>
                  <a:cubicBezTo>
                    <a:pt x="2004" y="1397"/>
                    <a:pt x="2019" y="1379"/>
                    <a:pt x="2033" y="1360"/>
                  </a:cubicBezTo>
                  <a:cubicBezTo>
                    <a:pt x="2059" y="1354"/>
                    <a:pt x="2086" y="1348"/>
                    <a:pt x="2112" y="1341"/>
                  </a:cubicBezTo>
                  <a:cubicBezTo>
                    <a:pt x="2120" y="1321"/>
                    <a:pt x="2129" y="1301"/>
                    <a:pt x="2137" y="1280"/>
                  </a:cubicBezTo>
                  <a:cubicBezTo>
                    <a:pt x="2129" y="1246"/>
                    <a:pt x="2120" y="1211"/>
                    <a:pt x="2112" y="1176"/>
                  </a:cubicBezTo>
                  <a:cubicBezTo>
                    <a:pt x="2137" y="1131"/>
                    <a:pt x="2161" y="1086"/>
                    <a:pt x="2186" y="1041"/>
                  </a:cubicBezTo>
                  <a:cubicBezTo>
                    <a:pt x="2176" y="1009"/>
                    <a:pt x="2165" y="976"/>
                    <a:pt x="2155" y="943"/>
                  </a:cubicBezTo>
                  <a:cubicBezTo>
                    <a:pt x="2110" y="931"/>
                    <a:pt x="2065" y="919"/>
                    <a:pt x="2020" y="906"/>
                  </a:cubicBezTo>
                  <a:cubicBezTo>
                    <a:pt x="1994" y="941"/>
                    <a:pt x="1967" y="976"/>
                    <a:pt x="1941" y="1011"/>
                  </a:cubicBezTo>
                  <a:cubicBezTo>
                    <a:pt x="1902" y="1005"/>
                    <a:pt x="1863" y="999"/>
                    <a:pt x="1824" y="992"/>
                  </a:cubicBezTo>
                  <a:cubicBezTo>
                    <a:pt x="1802" y="1017"/>
                    <a:pt x="1779" y="1042"/>
                    <a:pt x="1757" y="1066"/>
                  </a:cubicBezTo>
                  <a:cubicBezTo>
                    <a:pt x="1753" y="1007"/>
                    <a:pt x="1749" y="948"/>
                    <a:pt x="1745" y="888"/>
                  </a:cubicBezTo>
                  <a:cubicBezTo>
                    <a:pt x="1723" y="870"/>
                    <a:pt x="1700" y="852"/>
                    <a:pt x="1678" y="833"/>
                  </a:cubicBezTo>
                  <a:cubicBezTo>
                    <a:pt x="1713" y="811"/>
                    <a:pt x="1747" y="789"/>
                    <a:pt x="1782" y="766"/>
                  </a:cubicBezTo>
                  <a:cubicBezTo>
                    <a:pt x="1776" y="727"/>
                    <a:pt x="1769" y="688"/>
                    <a:pt x="1763" y="649"/>
                  </a:cubicBezTo>
                  <a:cubicBezTo>
                    <a:pt x="1747" y="627"/>
                    <a:pt x="1730" y="605"/>
                    <a:pt x="1714" y="582"/>
                  </a:cubicBezTo>
                  <a:cubicBezTo>
                    <a:pt x="1683" y="572"/>
                    <a:pt x="1653" y="562"/>
                    <a:pt x="1622" y="551"/>
                  </a:cubicBezTo>
                  <a:cubicBezTo>
                    <a:pt x="1622" y="521"/>
                    <a:pt x="1622" y="491"/>
                    <a:pt x="1622" y="460"/>
                  </a:cubicBezTo>
                  <a:cubicBezTo>
                    <a:pt x="1606" y="460"/>
                    <a:pt x="1589" y="460"/>
                    <a:pt x="1573" y="460"/>
                  </a:cubicBezTo>
                  <a:cubicBezTo>
                    <a:pt x="1545" y="481"/>
                    <a:pt x="1516" y="501"/>
                    <a:pt x="1488" y="521"/>
                  </a:cubicBezTo>
                  <a:cubicBezTo>
                    <a:pt x="1478" y="507"/>
                    <a:pt x="1467" y="493"/>
                    <a:pt x="1457" y="478"/>
                  </a:cubicBezTo>
                  <a:cubicBezTo>
                    <a:pt x="1457" y="444"/>
                    <a:pt x="1457" y="409"/>
                    <a:pt x="1457" y="374"/>
                  </a:cubicBezTo>
                  <a:cubicBezTo>
                    <a:pt x="1424" y="352"/>
                    <a:pt x="1392" y="329"/>
                    <a:pt x="1359" y="306"/>
                  </a:cubicBezTo>
                  <a:cubicBezTo>
                    <a:pt x="1347" y="276"/>
                    <a:pt x="1334" y="246"/>
                    <a:pt x="1322" y="215"/>
                  </a:cubicBezTo>
                  <a:cubicBezTo>
                    <a:pt x="1275" y="238"/>
                    <a:pt x="1229" y="260"/>
                    <a:pt x="1182" y="282"/>
                  </a:cubicBezTo>
                  <a:cubicBezTo>
                    <a:pt x="1159" y="254"/>
                    <a:pt x="1137" y="225"/>
                    <a:pt x="1114" y="196"/>
                  </a:cubicBezTo>
                  <a:cubicBezTo>
                    <a:pt x="1090" y="217"/>
                    <a:pt x="1065" y="237"/>
                    <a:pt x="1041" y="257"/>
                  </a:cubicBezTo>
                  <a:cubicBezTo>
                    <a:pt x="1000" y="233"/>
                    <a:pt x="959" y="209"/>
                    <a:pt x="918" y="184"/>
                  </a:cubicBezTo>
                  <a:cubicBezTo>
                    <a:pt x="920" y="146"/>
                    <a:pt x="922" y="107"/>
                    <a:pt x="924" y="68"/>
                  </a:cubicBezTo>
                  <a:cubicBezTo>
                    <a:pt x="906" y="46"/>
                    <a:pt x="887" y="23"/>
                    <a:pt x="869" y="0"/>
                  </a:cubicBezTo>
                  <a:cubicBezTo>
                    <a:pt x="824" y="2"/>
                    <a:pt x="780" y="4"/>
                    <a:pt x="735" y="6"/>
                  </a:cubicBezTo>
                  <a:cubicBezTo>
                    <a:pt x="716" y="49"/>
                    <a:pt x="698" y="92"/>
                    <a:pt x="679" y="135"/>
                  </a:cubicBezTo>
                  <a:cubicBezTo>
                    <a:pt x="655" y="180"/>
                    <a:pt x="630" y="225"/>
                    <a:pt x="606" y="270"/>
                  </a:cubicBezTo>
                  <a:cubicBezTo>
                    <a:pt x="496" y="276"/>
                    <a:pt x="385" y="282"/>
                    <a:pt x="275" y="288"/>
                  </a:cubicBezTo>
                  <a:cubicBezTo>
                    <a:pt x="230" y="284"/>
                    <a:pt x="186" y="280"/>
                    <a:pt x="141" y="276"/>
                  </a:cubicBezTo>
                  <a:cubicBezTo>
                    <a:pt x="127" y="323"/>
                    <a:pt x="112" y="370"/>
                    <a:pt x="98" y="417"/>
                  </a:cubicBezTo>
                  <a:cubicBezTo>
                    <a:pt x="108" y="438"/>
                    <a:pt x="118" y="458"/>
                    <a:pt x="128" y="478"/>
                  </a:cubicBezTo>
                  <a:cubicBezTo>
                    <a:pt x="159" y="515"/>
                    <a:pt x="189" y="552"/>
                    <a:pt x="220" y="588"/>
                  </a:cubicBezTo>
                  <a:cubicBezTo>
                    <a:pt x="277" y="607"/>
                    <a:pt x="335" y="625"/>
                    <a:pt x="392" y="643"/>
                  </a:cubicBezTo>
                  <a:cubicBezTo>
                    <a:pt x="380" y="692"/>
                    <a:pt x="367" y="741"/>
                    <a:pt x="355" y="790"/>
                  </a:cubicBezTo>
                  <a:cubicBezTo>
                    <a:pt x="386" y="827"/>
                    <a:pt x="416" y="864"/>
                    <a:pt x="447" y="900"/>
                  </a:cubicBezTo>
                  <a:cubicBezTo>
                    <a:pt x="447" y="935"/>
                    <a:pt x="447" y="970"/>
                    <a:pt x="447" y="1004"/>
                  </a:cubicBezTo>
                  <a:cubicBezTo>
                    <a:pt x="412" y="1017"/>
                    <a:pt x="378" y="1029"/>
                    <a:pt x="343" y="1041"/>
                  </a:cubicBezTo>
                  <a:cubicBezTo>
                    <a:pt x="314" y="1045"/>
                    <a:pt x="286" y="1049"/>
                    <a:pt x="257" y="1053"/>
                  </a:cubicBezTo>
                  <a:cubicBezTo>
                    <a:pt x="230" y="1115"/>
                    <a:pt x="204" y="1176"/>
                    <a:pt x="177" y="1237"/>
                  </a:cubicBezTo>
                  <a:cubicBezTo>
                    <a:pt x="147" y="1274"/>
                    <a:pt x="116" y="1311"/>
                    <a:pt x="86" y="1347"/>
                  </a:cubicBezTo>
                  <a:cubicBezTo>
                    <a:pt x="57" y="1396"/>
                    <a:pt x="29" y="1445"/>
                    <a:pt x="0" y="1494"/>
                  </a:cubicBezTo>
                  <a:cubicBezTo>
                    <a:pt x="37" y="1529"/>
                    <a:pt x="73" y="1564"/>
                    <a:pt x="110" y="1598"/>
                  </a:cubicBezTo>
                  <a:cubicBezTo>
                    <a:pt x="96" y="1621"/>
                    <a:pt x="81" y="1644"/>
                    <a:pt x="67" y="1666"/>
                  </a:cubicBezTo>
                  <a:cubicBezTo>
                    <a:pt x="96" y="1699"/>
                    <a:pt x="124" y="1732"/>
                    <a:pt x="153" y="1764"/>
                  </a:cubicBezTo>
                  <a:cubicBezTo>
                    <a:pt x="149" y="1821"/>
                    <a:pt x="145" y="1878"/>
                    <a:pt x="141" y="1935"/>
                  </a:cubicBezTo>
                  <a:cubicBezTo>
                    <a:pt x="159" y="1954"/>
                    <a:pt x="178" y="1972"/>
                    <a:pt x="196" y="1990"/>
                  </a:cubicBezTo>
                  <a:cubicBezTo>
                    <a:pt x="224" y="2025"/>
                    <a:pt x="253" y="2060"/>
                    <a:pt x="281" y="2094"/>
                  </a:cubicBezTo>
                  <a:cubicBezTo>
                    <a:pt x="287" y="2121"/>
                    <a:pt x="294" y="2148"/>
                    <a:pt x="300" y="2174"/>
                  </a:cubicBezTo>
                  <a:cubicBezTo>
                    <a:pt x="302" y="2213"/>
                    <a:pt x="304" y="2252"/>
                    <a:pt x="306" y="2290"/>
                  </a:cubicBezTo>
                  <a:cubicBezTo>
                    <a:pt x="286" y="2346"/>
                    <a:pt x="265" y="2401"/>
                    <a:pt x="245" y="2456"/>
                  </a:cubicBezTo>
                  <a:cubicBezTo>
                    <a:pt x="282" y="2462"/>
                    <a:pt x="318" y="2468"/>
                    <a:pt x="355" y="2474"/>
                  </a:cubicBezTo>
                  <a:cubicBezTo>
                    <a:pt x="390" y="2466"/>
                    <a:pt x="424" y="2458"/>
                    <a:pt x="459" y="2449"/>
                  </a:cubicBezTo>
                  <a:cubicBezTo>
                    <a:pt x="541" y="2490"/>
                    <a:pt x="622" y="2531"/>
                    <a:pt x="704" y="2572"/>
                  </a:cubicBezTo>
                  <a:cubicBezTo>
                    <a:pt x="737" y="2572"/>
                    <a:pt x="769" y="2572"/>
                    <a:pt x="802" y="2572"/>
                  </a:cubicBezTo>
                  <a:cubicBezTo>
                    <a:pt x="841" y="2595"/>
                    <a:pt x="879" y="2617"/>
                    <a:pt x="918" y="2639"/>
                  </a:cubicBezTo>
                  <a:cubicBezTo>
                    <a:pt x="963" y="2641"/>
                    <a:pt x="1008" y="2643"/>
                    <a:pt x="1053" y="2645"/>
                  </a:cubicBezTo>
                  <a:cubicBezTo>
                    <a:pt x="1080" y="2686"/>
                    <a:pt x="1106" y="2727"/>
                    <a:pt x="1133" y="2768"/>
                  </a:cubicBezTo>
                  <a:cubicBezTo>
                    <a:pt x="1117" y="2799"/>
                    <a:pt x="1100" y="2830"/>
                    <a:pt x="1084" y="2860"/>
                  </a:cubicBezTo>
                  <a:cubicBezTo>
                    <a:pt x="1084" y="2879"/>
                    <a:pt x="1084" y="2897"/>
                    <a:pt x="1084" y="2915"/>
                  </a:cubicBezTo>
                  <a:cubicBezTo>
                    <a:pt x="1086" y="2956"/>
                    <a:pt x="1088" y="2997"/>
                    <a:pt x="1090" y="3037"/>
                  </a:cubicBezTo>
                  <a:cubicBezTo>
                    <a:pt x="1114" y="3042"/>
                    <a:pt x="1139" y="3046"/>
                    <a:pt x="1163" y="3050"/>
                  </a:cubicBezTo>
                  <a:cubicBezTo>
                    <a:pt x="1188" y="3089"/>
                    <a:pt x="1212" y="3128"/>
                    <a:pt x="1237" y="3166"/>
                  </a:cubicBezTo>
                  <a:cubicBezTo>
                    <a:pt x="1282" y="3162"/>
                    <a:pt x="1326" y="3158"/>
                    <a:pt x="1371" y="3154"/>
                  </a:cubicBezTo>
                  <a:cubicBezTo>
                    <a:pt x="1392" y="3171"/>
                    <a:pt x="1412" y="3187"/>
                    <a:pt x="1433" y="3203"/>
                  </a:cubicBezTo>
                  <a:cubicBezTo>
                    <a:pt x="1455" y="3203"/>
                    <a:pt x="1478" y="3203"/>
                    <a:pt x="1500" y="3203"/>
                  </a:cubicBezTo>
                  <a:cubicBezTo>
                    <a:pt x="1545" y="3242"/>
                    <a:pt x="1590" y="3281"/>
                    <a:pt x="1635" y="3319"/>
                  </a:cubicBezTo>
                  <a:cubicBezTo>
                    <a:pt x="1637" y="3338"/>
                    <a:pt x="1639" y="3356"/>
                    <a:pt x="1641" y="3374"/>
                  </a:cubicBezTo>
                  <a:cubicBezTo>
                    <a:pt x="1674" y="3376"/>
                    <a:pt x="1706" y="3378"/>
                    <a:pt x="1739" y="3380"/>
                  </a:cubicBezTo>
                  <a:cubicBezTo>
                    <a:pt x="1768" y="3401"/>
                    <a:pt x="1796" y="3422"/>
                    <a:pt x="1825" y="3442"/>
                  </a:cubicBezTo>
                  <a:cubicBezTo>
                    <a:pt x="1825" y="3449"/>
                    <a:pt x="1826" y="3455"/>
                    <a:pt x="1826" y="3461"/>
                  </a:cubicBezTo>
                </a:path>
              </a:pathLst>
            </a:custGeom>
            <a:solidFill>
              <a:srgbClr val="EC6602"/>
            </a:solidFill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89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1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43">
              <a:extLst>
                <a:ext uri="{FF2B5EF4-FFF2-40B4-BE49-F238E27FC236}">
                  <a16:creationId xmlns:a16="http://schemas.microsoft.com/office/drawing/2014/main" id="{E20FF981-5BB2-C5C9-A4E2-D58FEA7504C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0000">
              <a:off x="6022091" y="4684775"/>
              <a:ext cx="2331585" cy="1293283"/>
            </a:xfrm>
            <a:custGeom>
              <a:avLst/>
              <a:gdLst>
                <a:gd name="T0" fmla="*/ 2343007 w 8954"/>
                <a:gd name="T1" fmla="*/ 204731 h 4968"/>
                <a:gd name="T2" fmla="*/ 1959344 w 8954"/>
                <a:gd name="T3" fmla="*/ 244309 h 4968"/>
                <a:gd name="T4" fmla="*/ 1670697 w 8954"/>
                <a:gd name="T5" fmla="*/ 306196 h 4968"/>
                <a:gd name="T6" fmla="*/ 1443595 w 8954"/>
                <a:gd name="T7" fmla="*/ 464512 h 4968"/>
                <a:gd name="T8" fmla="*/ 1342460 w 8954"/>
                <a:gd name="T9" fmla="*/ 574973 h 4968"/>
                <a:gd name="T10" fmla="*/ 1243126 w 8954"/>
                <a:gd name="T11" fmla="*/ 544029 h 4968"/>
                <a:gd name="T12" fmla="*/ 981112 w 8954"/>
                <a:gd name="T13" fmla="*/ 592244 h 4968"/>
                <a:gd name="T14" fmla="*/ 914889 w 8954"/>
                <a:gd name="T15" fmla="*/ 409461 h 4968"/>
                <a:gd name="T16" fmla="*/ 701103 w 8954"/>
                <a:gd name="T17" fmla="*/ 378878 h 4968"/>
                <a:gd name="T18" fmla="*/ 535545 w 8954"/>
                <a:gd name="T19" fmla="*/ 383195 h 4968"/>
                <a:gd name="T20" fmla="*/ 377185 w 8954"/>
                <a:gd name="T21" fmla="*/ 321308 h 4968"/>
                <a:gd name="T22" fmla="*/ 425772 w 8954"/>
                <a:gd name="T23" fmla="*/ 467030 h 4968"/>
                <a:gd name="T24" fmla="*/ 330756 w 8954"/>
                <a:gd name="T25" fmla="*/ 676079 h 4968"/>
                <a:gd name="T26" fmla="*/ 167718 w 8954"/>
                <a:gd name="T27" fmla="*/ 823600 h 4968"/>
                <a:gd name="T28" fmla="*/ 132447 w 8954"/>
                <a:gd name="T29" fmla="*/ 931542 h 4968"/>
                <a:gd name="T30" fmla="*/ 64064 w 8954"/>
                <a:gd name="T31" fmla="*/ 1149586 h 4968"/>
                <a:gd name="T32" fmla="*/ 57585 w 8954"/>
                <a:gd name="T33" fmla="*/ 1328050 h 4968"/>
                <a:gd name="T34" fmla="*/ 39950 w 8954"/>
                <a:gd name="T35" fmla="*/ 1538898 h 4968"/>
                <a:gd name="T36" fmla="*/ 191831 w 8954"/>
                <a:gd name="T37" fmla="*/ 1405409 h 4968"/>
                <a:gd name="T38" fmla="*/ 313121 w 8954"/>
                <a:gd name="T39" fmla="*/ 1295308 h 4968"/>
                <a:gd name="T40" fmla="*/ 465362 w 8954"/>
                <a:gd name="T41" fmla="*/ 1398573 h 4968"/>
                <a:gd name="T42" fmla="*/ 630561 w 8954"/>
                <a:gd name="T43" fmla="*/ 1493562 h 4968"/>
                <a:gd name="T44" fmla="*/ 751490 w 8954"/>
                <a:gd name="T45" fmla="*/ 1607981 h 4968"/>
                <a:gd name="T46" fmla="*/ 917048 w 8954"/>
                <a:gd name="T47" fmla="*/ 1651877 h 4968"/>
                <a:gd name="T48" fmla="*/ 1123996 w 8954"/>
                <a:gd name="T49" fmla="*/ 1497880 h 4968"/>
                <a:gd name="T50" fmla="*/ 1401845 w 8954"/>
                <a:gd name="T51" fmla="*/ 1273000 h 4968"/>
                <a:gd name="T52" fmla="*/ 1600155 w 8954"/>
                <a:gd name="T53" fmla="*/ 1226944 h 4968"/>
                <a:gd name="T54" fmla="*/ 1899960 w 8954"/>
                <a:gd name="T55" fmla="*/ 1281995 h 4968"/>
                <a:gd name="T56" fmla="*/ 2263468 w 8954"/>
                <a:gd name="T57" fmla="*/ 1099213 h 4968"/>
                <a:gd name="T58" fmla="*/ 2235035 w 8954"/>
                <a:gd name="T59" fmla="*/ 962486 h 4968"/>
                <a:gd name="T60" fmla="*/ 2259149 w 8954"/>
                <a:gd name="T61" fmla="*/ 750919 h 4968"/>
                <a:gd name="T62" fmla="*/ 2497048 w 8954"/>
                <a:gd name="T63" fmla="*/ 656289 h 4968"/>
                <a:gd name="T64" fmla="*/ 2755103 w 8954"/>
                <a:gd name="T65" fmla="*/ 563819 h 4968"/>
                <a:gd name="T66" fmla="*/ 2847600 w 8954"/>
                <a:gd name="T67" fmla="*/ 416298 h 4968"/>
                <a:gd name="T68" fmla="*/ 2834283 w 8954"/>
                <a:gd name="T69" fmla="*/ 233155 h 4968"/>
                <a:gd name="T70" fmla="*/ 2686721 w 8954"/>
                <a:gd name="T71" fmla="*/ 162993 h 4968"/>
                <a:gd name="T72" fmla="*/ 2400233 w 8954"/>
                <a:gd name="T73" fmla="*/ 90312 h 4968"/>
                <a:gd name="T74" fmla="*/ 2748265 w 8954"/>
                <a:gd name="T75" fmla="*/ 147521 h 4968"/>
                <a:gd name="T76" fmla="*/ 2373960 w 8954"/>
                <a:gd name="T77" fmla="*/ 1075465 h 4968"/>
                <a:gd name="T78" fmla="*/ 2298739 w 8954"/>
                <a:gd name="T79" fmla="*/ 1198160 h 4968"/>
                <a:gd name="T80" fmla="*/ 2448821 w 8954"/>
                <a:gd name="T81" fmla="*/ 1398933 h 4968"/>
                <a:gd name="T82" fmla="*/ 2571910 w 8954"/>
                <a:gd name="T83" fmla="*/ 1583874 h 4968"/>
                <a:gd name="T84" fmla="*/ 2803331 w 8954"/>
                <a:gd name="T85" fmla="*/ 1773133 h 4968"/>
                <a:gd name="T86" fmla="*/ 2957732 w 8954"/>
                <a:gd name="T87" fmla="*/ 1718082 h 4968"/>
                <a:gd name="T88" fmla="*/ 3100976 w 8954"/>
                <a:gd name="T89" fmla="*/ 1586033 h 4968"/>
                <a:gd name="T90" fmla="*/ 3180156 w 8954"/>
                <a:gd name="T91" fmla="*/ 1509034 h 4968"/>
                <a:gd name="T92" fmla="*/ 3050229 w 8954"/>
                <a:gd name="T93" fmla="*/ 1293149 h 4968"/>
                <a:gd name="T94" fmla="*/ 2999481 w 8954"/>
                <a:gd name="T95" fmla="*/ 1114325 h 4968"/>
                <a:gd name="T96" fmla="*/ 2777058 w 8954"/>
                <a:gd name="T97" fmla="*/ 969322 h 4968"/>
                <a:gd name="T98" fmla="*/ 2594224 w 8954"/>
                <a:gd name="T99" fmla="*/ 969322 h 4968"/>
                <a:gd name="T100" fmla="*/ 2402392 w 8954"/>
                <a:gd name="T101" fmla="*/ 1097054 h 4968"/>
                <a:gd name="T102" fmla="*/ 39950 w 8954"/>
                <a:gd name="T103" fmla="*/ 1538898 h 496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954" h="4968">
                  <a:moveTo>
                    <a:pt x="6657" y="0"/>
                  </a:moveTo>
                  <a:cubicBezTo>
                    <a:pt x="6620" y="28"/>
                    <a:pt x="6583" y="57"/>
                    <a:pt x="6546" y="86"/>
                  </a:cubicBezTo>
                  <a:cubicBezTo>
                    <a:pt x="6503" y="110"/>
                    <a:pt x="6460" y="135"/>
                    <a:pt x="6418" y="159"/>
                  </a:cubicBezTo>
                  <a:cubicBezTo>
                    <a:pt x="6444" y="224"/>
                    <a:pt x="6470" y="289"/>
                    <a:pt x="6497" y="354"/>
                  </a:cubicBezTo>
                  <a:cubicBezTo>
                    <a:pt x="6501" y="426"/>
                    <a:pt x="6505" y="498"/>
                    <a:pt x="6510" y="569"/>
                  </a:cubicBezTo>
                  <a:cubicBezTo>
                    <a:pt x="6465" y="579"/>
                    <a:pt x="6420" y="589"/>
                    <a:pt x="6375" y="599"/>
                  </a:cubicBezTo>
                  <a:cubicBezTo>
                    <a:pt x="6258" y="585"/>
                    <a:pt x="6142" y="571"/>
                    <a:pt x="6026" y="557"/>
                  </a:cubicBezTo>
                  <a:cubicBezTo>
                    <a:pt x="6011" y="567"/>
                    <a:pt x="5997" y="577"/>
                    <a:pt x="5983" y="587"/>
                  </a:cubicBezTo>
                  <a:cubicBezTo>
                    <a:pt x="5956" y="577"/>
                    <a:pt x="5929" y="567"/>
                    <a:pt x="5903" y="557"/>
                  </a:cubicBezTo>
                  <a:cubicBezTo>
                    <a:pt x="5750" y="598"/>
                    <a:pt x="5597" y="639"/>
                    <a:pt x="5444" y="679"/>
                  </a:cubicBezTo>
                  <a:cubicBezTo>
                    <a:pt x="5436" y="712"/>
                    <a:pt x="5428" y="745"/>
                    <a:pt x="5420" y="777"/>
                  </a:cubicBezTo>
                  <a:cubicBezTo>
                    <a:pt x="5352" y="765"/>
                    <a:pt x="5285" y="753"/>
                    <a:pt x="5218" y="740"/>
                  </a:cubicBezTo>
                  <a:cubicBezTo>
                    <a:pt x="5109" y="751"/>
                    <a:pt x="5001" y="761"/>
                    <a:pt x="4893" y="771"/>
                  </a:cubicBezTo>
                  <a:cubicBezTo>
                    <a:pt x="4856" y="757"/>
                    <a:pt x="4819" y="743"/>
                    <a:pt x="4783" y="728"/>
                  </a:cubicBezTo>
                  <a:cubicBezTo>
                    <a:pt x="4736" y="769"/>
                    <a:pt x="4689" y="810"/>
                    <a:pt x="4642" y="851"/>
                  </a:cubicBezTo>
                  <a:cubicBezTo>
                    <a:pt x="4642" y="906"/>
                    <a:pt x="4642" y="961"/>
                    <a:pt x="4642" y="1016"/>
                  </a:cubicBezTo>
                  <a:cubicBezTo>
                    <a:pt x="4613" y="1049"/>
                    <a:pt x="4584" y="1082"/>
                    <a:pt x="4556" y="1114"/>
                  </a:cubicBezTo>
                  <a:cubicBezTo>
                    <a:pt x="4488" y="1122"/>
                    <a:pt x="4421" y="1130"/>
                    <a:pt x="4354" y="1138"/>
                  </a:cubicBezTo>
                  <a:cubicBezTo>
                    <a:pt x="4292" y="1124"/>
                    <a:pt x="4231" y="1110"/>
                    <a:pt x="4170" y="1095"/>
                  </a:cubicBezTo>
                  <a:cubicBezTo>
                    <a:pt x="4117" y="1161"/>
                    <a:pt x="4064" y="1226"/>
                    <a:pt x="4011" y="1291"/>
                  </a:cubicBezTo>
                  <a:cubicBezTo>
                    <a:pt x="4035" y="1298"/>
                    <a:pt x="4060" y="1304"/>
                    <a:pt x="4085" y="1310"/>
                  </a:cubicBezTo>
                  <a:cubicBezTo>
                    <a:pt x="4079" y="1341"/>
                    <a:pt x="4073" y="1371"/>
                    <a:pt x="4067" y="1401"/>
                  </a:cubicBezTo>
                  <a:cubicBezTo>
                    <a:pt x="4007" y="1399"/>
                    <a:pt x="3948" y="1397"/>
                    <a:pt x="3889" y="1395"/>
                  </a:cubicBezTo>
                  <a:cubicBezTo>
                    <a:pt x="3842" y="1438"/>
                    <a:pt x="3795" y="1481"/>
                    <a:pt x="3748" y="1524"/>
                  </a:cubicBezTo>
                  <a:cubicBezTo>
                    <a:pt x="3742" y="1549"/>
                    <a:pt x="3736" y="1574"/>
                    <a:pt x="3730" y="1598"/>
                  </a:cubicBezTo>
                  <a:cubicBezTo>
                    <a:pt x="3699" y="1623"/>
                    <a:pt x="3668" y="1647"/>
                    <a:pt x="3638" y="1671"/>
                  </a:cubicBezTo>
                  <a:cubicBezTo>
                    <a:pt x="3603" y="1665"/>
                    <a:pt x="3568" y="1659"/>
                    <a:pt x="3534" y="1653"/>
                  </a:cubicBezTo>
                  <a:cubicBezTo>
                    <a:pt x="3556" y="1616"/>
                    <a:pt x="3578" y="1579"/>
                    <a:pt x="3601" y="1542"/>
                  </a:cubicBezTo>
                  <a:cubicBezTo>
                    <a:pt x="3580" y="1526"/>
                    <a:pt x="3560" y="1510"/>
                    <a:pt x="3540" y="1493"/>
                  </a:cubicBezTo>
                  <a:cubicBezTo>
                    <a:pt x="3511" y="1500"/>
                    <a:pt x="3482" y="1506"/>
                    <a:pt x="3454" y="1512"/>
                  </a:cubicBezTo>
                  <a:cubicBezTo>
                    <a:pt x="3411" y="1524"/>
                    <a:pt x="3368" y="1536"/>
                    <a:pt x="3326" y="1548"/>
                  </a:cubicBezTo>
                  <a:cubicBezTo>
                    <a:pt x="3277" y="1602"/>
                    <a:pt x="3228" y="1655"/>
                    <a:pt x="3179" y="1708"/>
                  </a:cubicBezTo>
                  <a:cubicBezTo>
                    <a:pt x="3119" y="1702"/>
                    <a:pt x="3060" y="1696"/>
                    <a:pt x="3001" y="1689"/>
                  </a:cubicBezTo>
                  <a:cubicBezTo>
                    <a:pt x="2956" y="1702"/>
                    <a:pt x="2911" y="1714"/>
                    <a:pt x="2866" y="1726"/>
                  </a:cubicBezTo>
                  <a:cubicBezTo>
                    <a:pt x="2819" y="1700"/>
                    <a:pt x="2772" y="1673"/>
                    <a:pt x="2726" y="1646"/>
                  </a:cubicBezTo>
                  <a:cubicBezTo>
                    <a:pt x="2746" y="1618"/>
                    <a:pt x="2766" y="1590"/>
                    <a:pt x="2787" y="1561"/>
                  </a:cubicBezTo>
                  <a:cubicBezTo>
                    <a:pt x="2715" y="1469"/>
                    <a:pt x="2643" y="1377"/>
                    <a:pt x="2572" y="1285"/>
                  </a:cubicBezTo>
                  <a:cubicBezTo>
                    <a:pt x="2529" y="1290"/>
                    <a:pt x="2486" y="1294"/>
                    <a:pt x="2444" y="1298"/>
                  </a:cubicBezTo>
                  <a:cubicBezTo>
                    <a:pt x="2431" y="1276"/>
                    <a:pt x="2419" y="1253"/>
                    <a:pt x="2407" y="1230"/>
                  </a:cubicBezTo>
                  <a:cubicBezTo>
                    <a:pt x="2452" y="1200"/>
                    <a:pt x="2497" y="1169"/>
                    <a:pt x="2542" y="1138"/>
                  </a:cubicBezTo>
                  <a:cubicBezTo>
                    <a:pt x="2505" y="1106"/>
                    <a:pt x="2468" y="1073"/>
                    <a:pt x="2432" y="1040"/>
                  </a:cubicBezTo>
                  <a:cubicBezTo>
                    <a:pt x="2360" y="1069"/>
                    <a:pt x="2288" y="1098"/>
                    <a:pt x="2217" y="1126"/>
                  </a:cubicBezTo>
                  <a:cubicBezTo>
                    <a:pt x="2176" y="1126"/>
                    <a:pt x="2135" y="1126"/>
                    <a:pt x="2095" y="1126"/>
                  </a:cubicBezTo>
                  <a:cubicBezTo>
                    <a:pt x="2086" y="1100"/>
                    <a:pt x="2078" y="1073"/>
                    <a:pt x="2070" y="1046"/>
                  </a:cubicBezTo>
                  <a:cubicBezTo>
                    <a:pt x="2029" y="1049"/>
                    <a:pt x="1988" y="1051"/>
                    <a:pt x="1948" y="1053"/>
                  </a:cubicBezTo>
                  <a:cubicBezTo>
                    <a:pt x="1919" y="1018"/>
                    <a:pt x="1890" y="983"/>
                    <a:pt x="1862" y="948"/>
                  </a:cubicBezTo>
                  <a:cubicBezTo>
                    <a:pt x="1805" y="950"/>
                    <a:pt x="1748" y="952"/>
                    <a:pt x="1691" y="954"/>
                  </a:cubicBezTo>
                  <a:cubicBezTo>
                    <a:pt x="1658" y="936"/>
                    <a:pt x="1625" y="918"/>
                    <a:pt x="1593" y="899"/>
                  </a:cubicBezTo>
                  <a:cubicBezTo>
                    <a:pt x="1560" y="930"/>
                    <a:pt x="1527" y="961"/>
                    <a:pt x="1495" y="991"/>
                  </a:cubicBezTo>
                  <a:cubicBezTo>
                    <a:pt x="1492" y="1016"/>
                    <a:pt x="1490" y="1041"/>
                    <a:pt x="1488" y="1065"/>
                  </a:cubicBezTo>
                  <a:cubicBezTo>
                    <a:pt x="1433" y="1065"/>
                    <a:pt x="1378" y="1065"/>
                    <a:pt x="1323" y="1065"/>
                  </a:cubicBezTo>
                  <a:cubicBezTo>
                    <a:pt x="1280" y="1037"/>
                    <a:pt x="1237" y="1008"/>
                    <a:pt x="1195" y="979"/>
                  </a:cubicBezTo>
                  <a:cubicBezTo>
                    <a:pt x="1203" y="953"/>
                    <a:pt x="1211" y="926"/>
                    <a:pt x="1219" y="899"/>
                  </a:cubicBezTo>
                  <a:cubicBezTo>
                    <a:pt x="1217" y="881"/>
                    <a:pt x="1215" y="863"/>
                    <a:pt x="1213" y="844"/>
                  </a:cubicBezTo>
                  <a:cubicBezTo>
                    <a:pt x="1158" y="861"/>
                    <a:pt x="1103" y="877"/>
                    <a:pt x="1048" y="893"/>
                  </a:cubicBezTo>
                  <a:cubicBezTo>
                    <a:pt x="1074" y="926"/>
                    <a:pt x="1100" y="959"/>
                    <a:pt x="1127" y="991"/>
                  </a:cubicBezTo>
                  <a:cubicBezTo>
                    <a:pt x="1106" y="1022"/>
                    <a:pt x="1086" y="1053"/>
                    <a:pt x="1066" y="1083"/>
                  </a:cubicBezTo>
                  <a:cubicBezTo>
                    <a:pt x="1080" y="1110"/>
                    <a:pt x="1095" y="1137"/>
                    <a:pt x="1109" y="1163"/>
                  </a:cubicBezTo>
                  <a:cubicBezTo>
                    <a:pt x="1097" y="1188"/>
                    <a:pt x="1084" y="1212"/>
                    <a:pt x="1072" y="1236"/>
                  </a:cubicBezTo>
                  <a:cubicBezTo>
                    <a:pt x="1109" y="1257"/>
                    <a:pt x="1146" y="1278"/>
                    <a:pt x="1183" y="1298"/>
                  </a:cubicBezTo>
                  <a:cubicBezTo>
                    <a:pt x="1193" y="1378"/>
                    <a:pt x="1203" y="1457"/>
                    <a:pt x="1213" y="1536"/>
                  </a:cubicBezTo>
                  <a:cubicBezTo>
                    <a:pt x="1168" y="1591"/>
                    <a:pt x="1123" y="1646"/>
                    <a:pt x="1078" y="1701"/>
                  </a:cubicBezTo>
                  <a:cubicBezTo>
                    <a:pt x="1074" y="1732"/>
                    <a:pt x="1070" y="1763"/>
                    <a:pt x="1066" y="1793"/>
                  </a:cubicBezTo>
                  <a:cubicBezTo>
                    <a:pt x="1046" y="1791"/>
                    <a:pt x="1025" y="1789"/>
                    <a:pt x="1005" y="1787"/>
                  </a:cubicBezTo>
                  <a:cubicBezTo>
                    <a:pt x="976" y="1818"/>
                    <a:pt x="948" y="1849"/>
                    <a:pt x="919" y="1879"/>
                  </a:cubicBezTo>
                  <a:cubicBezTo>
                    <a:pt x="929" y="1894"/>
                    <a:pt x="940" y="1908"/>
                    <a:pt x="950" y="1922"/>
                  </a:cubicBezTo>
                  <a:cubicBezTo>
                    <a:pt x="891" y="1998"/>
                    <a:pt x="831" y="2073"/>
                    <a:pt x="772" y="2148"/>
                  </a:cubicBezTo>
                  <a:cubicBezTo>
                    <a:pt x="743" y="2148"/>
                    <a:pt x="715" y="2148"/>
                    <a:pt x="686" y="2148"/>
                  </a:cubicBezTo>
                  <a:cubicBezTo>
                    <a:pt x="658" y="2177"/>
                    <a:pt x="629" y="2206"/>
                    <a:pt x="601" y="2234"/>
                  </a:cubicBezTo>
                  <a:cubicBezTo>
                    <a:pt x="556" y="2253"/>
                    <a:pt x="511" y="2271"/>
                    <a:pt x="466" y="2289"/>
                  </a:cubicBezTo>
                  <a:cubicBezTo>
                    <a:pt x="435" y="2283"/>
                    <a:pt x="405" y="2277"/>
                    <a:pt x="374" y="2271"/>
                  </a:cubicBezTo>
                  <a:cubicBezTo>
                    <a:pt x="342" y="2281"/>
                    <a:pt x="309" y="2291"/>
                    <a:pt x="277" y="2301"/>
                  </a:cubicBezTo>
                  <a:cubicBezTo>
                    <a:pt x="277" y="2304"/>
                    <a:pt x="276" y="2306"/>
                    <a:pt x="276" y="2308"/>
                  </a:cubicBezTo>
                  <a:cubicBezTo>
                    <a:pt x="290" y="2357"/>
                    <a:pt x="305" y="2406"/>
                    <a:pt x="319" y="2455"/>
                  </a:cubicBezTo>
                  <a:cubicBezTo>
                    <a:pt x="335" y="2500"/>
                    <a:pt x="352" y="2545"/>
                    <a:pt x="368" y="2589"/>
                  </a:cubicBezTo>
                  <a:cubicBezTo>
                    <a:pt x="374" y="2630"/>
                    <a:pt x="380" y="2671"/>
                    <a:pt x="386" y="2712"/>
                  </a:cubicBezTo>
                  <a:cubicBezTo>
                    <a:pt x="378" y="2755"/>
                    <a:pt x="370" y="2798"/>
                    <a:pt x="362" y="2840"/>
                  </a:cubicBezTo>
                  <a:cubicBezTo>
                    <a:pt x="340" y="2885"/>
                    <a:pt x="317" y="2930"/>
                    <a:pt x="295" y="2975"/>
                  </a:cubicBezTo>
                  <a:cubicBezTo>
                    <a:pt x="266" y="3018"/>
                    <a:pt x="238" y="3061"/>
                    <a:pt x="209" y="3104"/>
                  </a:cubicBezTo>
                  <a:cubicBezTo>
                    <a:pt x="199" y="3135"/>
                    <a:pt x="188" y="3165"/>
                    <a:pt x="178" y="3195"/>
                  </a:cubicBezTo>
                  <a:cubicBezTo>
                    <a:pt x="184" y="3230"/>
                    <a:pt x="191" y="3265"/>
                    <a:pt x="197" y="3300"/>
                  </a:cubicBezTo>
                  <a:cubicBezTo>
                    <a:pt x="176" y="3339"/>
                    <a:pt x="156" y="3378"/>
                    <a:pt x="135" y="3416"/>
                  </a:cubicBezTo>
                  <a:cubicBezTo>
                    <a:pt x="131" y="3435"/>
                    <a:pt x="127" y="3453"/>
                    <a:pt x="123" y="3471"/>
                  </a:cubicBezTo>
                  <a:cubicBezTo>
                    <a:pt x="133" y="3510"/>
                    <a:pt x="144" y="3549"/>
                    <a:pt x="154" y="3587"/>
                  </a:cubicBezTo>
                  <a:cubicBezTo>
                    <a:pt x="156" y="3622"/>
                    <a:pt x="158" y="3657"/>
                    <a:pt x="160" y="3691"/>
                  </a:cubicBezTo>
                  <a:cubicBezTo>
                    <a:pt x="144" y="3730"/>
                    <a:pt x="127" y="3769"/>
                    <a:pt x="111" y="3808"/>
                  </a:cubicBezTo>
                  <a:cubicBezTo>
                    <a:pt x="74" y="3837"/>
                    <a:pt x="37" y="3866"/>
                    <a:pt x="0" y="3894"/>
                  </a:cubicBezTo>
                  <a:cubicBezTo>
                    <a:pt x="4" y="3943"/>
                    <a:pt x="9" y="3992"/>
                    <a:pt x="13" y="4041"/>
                  </a:cubicBezTo>
                  <a:cubicBezTo>
                    <a:pt x="48" y="4062"/>
                    <a:pt x="82" y="4082"/>
                    <a:pt x="117" y="4102"/>
                  </a:cubicBezTo>
                  <a:cubicBezTo>
                    <a:pt x="115" y="4161"/>
                    <a:pt x="113" y="4219"/>
                    <a:pt x="111" y="4277"/>
                  </a:cubicBezTo>
                  <a:cubicBezTo>
                    <a:pt x="158" y="4278"/>
                    <a:pt x="205" y="4279"/>
                    <a:pt x="252" y="4279"/>
                  </a:cubicBezTo>
                  <a:cubicBezTo>
                    <a:pt x="289" y="4251"/>
                    <a:pt x="325" y="4223"/>
                    <a:pt x="362" y="4194"/>
                  </a:cubicBezTo>
                  <a:cubicBezTo>
                    <a:pt x="405" y="4182"/>
                    <a:pt x="448" y="4170"/>
                    <a:pt x="491" y="4157"/>
                  </a:cubicBezTo>
                  <a:cubicBezTo>
                    <a:pt x="493" y="4116"/>
                    <a:pt x="495" y="4075"/>
                    <a:pt x="497" y="4034"/>
                  </a:cubicBezTo>
                  <a:cubicBezTo>
                    <a:pt x="509" y="3992"/>
                    <a:pt x="521" y="3949"/>
                    <a:pt x="533" y="3906"/>
                  </a:cubicBezTo>
                  <a:cubicBezTo>
                    <a:pt x="588" y="3916"/>
                    <a:pt x="644" y="3926"/>
                    <a:pt x="699" y="3936"/>
                  </a:cubicBezTo>
                  <a:cubicBezTo>
                    <a:pt x="715" y="3930"/>
                    <a:pt x="731" y="3924"/>
                    <a:pt x="747" y="3918"/>
                  </a:cubicBezTo>
                  <a:cubicBezTo>
                    <a:pt x="741" y="3894"/>
                    <a:pt x="735" y="3869"/>
                    <a:pt x="729" y="3844"/>
                  </a:cubicBezTo>
                  <a:cubicBezTo>
                    <a:pt x="754" y="3824"/>
                    <a:pt x="778" y="3804"/>
                    <a:pt x="803" y="3783"/>
                  </a:cubicBezTo>
                  <a:cubicBezTo>
                    <a:pt x="825" y="3722"/>
                    <a:pt x="848" y="3661"/>
                    <a:pt x="870" y="3600"/>
                  </a:cubicBezTo>
                  <a:cubicBezTo>
                    <a:pt x="886" y="3602"/>
                    <a:pt x="903" y="3604"/>
                    <a:pt x="919" y="3606"/>
                  </a:cubicBezTo>
                  <a:cubicBezTo>
                    <a:pt x="937" y="3600"/>
                    <a:pt x="956" y="3594"/>
                    <a:pt x="974" y="3587"/>
                  </a:cubicBezTo>
                  <a:cubicBezTo>
                    <a:pt x="1021" y="3618"/>
                    <a:pt x="1068" y="3649"/>
                    <a:pt x="1115" y="3679"/>
                  </a:cubicBezTo>
                  <a:cubicBezTo>
                    <a:pt x="1121" y="3706"/>
                    <a:pt x="1127" y="3733"/>
                    <a:pt x="1133" y="3759"/>
                  </a:cubicBezTo>
                  <a:cubicBezTo>
                    <a:pt x="1186" y="3802"/>
                    <a:pt x="1239" y="3845"/>
                    <a:pt x="1293" y="3887"/>
                  </a:cubicBezTo>
                  <a:cubicBezTo>
                    <a:pt x="1268" y="3951"/>
                    <a:pt x="1243" y="4014"/>
                    <a:pt x="1219" y="4077"/>
                  </a:cubicBezTo>
                  <a:cubicBezTo>
                    <a:pt x="1225" y="4100"/>
                    <a:pt x="1231" y="4122"/>
                    <a:pt x="1238" y="4144"/>
                  </a:cubicBezTo>
                  <a:cubicBezTo>
                    <a:pt x="1278" y="4173"/>
                    <a:pt x="1319" y="4202"/>
                    <a:pt x="1360" y="4230"/>
                  </a:cubicBezTo>
                  <a:cubicBezTo>
                    <a:pt x="1429" y="4235"/>
                    <a:pt x="1498" y="4239"/>
                    <a:pt x="1568" y="4243"/>
                  </a:cubicBezTo>
                  <a:cubicBezTo>
                    <a:pt x="1629" y="4213"/>
                    <a:pt x="1690" y="4182"/>
                    <a:pt x="1752" y="4151"/>
                  </a:cubicBezTo>
                  <a:cubicBezTo>
                    <a:pt x="1809" y="4153"/>
                    <a:pt x="1866" y="4155"/>
                    <a:pt x="1923" y="4157"/>
                  </a:cubicBezTo>
                  <a:cubicBezTo>
                    <a:pt x="1953" y="4188"/>
                    <a:pt x="1984" y="4219"/>
                    <a:pt x="2015" y="4249"/>
                  </a:cubicBezTo>
                  <a:cubicBezTo>
                    <a:pt x="2062" y="4261"/>
                    <a:pt x="2109" y="4273"/>
                    <a:pt x="2156" y="4285"/>
                  </a:cubicBezTo>
                  <a:cubicBezTo>
                    <a:pt x="2162" y="4310"/>
                    <a:pt x="2168" y="4335"/>
                    <a:pt x="2174" y="4359"/>
                  </a:cubicBezTo>
                  <a:cubicBezTo>
                    <a:pt x="2145" y="4396"/>
                    <a:pt x="2116" y="4433"/>
                    <a:pt x="2088" y="4469"/>
                  </a:cubicBezTo>
                  <a:cubicBezTo>
                    <a:pt x="2114" y="4476"/>
                    <a:pt x="2141" y="4482"/>
                    <a:pt x="2168" y="4488"/>
                  </a:cubicBezTo>
                  <a:cubicBezTo>
                    <a:pt x="2198" y="4474"/>
                    <a:pt x="2229" y="4459"/>
                    <a:pt x="2260" y="4444"/>
                  </a:cubicBezTo>
                  <a:cubicBezTo>
                    <a:pt x="2280" y="4469"/>
                    <a:pt x="2300" y="4494"/>
                    <a:pt x="2321" y="4518"/>
                  </a:cubicBezTo>
                  <a:cubicBezTo>
                    <a:pt x="2366" y="4522"/>
                    <a:pt x="2411" y="4526"/>
                    <a:pt x="2456" y="4530"/>
                  </a:cubicBezTo>
                  <a:cubicBezTo>
                    <a:pt x="2486" y="4551"/>
                    <a:pt x="2517" y="4571"/>
                    <a:pt x="2548" y="4591"/>
                  </a:cubicBezTo>
                  <a:cubicBezTo>
                    <a:pt x="2625" y="4573"/>
                    <a:pt x="2703" y="4555"/>
                    <a:pt x="2781" y="4536"/>
                  </a:cubicBezTo>
                  <a:cubicBezTo>
                    <a:pt x="2844" y="4551"/>
                    <a:pt x="2907" y="4565"/>
                    <a:pt x="2970" y="4579"/>
                  </a:cubicBezTo>
                  <a:cubicBezTo>
                    <a:pt x="2982" y="4534"/>
                    <a:pt x="2994" y="4489"/>
                    <a:pt x="3007" y="4444"/>
                  </a:cubicBezTo>
                  <a:cubicBezTo>
                    <a:pt x="3045" y="4410"/>
                    <a:pt x="3084" y="4376"/>
                    <a:pt x="3123" y="4341"/>
                  </a:cubicBezTo>
                  <a:cubicBezTo>
                    <a:pt x="3123" y="4282"/>
                    <a:pt x="3123" y="4223"/>
                    <a:pt x="3123" y="4163"/>
                  </a:cubicBezTo>
                  <a:cubicBezTo>
                    <a:pt x="3149" y="4137"/>
                    <a:pt x="3176" y="4110"/>
                    <a:pt x="3203" y="4083"/>
                  </a:cubicBezTo>
                  <a:cubicBezTo>
                    <a:pt x="3196" y="4030"/>
                    <a:pt x="3190" y="3977"/>
                    <a:pt x="3184" y="3924"/>
                  </a:cubicBezTo>
                  <a:cubicBezTo>
                    <a:pt x="3266" y="3828"/>
                    <a:pt x="3348" y="3732"/>
                    <a:pt x="3430" y="3636"/>
                  </a:cubicBezTo>
                  <a:cubicBezTo>
                    <a:pt x="3505" y="3630"/>
                    <a:pt x="3580" y="3624"/>
                    <a:pt x="3656" y="3618"/>
                  </a:cubicBezTo>
                  <a:cubicBezTo>
                    <a:pt x="3735" y="3592"/>
                    <a:pt x="3815" y="3565"/>
                    <a:pt x="3895" y="3538"/>
                  </a:cubicBezTo>
                  <a:cubicBezTo>
                    <a:pt x="3942" y="3547"/>
                    <a:pt x="3989" y="3555"/>
                    <a:pt x="4036" y="3563"/>
                  </a:cubicBezTo>
                  <a:cubicBezTo>
                    <a:pt x="4062" y="3582"/>
                    <a:pt x="4088" y="3600"/>
                    <a:pt x="4115" y="3618"/>
                  </a:cubicBezTo>
                  <a:cubicBezTo>
                    <a:pt x="4156" y="3608"/>
                    <a:pt x="4197" y="3598"/>
                    <a:pt x="4238" y="3587"/>
                  </a:cubicBezTo>
                  <a:cubicBezTo>
                    <a:pt x="4282" y="3528"/>
                    <a:pt x="4327" y="3469"/>
                    <a:pt x="4372" y="3410"/>
                  </a:cubicBezTo>
                  <a:cubicBezTo>
                    <a:pt x="4396" y="3410"/>
                    <a:pt x="4421" y="3410"/>
                    <a:pt x="4446" y="3410"/>
                  </a:cubicBezTo>
                  <a:cubicBezTo>
                    <a:pt x="4480" y="3441"/>
                    <a:pt x="4515" y="3472"/>
                    <a:pt x="4550" y="3502"/>
                  </a:cubicBezTo>
                  <a:cubicBezTo>
                    <a:pt x="4627" y="3470"/>
                    <a:pt x="4705" y="3437"/>
                    <a:pt x="4783" y="3404"/>
                  </a:cubicBezTo>
                  <a:cubicBezTo>
                    <a:pt x="4887" y="3435"/>
                    <a:pt x="4991" y="3466"/>
                    <a:pt x="5095" y="3496"/>
                  </a:cubicBezTo>
                  <a:cubicBezTo>
                    <a:pt x="5117" y="3519"/>
                    <a:pt x="5140" y="3541"/>
                    <a:pt x="5163" y="3563"/>
                  </a:cubicBezTo>
                  <a:cubicBezTo>
                    <a:pt x="5201" y="3563"/>
                    <a:pt x="5240" y="3563"/>
                    <a:pt x="5279" y="3563"/>
                  </a:cubicBezTo>
                  <a:cubicBezTo>
                    <a:pt x="5283" y="3537"/>
                    <a:pt x="5287" y="3510"/>
                    <a:pt x="5291" y="3483"/>
                  </a:cubicBezTo>
                  <a:cubicBezTo>
                    <a:pt x="5352" y="3477"/>
                    <a:pt x="5413" y="3471"/>
                    <a:pt x="5475" y="3465"/>
                  </a:cubicBezTo>
                  <a:cubicBezTo>
                    <a:pt x="5595" y="3396"/>
                    <a:pt x="5715" y="3327"/>
                    <a:pt x="5836" y="3257"/>
                  </a:cubicBezTo>
                  <a:cubicBezTo>
                    <a:pt x="5954" y="3227"/>
                    <a:pt x="6072" y="3196"/>
                    <a:pt x="6191" y="3165"/>
                  </a:cubicBezTo>
                  <a:cubicBezTo>
                    <a:pt x="6223" y="3129"/>
                    <a:pt x="6256" y="3092"/>
                    <a:pt x="6289" y="3055"/>
                  </a:cubicBezTo>
                  <a:cubicBezTo>
                    <a:pt x="6311" y="3050"/>
                    <a:pt x="6334" y="3045"/>
                    <a:pt x="6357" y="3040"/>
                  </a:cubicBezTo>
                  <a:cubicBezTo>
                    <a:pt x="6357" y="2998"/>
                    <a:pt x="6357" y="2956"/>
                    <a:pt x="6357" y="2914"/>
                  </a:cubicBezTo>
                  <a:cubicBezTo>
                    <a:pt x="6354" y="2865"/>
                    <a:pt x="6352" y="2816"/>
                    <a:pt x="6350" y="2767"/>
                  </a:cubicBezTo>
                  <a:cubicBezTo>
                    <a:pt x="6333" y="2749"/>
                    <a:pt x="6317" y="2731"/>
                    <a:pt x="6301" y="2712"/>
                  </a:cubicBezTo>
                  <a:cubicBezTo>
                    <a:pt x="6270" y="2700"/>
                    <a:pt x="6240" y="2688"/>
                    <a:pt x="6210" y="2675"/>
                  </a:cubicBezTo>
                  <a:cubicBezTo>
                    <a:pt x="6205" y="2628"/>
                    <a:pt x="6201" y="2581"/>
                    <a:pt x="6197" y="2534"/>
                  </a:cubicBezTo>
                  <a:cubicBezTo>
                    <a:pt x="6195" y="2475"/>
                    <a:pt x="6193" y="2416"/>
                    <a:pt x="6191" y="2357"/>
                  </a:cubicBezTo>
                  <a:cubicBezTo>
                    <a:pt x="6205" y="2331"/>
                    <a:pt x="6219" y="2304"/>
                    <a:pt x="6234" y="2277"/>
                  </a:cubicBezTo>
                  <a:cubicBezTo>
                    <a:pt x="6221" y="2228"/>
                    <a:pt x="6209" y="2179"/>
                    <a:pt x="6197" y="2130"/>
                  </a:cubicBezTo>
                  <a:cubicBezTo>
                    <a:pt x="6223" y="2116"/>
                    <a:pt x="6250" y="2102"/>
                    <a:pt x="6277" y="2087"/>
                  </a:cubicBezTo>
                  <a:cubicBezTo>
                    <a:pt x="6334" y="2092"/>
                    <a:pt x="6391" y="2096"/>
                    <a:pt x="6448" y="2100"/>
                  </a:cubicBezTo>
                  <a:cubicBezTo>
                    <a:pt x="6493" y="2076"/>
                    <a:pt x="6538" y="2051"/>
                    <a:pt x="6583" y="2026"/>
                  </a:cubicBezTo>
                  <a:cubicBezTo>
                    <a:pt x="6642" y="2000"/>
                    <a:pt x="6701" y="1974"/>
                    <a:pt x="6761" y="1947"/>
                  </a:cubicBezTo>
                  <a:cubicBezTo>
                    <a:pt x="6797" y="1914"/>
                    <a:pt x="6834" y="1881"/>
                    <a:pt x="6871" y="1848"/>
                  </a:cubicBezTo>
                  <a:cubicBezTo>
                    <a:pt x="6893" y="1840"/>
                    <a:pt x="6915" y="1832"/>
                    <a:pt x="6938" y="1824"/>
                  </a:cubicBezTo>
                  <a:cubicBezTo>
                    <a:pt x="6989" y="1859"/>
                    <a:pt x="7040" y="1894"/>
                    <a:pt x="7091" y="1928"/>
                  </a:cubicBezTo>
                  <a:cubicBezTo>
                    <a:pt x="7185" y="1892"/>
                    <a:pt x="7279" y="1855"/>
                    <a:pt x="7373" y="1818"/>
                  </a:cubicBezTo>
                  <a:cubicBezTo>
                    <a:pt x="7371" y="1788"/>
                    <a:pt x="7369" y="1757"/>
                    <a:pt x="7367" y="1726"/>
                  </a:cubicBezTo>
                  <a:cubicBezTo>
                    <a:pt x="7422" y="1673"/>
                    <a:pt x="7477" y="1620"/>
                    <a:pt x="7532" y="1567"/>
                  </a:cubicBezTo>
                  <a:cubicBezTo>
                    <a:pt x="7573" y="1567"/>
                    <a:pt x="7614" y="1567"/>
                    <a:pt x="7655" y="1567"/>
                  </a:cubicBezTo>
                  <a:cubicBezTo>
                    <a:pt x="7681" y="1555"/>
                    <a:pt x="7707" y="1543"/>
                    <a:pt x="7734" y="1530"/>
                  </a:cubicBezTo>
                  <a:cubicBezTo>
                    <a:pt x="7756" y="1500"/>
                    <a:pt x="7778" y="1469"/>
                    <a:pt x="7801" y="1438"/>
                  </a:cubicBezTo>
                  <a:cubicBezTo>
                    <a:pt x="7811" y="1404"/>
                    <a:pt x="7821" y="1369"/>
                    <a:pt x="7832" y="1334"/>
                  </a:cubicBezTo>
                  <a:cubicBezTo>
                    <a:pt x="7840" y="1300"/>
                    <a:pt x="7848" y="1265"/>
                    <a:pt x="7856" y="1230"/>
                  </a:cubicBezTo>
                  <a:cubicBezTo>
                    <a:pt x="7874" y="1206"/>
                    <a:pt x="7893" y="1182"/>
                    <a:pt x="7912" y="1157"/>
                  </a:cubicBezTo>
                  <a:cubicBezTo>
                    <a:pt x="7940" y="1110"/>
                    <a:pt x="7968" y="1063"/>
                    <a:pt x="7997" y="1016"/>
                  </a:cubicBezTo>
                  <a:cubicBezTo>
                    <a:pt x="7980" y="994"/>
                    <a:pt x="7964" y="971"/>
                    <a:pt x="7948" y="948"/>
                  </a:cubicBezTo>
                  <a:cubicBezTo>
                    <a:pt x="7927" y="924"/>
                    <a:pt x="7907" y="900"/>
                    <a:pt x="7887" y="875"/>
                  </a:cubicBezTo>
                  <a:cubicBezTo>
                    <a:pt x="7887" y="845"/>
                    <a:pt x="7887" y="814"/>
                    <a:pt x="7887" y="783"/>
                  </a:cubicBezTo>
                  <a:cubicBezTo>
                    <a:pt x="7883" y="738"/>
                    <a:pt x="7879" y="693"/>
                    <a:pt x="7875" y="648"/>
                  </a:cubicBezTo>
                  <a:cubicBezTo>
                    <a:pt x="7838" y="632"/>
                    <a:pt x="7801" y="616"/>
                    <a:pt x="7765" y="599"/>
                  </a:cubicBezTo>
                  <a:cubicBezTo>
                    <a:pt x="7732" y="579"/>
                    <a:pt x="7699" y="559"/>
                    <a:pt x="7667" y="538"/>
                  </a:cubicBezTo>
                  <a:cubicBezTo>
                    <a:pt x="7655" y="495"/>
                    <a:pt x="7644" y="452"/>
                    <a:pt x="7633" y="409"/>
                  </a:cubicBezTo>
                  <a:cubicBezTo>
                    <a:pt x="7607" y="401"/>
                    <a:pt x="7581" y="393"/>
                    <a:pt x="7556" y="385"/>
                  </a:cubicBezTo>
                  <a:cubicBezTo>
                    <a:pt x="7525" y="408"/>
                    <a:pt x="7495" y="431"/>
                    <a:pt x="7465" y="453"/>
                  </a:cubicBezTo>
                  <a:cubicBezTo>
                    <a:pt x="7401" y="400"/>
                    <a:pt x="7338" y="347"/>
                    <a:pt x="7275" y="293"/>
                  </a:cubicBezTo>
                  <a:cubicBezTo>
                    <a:pt x="7254" y="249"/>
                    <a:pt x="7234" y="204"/>
                    <a:pt x="7214" y="159"/>
                  </a:cubicBezTo>
                  <a:cubicBezTo>
                    <a:pt x="7144" y="178"/>
                    <a:pt x="7075" y="196"/>
                    <a:pt x="7006" y="214"/>
                  </a:cubicBezTo>
                  <a:cubicBezTo>
                    <a:pt x="6965" y="202"/>
                    <a:pt x="6924" y="190"/>
                    <a:pt x="6883" y="177"/>
                  </a:cubicBezTo>
                  <a:cubicBezTo>
                    <a:pt x="6811" y="202"/>
                    <a:pt x="6740" y="227"/>
                    <a:pt x="6669" y="251"/>
                  </a:cubicBezTo>
                  <a:cubicBezTo>
                    <a:pt x="6652" y="212"/>
                    <a:pt x="6636" y="173"/>
                    <a:pt x="6620" y="134"/>
                  </a:cubicBezTo>
                  <a:cubicBezTo>
                    <a:pt x="6642" y="104"/>
                    <a:pt x="6664" y="73"/>
                    <a:pt x="6687" y="43"/>
                  </a:cubicBezTo>
                  <a:cubicBezTo>
                    <a:pt x="6677" y="28"/>
                    <a:pt x="6667" y="14"/>
                    <a:pt x="6657" y="0"/>
                  </a:cubicBezTo>
                  <a:close/>
                  <a:moveTo>
                    <a:pt x="7633" y="409"/>
                  </a:moveTo>
                  <a:cubicBezTo>
                    <a:pt x="7634" y="410"/>
                    <a:pt x="7635" y="410"/>
                    <a:pt x="7636" y="410"/>
                  </a:cubicBezTo>
                  <a:cubicBezTo>
                    <a:pt x="7634" y="406"/>
                    <a:pt x="7632" y="402"/>
                    <a:pt x="7630" y="397"/>
                  </a:cubicBezTo>
                  <a:cubicBezTo>
                    <a:pt x="7631" y="401"/>
                    <a:pt x="7632" y="405"/>
                    <a:pt x="7633" y="409"/>
                  </a:cubicBezTo>
                  <a:close/>
                  <a:moveTo>
                    <a:pt x="6357" y="3040"/>
                  </a:moveTo>
                  <a:cubicBezTo>
                    <a:pt x="6410" y="3029"/>
                    <a:pt x="6464" y="3017"/>
                    <a:pt x="6518" y="3005"/>
                  </a:cubicBezTo>
                  <a:cubicBezTo>
                    <a:pt x="6544" y="3000"/>
                    <a:pt x="6570" y="2995"/>
                    <a:pt x="6596" y="2989"/>
                  </a:cubicBezTo>
                  <a:cubicBezTo>
                    <a:pt x="6621" y="3009"/>
                    <a:pt x="6646" y="3029"/>
                    <a:pt x="6671" y="3049"/>
                  </a:cubicBezTo>
                  <a:cubicBezTo>
                    <a:pt x="6678" y="3055"/>
                    <a:pt x="6685" y="3061"/>
                    <a:pt x="6693" y="3067"/>
                  </a:cubicBezTo>
                  <a:cubicBezTo>
                    <a:pt x="6656" y="3139"/>
                    <a:pt x="6619" y="3210"/>
                    <a:pt x="6583" y="3281"/>
                  </a:cubicBezTo>
                  <a:cubicBezTo>
                    <a:pt x="6517" y="3298"/>
                    <a:pt x="6452" y="3314"/>
                    <a:pt x="6387" y="3330"/>
                  </a:cubicBezTo>
                  <a:cubicBezTo>
                    <a:pt x="6387" y="3406"/>
                    <a:pt x="6387" y="3482"/>
                    <a:pt x="6387" y="3557"/>
                  </a:cubicBezTo>
                  <a:cubicBezTo>
                    <a:pt x="6417" y="3602"/>
                    <a:pt x="6448" y="3647"/>
                    <a:pt x="6479" y="3691"/>
                  </a:cubicBezTo>
                  <a:cubicBezTo>
                    <a:pt x="6483" y="3722"/>
                    <a:pt x="6487" y="3753"/>
                    <a:pt x="6491" y="3783"/>
                  </a:cubicBezTo>
                  <a:cubicBezTo>
                    <a:pt x="6552" y="3822"/>
                    <a:pt x="6613" y="3861"/>
                    <a:pt x="6675" y="3899"/>
                  </a:cubicBezTo>
                  <a:cubicBezTo>
                    <a:pt x="6718" y="3896"/>
                    <a:pt x="6761" y="3892"/>
                    <a:pt x="6804" y="3888"/>
                  </a:cubicBezTo>
                  <a:cubicBezTo>
                    <a:pt x="6818" y="3902"/>
                    <a:pt x="6832" y="3916"/>
                    <a:pt x="6846" y="3930"/>
                  </a:cubicBezTo>
                  <a:cubicBezTo>
                    <a:pt x="6881" y="3994"/>
                    <a:pt x="6916" y="4057"/>
                    <a:pt x="6951" y="4120"/>
                  </a:cubicBezTo>
                  <a:cubicBezTo>
                    <a:pt x="6934" y="4200"/>
                    <a:pt x="6917" y="4280"/>
                    <a:pt x="6901" y="4359"/>
                  </a:cubicBezTo>
                  <a:cubicBezTo>
                    <a:pt x="6942" y="4376"/>
                    <a:pt x="6983" y="4392"/>
                    <a:pt x="7024" y="4408"/>
                  </a:cubicBezTo>
                  <a:cubicBezTo>
                    <a:pt x="7064" y="4406"/>
                    <a:pt x="7122" y="4396"/>
                    <a:pt x="7146" y="4402"/>
                  </a:cubicBezTo>
                  <a:cubicBezTo>
                    <a:pt x="7146" y="4402"/>
                    <a:pt x="7146" y="4402"/>
                    <a:pt x="7147" y="4402"/>
                  </a:cubicBezTo>
                  <a:cubicBezTo>
                    <a:pt x="7147" y="4403"/>
                    <a:pt x="7148" y="4402"/>
                    <a:pt x="7148" y="4403"/>
                  </a:cubicBezTo>
                  <a:cubicBezTo>
                    <a:pt x="7174" y="4421"/>
                    <a:pt x="7200" y="4570"/>
                    <a:pt x="7226" y="4653"/>
                  </a:cubicBezTo>
                  <a:cubicBezTo>
                    <a:pt x="7271" y="4680"/>
                    <a:pt x="7316" y="4706"/>
                    <a:pt x="7361" y="4732"/>
                  </a:cubicBezTo>
                  <a:cubicBezTo>
                    <a:pt x="7503" y="4798"/>
                    <a:pt x="7646" y="4863"/>
                    <a:pt x="7789" y="4928"/>
                  </a:cubicBezTo>
                  <a:cubicBezTo>
                    <a:pt x="7838" y="4934"/>
                    <a:pt x="7887" y="4940"/>
                    <a:pt x="7936" y="4946"/>
                  </a:cubicBezTo>
                  <a:cubicBezTo>
                    <a:pt x="7989" y="4945"/>
                    <a:pt x="8042" y="4944"/>
                    <a:pt x="8095" y="4943"/>
                  </a:cubicBezTo>
                  <a:cubicBezTo>
                    <a:pt x="8103" y="4951"/>
                    <a:pt x="8112" y="4959"/>
                    <a:pt x="8121" y="4967"/>
                  </a:cubicBezTo>
                  <a:cubicBezTo>
                    <a:pt x="8126" y="4946"/>
                    <a:pt x="8132" y="4925"/>
                    <a:pt x="8138" y="4904"/>
                  </a:cubicBezTo>
                  <a:cubicBezTo>
                    <a:pt x="8164" y="4861"/>
                    <a:pt x="8187" y="4794"/>
                    <a:pt x="8218" y="4775"/>
                  </a:cubicBezTo>
                  <a:cubicBezTo>
                    <a:pt x="8248" y="4757"/>
                    <a:pt x="8246" y="4673"/>
                    <a:pt x="8261" y="4622"/>
                  </a:cubicBezTo>
                  <a:cubicBezTo>
                    <a:pt x="8263" y="4569"/>
                    <a:pt x="8265" y="4516"/>
                    <a:pt x="8267" y="4463"/>
                  </a:cubicBezTo>
                  <a:cubicBezTo>
                    <a:pt x="8301" y="4465"/>
                    <a:pt x="8336" y="4467"/>
                    <a:pt x="8371" y="4469"/>
                  </a:cubicBezTo>
                  <a:cubicBezTo>
                    <a:pt x="8414" y="4471"/>
                    <a:pt x="8457" y="4473"/>
                    <a:pt x="8500" y="4475"/>
                  </a:cubicBezTo>
                  <a:cubicBezTo>
                    <a:pt x="8538" y="4453"/>
                    <a:pt x="8577" y="4431"/>
                    <a:pt x="8616" y="4408"/>
                  </a:cubicBezTo>
                  <a:cubicBezTo>
                    <a:pt x="8661" y="4382"/>
                    <a:pt x="8706" y="4355"/>
                    <a:pt x="8751" y="4328"/>
                  </a:cubicBezTo>
                  <a:cubicBezTo>
                    <a:pt x="8783" y="4357"/>
                    <a:pt x="8816" y="4386"/>
                    <a:pt x="8849" y="4414"/>
                  </a:cubicBezTo>
                  <a:cubicBezTo>
                    <a:pt x="8883" y="4418"/>
                    <a:pt x="8918" y="4422"/>
                    <a:pt x="8953" y="4426"/>
                  </a:cubicBezTo>
                  <a:cubicBezTo>
                    <a:pt x="8944" y="4379"/>
                    <a:pt x="8936" y="4332"/>
                    <a:pt x="8928" y="4285"/>
                  </a:cubicBezTo>
                  <a:cubicBezTo>
                    <a:pt x="8897" y="4255"/>
                    <a:pt x="8866" y="4225"/>
                    <a:pt x="8836" y="4194"/>
                  </a:cubicBezTo>
                  <a:cubicBezTo>
                    <a:pt x="8803" y="4149"/>
                    <a:pt x="8770" y="4104"/>
                    <a:pt x="8738" y="4059"/>
                  </a:cubicBezTo>
                  <a:cubicBezTo>
                    <a:pt x="8701" y="4029"/>
                    <a:pt x="8664" y="3998"/>
                    <a:pt x="8628" y="3967"/>
                  </a:cubicBezTo>
                  <a:cubicBezTo>
                    <a:pt x="8597" y="3933"/>
                    <a:pt x="8566" y="3898"/>
                    <a:pt x="8536" y="3863"/>
                  </a:cubicBezTo>
                  <a:cubicBezTo>
                    <a:pt x="8532" y="3818"/>
                    <a:pt x="8528" y="3773"/>
                    <a:pt x="8524" y="3728"/>
                  </a:cubicBezTo>
                  <a:cubicBezTo>
                    <a:pt x="8507" y="3684"/>
                    <a:pt x="8491" y="3639"/>
                    <a:pt x="8475" y="3594"/>
                  </a:cubicBezTo>
                  <a:cubicBezTo>
                    <a:pt x="8436" y="3588"/>
                    <a:pt x="8397" y="3582"/>
                    <a:pt x="8359" y="3575"/>
                  </a:cubicBezTo>
                  <a:cubicBezTo>
                    <a:pt x="8344" y="3541"/>
                    <a:pt x="8330" y="3506"/>
                    <a:pt x="8316" y="3471"/>
                  </a:cubicBezTo>
                  <a:cubicBezTo>
                    <a:pt x="8291" y="3441"/>
                    <a:pt x="8266" y="3410"/>
                    <a:pt x="8242" y="3379"/>
                  </a:cubicBezTo>
                  <a:cubicBezTo>
                    <a:pt x="8252" y="3341"/>
                    <a:pt x="8262" y="3302"/>
                    <a:pt x="8273" y="3263"/>
                  </a:cubicBezTo>
                  <a:cubicBezTo>
                    <a:pt x="8293" y="3208"/>
                    <a:pt x="8313" y="3153"/>
                    <a:pt x="8334" y="3097"/>
                  </a:cubicBezTo>
                  <a:cubicBezTo>
                    <a:pt x="8270" y="3079"/>
                    <a:pt x="8207" y="3061"/>
                    <a:pt x="8144" y="3042"/>
                  </a:cubicBezTo>
                  <a:cubicBezTo>
                    <a:pt x="8078" y="3028"/>
                    <a:pt x="8013" y="3014"/>
                    <a:pt x="7948" y="3000"/>
                  </a:cubicBezTo>
                  <a:cubicBezTo>
                    <a:pt x="7936" y="2951"/>
                    <a:pt x="7924" y="2902"/>
                    <a:pt x="7912" y="2853"/>
                  </a:cubicBezTo>
                  <a:cubicBezTo>
                    <a:pt x="7895" y="2835"/>
                    <a:pt x="7879" y="2816"/>
                    <a:pt x="7863" y="2797"/>
                  </a:cubicBezTo>
                  <a:cubicBezTo>
                    <a:pt x="7814" y="2763"/>
                    <a:pt x="7765" y="2729"/>
                    <a:pt x="7716" y="2694"/>
                  </a:cubicBezTo>
                  <a:cubicBezTo>
                    <a:pt x="7677" y="2694"/>
                    <a:pt x="7638" y="2694"/>
                    <a:pt x="7600" y="2694"/>
                  </a:cubicBezTo>
                  <a:cubicBezTo>
                    <a:pt x="7573" y="2688"/>
                    <a:pt x="7546" y="2682"/>
                    <a:pt x="7520" y="2675"/>
                  </a:cubicBezTo>
                  <a:cubicBezTo>
                    <a:pt x="7489" y="2657"/>
                    <a:pt x="7458" y="2639"/>
                    <a:pt x="7428" y="2620"/>
                  </a:cubicBezTo>
                  <a:cubicBezTo>
                    <a:pt x="7391" y="2653"/>
                    <a:pt x="7354" y="2686"/>
                    <a:pt x="7318" y="2718"/>
                  </a:cubicBezTo>
                  <a:cubicBezTo>
                    <a:pt x="7281" y="2710"/>
                    <a:pt x="7244" y="2702"/>
                    <a:pt x="7208" y="2694"/>
                  </a:cubicBezTo>
                  <a:cubicBezTo>
                    <a:pt x="7161" y="2706"/>
                    <a:pt x="7114" y="2718"/>
                    <a:pt x="7067" y="2730"/>
                  </a:cubicBezTo>
                  <a:cubicBezTo>
                    <a:pt x="7054" y="2765"/>
                    <a:pt x="7042" y="2800"/>
                    <a:pt x="7030" y="2834"/>
                  </a:cubicBezTo>
                  <a:cubicBezTo>
                    <a:pt x="7015" y="2859"/>
                    <a:pt x="7001" y="2884"/>
                    <a:pt x="6987" y="2908"/>
                  </a:cubicBezTo>
                  <a:cubicBezTo>
                    <a:pt x="6940" y="2941"/>
                    <a:pt x="6893" y="2974"/>
                    <a:pt x="6846" y="3006"/>
                  </a:cubicBezTo>
                  <a:cubicBezTo>
                    <a:pt x="6789" y="3021"/>
                    <a:pt x="6732" y="3035"/>
                    <a:pt x="6675" y="3049"/>
                  </a:cubicBezTo>
                  <a:cubicBezTo>
                    <a:pt x="6673" y="3049"/>
                    <a:pt x="6672" y="3049"/>
                    <a:pt x="6671" y="3049"/>
                  </a:cubicBezTo>
                  <a:cubicBezTo>
                    <a:pt x="6645" y="3029"/>
                    <a:pt x="6620" y="3008"/>
                    <a:pt x="6595" y="2987"/>
                  </a:cubicBezTo>
                  <a:cubicBezTo>
                    <a:pt x="6557" y="2996"/>
                    <a:pt x="6519" y="3004"/>
                    <a:pt x="6481" y="3012"/>
                  </a:cubicBezTo>
                  <a:cubicBezTo>
                    <a:pt x="6439" y="3022"/>
                    <a:pt x="6398" y="3031"/>
                    <a:pt x="6357" y="3040"/>
                  </a:cubicBezTo>
                  <a:close/>
                  <a:moveTo>
                    <a:pt x="111" y="4277"/>
                  </a:moveTo>
                  <a:cubicBezTo>
                    <a:pt x="109" y="4277"/>
                    <a:pt x="107" y="4277"/>
                    <a:pt x="105" y="4277"/>
                  </a:cubicBezTo>
                  <a:cubicBezTo>
                    <a:pt x="107" y="4282"/>
                    <a:pt x="109" y="4287"/>
                    <a:pt x="111" y="4291"/>
                  </a:cubicBezTo>
                  <a:cubicBezTo>
                    <a:pt x="111" y="4287"/>
                    <a:pt x="111" y="4282"/>
                    <a:pt x="111" y="4277"/>
                  </a:cubicBezTo>
                  <a:close/>
                </a:path>
              </a:pathLst>
            </a:custGeom>
            <a:solidFill>
              <a:srgbClr val="EC6602"/>
            </a:solidFill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89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1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49">
              <a:extLst>
                <a:ext uri="{FF2B5EF4-FFF2-40B4-BE49-F238E27FC236}">
                  <a16:creationId xmlns:a16="http://schemas.microsoft.com/office/drawing/2014/main" id="{3F3FD8C2-8A6F-C7BA-D373-A05C904F59B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0000">
              <a:off x="7647310" y="4342503"/>
              <a:ext cx="1504619" cy="1251935"/>
            </a:xfrm>
            <a:custGeom>
              <a:avLst/>
              <a:gdLst>
                <a:gd name="T0" fmla="*/ 733499 w 5781"/>
                <a:gd name="T1" fmla="*/ 1551656 h 4812"/>
                <a:gd name="T2" fmla="*/ 929554 w 5781"/>
                <a:gd name="T3" fmla="*/ 1589054 h 4812"/>
                <a:gd name="T4" fmla="*/ 1127768 w 5781"/>
                <a:gd name="T5" fmla="*/ 1659535 h 4812"/>
                <a:gd name="T6" fmla="*/ 1299721 w 5781"/>
                <a:gd name="T7" fmla="*/ 1637599 h 4812"/>
                <a:gd name="T8" fmla="*/ 1414116 w 5781"/>
                <a:gd name="T9" fmla="*/ 1562803 h 4812"/>
                <a:gd name="T10" fmla="*/ 1585710 w 5781"/>
                <a:gd name="T11" fmla="*/ 1591211 h 4812"/>
                <a:gd name="T12" fmla="*/ 1746511 w 5781"/>
                <a:gd name="T13" fmla="*/ 1613506 h 4812"/>
                <a:gd name="T14" fmla="*/ 1860906 w 5781"/>
                <a:gd name="T15" fmla="*/ 1694775 h 4812"/>
                <a:gd name="T16" fmla="*/ 1958035 w 5781"/>
                <a:gd name="T17" fmla="*/ 1657377 h 4812"/>
                <a:gd name="T18" fmla="*/ 2006599 w 5781"/>
                <a:gd name="T19" fmla="*/ 1503470 h 4812"/>
                <a:gd name="T20" fmla="*/ 2077107 w 5781"/>
                <a:gd name="T21" fmla="*/ 1390917 h 4812"/>
                <a:gd name="T22" fmla="*/ 1966668 w 5781"/>
                <a:gd name="T23" fmla="*/ 1265418 h 4812"/>
                <a:gd name="T24" fmla="*/ 1876375 w 5781"/>
                <a:gd name="T25" fmla="*/ 1192779 h 4812"/>
                <a:gd name="T26" fmla="*/ 1786082 w 5781"/>
                <a:gd name="T27" fmla="*/ 1225862 h 4812"/>
                <a:gd name="T28" fmla="*/ 1656218 w 5781"/>
                <a:gd name="T29" fmla="*/ 1074113 h 4812"/>
                <a:gd name="T30" fmla="*/ 1638591 w 5781"/>
                <a:gd name="T31" fmla="*/ 884606 h 4812"/>
                <a:gd name="T32" fmla="*/ 1515561 w 5781"/>
                <a:gd name="T33" fmla="*/ 763422 h 4812"/>
                <a:gd name="T34" fmla="*/ 1528512 w 5781"/>
                <a:gd name="T35" fmla="*/ 637923 h 4812"/>
                <a:gd name="T36" fmla="*/ 1550456 w 5781"/>
                <a:gd name="T37" fmla="*/ 473228 h 4812"/>
                <a:gd name="T38" fmla="*/ 1442895 w 5781"/>
                <a:gd name="T39" fmla="*/ 411737 h 4812"/>
                <a:gd name="T40" fmla="*/ 1491459 w 5781"/>
                <a:gd name="T41" fmla="*/ 352044 h 4812"/>
                <a:gd name="T42" fmla="*/ 1297562 w 5781"/>
                <a:gd name="T43" fmla="*/ 306016 h 4812"/>
                <a:gd name="T44" fmla="*/ 1323823 w 5781"/>
                <a:gd name="T45" fmla="*/ 103564 h 4812"/>
                <a:gd name="T46" fmla="*/ 1291087 w 5781"/>
                <a:gd name="T47" fmla="*/ 41713 h 4812"/>
                <a:gd name="T48" fmla="*/ 1070570 w 5781"/>
                <a:gd name="T49" fmla="*/ 65806 h 4812"/>
                <a:gd name="T50" fmla="*/ 923079 w 5781"/>
                <a:gd name="T51" fmla="*/ 13305 h 4812"/>
                <a:gd name="T52" fmla="*/ 813719 w 5781"/>
                <a:gd name="T53" fmla="*/ 91697 h 4812"/>
                <a:gd name="T54" fmla="*/ 927395 w 5781"/>
                <a:gd name="T55" fmla="*/ 213600 h 4812"/>
                <a:gd name="T56" fmla="*/ 911927 w 5781"/>
                <a:gd name="T57" fmla="*/ 471071 h 4812"/>
                <a:gd name="T58" fmla="*/ 1013372 w 5781"/>
                <a:gd name="T59" fmla="*/ 510626 h 4812"/>
                <a:gd name="T60" fmla="*/ 1077405 w 5781"/>
                <a:gd name="T61" fmla="*/ 682153 h 4812"/>
                <a:gd name="T62" fmla="*/ 1064095 w 5781"/>
                <a:gd name="T63" fmla="*/ 783559 h 4812"/>
                <a:gd name="T64" fmla="*/ 1061936 w 5781"/>
                <a:gd name="T65" fmla="*/ 900068 h 4812"/>
                <a:gd name="T66" fmla="*/ 962649 w 5781"/>
                <a:gd name="T67" fmla="*/ 935309 h 4812"/>
                <a:gd name="T68" fmla="*/ 788898 w 5781"/>
                <a:gd name="T69" fmla="*/ 818440 h 4812"/>
                <a:gd name="T70" fmla="*/ 788898 w 5781"/>
                <a:gd name="T71" fmla="*/ 675681 h 4812"/>
                <a:gd name="T72" fmla="*/ 676301 w 5781"/>
                <a:gd name="T73" fmla="*/ 600525 h 4812"/>
                <a:gd name="T74" fmla="*/ 519816 w 5781"/>
                <a:gd name="T75" fmla="*/ 677838 h 4812"/>
                <a:gd name="T76" fmla="*/ 605793 w 5781"/>
                <a:gd name="T77" fmla="*/ 763422 h 4812"/>
                <a:gd name="T78" fmla="*/ 650040 w 5781"/>
                <a:gd name="T79" fmla="*/ 895753 h 4812"/>
                <a:gd name="T80" fmla="*/ 579532 w 5781"/>
                <a:gd name="T81" fmla="*/ 1047503 h 4812"/>
                <a:gd name="T82" fmla="*/ 423048 w 5781"/>
                <a:gd name="T83" fmla="*/ 1151066 h 4812"/>
                <a:gd name="T84" fmla="*/ 244619 w 5781"/>
                <a:gd name="T85" fmla="*/ 1194937 h 4812"/>
                <a:gd name="T86" fmla="*/ 30937 w 5781"/>
                <a:gd name="T87" fmla="*/ 1280880 h 4812"/>
                <a:gd name="T88" fmla="*/ 2518 w 5781"/>
                <a:gd name="T89" fmla="*/ 1441620 h 4812"/>
                <a:gd name="T90" fmla="*/ 59716 w 5781"/>
                <a:gd name="T91" fmla="*/ 1578266 h 4812"/>
                <a:gd name="T92" fmla="*/ 145692 w 5781"/>
                <a:gd name="T93" fmla="*/ 1604516 h 4812"/>
                <a:gd name="T94" fmla="*/ 286349 w 5781"/>
                <a:gd name="T95" fmla="*/ 1576108 h 4812"/>
                <a:gd name="T96" fmla="*/ 405421 w 5781"/>
                <a:gd name="T97" fmla="*/ 1507785 h 4812"/>
                <a:gd name="T98" fmla="*/ 548595 w 5781"/>
                <a:gd name="T99" fmla="*/ 1498795 h 4812"/>
                <a:gd name="T100" fmla="*/ 813000 w 5781"/>
                <a:gd name="T101" fmla="*/ 92057 h 481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781" h="4812">
                  <a:moveTo>
                    <a:pt x="1782" y="4279"/>
                  </a:moveTo>
                  <a:cubicBezTo>
                    <a:pt x="1788" y="4249"/>
                    <a:pt x="1794" y="4218"/>
                    <a:pt x="1801" y="4187"/>
                  </a:cubicBezTo>
                  <a:cubicBezTo>
                    <a:pt x="1852" y="4212"/>
                    <a:pt x="1903" y="4236"/>
                    <a:pt x="1954" y="4260"/>
                  </a:cubicBezTo>
                  <a:cubicBezTo>
                    <a:pt x="1982" y="4279"/>
                    <a:pt x="2010" y="4297"/>
                    <a:pt x="2039" y="4315"/>
                  </a:cubicBezTo>
                  <a:cubicBezTo>
                    <a:pt x="2071" y="4336"/>
                    <a:pt x="2104" y="4357"/>
                    <a:pt x="2137" y="4377"/>
                  </a:cubicBezTo>
                  <a:cubicBezTo>
                    <a:pt x="2186" y="4383"/>
                    <a:pt x="2235" y="4389"/>
                    <a:pt x="2284" y="4395"/>
                  </a:cubicBezTo>
                  <a:cubicBezTo>
                    <a:pt x="2343" y="4403"/>
                    <a:pt x="2402" y="4411"/>
                    <a:pt x="2462" y="4419"/>
                  </a:cubicBezTo>
                  <a:cubicBezTo>
                    <a:pt x="2502" y="4419"/>
                    <a:pt x="2543" y="4419"/>
                    <a:pt x="2584" y="4419"/>
                  </a:cubicBezTo>
                  <a:cubicBezTo>
                    <a:pt x="2629" y="4444"/>
                    <a:pt x="2674" y="4469"/>
                    <a:pt x="2719" y="4493"/>
                  </a:cubicBezTo>
                  <a:cubicBezTo>
                    <a:pt x="2764" y="4518"/>
                    <a:pt x="2809" y="4542"/>
                    <a:pt x="2854" y="4566"/>
                  </a:cubicBezTo>
                  <a:cubicBezTo>
                    <a:pt x="2899" y="4593"/>
                    <a:pt x="2944" y="4620"/>
                    <a:pt x="2989" y="4646"/>
                  </a:cubicBezTo>
                  <a:cubicBezTo>
                    <a:pt x="3037" y="4636"/>
                    <a:pt x="3086" y="4626"/>
                    <a:pt x="3135" y="4615"/>
                  </a:cubicBezTo>
                  <a:cubicBezTo>
                    <a:pt x="3172" y="4615"/>
                    <a:pt x="3209" y="4615"/>
                    <a:pt x="3246" y="4615"/>
                  </a:cubicBezTo>
                  <a:cubicBezTo>
                    <a:pt x="3288" y="4620"/>
                    <a:pt x="3331" y="4624"/>
                    <a:pt x="3374" y="4628"/>
                  </a:cubicBezTo>
                  <a:cubicBezTo>
                    <a:pt x="3423" y="4610"/>
                    <a:pt x="3472" y="4591"/>
                    <a:pt x="3521" y="4572"/>
                  </a:cubicBezTo>
                  <a:cubicBezTo>
                    <a:pt x="3551" y="4566"/>
                    <a:pt x="3582" y="4560"/>
                    <a:pt x="3613" y="4554"/>
                  </a:cubicBezTo>
                  <a:cubicBezTo>
                    <a:pt x="3621" y="4526"/>
                    <a:pt x="3629" y="4497"/>
                    <a:pt x="3638" y="4468"/>
                  </a:cubicBezTo>
                  <a:cubicBezTo>
                    <a:pt x="3658" y="4428"/>
                    <a:pt x="3678" y="4387"/>
                    <a:pt x="3699" y="4346"/>
                  </a:cubicBezTo>
                  <a:cubicBezTo>
                    <a:pt x="3743" y="4334"/>
                    <a:pt x="3788" y="4322"/>
                    <a:pt x="3833" y="4309"/>
                  </a:cubicBezTo>
                  <a:cubicBezTo>
                    <a:pt x="3865" y="4322"/>
                    <a:pt x="3898" y="4334"/>
                    <a:pt x="3931" y="4346"/>
                  </a:cubicBezTo>
                  <a:cubicBezTo>
                    <a:pt x="3968" y="4367"/>
                    <a:pt x="4005" y="4387"/>
                    <a:pt x="4042" y="4407"/>
                  </a:cubicBezTo>
                  <a:cubicBezTo>
                    <a:pt x="4086" y="4411"/>
                    <a:pt x="4131" y="4415"/>
                    <a:pt x="4176" y="4419"/>
                  </a:cubicBezTo>
                  <a:cubicBezTo>
                    <a:pt x="4221" y="4421"/>
                    <a:pt x="4265" y="4423"/>
                    <a:pt x="4310" y="4425"/>
                  </a:cubicBezTo>
                  <a:cubicBezTo>
                    <a:pt x="4343" y="4425"/>
                    <a:pt x="4376" y="4425"/>
                    <a:pt x="4408" y="4425"/>
                  </a:cubicBezTo>
                  <a:cubicBezTo>
                    <a:pt x="4451" y="4440"/>
                    <a:pt x="4494" y="4454"/>
                    <a:pt x="4537" y="4468"/>
                  </a:cubicBezTo>
                  <a:cubicBezTo>
                    <a:pt x="4558" y="4477"/>
                    <a:pt x="4578" y="4485"/>
                    <a:pt x="4598" y="4493"/>
                  </a:cubicBezTo>
                  <a:cubicBezTo>
                    <a:pt x="4647" y="4491"/>
                    <a:pt x="4696" y="4489"/>
                    <a:pt x="4745" y="4487"/>
                  </a:cubicBezTo>
                  <a:cubicBezTo>
                    <a:pt x="4782" y="4487"/>
                    <a:pt x="4819" y="4487"/>
                    <a:pt x="4855" y="4487"/>
                  </a:cubicBezTo>
                  <a:cubicBezTo>
                    <a:pt x="4878" y="4502"/>
                    <a:pt x="4900" y="4516"/>
                    <a:pt x="4922" y="4530"/>
                  </a:cubicBezTo>
                  <a:cubicBezTo>
                    <a:pt x="4947" y="4555"/>
                    <a:pt x="4972" y="4579"/>
                    <a:pt x="4996" y="4603"/>
                  </a:cubicBezTo>
                  <a:cubicBezTo>
                    <a:pt x="5023" y="4626"/>
                    <a:pt x="5050" y="4648"/>
                    <a:pt x="5076" y="4670"/>
                  </a:cubicBezTo>
                  <a:cubicBezTo>
                    <a:pt x="5109" y="4685"/>
                    <a:pt x="5141" y="4699"/>
                    <a:pt x="5173" y="4713"/>
                  </a:cubicBezTo>
                  <a:cubicBezTo>
                    <a:pt x="5218" y="4746"/>
                    <a:pt x="5263" y="4779"/>
                    <a:pt x="5308" y="4811"/>
                  </a:cubicBezTo>
                  <a:cubicBezTo>
                    <a:pt x="5333" y="4801"/>
                    <a:pt x="5358" y="4791"/>
                    <a:pt x="5382" y="4781"/>
                  </a:cubicBezTo>
                  <a:cubicBezTo>
                    <a:pt x="5405" y="4757"/>
                    <a:pt x="5427" y="4732"/>
                    <a:pt x="5449" y="4707"/>
                  </a:cubicBezTo>
                  <a:cubicBezTo>
                    <a:pt x="5447" y="4675"/>
                    <a:pt x="5445" y="4642"/>
                    <a:pt x="5443" y="4609"/>
                  </a:cubicBezTo>
                  <a:cubicBezTo>
                    <a:pt x="5460" y="4579"/>
                    <a:pt x="5476" y="4548"/>
                    <a:pt x="5492" y="4517"/>
                  </a:cubicBezTo>
                  <a:cubicBezTo>
                    <a:pt x="5509" y="4485"/>
                    <a:pt x="5525" y="4452"/>
                    <a:pt x="5541" y="4419"/>
                  </a:cubicBezTo>
                  <a:cubicBezTo>
                    <a:pt x="5562" y="4391"/>
                    <a:pt x="5582" y="4363"/>
                    <a:pt x="5602" y="4334"/>
                  </a:cubicBezTo>
                  <a:cubicBezTo>
                    <a:pt x="5594" y="4283"/>
                    <a:pt x="5586" y="4232"/>
                    <a:pt x="5578" y="4181"/>
                  </a:cubicBezTo>
                  <a:cubicBezTo>
                    <a:pt x="5588" y="4153"/>
                    <a:pt x="5598" y="4124"/>
                    <a:pt x="5608" y="4095"/>
                  </a:cubicBezTo>
                  <a:cubicBezTo>
                    <a:pt x="5653" y="4065"/>
                    <a:pt x="5698" y="4034"/>
                    <a:pt x="5743" y="4003"/>
                  </a:cubicBezTo>
                  <a:cubicBezTo>
                    <a:pt x="5756" y="3985"/>
                    <a:pt x="5768" y="3967"/>
                    <a:pt x="5780" y="3948"/>
                  </a:cubicBezTo>
                  <a:cubicBezTo>
                    <a:pt x="5778" y="3922"/>
                    <a:pt x="5776" y="3895"/>
                    <a:pt x="5774" y="3868"/>
                  </a:cubicBezTo>
                  <a:cubicBezTo>
                    <a:pt x="5735" y="3858"/>
                    <a:pt x="5696" y="3848"/>
                    <a:pt x="5657" y="3838"/>
                  </a:cubicBezTo>
                  <a:cubicBezTo>
                    <a:pt x="5641" y="3828"/>
                    <a:pt x="5625" y="3818"/>
                    <a:pt x="5608" y="3807"/>
                  </a:cubicBezTo>
                  <a:cubicBezTo>
                    <a:pt x="5582" y="3752"/>
                    <a:pt x="5556" y="3697"/>
                    <a:pt x="5529" y="3642"/>
                  </a:cubicBezTo>
                  <a:cubicBezTo>
                    <a:pt x="5509" y="3601"/>
                    <a:pt x="5488" y="3560"/>
                    <a:pt x="5467" y="3519"/>
                  </a:cubicBezTo>
                  <a:cubicBezTo>
                    <a:pt x="5445" y="3483"/>
                    <a:pt x="5423" y="3446"/>
                    <a:pt x="5400" y="3409"/>
                  </a:cubicBezTo>
                  <a:cubicBezTo>
                    <a:pt x="5374" y="3354"/>
                    <a:pt x="5347" y="3299"/>
                    <a:pt x="5320" y="3244"/>
                  </a:cubicBezTo>
                  <a:cubicBezTo>
                    <a:pt x="5292" y="3246"/>
                    <a:pt x="5264" y="3248"/>
                    <a:pt x="5235" y="3250"/>
                  </a:cubicBezTo>
                  <a:cubicBezTo>
                    <a:pt x="5229" y="3273"/>
                    <a:pt x="5223" y="3295"/>
                    <a:pt x="5216" y="3317"/>
                  </a:cubicBezTo>
                  <a:cubicBezTo>
                    <a:pt x="5208" y="3332"/>
                    <a:pt x="5200" y="3346"/>
                    <a:pt x="5192" y="3360"/>
                  </a:cubicBezTo>
                  <a:cubicBezTo>
                    <a:pt x="5147" y="3348"/>
                    <a:pt x="5102" y="3336"/>
                    <a:pt x="5057" y="3323"/>
                  </a:cubicBezTo>
                  <a:cubicBezTo>
                    <a:pt x="5039" y="3340"/>
                    <a:pt x="5021" y="3356"/>
                    <a:pt x="5002" y="3372"/>
                  </a:cubicBezTo>
                  <a:cubicBezTo>
                    <a:pt x="4990" y="3385"/>
                    <a:pt x="4978" y="3397"/>
                    <a:pt x="4965" y="3409"/>
                  </a:cubicBezTo>
                  <a:cubicBezTo>
                    <a:pt x="4918" y="3381"/>
                    <a:pt x="4871" y="3352"/>
                    <a:pt x="4824" y="3323"/>
                  </a:cubicBezTo>
                  <a:cubicBezTo>
                    <a:pt x="4792" y="3301"/>
                    <a:pt x="4759" y="3279"/>
                    <a:pt x="4726" y="3256"/>
                  </a:cubicBezTo>
                  <a:cubicBezTo>
                    <a:pt x="4710" y="3248"/>
                    <a:pt x="4694" y="3240"/>
                    <a:pt x="4677" y="3232"/>
                  </a:cubicBezTo>
                  <a:cubicBezTo>
                    <a:pt x="4653" y="3151"/>
                    <a:pt x="4629" y="3069"/>
                    <a:pt x="4604" y="2987"/>
                  </a:cubicBezTo>
                  <a:cubicBezTo>
                    <a:pt x="4582" y="2930"/>
                    <a:pt x="4560" y="2873"/>
                    <a:pt x="4537" y="2815"/>
                  </a:cubicBezTo>
                  <a:cubicBezTo>
                    <a:pt x="4525" y="2771"/>
                    <a:pt x="4513" y="2726"/>
                    <a:pt x="4500" y="2681"/>
                  </a:cubicBezTo>
                  <a:cubicBezTo>
                    <a:pt x="4515" y="2620"/>
                    <a:pt x="4529" y="2559"/>
                    <a:pt x="4543" y="2497"/>
                  </a:cubicBezTo>
                  <a:cubicBezTo>
                    <a:pt x="4547" y="2485"/>
                    <a:pt x="4551" y="2473"/>
                    <a:pt x="4555" y="2460"/>
                  </a:cubicBezTo>
                  <a:cubicBezTo>
                    <a:pt x="4519" y="2436"/>
                    <a:pt x="4482" y="2412"/>
                    <a:pt x="4445" y="2387"/>
                  </a:cubicBezTo>
                  <a:cubicBezTo>
                    <a:pt x="4413" y="2361"/>
                    <a:pt x="4380" y="2334"/>
                    <a:pt x="4347" y="2307"/>
                  </a:cubicBezTo>
                  <a:cubicBezTo>
                    <a:pt x="4304" y="2281"/>
                    <a:pt x="4261" y="2254"/>
                    <a:pt x="4219" y="2227"/>
                  </a:cubicBezTo>
                  <a:cubicBezTo>
                    <a:pt x="4217" y="2193"/>
                    <a:pt x="4215" y="2158"/>
                    <a:pt x="4213" y="2123"/>
                  </a:cubicBezTo>
                  <a:cubicBezTo>
                    <a:pt x="4225" y="2087"/>
                    <a:pt x="4237" y="2050"/>
                    <a:pt x="4249" y="2013"/>
                  </a:cubicBezTo>
                  <a:cubicBezTo>
                    <a:pt x="4268" y="1981"/>
                    <a:pt x="4286" y="1948"/>
                    <a:pt x="4304" y="1915"/>
                  </a:cubicBezTo>
                  <a:cubicBezTo>
                    <a:pt x="4300" y="1883"/>
                    <a:pt x="4296" y="1850"/>
                    <a:pt x="4292" y="1817"/>
                  </a:cubicBezTo>
                  <a:cubicBezTo>
                    <a:pt x="4278" y="1803"/>
                    <a:pt x="4264" y="1789"/>
                    <a:pt x="4249" y="1774"/>
                  </a:cubicBezTo>
                  <a:cubicBezTo>
                    <a:pt x="4270" y="1711"/>
                    <a:pt x="4290" y="1648"/>
                    <a:pt x="4310" y="1586"/>
                  </a:cubicBezTo>
                  <a:cubicBezTo>
                    <a:pt x="4329" y="1528"/>
                    <a:pt x="4347" y="1471"/>
                    <a:pt x="4365" y="1414"/>
                  </a:cubicBezTo>
                  <a:cubicBezTo>
                    <a:pt x="4361" y="1387"/>
                    <a:pt x="4357" y="1360"/>
                    <a:pt x="4353" y="1334"/>
                  </a:cubicBezTo>
                  <a:cubicBezTo>
                    <a:pt x="4339" y="1328"/>
                    <a:pt x="4325" y="1322"/>
                    <a:pt x="4310" y="1316"/>
                  </a:cubicBezTo>
                  <a:cubicBezTo>
                    <a:pt x="4276" y="1312"/>
                    <a:pt x="4241" y="1308"/>
                    <a:pt x="4207" y="1304"/>
                  </a:cubicBezTo>
                  <a:cubicBezTo>
                    <a:pt x="4166" y="1279"/>
                    <a:pt x="4125" y="1254"/>
                    <a:pt x="4085" y="1230"/>
                  </a:cubicBezTo>
                  <a:cubicBezTo>
                    <a:pt x="4060" y="1209"/>
                    <a:pt x="4035" y="1189"/>
                    <a:pt x="4011" y="1169"/>
                  </a:cubicBezTo>
                  <a:cubicBezTo>
                    <a:pt x="4011" y="1161"/>
                    <a:pt x="4011" y="1153"/>
                    <a:pt x="4011" y="1145"/>
                  </a:cubicBezTo>
                  <a:cubicBezTo>
                    <a:pt x="4098" y="1145"/>
                    <a:pt x="4186" y="1145"/>
                    <a:pt x="4273" y="1145"/>
                  </a:cubicBezTo>
                  <a:cubicBezTo>
                    <a:pt x="4286" y="1132"/>
                    <a:pt x="4298" y="1120"/>
                    <a:pt x="4310" y="1108"/>
                  </a:cubicBezTo>
                  <a:cubicBezTo>
                    <a:pt x="4308" y="1089"/>
                    <a:pt x="4306" y="1071"/>
                    <a:pt x="4304" y="1053"/>
                  </a:cubicBezTo>
                  <a:cubicBezTo>
                    <a:pt x="4251" y="1028"/>
                    <a:pt x="4199" y="1003"/>
                    <a:pt x="4146" y="979"/>
                  </a:cubicBezTo>
                  <a:cubicBezTo>
                    <a:pt x="4072" y="973"/>
                    <a:pt x="3998" y="967"/>
                    <a:pt x="3925" y="961"/>
                  </a:cubicBezTo>
                  <a:cubicBezTo>
                    <a:pt x="3890" y="963"/>
                    <a:pt x="3855" y="965"/>
                    <a:pt x="3821" y="967"/>
                  </a:cubicBezTo>
                  <a:cubicBezTo>
                    <a:pt x="3770" y="967"/>
                    <a:pt x="3719" y="967"/>
                    <a:pt x="3668" y="967"/>
                  </a:cubicBezTo>
                  <a:cubicBezTo>
                    <a:pt x="3647" y="928"/>
                    <a:pt x="3627" y="889"/>
                    <a:pt x="3607" y="851"/>
                  </a:cubicBezTo>
                  <a:cubicBezTo>
                    <a:pt x="3582" y="773"/>
                    <a:pt x="3557" y="695"/>
                    <a:pt x="3533" y="618"/>
                  </a:cubicBezTo>
                  <a:cubicBezTo>
                    <a:pt x="3516" y="554"/>
                    <a:pt x="3500" y="491"/>
                    <a:pt x="3484" y="428"/>
                  </a:cubicBezTo>
                  <a:cubicBezTo>
                    <a:pt x="3498" y="379"/>
                    <a:pt x="3512" y="330"/>
                    <a:pt x="3527" y="281"/>
                  </a:cubicBezTo>
                  <a:cubicBezTo>
                    <a:pt x="3578" y="283"/>
                    <a:pt x="3629" y="285"/>
                    <a:pt x="3680" y="288"/>
                  </a:cubicBezTo>
                  <a:cubicBezTo>
                    <a:pt x="3706" y="290"/>
                    <a:pt x="3733" y="292"/>
                    <a:pt x="3760" y="294"/>
                  </a:cubicBezTo>
                  <a:cubicBezTo>
                    <a:pt x="3760" y="267"/>
                    <a:pt x="3760" y="240"/>
                    <a:pt x="3760" y="214"/>
                  </a:cubicBezTo>
                  <a:cubicBezTo>
                    <a:pt x="3743" y="189"/>
                    <a:pt x="3727" y="165"/>
                    <a:pt x="3711" y="141"/>
                  </a:cubicBezTo>
                  <a:cubicBezTo>
                    <a:pt x="3670" y="132"/>
                    <a:pt x="3629" y="124"/>
                    <a:pt x="3589" y="116"/>
                  </a:cubicBezTo>
                  <a:cubicBezTo>
                    <a:pt x="3548" y="122"/>
                    <a:pt x="3507" y="128"/>
                    <a:pt x="3466" y="135"/>
                  </a:cubicBezTo>
                  <a:cubicBezTo>
                    <a:pt x="3439" y="159"/>
                    <a:pt x="3413" y="183"/>
                    <a:pt x="3387" y="208"/>
                  </a:cubicBezTo>
                  <a:cubicBezTo>
                    <a:pt x="3319" y="210"/>
                    <a:pt x="3251" y="212"/>
                    <a:pt x="3184" y="214"/>
                  </a:cubicBezTo>
                  <a:cubicBezTo>
                    <a:pt x="3114" y="203"/>
                    <a:pt x="3045" y="193"/>
                    <a:pt x="2976" y="183"/>
                  </a:cubicBezTo>
                  <a:cubicBezTo>
                    <a:pt x="2931" y="142"/>
                    <a:pt x="2886" y="101"/>
                    <a:pt x="2842" y="61"/>
                  </a:cubicBezTo>
                  <a:cubicBezTo>
                    <a:pt x="2821" y="40"/>
                    <a:pt x="2800" y="20"/>
                    <a:pt x="2780" y="0"/>
                  </a:cubicBezTo>
                  <a:cubicBezTo>
                    <a:pt x="2741" y="2"/>
                    <a:pt x="2702" y="4"/>
                    <a:pt x="2664" y="6"/>
                  </a:cubicBezTo>
                  <a:cubicBezTo>
                    <a:pt x="2631" y="16"/>
                    <a:pt x="2598" y="26"/>
                    <a:pt x="2566" y="37"/>
                  </a:cubicBezTo>
                  <a:cubicBezTo>
                    <a:pt x="2543" y="39"/>
                    <a:pt x="2521" y="41"/>
                    <a:pt x="2499" y="43"/>
                  </a:cubicBezTo>
                  <a:cubicBezTo>
                    <a:pt x="2490" y="63"/>
                    <a:pt x="2482" y="83"/>
                    <a:pt x="2474" y="104"/>
                  </a:cubicBezTo>
                  <a:cubicBezTo>
                    <a:pt x="2461" y="138"/>
                    <a:pt x="2449" y="173"/>
                    <a:pt x="2437" y="208"/>
                  </a:cubicBezTo>
                  <a:cubicBezTo>
                    <a:pt x="2378" y="223"/>
                    <a:pt x="2320" y="239"/>
                    <a:pt x="2262" y="255"/>
                  </a:cubicBezTo>
                  <a:cubicBezTo>
                    <a:pt x="2273" y="270"/>
                    <a:pt x="2285" y="285"/>
                    <a:pt x="2297" y="300"/>
                  </a:cubicBezTo>
                  <a:cubicBezTo>
                    <a:pt x="2311" y="316"/>
                    <a:pt x="2325" y="332"/>
                    <a:pt x="2339" y="349"/>
                  </a:cubicBezTo>
                  <a:cubicBezTo>
                    <a:pt x="2371" y="361"/>
                    <a:pt x="2404" y="373"/>
                    <a:pt x="2437" y="386"/>
                  </a:cubicBezTo>
                  <a:cubicBezTo>
                    <a:pt x="2484" y="455"/>
                    <a:pt x="2531" y="524"/>
                    <a:pt x="2578" y="594"/>
                  </a:cubicBezTo>
                  <a:cubicBezTo>
                    <a:pt x="2629" y="675"/>
                    <a:pt x="2680" y="757"/>
                    <a:pt x="2731" y="839"/>
                  </a:cubicBezTo>
                  <a:cubicBezTo>
                    <a:pt x="2694" y="916"/>
                    <a:pt x="2657" y="993"/>
                    <a:pt x="2621" y="1071"/>
                  </a:cubicBezTo>
                  <a:cubicBezTo>
                    <a:pt x="2590" y="1105"/>
                    <a:pt x="2559" y="1140"/>
                    <a:pt x="2529" y="1175"/>
                  </a:cubicBezTo>
                  <a:cubicBezTo>
                    <a:pt x="2531" y="1220"/>
                    <a:pt x="2533" y="1265"/>
                    <a:pt x="2535" y="1310"/>
                  </a:cubicBezTo>
                  <a:cubicBezTo>
                    <a:pt x="2514" y="1353"/>
                    <a:pt x="2494" y="1396"/>
                    <a:pt x="2474" y="1439"/>
                  </a:cubicBezTo>
                  <a:cubicBezTo>
                    <a:pt x="2488" y="1459"/>
                    <a:pt x="2502" y="1479"/>
                    <a:pt x="2517" y="1500"/>
                  </a:cubicBezTo>
                  <a:cubicBezTo>
                    <a:pt x="2586" y="1500"/>
                    <a:pt x="2655" y="1500"/>
                    <a:pt x="2725" y="1500"/>
                  </a:cubicBezTo>
                  <a:cubicBezTo>
                    <a:pt x="2755" y="1473"/>
                    <a:pt x="2786" y="1446"/>
                    <a:pt x="2817" y="1420"/>
                  </a:cubicBezTo>
                  <a:cubicBezTo>
                    <a:pt x="2862" y="1465"/>
                    <a:pt x="2907" y="1510"/>
                    <a:pt x="2952" y="1555"/>
                  </a:cubicBezTo>
                  <a:cubicBezTo>
                    <a:pt x="2968" y="1595"/>
                    <a:pt x="2984" y="1636"/>
                    <a:pt x="3001" y="1676"/>
                  </a:cubicBezTo>
                  <a:cubicBezTo>
                    <a:pt x="3025" y="1721"/>
                    <a:pt x="3049" y="1766"/>
                    <a:pt x="3074" y="1811"/>
                  </a:cubicBezTo>
                  <a:cubicBezTo>
                    <a:pt x="3047" y="1840"/>
                    <a:pt x="3021" y="1869"/>
                    <a:pt x="2995" y="1897"/>
                  </a:cubicBezTo>
                  <a:cubicBezTo>
                    <a:pt x="2993" y="1950"/>
                    <a:pt x="2991" y="2003"/>
                    <a:pt x="2989" y="2056"/>
                  </a:cubicBezTo>
                  <a:cubicBezTo>
                    <a:pt x="2968" y="2056"/>
                    <a:pt x="2947" y="2056"/>
                    <a:pt x="2927" y="2056"/>
                  </a:cubicBezTo>
                  <a:cubicBezTo>
                    <a:pt x="2919" y="2077"/>
                    <a:pt x="2911" y="2097"/>
                    <a:pt x="2903" y="2117"/>
                  </a:cubicBezTo>
                  <a:cubicBezTo>
                    <a:pt x="2921" y="2138"/>
                    <a:pt x="2939" y="2159"/>
                    <a:pt x="2958" y="2179"/>
                  </a:cubicBezTo>
                  <a:cubicBezTo>
                    <a:pt x="2939" y="2206"/>
                    <a:pt x="2921" y="2232"/>
                    <a:pt x="2903" y="2258"/>
                  </a:cubicBezTo>
                  <a:cubicBezTo>
                    <a:pt x="2901" y="2281"/>
                    <a:pt x="2899" y="2303"/>
                    <a:pt x="2897" y="2325"/>
                  </a:cubicBezTo>
                  <a:cubicBezTo>
                    <a:pt x="2919" y="2350"/>
                    <a:pt x="2933" y="2399"/>
                    <a:pt x="2964" y="2399"/>
                  </a:cubicBezTo>
                  <a:cubicBezTo>
                    <a:pt x="2995" y="2399"/>
                    <a:pt x="2956" y="2469"/>
                    <a:pt x="2952" y="2503"/>
                  </a:cubicBezTo>
                  <a:cubicBezTo>
                    <a:pt x="2925" y="2514"/>
                    <a:pt x="2898" y="2524"/>
                    <a:pt x="2872" y="2534"/>
                  </a:cubicBezTo>
                  <a:cubicBezTo>
                    <a:pt x="2857" y="2567"/>
                    <a:pt x="2843" y="2600"/>
                    <a:pt x="2829" y="2632"/>
                  </a:cubicBezTo>
                  <a:cubicBezTo>
                    <a:pt x="2806" y="2604"/>
                    <a:pt x="2784" y="2575"/>
                    <a:pt x="2762" y="2546"/>
                  </a:cubicBezTo>
                  <a:cubicBezTo>
                    <a:pt x="2733" y="2565"/>
                    <a:pt x="2704" y="2583"/>
                    <a:pt x="2676" y="2601"/>
                  </a:cubicBezTo>
                  <a:cubicBezTo>
                    <a:pt x="2598" y="2554"/>
                    <a:pt x="2521" y="2507"/>
                    <a:pt x="2444" y="2460"/>
                  </a:cubicBezTo>
                  <a:cubicBezTo>
                    <a:pt x="2441" y="2442"/>
                    <a:pt x="2439" y="2424"/>
                    <a:pt x="2437" y="2405"/>
                  </a:cubicBezTo>
                  <a:cubicBezTo>
                    <a:pt x="2388" y="2362"/>
                    <a:pt x="2339" y="2319"/>
                    <a:pt x="2290" y="2276"/>
                  </a:cubicBezTo>
                  <a:cubicBezTo>
                    <a:pt x="2257" y="2276"/>
                    <a:pt x="2225" y="2276"/>
                    <a:pt x="2193" y="2276"/>
                  </a:cubicBezTo>
                  <a:cubicBezTo>
                    <a:pt x="2166" y="2221"/>
                    <a:pt x="2139" y="2166"/>
                    <a:pt x="2113" y="2111"/>
                  </a:cubicBezTo>
                  <a:cubicBezTo>
                    <a:pt x="2127" y="2066"/>
                    <a:pt x="2141" y="2021"/>
                    <a:pt x="2156" y="1976"/>
                  </a:cubicBezTo>
                  <a:cubicBezTo>
                    <a:pt x="2182" y="1972"/>
                    <a:pt x="2208" y="1968"/>
                    <a:pt x="2235" y="1964"/>
                  </a:cubicBezTo>
                  <a:cubicBezTo>
                    <a:pt x="2221" y="1936"/>
                    <a:pt x="2207" y="1908"/>
                    <a:pt x="2193" y="1879"/>
                  </a:cubicBezTo>
                  <a:cubicBezTo>
                    <a:pt x="2141" y="1855"/>
                    <a:pt x="2090" y="1830"/>
                    <a:pt x="2039" y="1805"/>
                  </a:cubicBezTo>
                  <a:cubicBezTo>
                    <a:pt x="2041" y="1773"/>
                    <a:pt x="2043" y="1740"/>
                    <a:pt x="2046" y="1707"/>
                  </a:cubicBezTo>
                  <a:cubicBezTo>
                    <a:pt x="2011" y="1689"/>
                    <a:pt x="1976" y="1671"/>
                    <a:pt x="1941" y="1652"/>
                  </a:cubicBezTo>
                  <a:cubicBezTo>
                    <a:pt x="1920" y="1658"/>
                    <a:pt x="1900" y="1664"/>
                    <a:pt x="1880" y="1670"/>
                  </a:cubicBezTo>
                  <a:cubicBezTo>
                    <a:pt x="1837" y="1668"/>
                    <a:pt x="1794" y="1666"/>
                    <a:pt x="1752" y="1664"/>
                  </a:cubicBezTo>
                  <a:cubicBezTo>
                    <a:pt x="1719" y="1681"/>
                    <a:pt x="1686" y="1697"/>
                    <a:pt x="1654" y="1713"/>
                  </a:cubicBezTo>
                  <a:cubicBezTo>
                    <a:pt x="1619" y="1711"/>
                    <a:pt x="1584" y="1709"/>
                    <a:pt x="1550" y="1707"/>
                  </a:cubicBezTo>
                  <a:cubicBezTo>
                    <a:pt x="1515" y="1767"/>
                    <a:pt x="1491" y="1846"/>
                    <a:pt x="1445" y="1885"/>
                  </a:cubicBezTo>
                  <a:cubicBezTo>
                    <a:pt x="1443" y="1881"/>
                    <a:pt x="1441" y="1877"/>
                    <a:pt x="1439" y="1872"/>
                  </a:cubicBezTo>
                  <a:cubicBezTo>
                    <a:pt x="1451" y="1919"/>
                    <a:pt x="1463" y="1966"/>
                    <a:pt x="1476" y="2013"/>
                  </a:cubicBezTo>
                  <a:cubicBezTo>
                    <a:pt x="1508" y="2034"/>
                    <a:pt x="1541" y="2054"/>
                    <a:pt x="1574" y="2074"/>
                  </a:cubicBezTo>
                  <a:cubicBezTo>
                    <a:pt x="1610" y="2091"/>
                    <a:pt x="1647" y="2107"/>
                    <a:pt x="1684" y="2123"/>
                  </a:cubicBezTo>
                  <a:cubicBezTo>
                    <a:pt x="1688" y="2168"/>
                    <a:pt x="1692" y="2213"/>
                    <a:pt x="1697" y="2258"/>
                  </a:cubicBezTo>
                  <a:cubicBezTo>
                    <a:pt x="1697" y="2289"/>
                    <a:pt x="1697" y="2320"/>
                    <a:pt x="1697" y="2350"/>
                  </a:cubicBezTo>
                  <a:cubicBezTo>
                    <a:pt x="1717" y="2375"/>
                    <a:pt x="1737" y="2399"/>
                    <a:pt x="1758" y="2423"/>
                  </a:cubicBezTo>
                  <a:cubicBezTo>
                    <a:pt x="1774" y="2446"/>
                    <a:pt x="1790" y="2469"/>
                    <a:pt x="1807" y="2491"/>
                  </a:cubicBezTo>
                  <a:cubicBezTo>
                    <a:pt x="1778" y="2538"/>
                    <a:pt x="1749" y="2585"/>
                    <a:pt x="1721" y="2632"/>
                  </a:cubicBezTo>
                  <a:cubicBezTo>
                    <a:pt x="1702" y="2657"/>
                    <a:pt x="1684" y="2681"/>
                    <a:pt x="1666" y="2705"/>
                  </a:cubicBezTo>
                  <a:cubicBezTo>
                    <a:pt x="1657" y="2740"/>
                    <a:pt x="1649" y="2775"/>
                    <a:pt x="1641" y="2809"/>
                  </a:cubicBezTo>
                  <a:cubicBezTo>
                    <a:pt x="1631" y="2844"/>
                    <a:pt x="1621" y="2879"/>
                    <a:pt x="1611" y="2913"/>
                  </a:cubicBezTo>
                  <a:cubicBezTo>
                    <a:pt x="1588" y="2944"/>
                    <a:pt x="1565" y="2975"/>
                    <a:pt x="1543" y="3005"/>
                  </a:cubicBezTo>
                  <a:cubicBezTo>
                    <a:pt x="1516" y="3018"/>
                    <a:pt x="1490" y="3030"/>
                    <a:pt x="1464" y="3042"/>
                  </a:cubicBezTo>
                  <a:cubicBezTo>
                    <a:pt x="1423" y="3042"/>
                    <a:pt x="1382" y="3042"/>
                    <a:pt x="1341" y="3042"/>
                  </a:cubicBezTo>
                  <a:cubicBezTo>
                    <a:pt x="1286" y="3095"/>
                    <a:pt x="1231" y="3148"/>
                    <a:pt x="1176" y="3201"/>
                  </a:cubicBezTo>
                  <a:cubicBezTo>
                    <a:pt x="1178" y="3232"/>
                    <a:pt x="1180" y="3263"/>
                    <a:pt x="1182" y="3293"/>
                  </a:cubicBezTo>
                  <a:cubicBezTo>
                    <a:pt x="1088" y="3330"/>
                    <a:pt x="994" y="3367"/>
                    <a:pt x="901" y="3403"/>
                  </a:cubicBezTo>
                  <a:cubicBezTo>
                    <a:pt x="849" y="3369"/>
                    <a:pt x="798" y="3334"/>
                    <a:pt x="747" y="3299"/>
                  </a:cubicBezTo>
                  <a:cubicBezTo>
                    <a:pt x="724" y="3307"/>
                    <a:pt x="702" y="3315"/>
                    <a:pt x="680" y="3323"/>
                  </a:cubicBezTo>
                  <a:cubicBezTo>
                    <a:pt x="643" y="3356"/>
                    <a:pt x="606" y="3389"/>
                    <a:pt x="570" y="3421"/>
                  </a:cubicBezTo>
                  <a:cubicBezTo>
                    <a:pt x="510" y="3448"/>
                    <a:pt x="451" y="3475"/>
                    <a:pt x="392" y="3501"/>
                  </a:cubicBezTo>
                  <a:cubicBezTo>
                    <a:pt x="347" y="3526"/>
                    <a:pt x="302" y="3551"/>
                    <a:pt x="258" y="3575"/>
                  </a:cubicBezTo>
                  <a:cubicBezTo>
                    <a:pt x="200" y="3571"/>
                    <a:pt x="143" y="3567"/>
                    <a:pt x="86" y="3562"/>
                  </a:cubicBezTo>
                  <a:cubicBezTo>
                    <a:pt x="59" y="3577"/>
                    <a:pt x="33" y="3591"/>
                    <a:pt x="7" y="3605"/>
                  </a:cubicBezTo>
                  <a:cubicBezTo>
                    <a:pt x="19" y="3654"/>
                    <a:pt x="31" y="3703"/>
                    <a:pt x="43" y="3752"/>
                  </a:cubicBezTo>
                  <a:cubicBezTo>
                    <a:pt x="28" y="3779"/>
                    <a:pt x="14" y="3806"/>
                    <a:pt x="0" y="3832"/>
                  </a:cubicBezTo>
                  <a:cubicBezTo>
                    <a:pt x="2" y="3891"/>
                    <a:pt x="4" y="3950"/>
                    <a:pt x="7" y="4009"/>
                  </a:cubicBezTo>
                  <a:cubicBezTo>
                    <a:pt x="11" y="4056"/>
                    <a:pt x="15" y="4103"/>
                    <a:pt x="19" y="4150"/>
                  </a:cubicBezTo>
                  <a:cubicBezTo>
                    <a:pt x="49" y="4163"/>
                    <a:pt x="80" y="4175"/>
                    <a:pt x="111" y="4187"/>
                  </a:cubicBezTo>
                  <a:cubicBezTo>
                    <a:pt x="127" y="4206"/>
                    <a:pt x="143" y="4224"/>
                    <a:pt x="160" y="4242"/>
                  </a:cubicBezTo>
                  <a:cubicBezTo>
                    <a:pt x="162" y="4291"/>
                    <a:pt x="164" y="4340"/>
                    <a:pt x="166" y="4389"/>
                  </a:cubicBezTo>
                  <a:cubicBezTo>
                    <a:pt x="166" y="4434"/>
                    <a:pt x="166" y="4479"/>
                    <a:pt x="166" y="4524"/>
                  </a:cubicBezTo>
                  <a:cubicBezTo>
                    <a:pt x="166" y="4521"/>
                    <a:pt x="166" y="4518"/>
                    <a:pt x="167" y="4515"/>
                  </a:cubicBezTo>
                  <a:cubicBezTo>
                    <a:pt x="195" y="4509"/>
                    <a:pt x="223" y="4503"/>
                    <a:pt x="252" y="4496"/>
                  </a:cubicBezTo>
                  <a:cubicBezTo>
                    <a:pt x="303" y="4485"/>
                    <a:pt x="354" y="4474"/>
                    <a:pt x="405" y="4462"/>
                  </a:cubicBezTo>
                  <a:cubicBezTo>
                    <a:pt x="429" y="4481"/>
                    <a:pt x="453" y="4499"/>
                    <a:pt x="478" y="4517"/>
                  </a:cubicBezTo>
                  <a:cubicBezTo>
                    <a:pt x="480" y="4520"/>
                    <a:pt x="482" y="4522"/>
                    <a:pt x="484" y="4524"/>
                  </a:cubicBezTo>
                  <a:cubicBezTo>
                    <a:pt x="541" y="4510"/>
                    <a:pt x="598" y="4496"/>
                    <a:pt x="656" y="4481"/>
                  </a:cubicBezTo>
                  <a:cubicBezTo>
                    <a:pt x="702" y="4449"/>
                    <a:pt x="749" y="4416"/>
                    <a:pt x="796" y="4383"/>
                  </a:cubicBezTo>
                  <a:cubicBezTo>
                    <a:pt x="810" y="4359"/>
                    <a:pt x="824" y="4334"/>
                    <a:pt x="839" y="4309"/>
                  </a:cubicBezTo>
                  <a:cubicBezTo>
                    <a:pt x="851" y="4275"/>
                    <a:pt x="863" y="4240"/>
                    <a:pt x="876" y="4205"/>
                  </a:cubicBezTo>
                  <a:cubicBezTo>
                    <a:pt x="923" y="4193"/>
                    <a:pt x="970" y="4181"/>
                    <a:pt x="1017" y="4168"/>
                  </a:cubicBezTo>
                  <a:cubicBezTo>
                    <a:pt x="1053" y="4177"/>
                    <a:pt x="1090" y="4185"/>
                    <a:pt x="1127" y="4193"/>
                  </a:cubicBezTo>
                  <a:cubicBezTo>
                    <a:pt x="1163" y="4161"/>
                    <a:pt x="1200" y="4128"/>
                    <a:pt x="1237" y="4095"/>
                  </a:cubicBezTo>
                  <a:cubicBezTo>
                    <a:pt x="1267" y="4114"/>
                    <a:pt x="1298" y="4132"/>
                    <a:pt x="1329" y="4150"/>
                  </a:cubicBezTo>
                  <a:cubicBezTo>
                    <a:pt x="1355" y="4156"/>
                    <a:pt x="1382" y="4162"/>
                    <a:pt x="1409" y="4168"/>
                  </a:cubicBezTo>
                  <a:cubicBezTo>
                    <a:pt x="1447" y="4168"/>
                    <a:pt x="1486" y="4168"/>
                    <a:pt x="1525" y="4168"/>
                  </a:cubicBezTo>
                  <a:cubicBezTo>
                    <a:pt x="1574" y="4203"/>
                    <a:pt x="1623" y="4238"/>
                    <a:pt x="1672" y="4272"/>
                  </a:cubicBezTo>
                  <a:cubicBezTo>
                    <a:pt x="1688" y="4291"/>
                    <a:pt x="1704" y="4310"/>
                    <a:pt x="1721" y="4328"/>
                  </a:cubicBezTo>
                  <a:cubicBezTo>
                    <a:pt x="1741" y="4312"/>
                    <a:pt x="1761" y="4296"/>
                    <a:pt x="1782" y="4279"/>
                  </a:cubicBezTo>
                  <a:close/>
                  <a:moveTo>
                    <a:pt x="2260" y="256"/>
                  </a:moveTo>
                  <a:cubicBezTo>
                    <a:pt x="2258" y="252"/>
                    <a:pt x="2256" y="248"/>
                    <a:pt x="2254" y="245"/>
                  </a:cubicBezTo>
                  <a:cubicBezTo>
                    <a:pt x="2256" y="248"/>
                    <a:pt x="2259" y="251"/>
                    <a:pt x="2262" y="255"/>
                  </a:cubicBezTo>
                  <a:cubicBezTo>
                    <a:pt x="2261" y="255"/>
                    <a:pt x="2260" y="255"/>
                    <a:pt x="2260" y="256"/>
                  </a:cubicBezTo>
                  <a:close/>
                </a:path>
              </a:pathLst>
            </a:custGeom>
            <a:solidFill>
              <a:srgbClr val="EC6602"/>
            </a:solidFill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89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1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55">
              <a:extLst>
                <a:ext uri="{FF2B5EF4-FFF2-40B4-BE49-F238E27FC236}">
                  <a16:creationId xmlns:a16="http://schemas.microsoft.com/office/drawing/2014/main" id="{799E9CDB-7189-8190-7837-D267B108CA3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0000">
              <a:off x="8166461" y="3445474"/>
              <a:ext cx="1743520" cy="1575830"/>
            </a:xfrm>
            <a:custGeom>
              <a:avLst/>
              <a:gdLst>
                <a:gd name="T0" fmla="*/ 92464 w 6698"/>
                <a:gd name="T1" fmla="*/ 1268491 h 6056"/>
                <a:gd name="T2" fmla="*/ 52888 w 6698"/>
                <a:gd name="T3" fmla="*/ 1123192 h 6056"/>
                <a:gd name="T4" fmla="*/ 105776 w 6698"/>
                <a:gd name="T5" fmla="*/ 999831 h 6056"/>
                <a:gd name="T6" fmla="*/ 246451 w 6698"/>
                <a:gd name="T7" fmla="*/ 951278 h 6056"/>
                <a:gd name="T8" fmla="*/ 356905 w 6698"/>
                <a:gd name="T9" fmla="*/ 876471 h 6056"/>
                <a:gd name="T10" fmla="*/ 539674 w 6698"/>
                <a:gd name="T11" fmla="*/ 821444 h 6056"/>
                <a:gd name="T12" fmla="*/ 700497 w 6698"/>
                <a:gd name="T13" fmla="*/ 680461 h 6056"/>
                <a:gd name="T14" fmla="*/ 720285 w 6698"/>
                <a:gd name="T15" fmla="*/ 546311 h 6056"/>
                <a:gd name="T16" fmla="*/ 722444 w 6698"/>
                <a:gd name="T17" fmla="*/ 389862 h 6056"/>
                <a:gd name="T18" fmla="*/ 836855 w 6698"/>
                <a:gd name="T19" fmla="*/ 345985 h 6056"/>
                <a:gd name="T20" fmla="*/ 951266 w 6698"/>
                <a:gd name="T21" fmla="*/ 370081 h 6056"/>
                <a:gd name="T22" fmla="*/ 1041571 w 6698"/>
                <a:gd name="T23" fmla="*/ 411801 h 6056"/>
                <a:gd name="T24" fmla="*/ 1136194 w 6698"/>
                <a:gd name="T25" fmla="*/ 253195 h 6056"/>
                <a:gd name="T26" fmla="*/ 1112089 w 6698"/>
                <a:gd name="T27" fmla="*/ 35246 h 6056"/>
                <a:gd name="T28" fmla="*/ 1310329 w 6698"/>
                <a:gd name="T29" fmla="*/ 81641 h 6056"/>
                <a:gd name="T30" fmla="*/ 1338752 w 6698"/>
                <a:gd name="T31" fmla="*/ 209317 h 6056"/>
                <a:gd name="T32" fmla="*/ 1572610 w 6698"/>
                <a:gd name="T33" fmla="*/ 290958 h 6056"/>
                <a:gd name="T34" fmla="*/ 1728756 w 6698"/>
                <a:gd name="T35" fmla="*/ 293116 h 6056"/>
                <a:gd name="T36" fmla="*/ 1843527 w 6698"/>
                <a:gd name="T37" fmla="*/ 162922 h 6056"/>
                <a:gd name="T38" fmla="*/ 1971250 w 6698"/>
                <a:gd name="T39" fmla="*/ 180545 h 6056"/>
                <a:gd name="T40" fmla="*/ 2077026 w 6698"/>
                <a:gd name="T41" fmla="*/ 255712 h 6056"/>
                <a:gd name="T42" fmla="*/ 2198273 w 6698"/>
                <a:gd name="T43" fmla="*/ 301748 h 6056"/>
                <a:gd name="T44" fmla="*/ 2299372 w 6698"/>
                <a:gd name="T45" fmla="*/ 372239 h 6056"/>
                <a:gd name="T46" fmla="*/ 2352260 w 6698"/>
                <a:gd name="T47" fmla="*/ 491284 h 6056"/>
                <a:gd name="T48" fmla="*/ 2381042 w 6698"/>
                <a:gd name="T49" fmla="*/ 625434 h 6056"/>
                <a:gd name="T50" fmla="*/ 2409465 w 6698"/>
                <a:gd name="T51" fmla="*/ 852374 h 6056"/>
                <a:gd name="T52" fmla="*/ 2312684 w 6698"/>
                <a:gd name="T53" fmla="*/ 823602 h 6056"/>
                <a:gd name="T54" fmla="*/ 2191437 w 6698"/>
                <a:gd name="T55" fmla="*/ 913875 h 6056"/>
                <a:gd name="T56" fmla="*/ 2041767 w 6698"/>
                <a:gd name="T57" fmla="*/ 913875 h 6056"/>
                <a:gd name="T58" fmla="*/ 1914044 w 6698"/>
                <a:gd name="T59" fmla="*/ 834751 h 6056"/>
                <a:gd name="T60" fmla="*/ 1880944 w 6698"/>
                <a:gd name="T61" fmla="*/ 1041551 h 6056"/>
                <a:gd name="T62" fmla="*/ 1894256 w 6698"/>
                <a:gd name="T63" fmla="*/ 1197999 h 6056"/>
                <a:gd name="T64" fmla="*/ 2006509 w 6698"/>
                <a:gd name="T65" fmla="*/ 1272807 h 6056"/>
                <a:gd name="T66" fmla="*/ 2160496 w 6698"/>
                <a:gd name="T67" fmla="*/ 1336825 h 6056"/>
                <a:gd name="T68" fmla="*/ 2173808 w 6698"/>
                <a:gd name="T69" fmla="*/ 1482124 h 6056"/>
                <a:gd name="T70" fmla="*/ 2147543 w 6698"/>
                <a:gd name="T71" fmla="*/ 1631739 h 6056"/>
                <a:gd name="T72" fmla="*/ 1929515 w 6698"/>
                <a:gd name="T73" fmla="*/ 1746468 h 6056"/>
                <a:gd name="T74" fmla="*/ 1841368 w 6698"/>
                <a:gd name="T75" fmla="*/ 1805811 h 6056"/>
                <a:gd name="T76" fmla="*/ 1675868 w 6698"/>
                <a:gd name="T77" fmla="*/ 1869109 h 6056"/>
                <a:gd name="T78" fmla="*/ 1561457 w 6698"/>
                <a:gd name="T79" fmla="*/ 1854004 h 6056"/>
                <a:gd name="T80" fmla="*/ 1468993 w 6698"/>
                <a:gd name="T81" fmla="*/ 1860478 h 6056"/>
                <a:gd name="T82" fmla="*/ 1343429 w 6698"/>
                <a:gd name="T83" fmla="*/ 1783872 h 6056"/>
                <a:gd name="T84" fmla="*/ 1220023 w 6698"/>
                <a:gd name="T85" fmla="*/ 1733161 h 6056"/>
                <a:gd name="T86" fmla="*/ 1054883 w 6698"/>
                <a:gd name="T87" fmla="*/ 1882416 h 6056"/>
                <a:gd name="T88" fmla="*/ 1096618 w 6698"/>
                <a:gd name="T89" fmla="*/ 2021242 h 6056"/>
                <a:gd name="T90" fmla="*/ 1092300 w 6698"/>
                <a:gd name="T91" fmla="*/ 2133453 h 6056"/>
                <a:gd name="T92" fmla="*/ 955583 w 6698"/>
                <a:gd name="T93" fmla="*/ 2153234 h 6056"/>
                <a:gd name="T94" fmla="*/ 834696 w 6698"/>
                <a:gd name="T95" fmla="*/ 2032391 h 6056"/>
                <a:gd name="T96" fmla="*/ 869595 w 6698"/>
                <a:gd name="T97" fmla="*/ 1838899 h 6056"/>
                <a:gd name="T98" fmla="*/ 788644 w 6698"/>
                <a:gd name="T99" fmla="*/ 1711222 h 6056"/>
                <a:gd name="T100" fmla="*/ 867436 w 6698"/>
                <a:gd name="T101" fmla="*/ 1647204 h 6056"/>
                <a:gd name="T102" fmla="*/ 616668 w 6698"/>
                <a:gd name="T103" fmla="*/ 1574555 h 6056"/>
                <a:gd name="T104" fmla="*/ 671714 w 6698"/>
                <a:gd name="T105" fmla="*/ 1374229 h 6056"/>
                <a:gd name="T106" fmla="*/ 537515 w 6698"/>
                <a:gd name="T107" fmla="*/ 1343299 h 6056"/>
                <a:gd name="T108" fmla="*/ 277393 w 6698"/>
                <a:gd name="T109" fmla="*/ 1270649 h 6056"/>
                <a:gd name="T110" fmla="*/ 132040 w 6698"/>
                <a:gd name="T111" fmla="*/ 1360562 h 605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698" h="6056">
                  <a:moveTo>
                    <a:pt x="361" y="3772"/>
                  </a:moveTo>
                  <a:cubicBezTo>
                    <a:pt x="361" y="3743"/>
                    <a:pt x="361" y="3714"/>
                    <a:pt x="361" y="3686"/>
                  </a:cubicBezTo>
                  <a:cubicBezTo>
                    <a:pt x="351" y="3661"/>
                    <a:pt x="341" y="3637"/>
                    <a:pt x="331" y="3613"/>
                  </a:cubicBezTo>
                  <a:cubicBezTo>
                    <a:pt x="332" y="3608"/>
                    <a:pt x="334" y="3604"/>
                    <a:pt x="336" y="3600"/>
                  </a:cubicBezTo>
                  <a:cubicBezTo>
                    <a:pt x="309" y="3575"/>
                    <a:pt x="283" y="3551"/>
                    <a:pt x="257" y="3527"/>
                  </a:cubicBezTo>
                  <a:cubicBezTo>
                    <a:pt x="206" y="3496"/>
                    <a:pt x="155" y="3465"/>
                    <a:pt x="104" y="3435"/>
                  </a:cubicBezTo>
                  <a:cubicBezTo>
                    <a:pt x="83" y="3390"/>
                    <a:pt x="63" y="3345"/>
                    <a:pt x="43" y="3300"/>
                  </a:cubicBezTo>
                  <a:cubicBezTo>
                    <a:pt x="28" y="3247"/>
                    <a:pt x="14" y="3194"/>
                    <a:pt x="0" y="3141"/>
                  </a:cubicBezTo>
                  <a:cubicBezTo>
                    <a:pt x="20" y="3131"/>
                    <a:pt x="40" y="3121"/>
                    <a:pt x="61" y="3111"/>
                  </a:cubicBezTo>
                  <a:cubicBezTo>
                    <a:pt x="89" y="3115"/>
                    <a:pt x="118" y="3119"/>
                    <a:pt x="147" y="3123"/>
                  </a:cubicBezTo>
                  <a:cubicBezTo>
                    <a:pt x="145" y="3098"/>
                    <a:pt x="143" y="3073"/>
                    <a:pt x="141" y="3049"/>
                  </a:cubicBezTo>
                  <a:cubicBezTo>
                    <a:pt x="155" y="3028"/>
                    <a:pt x="169" y="3008"/>
                    <a:pt x="183" y="2988"/>
                  </a:cubicBezTo>
                  <a:cubicBezTo>
                    <a:pt x="215" y="2971"/>
                    <a:pt x="248" y="2955"/>
                    <a:pt x="281" y="2939"/>
                  </a:cubicBezTo>
                  <a:cubicBezTo>
                    <a:pt x="285" y="2912"/>
                    <a:pt x="289" y="2886"/>
                    <a:pt x="294" y="2860"/>
                  </a:cubicBezTo>
                  <a:cubicBezTo>
                    <a:pt x="294" y="2833"/>
                    <a:pt x="294" y="2806"/>
                    <a:pt x="294" y="2780"/>
                  </a:cubicBezTo>
                  <a:cubicBezTo>
                    <a:pt x="318" y="2765"/>
                    <a:pt x="342" y="2751"/>
                    <a:pt x="367" y="2737"/>
                  </a:cubicBezTo>
                  <a:cubicBezTo>
                    <a:pt x="403" y="2737"/>
                    <a:pt x="440" y="2737"/>
                    <a:pt x="477" y="2737"/>
                  </a:cubicBezTo>
                  <a:cubicBezTo>
                    <a:pt x="509" y="2731"/>
                    <a:pt x="542" y="2725"/>
                    <a:pt x="575" y="2719"/>
                  </a:cubicBezTo>
                  <a:cubicBezTo>
                    <a:pt x="601" y="2712"/>
                    <a:pt x="628" y="2706"/>
                    <a:pt x="655" y="2700"/>
                  </a:cubicBezTo>
                  <a:cubicBezTo>
                    <a:pt x="665" y="2681"/>
                    <a:pt x="675" y="2663"/>
                    <a:pt x="685" y="2645"/>
                  </a:cubicBezTo>
                  <a:cubicBezTo>
                    <a:pt x="705" y="2610"/>
                    <a:pt x="726" y="2575"/>
                    <a:pt x="747" y="2541"/>
                  </a:cubicBezTo>
                  <a:cubicBezTo>
                    <a:pt x="755" y="2520"/>
                    <a:pt x="763" y="2500"/>
                    <a:pt x="771" y="2480"/>
                  </a:cubicBezTo>
                  <a:cubicBezTo>
                    <a:pt x="797" y="2476"/>
                    <a:pt x="824" y="2472"/>
                    <a:pt x="851" y="2468"/>
                  </a:cubicBezTo>
                  <a:cubicBezTo>
                    <a:pt x="881" y="2468"/>
                    <a:pt x="912" y="2468"/>
                    <a:pt x="943" y="2468"/>
                  </a:cubicBezTo>
                  <a:cubicBezTo>
                    <a:pt x="959" y="2457"/>
                    <a:pt x="975" y="2447"/>
                    <a:pt x="992" y="2437"/>
                  </a:cubicBezTo>
                  <a:cubicBezTo>
                    <a:pt x="1004" y="2424"/>
                    <a:pt x="1016" y="2412"/>
                    <a:pt x="1028" y="2400"/>
                  </a:cubicBezTo>
                  <a:cubicBezTo>
                    <a:pt x="1050" y="2398"/>
                    <a:pt x="1073" y="2396"/>
                    <a:pt x="1096" y="2394"/>
                  </a:cubicBezTo>
                  <a:cubicBezTo>
                    <a:pt x="1116" y="2375"/>
                    <a:pt x="1136" y="2357"/>
                    <a:pt x="1157" y="2339"/>
                  </a:cubicBezTo>
                  <a:cubicBezTo>
                    <a:pt x="1191" y="2322"/>
                    <a:pt x="1226" y="2306"/>
                    <a:pt x="1261" y="2290"/>
                  </a:cubicBezTo>
                  <a:cubicBezTo>
                    <a:pt x="1340" y="2288"/>
                    <a:pt x="1420" y="2286"/>
                    <a:pt x="1500" y="2284"/>
                  </a:cubicBezTo>
                  <a:cubicBezTo>
                    <a:pt x="1524" y="2276"/>
                    <a:pt x="1548" y="2268"/>
                    <a:pt x="1573" y="2260"/>
                  </a:cubicBezTo>
                  <a:cubicBezTo>
                    <a:pt x="1618" y="2227"/>
                    <a:pt x="1663" y="2194"/>
                    <a:pt x="1708" y="2162"/>
                  </a:cubicBezTo>
                  <a:cubicBezTo>
                    <a:pt x="1738" y="2127"/>
                    <a:pt x="1769" y="2092"/>
                    <a:pt x="1800" y="2058"/>
                  </a:cubicBezTo>
                  <a:cubicBezTo>
                    <a:pt x="1828" y="2027"/>
                    <a:pt x="1857" y="1996"/>
                    <a:pt x="1886" y="1966"/>
                  </a:cubicBezTo>
                  <a:cubicBezTo>
                    <a:pt x="1906" y="1941"/>
                    <a:pt x="1926" y="1916"/>
                    <a:pt x="1947" y="1892"/>
                  </a:cubicBezTo>
                  <a:cubicBezTo>
                    <a:pt x="1953" y="1867"/>
                    <a:pt x="1959" y="1843"/>
                    <a:pt x="1965" y="1819"/>
                  </a:cubicBezTo>
                  <a:cubicBezTo>
                    <a:pt x="1973" y="1798"/>
                    <a:pt x="1981" y="1778"/>
                    <a:pt x="1990" y="1758"/>
                  </a:cubicBezTo>
                  <a:cubicBezTo>
                    <a:pt x="1996" y="1737"/>
                    <a:pt x="2002" y="1716"/>
                    <a:pt x="2008" y="1696"/>
                  </a:cubicBezTo>
                  <a:cubicBezTo>
                    <a:pt x="2008" y="1665"/>
                    <a:pt x="2008" y="1634"/>
                    <a:pt x="2008" y="1604"/>
                  </a:cubicBezTo>
                  <a:cubicBezTo>
                    <a:pt x="2006" y="1575"/>
                    <a:pt x="2004" y="1547"/>
                    <a:pt x="2002" y="1519"/>
                  </a:cubicBezTo>
                  <a:cubicBezTo>
                    <a:pt x="2002" y="1494"/>
                    <a:pt x="2002" y="1469"/>
                    <a:pt x="2002" y="1445"/>
                  </a:cubicBezTo>
                  <a:cubicBezTo>
                    <a:pt x="2008" y="1420"/>
                    <a:pt x="2014" y="1396"/>
                    <a:pt x="2020" y="1372"/>
                  </a:cubicBezTo>
                  <a:cubicBezTo>
                    <a:pt x="2040" y="1341"/>
                    <a:pt x="2061" y="1310"/>
                    <a:pt x="2082" y="1280"/>
                  </a:cubicBezTo>
                  <a:cubicBezTo>
                    <a:pt x="2067" y="1243"/>
                    <a:pt x="2053" y="1206"/>
                    <a:pt x="2039" y="1170"/>
                  </a:cubicBezTo>
                  <a:cubicBezTo>
                    <a:pt x="2028" y="1141"/>
                    <a:pt x="2018" y="1112"/>
                    <a:pt x="2008" y="1084"/>
                  </a:cubicBezTo>
                  <a:cubicBezTo>
                    <a:pt x="2008" y="1061"/>
                    <a:pt x="2008" y="1039"/>
                    <a:pt x="2008" y="1017"/>
                  </a:cubicBezTo>
                  <a:cubicBezTo>
                    <a:pt x="2028" y="1000"/>
                    <a:pt x="2048" y="984"/>
                    <a:pt x="2069" y="968"/>
                  </a:cubicBezTo>
                  <a:cubicBezTo>
                    <a:pt x="2097" y="955"/>
                    <a:pt x="2126" y="943"/>
                    <a:pt x="2155" y="931"/>
                  </a:cubicBezTo>
                  <a:cubicBezTo>
                    <a:pt x="2185" y="922"/>
                    <a:pt x="2216" y="914"/>
                    <a:pt x="2247" y="906"/>
                  </a:cubicBezTo>
                  <a:cubicBezTo>
                    <a:pt x="2273" y="924"/>
                    <a:pt x="2299" y="943"/>
                    <a:pt x="2326" y="962"/>
                  </a:cubicBezTo>
                  <a:cubicBezTo>
                    <a:pt x="2342" y="978"/>
                    <a:pt x="2358" y="994"/>
                    <a:pt x="2374" y="1011"/>
                  </a:cubicBezTo>
                  <a:cubicBezTo>
                    <a:pt x="2399" y="1002"/>
                    <a:pt x="2424" y="994"/>
                    <a:pt x="2448" y="986"/>
                  </a:cubicBezTo>
                  <a:cubicBezTo>
                    <a:pt x="2463" y="984"/>
                    <a:pt x="2477" y="982"/>
                    <a:pt x="2491" y="980"/>
                  </a:cubicBezTo>
                  <a:cubicBezTo>
                    <a:pt x="2510" y="994"/>
                    <a:pt x="2528" y="1008"/>
                    <a:pt x="2546" y="1023"/>
                  </a:cubicBezTo>
                  <a:cubicBezTo>
                    <a:pt x="2579" y="1025"/>
                    <a:pt x="2612" y="1027"/>
                    <a:pt x="2644" y="1029"/>
                  </a:cubicBezTo>
                  <a:cubicBezTo>
                    <a:pt x="2652" y="1045"/>
                    <a:pt x="2660" y="1061"/>
                    <a:pt x="2668" y="1078"/>
                  </a:cubicBezTo>
                  <a:cubicBezTo>
                    <a:pt x="2681" y="1092"/>
                    <a:pt x="2693" y="1106"/>
                    <a:pt x="2705" y="1121"/>
                  </a:cubicBezTo>
                  <a:cubicBezTo>
                    <a:pt x="2736" y="1139"/>
                    <a:pt x="2767" y="1157"/>
                    <a:pt x="2797" y="1176"/>
                  </a:cubicBezTo>
                  <a:cubicBezTo>
                    <a:pt x="2816" y="1184"/>
                    <a:pt x="2834" y="1192"/>
                    <a:pt x="2852" y="1200"/>
                  </a:cubicBezTo>
                  <a:cubicBezTo>
                    <a:pt x="2867" y="1181"/>
                    <a:pt x="2881" y="1163"/>
                    <a:pt x="2895" y="1145"/>
                  </a:cubicBezTo>
                  <a:cubicBezTo>
                    <a:pt x="2899" y="1094"/>
                    <a:pt x="2903" y="1043"/>
                    <a:pt x="2907" y="992"/>
                  </a:cubicBezTo>
                  <a:cubicBezTo>
                    <a:pt x="2934" y="988"/>
                    <a:pt x="2961" y="984"/>
                    <a:pt x="2987" y="980"/>
                  </a:cubicBezTo>
                  <a:cubicBezTo>
                    <a:pt x="3020" y="949"/>
                    <a:pt x="3053" y="918"/>
                    <a:pt x="3085" y="888"/>
                  </a:cubicBezTo>
                  <a:cubicBezTo>
                    <a:pt x="3085" y="855"/>
                    <a:pt x="3085" y="822"/>
                    <a:pt x="3085" y="790"/>
                  </a:cubicBezTo>
                  <a:cubicBezTo>
                    <a:pt x="3110" y="761"/>
                    <a:pt x="3134" y="732"/>
                    <a:pt x="3158" y="704"/>
                  </a:cubicBezTo>
                  <a:cubicBezTo>
                    <a:pt x="3136" y="604"/>
                    <a:pt x="3114" y="504"/>
                    <a:pt x="3091" y="404"/>
                  </a:cubicBezTo>
                  <a:cubicBezTo>
                    <a:pt x="3108" y="379"/>
                    <a:pt x="3124" y="355"/>
                    <a:pt x="3140" y="331"/>
                  </a:cubicBezTo>
                  <a:cubicBezTo>
                    <a:pt x="3097" y="296"/>
                    <a:pt x="3054" y="261"/>
                    <a:pt x="3011" y="227"/>
                  </a:cubicBezTo>
                  <a:cubicBezTo>
                    <a:pt x="3030" y="204"/>
                    <a:pt x="3048" y="182"/>
                    <a:pt x="3066" y="160"/>
                  </a:cubicBezTo>
                  <a:cubicBezTo>
                    <a:pt x="3075" y="139"/>
                    <a:pt x="3083" y="118"/>
                    <a:pt x="3091" y="98"/>
                  </a:cubicBezTo>
                  <a:cubicBezTo>
                    <a:pt x="3099" y="65"/>
                    <a:pt x="3107" y="32"/>
                    <a:pt x="3115" y="0"/>
                  </a:cubicBezTo>
                  <a:cubicBezTo>
                    <a:pt x="3142" y="4"/>
                    <a:pt x="3169" y="8"/>
                    <a:pt x="3195" y="13"/>
                  </a:cubicBezTo>
                  <a:cubicBezTo>
                    <a:pt x="3224" y="15"/>
                    <a:pt x="3253" y="17"/>
                    <a:pt x="3281" y="19"/>
                  </a:cubicBezTo>
                  <a:cubicBezTo>
                    <a:pt x="3361" y="84"/>
                    <a:pt x="3440" y="149"/>
                    <a:pt x="3519" y="215"/>
                  </a:cubicBezTo>
                  <a:cubicBezTo>
                    <a:pt x="3560" y="219"/>
                    <a:pt x="3601" y="223"/>
                    <a:pt x="3642" y="227"/>
                  </a:cubicBezTo>
                  <a:cubicBezTo>
                    <a:pt x="3671" y="269"/>
                    <a:pt x="3700" y="312"/>
                    <a:pt x="3728" y="355"/>
                  </a:cubicBezTo>
                  <a:cubicBezTo>
                    <a:pt x="3757" y="373"/>
                    <a:pt x="3785" y="392"/>
                    <a:pt x="3813" y="411"/>
                  </a:cubicBezTo>
                  <a:cubicBezTo>
                    <a:pt x="3813" y="435"/>
                    <a:pt x="3813" y="459"/>
                    <a:pt x="3813" y="484"/>
                  </a:cubicBezTo>
                  <a:cubicBezTo>
                    <a:pt x="3783" y="498"/>
                    <a:pt x="3752" y="512"/>
                    <a:pt x="3721" y="527"/>
                  </a:cubicBezTo>
                  <a:cubicBezTo>
                    <a:pt x="3721" y="545"/>
                    <a:pt x="3721" y="563"/>
                    <a:pt x="3721" y="582"/>
                  </a:cubicBezTo>
                  <a:cubicBezTo>
                    <a:pt x="3742" y="600"/>
                    <a:pt x="3763" y="618"/>
                    <a:pt x="3783" y="637"/>
                  </a:cubicBezTo>
                  <a:cubicBezTo>
                    <a:pt x="3785" y="653"/>
                    <a:pt x="3787" y="669"/>
                    <a:pt x="3789" y="686"/>
                  </a:cubicBezTo>
                  <a:cubicBezTo>
                    <a:pt x="3826" y="706"/>
                    <a:pt x="3863" y="726"/>
                    <a:pt x="3899" y="747"/>
                  </a:cubicBezTo>
                  <a:cubicBezTo>
                    <a:pt x="4024" y="749"/>
                    <a:pt x="4149" y="751"/>
                    <a:pt x="4273" y="753"/>
                  </a:cubicBezTo>
                  <a:cubicBezTo>
                    <a:pt x="4306" y="771"/>
                    <a:pt x="4339" y="790"/>
                    <a:pt x="4371" y="809"/>
                  </a:cubicBezTo>
                  <a:cubicBezTo>
                    <a:pt x="4402" y="811"/>
                    <a:pt x="4432" y="813"/>
                    <a:pt x="4462" y="815"/>
                  </a:cubicBezTo>
                  <a:cubicBezTo>
                    <a:pt x="4489" y="819"/>
                    <a:pt x="4516" y="823"/>
                    <a:pt x="4542" y="827"/>
                  </a:cubicBezTo>
                  <a:cubicBezTo>
                    <a:pt x="4569" y="835"/>
                    <a:pt x="4596" y="843"/>
                    <a:pt x="4622" y="851"/>
                  </a:cubicBezTo>
                  <a:cubicBezTo>
                    <a:pt x="4653" y="871"/>
                    <a:pt x="4683" y="892"/>
                    <a:pt x="4713" y="913"/>
                  </a:cubicBezTo>
                  <a:cubicBezTo>
                    <a:pt x="4744" y="880"/>
                    <a:pt x="4775" y="847"/>
                    <a:pt x="4805" y="815"/>
                  </a:cubicBezTo>
                  <a:cubicBezTo>
                    <a:pt x="4828" y="788"/>
                    <a:pt x="4851" y="761"/>
                    <a:pt x="4873" y="735"/>
                  </a:cubicBezTo>
                  <a:cubicBezTo>
                    <a:pt x="4898" y="737"/>
                    <a:pt x="4922" y="739"/>
                    <a:pt x="4946" y="741"/>
                  </a:cubicBezTo>
                  <a:cubicBezTo>
                    <a:pt x="4965" y="700"/>
                    <a:pt x="4983" y="659"/>
                    <a:pt x="5001" y="619"/>
                  </a:cubicBezTo>
                  <a:cubicBezTo>
                    <a:pt x="5001" y="574"/>
                    <a:pt x="5001" y="529"/>
                    <a:pt x="5001" y="484"/>
                  </a:cubicBezTo>
                  <a:cubicBezTo>
                    <a:pt x="5042" y="473"/>
                    <a:pt x="5083" y="463"/>
                    <a:pt x="5124" y="453"/>
                  </a:cubicBezTo>
                  <a:cubicBezTo>
                    <a:pt x="5149" y="481"/>
                    <a:pt x="5173" y="510"/>
                    <a:pt x="5197" y="539"/>
                  </a:cubicBezTo>
                  <a:cubicBezTo>
                    <a:pt x="5224" y="551"/>
                    <a:pt x="5251" y="563"/>
                    <a:pt x="5277" y="576"/>
                  </a:cubicBezTo>
                  <a:cubicBezTo>
                    <a:pt x="5304" y="588"/>
                    <a:pt x="5330" y="600"/>
                    <a:pt x="5356" y="613"/>
                  </a:cubicBezTo>
                  <a:cubicBezTo>
                    <a:pt x="5377" y="592"/>
                    <a:pt x="5398" y="571"/>
                    <a:pt x="5418" y="551"/>
                  </a:cubicBezTo>
                  <a:cubicBezTo>
                    <a:pt x="5439" y="534"/>
                    <a:pt x="5459" y="518"/>
                    <a:pt x="5479" y="502"/>
                  </a:cubicBezTo>
                  <a:cubicBezTo>
                    <a:pt x="5498" y="512"/>
                    <a:pt x="5516" y="522"/>
                    <a:pt x="5534" y="533"/>
                  </a:cubicBezTo>
                  <a:cubicBezTo>
                    <a:pt x="5540" y="557"/>
                    <a:pt x="5546" y="581"/>
                    <a:pt x="5552" y="606"/>
                  </a:cubicBezTo>
                  <a:cubicBezTo>
                    <a:pt x="5585" y="606"/>
                    <a:pt x="5618" y="606"/>
                    <a:pt x="5650" y="606"/>
                  </a:cubicBezTo>
                  <a:cubicBezTo>
                    <a:pt x="5661" y="638"/>
                    <a:pt x="5671" y="671"/>
                    <a:pt x="5681" y="704"/>
                  </a:cubicBezTo>
                  <a:cubicBezTo>
                    <a:pt x="5712" y="706"/>
                    <a:pt x="5743" y="708"/>
                    <a:pt x="5773" y="711"/>
                  </a:cubicBezTo>
                  <a:cubicBezTo>
                    <a:pt x="5775" y="708"/>
                    <a:pt x="5777" y="706"/>
                    <a:pt x="5779" y="704"/>
                  </a:cubicBezTo>
                  <a:cubicBezTo>
                    <a:pt x="5779" y="726"/>
                    <a:pt x="5779" y="749"/>
                    <a:pt x="5779" y="772"/>
                  </a:cubicBezTo>
                  <a:cubicBezTo>
                    <a:pt x="5814" y="772"/>
                    <a:pt x="5849" y="772"/>
                    <a:pt x="5883" y="772"/>
                  </a:cubicBezTo>
                  <a:cubicBezTo>
                    <a:pt x="5918" y="778"/>
                    <a:pt x="5953" y="784"/>
                    <a:pt x="5987" y="790"/>
                  </a:cubicBezTo>
                  <a:cubicBezTo>
                    <a:pt x="6028" y="806"/>
                    <a:pt x="6069" y="822"/>
                    <a:pt x="6110" y="839"/>
                  </a:cubicBezTo>
                  <a:cubicBezTo>
                    <a:pt x="6147" y="851"/>
                    <a:pt x="6184" y="863"/>
                    <a:pt x="6220" y="876"/>
                  </a:cubicBezTo>
                  <a:cubicBezTo>
                    <a:pt x="6265" y="880"/>
                    <a:pt x="6310" y="884"/>
                    <a:pt x="6354" y="888"/>
                  </a:cubicBezTo>
                  <a:cubicBezTo>
                    <a:pt x="6393" y="912"/>
                    <a:pt x="6432" y="937"/>
                    <a:pt x="6471" y="962"/>
                  </a:cubicBezTo>
                  <a:cubicBezTo>
                    <a:pt x="6465" y="984"/>
                    <a:pt x="6459" y="1006"/>
                    <a:pt x="6452" y="1029"/>
                  </a:cubicBezTo>
                  <a:cubicBezTo>
                    <a:pt x="6432" y="1031"/>
                    <a:pt x="6412" y="1033"/>
                    <a:pt x="6391" y="1035"/>
                  </a:cubicBezTo>
                  <a:cubicBezTo>
                    <a:pt x="6373" y="1061"/>
                    <a:pt x="6355" y="1088"/>
                    <a:pt x="6336" y="1115"/>
                  </a:cubicBezTo>
                  <a:cubicBezTo>
                    <a:pt x="6330" y="1133"/>
                    <a:pt x="6324" y="1151"/>
                    <a:pt x="6318" y="1170"/>
                  </a:cubicBezTo>
                  <a:cubicBezTo>
                    <a:pt x="6324" y="1190"/>
                    <a:pt x="6330" y="1210"/>
                    <a:pt x="6336" y="1231"/>
                  </a:cubicBezTo>
                  <a:cubicBezTo>
                    <a:pt x="6383" y="1267"/>
                    <a:pt x="6430" y="1304"/>
                    <a:pt x="6477" y="1341"/>
                  </a:cubicBezTo>
                  <a:cubicBezTo>
                    <a:pt x="6498" y="1349"/>
                    <a:pt x="6518" y="1357"/>
                    <a:pt x="6538" y="1366"/>
                  </a:cubicBezTo>
                  <a:cubicBezTo>
                    <a:pt x="6540" y="1417"/>
                    <a:pt x="6542" y="1468"/>
                    <a:pt x="6544" y="1519"/>
                  </a:cubicBezTo>
                  <a:cubicBezTo>
                    <a:pt x="6569" y="1519"/>
                    <a:pt x="6594" y="1519"/>
                    <a:pt x="6618" y="1519"/>
                  </a:cubicBezTo>
                  <a:cubicBezTo>
                    <a:pt x="6618" y="1533"/>
                    <a:pt x="6618" y="1547"/>
                    <a:pt x="6618" y="1562"/>
                  </a:cubicBezTo>
                  <a:cubicBezTo>
                    <a:pt x="6620" y="1600"/>
                    <a:pt x="6622" y="1639"/>
                    <a:pt x="6624" y="1678"/>
                  </a:cubicBezTo>
                  <a:cubicBezTo>
                    <a:pt x="6622" y="1698"/>
                    <a:pt x="6620" y="1718"/>
                    <a:pt x="6618" y="1739"/>
                  </a:cubicBezTo>
                  <a:cubicBezTo>
                    <a:pt x="6635" y="1765"/>
                    <a:pt x="6651" y="1792"/>
                    <a:pt x="6667" y="1819"/>
                  </a:cubicBezTo>
                  <a:cubicBezTo>
                    <a:pt x="6671" y="1849"/>
                    <a:pt x="6675" y="1880"/>
                    <a:pt x="6679" y="1911"/>
                  </a:cubicBezTo>
                  <a:cubicBezTo>
                    <a:pt x="6677" y="1957"/>
                    <a:pt x="6675" y="2004"/>
                    <a:pt x="6673" y="2051"/>
                  </a:cubicBezTo>
                  <a:cubicBezTo>
                    <a:pt x="6675" y="2092"/>
                    <a:pt x="6677" y="2133"/>
                    <a:pt x="6679" y="2174"/>
                  </a:cubicBezTo>
                  <a:cubicBezTo>
                    <a:pt x="6685" y="2239"/>
                    <a:pt x="6691" y="2304"/>
                    <a:pt x="6697" y="2370"/>
                  </a:cubicBezTo>
                  <a:cubicBezTo>
                    <a:pt x="6683" y="2361"/>
                    <a:pt x="6669" y="2353"/>
                    <a:pt x="6655" y="2345"/>
                  </a:cubicBezTo>
                  <a:cubicBezTo>
                    <a:pt x="6637" y="2337"/>
                    <a:pt x="6618" y="2329"/>
                    <a:pt x="6599" y="2321"/>
                  </a:cubicBezTo>
                  <a:cubicBezTo>
                    <a:pt x="6583" y="2306"/>
                    <a:pt x="6567" y="2292"/>
                    <a:pt x="6550" y="2278"/>
                  </a:cubicBezTo>
                  <a:cubicBezTo>
                    <a:pt x="6528" y="2280"/>
                    <a:pt x="6506" y="2282"/>
                    <a:pt x="6483" y="2284"/>
                  </a:cubicBezTo>
                  <a:cubicBezTo>
                    <a:pt x="6465" y="2286"/>
                    <a:pt x="6447" y="2288"/>
                    <a:pt x="6428" y="2290"/>
                  </a:cubicBezTo>
                  <a:cubicBezTo>
                    <a:pt x="6408" y="2304"/>
                    <a:pt x="6388" y="2318"/>
                    <a:pt x="6367" y="2333"/>
                  </a:cubicBezTo>
                  <a:cubicBezTo>
                    <a:pt x="6341" y="2361"/>
                    <a:pt x="6314" y="2390"/>
                    <a:pt x="6287" y="2419"/>
                  </a:cubicBezTo>
                  <a:cubicBezTo>
                    <a:pt x="6267" y="2445"/>
                    <a:pt x="6247" y="2471"/>
                    <a:pt x="6226" y="2498"/>
                  </a:cubicBezTo>
                  <a:cubicBezTo>
                    <a:pt x="6206" y="2506"/>
                    <a:pt x="6186" y="2514"/>
                    <a:pt x="6165" y="2523"/>
                  </a:cubicBezTo>
                  <a:cubicBezTo>
                    <a:pt x="6141" y="2529"/>
                    <a:pt x="6116" y="2535"/>
                    <a:pt x="6091" y="2541"/>
                  </a:cubicBezTo>
                  <a:cubicBezTo>
                    <a:pt x="6069" y="2547"/>
                    <a:pt x="6047" y="2553"/>
                    <a:pt x="6024" y="2560"/>
                  </a:cubicBezTo>
                  <a:cubicBezTo>
                    <a:pt x="6000" y="2566"/>
                    <a:pt x="5975" y="2572"/>
                    <a:pt x="5950" y="2578"/>
                  </a:cubicBezTo>
                  <a:cubicBezTo>
                    <a:pt x="5914" y="2588"/>
                    <a:pt x="5877" y="2598"/>
                    <a:pt x="5840" y="2609"/>
                  </a:cubicBezTo>
                  <a:cubicBezTo>
                    <a:pt x="5800" y="2596"/>
                    <a:pt x="5759" y="2584"/>
                    <a:pt x="5718" y="2572"/>
                  </a:cubicBezTo>
                  <a:cubicBezTo>
                    <a:pt x="5704" y="2561"/>
                    <a:pt x="5690" y="2551"/>
                    <a:pt x="5675" y="2541"/>
                  </a:cubicBezTo>
                  <a:cubicBezTo>
                    <a:pt x="5653" y="2516"/>
                    <a:pt x="5630" y="2492"/>
                    <a:pt x="5607" y="2468"/>
                  </a:cubicBezTo>
                  <a:cubicBezTo>
                    <a:pt x="5583" y="2441"/>
                    <a:pt x="5559" y="2414"/>
                    <a:pt x="5534" y="2388"/>
                  </a:cubicBezTo>
                  <a:cubicBezTo>
                    <a:pt x="5528" y="2371"/>
                    <a:pt x="5522" y="2355"/>
                    <a:pt x="5516" y="2339"/>
                  </a:cubicBezTo>
                  <a:cubicBezTo>
                    <a:pt x="5488" y="2337"/>
                    <a:pt x="5459" y="2335"/>
                    <a:pt x="5430" y="2333"/>
                  </a:cubicBezTo>
                  <a:cubicBezTo>
                    <a:pt x="5394" y="2329"/>
                    <a:pt x="5357" y="2325"/>
                    <a:pt x="5320" y="2321"/>
                  </a:cubicBezTo>
                  <a:cubicBezTo>
                    <a:pt x="5279" y="2353"/>
                    <a:pt x="5238" y="2386"/>
                    <a:pt x="5197" y="2419"/>
                  </a:cubicBezTo>
                  <a:cubicBezTo>
                    <a:pt x="5193" y="2455"/>
                    <a:pt x="5189" y="2492"/>
                    <a:pt x="5185" y="2529"/>
                  </a:cubicBezTo>
                  <a:cubicBezTo>
                    <a:pt x="5189" y="2572"/>
                    <a:pt x="5193" y="2615"/>
                    <a:pt x="5197" y="2658"/>
                  </a:cubicBezTo>
                  <a:cubicBezTo>
                    <a:pt x="5187" y="2698"/>
                    <a:pt x="5177" y="2739"/>
                    <a:pt x="5167" y="2780"/>
                  </a:cubicBezTo>
                  <a:cubicBezTo>
                    <a:pt x="5188" y="2818"/>
                    <a:pt x="5208" y="2857"/>
                    <a:pt x="5228" y="2896"/>
                  </a:cubicBezTo>
                  <a:cubicBezTo>
                    <a:pt x="5220" y="2910"/>
                    <a:pt x="5212" y="2924"/>
                    <a:pt x="5203" y="2939"/>
                  </a:cubicBezTo>
                  <a:cubicBezTo>
                    <a:pt x="5193" y="2967"/>
                    <a:pt x="5183" y="2996"/>
                    <a:pt x="5173" y="3025"/>
                  </a:cubicBezTo>
                  <a:cubicBezTo>
                    <a:pt x="5155" y="3063"/>
                    <a:pt x="5137" y="3102"/>
                    <a:pt x="5118" y="3141"/>
                  </a:cubicBezTo>
                  <a:cubicBezTo>
                    <a:pt x="5126" y="3171"/>
                    <a:pt x="5134" y="3202"/>
                    <a:pt x="5142" y="3233"/>
                  </a:cubicBezTo>
                  <a:cubicBezTo>
                    <a:pt x="5183" y="3265"/>
                    <a:pt x="5224" y="3298"/>
                    <a:pt x="5265" y="3331"/>
                  </a:cubicBezTo>
                  <a:cubicBezTo>
                    <a:pt x="5288" y="3349"/>
                    <a:pt x="5310" y="3367"/>
                    <a:pt x="5332" y="3386"/>
                  </a:cubicBezTo>
                  <a:cubicBezTo>
                    <a:pt x="5355" y="3404"/>
                    <a:pt x="5377" y="3422"/>
                    <a:pt x="5399" y="3441"/>
                  </a:cubicBezTo>
                  <a:cubicBezTo>
                    <a:pt x="5422" y="3445"/>
                    <a:pt x="5445" y="3449"/>
                    <a:pt x="5467" y="3454"/>
                  </a:cubicBezTo>
                  <a:cubicBezTo>
                    <a:pt x="5488" y="3466"/>
                    <a:pt x="5508" y="3478"/>
                    <a:pt x="5528" y="3490"/>
                  </a:cubicBezTo>
                  <a:cubicBezTo>
                    <a:pt x="5545" y="3506"/>
                    <a:pt x="5561" y="3522"/>
                    <a:pt x="5577" y="3539"/>
                  </a:cubicBezTo>
                  <a:cubicBezTo>
                    <a:pt x="5608" y="3563"/>
                    <a:pt x="5639" y="3588"/>
                    <a:pt x="5669" y="3613"/>
                  </a:cubicBezTo>
                  <a:cubicBezTo>
                    <a:pt x="5702" y="3623"/>
                    <a:pt x="5735" y="3633"/>
                    <a:pt x="5767" y="3643"/>
                  </a:cubicBezTo>
                  <a:cubicBezTo>
                    <a:pt x="5792" y="3653"/>
                    <a:pt x="5816" y="3663"/>
                    <a:pt x="5840" y="3674"/>
                  </a:cubicBezTo>
                  <a:cubicBezTo>
                    <a:pt x="5863" y="3674"/>
                    <a:pt x="5886" y="3674"/>
                    <a:pt x="5908" y="3674"/>
                  </a:cubicBezTo>
                  <a:cubicBezTo>
                    <a:pt x="5941" y="3688"/>
                    <a:pt x="5973" y="3702"/>
                    <a:pt x="6005" y="3717"/>
                  </a:cubicBezTo>
                  <a:cubicBezTo>
                    <a:pt x="6042" y="3747"/>
                    <a:pt x="6079" y="3778"/>
                    <a:pt x="6116" y="3809"/>
                  </a:cubicBezTo>
                  <a:cubicBezTo>
                    <a:pt x="6122" y="3841"/>
                    <a:pt x="6128" y="3874"/>
                    <a:pt x="6134" y="3907"/>
                  </a:cubicBezTo>
                  <a:cubicBezTo>
                    <a:pt x="6118" y="3919"/>
                    <a:pt x="6102" y="3931"/>
                    <a:pt x="6085" y="3943"/>
                  </a:cubicBezTo>
                  <a:cubicBezTo>
                    <a:pt x="6085" y="3971"/>
                    <a:pt x="6085" y="4000"/>
                    <a:pt x="6085" y="4029"/>
                  </a:cubicBezTo>
                  <a:cubicBezTo>
                    <a:pt x="6071" y="4059"/>
                    <a:pt x="6057" y="4090"/>
                    <a:pt x="6042" y="4121"/>
                  </a:cubicBezTo>
                  <a:cubicBezTo>
                    <a:pt x="6032" y="4139"/>
                    <a:pt x="6022" y="4157"/>
                    <a:pt x="6012" y="4176"/>
                  </a:cubicBezTo>
                  <a:cubicBezTo>
                    <a:pt x="6012" y="4200"/>
                    <a:pt x="6012" y="4224"/>
                    <a:pt x="6012" y="4249"/>
                  </a:cubicBezTo>
                  <a:cubicBezTo>
                    <a:pt x="6026" y="4288"/>
                    <a:pt x="6040" y="4327"/>
                    <a:pt x="6054" y="4366"/>
                  </a:cubicBezTo>
                  <a:cubicBezTo>
                    <a:pt x="6048" y="4402"/>
                    <a:pt x="6042" y="4439"/>
                    <a:pt x="6036" y="4476"/>
                  </a:cubicBezTo>
                  <a:cubicBezTo>
                    <a:pt x="6014" y="4496"/>
                    <a:pt x="5992" y="4516"/>
                    <a:pt x="5969" y="4537"/>
                  </a:cubicBezTo>
                  <a:cubicBezTo>
                    <a:pt x="5937" y="4576"/>
                    <a:pt x="5904" y="4615"/>
                    <a:pt x="5871" y="4654"/>
                  </a:cubicBezTo>
                  <a:cubicBezTo>
                    <a:pt x="5835" y="4670"/>
                    <a:pt x="5798" y="4686"/>
                    <a:pt x="5761" y="4703"/>
                  </a:cubicBezTo>
                  <a:cubicBezTo>
                    <a:pt x="5706" y="4723"/>
                    <a:pt x="5651" y="4743"/>
                    <a:pt x="5595" y="4764"/>
                  </a:cubicBezTo>
                  <a:cubicBezTo>
                    <a:pt x="5569" y="4774"/>
                    <a:pt x="5543" y="4784"/>
                    <a:pt x="5516" y="4794"/>
                  </a:cubicBezTo>
                  <a:cubicBezTo>
                    <a:pt x="5465" y="4814"/>
                    <a:pt x="5414" y="4835"/>
                    <a:pt x="5363" y="4856"/>
                  </a:cubicBezTo>
                  <a:cubicBezTo>
                    <a:pt x="5365" y="4876"/>
                    <a:pt x="5367" y="4896"/>
                    <a:pt x="5369" y="4917"/>
                  </a:cubicBezTo>
                  <a:cubicBezTo>
                    <a:pt x="5355" y="4937"/>
                    <a:pt x="5341" y="4957"/>
                    <a:pt x="5326" y="4978"/>
                  </a:cubicBezTo>
                  <a:cubicBezTo>
                    <a:pt x="5294" y="4980"/>
                    <a:pt x="5261" y="4982"/>
                    <a:pt x="5228" y="4984"/>
                  </a:cubicBezTo>
                  <a:cubicBezTo>
                    <a:pt x="5206" y="4984"/>
                    <a:pt x="5183" y="4984"/>
                    <a:pt x="5160" y="4984"/>
                  </a:cubicBezTo>
                  <a:cubicBezTo>
                    <a:pt x="5146" y="4996"/>
                    <a:pt x="5132" y="5008"/>
                    <a:pt x="5118" y="5021"/>
                  </a:cubicBezTo>
                  <a:cubicBezTo>
                    <a:pt x="5092" y="5061"/>
                    <a:pt x="5065" y="5102"/>
                    <a:pt x="5038" y="5142"/>
                  </a:cubicBezTo>
                  <a:cubicBezTo>
                    <a:pt x="5030" y="5163"/>
                    <a:pt x="5022" y="5184"/>
                    <a:pt x="5014" y="5204"/>
                  </a:cubicBezTo>
                  <a:cubicBezTo>
                    <a:pt x="4986" y="5210"/>
                    <a:pt x="4952" y="5222"/>
                    <a:pt x="4928" y="5222"/>
                  </a:cubicBezTo>
                  <a:cubicBezTo>
                    <a:pt x="4903" y="5222"/>
                    <a:pt x="4875" y="5222"/>
                    <a:pt x="4848" y="5222"/>
                  </a:cubicBezTo>
                  <a:cubicBezTo>
                    <a:pt x="4785" y="5214"/>
                    <a:pt x="4722" y="5206"/>
                    <a:pt x="4658" y="5197"/>
                  </a:cubicBezTo>
                  <a:cubicBezTo>
                    <a:pt x="4636" y="5183"/>
                    <a:pt x="4614" y="5169"/>
                    <a:pt x="4591" y="5155"/>
                  </a:cubicBezTo>
                  <a:cubicBezTo>
                    <a:pt x="4567" y="5127"/>
                    <a:pt x="4543" y="5098"/>
                    <a:pt x="4518" y="5070"/>
                  </a:cubicBezTo>
                  <a:cubicBezTo>
                    <a:pt x="4502" y="5070"/>
                    <a:pt x="4486" y="5070"/>
                    <a:pt x="4469" y="5070"/>
                  </a:cubicBezTo>
                  <a:cubicBezTo>
                    <a:pt x="4441" y="5076"/>
                    <a:pt x="4412" y="5082"/>
                    <a:pt x="4383" y="5088"/>
                  </a:cubicBezTo>
                  <a:cubicBezTo>
                    <a:pt x="4369" y="5110"/>
                    <a:pt x="4355" y="5133"/>
                    <a:pt x="4340" y="5155"/>
                  </a:cubicBezTo>
                  <a:cubicBezTo>
                    <a:pt x="4314" y="5157"/>
                    <a:pt x="4287" y="5159"/>
                    <a:pt x="4260" y="5161"/>
                  </a:cubicBezTo>
                  <a:cubicBezTo>
                    <a:pt x="4228" y="5165"/>
                    <a:pt x="4195" y="5169"/>
                    <a:pt x="4162" y="5173"/>
                  </a:cubicBezTo>
                  <a:cubicBezTo>
                    <a:pt x="4150" y="5202"/>
                    <a:pt x="4138" y="5231"/>
                    <a:pt x="4126" y="5259"/>
                  </a:cubicBezTo>
                  <a:cubicBezTo>
                    <a:pt x="4110" y="5257"/>
                    <a:pt x="4094" y="5255"/>
                    <a:pt x="4077" y="5253"/>
                  </a:cubicBezTo>
                  <a:cubicBezTo>
                    <a:pt x="4079" y="5227"/>
                    <a:pt x="4081" y="5200"/>
                    <a:pt x="4083" y="5173"/>
                  </a:cubicBezTo>
                  <a:cubicBezTo>
                    <a:pt x="4079" y="5153"/>
                    <a:pt x="4075" y="5133"/>
                    <a:pt x="4071" y="5113"/>
                  </a:cubicBezTo>
                  <a:cubicBezTo>
                    <a:pt x="4036" y="5082"/>
                    <a:pt x="4001" y="5051"/>
                    <a:pt x="3966" y="5021"/>
                  </a:cubicBezTo>
                  <a:cubicBezTo>
                    <a:pt x="3932" y="4990"/>
                    <a:pt x="3897" y="4959"/>
                    <a:pt x="3862" y="4929"/>
                  </a:cubicBezTo>
                  <a:cubicBezTo>
                    <a:pt x="3858" y="4929"/>
                    <a:pt x="3854" y="4929"/>
                    <a:pt x="3850" y="4929"/>
                  </a:cubicBezTo>
                  <a:cubicBezTo>
                    <a:pt x="3812" y="4939"/>
                    <a:pt x="3773" y="4949"/>
                    <a:pt x="3734" y="4960"/>
                  </a:cubicBezTo>
                  <a:cubicBezTo>
                    <a:pt x="3720" y="4945"/>
                    <a:pt x="3706" y="4931"/>
                    <a:pt x="3691" y="4917"/>
                  </a:cubicBezTo>
                  <a:cubicBezTo>
                    <a:pt x="3681" y="4919"/>
                    <a:pt x="3671" y="4921"/>
                    <a:pt x="3660" y="4923"/>
                  </a:cubicBezTo>
                  <a:cubicBezTo>
                    <a:pt x="3624" y="4919"/>
                    <a:pt x="3587" y="4915"/>
                    <a:pt x="3550" y="4911"/>
                  </a:cubicBezTo>
                  <a:cubicBezTo>
                    <a:pt x="3534" y="4906"/>
                    <a:pt x="3518" y="4902"/>
                    <a:pt x="3501" y="4898"/>
                  </a:cubicBezTo>
                  <a:cubicBezTo>
                    <a:pt x="3465" y="4871"/>
                    <a:pt x="3428" y="4845"/>
                    <a:pt x="3391" y="4819"/>
                  </a:cubicBezTo>
                  <a:cubicBezTo>
                    <a:pt x="3359" y="4843"/>
                    <a:pt x="3326" y="4867"/>
                    <a:pt x="3293" y="4892"/>
                  </a:cubicBezTo>
                  <a:cubicBezTo>
                    <a:pt x="3246" y="4918"/>
                    <a:pt x="3199" y="4945"/>
                    <a:pt x="3152" y="4972"/>
                  </a:cubicBezTo>
                  <a:cubicBezTo>
                    <a:pt x="3085" y="5012"/>
                    <a:pt x="3018" y="5053"/>
                    <a:pt x="2950" y="5094"/>
                  </a:cubicBezTo>
                  <a:cubicBezTo>
                    <a:pt x="2946" y="5104"/>
                    <a:pt x="2942" y="5114"/>
                    <a:pt x="2938" y="5124"/>
                  </a:cubicBezTo>
                  <a:cubicBezTo>
                    <a:pt x="2936" y="5161"/>
                    <a:pt x="2934" y="5198"/>
                    <a:pt x="2932" y="5234"/>
                  </a:cubicBezTo>
                  <a:cubicBezTo>
                    <a:pt x="2932" y="5267"/>
                    <a:pt x="2932" y="5300"/>
                    <a:pt x="2932" y="5332"/>
                  </a:cubicBezTo>
                  <a:cubicBezTo>
                    <a:pt x="2932" y="5361"/>
                    <a:pt x="2932" y="5390"/>
                    <a:pt x="2932" y="5418"/>
                  </a:cubicBezTo>
                  <a:cubicBezTo>
                    <a:pt x="2936" y="5445"/>
                    <a:pt x="2940" y="5472"/>
                    <a:pt x="2944" y="5498"/>
                  </a:cubicBezTo>
                  <a:cubicBezTo>
                    <a:pt x="2957" y="5521"/>
                    <a:pt x="2969" y="5543"/>
                    <a:pt x="2981" y="5565"/>
                  </a:cubicBezTo>
                  <a:cubicBezTo>
                    <a:pt x="3004" y="5584"/>
                    <a:pt x="3026" y="5602"/>
                    <a:pt x="3048" y="5620"/>
                  </a:cubicBezTo>
                  <a:cubicBezTo>
                    <a:pt x="3069" y="5645"/>
                    <a:pt x="3089" y="5669"/>
                    <a:pt x="3109" y="5693"/>
                  </a:cubicBezTo>
                  <a:cubicBezTo>
                    <a:pt x="3118" y="5716"/>
                    <a:pt x="3126" y="5739"/>
                    <a:pt x="3134" y="5761"/>
                  </a:cubicBezTo>
                  <a:cubicBezTo>
                    <a:pt x="3134" y="5794"/>
                    <a:pt x="3134" y="5827"/>
                    <a:pt x="3134" y="5859"/>
                  </a:cubicBezTo>
                  <a:cubicBezTo>
                    <a:pt x="3128" y="5865"/>
                    <a:pt x="3122" y="5871"/>
                    <a:pt x="3115" y="5877"/>
                  </a:cubicBezTo>
                  <a:cubicBezTo>
                    <a:pt x="3089" y="5896"/>
                    <a:pt x="3063" y="5914"/>
                    <a:pt x="3036" y="5932"/>
                  </a:cubicBezTo>
                  <a:cubicBezTo>
                    <a:pt x="3030" y="5951"/>
                    <a:pt x="3024" y="5969"/>
                    <a:pt x="3017" y="5987"/>
                  </a:cubicBezTo>
                  <a:cubicBezTo>
                    <a:pt x="3011" y="6010"/>
                    <a:pt x="3005" y="6033"/>
                    <a:pt x="2999" y="6055"/>
                  </a:cubicBezTo>
                  <a:cubicBezTo>
                    <a:pt x="2973" y="6049"/>
                    <a:pt x="2946" y="6043"/>
                    <a:pt x="2919" y="6036"/>
                  </a:cubicBezTo>
                  <a:cubicBezTo>
                    <a:pt x="2873" y="6030"/>
                    <a:pt x="2826" y="6024"/>
                    <a:pt x="2779" y="6018"/>
                  </a:cubicBezTo>
                  <a:cubicBezTo>
                    <a:pt x="2738" y="6008"/>
                    <a:pt x="2697" y="5998"/>
                    <a:pt x="2656" y="5987"/>
                  </a:cubicBezTo>
                  <a:cubicBezTo>
                    <a:pt x="2658" y="5987"/>
                    <a:pt x="2660" y="5987"/>
                    <a:pt x="2662" y="5987"/>
                  </a:cubicBezTo>
                  <a:cubicBezTo>
                    <a:pt x="2626" y="5963"/>
                    <a:pt x="2589" y="5939"/>
                    <a:pt x="2552" y="5914"/>
                  </a:cubicBezTo>
                  <a:cubicBezTo>
                    <a:pt x="2520" y="5888"/>
                    <a:pt x="2487" y="5861"/>
                    <a:pt x="2454" y="5834"/>
                  </a:cubicBezTo>
                  <a:cubicBezTo>
                    <a:pt x="2411" y="5808"/>
                    <a:pt x="2368" y="5782"/>
                    <a:pt x="2326" y="5755"/>
                  </a:cubicBezTo>
                  <a:cubicBezTo>
                    <a:pt x="2324" y="5721"/>
                    <a:pt x="2322" y="5686"/>
                    <a:pt x="2320" y="5651"/>
                  </a:cubicBezTo>
                  <a:cubicBezTo>
                    <a:pt x="2332" y="5614"/>
                    <a:pt x="2344" y="5577"/>
                    <a:pt x="2356" y="5540"/>
                  </a:cubicBezTo>
                  <a:cubicBezTo>
                    <a:pt x="2375" y="5508"/>
                    <a:pt x="2393" y="5475"/>
                    <a:pt x="2411" y="5442"/>
                  </a:cubicBezTo>
                  <a:cubicBezTo>
                    <a:pt x="2407" y="5410"/>
                    <a:pt x="2403" y="5377"/>
                    <a:pt x="2399" y="5344"/>
                  </a:cubicBezTo>
                  <a:cubicBezTo>
                    <a:pt x="2385" y="5330"/>
                    <a:pt x="2371" y="5316"/>
                    <a:pt x="2356" y="5302"/>
                  </a:cubicBezTo>
                  <a:cubicBezTo>
                    <a:pt x="2377" y="5239"/>
                    <a:pt x="2397" y="5176"/>
                    <a:pt x="2417" y="5113"/>
                  </a:cubicBezTo>
                  <a:cubicBezTo>
                    <a:pt x="2436" y="5055"/>
                    <a:pt x="2454" y="4998"/>
                    <a:pt x="2472" y="4941"/>
                  </a:cubicBezTo>
                  <a:cubicBezTo>
                    <a:pt x="2468" y="4914"/>
                    <a:pt x="2464" y="4888"/>
                    <a:pt x="2460" y="4862"/>
                  </a:cubicBezTo>
                  <a:cubicBezTo>
                    <a:pt x="2446" y="4855"/>
                    <a:pt x="2432" y="4849"/>
                    <a:pt x="2417" y="4843"/>
                  </a:cubicBezTo>
                  <a:cubicBezTo>
                    <a:pt x="2383" y="4839"/>
                    <a:pt x="2348" y="4835"/>
                    <a:pt x="2314" y="4831"/>
                  </a:cubicBezTo>
                  <a:cubicBezTo>
                    <a:pt x="2273" y="4806"/>
                    <a:pt x="2232" y="4782"/>
                    <a:pt x="2192" y="4758"/>
                  </a:cubicBezTo>
                  <a:cubicBezTo>
                    <a:pt x="2167" y="4737"/>
                    <a:pt x="2142" y="4716"/>
                    <a:pt x="2118" y="4696"/>
                  </a:cubicBezTo>
                  <a:cubicBezTo>
                    <a:pt x="2118" y="4688"/>
                    <a:pt x="2118" y="4680"/>
                    <a:pt x="2118" y="4672"/>
                  </a:cubicBezTo>
                  <a:cubicBezTo>
                    <a:pt x="2206" y="4672"/>
                    <a:pt x="2294" y="4672"/>
                    <a:pt x="2381" y="4672"/>
                  </a:cubicBezTo>
                  <a:cubicBezTo>
                    <a:pt x="2393" y="4659"/>
                    <a:pt x="2405" y="4647"/>
                    <a:pt x="2417" y="4635"/>
                  </a:cubicBezTo>
                  <a:cubicBezTo>
                    <a:pt x="2415" y="4616"/>
                    <a:pt x="2413" y="4598"/>
                    <a:pt x="2411" y="4580"/>
                  </a:cubicBezTo>
                  <a:cubicBezTo>
                    <a:pt x="2358" y="4555"/>
                    <a:pt x="2306" y="4531"/>
                    <a:pt x="2253" y="4507"/>
                  </a:cubicBezTo>
                  <a:cubicBezTo>
                    <a:pt x="2179" y="4500"/>
                    <a:pt x="2106" y="4494"/>
                    <a:pt x="2033" y="4488"/>
                  </a:cubicBezTo>
                  <a:cubicBezTo>
                    <a:pt x="1998" y="4490"/>
                    <a:pt x="1963" y="4492"/>
                    <a:pt x="1928" y="4494"/>
                  </a:cubicBezTo>
                  <a:cubicBezTo>
                    <a:pt x="1877" y="4494"/>
                    <a:pt x="1826" y="4494"/>
                    <a:pt x="1775" y="4494"/>
                  </a:cubicBezTo>
                  <a:cubicBezTo>
                    <a:pt x="1754" y="4455"/>
                    <a:pt x="1734" y="4416"/>
                    <a:pt x="1714" y="4378"/>
                  </a:cubicBezTo>
                  <a:cubicBezTo>
                    <a:pt x="1689" y="4300"/>
                    <a:pt x="1665" y="4222"/>
                    <a:pt x="1641" y="4145"/>
                  </a:cubicBezTo>
                  <a:cubicBezTo>
                    <a:pt x="1624" y="4082"/>
                    <a:pt x="1608" y="4019"/>
                    <a:pt x="1592" y="3956"/>
                  </a:cubicBezTo>
                  <a:cubicBezTo>
                    <a:pt x="1606" y="3907"/>
                    <a:pt x="1620" y="3858"/>
                    <a:pt x="1635" y="3809"/>
                  </a:cubicBezTo>
                  <a:cubicBezTo>
                    <a:pt x="1686" y="3811"/>
                    <a:pt x="1737" y="3813"/>
                    <a:pt x="1788" y="3815"/>
                  </a:cubicBezTo>
                  <a:cubicBezTo>
                    <a:pt x="1814" y="3817"/>
                    <a:pt x="1840" y="3819"/>
                    <a:pt x="1867" y="3821"/>
                  </a:cubicBezTo>
                  <a:cubicBezTo>
                    <a:pt x="1867" y="3794"/>
                    <a:pt x="1867" y="3767"/>
                    <a:pt x="1867" y="3741"/>
                  </a:cubicBezTo>
                  <a:cubicBezTo>
                    <a:pt x="1850" y="3716"/>
                    <a:pt x="1834" y="3692"/>
                    <a:pt x="1818" y="3668"/>
                  </a:cubicBezTo>
                  <a:cubicBezTo>
                    <a:pt x="1777" y="3659"/>
                    <a:pt x="1736" y="3651"/>
                    <a:pt x="1696" y="3643"/>
                  </a:cubicBezTo>
                  <a:cubicBezTo>
                    <a:pt x="1655" y="3649"/>
                    <a:pt x="1614" y="3655"/>
                    <a:pt x="1573" y="3662"/>
                  </a:cubicBezTo>
                  <a:cubicBezTo>
                    <a:pt x="1546" y="3686"/>
                    <a:pt x="1520" y="3710"/>
                    <a:pt x="1494" y="3735"/>
                  </a:cubicBezTo>
                  <a:cubicBezTo>
                    <a:pt x="1426" y="3737"/>
                    <a:pt x="1359" y="3739"/>
                    <a:pt x="1292" y="3741"/>
                  </a:cubicBezTo>
                  <a:cubicBezTo>
                    <a:pt x="1222" y="3731"/>
                    <a:pt x="1152" y="3721"/>
                    <a:pt x="1083" y="3711"/>
                  </a:cubicBezTo>
                  <a:cubicBezTo>
                    <a:pt x="1038" y="3670"/>
                    <a:pt x="993" y="3629"/>
                    <a:pt x="949" y="3588"/>
                  </a:cubicBezTo>
                  <a:cubicBezTo>
                    <a:pt x="928" y="3567"/>
                    <a:pt x="908" y="3547"/>
                    <a:pt x="888" y="3527"/>
                  </a:cubicBezTo>
                  <a:cubicBezTo>
                    <a:pt x="849" y="3529"/>
                    <a:pt x="810" y="3531"/>
                    <a:pt x="771" y="3533"/>
                  </a:cubicBezTo>
                  <a:cubicBezTo>
                    <a:pt x="738" y="3543"/>
                    <a:pt x="705" y="3553"/>
                    <a:pt x="673" y="3564"/>
                  </a:cubicBezTo>
                  <a:cubicBezTo>
                    <a:pt x="650" y="3566"/>
                    <a:pt x="628" y="3568"/>
                    <a:pt x="606" y="3570"/>
                  </a:cubicBezTo>
                  <a:cubicBezTo>
                    <a:pt x="597" y="3590"/>
                    <a:pt x="589" y="3610"/>
                    <a:pt x="581" y="3631"/>
                  </a:cubicBezTo>
                  <a:cubicBezTo>
                    <a:pt x="569" y="3665"/>
                    <a:pt x="557" y="3700"/>
                    <a:pt x="545" y="3735"/>
                  </a:cubicBezTo>
                  <a:cubicBezTo>
                    <a:pt x="485" y="3751"/>
                    <a:pt x="426" y="3767"/>
                    <a:pt x="367" y="3783"/>
                  </a:cubicBezTo>
                  <a:cubicBezTo>
                    <a:pt x="365" y="3779"/>
                    <a:pt x="363" y="3775"/>
                    <a:pt x="361" y="3772"/>
                  </a:cubicBezTo>
                </a:path>
              </a:pathLst>
            </a:custGeom>
            <a:solidFill>
              <a:srgbClr val="F9B591"/>
            </a:solidFill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89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1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53">
              <a:extLst>
                <a:ext uri="{FF2B5EF4-FFF2-40B4-BE49-F238E27FC236}">
                  <a16:creationId xmlns:a16="http://schemas.microsoft.com/office/drawing/2014/main" id="{AFE4020F-24D0-AB9E-84A1-44D063EBCF9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0000">
              <a:off x="8810805" y="4526273"/>
              <a:ext cx="2107616" cy="1439151"/>
            </a:xfrm>
            <a:custGeom>
              <a:avLst/>
              <a:gdLst>
                <a:gd name="T0" fmla="*/ 1242801 w 8096"/>
                <a:gd name="T1" fmla="*/ 174126 h 5529"/>
                <a:gd name="T2" fmla="*/ 1396802 w 8096"/>
                <a:gd name="T3" fmla="*/ 187437 h 5529"/>
                <a:gd name="T4" fmla="*/ 1537849 w 8096"/>
                <a:gd name="T5" fmla="*/ 154339 h 5529"/>
                <a:gd name="T6" fmla="*/ 1705163 w 8096"/>
                <a:gd name="T7" fmla="*/ 121241 h 5529"/>
                <a:gd name="T8" fmla="*/ 1833257 w 8096"/>
                <a:gd name="T9" fmla="*/ 33098 h 5529"/>
                <a:gd name="T10" fmla="*/ 1989417 w 8096"/>
                <a:gd name="T11" fmla="*/ 41733 h 5529"/>
                <a:gd name="T12" fmla="*/ 2185516 w 8096"/>
                <a:gd name="T13" fmla="*/ 123399 h 5529"/>
                <a:gd name="T14" fmla="*/ 2355349 w 8096"/>
                <a:gd name="T15" fmla="*/ 176285 h 5529"/>
                <a:gd name="T16" fmla="*/ 2494237 w 8096"/>
                <a:gd name="T17" fmla="*/ 317312 h 5529"/>
                <a:gd name="T18" fmla="*/ 2599663 w 8096"/>
                <a:gd name="T19" fmla="*/ 444669 h 5529"/>
                <a:gd name="T20" fmla="*/ 2763019 w 8096"/>
                <a:gd name="T21" fmla="*/ 466614 h 5529"/>
                <a:gd name="T22" fmla="*/ 2824548 w 8096"/>
                <a:gd name="T23" fmla="*/ 618795 h 5529"/>
                <a:gd name="T24" fmla="*/ 2742870 w 8096"/>
                <a:gd name="T25" fmla="*/ 662686 h 5529"/>
                <a:gd name="T26" fmla="*/ 2795762 w 8096"/>
                <a:gd name="T27" fmla="*/ 856599 h 5529"/>
                <a:gd name="T28" fmla="*/ 2846496 w 8096"/>
                <a:gd name="T29" fmla="*/ 1030725 h 5529"/>
                <a:gd name="T30" fmla="*/ 2912702 w 8096"/>
                <a:gd name="T31" fmla="*/ 1219961 h 5529"/>
                <a:gd name="T32" fmla="*/ 2822389 w 8096"/>
                <a:gd name="T33" fmla="*/ 1416032 h 5529"/>
                <a:gd name="T34" fmla="*/ 2818071 w 8096"/>
                <a:gd name="T35" fmla="*/ 1545907 h 5529"/>
                <a:gd name="T36" fmla="*/ 2789286 w 8096"/>
                <a:gd name="T37" fmla="*/ 1684776 h 5529"/>
                <a:gd name="T38" fmla="*/ 2866286 w 8096"/>
                <a:gd name="T39" fmla="*/ 1821487 h 5529"/>
                <a:gd name="T40" fmla="*/ 2657234 w 8096"/>
                <a:gd name="T41" fmla="*/ 1779394 h 5529"/>
                <a:gd name="T42" fmla="*/ 2458976 w 8096"/>
                <a:gd name="T43" fmla="*/ 1823645 h 5529"/>
                <a:gd name="T44" fmla="*/ 2311092 w 8096"/>
                <a:gd name="T45" fmla="*/ 1892001 h 5529"/>
                <a:gd name="T46" fmla="*/ 2196670 w 8096"/>
                <a:gd name="T47" fmla="*/ 1962155 h 5529"/>
                <a:gd name="T48" fmla="*/ 1883631 w 8096"/>
                <a:gd name="T49" fmla="*/ 1947045 h 5529"/>
                <a:gd name="T50" fmla="*/ 1709841 w 8096"/>
                <a:gd name="T51" fmla="*/ 1896318 h 5529"/>
                <a:gd name="T52" fmla="*/ 1669901 w 8096"/>
                <a:gd name="T53" fmla="*/ 1717875 h 5529"/>
                <a:gd name="T54" fmla="*/ 1676738 w 8096"/>
                <a:gd name="T55" fmla="*/ 1554901 h 5529"/>
                <a:gd name="T56" fmla="*/ 1555480 w 8096"/>
                <a:gd name="T57" fmla="*/ 1387251 h 5529"/>
                <a:gd name="T58" fmla="*/ 1405797 w 8096"/>
                <a:gd name="T59" fmla="*/ 1374300 h 5529"/>
                <a:gd name="T60" fmla="*/ 1264750 w 8096"/>
                <a:gd name="T61" fmla="*/ 1382934 h 5529"/>
                <a:gd name="T62" fmla="*/ 1152128 w 8096"/>
                <a:gd name="T63" fmla="*/ 1396245 h 5529"/>
                <a:gd name="T64" fmla="*/ 1015758 w 8096"/>
                <a:gd name="T65" fmla="*/ 1440137 h 5529"/>
                <a:gd name="T66" fmla="*/ 912131 w 8096"/>
                <a:gd name="T67" fmla="*/ 1409557 h 5529"/>
                <a:gd name="T68" fmla="*/ 780079 w 8096"/>
                <a:gd name="T69" fmla="*/ 1360988 h 5529"/>
                <a:gd name="T70" fmla="*/ 669616 w 8096"/>
                <a:gd name="T71" fmla="*/ 1389770 h 5529"/>
                <a:gd name="T72" fmla="*/ 524250 w 8096"/>
                <a:gd name="T73" fmla="*/ 1497699 h 5529"/>
                <a:gd name="T74" fmla="*/ 381044 w 8096"/>
                <a:gd name="T75" fmla="*/ 1625415 h 5529"/>
                <a:gd name="T76" fmla="*/ 317357 w 8096"/>
                <a:gd name="T77" fmla="*/ 1537273 h 5529"/>
                <a:gd name="T78" fmla="*/ 396516 w 8096"/>
                <a:gd name="T79" fmla="*/ 1376458 h 5529"/>
                <a:gd name="T80" fmla="*/ 458404 w 8096"/>
                <a:gd name="T81" fmla="*/ 1208808 h 5529"/>
                <a:gd name="T82" fmla="*/ 323833 w 8096"/>
                <a:gd name="T83" fmla="*/ 1043676 h 5529"/>
                <a:gd name="T84" fmla="*/ 200417 w 8096"/>
                <a:gd name="T85" fmla="*/ 1013096 h 5529"/>
                <a:gd name="T86" fmla="*/ 64047 w 8096"/>
                <a:gd name="T87" fmla="*/ 979998 h 5529"/>
                <a:gd name="T88" fmla="*/ 19790 w 8096"/>
                <a:gd name="T89" fmla="*/ 702980 h 5529"/>
                <a:gd name="T90" fmla="*/ 154361 w 8096"/>
                <a:gd name="T91" fmla="*/ 682473 h 5529"/>
                <a:gd name="T92" fmla="*/ 158678 w 8096"/>
                <a:gd name="T93" fmla="*/ 570226 h 5529"/>
                <a:gd name="T94" fmla="*/ 116580 w 8096"/>
                <a:gd name="T95" fmla="*/ 431357 h 5529"/>
                <a:gd name="T96" fmla="*/ 282095 w 8096"/>
                <a:gd name="T97" fmla="*/ 282055 h 5529"/>
                <a:gd name="T98" fmla="*/ 405511 w 8096"/>
                <a:gd name="T99" fmla="*/ 332782 h 5529"/>
                <a:gd name="T100" fmla="*/ 531087 w 8096"/>
                <a:gd name="T101" fmla="*/ 409412 h 5529"/>
                <a:gd name="T102" fmla="*/ 623559 w 8096"/>
                <a:gd name="T103" fmla="*/ 402936 h 5529"/>
                <a:gd name="T104" fmla="*/ 737981 w 8096"/>
                <a:gd name="T105" fmla="*/ 418046 h 5529"/>
                <a:gd name="T106" fmla="*/ 903136 w 8096"/>
                <a:gd name="T107" fmla="*/ 354728 h 5529"/>
                <a:gd name="T108" fmla="*/ 991290 w 8096"/>
                <a:gd name="T109" fmla="*/ 295367 h 5529"/>
                <a:gd name="T110" fmla="*/ 1209698 w 8096"/>
                <a:gd name="T111" fmla="*/ 180602 h 5529"/>
                <a:gd name="T112" fmla="*/ 19790 w 8096"/>
                <a:gd name="T113" fmla="*/ 702980 h 552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8096" h="5529">
                  <a:moveTo>
                    <a:pt x="3425" y="434"/>
                  </a:moveTo>
                  <a:cubicBezTo>
                    <a:pt x="3427" y="436"/>
                    <a:pt x="3428" y="438"/>
                    <a:pt x="3429" y="441"/>
                  </a:cubicBezTo>
                  <a:cubicBezTo>
                    <a:pt x="3428" y="438"/>
                    <a:pt x="3427" y="436"/>
                    <a:pt x="3425" y="434"/>
                  </a:cubicBezTo>
                  <a:close/>
                  <a:moveTo>
                    <a:pt x="3454" y="484"/>
                  </a:moveTo>
                  <a:cubicBezTo>
                    <a:pt x="3477" y="502"/>
                    <a:pt x="3499" y="520"/>
                    <a:pt x="3521" y="539"/>
                  </a:cubicBezTo>
                  <a:cubicBezTo>
                    <a:pt x="3546" y="518"/>
                    <a:pt x="3570" y="498"/>
                    <a:pt x="3594" y="478"/>
                  </a:cubicBezTo>
                  <a:cubicBezTo>
                    <a:pt x="3652" y="480"/>
                    <a:pt x="3709" y="482"/>
                    <a:pt x="3766" y="484"/>
                  </a:cubicBezTo>
                  <a:cubicBezTo>
                    <a:pt x="3789" y="488"/>
                    <a:pt x="3811" y="492"/>
                    <a:pt x="3833" y="496"/>
                  </a:cubicBezTo>
                  <a:cubicBezTo>
                    <a:pt x="3850" y="504"/>
                    <a:pt x="3866" y="512"/>
                    <a:pt x="3882" y="521"/>
                  </a:cubicBezTo>
                  <a:cubicBezTo>
                    <a:pt x="3915" y="549"/>
                    <a:pt x="3948" y="577"/>
                    <a:pt x="3980" y="606"/>
                  </a:cubicBezTo>
                  <a:cubicBezTo>
                    <a:pt x="4007" y="610"/>
                    <a:pt x="4023" y="612"/>
                    <a:pt x="4060" y="619"/>
                  </a:cubicBezTo>
                  <a:cubicBezTo>
                    <a:pt x="4097" y="625"/>
                    <a:pt x="4113" y="598"/>
                    <a:pt x="4139" y="588"/>
                  </a:cubicBezTo>
                  <a:cubicBezTo>
                    <a:pt x="4160" y="541"/>
                    <a:pt x="4181" y="494"/>
                    <a:pt x="4201" y="447"/>
                  </a:cubicBezTo>
                  <a:cubicBezTo>
                    <a:pt x="4226" y="441"/>
                    <a:pt x="4250" y="435"/>
                    <a:pt x="4274" y="429"/>
                  </a:cubicBezTo>
                  <a:cubicBezTo>
                    <a:pt x="4311" y="424"/>
                    <a:pt x="4348" y="420"/>
                    <a:pt x="4384" y="416"/>
                  </a:cubicBezTo>
                  <a:cubicBezTo>
                    <a:pt x="4409" y="430"/>
                    <a:pt x="4434" y="444"/>
                    <a:pt x="4458" y="459"/>
                  </a:cubicBezTo>
                  <a:cubicBezTo>
                    <a:pt x="4479" y="453"/>
                    <a:pt x="4499" y="447"/>
                    <a:pt x="4519" y="441"/>
                  </a:cubicBezTo>
                  <a:cubicBezTo>
                    <a:pt x="4554" y="422"/>
                    <a:pt x="4589" y="404"/>
                    <a:pt x="4623" y="386"/>
                  </a:cubicBezTo>
                  <a:cubicBezTo>
                    <a:pt x="4662" y="369"/>
                    <a:pt x="4701" y="353"/>
                    <a:pt x="4739" y="337"/>
                  </a:cubicBezTo>
                  <a:cubicBezTo>
                    <a:pt x="4782" y="326"/>
                    <a:pt x="4825" y="316"/>
                    <a:pt x="4868" y="306"/>
                  </a:cubicBezTo>
                  <a:cubicBezTo>
                    <a:pt x="4885" y="259"/>
                    <a:pt x="4901" y="212"/>
                    <a:pt x="4917" y="165"/>
                  </a:cubicBezTo>
                  <a:cubicBezTo>
                    <a:pt x="4930" y="157"/>
                    <a:pt x="4942" y="149"/>
                    <a:pt x="4954" y="141"/>
                  </a:cubicBezTo>
                  <a:cubicBezTo>
                    <a:pt x="4975" y="118"/>
                    <a:pt x="4995" y="96"/>
                    <a:pt x="5015" y="74"/>
                  </a:cubicBezTo>
                  <a:cubicBezTo>
                    <a:pt x="5042" y="80"/>
                    <a:pt x="5069" y="86"/>
                    <a:pt x="5095" y="92"/>
                  </a:cubicBezTo>
                  <a:cubicBezTo>
                    <a:pt x="5128" y="84"/>
                    <a:pt x="5161" y="76"/>
                    <a:pt x="5193" y="68"/>
                  </a:cubicBezTo>
                  <a:cubicBezTo>
                    <a:pt x="5212" y="49"/>
                    <a:pt x="5230" y="30"/>
                    <a:pt x="5248" y="12"/>
                  </a:cubicBezTo>
                  <a:cubicBezTo>
                    <a:pt x="5269" y="8"/>
                    <a:pt x="5289" y="4"/>
                    <a:pt x="5309" y="0"/>
                  </a:cubicBezTo>
                  <a:cubicBezTo>
                    <a:pt x="5342" y="0"/>
                    <a:pt x="5375" y="0"/>
                    <a:pt x="5407" y="0"/>
                  </a:cubicBezTo>
                  <a:cubicBezTo>
                    <a:pt x="5450" y="0"/>
                    <a:pt x="5489" y="77"/>
                    <a:pt x="5529" y="116"/>
                  </a:cubicBezTo>
                  <a:cubicBezTo>
                    <a:pt x="5554" y="146"/>
                    <a:pt x="5579" y="177"/>
                    <a:pt x="5603" y="208"/>
                  </a:cubicBezTo>
                  <a:cubicBezTo>
                    <a:pt x="5648" y="212"/>
                    <a:pt x="5714" y="221"/>
                    <a:pt x="5738" y="221"/>
                  </a:cubicBezTo>
                  <a:cubicBezTo>
                    <a:pt x="5763" y="221"/>
                    <a:pt x="5820" y="245"/>
                    <a:pt x="5860" y="257"/>
                  </a:cubicBezTo>
                  <a:cubicBezTo>
                    <a:pt x="5889" y="291"/>
                    <a:pt x="5918" y="326"/>
                    <a:pt x="5946" y="361"/>
                  </a:cubicBezTo>
                  <a:cubicBezTo>
                    <a:pt x="5989" y="355"/>
                    <a:pt x="6032" y="349"/>
                    <a:pt x="6074" y="343"/>
                  </a:cubicBezTo>
                  <a:cubicBezTo>
                    <a:pt x="6119" y="343"/>
                    <a:pt x="6164" y="343"/>
                    <a:pt x="6209" y="343"/>
                  </a:cubicBezTo>
                  <a:cubicBezTo>
                    <a:pt x="6228" y="383"/>
                    <a:pt x="6246" y="424"/>
                    <a:pt x="6264" y="465"/>
                  </a:cubicBezTo>
                  <a:cubicBezTo>
                    <a:pt x="6289" y="469"/>
                    <a:pt x="6314" y="473"/>
                    <a:pt x="6338" y="478"/>
                  </a:cubicBezTo>
                  <a:cubicBezTo>
                    <a:pt x="6371" y="482"/>
                    <a:pt x="6404" y="486"/>
                    <a:pt x="6436" y="490"/>
                  </a:cubicBezTo>
                  <a:cubicBezTo>
                    <a:pt x="6473" y="490"/>
                    <a:pt x="6510" y="490"/>
                    <a:pt x="6546" y="490"/>
                  </a:cubicBezTo>
                  <a:cubicBezTo>
                    <a:pt x="6565" y="541"/>
                    <a:pt x="6583" y="592"/>
                    <a:pt x="6601" y="643"/>
                  </a:cubicBezTo>
                  <a:cubicBezTo>
                    <a:pt x="6630" y="712"/>
                    <a:pt x="6659" y="781"/>
                    <a:pt x="6687" y="851"/>
                  </a:cubicBezTo>
                  <a:cubicBezTo>
                    <a:pt x="6712" y="806"/>
                    <a:pt x="6736" y="761"/>
                    <a:pt x="6760" y="716"/>
                  </a:cubicBezTo>
                  <a:cubicBezTo>
                    <a:pt x="6803" y="718"/>
                    <a:pt x="6846" y="720"/>
                    <a:pt x="6889" y="723"/>
                  </a:cubicBezTo>
                  <a:cubicBezTo>
                    <a:pt x="6904" y="776"/>
                    <a:pt x="6918" y="829"/>
                    <a:pt x="6932" y="882"/>
                  </a:cubicBezTo>
                  <a:cubicBezTo>
                    <a:pt x="6928" y="922"/>
                    <a:pt x="6924" y="963"/>
                    <a:pt x="6919" y="1004"/>
                  </a:cubicBezTo>
                  <a:cubicBezTo>
                    <a:pt x="6962" y="1000"/>
                    <a:pt x="7005" y="996"/>
                    <a:pt x="7048" y="992"/>
                  </a:cubicBezTo>
                  <a:cubicBezTo>
                    <a:pt x="7075" y="1014"/>
                    <a:pt x="7101" y="1036"/>
                    <a:pt x="7127" y="1059"/>
                  </a:cubicBezTo>
                  <a:cubicBezTo>
                    <a:pt x="7146" y="1087"/>
                    <a:pt x="7165" y="1116"/>
                    <a:pt x="7183" y="1144"/>
                  </a:cubicBezTo>
                  <a:cubicBezTo>
                    <a:pt x="7197" y="1175"/>
                    <a:pt x="7211" y="1206"/>
                    <a:pt x="7225" y="1236"/>
                  </a:cubicBezTo>
                  <a:cubicBezTo>
                    <a:pt x="7266" y="1236"/>
                    <a:pt x="7307" y="1236"/>
                    <a:pt x="7348" y="1236"/>
                  </a:cubicBezTo>
                  <a:cubicBezTo>
                    <a:pt x="7395" y="1236"/>
                    <a:pt x="7442" y="1236"/>
                    <a:pt x="7489" y="1236"/>
                  </a:cubicBezTo>
                  <a:cubicBezTo>
                    <a:pt x="7499" y="1251"/>
                    <a:pt x="7509" y="1265"/>
                    <a:pt x="7519" y="1279"/>
                  </a:cubicBezTo>
                  <a:cubicBezTo>
                    <a:pt x="7534" y="1287"/>
                    <a:pt x="7548" y="1295"/>
                    <a:pt x="7562" y="1303"/>
                  </a:cubicBezTo>
                  <a:cubicBezTo>
                    <a:pt x="7601" y="1301"/>
                    <a:pt x="7640" y="1299"/>
                    <a:pt x="7679" y="1297"/>
                  </a:cubicBezTo>
                  <a:cubicBezTo>
                    <a:pt x="7704" y="1273"/>
                    <a:pt x="7728" y="1249"/>
                    <a:pt x="7752" y="1224"/>
                  </a:cubicBezTo>
                  <a:cubicBezTo>
                    <a:pt x="7756" y="1287"/>
                    <a:pt x="7760" y="1350"/>
                    <a:pt x="7764" y="1413"/>
                  </a:cubicBezTo>
                  <a:cubicBezTo>
                    <a:pt x="7787" y="1436"/>
                    <a:pt x="7810" y="1459"/>
                    <a:pt x="7832" y="1481"/>
                  </a:cubicBezTo>
                  <a:cubicBezTo>
                    <a:pt x="7867" y="1514"/>
                    <a:pt x="7902" y="1547"/>
                    <a:pt x="7936" y="1579"/>
                  </a:cubicBezTo>
                  <a:cubicBezTo>
                    <a:pt x="7908" y="1626"/>
                    <a:pt x="7879" y="1673"/>
                    <a:pt x="7850" y="1720"/>
                  </a:cubicBezTo>
                  <a:cubicBezTo>
                    <a:pt x="7820" y="1763"/>
                    <a:pt x="7789" y="1806"/>
                    <a:pt x="7758" y="1848"/>
                  </a:cubicBezTo>
                  <a:cubicBezTo>
                    <a:pt x="7736" y="1803"/>
                    <a:pt x="7714" y="1758"/>
                    <a:pt x="7691" y="1713"/>
                  </a:cubicBezTo>
                  <a:cubicBezTo>
                    <a:pt x="7671" y="1713"/>
                    <a:pt x="7651" y="1713"/>
                    <a:pt x="7630" y="1713"/>
                  </a:cubicBezTo>
                  <a:cubicBezTo>
                    <a:pt x="7630" y="1730"/>
                    <a:pt x="7630" y="1746"/>
                    <a:pt x="7630" y="1762"/>
                  </a:cubicBezTo>
                  <a:cubicBezTo>
                    <a:pt x="7628" y="1789"/>
                    <a:pt x="7626" y="1816"/>
                    <a:pt x="7623" y="1842"/>
                  </a:cubicBezTo>
                  <a:cubicBezTo>
                    <a:pt x="7607" y="1853"/>
                    <a:pt x="7591" y="1863"/>
                    <a:pt x="7574" y="1873"/>
                  </a:cubicBezTo>
                  <a:cubicBezTo>
                    <a:pt x="7589" y="1918"/>
                    <a:pt x="7603" y="1963"/>
                    <a:pt x="7617" y="2007"/>
                  </a:cubicBezTo>
                  <a:cubicBezTo>
                    <a:pt x="7636" y="2052"/>
                    <a:pt x="7654" y="2097"/>
                    <a:pt x="7672" y="2142"/>
                  </a:cubicBezTo>
                  <a:cubicBezTo>
                    <a:pt x="7685" y="2177"/>
                    <a:pt x="7697" y="2212"/>
                    <a:pt x="7709" y="2246"/>
                  </a:cubicBezTo>
                  <a:cubicBezTo>
                    <a:pt x="7730" y="2291"/>
                    <a:pt x="7750" y="2336"/>
                    <a:pt x="7770" y="2381"/>
                  </a:cubicBezTo>
                  <a:cubicBezTo>
                    <a:pt x="7779" y="2428"/>
                    <a:pt x="7787" y="2475"/>
                    <a:pt x="7795" y="2522"/>
                  </a:cubicBezTo>
                  <a:cubicBezTo>
                    <a:pt x="7797" y="2561"/>
                    <a:pt x="7799" y="2600"/>
                    <a:pt x="7801" y="2638"/>
                  </a:cubicBezTo>
                  <a:cubicBezTo>
                    <a:pt x="7818" y="2667"/>
                    <a:pt x="7834" y="2696"/>
                    <a:pt x="7850" y="2724"/>
                  </a:cubicBezTo>
                  <a:cubicBezTo>
                    <a:pt x="7869" y="2749"/>
                    <a:pt x="7887" y="2773"/>
                    <a:pt x="7905" y="2797"/>
                  </a:cubicBezTo>
                  <a:cubicBezTo>
                    <a:pt x="7907" y="2820"/>
                    <a:pt x="7909" y="2843"/>
                    <a:pt x="7911" y="2865"/>
                  </a:cubicBezTo>
                  <a:cubicBezTo>
                    <a:pt x="7911" y="2900"/>
                    <a:pt x="7911" y="2935"/>
                    <a:pt x="7911" y="2969"/>
                  </a:cubicBezTo>
                  <a:cubicBezTo>
                    <a:pt x="7899" y="3016"/>
                    <a:pt x="7887" y="3063"/>
                    <a:pt x="7874" y="3109"/>
                  </a:cubicBezTo>
                  <a:cubicBezTo>
                    <a:pt x="7881" y="3146"/>
                    <a:pt x="7887" y="3183"/>
                    <a:pt x="7893" y="3220"/>
                  </a:cubicBezTo>
                  <a:cubicBezTo>
                    <a:pt x="7926" y="3255"/>
                    <a:pt x="7959" y="3290"/>
                    <a:pt x="7991" y="3324"/>
                  </a:cubicBezTo>
                  <a:cubicBezTo>
                    <a:pt x="8026" y="3347"/>
                    <a:pt x="8061" y="3369"/>
                    <a:pt x="8095" y="3391"/>
                  </a:cubicBezTo>
                  <a:cubicBezTo>
                    <a:pt x="8093" y="3432"/>
                    <a:pt x="8091" y="3473"/>
                    <a:pt x="8089" y="3514"/>
                  </a:cubicBezTo>
                  <a:cubicBezTo>
                    <a:pt x="8069" y="3545"/>
                    <a:pt x="8049" y="3575"/>
                    <a:pt x="8028" y="3605"/>
                  </a:cubicBezTo>
                  <a:cubicBezTo>
                    <a:pt x="8006" y="3646"/>
                    <a:pt x="7983" y="3687"/>
                    <a:pt x="7960" y="3728"/>
                  </a:cubicBezTo>
                  <a:cubicBezTo>
                    <a:pt x="7938" y="3765"/>
                    <a:pt x="7916" y="3802"/>
                    <a:pt x="7893" y="3838"/>
                  </a:cubicBezTo>
                  <a:cubicBezTo>
                    <a:pt x="7877" y="3871"/>
                    <a:pt x="7861" y="3904"/>
                    <a:pt x="7844" y="3936"/>
                  </a:cubicBezTo>
                  <a:cubicBezTo>
                    <a:pt x="7830" y="3938"/>
                    <a:pt x="7816" y="3940"/>
                    <a:pt x="7801" y="3942"/>
                  </a:cubicBezTo>
                  <a:cubicBezTo>
                    <a:pt x="7771" y="3967"/>
                    <a:pt x="7740" y="3992"/>
                    <a:pt x="7709" y="4016"/>
                  </a:cubicBezTo>
                  <a:cubicBezTo>
                    <a:pt x="7713" y="4069"/>
                    <a:pt x="7717" y="4122"/>
                    <a:pt x="7721" y="4175"/>
                  </a:cubicBezTo>
                  <a:cubicBezTo>
                    <a:pt x="7736" y="4196"/>
                    <a:pt x="7750" y="4216"/>
                    <a:pt x="7764" y="4236"/>
                  </a:cubicBezTo>
                  <a:cubicBezTo>
                    <a:pt x="7787" y="4257"/>
                    <a:pt x="7810" y="4277"/>
                    <a:pt x="7832" y="4297"/>
                  </a:cubicBezTo>
                  <a:cubicBezTo>
                    <a:pt x="7832" y="4322"/>
                    <a:pt x="7832" y="4347"/>
                    <a:pt x="7832" y="4371"/>
                  </a:cubicBezTo>
                  <a:cubicBezTo>
                    <a:pt x="7822" y="4381"/>
                    <a:pt x="7812" y="4391"/>
                    <a:pt x="7801" y="4401"/>
                  </a:cubicBezTo>
                  <a:cubicBezTo>
                    <a:pt x="7769" y="4410"/>
                    <a:pt x="7736" y="4418"/>
                    <a:pt x="7703" y="4426"/>
                  </a:cubicBezTo>
                  <a:cubicBezTo>
                    <a:pt x="7720" y="4453"/>
                    <a:pt x="7736" y="4479"/>
                    <a:pt x="7752" y="4505"/>
                  </a:cubicBezTo>
                  <a:cubicBezTo>
                    <a:pt x="7752" y="4565"/>
                    <a:pt x="7752" y="4624"/>
                    <a:pt x="7752" y="4683"/>
                  </a:cubicBezTo>
                  <a:cubicBezTo>
                    <a:pt x="7758" y="4736"/>
                    <a:pt x="7764" y="4789"/>
                    <a:pt x="7770" y="4842"/>
                  </a:cubicBezTo>
                  <a:cubicBezTo>
                    <a:pt x="7789" y="4871"/>
                    <a:pt x="7807" y="4900"/>
                    <a:pt x="7825" y="4928"/>
                  </a:cubicBezTo>
                  <a:cubicBezTo>
                    <a:pt x="7850" y="4932"/>
                    <a:pt x="7875" y="4936"/>
                    <a:pt x="7899" y="4940"/>
                  </a:cubicBezTo>
                  <a:cubicBezTo>
                    <a:pt x="7903" y="4965"/>
                    <a:pt x="7907" y="4990"/>
                    <a:pt x="7911" y="5014"/>
                  </a:cubicBezTo>
                  <a:cubicBezTo>
                    <a:pt x="7930" y="5031"/>
                    <a:pt x="7948" y="5047"/>
                    <a:pt x="7966" y="5063"/>
                  </a:cubicBezTo>
                  <a:cubicBezTo>
                    <a:pt x="7966" y="5116"/>
                    <a:pt x="7966" y="5169"/>
                    <a:pt x="7966" y="5222"/>
                  </a:cubicBezTo>
                  <a:cubicBezTo>
                    <a:pt x="7948" y="5222"/>
                    <a:pt x="7930" y="5222"/>
                    <a:pt x="7911" y="5222"/>
                  </a:cubicBezTo>
                  <a:cubicBezTo>
                    <a:pt x="7869" y="5167"/>
                    <a:pt x="7826" y="5112"/>
                    <a:pt x="7783" y="5057"/>
                  </a:cubicBezTo>
                  <a:cubicBezTo>
                    <a:pt x="7763" y="5065"/>
                    <a:pt x="7742" y="5073"/>
                    <a:pt x="7721" y="5081"/>
                  </a:cubicBezTo>
                  <a:cubicBezTo>
                    <a:pt x="7609" y="5036"/>
                    <a:pt x="7497" y="4991"/>
                    <a:pt x="7385" y="4946"/>
                  </a:cubicBezTo>
                  <a:cubicBezTo>
                    <a:pt x="7324" y="4963"/>
                    <a:pt x="7263" y="4979"/>
                    <a:pt x="7201" y="4995"/>
                  </a:cubicBezTo>
                  <a:cubicBezTo>
                    <a:pt x="7158" y="5026"/>
                    <a:pt x="7115" y="5057"/>
                    <a:pt x="7072" y="5087"/>
                  </a:cubicBezTo>
                  <a:cubicBezTo>
                    <a:pt x="7038" y="5096"/>
                    <a:pt x="7003" y="5104"/>
                    <a:pt x="6968" y="5112"/>
                  </a:cubicBezTo>
                  <a:cubicBezTo>
                    <a:pt x="6948" y="5112"/>
                    <a:pt x="6928" y="5112"/>
                    <a:pt x="6907" y="5112"/>
                  </a:cubicBezTo>
                  <a:cubicBezTo>
                    <a:pt x="6883" y="5098"/>
                    <a:pt x="6859" y="5084"/>
                    <a:pt x="6834" y="5069"/>
                  </a:cubicBezTo>
                  <a:cubicBezTo>
                    <a:pt x="6806" y="5069"/>
                    <a:pt x="6777" y="5069"/>
                    <a:pt x="6748" y="5069"/>
                  </a:cubicBezTo>
                  <a:cubicBezTo>
                    <a:pt x="6736" y="5106"/>
                    <a:pt x="6724" y="5143"/>
                    <a:pt x="6711" y="5179"/>
                  </a:cubicBezTo>
                  <a:cubicBezTo>
                    <a:pt x="6705" y="5194"/>
                    <a:pt x="6699" y="5208"/>
                    <a:pt x="6693" y="5222"/>
                  </a:cubicBezTo>
                  <a:cubicBezTo>
                    <a:pt x="6661" y="5210"/>
                    <a:pt x="6628" y="5198"/>
                    <a:pt x="6595" y="5185"/>
                  </a:cubicBezTo>
                  <a:cubicBezTo>
                    <a:pt x="6538" y="5210"/>
                    <a:pt x="6481" y="5235"/>
                    <a:pt x="6423" y="5259"/>
                  </a:cubicBezTo>
                  <a:cubicBezTo>
                    <a:pt x="6423" y="5286"/>
                    <a:pt x="6423" y="5312"/>
                    <a:pt x="6423" y="5338"/>
                  </a:cubicBezTo>
                  <a:cubicBezTo>
                    <a:pt x="6423" y="5369"/>
                    <a:pt x="6423" y="5400"/>
                    <a:pt x="6423" y="5430"/>
                  </a:cubicBezTo>
                  <a:cubicBezTo>
                    <a:pt x="6391" y="5457"/>
                    <a:pt x="6358" y="5484"/>
                    <a:pt x="6325" y="5510"/>
                  </a:cubicBezTo>
                  <a:cubicBezTo>
                    <a:pt x="6278" y="5516"/>
                    <a:pt x="6231" y="5522"/>
                    <a:pt x="6184" y="5528"/>
                  </a:cubicBezTo>
                  <a:cubicBezTo>
                    <a:pt x="6158" y="5504"/>
                    <a:pt x="6132" y="5479"/>
                    <a:pt x="6105" y="5454"/>
                  </a:cubicBezTo>
                  <a:cubicBezTo>
                    <a:pt x="6085" y="5434"/>
                    <a:pt x="6065" y="5414"/>
                    <a:pt x="6044" y="5393"/>
                  </a:cubicBezTo>
                  <a:cubicBezTo>
                    <a:pt x="6005" y="5393"/>
                    <a:pt x="5966" y="5393"/>
                    <a:pt x="5927" y="5393"/>
                  </a:cubicBezTo>
                  <a:cubicBezTo>
                    <a:pt x="5825" y="5408"/>
                    <a:pt x="5723" y="5422"/>
                    <a:pt x="5621" y="5436"/>
                  </a:cubicBezTo>
                  <a:cubicBezTo>
                    <a:pt x="5536" y="5445"/>
                    <a:pt x="5450" y="5453"/>
                    <a:pt x="5364" y="5461"/>
                  </a:cubicBezTo>
                  <a:cubicBezTo>
                    <a:pt x="5321" y="5445"/>
                    <a:pt x="5278" y="5429"/>
                    <a:pt x="5235" y="5412"/>
                  </a:cubicBezTo>
                  <a:cubicBezTo>
                    <a:pt x="5156" y="5426"/>
                    <a:pt x="5077" y="5440"/>
                    <a:pt x="4997" y="5454"/>
                  </a:cubicBezTo>
                  <a:cubicBezTo>
                    <a:pt x="5005" y="5448"/>
                    <a:pt x="5012" y="5442"/>
                    <a:pt x="5019" y="5435"/>
                  </a:cubicBezTo>
                  <a:cubicBezTo>
                    <a:pt x="4991" y="5419"/>
                    <a:pt x="4963" y="5403"/>
                    <a:pt x="4935" y="5387"/>
                  </a:cubicBezTo>
                  <a:cubicBezTo>
                    <a:pt x="4901" y="5359"/>
                    <a:pt x="4866" y="5330"/>
                    <a:pt x="4831" y="5301"/>
                  </a:cubicBezTo>
                  <a:cubicBezTo>
                    <a:pt x="4805" y="5291"/>
                    <a:pt x="4779" y="5281"/>
                    <a:pt x="4752" y="5271"/>
                  </a:cubicBezTo>
                  <a:cubicBezTo>
                    <a:pt x="4748" y="5255"/>
                    <a:pt x="4744" y="5239"/>
                    <a:pt x="4739" y="5222"/>
                  </a:cubicBezTo>
                  <a:cubicBezTo>
                    <a:pt x="4733" y="5175"/>
                    <a:pt x="4727" y="5128"/>
                    <a:pt x="4721" y="5081"/>
                  </a:cubicBezTo>
                  <a:cubicBezTo>
                    <a:pt x="4721" y="5032"/>
                    <a:pt x="4721" y="4983"/>
                    <a:pt x="4721" y="4934"/>
                  </a:cubicBezTo>
                  <a:cubicBezTo>
                    <a:pt x="4709" y="4898"/>
                    <a:pt x="4697" y="4861"/>
                    <a:pt x="4684" y="4824"/>
                  </a:cubicBezTo>
                  <a:cubicBezTo>
                    <a:pt x="4670" y="4808"/>
                    <a:pt x="4656" y="4792"/>
                    <a:pt x="4641" y="4775"/>
                  </a:cubicBezTo>
                  <a:cubicBezTo>
                    <a:pt x="4629" y="4753"/>
                    <a:pt x="4617" y="4730"/>
                    <a:pt x="4605" y="4707"/>
                  </a:cubicBezTo>
                  <a:cubicBezTo>
                    <a:pt x="4599" y="4675"/>
                    <a:pt x="4593" y="4643"/>
                    <a:pt x="4586" y="4610"/>
                  </a:cubicBezTo>
                  <a:cubicBezTo>
                    <a:pt x="4595" y="4584"/>
                    <a:pt x="4603" y="4557"/>
                    <a:pt x="4611" y="4530"/>
                  </a:cubicBezTo>
                  <a:cubicBezTo>
                    <a:pt x="4630" y="4498"/>
                    <a:pt x="4648" y="4465"/>
                    <a:pt x="4666" y="4432"/>
                  </a:cubicBezTo>
                  <a:cubicBezTo>
                    <a:pt x="4664" y="4396"/>
                    <a:pt x="4662" y="4359"/>
                    <a:pt x="4660" y="4322"/>
                  </a:cubicBezTo>
                  <a:cubicBezTo>
                    <a:pt x="4644" y="4298"/>
                    <a:pt x="4628" y="4273"/>
                    <a:pt x="4611" y="4248"/>
                  </a:cubicBezTo>
                  <a:cubicBezTo>
                    <a:pt x="4581" y="4210"/>
                    <a:pt x="4550" y="4171"/>
                    <a:pt x="4519" y="4132"/>
                  </a:cubicBezTo>
                  <a:cubicBezTo>
                    <a:pt x="4497" y="4102"/>
                    <a:pt x="4475" y="4071"/>
                    <a:pt x="4452" y="4040"/>
                  </a:cubicBezTo>
                  <a:cubicBezTo>
                    <a:pt x="4430" y="4004"/>
                    <a:pt x="4407" y="3967"/>
                    <a:pt x="4384" y="3930"/>
                  </a:cubicBezTo>
                  <a:cubicBezTo>
                    <a:pt x="4364" y="3906"/>
                    <a:pt x="4344" y="3881"/>
                    <a:pt x="4323" y="3856"/>
                  </a:cubicBezTo>
                  <a:cubicBezTo>
                    <a:pt x="4291" y="3840"/>
                    <a:pt x="4258" y="3824"/>
                    <a:pt x="4225" y="3807"/>
                  </a:cubicBezTo>
                  <a:cubicBezTo>
                    <a:pt x="4201" y="3783"/>
                    <a:pt x="4176" y="3759"/>
                    <a:pt x="4151" y="3734"/>
                  </a:cubicBezTo>
                  <a:cubicBezTo>
                    <a:pt x="4127" y="3742"/>
                    <a:pt x="4103" y="3750"/>
                    <a:pt x="4078" y="3758"/>
                  </a:cubicBezTo>
                  <a:cubicBezTo>
                    <a:pt x="4042" y="3773"/>
                    <a:pt x="4005" y="3787"/>
                    <a:pt x="3968" y="3801"/>
                  </a:cubicBezTo>
                  <a:cubicBezTo>
                    <a:pt x="3948" y="3808"/>
                    <a:pt x="3928" y="3814"/>
                    <a:pt x="3907" y="3820"/>
                  </a:cubicBezTo>
                  <a:cubicBezTo>
                    <a:pt x="3881" y="3820"/>
                    <a:pt x="3854" y="3820"/>
                    <a:pt x="3827" y="3820"/>
                  </a:cubicBezTo>
                  <a:cubicBezTo>
                    <a:pt x="3805" y="3822"/>
                    <a:pt x="3783" y="3824"/>
                    <a:pt x="3760" y="3826"/>
                  </a:cubicBezTo>
                  <a:cubicBezTo>
                    <a:pt x="3732" y="3830"/>
                    <a:pt x="3703" y="3834"/>
                    <a:pt x="3674" y="3838"/>
                  </a:cubicBezTo>
                  <a:cubicBezTo>
                    <a:pt x="3644" y="3840"/>
                    <a:pt x="3613" y="3842"/>
                    <a:pt x="3582" y="3844"/>
                  </a:cubicBezTo>
                  <a:cubicBezTo>
                    <a:pt x="3560" y="3844"/>
                    <a:pt x="3538" y="3844"/>
                    <a:pt x="3515" y="3844"/>
                  </a:cubicBezTo>
                  <a:cubicBezTo>
                    <a:pt x="3491" y="3853"/>
                    <a:pt x="3466" y="3861"/>
                    <a:pt x="3441" y="3869"/>
                  </a:cubicBezTo>
                  <a:cubicBezTo>
                    <a:pt x="3423" y="3869"/>
                    <a:pt x="3405" y="3869"/>
                    <a:pt x="3386" y="3869"/>
                  </a:cubicBezTo>
                  <a:cubicBezTo>
                    <a:pt x="3362" y="3863"/>
                    <a:pt x="3338" y="3857"/>
                    <a:pt x="3313" y="3850"/>
                  </a:cubicBezTo>
                  <a:cubicBezTo>
                    <a:pt x="3295" y="3850"/>
                    <a:pt x="3276" y="3850"/>
                    <a:pt x="3257" y="3850"/>
                  </a:cubicBezTo>
                  <a:cubicBezTo>
                    <a:pt x="3239" y="3861"/>
                    <a:pt x="3221" y="3871"/>
                    <a:pt x="3202" y="3881"/>
                  </a:cubicBezTo>
                  <a:cubicBezTo>
                    <a:pt x="3151" y="3883"/>
                    <a:pt x="3100" y="3885"/>
                    <a:pt x="3049" y="3887"/>
                  </a:cubicBezTo>
                  <a:cubicBezTo>
                    <a:pt x="3031" y="3893"/>
                    <a:pt x="3013" y="3899"/>
                    <a:pt x="2994" y="3905"/>
                  </a:cubicBezTo>
                  <a:cubicBezTo>
                    <a:pt x="2978" y="3905"/>
                    <a:pt x="2962" y="3905"/>
                    <a:pt x="2945" y="3905"/>
                  </a:cubicBezTo>
                  <a:cubicBezTo>
                    <a:pt x="2925" y="3920"/>
                    <a:pt x="2905" y="3934"/>
                    <a:pt x="2884" y="3948"/>
                  </a:cubicBezTo>
                  <a:cubicBezTo>
                    <a:pt x="2864" y="3967"/>
                    <a:pt x="2844" y="3985"/>
                    <a:pt x="2823" y="4003"/>
                  </a:cubicBezTo>
                  <a:cubicBezTo>
                    <a:pt x="2797" y="4018"/>
                    <a:pt x="2770" y="4032"/>
                    <a:pt x="2743" y="4046"/>
                  </a:cubicBezTo>
                  <a:cubicBezTo>
                    <a:pt x="2717" y="4046"/>
                    <a:pt x="2691" y="4046"/>
                    <a:pt x="2664" y="4046"/>
                  </a:cubicBezTo>
                  <a:cubicBezTo>
                    <a:pt x="2650" y="4038"/>
                    <a:pt x="2636" y="4030"/>
                    <a:pt x="2621" y="4022"/>
                  </a:cubicBezTo>
                  <a:cubicBezTo>
                    <a:pt x="2605" y="3983"/>
                    <a:pt x="2589" y="3944"/>
                    <a:pt x="2572" y="3905"/>
                  </a:cubicBezTo>
                  <a:cubicBezTo>
                    <a:pt x="2560" y="3910"/>
                    <a:pt x="2548" y="3914"/>
                    <a:pt x="2535" y="3918"/>
                  </a:cubicBezTo>
                  <a:cubicBezTo>
                    <a:pt x="2494" y="3922"/>
                    <a:pt x="2453" y="3926"/>
                    <a:pt x="2412" y="3930"/>
                  </a:cubicBezTo>
                  <a:cubicBezTo>
                    <a:pt x="2384" y="3932"/>
                    <a:pt x="2356" y="3934"/>
                    <a:pt x="2327" y="3936"/>
                  </a:cubicBezTo>
                  <a:cubicBezTo>
                    <a:pt x="2301" y="3930"/>
                    <a:pt x="2274" y="3924"/>
                    <a:pt x="2247" y="3918"/>
                  </a:cubicBezTo>
                  <a:cubicBezTo>
                    <a:pt x="2233" y="3894"/>
                    <a:pt x="2219" y="3869"/>
                    <a:pt x="2204" y="3844"/>
                  </a:cubicBezTo>
                  <a:cubicBezTo>
                    <a:pt x="2192" y="3824"/>
                    <a:pt x="2180" y="3804"/>
                    <a:pt x="2168" y="3783"/>
                  </a:cubicBezTo>
                  <a:cubicBezTo>
                    <a:pt x="2150" y="3787"/>
                    <a:pt x="2131" y="3791"/>
                    <a:pt x="2112" y="3795"/>
                  </a:cubicBezTo>
                  <a:cubicBezTo>
                    <a:pt x="2094" y="3802"/>
                    <a:pt x="2076" y="3808"/>
                    <a:pt x="2057" y="3814"/>
                  </a:cubicBezTo>
                  <a:cubicBezTo>
                    <a:pt x="2043" y="3814"/>
                    <a:pt x="2029" y="3814"/>
                    <a:pt x="2014" y="3814"/>
                  </a:cubicBezTo>
                  <a:cubicBezTo>
                    <a:pt x="1988" y="3818"/>
                    <a:pt x="1962" y="3822"/>
                    <a:pt x="1935" y="3826"/>
                  </a:cubicBezTo>
                  <a:cubicBezTo>
                    <a:pt x="1911" y="3839"/>
                    <a:pt x="1886" y="3851"/>
                    <a:pt x="1861" y="3863"/>
                  </a:cubicBezTo>
                  <a:cubicBezTo>
                    <a:pt x="1829" y="3880"/>
                    <a:pt x="1796" y="3896"/>
                    <a:pt x="1763" y="3912"/>
                  </a:cubicBezTo>
                  <a:cubicBezTo>
                    <a:pt x="1731" y="3933"/>
                    <a:pt x="1698" y="3953"/>
                    <a:pt x="1665" y="3973"/>
                  </a:cubicBezTo>
                  <a:cubicBezTo>
                    <a:pt x="1635" y="3986"/>
                    <a:pt x="1605" y="3998"/>
                    <a:pt x="1574" y="4010"/>
                  </a:cubicBezTo>
                  <a:cubicBezTo>
                    <a:pt x="1550" y="4033"/>
                    <a:pt x="1525" y="4055"/>
                    <a:pt x="1500" y="4077"/>
                  </a:cubicBezTo>
                  <a:cubicBezTo>
                    <a:pt x="1486" y="4106"/>
                    <a:pt x="1472" y="4135"/>
                    <a:pt x="1457" y="4163"/>
                  </a:cubicBezTo>
                  <a:cubicBezTo>
                    <a:pt x="1443" y="4190"/>
                    <a:pt x="1429" y="4216"/>
                    <a:pt x="1414" y="4242"/>
                  </a:cubicBezTo>
                  <a:cubicBezTo>
                    <a:pt x="1386" y="4257"/>
                    <a:pt x="1358" y="4271"/>
                    <a:pt x="1329" y="4285"/>
                  </a:cubicBezTo>
                  <a:cubicBezTo>
                    <a:pt x="1297" y="4314"/>
                    <a:pt x="1264" y="4343"/>
                    <a:pt x="1231" y="4371"/>
                  </a:cubicBezTo>
                  <a:cubicBezTo>
                    <a:pt x="1219" y="4400"/>
                    <a:pt x="1207" y="4428"/>
                    <a:pt x="1194" y="4456"/>
                  </a:cubicBezTo>
                  <a:cubicBezTo>
                    <a:pt x="1149" y="4477"/>
                    <a:pt x="1104" y="4498"/>
                    <a:pt x="1059" y="4518"/>
                  </a:cubicBezTo>
                  <a:cubicBezTo>
                    <a:pt x="1037" y="4508"/>
                    <a:pt x="1015" y="4498"/>
                    <a:pt x="992" y="4487"/>
                  </a:cubicBezTo>
                  <a:cubicBezTo>
                    <a:pt x="964" y="4467"/>
                    <a:pt x="935" y="4447"/>
                    <a:pt x="906" y="4426"/>
                  </a:cubicBezTo>
                  <a:cubicBezTo>
                    <a:pt x="880" y="4383"/>
                    <a:pt x="854" y="4340"/>
                    <a:pt x="827" y="4297"/>
                  </a:cubicBezTo>
                  <a:cubicBezTo>
                    <a:pt x="821" y="4299"/>
                    <a:pt x="815" y="4301"/>
                    <a:pt x="808" y="4303"/>
                  </a:cubicBezTo>
                  <a:cubicBezTo>
                    <a:pt x="833" y="4293"/>
                    <a:pt x="858" y="4283"/>
                    <a:pt x="882" y="4273"/>
                  </a:cubicBezTo>
                  <a:cubicBezTo>
                    <a:pt x="905" y="4249"/>
                    <a:pt x="927" y="4224"/>
                    <a:pt x="949" y="4199"/>
                  </a:cubicBezTo>
                  <a:cubicBezTo>
                    <a:pt x="947" y="4167"/>
                    <a:pt x="945" y="4134"/>
                    <a:pt x="943" y="4101"/>
                  </a:cubicBezTo>
                  <a:cubicBezTo>
                    <a:pt x="960" y="4071"/>
                    <a:pt x="976" y="4040"/>
                    <a:pt x="992" y="4009"/>
                  </a:cubicBezTo>
                  <a:cubicBezTo>
                    <a:pt x="1009" y="3977"/>
                    <a:pt x="1025" y="3945"/>
                    <a:pt x="1041" y="3912"/>
                  </a:cubicBezTo>
                  <a:cubicBezTo>
                    <a:pt x="1062" y="3884"/>
                    <a:pt x="1082" y="3855"/>
                    <a:pt x="1102" y="3826"/>
                  </a:cubicBezTo>
                  <a:cubicBezTo>
                    <a:pt x="1094" y="3775"/>
                    <a:pt x="1086" y="3724"/>
                    <a:pt x="1078" y="3673"/>
                  </a:cubicBezTo>
                  <a:cubicBezTo>
                    <a:pt x="1088" y="3645"/>
                    <a:pt x="1098" y="3616"/>
                    <a:pt x="1108" y="3587"/>
                  </a:cubicBezTo>
                  <a:cubicBezTo>
                    <a:pt x="1153" y="3557"/>
                    <a:pt x="1198" y="3526"/>
                    <a:pt x="1243" y="3495"/>
                  </a:cubicBezTo>
                  <a:cubicBezTo>
                    <a:pt x="1256" y="3477"/>
                    <a:pt x="1268" y="3459"/>
                    <a:pt x="1280" y="3440"/>
                  </a:cubicBezTo>
                  <a:cubicBezTo>
                    <a:pt x="1278" y="3414"/>
                    <a:pt x="1276" y="3387"/>
                    <a:pt x="1274" y="3360"/>
                  </a:cubicBezTo>
                  <a:cubicBezTo>
                    <a:pt x="1235" y="3350"/>
                    <a:pt x="1196" y="3340"/>
                    <a:pt x="1157" y="3330"/>
                  </a:cubicBezTo>
                  <a:cubicBezTo>
                    <a:pt x="1141" y="3320"/>
                    <a:pt x="1125" y="3310"/>
                    <a:pt x="1108" y="3299"/>
                  </a:cubicBezTo>
                  <a:cubicBezTo>
                    <a:pt x="1082" y="3244"/>
                    <a:pt x="1056" y="3189"/>
                    <a:pt x="1029" y="3134"/>
                  </a:cubicBezTo>
                  <a:cubicBezTo>
                    <a:pt x="1009" y="3093"/>
                    <a:pt x="988" y="3052"/>
                    <a:pt x="967" y="3011"/>
                  </a:cubicBezTo>
                  <a:cubicBezTo>
                    <a:pt x="945" y="2975"/>
                    <a:pt x="923" y="2938"/>
                    <a:pt x="900" y="2901"/>
                  </a:cubicBezTo>
                  <a:cubicBezTo>
                    <a:pt x="874" y="2846"/>
                    <a:pt x="847" y="2791"/>
                    <a:pt x="820" y="2736"/>
                  </a:cubicBezTo>
                  <a:cubicBezTo>
                    <a:pt x="792" y="2738"/>
                    <a:pt x="764" y="2740"/>
                    <a:pt x="735" y="2742"/>
                  </a:cubicBezTo>
                  <a:cubicBezTo>
                    <a:pt x="729" y="2765"/>
                    <a:pt x="723" y="2787"/>
                    <a:pt x="716" y="2809"/>
                  </a:cubicBezTo>
                  <a:cubicBezTo>
                    <a:pt x="708" y="2824"/>
                    <a:pt x="700" y="2838"/>
                    <a:pt x="692" y="2852"/>
                  </a:cubicBezTo>
                  <a:cubicBezTo>
                    <a:pt x="647" y="2840"/>
                    <a:pt x="602" y="2828"/>
                    <a:pt x="557" y="2816"/>
                  </a:cubicBezTo>
                  <a:cubicBezTo>
                    <a:pt x="539" y="2833"/>
                    <a:pt x="521" y="2849"/>
                    <a:pt x="502" y="2865"/>
                  </a:cubicBezTo>
                  <a:cubicBezTo>
                    <a:pt x="490" y="2877"/>
                    <a:pt x="478" y="2889"/>
                    <a:pt x="465" y="2901"/>
                  </a:cubicBezTo>
                  <a:cubicBezTo>
                    <a:pt x="418" y="2873"/>
                    <a:pt x="371" y="2845"/>
                    <a:pt x="324" y="2816"/>
                  </a:cubicBezTo>
                  <a:cubicBezTo>
                    <a:pt x="292" y="2794"/>
                    <a:pt x="260" y="2771"/>
                    <a:pt x="227" y="2748"/>
                  </a:cubicBezTo>
                  <a:cubicBezTo>
                    <a:pt x="211" y="2740"/>
                    <a:pt x="195" y="2732"/>
                    <a:pt x="178" y="2724"/>
                  </a:cubicBezTo>
                  <a:cubicBezTo>
                    <a:pt x="154" y="2643"/>
                    <a:pt x="129" y="2561"/>
                    <a:pt x="104" y="2479"/>
                  </a:cubicBezTo>
                  <a:cubicBezTo>
                    <a:pt x="82" y="2422"/>
                    <a:pt x="60" y="2365"/>
                    <a:pt x="37" y="2307"/>
                  </a:cubicBezTo>
                  <a:cubicBezTo>
                    <a:pt x="25" y="2263"/>
                    <a:pt x="13" y="2218"/>
                    <a:pt x="0" y="2173"/>
                  </a:cubicBezTo>
                  <a:cubicBezTo>
                    <a:pt x="15" y="2112"/>
                    <a:pt x="29" y="2051"/>
                    <a:pt x="43" y="1989"/>
                  </a:cubicBezTo>
                  <a:cubicBezTo>
                    <a:pt x="47" y="1978"/>
                    <a:pt x="51" y="1966"/>
                    <a:pt x="55" y="1954"/>
                  </a:cubicBezTo>
                  <a:cubicBezTo>
                    <a:pt x="94" y="1964"/>
                    <a:pt x="133" y="1974"/>
                    <a:pt x="171" y="1983"/>
                  </a:cubicBezTo>
                  <a:cubicBezTo>
                    <a:pt x="218" y="1989"/>
                    <a:pt x="265" y="1995"/>
                    <a:pt x="312" y="2001"/>
                  </a:cubicBezTo>
                  <a:cubicBezTo>
                    <a:pt x="339" y="2008"/>
                    <a:pt x="366" y="2014"/>
                    <a:pt x="392" y="2020"/>
                  </a:cubicBezTo>
                  <a:cubicBezTo>
                    <a:pt x="398" y="1998"/>
                    <a:pt x="404" y="1975"/>
                    <a:pt x="410" y="1952"/>
                  </a:cubicBezTo>
                  <a:cubicBezTo>
                    <a:pt x="417" y="1934"/>
                    <a:pt x="423" y="1916"/>
                    <a:pt x="429" y="1897"/>
                  </a:cubicBezTo>
                  <a:cubicBezTo>
                    <a:pt x="456" y="1879"/>
                    <a:pt x="482" y="1861"/>
                    <a:pt x="508" y="1842"/>
                  </a:cubicBezTo>
                  <a:cubicBezTo>
                    <a:pt x="515" y="1836"/>
                    <a:pt x="521" y="1830"/>
                    <a:pt x="527" y="1824"/>
                  </a:cubicBezTo>
                  <a:cubicBezTo>
                    <a:pt x="527" y="1792"/>
                    <a:pt x="527" y="1759"/>
                    <a:pt x="527" y="1726"/>
                  </a:cubicBezTo>
                  <a:cubicBezTo>
                    <a:pt x="519" y="1704"/>
                    <a:pt x="511" y="1681"/>
                    <a:pt x="502" y="1658"/>
                  </a:cubicBezTo>
                  <a:cubicBezTo>
                    <a:pt x="482" y="1634"/>
                    <a:pt x="462" y="1610"/>
                    <a:pt x="441" y="1585"/>
                  </a:cubicBezTo>
                  <a:cubicBezTo>
                    <a:pt x="419" y="1567"/>
                    <a:pt x="396" y="1549"/>
                    <a:pt x="373" y="1530"/>
                  </a:cubicBezTo>
                  <a:cubicBezTo>
                    <a:pt x="361" y="1508"/>
                    <a:pt x="349" y="1485"/>
                    <a:pt x="337" y="1462"/>
                  </a:cubicBezTo>
                  <a:cubicBezTo>
                    <a:pt x="333" y="1436"/>
                    <a:pt x="329" y="1410"/>
                    <a:pt x="324" y="1383"/>
                  </a:cubicBezTo>
                  <a:cubicBezTo>
                    <a:pt x="324" y="1355"/>
                    <a:pt x="324" y="1326"/>
                    <a:pt x="324" y="1297"/>
                  </a:cubicBezTo>
                  <a:cubicBezTo>
                    <a:pt x="324" y="1265"/>
                    <a:pt x="324" y="1232"/>
                    <a:pt x="324" y="1199"/>
                  </a:cubicBezTo>
                  <a:cubicBezTo>
                    <a:pt x="327" y="1163"/>
                    <a:pt x="329" y="1126"/>
                    <a:pt x="331" y="1089"/>
                  </a:cubicBezTo>
                  <a:cubicBezTo>
                    <a:pt x="335" y="1079"/>
                    <a:pt x="339" y="1069"/>
                    <a:pt x="343" y="1059"/>
                  </a:cubicBezTo>
                  <a:cubicBezTo>
                    <a:pt x="411" y="1018"/>
                    <a:pt x="478" y="977"/>
                    <a:pt x="545" y="937"/>
                  </a:cubicBezTo>
                  <a:cubicBezTo>
                    <a:pt x="592" y="910"/>
                    <a:pt x="639" y="883"/>
                    <a:pt x="686" y="857"/>
                  </a:cubicBezTo>
                  <a:cubicBezTo>
                    <a:pt x="719" y="832"/>
                    <a:pt x="752" y="808"/>
                    <a:pt x="784" y="784"/>
                  </a:cubicBezTo>
                  <a:cubicBezTo>
                    <a:pt x="821" y="810"/>
                    <a:pt x="858" y="836"/>
                    <a:pt x="894" y="863"/>
                  </a:cubicBezTo>
                  <a:cubicBezTo>
                    <a:pt x="911" y="867"/>
                    <a:pt x="927" y="871"/>
                    <a:pt x="943" y="876"/>
                  </a:cubicBezTo>
                  <a:cubicBezTo>
                    <a:pt x="980" y="880"/>
                    <a:pt x="1017" y="884"/>
                    <a:pt x="1053" y="888"/>
                  </a:cubicBezTo>
                  <a:cubicBezTo>
                    <a:pt x="1064" y="886"/>
                    <a:pt x="1074" y="884"/>
                    <a:pt x="1084" y="882"/>
                  </a:cubicBezTo>
                  <a:cubicBezTo>
                    <a:pt x="1099" y="896"/>
                    <a:pt x="1113" y="910"/>
                    <a:pt x="1127" y="925"/>
                  </a:cubicBezTo>
                  <a:cubicBezTo>
                    <a:pt x="1166" y="914"/>
                    <a:pt x="1205" y="904"/>
                    <a:pt x="1243" y="894"/>
                  </a:cubicBezTo>
                  <a:cubicBezTo>
                    <a:pt x="1247" y="894"/>
                    <a:pt x="1251" y="894"/>
                    <a:pt x="1255" y="894"/>
                  </a:cubicBezTo>
                  <a:cubicBezTo>
                    <a:pt x="1290" y="924"/>
                    <a:pt x="1325" y="955"/>
                    <a:pt x="1359" y="986"/>
                  </a:cubicBezTo>
                  <a:cubicBezTo>
                    <a:pt x="1394" y="1016"/>
                    <a:pt x="1429" y="1047"/>
                    <a:pt x="1463" y="1078"/>
                  </a:cubicBezTo>
                  <a:cubicBezTo>
                    <a:pt x="1468" y="1098"/>
                    <a:pt x="1472" y="1118"/>
                    <a:pt x="1476" y="1138"/>
                  </a:cubicBezTo>
                  <a:cubicBezTo>
                    <a:pt x="1474" y="1165"/>
                    <a:pt x="1472" y="1192"/>
                    <a:pt x="1470" y="1218"/>
                  </a:cubicBezTo>
                  <a:cubicBezTo>
                    <a:pt x="1487" y="1220"/>
                    <a:pt x="1503" y="1222"/>
                    <a:pt x="1519" y="1224"/>
                  </a:cubicBezTo>
                  <a:cubicBezTo>
                    <a:pt x="1531" y="1196"/>
                    <a:pt x="1543" y="1167"/>
                    <a:pt x="1555" y="1138"/>
                  </a:cubicBezTo>
                  <a:cubicBezTo>
                    <a:pt x="1588" y="1134"/>
                    <a:pt x="1621" y="1130"/>
                    <a:pt x="1653" y="1126"/>
                  </a:cubicBezTo>
                  <a:cubicBezTo>
                    <a:pt x="1680" y="1124"/>
                    <a:pt x="1707" y="1122"/>
                    <a:pt x="1733" y="1120"/>
                  </a:cubicBezTo>
                  <a:cubicBezTo>
                    <a:pt x="1748" y="1098"/>
                    <a:pt x="1762" y="1075"/>
                    <a:pt x="1776" y="1053"/>
                  </a:cubicBezTo>
                  <a:cubicBezTo>
                    <a:pt x="1805" y="1047"/>
                    <a:pt x="1833" y="1041"/>
                    <a:pt x="1861" y="1035"/>
                  </a:cubicBezTo>
                  <a:cubicBezTo>
                    <a:pt x="1878" y="1035"/>
                    <a:pt x="1894" y="1035"/>
                    <a:pt x="1910" y="1035"/>
                  </a:cubicBezTo>
                  <a:cubicBezTo>
                    <a:pt x="1935" y="1063"/>
                    <a:pt x="1960" y="1092"/>
                    <a:pt x="1984" y="1120"/>
                  </a:cubicBezTo>
                  <a:cubicBezTo>
                    <a:pt x="2007" y="1134"/>
                    <a:pt x="2029" y="1148"/>
                    <a:pt x="2051" y="1162"/>
                  </a:cubicBezTo>
                  <a:cubicBezTo>
                    <a:pt x="2115" y="1171"/>
                    <a:pt x="2178" y="1179"/>
                    <a:pt x="2241" y="1187"/>
                  </a:cubicBezTo>
                  <a:cubicBezTo>
                    <a:pt x="2268" y="1187"/>
                    <a:pt x="2295" y="1187"/>
                    <a:pt x="2321" y="1187"/>
                  </a:cubicBezTo>
                  <a:cubicBezTo>
                    <a:pt x="2345" y="1187"/>
                    <a:pt x="2378" y="1175"/>
                    <a:pt x="2406" y="1169"/>
                  </a:cubicBezTo>
                  <a:cubicBezTo>
                    <a:pt x="2415" y="1149"/>
                    <a:pt x="2423" y="1128"/>
                    <a:pt x="2431" y="1107"/>
                  </a:cubicBezTo>
                  <a:cubicBezTo>
                    <a:pt x="2458" y="1067"/>
                    <a:pt x="2484" y="1026"/>
                    <a:pt x="2510" y="986"/>
                  </a:cubicBezTo>
                  <a:cubicBezTo>
                    <a:pt x="2525" y="973"/>
                    <a:pt x="2539" y="961"/>
                    <a:pt x="2553" y="949"/>
                  </a:cubicBezTo>
                  <a:cubicBezTo>
                    <a:pt x="2576" y="949"/>
                    <a:pt x="2599" y="949"/>
                    <a:pt x="2621" y="949"/>
                  </a:cubicBezTo>
                  <a:cubicBezTo>
                    <a:pt x="2654" y="947"/>
                    <a:pt x="2687" y="945"/>
                    <a:pt x="2719" y="943"/>
                  </a:cubicBezTo>
                  <a:cubicBezTo>
                    <a:pt x="2734" y="922"/>
                    <a:pt x="2748" y="902"/>
                    <a:pt x="2762" y="882"/>
                  </a:cubicBezTo>
                  <a:cubicBezTo>
                    <a:pt x="2760" y="861"/>
                    <a:pt x="2758" y="841"/>
                    <a:pt x="2755" y="821"/>
                  </a:cubicBezTo>
                  <a:cubicBezTo>
                    <a:pt x="2806" y="800"/>
                    <a:pt x="2857" y="779"/>
                    <a:pt x="2908" y="759"/>
                  </a:cubicBezTo>
                  <a:cubicBezTo>
                    <a:pt x="2935" y="749"/>
                    <a:pt x="2962" y="739"/>
                    <a:pt x="2988" y="729"/>
                  </a:cubicBezTo>
                  <a:cubicBezTo>
                    <a:pt x="3043" y="708"/>
                    <a:pt x="3098" y="687"/>
                    <a:pt x="3153" y="667"/>
                  </a:cubicBezTo>
                  <a:cubicBezTo>
                    <a:pt x="3190" y="651"/>
                    <a:pt x="3227" y="635"/>
                    <a:pt x="3264" y="619"/>
                  </a:cubicBezTo>
                  <a:cubicBezTo>
                    <a:pt x="3297" y="580"/>
                    <a:pt x="3330" y="541"/>
                    <a:pt x="3362" y="502"/>
                  </a:cubicBezTo>
                  <a:cubicBezTo>
                    <a:pt x="3385" y="481"/>
                    <a:pt x="3407" y="461"/>
                    <a:pt x="3429" y="441"/>
                  </a:cubicBezTo>
                  <a:cubicBezTo>
                    <a:pt x="3438" y="455"/>
                    <a:pt x="3446" y="469"/>
                    <a:pt x="3454" y="484"/>
                  </a:cubicBezTo>
                  <a:close/>
                  <a:moveTo>
                    <a:pt x="55" y="1952"/>
                  </a:moveTo>
                  <a:cubicBezTo>
                    <a:pt x="53" y="1952"/>
                    <a:pt x="51" y="1952"/>
                    <a:pt x="49" y="1952"/>
                  </a:cubicBezTo>
                  <a:cubicBezTo>
                    <a:pt x="51" y="1953"/>
                    <a:pt x="53" y="1954"/>
                    <a:pt x="55" y="1954"/>
                  </a:cubicBezTo>
                  <a:cubicBezTo>
                    <a:pt x="55" y="1954"/>
                    <a:pt x="55" y="1953"/>
                    <a:pt x="55" y="1952"/>
                  </a:cubicBezTo>
                  <a:close/>
                </a:path>
              </a:pathLst>
            </a:custGeom>
            <a:solidFill>
              <a:srgbClr val="EC6602"/>
            </a:solidFill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89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1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51">
              <a:extLst>
                <a:ext uri="{FF2B5EF4-FFF2-40B4-BE49-F238E27FC236}">
                  <a16:creationId xmlns:a16="http://schemas.microsoft.com/office/drawing/2014/main" id="{994A04D0-7E28-4F6E-3BC0-4EB8A7388E2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0000">
              <a:off x="8066535" y="5457758"/>
              <a:ext cx="2030661" cy="817778"/>
            </a:xfrm>
            <a:custGeom>
              <a:avLst/>
              <a:gdLst>
                <a:gd name="T0" fmla="*/ 83852 w 7799"/>
                <a:gd name="T1" fmla="*/ 26261 h 3142"/>
                <a:gd name="T2" fmla="*/ 202972 w 7799"/>
                <a:gd name="T3" fmla="*/ 74826 h 3142"/>
                <a:gd name="T4" fmla="*/ 359160 w 7799"/>
                <a:gd name="T5" fmla="*/ 110080 h 3142"/>
                <a:gd name="T6" fmla="*/ 509229 w 7799"/>
                <a:gd name="T7" fmla="*/ 153968 h 3142"/>
                <a:gd name="T8" fmla="*/ 648143 w 7799"/>
                <a:gd name="T9" fmla="*/ 138859 h 3142"/>
                <a:gd name="T10" fmla="*/ 711842 w 7799"/>
                <a:gd name="T11" fmla="*/ 57199 h 3142"/>
                <a:gd name="T12" fmla="*/ 835280 w 7799"/>
                <a:gd name="T13" fmla="*/ 79143 h 3142"/>
                <a:gd name="T14" fmla="*/ 966996 w 7799"/>
                <a:gd name="T15" fmla="*/ 85978 h 3142"/>
                <a:gd name="T16" fmla="*/ 1088276 w 7799"/>
                <a:gd name="T17" fmla="*/ 107922 h 3142"/>
                <a:gd name="T18" fmla="*/ 1178605 w 7799"/>
                <a:gd name="T19" fmla="*/ 149651 h 3142"/>
                <a:gd name="T20" fmla="*/ 1291248 w 7799"/>
                <a:gd name="T21" fmla="*/ 224477 h 3142"/>
                <a:gd name="T22" fmla="*/ 1357105 w 7799"/>
                <a:gd name="T23" fmla="*/ 290669 h 3142"/>
                <a:gd name="T24" fmla="*/ 1443117 w 7799"/>
                <a:gd name="T25" fmla="*/ 248939 h 3142"/>
                <a:gd name="T26" fmla="*/ 1524809 w 7799"/>
                <a:gd name="T27" fmla="*/ 174114 h 3142"/>
                <a:gd name="T28" fmla="*/ 1599664 w 7799"/>
                <a:gd name="T29" fmla="*/ 105763 h 3142"/>
                <a:gd name="T30" fmla="*/ 1696472 w 7799"/>
                <a:gd name="T31" fmla="*/ 52882 h 3142"/>
                <a:gd name="T32" fmla="*/ 1760530 w 7799"/>
                <a:gd name="T33" fmla="*/ 41730 h 3142"/>
                <a:gd name="T34" fmla="*/ 1809114 w 7799"/>
                <a:gd name="T35" fmla="*/ 85978 h 3142"/>
                <a:gd name="T36" fmla="*/ 1912400 w 7799"/>
                <a:gd name="T37" fmla="*/ 85978 h 3142"/>
                <a:gd name="T38" fmla="*/ 1958824 w 7799"/>
                <a:gd name="T39" fmla="*/ 132024 h 3142"/>
                <a:gd name="T40" fmla="*/ 2037997 w 7799"/>
                <a:gd name="T41" fmla="*/ 96770 h 3142"/>
                <a:gd name="T42" fmla="*/ 2097737 w 7799"/>
                <a:gd name="T43" fmla="*/ 74826 h 3142"/>
                <a:gd name="T44" fmla="*/ 2192386 w 7799"/>
                <a:gd name="T45" fmla="*/ 61515 h 3142"/>
                <a:gd name="T46" fmla="*/ 2265081 w 7799"/>
                <a:gd name="T47" fmla="*/ 59357 h 3142"/>
                <a:gd name="T48" fmla="*/ 2353252 w 7799"/>
                <a:gd name="T49" fmla="*/ 52882 h 3142"/>
                <a:gd name="T50" fmla="*/ 2428107 w 7799"/>
                <a:gd name="T51" fmla="*/ 43888 h 3142"/>
                <a:gd name="T52" fmla="*/ 2520596 w 7799"/>
                <a:gd name="T53" fmla="*/ 46047 h 3142"/>
                <a:gd name="T54" fmla="*/ 2602288 w 7799"/>
                <a:gd name="T55" fmla="*/ 129866 h 3142"/>
                <a:gd name="T56" fmla="*/ 2677143 w 7799"/>
                <a:gd name="T57" fmla="*/ 231312 h 3142"/>
                <a:gd name="T58" fmla="*/ 2650872 w 7799"/>
                <a:gd name="T59" fmla="*/ 334917 h 3142"/>
                <a:gd name="T60" fmla="*/ 2686140 w 7799"/>
                <a:gd name="T61" fmla="*/ 411901 h 3142"/>
                <a:gd name="T62" fmla="*/ 2705934 w 7799"/>
                <a:gd name="T63" fmla="*/ 555077 h 3142"/>
                <a:gd name="T64" fmla="*/ 2776470 w 7799"/>
                <a:gd name="T65" fmla="*/ 614434 h 3142"/>
                <a:gd name="T66" fmla="*/ 2721409 w 7799"/>
                <a:gd name="T67" fmla="*/ 656164 h 3142"/>
                <a:gd name="T68" fmla="*/ 2639716 w 7799"/>
                <a:gd name="T69" fmla="*/ 680626 h 3142"/>
                <a:gd name="T70" fmla="*/ 2500802 w 7799"/>
                <a:gd name="T71" fmla="*/ 898628 h 3142"/>
                <a:gd name="T72" fmla="*/ 2357570 w 7799"/>
                <a:gd name="T73" fmla="*/ 982447 h 3142"/>
                <a:gd name="T74" fmla="*/ 2253925 w 7799"/>
                <a:gd name="T75" fmla="*/ 1096844 h 3142"/>
                <a:gd name="T76" fmla="*/ 2150640 w 7799"/>
                <a:gd name="T77" fmla="*/ 1090369 h 3142"/>
                <a:gd name="T78" fmla="*/ 2066788 w 7799"/>
                <a:gd name="T79" fmla="*/ 1030652 h 3142"/>
                <a:gd name="T80" fmla="*/ 1910240 w 7799"/>
                <a:gd name="T81" fmla="*/ 1048280 h 3142"/>
                <a:gd name="T82" fmla="*/ 1716265 w 7799"/>
                <a:gd name="T83" fmla="*/ 1000074 h 3142"/>
                <a:gd name="T84" fmla="*/ 1496019 w 7799"/>
                <a:gd name="T85" fmla="*/ 940358 h 3142"/>
                <a:gd name="T86" fmla="*/ 1271454 w 7799"/>
                <a:gd name="T87" fmla="*/ 964820 h 3142"/>
                <a:gd name="T88" fmla="*/ 1083957 w 7799"/>
                <a:gd name="T89" fmla="*/ 911938 h 3142"/>
                <a:gd name="T90" fmla="*/ 954040 w 7799"/>
                <a:gd name="T91" fmla="*/ 914097 h 3142"/>
                <a:gd name="T92" fmla="*/ 729476 w 7799"/>
                <a:gd name="T93" fmla="*/ 929566 h 3142"/>
                <a:gd name="T94" fmla="*/ 412422 w 7799"/>
                <a:gd name="T95" fmla="*/ 867691 h 3142"/>
                <a:gd name="T96" fmla="*/ 183179 w 7799"/>
                <a:gd name="T97" fmla="*/ 808334 h 3142"/>
                <a:gd name="T98" fmla="*/ 81693 w 7799"/>
                <a:gd name="T99" fmla="*/ 788548 h 3142"/>
                <a:gd name="T100" fmla="*/ 128117 w 7799"/>
                <a:gd name="T101" fmla="*/ 629903 h 3142"/>
                <a:gd name="T102" fmla="*/ 253715 w 7799"/>
                <a:gd name="T103" fmla="*/ 610117 h 3142"/>
                <a:gd name="T104" fmla="*/ 374635 w 7799"/>
                <a:gd name="T105" fmla="*/ 616593 h 3142"/>
                <a:gd name="T106" fmla="*/ 297620 w 7799"/>
                <a:gd name="T107" fmla="*/ 484568 h 3142"/>
                <a:gd name="T108" fmla="*/ 220606 w 7799"/>
                <a:gd name="T109" fmla="*/ 365495 h 3142"/>
                <a:gd name="T110" fmla="*/ 145751 w 7799"/>
                <a:gd name="T111" fmla="*/ 273042 h 3142"/>
                <a:gd name="T112" fmla="*/ 152229 w 7799"/>
                <a:gd name="T113" fmla="*/ 138859 h 3142"/>
                <a:gd name="T114" fmla="*/ 0 w 7799"/>
                <a:gd name="T115" fmla="*/ 50723 h 3142"/>
                <a:gd name="T116" fmla="*/ 75575 w 7799"/>
                <a:gd name="T117" fmla="*/ 811211 h 314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7799" h="3142">
                  <a:moveTo>
                    <a:pt x="62" y="92"/>
                  </a:moveTo>
                  <a:cubicBezTo>
                    <a:pt x="68" y="62"/>
                    <a:pt x="74" y="31"/>
                    <a:pt x="80" y="0"/>
                  </a:cubicBezTo>
                  <a:cubicBezTo>
                    <a:pt x="131" y="25"/>
                    <a:pt x="182" y="49"/>
                    <a:pt x="233" y="73"/>
                  </a:cubicBezTo>
                  <a:cubicBezTo>
                    <a:pt x="261" y="92"/>
                    <a:pt x="290" y="110"/>
                    <a:pt x="319" y="128"/>
                  </a:cubicBezTo>
                  <a:cubicBezTo>
                    <a:pt x="351" y="149"/>
                    <a:pt x="384" y="170"/>
                    <a:pt x="417" y="190"/>
                  </a:cubicBezTo>
                  <a:cubicBezTo>
                    <a:pt x="466" y="196"/>
                    <a:pt x="515" y="202"/>
                    <a:pt x="564" y="208"/>
                  </a:cubicBezTo>
                  <a:cubicBezTo>
                    <a:pt x="623" y="217"/>
                    <a:pt x="682" y="225"/>
                    <a:pt x="741" y="233"/>
                  </a:cubicBezTo>
                  <a:cubicBezTo>
                    <a:pt x="782" y="233"/>
                    <a:pt x="823" y="233"/>
                    <a:pt x="864" y="233"/>
                  </a:cubicBezTo>
                  <a:cubicBezTo>
                    <a:pt x="908" y="258"/>
                    <a:pt x="953" y="282"/>
                    <a:pt x="998" y="306"/>
                  </a:cubicBezTo>
                  <a:cubicBezTo>
                    <a:pt x="1043" y="331"/>
                    <a:pt x="1088" y="355"/>
                    <a:pt x="1133" y="379"/>
                  </a:cubicBezTo>
                  <a:cubicBezTo>
                    <a:pt x="1178" y="406"/>
                    <a:pt x="1223" y="433"/>
                    <a:pt x="1268" y="459"/>
                  </a:cubicBezTo>
                  <a:cubicBezTo>
                    <a:pt x="1317" y="449"/>
                    <a:pt x="1366" y="439"/>
                    <a:pt x="1415" y="428"/>
                  </a:cubicBezTo>
                  <a:cubicBezTo>
                    <a:pt x="1451" y="428"/>
                    <a:pt x="1488" y="428"/>
                    <a:pt x="1525" y="428"/>
                  </a:cubicBezTo>
                  <a:cubicBezTo>
                    <a:pt x="1568" y="433"/>
                    <a:pt x="1611" y="437"/>
                    <a:pt x="1654" y="441"/>
                  </a:cubicBezTo>
                  <a:cubicBezTo>
                    <a:pt x="1703" y="423"/>
                    <a:pt x="1752" y="405"/>
                    <a:pt x="1801" y="386"/>
                  </a:cubicBezTo>
                  <a:cubicBezTo>
                    <a:pt x="1831" y="380"/>
                    <a:pt x="1861" y="374"/>
                    <a:pt x="1892" y="367"/>
                  </a:cubicBezTo>
                  <a:cubicBezTo>
                    <a:pt x="1900" y="339"/>
                    <a:pt x="1908" y="310"/>
                    <a:pt x="1917" y="281"/>
                  </a:cubicBezTo>
                  <a:cubicBezTo>
                    <a:pt x="1937" y="241"/>
                    <a:pt x="1957" y="200"/>
                    <a:pt x="1978" y="159"/>
                  </a:cubicBezTo>
                  <a:cubicBezTo>
                    <a:pt x="2023" y="147"/>
                    <a:pt x="2068" y="135"/>
                    <a:pt x="2113" y="122"/>
                  </a:cubicBezTo>
                  <a:cubicBezTo>
                    <a:pt x="2145" y="135"/>
                    <a:pt x="2178" y="147"/>
                    <a:pt x="2211" y="159"/>
                  </a:cubicBezTo>
                  <a:cubicBezTo>
                    <a:pt x="2247" y="180"/>
                    <a:pt x="2284" y="200"/>
                    <a:pt x="2321" y="220"/>
                  </a:cubicBezTo>
                  <a:cubicBezTo>
                    <a:pt x="2366" y="225"/>
                    <a:pt x="2411" y="229"/>
                    <a:pt x="2456" y="233"/>
                  </a:cubicBezTo>
                  <a:cubicBezTo>
                    <a:pt x="2500" y="235"/>
                    <a:pt x="2545" y="237"/>
                    <a:pt x="2589" y="239"/>
                  </a:cubicBezTo>
                  <a:cubicBezTo>
                    <a:pt x="2622" y="239"/>
                    <a:pt x="2655" y="239"/>
                    <a:pt x="2687" y="239"/>
                  </a:cubicBezTo>
                  <a:cubicBezTo>
                    <a:pt x="2730" y="253"/>
                    <a:pt x="2773" y="267"/>
                    <a:pt x="2816" y="281"/>
                  </a:cubicBezTo>
                  <a:cubicBezTo>
                    <a:pt x="2837" y="290"/>
                    <a:pt x="2857" y="298"/>
                    <a:pt x="2877" y="306"/>
                  </a:cubicBezTo>
                  <a:cubicBezTo>
                    <a:pt x="2926" y="304"/>
                    <a:pt x="2975" y="302"/>
                    <a:pt x="3024" y="300"/>
                  </a:cubicBezTo>
                  <a:cubicBezTo>
                    <a:pt x="3061" y="300"/>
                    <a:pt x="3098" y="300"/>
                    <a:pt x="3134" y="300"/>
                  </a:cubicBezTo>
                  <a:cubicBezTo>
                    <a:pt x="3157" y="315"/>
                    <a:pt x="3180" y="329"/>
                    <a:pt x="3202" y="343"/>
                  </a:cubicBezTo>
                  <a:cubicBezTo>
                    <a:pt x="3227" y="368"/>
                    <a:pt x="3251" y="392"/>
                    <a:pt x="3275" y="416"/>
                  </a:cubicBezTo>
                  <a:cubicBezTo>
                    <a:pt x="3302" y="439"/>
                    <a:pt x="3329" y="462"/>
                    <a:pt x="3355" y="484"/>
                  </a:cubicBezTo>
                  <a:cubicBezTo>
                    <a:pt x="3388" y="498"/>
                    <a:pt x="3421" y="512"/>
                    <a:pt x="3453" y="526"/>
                  </a:cubicBezTo>
                  <a:cubicBezTo>
                    <a:pt x="3498" y="559"/>
                    <a:pt x="3543" y="592"/>
                    <a:pt x="3588" y="624"/>
                  </a:cubicBezTo>
                  <a:cubicBezTo>
                    <a:pt x="3594" y="622"/>
                    <a:pt x="3600" y="620"/>
                    <a:pt x="3606" y="618"/>
                  </a:cubicBezTo>
                  <a:cubicBezTo>
                    <a:pt x="3633" y="661"/>
                    <a:pt x="3660" y="704"/>
                    <a:pt x="3686" y="747"/>
                  </a:cubicBezTo>
                  <a:cubicBezTo>
                    <a:pt x="3715" y="768"/>
                    <a:pt x="3743" y="788"/>
                    <a:pt x="3771" y="808"/>
                  </a:cubicBezTo>
                  <a:cubicBezTo>
                    <a:pt x="3794" y="819"/>
                    <a:pt x="3817" y="829"/>
                    <a:pt x="3839" y="839"/>
                  </a:cubicBezTo>
                  <a:cubicBezTo>
                    <a:pt x="3884" y="819"/>
                    <a:pt x="3929" y="798"/>
                    <a:pt x="3973" y="777"/>
                  </a:cubicBezTo>
                  <a:cubicBezTo>
                    <a:pt x="3986" y="749"/>
                    <a:pt x="3998" y="721"/>
                    <a:pt x="4010" y="692"/>
                  </a:cubicBezTo>
                  <a:cubicBezTo>
                    <a:pt x="4043" y="664"/>
                    <a:pt x="4076" y="635"/>
                    <a:pt x="4108" y="606"/>
                  </a:cubicBezTo>
                  <a:cubicBezTo>
                    <a:pt x="4137" y="592"/>
                    <a:pt x="4166" y="578"/>
                    <a:pt x="4194" y="563"/>
                  </a:cubicBezTo>
                  <a:cubicBezTo>
                    <a:pt x="4209" y="537"/>
                    <a:pt x="4223" y="511"/>
                    <a:pt x="4237" y="484"/>
                  </a:cubicBezTo>
                  <a:cubicBezTo>
                    <a:pt x="4251" y="456"/>
                    <a:pt x="4265" y="427"/>
                    <a:pt x="4279" y="398"/>
                  </a:cubicBezTo>
                  <a:cubicBezTo>
                    <a:pt x="4304" y="376"/>
                    <a:pt x="4329" y="353"/>
                    <a:pt x="4353" y="330"/>
                  </a:cubicBezTo>
                  <a:cubicBezTo>
                    <a:pt x="4384" y="318"/>
                    <a:pt x="4415" y="306"/>
                    <a:pt x="4445" y="294"/>
                  </a:cubicBezTo>
                  <a:cubicBezTo>
                    <a:pt x="4478" y="274"/>
                    <a:pt x="4511" y="254"/>
                    <a:pt x="4543" y="233"/>
                  </a:cubicBezTo>
                  <a:cubicBezTo>
                    <a:pt x="4576" y="217"/>
                    <a:pt x="4609" y="201"/>
                    <a:pt x="4641" y="184"/>
                  </a:cubicBezTo>
                  <a:cubicBezTo>
                    <a:pt x="4666" y="172"/>
                    <a:pt x="4690" y="160"/>
                    <a:pt x="4714" y="147"/>
                  </a:cubicBezTo>
                  <a:cubicBezTo>
                    <a:pt x="4741" y="143"/>
                    <a:pt x="4768" y="139"/>
                    <a:pt x="4794" y="135"/>
                  </a:cubicBezTo>
                  <a:cubicBezTo>
                    <a:pt x="4809" y="135"/>
                    <a:pt x="4823" y="135"/>
                    <a:pt x="4837" y="135"/>
                  </a:cubicBezTo>
                  <a:cubicBezTo>
                    <a:pt x="4856" y="129"/>
                    <a:pt x="4874" y="123"/>
                    <a:pt x="4892" y="116"/>
                  </a:cubicBezTo>
                  <a:cubicBezTo>
                    <a:pt x="4911" y="112"/>
                    <a:pt x="4929" y="108"/>
                    <a:pt x="4947" y="104"/>
                  </a:cubicBezTo>
                  <a:cubicBezTo>
                    <a:pt x="4960" y="125"/>
                    <a:pt x="4972" y="145"/>
                    <a:pt x="4984" y="165"/>
                  </a:cubicBezTo>
                  <a:cubicBezTo>
                    <a:pt x="4999" y="190"/>
                    <a:pt x="5013" y="215"/>
                    <a:pt x="5027" y="239"/>
                  </a:cubicBezTo>
                  <a:cubicBezTo>
                    <a:pt x="5054" y="245"/>
                    <a:pt x="5080" y="251"/>
                    <a:pt x="5106" y="257"/>
                  </a:cubicBezTo>
                  <a:cubicBezTo>
                    <a:pt x="5135" y="255"/>
                    <a:pt x="5164" y="253"/>
                    <a:pt x="5192" y="251"/>
                  </a:cubicBezTo>
                  <a:cubicBezTo>
                    <a:pt x="5233" y="247"/>
                    <a:pt x="5274" y="243"/>
                    <a:pt x="5314" y="239"/>
                  </a:cubicBezTo>
                  <a:cubicBezTo>
                    <a:pt x="5327" y="235"/>
                    <a:pt x="5339" y="231"/>
                    <a:pt x="5351" y="226"/>
                  </a:cubicBezTo>
                  <a:cubicBezTo>
                    <a:pt x="5368" y="265"/>
                    <a:pt x="5384" y="304"/>
                    <a:pt x="5400" y="343"/>
                  </a:cubicBezTo>
                  <a:cubicBezTo>
                    <a:pt x="5415" y="351"/>
                    <a:pt x="5429" y="359"/>
                    <a:pt x="5443" y="367"/>
                  </a:cubicBezTo>
                  <a:cubicBezTo>
                    <a:pt x="5470" y="367"/>
                    <a:pt x="5496" y="367"/>
                    <a:pt x="5522" y="367"/>
                  </a:cubicBezTo>
                  <a:cubicBezTo>
                    <a:pt x="5549" y="353"/>
                    <a:pt x="5576" y="339"/>
                    <a:pt x="5602" y="324"/>
                  </a:cubicBezTo>
                  <a:cubicBezTo>
                    <a:pt x="5623" y="306"/>
                    <a:pt x="5643" y="288"/>
                    <a:pt x="5663" y="269"/>
                  </a:cubicBezTo>
                  <a:cubicBezTo>
                    <a:pt x="5684" y="255"/>
                    <a:pt x="5705" y="241"/>
                    <a:pt x="5725" y="226"/>
                  </a:cubicBezTo>
                  <a:cubicBezTo>
                    <a:pt x="5742" y="226"/>
                    <a:pt x="5758" y="226"/>
                    <a:pt x="5774" y="226"/>
                  </a:cubicBezTo>
                  <a:cubicBezTo>
                    <a:pt x="5793" y="220"/>
                    <a:pt x="5811" y="214"/>
                    <a:pt x="5829" y="208"/>
                  </a:cubicBezTo>
                  <a:cubicBezTo>
                    <a:pt x="5880" y="206"/>
                    <a:pt x="5931" y="204"/>
                    <a:pt x="5982" y="202"/>
                  </a:cubicBezTo>
                  <a:cubicBezTo>
                    <a:pt x="6001" y="192"/>
                    <a:pt x="6019" y="182"/>
                    <a:pt x="6037" y="171"/>
                  </a:cubicBezTo>
                  <a:cubicBezTo>
                    <a:pt x="6056" y="171"/>
                    <a:pt x="6074" y="171"/>
                    <a:pt x="6092" y="171"/>
                  </a:cubicBezTo>
                  <a:cubicBezTo>
                    <a:pt x="6117" y="178"/>
                    <a:pt x="6141" y="184"/>
                    <a:pt x="6165" y="190"/>
                  </a:cubicBezTo>
                  <a:cubicBezTo>
                    <a:pt x="6184" y="190"/>
                    <a:pt x="6203" y="190"/>
                    <a:pt x="6221" y="190"/>
                  </a:cubicBezTo>
                  <a:cubicBezTo>
                    <a:pt x="6246" y="182"/>
                    <a:pt x="6270" y="174"/>
                    <a:pt x="6294" y="165"/>
                  </a:cubicBezTo>
                  <a:cubicBezTo>
                    <a:pt x="6317" y="165"/>
                    <a:pt x="6339" y="165"/>
                    <a:pt x="6361" y="165"/>
                  </a:cubicBezTo>
                  <a:cubicBezTo>
                    <a:pt x="6392" y="163"/>
                    <a:pt x="6423" y="161"/>
                    <a:pt x="6453" y="159"/>
                  </a:cubicBezTo>
                  <a:cubicBezTo>
                    <a:pt x="6482" y="155"/>
                    <a:pt x="6511" y="151"/>
                    <a:pt x="6539" y="147"/>
                  </a:cubicBezTo>
                  <a:cubicBezTo>
                    <a:pt x="6562" y="145"/>
                    <a:pt x="6584" y="143"/>
                    <a:pt x="6606" y="141"/>
                  </a:cubicBezTo>
                  <a:cubicBezTo>
                    <a:pt x="6633" y="141"/>
                    <a:pt x="6660" y="141"/>
                    <a:pt x="6686" y="141"/>
                  </a:cubicBezTo>
                  <a:cubicBezTo>
                    <a:pt x="6707" y="135"/>
                    <a:pt x="6727" y="129"/>
                    <a:pt x="6747" y="122"/>
                  </a:cubicBezTo>
                  <a:cubicBezTo>
                    <a:pt x="6784" y="108"/>
                    <a:pt x="6821" y="94"/>
                    <a:pt x="6857" y="79"/>
                  </a:cubicBezTo>
                  <a:cubicBezTo>
                    <a:pt x="6882" y="71"/>
                    <a:pt x="6907" y="63"/>
                    <a:pt x="6931" y="55"/>
                  </a:cubicBezTo>
                  <a:cubicBezTo>
                    <a:pt x="6956" y="80"/>
                    <a:pt x="6980" y="104"/>
                    <a:pt x="7004" y="128"/>
                  </a:cubicBezTo>
                  <a:cubicBezTo>
                    <a:pt x="7037" y="145"/>
                    <a:pt x="7070" y="161"/>
                    <a:pt x="7102" y="177"/>
                  </a:cubicBezTo>
                  <a:cubicBezTo>
                    <a:pt x="7123" y="202"/>
                    <a:pt x="7143" y="227"/>
                    <a:pt x="7163" y="251"/>
                  </a:cubicBezTo>
                  <a:cubicBezTo>
                    <a:pt x="7186" y="288"/>
                    <a:pt x="7209" y="325"/>
                    <a:pt x="7231" y="361"/>
                  </a:cubicBezTo>
                  <a:cubicBezTo>
                    <a:pt x="7254" y="392"/>
                    <a:pt x="7276" y="423"/>
                    <a:pt x="7298" y="453"/>
                  </a:cubicBezTo>
                  <a:cubicBezTo>
                    <a:pt x="7329" y="492"/>
                    <a:pt x="7360" y="531"/>
                    <a:pt x="7390" y="569"/>
                  </a:cubicBezTo>
                  <a:cubicBezTo>
                    <a:pt x="7407" y="594"/>
                    <a:pt x="7423" y="619"/>
                    <a:pt x="7439" y="643"/>
                  </a:cubicBezTo>
                  <a:cubicBezTo>
                    <a:pt x="7441" y="680"/>
                    <a:pt x="7443" y="717"/>
                    <a:pt x="7445" y="753"/>
                  </a:cubicBezTo>
                  <a:cubicBezTo>
                    <a:pt x="7427" y="786"/>
                    <a:pt x="7409" y="819"/>
                    <a:pt x="7390" y="851"/>
                  </a:cubicBezTo>
                  <a:cubicBezTo>
                    <a:pt x="7382" y="878"/>
                    <a:pt x="7374" y="905"/>
                    <a:pt x="7366" y="931"/>
                  </a:cubicBezTo>
                  <a:cubicBezTo>
                    <a:pt x="7372" y="964"/>
                    <a:pt x="7378" y="996"/>
                    <a:pt x="7384" y="1028"/>
                  </a:cubicBezTo>
                  <a:cubicBezTo>
                    <a:pt x="7397" y="1051"/>
                    <a:pt x="7409" y="1074"/>
                    <a:pt x="7421" y="1096"/>
                  </a:cubicBezTo>
                  <a:cubicBezTo>
                    <a:pt x="7436" y="1113"/>
                    <a:pt x="7450" y="1129"/>
                    <a:pt x="7464" y="1145"/>
                  </a:cubicBezTo>
                  <a:cubicBezTo>
                    <a:pt x="7476" y="1182"/>
                    <a:pt x="7488" y="1219"/>
                    <a:pt x="7500" y="1255"/>
                  </a:cubicBezTo>
                  <a:cubicBezTo>
                    <a:pt x="7500" y="1304"/>
                    <a:pt x="7500" y="1353"/>
                    <a:pt x="7500" y="1402"/>
                  </a:cubicBezTo>
                  <a:cubicBezTo>
                    <a:pt x="7507" y="1449"/>
                    <a:pt x="7513" y="1496"/>
                    <a:pt x="7519" y="1543"/>
                  </a:cubicBezTo>
                  <a:cubicBezTo>
                    <a:pt x="7523" y="1560"/>
                    <a:pt x="7527" y="1576"/>
                    <a:pt x="7531" y="1592"/>
                  </a:cubicBezTo>
                  <a:cubicBezTo>
                    <a:pt x="7558" y="1602"/>
                    <a:pt x="7585" y="1612"/>
                    <a:pt x="7611" y="1622"/>
                  </a:cubicBezTo>
                  <a:cubicBezTo>
                    <a:pt x="7646" y="1651"/>
                    <a:pt x="7681" y="1680"/>
                    <a:pt x="7715" y="1708"/>
                  </a:cubicBezTo>
                  <a:cubicBezTo>
                    <a:pt x="7743" y="1724"/>
                    <a:pt x="7771" y="1740"/>
                    <a:pt x="7798" y="1756"/>
                  </a:cubicBezTo>
                  <a:cubicBezTo>
                    <a:pt x="7791" y="1763"/>
                    <a:pt x="7784" y="1769"/>
                    <a:pt x="7776" y="1775"/>
                  </a:cubicBezTo>
                  <a:cubicBezTo>
                    <a:pt x="7705" y="1792"/>
                    <a:pt x="7634" y="1808"/>
                    <a:pt x="7562" y="1824"/>
                  </a:cubicBezTo>
                  <a:cubicBezTo>
                    <a:pt x="7540" y="1869"/>
                    <a:pt x="7517" y="1914"/>
                    <a:pt x="7494" y="1959"/>
                  </a:cubicBezTo>
                  <a:cubicBezTo>
                    <a:pt x="7482" y="1980"/>
                    <a:pt x="7470" y="2000"/>
                    <a:pt x="7457" y="2020"/>
                  </a:cubicBezTo>
                  <a:cubicBezTo>
                    <a:pt x="7417" y="1978"/>
                    <a:pt x="7376" y="1935"/>
                    <a:pt x="7335" y="1892"/>
                  </a:cubicBezTo>
                  <a:cubicBezTo>
                    <a:pt x="7311" y="1927"/>
                    <a:pt x="7287" y="1962"/>
                    <a:pt x="7262" y="1996"/>
                  </a:cubicBezTo>
                  <a:cubicBezTo>
                    <a:pt x="7203" y="2002"/>
                    <a:pt x="7144" y="2008"/>
                    <a:pt x="7084" y="2014"/>
                  </a:cubicBezTo>
                  <a:cubicBezTo>
                    <a:pt x="7039" y="2176"/>
                    <a:pt x="6994" y="2337"/>
                    <a:pt x="6949" y="2498"/>
                  </a:cubicBezTo>
                  <a:cubicBezTo>
                    <a:pt x="6866" y="2517"/>
                    <a:pt x="6782" y="2535"/>
                    <a:pt x="6698" y="2553"/>
                  </a:cubicBezTo>
                  <a:cubicBezTo>
                    <a:pt x="6676" y="2608"/>
                    <a:pt x="6654" y="2663"/>
                    <a:pt x="6631" y="2718"/>
                  </a:cubicBezTo>
                  <a:cubicBezTo>
                    <a:pt x="6605" y="2722"/>
                    <a:pt x="6578" y="2727"/>
                    <a:pt x="6551" y="2731"/>
                  </a:cubicBezTo>
                  <a:cubicBezTo>
                    <a:pt x="6533" y="2761"/>
                    <a:pt x="6515" y="2792"/>
                    <a:pt x="6496" y="2822"/>
                  </a:cubicBezTo>
                  <a:cubicBezTo>
                    <a:pt x="6419" y="2845"/>
                    <a:pt x="6341" y="2867"/>
                    <a:pt x="6263" y="2890"/>
                  </a:cubicBezTo>
                  <a:cubicBezTo>
                    <a:pt x="6263" y="2943"/>
                    <a:pt x="6263" y="2996"/>
                    <a:pt x="6263" y="3049"/>
                  </a:cubicBezTo>
                  <a:cubicBezTo>
                    <a:pt x="6245" y="3080"/>
                    <a:pt x="6227" y="3110"/>
                    <a:pt x="6208" y="3141"/>
                  </a:cubicBezTo>
                  <a:cubicBezTo>
                    <a:pt x="6149" y="3086"/>
                    <a:pt x="6090" y="3031"/>
                    <a:pt x="6031" y="2976"/>
                  </a:cubicBezTo>
                  <a:cubicBezTo>
                    <a:pt x="6013" y="2994"/>
                    <a:pt x="5995" y="3013"/>
                    <a:pt x="5976" y="3031"/>
                  </a:cubicBezTo>
                  <a:cubicBezTo>
                    <a:pt x="5948" y="3019"/>
                    <a:pt x="5919" y="3006"/>
                    <a:pt x="5890" y="2994"/>
                  </a:cubicBezTo>
                  <a:cubicBezTo>
                    <a:pt x="5866" y="2978"/>
                    <a:pt x="5841" y="2961"/>
                    <a:pt x="5816" y="2945"/>
                  </a:cubicBezTo>
                  <a:cubicBezTo>
                    <a:pt x="5792" y="2918"/>
                    <a:pt x="5768" y="2892"/>
                    <a:pt x="5743" y="2865"/>
                  </a:cubicBezTo>
                  <a:cubicBezTo>
                    <a:pt x="5668" y="2881"/>
                    <a:pt x="5592" y="2898"/>
                    <a:pt x="5516" y="2914"/>
                  </a:cubicBezTo>
                  <a:cubicBezTo>
                    <a:pt x="5476" y="2928"/>
                    <a:pt x="5435" y="2943"/>
                    <a:pt x="5394" y="2957"/>
                  </a:cubicBezTo>
                  <a:cubicBezTo>
                    <a:pt x="5366" y="2943"/>
                    <a:pt x="5337" y="2928"/>
                    <a:pt x="5308" y="2914"/>
                  </a:cubicBezTo>
                  <a:cubicBezTo>
                    <a:pt x="5243" y="2924"/>
                    <a:pt x="5178" y="2935"/>
                    <a:pt x="5112" y="2945"/>
                  </a:cubicBezTo>
                  <a:cubicBezTo>
                    <a:pt x="5043" y="2955"/>
                    <a:pt x="4974" y="2965"/>
                    <a:pt x="4904" y="2975"/>
                  </a:cubicBezTo>
                  <a:cubicBezTo>
                    <a:pt x="4859" y="2910"/>
                    <a:pt x="4814" y="2845"/>
                    <a:pt x="4769" y="2780"/>
                  </a:cubicBezTo>
                  <a:cubicBezTo>
                    <a:pt x="4702" y="2772"/>
                    <a:pt x="4635" y="2763"/>
                    <a:pt x="4567" y="2755"/>
                  </a:cubicBezTo>
                  <a:cubicBezTo>
                    <a:pt x="4506" y="2759"/>
                    <a:pt x="4445" y="2763"/>
                    <a:pt x="4384" y="2767"/>
                  </a:cubicBezTo>
                  <a:cubicBezTo>
                    <a:pt x="4309" y="2716"/>
                    <a:pt x="4233" y="2665"/>
                    <a:pt x="4157" y="2614"/>
                  </a:cubicBezTo>
                  <a:cubicBezTo>
                    <a:pt x="4088" y="2616"/>
                    <a:pt x="4019" y="2618"/>
                    <a:pt x="3949" y="2620"/>
                  </a:cubicBezTo>
                  <a:cubicBezTo>
                    <a:pt x="3900" y="2649"/>
                    <a:pt x="3851" y="2677"/>
                    <a:pt x="3802" y="2706"/>
                  </a:cubicBezTo>
                  <a:cubicBezTo>
                    <a:pt x="3713" y="2698"/>
                    <a:pt x="3623" y="2690"/>
                    <a:pt x="3533" y="2682"/>
                  </a:cubicBezTo>
                  <a:cubicBezTo>
                    <a:pt x="3427" y="2643"/>
                    <a:pt x="3321" y="2604"/>
                    <a:pt x="3214" y="2565"/>
                  </a:cubicBezTo>
                  <a:cubicBezTo>
                    <a:pt x="3180" y="2586"/>
                    <a:pt x="3145" y="2607"/>
                    <a:pt x="3110" y="2627"/>
                  </a:cubicBezTo>
                  <a:cubicBezTo>
                    <a:pt x="3078" y="2597"/>
                    <a:pt x="3045" y="2566"/>
                    <a:pt x="3012" y="2535"/>
                  </a:cubicBezTo>
                  <a:cubicBezTo>
                    <a:pt x="2980" y="2543"/>
                    <a:pt x="2947" y="2551"/>
                    <a:pt x="2914" y="2559"/>
                  </a:cubicBezTo>
                  <a:cubicBezTo>
                    <a:pt x="2884" y="2535"/>
                    <a:pt x="2853" y="2511"/>
                    <a:pt x="2822" y="2486"/>
                  </a:cubicBezTo>
                  <a:cubicBezTo>
                    <a:pt x="2765" y="2505"/>
                    <a:pt x="2708" y="2523"/>
                    <a:pt x="2651" y="2541"/>
                  </a:cubicBezTo>
                  <a:cubicBezTo>
                    <a:pt x="2615" y="2517"/>
                    <a:pt x="2578" y="2492"/>
                    <a:pt x="2541" y="2467"/>
                  </a:cubicBezTo>
                  <a:cubicBezTo>
                    <a:pt x="2452" y="2502"/>
                    <a:pt x="2362" y="2537"/>
                    <a:pt x="2272" y="2571"/>
                  </a:cubicBezTo>
                  <a:cubicBezTo>
                    <a:pt x="2190" y="2576"/>
                    <a:pt x="2108" y="2580"/>
                    <a:pt x="2027" y="2584"/>
                  </a:cubicBezTo>
                  <a:cubicBezTo>
                    <a:pt x="1939" y="2539"/>
                    <a:pt x="1851" y="2494"/>
                    <a:pt x="1764" y="2449"/>
                  </a:cubicBezTo>
                  <a:cubicBezTo>
                    <a:pt x="1670" y="2443"/>
                    <a:pt x="1576" y="2437"/>
                    <a:pt x="1482" y="2431"/>
                  </a:cubicBezTo>
                  <a:cubicBezTo>
                    <a:pt x="1370" y="2425"/>
                    <a:pt x="1258" y="2419"/>
                    <a:pt x="1146" y="2412"/>
                  </a:cubicBezTo>
                  <a:cubicBezTo>
                    <a:pt x="1041" y="2414"/>
                    <a:pt x="937" y="2416"/>
                    <a:pt x="833" y="2418"/>
                  </a:cubicBezTo>
                  <a:cubicBezTo>
                    <a:pt x="745" y="2372"/>
                    <a:pt x="657" y="2325"/>
                    <a:pt x="570" y="2278"/>
                  </a:cubicBezTo>
                  <a:cubicBezTo>
                    <a:pt x="549" y="2268"/>
                    <a:pt x="529" y="2258"/>
                    <a:pt x="509" y="2247"/>
                  </a:cubicBezTo>
                  <a:cubicBezTo>
                    <a:pt x="445" y="2249"/>
                    <a:pt x="382" y="2251"/>
                    <a:pt x="319" y="2253"/>
                  </a:cubicBezTo>
                  <a:cubicBezTo>
                    <a:pt x="283" y="2251"/>
                    <a:pt x="247" y="2249"/>
                    <a:pt x="212" y="2246"/>
                  </a:cubicBezTo>
                  <a:cubicBezTo>
                    <a:pt x="217" y="2228"/>
                    <a:pt x="222" y="2210"/>
                    <a:pt x="227" y="2192"/>
                  </a:cubicBezTo>
                  <a:cubicBezTo>
                    <a:pt x="253" y="2149"/>
                    <a:pt x="276" y="2082"/>
                    <a:pt x="307" y="2063"/>
                  </a:cubicBezTo>
                  <a:cubicBezTo>
                    <a:pt x="337" y="2045"/>
                    <a:pt x="335" y="1961"/>
                    <a:pt x="350" y="1910"/>
                  </a:cubicBezTo>
                  <a:cubicBezTo>
                    <a:pt x="352" y="1857"/>
                    <a:pt x="354" y="1804"/>
                    <a:pt x="356" y="1751"/>
                  </a:cubicBezTo>
                  <a:cubicBezTo>
                    <a:pt x="390" y="1753"/>
                    <a:pt x="425" y="1755"/>
                    <a:pt x="460" y="1757"/>
                  </a:cubicBezTo>
                  <a:cubicBezTo>
                    <a:pt x="502" y="1759"/>
                    <a:pt x="545" y="1761"/>
                    <a:pt x="588" y="1763"/>
                  </a:cubicBezTo>
                  <a:cubicBezTo>
                    <a:pt x="627" y="1741"/>
                    <a:pt x="666" y="1719"/>
                    <a:pt x="705" y="1696"/>
                  </a:cubicBezTo>
                  <a:cubicBezTo>
                    <a:pt x="749" y="1670"/>
                    <a:pt x="794" y="1643"/>
                    <a:pt x="839" y="1616"/>
                  </a:cubicBezTo>
                  <a:cubicBezTo>
                    <a:pt x="871" y="1645"/>
                    <a:pt x="904" y="1674"/>
                    <a:pt x="937" y="1702"/>
                  </a:cubicBezTo>
                  <a:cubicBezTo>
                    <a:pt x="971" y="1706"/>
                    <a:pt x="1006" y="1710"/>
                    <a:pt x="1041" y="1714"/>
                  </a:cubicBezTo>
                  <a:cubicBezTo>
                    <a:pt x="1033" y="1667"/>
                    <a:pt x="1025" y="1620"/>
                    <a:pt x="1017" y="1573"/>
                  </a:cubicBezTo>
                  <a:cubicBezTo>
                    <a:pt x="986" y="1543"/>
                    <a:pt x="955" y="1513"/>
                    <a:pt x="925" y="1482"/>
                  </a:cubicBezTo>
                  <a:cubicBezTo>
                    <a:pt x="892" y="1437"/>
                    <a:pt x="859" y="1392"/>
                    <a:pt x="827" y="1347"/>
                  </a:cubicBezTo>
                  <a:cubicBezTo>
                    <a:pt x="790" y="1317"/>
                    <a:pt x="753" y="1286"/>
                    <a:pt x="717" y="1255"/>
                  </a:cubicBezTo>
                  <a:cubicBezTo>
                    <a:pt x="686" y="1221"/>
                    <a:pt x="655" y="1186"/>
                    <a:pt x="625" y="1151"/>
                  </a:cubicBezTo>
                  <a:cubicBezTo>
                    <a:pt x="621" y="1106"/>
                    <a:pt x="617" y="1061"/>
                    <a:pt x="613" y="1016"/>
                  </a:cubicBezTo>
                  <a:cubicBezTo>
                    <a:pt x="596" y="972"/>
                    <a:pt x="580" y="927"/>
                    <a:pt x="564" y="882"/>
                  </a:cubicBezTo>
                  <a:cubicBezTo>
                    <a:pt x="525" y="876"/>
                    <a:pt x="486" y="870"/>
                    <a:pt x="447" y="863"/>
                  </a:cubicBezTo>
                  <a:cubicBezTo>
                    <a:pt x="433" y="829"/>
                    <a:pt x="419" y="794"/>
                    <a:pt x="405" y="759"/>
                  </a:cubicBezTo>
                  <a:cubicBezTo>
                    <a:pt x="380" y="729"/>
                    <a:pt x="355" y="698"/>
                    <a:pt x="331" y="667"/>
                  </a:cubicBezTo>
                  <a:cubicBezTo>
                    <a:pt x="341" y="629"/>
                    <a:pt x="351" y="590"/>
                    <a:pt x="362" y="551"/>
                  </a:cubicBezTo>
                  <a:cubicBezTo>
                    <a:pt x="382" y="496"/>
                    <a:pt x="402" y="441"/>
                    <a:pt x="423" y="386"/>
                  </a:cubicBezTo>
                  <a:cubicBezTo>
                    <a:pt x="359" y="368"/>
                    <a:pt x="296" y="349"/>
                    <a:pt x="233" y="330"/>
                  </a:cubicBezTo>
                  <a:cubicBezTo>
                    <a:pt x="167" y="316"/>
                    <a:pt x="102" y="302"/>
                    <a:pt x="37" y="288"/>
                  </a:cubicBezTo>
                  <a:cubicBezTo>
                    <a:pt x="24" y="239"/>
                    <a:pt x="12" y="190"/>
                    <a:pt x="0" y="141"/>
                  </a:cubicBezTo>
                  <a:cubicBezTo>
                    <a:pt x="20" y="125"/>
                    <a:pt x="41" y="109"/>
                    <a:pt x="62" y="92"/>
                  </a:cubicBezTo>
                  <a:close/>
                  <a:moveTo>
                    <a:pt x="191" y="2245"/>
                  </a:moveTo>
                  <a:cubicBezTo>
                    <a:pt x="197" y="2249"/>
                    <a:pt x="203" y="2252"/>
                    <a:pt x="210" y="2255"/>
                  </a:cubicBezTo>
                  <a:cubicBezTo>
                    <a:pt x="210" y="2252"/>
                    <a:pt x="211" y="2249"/>
                    <a:pt x="212" y="2246"/>
                  </a:cubicBezTo>
                  <a:cubicBezTo>
                    <a:pt x="205" y="2246"/>
                    <a:pt x="198" y="2246"/>
                    <a:pt x="191" y="2245"/>
                  </a:cubicBezTo>
                  <a:close/>
                </a:path>
              </a:pathLst>
            </a:custGeom>
            <a:solidFill>
              <a:srgbClr val="B7B7B7"/>
            </a:solidFill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89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1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59">
              <a:extLst>
                <a:ext uri="{FF2B5EF4-FFF2-40B4-BE49-F238E27FC236}">
                  <a16:creationId xmlns:a16="http://schemas.microsoft.com/office/drawing/2014/main" id="{3C41D120-9AF8-8ACE-34FE-9F935CBDC06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0000">
              <a:off x="9506835" y="3142253"/>
              <a:ext cx="2084644" cy="1815880"/>
            </a:xfrm>
            <a:custGeom>
              <a:avLst/>
              <a:gdLst>
                <a:gd name="T0" fmla="*/ 489395 w 8007"/>
                <a:gd name="T1" fmla="*/ 339731 h 6974"/>
                <a:gd name="T2" fmla="*/ 262330 w 8007"/>
                <a:gd name="T3" fmla="*/ 557822 h 6974"/>
                <a:gd name="T4" fmla="*/ 396914 w 8007"/>
                <a:gd name="T5" fmla="*/ 806502 h 6974"/>
                <a:gd name="T6" fmla="*/ 511346 w 8007"/>
                <a:gd name="T7" fmla="*/ 982846 h 6974"/>
                <a:gd name="T8" fmla="*/ 562085 w 8007"/>
                <a:gd name="T9" fmla="*/ 1273993 h 6974"/>
                <a:gd name="T10" fmla="*/ 398713 w 8007"/>
                <a:gd name="T11" fmla="*/ 1390596 h 6974"/>
                <a:gd name="T12" fmla="*/ 150057 w 8007"/>
                <a:gd name="T13" fmla="*/ 1351008 h 6974"/>
                <a:gd name="T14" fmla="*/ 30947 w 8007"/>
                <a:gd name="T15" fmla="*/ 1549305 h 6974"/>
                <a:gd name="T16" fmla="*/ 165171 w 8007"/>
                <a:gd name="T17" fmla="*/ 1765236 h 6974"/>
                <a:gd name="T18" fmla="*/ 348334 w 8007"/>
                <a:gd name="T19" fmla="*/ 1941580 h 6974"/>
                <a:gd name="T20" fmla="*/ 451611 w 8007"/>
                <a:gd name="T21" fmla="*/ 2117923 h 6974"/>
                <a:gd name="T22" fmla="*/ 700627 w 8007"/>
                <a:gd name="T23" fmla="*/ 2108926 h 6974"/>
                <a:gd name="T24" fmla="*/ 965116 w 8007"/>
                <a:gd name="T25" fmla="*/ 1967851 h 6974"/>
                <a:gd name="T26" fmla="*/ 1282503 w 8007"/>
                <a:gd name="T27" fmla="*/ 2067179 h 6974"/>
                <a:gd name="T28" fmla="*/ 1575420 w 8007"/>
                <a:gd name="T29" fmla="*/ 2203576 h 6974"/>
                <a:gd name="T30" fmla="*/ 1802485 w 8007"/>
                <a:gd name="T31" fmla="*/ 2403672 h 6974"/>
                <a:gd name="T32" fmla="*/ 2079929 w 8007"/>
                <a:gd name="T33" fmla="*/ 2467731 h 6974"/>
                <a:gd name="T34" fmla="*/ 2157296 w 8007"/>
                <a:gd name="T35" fmla="*/ 2194939 h 6974"/>
                <a:gd name="T36" fmla="*/ 2062656 w 8007"/>
                <a:gd name="T37" fmla="*/ 1930423 h 6974"/>
                <a:gd name="T38" fmla="*/ 2201198 w 8007"/>
                <a:gd name="T39" fmla="*/ 1677064 h 6974"/>
                <a:gd name="T40" fmla="*/ 2461369 w 8007"/>
                <a:gd name="T41" fmla="*/ 1593211 h 6974"/>
                <a:gd name="T42" fmla="*/ 2736654 w 8007"/>
                <a:gd name="T43" fmla="*/ 1419386 h 6974"/>
                <a:gd name="T44" fmla="*/ 2880233 w 8007"/>
                <a:gd name="T45" fmla="*/ 1282270 h 6974"/>
                <a:gd name="T46" fmla="*/ 2730176 w 8007"/>
                <a:gd name="T47" fmla="*/ 1053383 h 6974"/>
                <a:gd name="T48" fmla="*/ 2624381 w 8007"/>
                <a:gd name="T49" fmla="*/ 701056 h 6974"/>
                <a:gd name="T50" fmla="*/ 2467846 w 8007"/>
                <a:gd name="T51" fmla="*/ 335053 h 6974"/>
                <a:gd name="T52" fmla="*/ 2190402 w 8007"/>
                <a:gd name="T53" fmla="*/ 205134 h 6974"/>
                <a:gd name="T54" fmla="*/ 1945705 w 8007"/>
                <a:gd name="T55" fmla="*/ 344050 h 6974"/>
                <a:gd name="T56" fmla="*/ 1361670 w 8007"/>
                <a:gd name="T57" fmla="*/ 183181 h 6974"/>
                <a:gd name="T58" fmla="*/ 982748 w 8007"/>
                <a:gd name="T59" fmla="*/ 68378 h 6974"/>
                <a:gd name="T60" fmla="*/ 683354 w 8007"/>
                <a:gd name="T61" fmla="*/ 22313 h 6974"/>
                <a:gd name="T62" fmla="*/ 2178168 w 8007"/>
                <a:gd name="T63" fmla="*/ 1081454 h 6974"/>
                <a:gd name="T64" fmla="*/ 2264891 w 8007"/>
                <a:gd name="T65" fmla="*/ 1147673 h 6974"/>
                <a:gd name="T66" fmla="*/ 2278925 w 8007"/>
                <a:gd name="T67" fmla="*/ 1283710 h 6974"/>
                <a:gd name="T68" fmla="*/ 2280005 w 8007"/>
                <a:gd name="T69" fmla="*/ 1304583 h 6974"/>
                <a:gd name="T70" fmla="*/ 2295119 w 8007"/>
                <a:gd name="T71" fmla="*/ 1315020 h 6974"/>
                <a:gd name="T72" fmla="*/ 2315630 w 8007"/>
                <a:gd name="T73" fmla="*/ 1362525 h 6974"/>
                <a:gd name="T74" fmla="*/ 2177088 w 8007"/>
                <a:gd name="T75" fmla="*/ 1333014 h 6974"/>
                <a:gd name="T76" fmla="*/ 2124550 w 8007"/>
                <a:gd name="T77" fmla="*/ 1396714 h 6974"/>
                <a:gd name="T78" fmla="*/ 2090004 w 8007"/>
                <a:gd name="T79" fmla="*/ 1402472 h 6974"/>
                <a:gd name="T80" fmla="*/ 1974853 w 8007"/>
                <a:gd name="T81" fmla="*/ 1363604 h 6974"/>
                <a:gd name="T82" fmla="*/ 1959379 w 8007"/>
                <a:gd name="T83" fmla="*/ 1389156 h 6974"/>
                <a:gd name="T84" fmla="*/ 1939228 w 8007"/>
                <a:gd name="T85" fmla="*/ 1388796 h 6974"/>
                <a:gd name="T86" fmla="*/ 1854663 w 8007"/>
                <a:gd name="T87" fmla="*/ 1371522 h 6974"/>
                <a:gd name="T88" fmla="*/ 1817599 w 8007"/>
                <a:gd name="T89" fmla="*/ 1339492 h 6974"/>
                <a:gd name="T90" fmla="*/ 1836311 w 8007"/>
                <a:gd name="T91" fmla="*/ 1331575 h 6974"/>
                <a:gd name="T92" fmla="*/ 1803205 w 8007"/>
                <a:gd name="T93" fmla="*/ 1327616 h 6974"/>
                <a:gd name="T94" fmla="*/ 1796008 w 8007"/>
                <a:gd name="T95" fmla="*/ 1304223 h 6974"/>
                <a:gd name="T96" fmla="*/ 1815440 w 8007"/>
                <a:gd name="T97" fmla="*/ 1215332 h 6974"/>
                <a:gd name="T98" fmla="*/ 1807163 w 8007"/>
                <a:gd name="T99" fmla="*/ 1211013 h 6974"/>
                <a:gd name="T100" fmla="*/ 1800686 w 8007"/>
                <a:gd name="T101" fmla="*/ 1192299 h 6974"/>
                <a:gd name="T102" fmla="*/ 1784133 w 8007"/>
                <a:gd name="T103" fmla="*/ 1187980 h 6974"/>
                <a:gd name="T104" fmla="*/ 1802125 w 8007"/>
                <a:gd name="T105" fmla="*/ 1174665 h 6974"/>
                <a:gd name="T106" fmla="*/ 1812921 w 8007"/>
                <a:gd name="T107" fmla="*/ 1105927 h 6974"/>
                <a:gd name="T108" fmla="*/ 1882731 w 8007"/>
                <a:gd name="T109" fmla="*/ 1144434 h 6974"/>
                <a:gd name="T110" fmla="*/ 1893887 w 8007"/>
                <a:gd name="T111" fmla="*/ 1125001 h 6974"/>
                <a:gd name="T112" fmla="*/ 1922315 w 8007"/>
                <a:gd name="T113" fmla="*/ 1098729 h 6974"/>
                <a:gd name="T114" fmla="*/ 1982050 w 8007"/>
                <a:gd name="T115" fmla="*/ 1075336 h 6974"/>
                <a:gd name="T116" fmla="*/ 1998243 w 8007"/>
                <a:gd name="T117" fmla="*/ 1053743 h 6974"/>
                <a:gd name="T118" fmla="*/ 2045023 w 8007"/>
                <a:gd name="T119" fmla="*/ 1036469 h 6974"/>
                <a:gd name="T120" fmla="*/ 2064455 w 8007"/>
                <a:gd name="T121" fmla="*/ 988244 h 69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8007" h="6974">
                  <a:moveTo>
                    <a:pt x="1415" y="0"/>
                  </a:moveTo>
                  <a:cubicBezTo>
                    <a:pt x="1411" y="35"/>
                    <a:pt x="1407" y="70"/>
                    <a:pt x="1402" y="105"/>
                  </a:cubicBezTo>
                  <a:cubicBezTo>
                    <a:pt x="1390" y="138"/>
                    <a:pt x="1378" y="170"/>
                    <a:pt x="1366" y="203"/>
                  </a:cubicBezTo>
                  <a:cubicBezTo>
                    <a:pt x="1389" y="297"/>
                    <a:pt x="1411" y="390"/>
                    <a:pt x="1433" y="484"/>
                  </a:cubicBezTo>
                  <a:cubicBezTo>
                    <a:pt x="1427" y="515"/>
                    <a:pt x="1421" y="545"/>
                    <a:pt x="1415" y="576"/>
                  </a:cubicBezTo>
                  <a:cubicBezTo>
                    <a:pt x="1407" y="609"/>
                    <a:pt x="1399" y="641"/>
                    <a:pt x="1390" y="674"/>
                  </a:cubicBezTo>
                  <a:cubicBezTo>
                    <a:pt x="1394" y="701"/>
                    <a:pt x="1398" y="727"/>
                    <a:pt x="1402" y="754"/>
                  </a:cubicBezTo>
                  <a:cubicBezTo>
                    <a:pt x="1401" y="778"/>
                    <a:pt x="1399" y="803"/>
                    <a:pt x="1397" y="827"/>
                  </a:cubicBezTo>
                  <a:cubicBezTo>
                    <a:pt x="1385" y="866"/>
                    <a:pt x="1373" y="905"/>
                    <a:pt x="1360" y="944"/>
                  </a:cubicBezTo>
                  <a:cubicBezTo>
                    <a:pt x="1368" y="970"/>
                    <a:pt x="1376" y="997"/>
                    <a:pt x="1384" y="1023"/>
                  </a:cubicBezTo>
                  <a:cubicBezTo>
                    <a:pt x="1399" y="1050"/>
                    <a:pt x="1413" y="1076"/>
                    <a:pt x="1427" y="1103"/>
                  </a:cubicBezTo>
                  <a:cubicBezTo>
                    <a:pt x="1415" y="1129"/>
                    <a:pt x="1403" y="1156"/>
                    <a:pt x="1390" y="1182"/>
                  </a:cubicBezTo>
                  <a:cubicBezTo>
                    <a:pt x="1378" y="1182"/>
                    <a:pt x="1366" y="1182"/>
                    <a:pt x="1353" y="1182"/>
                  </a:cubicBezTo>
                  <a:cubicBezTo>
                    <a:pt x="1331" y="1170"/>
                    <a:pt x="1309" y="1158"/>
                    <a:pt x="1286" y="1146"/>
                  </a:cubicBezTo>
                  <a:cubicBezTo>
                    <a:pt x="1233" y="1138"/>
                    <a:pt x="1180" y="1129"/>
                    <a:pt x="1127" y="1121"/>
                  </a:cubicBezTo>
                  <a:cubicBezTo>
                    <a:pt x="1068" y="1121"/>
                    <a:pt x="1009" y="1121"/>
                    <a:pt x="950" y="1121"/>
                  </a:cubicBezTo>
                  <a:cubicBezTo>
                    <a:pt x="940" y="1196"/>
                    <a:pt x="930" y="1271"/>
                    <a:pt x="919" y="1347"/>
                  </a:cubicBezTo>
                  <a:cubicBezTo>
                    <a:pt x="856" y="1414"/>
                    <a:pt x="793" y="1482"/>
                    <a:pt x="729" y="1550"/>
                  </a:cubicBezTo>
                  <a:cubicBezTo>
                    <a:pt x="715" y="1605"/>
                    <a:pt x="701" y="1660"/>
                    <a:pt x="686" y="1715"/>
                  </a:cubicBezTo>
                  <a:cubicBezTo>
                    <a:pt x="690" y="1786"/>
                    <a:pt x="694" y="1857"/>
                    <a:pt x="698" y="1929"/>
                  </a:cubicBezTo>
                  <a:cubicBezTo>
                    <a:pt x="684" y="1978"/>
                    <a:pt x="670" y="2027"/>
                    <a:pt x="656" y="2076"/>
                  </a:cubicBezTo>
                  <a:cubicBezTo>
                    <a:pt x="658" y="2074"/>
                    <a:pt x="660" y="2072"/>
                    <a:pt x="661" y="2070"/>
                  </a:cubicBezTo>
                  <a:cubicBezTo>
                    <a:pt x="661" y="2092"/>
                    <a:pt x="661" y="2115"/>
                    <a:pt x="661" y="2138"/>
                  </a:cubicBezTo>
                  <a:cubicBezTo>
                    <a:pt x="696" y="2138"/>
                    <a:pt x="731" y="2138"/>
                    <a:pt x="766" y="2138"/>
                  </a:cubicBezTo>
                  <a:cubicBezTo>
                    <a:pt x="801" y="2144"/>
                    <a:pt x="836" y="2150"/>
                    <a:pt x="870" y="2156"/>
                  </a:cubicBezTo>
                  <a:cubicBezTo>
                    <a:pt x="911" y="2172"/>
                    <a:pt x="952" y="2188"/>
                    <a:pt x="992" y="2205"/>
                  </a:cubicBezTo>
                  <a:cubicBezTo>
                    <a:pt x="1029" y="2217"/>
                    <a:pt x="1066" y="2229"/>
                    <a:pt x="1103" y="2241"/>
                  </a:cubicBezTo>
                  <a:cubicBezTo>
                    <a:pt x="1148" y="2245"/>
                    <a:pt x="1193" y="2249"/>
                    <a:pt x="1237" y="2254"/>
                  </a:cubicBezTo>
                  <a:cubicBezTo>
                    <a:pt x="1276" y="2278"/>
                    <a:pt x="1315" y="2302"/>
                    <a:pt x="1353" y="2327"/>
                  </a:cubicBezTo>
                  <a:cubicBezTo>
                    <a:pt x="1347" y="2349"/>
                    <a:pt x="1341" y="2372"/>
                    <a:pt x="1335" y="2395"/>
                  </a:cubicBezTo>
                  <a:cubicBezTo>
                    <a:pt x="1315" y="2397"/>
                    <a:pt x="1295" y="2399"/>
                    <a:pt x="1274" y="2401"/>
                  </a:cubicBezTo>
                  <a:cubicBezTo>
                    <a:pt x="1256" y="2427"/>
                    <a:pt x="1238" y="2453"/>
                    <a:pt x="1219" y="2480"/>
                  </a:cubicBezTo>
                  <a:cubicBezTo>
                    <a:pt x="1213" y="2498"/>
                    <a:pt x="1207" y="2516"/>
                    <a:pt x="1200" y="2535"/>
                  </a:cubicBezTo>
                  <a:cubicBezTo>
                    <a:pt x="1207" y="2555"/>
                    <a:pt x="1213" y="2575"/>
                    <a:pt x="1219" y="2596"/>
                  </a:cubicBezTo>
                  <a:cubicBezTo>
                    <a:pt x="1266" y="2633"/>
                    <a:pt x="1313" y="2670"/>
                    <a:pt x="1360" y="2707"/>
                  </a:cubicBezTo>
                  <a:cubicBezTo>
                    <a:pt x="1381" y="2715"/>
                    <a:pt x="1401" y="2723"/>
                    <a:pt x="1421" y="2731"/>
                  </a:cubicBezTo>
                  <a:cubicBezTo>
                    <a:pt x="1423" y="2782"/>
                    <a:pt x="1425" y="2833"/>
                    <a:pt x="1427" y="2885"/>
                  </a:cubicBezTo>
                  <a:cubicBezTo>
                    <a:pt x="1452" y="2885"/>
                    <a:pt x="1476" y="2885"/>
                    <a:pt x="1500" y="2885"/>
                  </a:cubicBezTo>
                  <a:cubicBezTo>
                    <a:pt x="1500" y="2899"/>
                    <a:pt x="1500" y="2913"/>
                    <a:pt x="1500" y="2927"/>
                  </a:cubicBezTo>
                  <a:cubicBezTo>
                    <a:pt x="1503" y="2965"/>
                    <a:pt x="1505" y="3004"/>
                    <a:pt x="1507" y="3043"/>
                  </a:cubicBezTo>
                  <a:cubicBezTo>
                    <a:pt x="1505" y="3063"/>
                    <a:pt x="1503" y="3084"/>
                    <a:pt x="1500" y="3105"/>
                  </a:cubicBezTo>
                  <a:cubicBezTo>
                    <a:pt x="1517" y="3131"/>
                    <a:pt x="1533" y="3157"/>
                    <a:pt x="1549" y="3184"/>
                  </a:cubicBezTo>
                  <a:cubicBezTo>
                    <a:pt x="1554" y="3214"/>
                    <a:pt x="1558" y="3245"/>
                    <a:pt x="1562" y="3276"/>
                  </a:cubicBezTo>
                  <a:cubicBezTo>
                    <a:pt x="1560" y="3323"/>
                    <a:pt x="1558" y="3370"/>
                    <a:pt x="1555" y="3417"/>
                  </a:cubicBezTo>
                  <a:cubicBezTo>
                    <a:pt x="1558" y="3458"/>
                    <a:pt x="1560" y="3499"/>
                    <a:pt x="1562" y="3540"/>
                  </a:cubicBezTo>
                  <a:cubicBezTo>
                    <a:pt x="1568" y="3605"/>
                    <a:pt x="1574" y="3670"/>
                    <a:pt x="1580" y="3735"/>
                  </a:cubicBezTo>
                  <a:cubicBezTo>
                    <a:pt x="1566" y="3727"/>
                    <a:pt x="1552" y="3719"/>
                    <a:pt x="1537" y="3711"/>
                  </a:cubicBezTo>
                  <a:cubicBezTo>
                    <a:pt x="1519" y="3703"/>
                    <a:pt x="1501" y="3695"/>
                    <a:pt x="1482" y="3687"/>
                  </a:cubicBezTo>
                  <a:cubicBezTo>
                    <a:pt x="1466" y="3672"/>
                    <a:pt x="1450" y="3658"/>
                    <a:pt x="1433" y="3644"/>
                  </a:cubicBezTo>
                  <a:cubicBezTo>
                    <a:pt x="1411" y="3646"/>
                    <a:pt x="1389" y="3648"/>
                    <a:pt x="1366" y="3650"/>
                  </a:cubicBezTo>
                  <a:cubicBezTo>
                    <a:pt x="1348" y="3652"/>
                    <a:pt x="1330" y="3654"/>
                    <a:pt x="1311" y="3656"/>
                  </a:cubicBezTo>
                  <a:cubicBezTo>
                    <a:pt x="1291" y="3670"/>
                    <a:pt x="1271" y="3684"/>
                    <a:pt x="1250" y="3699"/>
                  </a:cubicBezTo>
                  <a:cubicBezTo>
                    <a:pt x="1224" y="3727"/>
                    <a:pt x="1197" y="3755"/>
                    <a:pt x="1170" y="3784"/>
                  </a:cubicBezTo>
                  <a:cubicBezTo>
                    <a:pt x="1150" y="3810"/>
                    <a:pt x="1129" y="3837"/>
                    <a:pt x="1108" y="3864"/>
                  </a:cubicBezTo>
                  <a:cubicBezTo>
                    <a:pt x="1088" y="3872"/>
                    <a:pt x="1068" y="3880"/>
                    <a:pt x="1047" y="3889"/>
                  </a:cubicBezTo>
                  <a:cubicBezTo>
                    <a:pt x="1023" y="3895"/>
                    <a:pt x="999" y="3901"/>
                    <a:pt x="974" y="3907"/>
                  </a:cubicBezTo>
                  <a:cubicBezTo>
                    <a:pt x="952" y="3913"/>
                    <a:pt x="929" y="3919"/>
                    <a:pt x="906" y="3925"/>
                  </a:cubicBezTo>
                  <a:cubicBezTo>
                    <a:pt x="882" y="3931"/>
                    <a:pt x="858" y="3937"/>
                    <a:pt x="833" y="3944"/>
                  </a:cubicBezTo>
                  <a:cubicBezTo>
                    <a:pt x="797" y="3954"/>
                    <a:pt x="760" y="3964"/>
                    <a:pt x="723" y="3974"/>
                  </a:cubicBezTo>
                  <a:cubicBezTo>
                    <a:pt x="682" y="3961"/>
                    <a:pt x="641" y="3949"/>
                    <a:pt x="600" y="3937"/>
                  </a:cubicBezTo>
                  <a:cubicBezTo>
                    <a:pt x="586" y="3927"/>
                    <a:pt x="572" y="3917"/>
                    <a:pt x="558" y="3907"/>
                  </a:cubicBezTo>
                  <a:cubicBezTo>
                    <a:pt x="536" y="3882"/>
                    <a:pt x="513" y="3858"/>
                    <a:pt x="490" y="3834"/>
                  </a:cubicBezTo>
                  <a:cubicBezTo>
                    <a:pt x="466" y="3807"/>
                    <a:pt x="442" y="3780"/>
                    <a:pt x="417" y="3754"/>
                  </a:cubicBezTo>
                  <a:cubicBezTo>
                    <a:pt x="411" y="3737"/>
                    <a:pt x="405" y="3721"/>
                    <a:pt x="398" y="3705"/>
                  </a:cubicBezTo>
                  <a:cubicBezTo>
                    <a:pt x="370" y="3703"/>
                    <a:pt x="341" y="3701"/>
                    <a:pt x="312" y="3699"/>
                  </a:cubicBezTo>
                  <a:cubicBezTo>
                    <a:pt x="276" y="3695"/>
                    <a:pt x="239" y="3691"/>
                    <a:pt x="202" y="3687"/>
                  </a:cubicBezTo>
                  <a:cubicBezTo>
                    <a:pt x="162" y="3719"/>
                    <a:pt x="121" y="3751"/>
                    <a:pt x="80" y="3784"/>
                  </a:cubicBezTo>
                  <a:cubicBezTo>
                    <a:pt x="76" y="3821"/>
                    <a:pt x="72" y="3858"/>
                    <a:pt x="68" y="3895"/>
                  </a:cubicBezTo>
                  <a:cubicBezTo>
                    <a:pt x="72" y="3937"/>
                    <a:pt x="76" y="3980"/>
                    <a:pt x="80" y="4023"/>
                  </a:cubicBezTo>
                  <a:cubicBezTo>
                    <a:pt x="70" y="4064"/>
                    <a:pt x="60" y="4105"/>
                    <a:pt x="49" y="4146"/>
                  </a:cubicBezTo>
                  <a:cubicBezTo>
                    <a:pt x="70" y="4184"/>
                    <a:pt x="90" y="4223"/>
                    <a:pt x="110" y="4262"/>
                  </a:cubicBezTo>
                  <a:cubicBezTo>
                    <a:pt x="102" y="4276"/>
                    <a:pt x="94" y="4290"/>
                    <a:pt x="86" y="4305"/>
                  </a:cubicBezTo>
                  <a:cubicBezTo>
                    <a:pt x="76" y="4333"/>
                    <a:pt x="66" y="4362"/>
                    <a:pt x="55" y="4391"/>
                  </a:cubicBezTo>
                  <a:cubicBezTo>
                    <a:pt x="37" y="4429"/>
                    <a:pt x="19" y="4468"/>
                    <a:pt x="0" y="4507"/>
                  </a:cubicBezTo>
                  <a:cubicBezTo>
                    <a:pt x="9" y="4537"/>
                    <a:pt x="17" y="4568"/>
                    <a:pt x="25" y="4599"/>
                  </a:cubicBezTo>
                  <a:cubicBezTo>
                    <a:pt x="66" y="4631"/>
                    <a:pt x="107" y="4664"/>
                    <a:pt x="147" y="4697"/>
                  </a:cubicBezTo>
                  <a:cubicBezTo>
                    <a:pt x="170" y="4715"/>
                    <a:pt x="193" y="4733"/>
                    <a:pt x="215" y="4752"/>
                  </a:cubicBezTo>
                  <a:cubicBezTo>
                    <a:pt x="238" y="4770"/>
                    <a:pt x="260" y="4788"/>
                    <a:pt x="282" y="4807"/>
                  </a:cubicBezTo>
                  <a:cubicBezTo>
                    <a:pt x="305" y="4811"/>
                    <a:pt x="327" y="4815"/>
                    <a:pt x="349" y="4819"/>
                  </a:cubicBezTo>
                  <a:cubicBezTo>
                    <a:pt x="370" y="4831"/>
                    <a:pt x="391" y="4843"/>
                    <a:pt x="411" y="4856"/>
                  </a:cubicBezTo>
                  <a:cubicBezTo>
                    <a:pt x="427" y="4872"/>
                    <a:pt x="443" y="4888"/>
                    <a:pt x="459" y="4905"/>
                  </a:cubicBezTo>
                  <a:cubicBezTo>
                    <a:pt x="490" y="4929"/>
                    <a:pt x="521" y="4953"/>
                    <a:pt x="551" y="4978"/>
                  </a:cubicBezTo>
                  <a:cubicBezTo>
                    <a:pt x="584" y="4988"/>
                    <a:pt x="617" y="4998"/>
                    <a:pt x="649" y="5009"/>
                  </a:cubicBezTo>
                  <a:cubicBezTo>
                    <a:pt x="674" y="5019"/>
                    <a:pt x="699" y="5029"/>
                    <a:pt x="723" y="5039"/>
                  </a:cubicBezTo>
                  <a:cubicBezTo>
                    <a:pt x="746" y="5039"/>
                    <a:pt x="768" y="5039"/>
                    <a:pt x="790" y="5039"/>
                  </a:cubicBezTo>
                  <a:cubicBezTo>
                    <a:pt x="823" y="5053"/>
                    <a:pt x="856" y="5068"/>
                    <a:pt x="888" y="5083"/>
                  </a:cubicBezTo>
                  <a:cubicBezTo>
                    <a:pt x="925" y="5113"/>
                    <a:pt x="962" y="5143"/>
                    <a:pt x="998" y="5174"/>
                  </a:cubicBezTo>
                  <a:cubicBezTo>
                    <a:pt x="1005" y="5206"/>
                    <a:pt x="1011" y="5239"/>
                    <a:pt x="1017" y="5272"/>
                  </a:cubicBezTo>
                  <a:cubicBezTo>
                    <a:pt x="1001" y="5284"/>
                    <a:pt x="985" y="5296"/>
                    <a:pt x="968" y="5309"/>
                  </a:cubicBezTo>
                  <a:cubicBezTo>
                    <a:pt x="968" y="5337"/>
                    <a:pt x="968" y="5366"/>
                    <a:pt x="968" y="5395"/>
                  </a:cubicBezTo>
                  <a:cubicBezTo>
                    <a:pt x="954" y="5425"/>
                    <a:pt x="940" y="5455"/>
                    <a:pt x="925" y="5486"/>
                  </a:cubicBezTo>
                  <a:cubicBezTo>
                    <a:pt x="915" y="5504"/>
                    <a:pt x="905" y="5523"/>
                    <a:pt x="894" y="5542"/>
                  </a:cubicBezTo>
                  <a:cubicBezTo>
                    <a:pt x="894" y="5566"/>
                    <a:pt x="894" y="5590"/>
                    <a:pt x="894" y="5615"/>
                  </a:cubicBezTo>
                  <a:cubicBezTo>
                    <a:pt x="909" y="5653"/>
                    <a:pt x="923" y="5692"/>
                    <a:pt x="937" y="5731"/>
                  </a:cubicBezTo>
                  <a:cubicBezTo>
                    <a:pt x="930" y="5766"/>
                    <a:pt x="923" y="5802"/>
                    <a:pt x="916" y="5838"/>
                  </a:cubicBezTo>
                  <a:cubicBezTo>
                    <a:pt x="925" y="5853"/>
                    <a:pt x="934" y="5869"/>
                    <a:pt x="943" y="5885"/>
                  </a:cubicBezTo>
                  <a:cubicBezTo>
                    <a:pt x="966" y="5903"/>
                    <a:pt x="989" y="5921"/>
                    <a:pt x="1011" y="5940"/>
                  </a:cubicBezTo>
                  <a:cubicBezTo>
                    <a:pt x="1036" y="5919"/>
                    <a:pt x="1060" y="5898"/>
                    <a:pt x="1084" y="5878"/>
                  </a:cubicBezTo>
                  <a:cubicBezTo>
                    <a:pt x="1141" y="5880"/>
                    <a:pt x="1198" y="5882"/>
                    <a:pt x="1255" y="5885"/>
                  </a:cubicBezTo>
                  <a:cubicBezTo>
                    <a:pt x="1278" y="5889"/>
                    <a:pt x="1301" y="5893"/>
                    <a:pt x="1323" y="5897"/>
                  </a:cubicBezTo>
                  <a:cubicBezTo>
                    <a:pt x="1340" y="5905"/>
                    <a:pt x="1356" y="5913"/>
                    <a:pt x="1372" y="5921"/>
                  </a:cubicBezTo>
                  <a:cubicBezTo>
                    <a:pt x="1405" y="5949"/>
                    <a:pt x="1438" y="5978"/>
                    <a:pt x="1470" y="6007"/>
                  </a:cubicBezTo>
                  <a:cubicBezTo>
                    <a:pt x="1497" y="6011"/>
                    <a:pt x="1512" y="6013"/>
                    <a:pt x="1549" y="6019"/>
                  </a:cubicBezTo>
                  <a:cubicBezTo>
                    <a:pt x="1586" y="6025"/>
                    <a:pt x="1603" y="5999"/>
                    <a:pt x="1629" y="5989"/>
                  </a:cubicBezTo>
                  <a:cubicBezTo>
                    <a:pt x="1650" y="5942"/>
                    <a:pt x="1670" y="5895"/>
                    <a:pt x="1690" y="5848"/>
                  </a:cubicBezTo>
                  <a:cubicBezTo>
                    <a:pt x="1715" y="5842"/>
                    <a:pt x="1740" y="5836"/>
                    <a:pt x="1764" y="5830"/>
                  </a:cubicBezTo>
                  <a:cubicBezTo>
                    <a:pt x="1801" y="5825"/>
                    <a:pt x="1838" y="5821"/>
                    <a:pt x="1874" y="5817"/>
                  </a:cubicBezTo>
                  <a:cubicBezTo>
                    <a:pt x="1899" y="5831"/>
                    <a:pt x="1923" y="5845"/>
                    <a:pt x="1947" y="5860"/>
                  </a:cubicBezTo>
                  <a:cubicBezTo>
                    <a:pt x="1968" y="5854"/>
                    <a:pt x="1989" y="5848"/>
                    <a:pt x="2009" y="5842"/>
                  </a:cubicBezTo>
                  <a:cubicBezTo>
                    <a:pt x="2044" y="5823"/>
                    <a:pt x="2079" y="5804"/>
                    <a:pt x="2113" y="5786"/>
                  </a:cubicBezTo>
                  <a:cubicBezTo>
                    <a:pt x="2152" y="5770"/>
                    <a:pt x="2191" y="5754"/>
                    <a:pt x="2229" y="5738"/>
                  </a:cubicBezTo>
                  <a:cubicBezTo>
                    <a:pt x="2272" y="5727"/>
                    <a:pt x="2315" y="5717"/>
                    <a:pt x="2358" y="5707"/>
                  </a:cubicBezTo>
                  <a:cubicBezTo>
                    <a:pt x="2375" y="5660"/>
                    <a:pt x="2391" y="5613"/>
                    <a:pt x="2407" y="5566"/>
                  </a:cubicBezTo>
                  <a:cubicBezTo>
                    <a:pt x="2419" y="5558"/>
                    <a:pt x="2431" y="5550"/>
                    <a:pt x="2443" y="5542"/>
                  </a:cubicBezTo>
                  <a:cubicBezTo>
                    <a:pt x="2464" y="5519"/>
                    <a:pt x="2485" y="5497"/>
                    <a:pt x="2505" y="5475"/>
                  </a:cubicBezTo>
                  <a:cubicBezTo>
                    <a:pt x="2532" y="5481"/>
                    <a:pt x="2558" y="5487"/>
                    <a:pt x="2584" y="5493"/>
                  </a:cubicBezTo>
                  <a:cubicBezTo>
                    <a:pt x="2617" y="5484"/>
                    <a:pt x="2650" y="5476"/>
                    <a:pt x="2682" y="5468"/>
                  </a:cubicBezTo>
                  <a:cubicBezTo>
                    <a:pt x="2701" y="5449"/>
                    <a:pt x="2719" y="5431"/>
                    <a:pt x="2737" y="5413"/>
                  </a:cubicBezTo>
                  <a:cubicBezTo>
                    <a:pt x="2758" y="5409"/>
                    <a:pt x="2779" y="5405"/>
                    <a:pt x="2799" y="5401"/>
                  </a:cubicBezTo>
                  <a:cubicBezTo>
                    <a:pt x="2832" y="5401"/>
                    <a:pt x="2854" y="5401"/>
                    <a:pt x="2896" y="5401"/>
                  </a:cubicBezTo>
                  <a:cubicBezTo>
                    <a:pt x="2939" y="5401"/>
                    <a:pt x="2978" y="5478"/>
                    <a:pt x="3019" y="5517"/>
                  </a:cubicBezTo>
                  <a:cubicBezTo>
                    <a:pt x="3044" y="5547"/>
                    <a:pt x="3069" y="5578"/>
                    <a:pt x="3093" y="5609"/>
                  </a:cubicBezTo>
                  <a:cubicBezTo>
                    <a:pt x="3138" y="5613"/>
                    <a:pt x="3203" y="5621"/>
                    <a:pt x="3227" y="5621"/>
                  </a:cubicBezTo>
                  <a:cubicBezTo>
                    <a:pt x="3252" y="5621"/>
                    <a:pt x="3309" y="5645"/>
                    <a:pt x="3350" y="5658"/>
                  </a:cubicBezTo>
                  <a:cubicBezTo>
                    <a:pt x="3379" y="5692"/>
                    <a:pt x="3407" y="5727"/>
                    <a:pt x="3435" y="5762"/>
                  </a:cubicBezTo>
                  <a:cubicBezTo>
                    <a:pt x="3478" y="5756"/>
                    <a:pt x="3521" y="5750"/>
                    <a:pt x="3564" y="5744"/>
                  </a:cubicBezTo>
                  <a:cubicBezTo>
                    <a:pt x="3609" y="5744"/>
                    <a:pt x="3654" y="5744"/>
                    <a:pt x="3698" y="5744"/>
                  </a:cubicBezTo>
                  <a:cubicBezTo>
                    <a:pt x="3717" y="5784"/>
                    <a:pt x="3736" y="5825"/>
                    <a:pt x="3754" y="5866"/>
                  </a:cubicBezTo>
                  <a:cubicBezTo>
                    <a:pt x="3779" y="5870"/>
                    <a:pt x="3803" y="5874"/>
                    <a:pt x="3827" y="5878"/>
                  </a:cubicBezTo>
                  <a:cubicBezTo>
                    <a:pt x="3860" y="5882"/>
                    <a:pt x="3893" y="5886"/>
                    <a:pt x="3925" y="5891"/>
                  </a:cubicBezTo>
                  <a:cubicBezTo>
                    <a:pt x="3962" y="5891"/>
                    <a:pt x="3999" y="5891"/>
                    <a:pt x="4035" y="5891"/>
                  </a:cubicBezTo>
                  <a:cubicBezTo>
                    <a:pt x="4054" y="5942"/>
                    <a:pt x="4072" y="5993"/>
                    <a:pt x="4090" y="6044"/>
                  </a:cubicBezTo>
                  <a:cubicBezTo>
                    <a:pt x="4119" y="6113"/>
                    <a:pt x="4148" y="6182"/>
                    <a:pt x="4176" y="6252"/>
                  </a:cubicBezTo>
                  <a:cubicBezTo>
                    <a:pt x="4201" y="6207"/>
                    <a:pt x="4226" y="6162"/>
                    <a:pt x="4250" y="6117"/>
                  </a:cubicBezTo>
                  <a:cubicBezTo>
                    <a:pt x="4293" y="6119"/>
                    <a:pt x="4336" y="6121"/>
                    <a:pt x="4378" y="6123"/>
                  </a:cubicBezTo>
                  <a:cubicBezTo>
                    <a:pt x="4393" y="6176"/>
                    <a:pt x="4407" y="6229"/>
                    <a:pt x="4421" y="6283"/>
                  </a:cubicBezTo>
                  <a:cubicBezTo>
                    <a:pt x="4417" y="6323"/>
                    <a:pt x="4413" y="6364"/>
                    <a:pt x="4409" y="6405"/>
                  </a:cubicBezTo>
                  <a:cubicBezTo>
                    <a:pt x="4452" y="6401"/>
                    <a:pt x="4495" y="6397"/>
                    <a:pt x="4538" y="6393"/>
                  </a:cubicBezTo>
                  <a:cubicBezTo>
                    <a:pt x="4565" y="6415"/>
                    <a:pt x="4591" y="6437"/>
                    <a:pt x="4617" y="6460"/>
                  </a:cubicBezTo>
                  <a:cubicBezTo>
                    <a:pt x="4636" y="6488"/>
                    <a:pt x="4654" y="6517"/>
                    <a:pt x="4672" y="6545"/>
                  </a:cubicBezTo>
                  <a:cubicBezTo>
                    <a:pt x="4687" y="6576"/>
                    <a:pt x="4701" y="6607"/>
                    <a:pt x="4715" y="6637"/>
                  </a:cubicBezTo>
                  <a:cubicBezTo>
                    <a:pt x="4756" y="6637"/>
                    <a:pt x="4797" y="6637"/>
                    <a:pt x="4838" y="6637"/>
                  </a:cubicBezTo>
                  <a:cubicBezTo>
                    <a:pt x="4885" y="6637"/>
                    <a:pt x="4932" y="6637"/>
                    <a:pt x="4978" y="6637"/>
                  </a:cubicBezTo>
                  <a:cubicBezTo>
                    <a:pt x="4989" y="6651"/>
                    <a:pt x="4999" y="6665"/>
                    <a:pt x="5009" y="6679"/>
                  </a:cubicBezTo>
                  <a:cubicBezTo>
                    <a:pt x="5024" y="6688"/>
                    <a:pt x="5038" y="6696"/>
                    <a:pt x="5052" y="6704"/>
                  </a:cubicBezTo>
                  <a:cubicBezTo>
                    <a:pt x="5091" y="6702"/>
                    <a:pt x="5130" y="6700"/>
                    <a:pt x="5168" y="6698"/>
                  </a:cubicBezTo>
                  <a:cubicBezTo>
                    <a:pt x="5193" y="6674"/>
                    <a:pt x="5218" y="6649"/>
                    <a:pt x="5242" y="6624"/>
                  </a:cubicBezTo>
                  <a:cubicBezTo>
                    <a:pt x="5246" y="6688"/>
                    <a:pt x="5250" y="6751"/>
                    <a:pt x="5254" y="6814"/>
                  </a:cubicBezTo>
                  <a:cubicBezTo>
                    <a:pt x="5277" y="6837"/>
                    <a:pt x="5300" y="6860"/>
                    <a:pt x="5322" y="6882"/>
                  </a:cubicBezTo>
                  <a:cubicBezTo>
                    <a:pt x="5355" y="6913"/>
                    <a:pt x="5387" y="6943"/>
                    <a:pt x="5419" y="6973"/>
                  </a:cubicBezTo>
                  <a:cubicBezTo>
                    <a:pt x="5466" y="6969"/>
                    <a:pt x="5513" y="6965"/>
                    <a:pt x="5560" y="6961"/>
                  </a:cubicBezTo>
                  <a:cubicBezTo>
                    <a:pt x="5599" y="6957"/>
                    <a:pt x="5638" y="6953"/>
                    <a:pt x="5677" y="6949"/>
                  </a:cubicBezTo>
                  <a:cubicBezTo>
                    <a:pt x="5712" y="6919"/>
                    <a:pt x="5746" y="6888"/>
                    <a:pt x="5780" y="6857"/>
                  </a:cubicBezTo>
                  <a:cubicBezTo>
                    <a:pt x="5813" y="6831"/>
                    <a:pt x="5846" y="6804"/>
                    <a:pt x="5879" y="6777"/>
                  </a:cubicBezTo>
                  <a:cubicBezTo>
                    <a:pt x="5908" y="6745"/>
                    <a:pt x="5936" y="6712"/>
                    <a:pt x="5964" y="6679"/>
                  </a:cubicBezTo>
                  <a:cubicBezTo>
                    <a:pt x="5977" y="6647"/>
                    <a:pt x="5989" y="6615"/>
                    <a:pt x="6001" y="6582"/>
                  </a:cubicBezTo>
                  <a:cubicBezTo>
                    <a:pt x="5969" y="6550"/>
                    <a:pt x="5936" y="6517"/>
                    <a:pt x="5903" y="6485"/>
                  </a:cubicBezTo>
                  <a:cubicBezTo>
                    <a:pt x="5901" y="6444"/>
                    <a:pt x="5899" y="6403"/>
                    <a:pt x="5897" y="6362"/>
                  </a:cubicBezTo>
                  <a:cubicBezTo>
                    <a:pt x="5901" y="6337"/>
                    <a:pt x="5905" y="6313"/>
                    <a:pt x="5909" y="6289"/>
                  </a:cubicBezTo>
                  <a:cubicBezTo>
                    <a:pt x="5930" y="6272"/>
                    <a:pt x="5950" y="6256"/>
                    <a:pt x="5970" y="6240"/>
                  </a:cubicBezTo>
                  <a:cubicBezTo>
                    <a:pt x="5979" y="6217"/>
                    <a:pt x="5987" y="6194"/>
                    <a:pt x="5995" y="6172"/>
                  </a:cubicBezTo>
                  <a:cubicBezTo>
                    <a:pt x="5995" y="6147"/>
                    <a:pt x="5995" y="6123"/>
                    <a:pt x="5995" y="6099"/>
                  </a:cubicBezTo>
                  <a:cubicBezTo>
                    <a:pt x="6014" y="6076"/>
                    <a:pt x="6032" y="6053"/>
                    <a:pt x="6050" y="6031"/>
                  </a:cubicBezTo>
                  <a:cubicBezTo>
                    <a:pt x="6048" y="6008"/>
                    <a:pt x="6046" y="5986"/>
                    <a:pt x="6044" y="5964"/>
                  </a:cubicBezTo>
                  <a:cubicBezTo>
                    <a:pt x="6030" y="5945"/>
                    <a:pt x="6016" y="5927"/>
                    <a:pt x="6001" y="5909"/>
                  </a:cubicBezTo>
                  <a:cubicBezTo>
                    <a:pt x="5967" y="5874"/>
                    <a:pt x="5932" y="5839"/>
                    <a:pt x="5897" y="5805"/>
                  </a:cubicBezTo>
                  <a:cubicBezTo>
                    <a:pt x="5875" y="5786"/>
                    <a:pt x="5853" y="5768"/>
                    <a:pt x="5830" y="5750"/>
                  </a:cubicBezTo>
                  <a:cubicBezTo>
                    <a:pt x="5812" y="5721"/>
                    <a:pt x="5793" y="5692"/>
                    <a:pt x="5774" y="5664"/>
                  </a:cubicBezTo>
                  <a:cubicBezTo>
                    <a:pt x="5768" y="5645"/>
                    <a:pt x="5762" y="5627"/>
                    <a:pt x="5756" y="5609"/>
                  </a:cubicBezTo>
                  <a:cubicBezTo>
                    <a:pt x="5748" y="5574"/>
                    <a:pt x="5740" y="5539"/>
                    <a:pt x="5732" y="5505"/>
                  </a:cubicBezTo>
                  <a:cubicBezTo>
                    <a:pt x="5732" y="5458"/>
                    <a:pt x="5732" y="5411"/>
                    <a:pt x="5732" y="5364"/>
                  </a:cubicBezTo>
                  <a:cubicBezTo>
                    <a:pt x="5757" y="5341"/>
                    <a:pt x="5781" y="5319"/>
                    <a:pt x="5805" y="5297"/>
                  </a:cubicBezTo>
                  <a:cubicBezTo>
                    <a:pt x="5832" y="5301"/>
                    <a:pt x="5859" y="5305"/>
                    <a:pt x="5885" y="5309"/>
                  </a:cubicBezTo>
                  <a:cubicBezTo>
                    <a:pt x="5885" y="5280"/>
                    <a:pt x="5885" y="5251"/>
                    <a:pt x="5885" y="5223"/>
                  </a:cubicBezTo>
                  <a:cubicBezTo>
                    <a:pt x="5904" y="5192"/>
                    <a:pt x="5922" y="5161"/>
                    <a:pt x="5940" y="5131"/>
                  </a:cubicBezTo>
                  <a:cubicBezTo>
                    <a:pt x="5934" y="5092"/>
                    <a:pt x="5928" y="5053"/>
                    <a:pt x="5921" y="5015"/>
                  </a:cubicBezTo>
                  <a:cubicBezTo>
                    <a:pt x="5915" y="4982"/>
                    <a:pt x="5909" y="4949"/>
                    <a:pt x="5903" y="4917"/>
                  </a:cubicBezTo>
                  <a:cubicBezTo>
                    <a:pt x="5932" y="4876"/>
                    <a:pt x="5961" y="4835"/>
                    <a:pt x="5989" y="4795"/>
                  </a:cubicBezTo>
                  <a:cubicBezTo>
                    <a:pt x="6004" y="4774"/>
                    <a:pt x="6018" y="4754"/>
                    <a:pt x="6032" y="4734"/>
                  </a:cubicBezTo>
                  <a:cubicBezTo>
                    <a:pt x="6061" y="4709"/>
                    <a:pt x="6089" y="4684"/>
                    <a:pt x="6117" y="4660"/>
                  </a:cubicBezTo>
                  <a:cubicBezTo>
                    <a:pt x="6168" y="4649"/>
                    <a:pt x="6219" y="4639"/>
                    <a:pt x="6270" y="4629"/>
                  </a:cubicBezTo>
                  <a:cubicBezTo>
                    <a:pt x="6295" y="4621"/>
                    <a:pt x="6320" y="4613"/>
                    <a:pt x="6344" y="4605"/>
                  </a:cubicBezTo>
                  <a:cubicBezTo>
                    <a:pt x="6383" y="4629"/>
                    <a:pt x="6422" y="4653"/>
                    <a:pt x="6460" y="4678"/>
                  </a:cubicBezTo>
                  <a:cubicBezTo>
                    <a:pt x="6481" y="4698"/>
                    <a:pt x="6501" y="4718"/>
                    <a:pt x="6521" y="4739"/>
                  </a:cubicBezTo>
                  <a:cubicBezTo>
                    <a:pt x="6550" y="4716"/>
                    <a:pt x="6578" y="4694"/>
                    <a:pt x="6607" y="4672"/>
                  </a:cubicBezTo>
                  <a:cubicBezTo>
                    <a:pt x="6627" y="4653"/>
                    <a:pt x="6648" y="4635"/>
                    <a:pt x="6668" y="4617"/>
                  </a:cubicBezTo>
                  <a:cubicBezTo>
                    <a:pt x="6668" y="4582"/>
                    <a:pt x="6668" y="4547"/>
                    <a:pt x="6668" y="4513"/>
                  </a:cubicBezTo>
                  <a:cubicBezTo>
                    <a:pt x="6695" y="4500"/>
                    <a:pt x="6721" y="4488"/>
                    <a:pt x="6748" y="4476"/>
                  </a:cubicBezTo>
                  <a:cubicBezTo>
                    <a:pt x="6779" y="4459"/>
                    <a:pt x="6809" y="4443"/>
                    <a:pt x="6840" y="4427"/>
                  </a:cubicBezTo>
                  <a:cubicBezTo>
                    <a:pt x="6848" y="4402"/>
                    <a:pt x="6856" y="4378"/>
                    <a:pt x="6864" y="4354"/>
                  </a:cubicBezTo>
                  <a:cubicBezTo>
                    <a:pt x="6866" y="4309"/>
                    <a:pt x="6869" y="4264"/>
                    <a:pt x="6871" y="4219"/>
                  </a:cubicBezTo>
                  <a:cubicBezTo>
                    <a:pt x="6901" y="4202"/>
                    <a:pt x="6932" y="4186"/>
                    <a:pt x="6962" y="4170"/>
                  </a:cubicBezTo>
                  <a:cubicBezTo>
                    <a:pt x="7001" y="4153"/>
                    <a:pt x="7040" y="4137"/>
                    <a:pt x="7079" y="4121"/>
                  </a:cubicBezTo>
                  <a:cubicBezTo>
                    <a:pt x="7122" y="4096"/>
                    <a:pt x="7164" y="4072"/>
                    <a:pt x="7207" y="4048"/>
                  </a:cubicBezTo>
                  <a:cubicBezTo>
                    <a:pt x="7232" y="4013"/>
                    <a:pt x="7256" y="3978"/>
                    <a:pt x="7281" y="3944"/>
                  </a:cubicBezTo>
                  <a:cubicBezTo>
                    <a:pt x="7314" y="3915"/>
                    <a:pt x="7346" y="3886"/>
                    <a:pt x="7379" y="3858"/>
                  </a:cubicBezTo>
                  <a:cubicBezTo>
                    <a:pt x="7414" y="3858"/>
                    <a:pt x="7448" y="3858"/>
                    <a:pt x="7483" y="3858"/>
                  </a:cubicBezTo>
                  <a:cubicBezTo>
                    <a:pt x="7524" y="3886"/>
                    <a:pt x="7564" y="3915"/>
                    <a:pt x="7605" y="3944"/>
                  </a:cubicBezTo>
                  <a:cubicBezTo>
                    <a:pt x="7628" y="3960"/>
                    <a:pt x="7650" y="3976"/>
                    <a:pt x="7673" y="3993"/>
                  </a:cubicBezTo>
                  <a:cubicBezTo>
                    <a:pt x="7685" y="3976"/>
                    <a:pt x="7697" y="3960"/>
                    <a:pt x="7709" y="3944"/>
                  </a:cubicBezTo>
                  <a:cubicBezTo>
                    <a:pt x="7711" y="3911"/>
                    <a:pt x="7713" y="3878"/>
                    <a:pt x="7715" y="3846"/>
                  </a:cubicBezTo>
                  <a:cubicBezTo>
                    <a:pt x="7703" y="3811"/>
                    <a:pt x="7691" y="3776"/>
                    <a:pt x="7679" y="3742"/>
                  </a:cubicBezTo>
                  <a:cubicBezTo>
                    <a:pt x="7724" y="3725"/>
                    <a:pt x="7768" y="3709"/>
                    <a:pt x="7813" y="3693"/>
                  </a:cubicBezTo>
                  <a:cubicBezTo>
                    <a:pt x="7823" y="3705"/>
                    <a:pt x="7834" y="3717"/>
                    <a:pt x="7844" y="3729"/>
                  </a:cubicBezTo>
                  <a:cubicBezTo>
                    <a:pt x="7870" y="3702"/>
                    <a:pt x="7897" y="3676"/>
                    <a:pt x="7923" y="3650"/>
                  </a:cubicBezTo>
                  <a:cubicBezTo>
                    <a:pt x="7951" y="3622"/>
                    <a:pt x="7978" y="3594"/>
                    <a:pt x="8006" y="3567"/>
                  </a:cubicBezTo>
                  <a:cubicBezTo>
                    <a:pt x="8005" y="3565"/>
                    <a:pt x="8005" y="3564"/>
                    <a:pt x="8004" y="3563"/>
                  </a:cubicBezTo>
                  <a:cubicBezTo>
                    <a:pt x="7989" y="3545"/>
                    <a:pt x="7975" y="3527"/>
                    <a:pt x="7960" y="3509"/>
                  </a:cubicBezTo>
                  <a:cubicBezTo>
                    <a:pt x="7942" y="3509"/>
                    <a:pt x="7923" y="3509"/>
                    <a:pt x="7905" y="3509"/>
                  </a:cubicBezTo>
                  <a:cubicBezTo>
                    <a:pt x="7881" y="3500"/>
                    <a:pt x="7856" y="3492"/>
                    <a:pt x="7832" y="3484"/>
                  </a:cubicBezTo>
                  <a:cubicBezTo>
                    <a:pt x="7805" y="3455"/>
                    <a:pt x="7779" y="3427"/>
                    <a:pt x="7752" y="3399"/>
                  </a:cubicBezTo>
                  <a:cubicBezTo>
                    <a:pt x="7730" y="3395"/>
                    <a:pt x="7707" y="3391"/>
                    <a:pt x="7685" y="3387"/>
                  </a:cubicBezTo>
                  <a:cubicBezTo>
                    <a:pt x="7673" y="3344"/>
                    <a:pt x="7660" y="3301"/>
                    <a:pt x="7648" y="3258"/>
                  </a:cubicBezTo>
                  <a:cubicBezTo>
                    <a:pt x="7640" y="3227"/>
                    <a:pt x="7631" y="3196"/>
                    <a:pt x="7623" y="3166"/>
                  </a:cubicBezTo>
                  <a:cubicBezTo>
                    <a:pt x="7611" y="3133"/>
                    <a:pt x="7599" y="3100"/>
                    <a:pt x="7587" y="3068"/>
                  </a:cubicBezTo>
                  <a:cubicBezTo>
                    <a:pt x="7587" y="3021"/>
                    <a:pt x="7587" y="2974"/>
                    <a:pt x="7587" y="2927"/>
                  </a:cubicBezTo>
                  <a:cubicBezTo>
                    <a:pt x="7556" y="2919"/>
                    <a:pt x="7526" y="2911"/>
                    <a:pt x="7495" y="2903"/>
                  </a:cubicBezTo>
                  <a:cubicBezTo>
                    <a:pt x="7487" y="2890"/>
                    <a:pt x="7478" y="2878"/>
                    <a:pt x="7470" y="2866"/>
                  </a:cubicBezTo>
                  <a:cubicBezTo>
                    <a:pt x="7448" y="2837"/>
                    <a:pt x="7425" y="2808"/>
                    <a:pt x="7403" y="2780"/>
                  </a:cubicBezTo>
                  <a:cubicBezTo>
                    <a:pt x="7395" y="2743"/>
                    <a:pt x="7387" y="2706"/>
                    <a:pt x="7379" y="2670"/>
                  </a:cubicBezTo>
                  <a:cubicBezTo>
                    <a:pt x="7326" y="2641"/>
                    <a:pt x="7272" y="2613"/>
                    <a:pt x="7219" y="2585"/>
                  </a:cubicBezTo>
                  <a:cubicBezTo>
                    <a:pt x="7207" y="2548"/>
                    <a:pt x="7195" y="2511"/>
                    <a:pt x="7183" y="2474"/>
                  </a:cubicBezTo>
                  <a:cubicBezTo>
                    <a:pt x="7197" y="2455"/>
                    <a:pt x="7212" y="2437"/>
                    <a:pt x="7226" y="2419"/>
                  </a:cubicBezTo>
                  <a:cubicBezTo>
                    <a:pt x="7224" y="2315"/>
                    <a:pt x="7221" y="2211"/>
                    <a:pt x="7219" y="2107"/>
                  </a:cubicBezTo>
                  <a:cubicBezTo>
                    <a:pt x="7244" y="2054"/>
                    <a:pt x="7268" y="2001"/>
                    <a:pt x="7293" y="1948"/>
                  </a:cubicBezTo>
                  <a:cubicBezTo>
                    <a:pt x="7317" y="1903"/>
                    <a:pt x="7342" y="1858"/>
                    <a:pt x="7366" y="1813"/>
                  </a:cubicBezTo>
                  <a:cubicBezTo>
                    <a:pt x="7395" y="1764"/>
                    <a:pt x="7423" y="1715"/>
                    <a:pt x="7452" y="1666"/>
                  </a:cubicBezTo>
                  <a:cubicBezTo>
                    <a:pt x="7432" y="1608"/>
                    <a:pt x="7411" y="1551"/>
                    <a:pt x="7391" y="1494"/>
                  </a:cubicBezTo>
                  <a:cubicBezTo>
                    <a:pt x="7391" y="1463"/>
                    <a:pt x="7391" y="1433"/>
                    <a:pt x="7391" y="1403"/>
                  </a:cubicBezTo>
                  <a:cubicBezTo>
                    <a:pt x="7381" y="1368"/>
                    <a:pt x="7370" y="1333"/>
                    <a:pt x="7360" y="1299"/>
                  </a:cubicBezTo>
                  <a:cubicBezTo>
                    <a:pt x="7325" y="1189"/>
                    <a:pt x="7291" y="1078"/>
                    <a:pt x="7256" y="968"/>
                  </a:cubicBezTo>
                  <a:cubicBezTo>
                    <a:pt x="7225" y="931"/>
                    <a:pt x="7195" y="895"/>
                    <a:pt x="7164" y="858"/>
                  </a:cubicBezTo>
                  <a:cubicBezTo>
                    <a:pt x="7121" y="882"/>
                    <a:pt x="7079" y="907"/>
                    <a:pt x="7036" y="931"/>
                  </a:cubicBezTo>
                  <a:cubicBezTo>
                    <a:pt x="6977" y="931"/>
                    <a:pt x="6917" y="931"/>
                    <a:pt x="6858" y="931"/>
                  </a:cubicBezTo>
                  <a:cubicBezTo>
                    <a:pt x="6829" y="898"/>
                    <a:pt x="6801" y="866"/>
                    <a:pt x="6772" y="833"/>
                  </a:cubicBezTo>
                  <a:cubicBezTo>
                    <a:pt x="6727" y="827"/>
                    <a:pt x="6683" y="821"/>
                    <a:pt x="6638" y="815"/>
                  </a:cubicBezTo>
                  <a:cubicBezTo>
                    <a:pt x="6632" y="833"/>
                    <a:pt x="6625" y="852"/>
                    <a:pt x="6619" y="870"/>
                  </a:cubicBezTo>
                  <a:cubicBezTo>
                    <a:pt x="6599" y="880"/>
                    <a:pt x="6578" y="891"/>
                    <a:pt x="6558" y="901"/>
                  </a:cubicBezTo>
                  <a:cubicBezTo>
                    <a:pt x="6550" y="874"/>
                    <a:pt x="6542" y="848"/>
                    <a:pt x="6534" y="821"/>
                  </a:cubicBezTo>
                  <a:cubicBezTo>
                    <a:pt x="6534" y="786"/>
                    <a:pt x="6534" y="752"/>
                    <a:pt x="6534" y="717"/>
                  </a:cubicBezTo>
                  <a:cubicBezTo>
                    <a:pt x="6504" y="688"/>
                    <a:pt x="6473" y="660"/>
                    <a:pt x="6442" y="631"/>
                  </a:cubicBezTo>
                  <a:cubicBezTo>
                    <a:pt x="6399" y="651"/>
                    <a:pt x="6356" y="672"/>
                    <a:pt x="6313" y="692"/>
                  </a:cubicBezTo>
                  <a:cubicBezTo>
                    <a:pt x="6238" y="651"/>
                    <a:pt x="6163" y="611"/>
                    <a:pt x="6087" y="570"/>
                  </a:cubicBezTo>
                  <a:cubicBezTo>
                    <a:pt x="6057" y="590"/>
                    <a:pt x="6026" y="611"/>
                    <a:pt x="5995" y="631"/>
                  </a:cubicBezTo>
                  <a:cubicBezTo>
                    <a:pt x="5954" y="621"/>
                    <a:pt x="5913" y="610"/>
                    <a:pt x="5872" y="600"/>
                  </a:cubicBezTo>
                  <a:cubicBezTo>
                    <a:pt x="5840" y="692"/>
                    <a:pt x="5807" y="784"/>
                    <a:pt x="5774" y="876"/>
                  </a:cubicBezTo>
                  <a:cubicBezTo>
                    <a:pt x="5730" y="909"/>
                    <a:pt x="5685" y="941"/>
                    <a:pt x="5640" y="974"/>
                  </a:cubicBezTo>
                  <a:cubicBezTo>
                    <a:pt x="5622" y="958"/>
                    <a:pt x="5604" y="941"/>
                    <a:pt x="5585" y="925"/>
                  </a:cubicBezTo>
                  <a:cubicBezTo>
                    <a:pt x="5567" y="925"/>
                    <a:pt x="5549" y="925"/>
                    <a:pt x="5530" y="925"/>
                  </a:cubicBezTo>
                  <a:cubicBezTo>
                    <a:pt x="5514" y="950"/>
                    <a:pt x="5497" y="974"/>
                    <a:pt x="5480" y="999"/>
                  </a:cubicBezTo>
                  <a:cubicBezTo>
                    <a:pt x="5466" y="985"/>
                    <a:pt x="5452" y="970"/>
                    <a:pt x="5438" y="956"/>
                  </a:cubicBezTo>
                  <a:cubicBezTo>
                    <a:pt x="5428" y="956"/>
                    <a:pt x="5418" y="956"/>
                    <a:pt x="5407" y="956"/>
                  </a:cubicBezTo>
                  <a:cubicBezTo>
                    <a:pt x="5340" y="962"/>
                    <a:pt x="5273" y="968"/>
                    <a:pt x="5205" y="974"/>
                  </a:cubicBezTo>
                  <a:cubicBezTo>
                    <a:pt x="5132" y="960"/>
                    <a:pt x="5058" y="945"/>
                    <a:pt x="4984" y="931"/>
                  </a:cubicBezTo>
                  <a:cubicBezTo>
                    <a:pt x="4964" y="947"/>
                    <a:pt x="4944" y="964"/>
                    <a:pt x="4923" y="980"/>
                  </a:cubicBezTo>
                  <a:cubicBezTo>
                    <a:pt x="4879" y="980"/>
                    <a:pt x="4834" y="980"/>
                    <a:pt x="4789" y="980"/>
                  </a:cubicBezTo>
                  <a:cubicBezTo>
                    <a:pt x="4648" y="900"/>
                    <a:pt x="4507" y="821"/>
                    <a:pt x="4366" y="741"/>
                  </a:cubicBezTo>
                  <a:cubicBezTo>
                    <a:pt x="4346" y="709"/>
                    <a:pt x="4326" y="676"/>
                    <a:pt x="4305" y="644"/>
                  </a:cubicBezTo>
                  <a:cubicBezTo>
                    <a:pt x="4191" y="585"/>
                    <a:pt x="4077" y="525"/>
                    <a:pt x="3962" y="466"/>
                  </a:cubicBezTo>
                  <a:cubicBezTo>
                    <a:pt x="3907" y="466"/>
                    <a:pt x="3852" y="466"/>
                    <a:pt x="3797" y="466"/>
                  </a:cubicBezTo>
                  <a:cubicBezTo>
                    <a:pt x="3793" y="480"/>
                    <a:pt x="3789" y="495"/>
                    <a:pt x="3784" y="509"/>
                  </a:cubicBezTo>
                  <a:cubicBezTo>
                    <a:pt x="3774" y="529"/>
                    <a:pt x="3764" y="550"/>
                    <a:pt x="3754" y="570"/>
                  </a:cubicBezTo>
                  <a:cubicBezTo>
                    <a:pt x="3681" y="564"/>
                    <a:pt x="3607" y="558"/>
                    <a:pt x="3533" y="552"/>
                  </a:cubicBezTo>
                  <a:cubicBezTo>
                    <a:pt x="3523" y="538"/>
                    <a:pt x="3513" y="523"/>
                    <a:pt x="3503" y="509"/>
                  </a:cubicBezTo>
                  <a:cubicBezTo>
                    <a:pt x="3479" y="493"/>
                    <a:pt x="3454" y="476"/>
                    <a:pt x="3429" y="460"/>
                  </a:cubicBezTo>
                  <a:cubicBezTo>
                    <a:pt x="3395" y="442"/>
                    <a:pt x="3360" y="423"/>
                    <a:pt x="3325" y="405"/>
                  </a:cubicBezTo>
                  <a:cubicBezTo>
                    <a:pt x="3274" y="399"/>
                    <a:pt x="3223" y="392"/>
                    <a:pt x="3172" y="386"/>
                  </a:cubicBezTo>
                  <a:cubicBezTo>
                    <a:pt x="3113" y="374"/>
                    <a:pt x="3054" y="362"/>
                    <a:pt x="2994" y="350"/>
                  </a:cubicBezTo>
                  <a:cubicBezTo>
                    <a:pt x="2956" y="297"/>
                    <a:pt x="2917" y="243"/>
                    <a:pt x="2878" y="190"/>
                  </a:cubicBezTo>
                  <a:cubicBezTo>
                    <a:pt x="2829" y="190"/>
                    <a:pt x="2780" y="190"/>
                    <a:pt x="2731" y="190"/>
                  </a:cubicBezTo>
                  <a:cubicBezTo>
                    <a:pt x="2652" y="151"/>
                    <a:pt x="2572" y="113"/>
                    <a:pt x="2492" y="74"/>
                  </a:cubicBezTo>
                  <a:cubicBezTo>
                    <a:pt x="2456" y="88"/>
                    <a:pt x="2419" y="103"/>
                    <a:pt x="2382" y="117"/>
                  </a:cubicBezTo>
                  <a:cubicBezTo>
                    <a:pt x="2350" y="95"/>
                    <a:pt x="2317" y="72"/>
                    <a:pt x="2284" y="50"/>
                  </a:cubicBezTo>
                  <a:cubicBezTo>
                    <a:pt x="2270" y="113"/>
                    <a:pt x="2256" y="176"/>
                    <a:pt x="2241" y="239"/>
                  </a:cubicBezTo>
                  <a:cubicBezTo>
                    <a:pt x="2194" y="237"/>
                    <a:pt x="2147" y="235"/>
                    <a:pt x="2100" y="233"/>
                  </a:cubicBezTo>
                  <a:cubicBezTo>
                    <a:pt x="2070" y="258"/>
                    <a:pt x="2040" y="282"/>
                    <a:pt x="2009" y="307"/>
                  </a:cubicBezTo>
                  <a:cubicBezTo>
                    <a:pt x="1979" y="303"/>
                    <a:pt x="1948" y="299"/>
                    <a:pt x="1917" y="295"/>
                  </a:cubicBezTo>
                  <a:cubicBezTo>
                    <a:pt x="1938" y="258"/>
                    <a:pt x="1958" y="221"/>
                    <a:pt x="1978" y="184"/>
                  </a:cubicBezTo>
                  <a:cubicBezTo>
                    <a:pt x="1952" y="143"/>
                    <a:pt x="1926" y="103"/>
                    <a:pt x="1899" y="62"/>
                  </a:cubicBezTo>
                  <a:cubicBezTo>
                    <a:pt x="1828" y="62"/>
                    <a:pt x="1756" y="62"/>
                    <a:pt x="1684" y="62"/>
                  </a:cubicBezTo>
                  <a:cubicBezTo>
                    <a:pt x="1668" y="46"/>
                    <a:pt x="1652" y="29"/>
                    <a:pt x="1635" y="13"/>
                  </a:cubicBezTo>
                  <a:cubicBezTo>
                    <a:pt x="1562" y="9"/>
                    <a:pt x="1489" y="4"/>
                    <a:pt x="1415" y="0"/>
                  </a:cubicBezTo>
                  <a:close/>
                  <a:moveTo>
                    <a:pt x="5850" y="2740"/>
                  </a:moveTo>
                  <a:cubicBezTo>
                    <a:pt x="5851" y="2740"/>
                    <a:pt x="5852" y="2740"/>
                    <a:pt x="5853" y="2740"/>
                  </a:cubicBezTo>
                  <a:cubicBezTo>
                    <a:pt x="5864" y="2747"/>
                    <a:pt x="5877" y="2752"/>
                    <a:pt x="5887" y="2760"/>
                  </a:cubicBezTo>
                  <a:cubicBezTo>
                    <a:pt x="5915" y="2768"/>
                    <a:pt x="5911" y="2794"/>
                    <a:pt x="5912" y="2817"/>
                  </a:cubicBezTo>
                  <a:cubicBezTo>
                    <a:pt x="5931" y="2845"/>
                    <a:pt x="5918" y="2880"/>
                    <a:pt x="5922" y="2911"/>
                  </a:cubicBezTo>
                  <a:cubicBezTo>
                    <a:pt x="5966" y="2942"/>
                    <a:pt x="6010" y="2973"/>
                    <a:pt x="6053" y="3005"/>
                  </a:cubicBezTo>
                  <a:cubicBezTo>
                    <a:pt x="6058" y="3014"/>
                    <a:pt x="6064" y="3015"/>
                    <a:pt x="6069" y="3013"/>
                  </a:cubicBezTo>
                  <a:cubicBezTo>
                    <a:pt x="6080" y="3009"/>
                    <a:pt x="6087" y="2986"/>
                    <a:pt x="6084" y="2973"/>
                  </a:cubicBezTo>
                  <a:cubicBezTo>
                    <a:pt x="6085" y="2953"/>
                    <a:pt x="6071" y="2926"/>
                    <a:pt x="6078" y="2910"/>
                  </a:cubicBezTo>
                  <a:cubicBezTo>
                    <a:pt x="6117" y="2905"/>
                    <a:pt x="6155" y="2918"/>
                    <a:pt x="6187" y="2938"/>
                  </a:cubicBezTo>
                  <a:cubicBezTo>
                    <a:pt x="6218" y="2949"/>
                    <a:pt x="6194" y="2974"/>
                    <a:pt x="6186" y="2993"/>
                  </a:cubicBezTo>
                  <a:cubicBezTo>
                    <a:pt x="6165" y="3017"/>
                    <a:pt x="6200" y="3024"/>
                    <a:pt x="6199" y="3048"/>
                  </a:cubicBezTo>
                  <a:cubicBezTo>
                    <a:pt x="6223" y="3056"/>
                    <a:pt x="6230" y="3083"/>
                    <a:pt x="6259" y="3079"/>
                  </a:cubicBezTo>
                  <a:cubicBezTo>
                    <a:pt x="6280" y="3077"/>
                    <a:pt x="6300" y="3066"/>
                    <a:pt x="6322" y="3076"/>
                  </a:cubicBezTo>
                  <a:cubicBezTo>
                    <a:pt x="6318" y="3115"/>
                    <a:pt x="6301" y="3151"/>
                    <a:pt x="6294" y="3189"/>
                  </a:cubicBezTo>
                  <a:cubicBezTo>
                    <a:pt x="6321" y="3188"/>
                    <a:pt x="6322" y="3211"/>
                    <a:pt x="6345" y="3210"/>
                  </a:cubicBezTo>
                  <a:cubicBezTo>
                    <a:pt x="6332" y="3242"/>
                    <a:pt x="6327" y="3275"/>
                    <a:pt x="6322" y="3309"/>
                  </a:cubicBezTo>
                  <a:cubicBezTo>
                    <a:pt x="6326" y="3336"/>
                    <a:pt x="6313" y="3359"/>
                    <a:pt x="6302" y="3383"/>
                  </a:cubicBezTo>
                  <a:cubicBezTo>
                    <a:pt x="6288" y="3403"/>
                    <a:pt x="6283" y="3424"/>
                    <a:pt x="6292" y="3447"/>
                  </a:cubicBezTo>
                  <a:cubicBezTo>
                    <a:pt x="6303" y="3471"/>
                    <a:pt x="6300" y="3494"/>
                    <a:pt x="6290" y="3518"/>
                  </a:cubicBezTo>
                  <a:cubicBezTo>
                    <a:pt x="6303" y="3534"/>
                    <a:pt x="6279" y="3554"/>
                    <a:pt x="6285" y="3577"/>
                  </a:cubicBezTo>
                  <a:cubicBezTo>
                    <a:pt x="6290" y="3604"/>
                    <a:pt x="6333" y="3586"/>
                    <a:pt x="6319" y="3564"/>
                  </a:cubicBezTo>
                  <a:cubicBezTo>
                    <a:pt x="6326" y="3564"/>
                    <a:pt x="6330" y="3565"/>
                    <a:pt x="6332" y="3567"/>
                  </a:cubicBezTo>
                  <a:cubicBezTo>
                    <a:pt x="6333" y="3567"/>
                    <a:pt x="6333" y="3567"/>
                    <a:pt x="6333" y="3567"/>
                  </a:cubicBezTo>
                  <a:cubicBezTo>
                    <a:pt x="6333" y="3567"/>
                    <a:pt x="6333" y="3567"/>
                    <a:pt x="6333" y="3568"/>
                  </a:cubicBezTo>
                  <a:cubicBezTo>
                    <a:pt x="6334" y="3568"/>
                    <a:pt x="6333" y="3568"/>
                    <a:pt x="6334" y="3568"/>
                  </a:cubicBezTo>
                  <a:cubicBezTo>
                    <a:pt x="6334" y="3568"/>
                    <a:pt x="6334" y="3568"/>
                    <a:pt x="6334" y="3569"/>
                  </a:cubicBezTo>
                  <a:cubicBezTo>
                    <a:pt x="6339" y="3580"/>
                    <a:pt x="6317" y="3601"/>
                    <a:pt x="6326" y="3616"/>
                  </a:cubicBezTo>
                  <a:cubicBezTo>
                    <a:pt x="6326" y="3617"/>
                    <a:pt x="6327" y="3618"/>
                    <a:pt x="6328" y="3619"/>
                  </a:cubicBezTo>
                  <a:cubicBezTo>
                    <a:pt x="6330" y="3621"/>
                    <a:pt x="6332" y="3623"/>
                    <a:pt x="6336" y="3625"/>
                  </a:cubicBezTo>
                  <a:cubicBezTo>
                    <a:pt x="6336" y="3630"/>
                    <a:pt x="6340" y="3640"/>
                    <a:pt x="6346" y="3647"/>
                  </a:cubicBezTo>
                  <a:cubicBezTo>
                    <a:pt x="6348" y="3649"/>
                    <a:pt x="6351" y="3651"/>
                    <a:pt x="6354" y="3652"/>
                  </a:cubicBezTo>
                  <a:cubicBezTo>
                    <a:pt x="6355" y="3652"/>
                    <a:pt x="6356" y="3652"/>
                    <a:pt x="6357" y="3652"/>
                  </a:cubicBezTo>
                  <a:cubicBezTo>
                    <a:pt x="6360" y="3651"/>
                    <a:pt x="6364" y="3648"/>
                    <a:pt x="6367" y="3641"/>
                  </a:cubicBezTo>
                  <a:cubicBezTo>
                    <a:pt x="6369" y="3645"/>
                    <a:pt x="6370" y="3648"/>
                    <a:pt x="6372" y="3650"/>
                  </a:cubicBezTo>
                  <a:cubicBezTo>
                    <a:pt x="6373" y="3651"/>
                    <a:pt x="6373" y="3652"/>
                    <a:pt x="6374" y="3652"/>
                  </a:cubicBezTo>
                  <a:cubicBezTo>
                    <a:pt x="6374" y="3653"/>
                    <a:pt x="6375" y="3653"/>
                    <a:pt x="6376" y="3654"/>
                  </a:cubicBezTo>
                  <a:cubicBezTo>
                    <a:pt x="6377" y="3654"/>
                    <a:pt x="6376" y="3654"/>
                    <a:pt x="6377" y="3654"/>
                  </a:cubicBezTo>
                  <a:cubicBezTo>
                    <a:pt x="6378" y="3654"/>
                    <a:pt x="6378" y="3654"/>
                    <a:pt x="6378" y="3654"/>
                  </a:cubicBezTo>
                  <a:cubicBezTo>
                    <a:pt x="6379" y="3654"/>
                    <a:pt x="6379" y="3654"/>
                    <a:pt x="6380" y="3654"/>
                  </a:cubicBezTo>
                  <a:cubicBezTo>
                    <a:pt x="6381" y="3654"/>
                    <a:pt x="6381" y="3654"/>
                    <a:pt x="6382" y="3654"/>
                  </a:cubicBezTo>
                  <a:cubicBezTo>
                    <a:pt x="6389" y="3654"/>
                    <a:pt x="6399" y="3647"/>
                    <a:pt x="6411" y="3641"/>
                  </a:cubicBezTo>
                  <a:cubicBezTo>
                    <a:pt x="6439" y="3636"/>
                    <a:pt x="6440" y="3673"/>
                    <a:pt x="6425" y="3687"/>
                  </a:cubicBezTo>
                  <a:cubicBezTo>
                    <a:pt x="6442" y="3701"/>
                    <a:pt x="6448" y="3732"/>
                    <a:pt x="6436" y="3748"/>
                  </a:cubicBezTo>
                  <a:cubicBezTo>
                    <a:pt x="6442" y="3766"/>
                    <a:pt x="6441" y="3777"/>
                    <a:pt x="6438" y="3783"/>
                  </a:cubicBezTo>
                  <a:cubicBezTo>
                    <a:pt x="6438" y="3784"/>
                    <a:pt x="6438" y="3783"/>
                    <a:pt x="6437" y="3784"/>
                  </a:cubicBezTo>
                  <a:cubicBezTo>
                    <a:pt x="6437" y="3785"/>
                    <a:pt x="6437" y="3784"/>
                    <a:pt x="6436" y="3785"/>
                  </a:cubicBezTo>
                  <a:cubicBezTo>
                    <a:pt x="6436" y="3786"/>
                    <a:pt x="6436" y="3785"/>
                    <a:pt x="6435" y="3786"/>
                  </a:cubicBezTo>
                  <a:cubicBezTo>
                    <a:pt x="6434" y="3786"/>
                    <a:pt x="6435" y="3786"/>
                    <a:pt x="6434" y="3787"/>
                  </a:cubicBezTo>
                  <a:cubicBezTo>
                    <a:pt x="6415" y="3796"/>
                    <a:pt x="6364" y="3762"/>
                    <a:pt x="6337" y="3759"/>
                  </a:cubicBezTo>
                  <a:cubicBezTo>
                    <a:pt x="6287" y="3751"/>
                    <a:pt x="6269" y="3695"/>
                    <a:pt x="6226" y="3675"/>
                  </a:cubicBezTo>
                  <a:cubicBezTo>
                    <a:pt x="6204" y="3653"/>
                    <a:pt x="6175" y="3667"/>
                    <a:pt x="6151" y="3676"/>
                  </a:cubicBezTo>
                  <a:cubicBezTo>
                    <a:pt x="6128" y="3668"/>
                    <a:pt x="6116" y="3666"/>
                    <a:pt x="6098" y="3684"/>
                  </a:cubicBezTo>
                  <a:cubicBezTo>
                    <a:pt x="6087" y="3678"/>
                    <a:pt x="6080" y="3676"/>
                    <a:pt x="6074" y="3677"/>
                  </a:cubicBezTo>
                  <a:cubicBezTo>
                    <a:pt x="6072" y="3678"/>
                    <a:pt x="6071" y="3678"/>
                    <a:pt x="6070" y="3679"/>
                  </a:cubicBezTo>
                  <a:cubicBezTo>
                    <a:pt x="6069" y="3679"/>
                    <a:pt x="6069" y="3679"/>
                    <a:pt x="6068" y="3680"/>
                  </a:cubicBezTo>
                  <a:cubicBezTo>
                    <a:pt x="6061" y="3684"/>
                    <a:pt x="6057" y="3693"/>
                    <a:pt x="6050" y="3704"/>
                  </a:cubicBezTo>
                  <a:cubicBezTo>
                    <a:pt x="6029" y="3718"/>
                    <a:pt x="6022" y="3741"/>
                    <a:pt x="6002" y="3754"/>
                  </a:cubicBezTo>
                  <a:cubicBezTo>
                    <a:pt x="5978" y="3790"/>
                    <a:pt x="5939" y="3784"/>
                    <a:pt x="5899" y="3784"/>
                  </a:cubicBezTo>
                  <a:cubicBezTo>
                    <a:pt x="5877" y="3792"/>
                    <a:pt x="5905" y="3828"/>
                    <a:pt x="5898" y="3847"/>
                  </a:cubicBezTo>
                  <a:cubicBezTo>
                    <a:pt x="5900" y="3860"/>
                    <a:pt x="5905" y="3871"/>
                    <a:pt x="5905" y="3877"/>
                  </a:cubicBezTo>
                  <a:cubicBezTo>
                    <a:pt x="5905" y="3878"/>
                    <a:pt x="5905" y="3878"/>
                    <a:pt x="5905" y="3879"/>
                  </a:cubicBezTo>
                  <a:cubicBezTo>
                    <a:pt x="5905" y="3880"/>
                    <a:pt x="5905" y="3879"/>
                    <a:pt x="5905" y="3880"/>
                  </a:cubicBezTo>
                  <a:cubicBezTo>
                    <a:pt x="5905" y="3880"/>
                    <a:pt x="5905" y="3880"/>
                    <a:pt x="5905" y="3881"/>
                  </a:cubicBezTo>
                  <a:cubicBezTo>
                    <a:pt x="5905" y="3881"/>
                    <a:pt x="5905" y="3881"/>
                    <a:pt x="5904" y="3881"/>
                  </a:cubicBezTo>
                  <a:cubicBezTo>
                    <a:pt x="5904" y="3881"/>
                    <a:pt x="5904" y="3881"/>
                    <a:pt x="5903" y="3882"/>
                  </a:cubicBezTo>
                  <a:cubicBezTo>
                    <a:pt x="5902" y="3883"/>
                    <a:pt x="5901" y="3883"/>
                    <a:pt x="5900" y="3883"/>
                  </a:cubicBezTo>
                  <a:cubicBezTo>
                    <a:pt x="5896" y="3883"/>
                    <a:pt x="5889" y="3882"/>
                    <a:pt x="5879" y="3878"/>
                  </a:cubicBezTo>
                  <a:cubicBezTo>
                    <a:pt x="5855" y="3854"/>
                    <a:pt x="5848" y="3895"/>
                    <a:pt x="5821" y="3882"/>
                  </a:cubicBezTo>
                  <a:cubicBezTo>
                    <a:pt x="5818" y="3890"/>
                    <a:pt x="5815" y="3894"/>
                    <a:pt x="5812" y="3896"/>
                  </a:cubicBezTo>
                  <a:cubicBezTo>
                    <a:pt x="5812" y="3896"/>
                    <a:pt x="5812" y="3896"/>
                    <a:pt x="5811" y="3896"/>
                  </a:cubicBezTo>
                  <a:cubicBezTo>
                    <a:pt x="5810" y="3896"/>
                    <a:pt x="5811" y="3896"/>
                    <a:pt x="5810" y="3897"/>
                  </a:cubicBezTo>
                  <a:cubicBezTo>
                    <a:pt x="5809" y="3897"/>
                    <a:pt x="5809" y="3897"/>
                    <a:pt x="5808" y="3897"/>
                  </a:cubicBezTo>
                  <a:cubicBezTo>
                    <a:pt x="5808" y="3897"/>
                    <a:pt x="5808" y="3897"/>
                    <a:pt x="5807" y="3897"/>
                  </a:cubicBezTo>
                  <a:cubicBezTo>
                    <a:pt x="5807" y="3896"/>
                    <a:pt x="5807" y="3896"/>
                    <a:pt x="5806" y="3896"/>
                  </a:cubicBezTo>
                  <a:cubicBezTo>
                    <a:pt x="5805" y="3896"/>
                    <a:pt x="5805" y="3896"/>
                    <a:pt x="5804" y="3896"/>
                  </a:cubicBezTo>
                  <a:cubicBezTo>
                    <a:pt x="5804" y="3895"/>
                    <a:pt x="5804" y="3895"/>
                    <a:pt x="5803" y="3895"/>
                  </a:cubicBezTo>
                  <a:cubicBezTo>
                    <a:pt x="5796" y="3891"/>
                    <a:pt x="5789" y="3880"/>
                    <a:pt x="5779" y="3874"/>
                  </a:cubicBezTo>
                  <a:cubicBezTo>
                    <a:pt x="5747" y="3872"/>
                    <a:pt x="5724" y="3845"/>
                    <a:pt x="5692" y="3850"/>
                  </a:cubicBezTo>
                  <a:cubicBezTo>
                    <a:pt x="5657" y="3839"/>
                    <a:pt x="5618" y="3839"/>
                    <a:pt x="5588" y="3818"/>
                  </a:cubicBezTo>
                  <a:cubicBezTo>
                    <a:pt x="5558" y="3804"/>
                    <a:pt x="5523" y="3800"/>
                    <a:pt x="5491" y="3786"/>
                  </a:cubicBezTo>
                  <a:cubicBezTo>
                    <a:pt x="5490" y="3787"/>
                    <a:pt x="5489" y="3788"/>
                    <a:pt x="5488" y="3789"/>
                  </a:cubicBezTo>
                  <a:cubicBezTo>
                    <a:pt x="5476" y="3801"/>
                    <a:pt x="5471" y="3828"/>
                    <a:pt x="5463" y="3845"/>
                  </a:cubicBezTo>
                  <a:cubicBezTo>
                    <a:pt x="5462" y="3850"/>
                    <a:pt x="5461" y="3853"/>
                    <a:pt x="5460" y="3856"/>
                  </a:cubicBezTo>
                  <a:cubicBezTo>
                    <a:pt x="5459" y="3856"/>
                    <a:pt x="5458" y="3857"/>
                    <a:pt x="5457" y="3858"/>
                  </a:cubicBezTo>
                  <a:cubicBezTo>
                    <a:pt x="5457" y="3858"/>
                    <a:pt x="5457" y="3858"/>
                    <a:pt x="5456" y="3859"/>
                  </a:cubicBezTo>
                  <a:cubicBezTo>
                    <a:pt x="5456" y="3859"/>
                    <a:pt x="5456" y="3859"/>
                    <a:pt x="5455" y="3859"/>
                  </a:cubicBezTo>
                  <a:cubicBezTo>
                    <a:pt x="5454" y="3859"/>
                    <a:pt x="5455" y="3859"/>
                    <a:pt x="5454" y="3859"/>
                  </a:cubicBezTo>
                  <a:cubicBezTo>
                    <a:pt x="5451" y="3860"/>
                    <a:pt x="5447" y="3859"/>
                    <a:pt x="5445" y="3860"/>
                  </a:cubicBezTo>
                  <a:cubicBezTo>
                    <a:pt x="5444" y="3860"/>
                    <a:pt x="5445" y="3860"/>
                    <a:pt x="5444" y="3860"/>
                  </a:cubicBezTo>
                  <a:cubicBezTo>
                    <a:pt x="5444" y="3860"/>
                    <a:pt x="5444" y="3860"/>
                    <a:pt x="5443" y="3860"/>
                  </a:cubicBezTo>
                  <a:cubicBezTo>
                    <a:pt x="5443" y="3860"/>
                    <a:pt x="5442" y="3860"/>
                    <a:pt x="5442" y="3861"/>
                  </a:cubicBezTo>
                  <a:cubicBezTo>
                    <a:pt x="5441" y="3861"/>
                    <a:pt x="5441" y="3862"/>
                    <a:pt x="5440" y="3863"/>
                  </a:cubicBezTo>
                  <a:cubicBezTo>
                    <a:pt x="5438" y="3866"/>
                    <a:pt x="5437" y="3871"/>
                    <a:pt x="5436" y="3879"/>
                  </a:cubicBezTo>
                  <a:cubicBezTo>
                    <a:pt x="5436" y="3885"/>
                    <a:pt x="5434" y="3888"/>
                    <a:pt x="5432" y="3890"/>
                  </a:cubicBezTo>
                  <a:cubicBezTo>
                    <a:pt x="5431" y="3890"/>
                    <a:pt x="5430" y="3890"/>
                    <a:pt x="5429" y="3891"/>
                  </a:cubicBezTo>
                  <a:cubicBezTo>
                    <a:pt x="5418" y="3890"/>
                    <a:pt x="5398" y="3866"/>
                    <a:pt x="5389" y="3859"/>
                  </a:cubicBezTo>
                  <a:cubicBezTo>
                    <a:pt x="5391" y="3845"/>
                    <a:pt x="5388" y="3838"/>
                    <a:pt x="5382" y="3834"/>
                  </a:cubicBezTo>
                  <a:cubicBezTo>
                    <a:pt x="5374" y="3829"/>
                    <a:pt x="5360" y="3829"/>
                    <a:pt x="5347" y="3826"/>
                  </a:cubicBezTo>
                  <a:cubicBezTo>
                    <a:pt x="5347" y="3827"/>
                    <a:pt x="5346" y="3827"/>
                    <a:pt x="5345" y="3827"/>
                  </a:cubicBezTo>
                  <a:cubicBezTo>
                    <a:pt x="5345" y="3828"/>
                    <a:pt x="5345" y="3827"/>
                    <a:pt x="5345" y="3828"/>
                  </a:cubicBezTo>
                  <a:cubicBezTo>
                    <a:pt x="5321" y="3838"/>
                    <a:pt x="5289" y="3783"/>
                    <a:pt x="5255" y="3816"/>
                  </a:cubicBezTo>
                  <a:cubicBezTo>
                    <a:pt x="5220" y="3846"/>
                    <a:pt x="5165" y="3805"/>
                    <a:pt x="5128" y="3841"/>
                  </a:cubicBezTo>
                  <a:cubicBezTo>
                    <a:pt x="5109" y="3851"/>
                    <a:pt x="5087" y="3868"/>
                    <a:pt x="5068" y="3854"/>
                  </a:cubicBezTo>
                  <a:cubicBezTo>
                    <a:pt x="5079" y="3831"/>
                    <a:pt x="5107" y="3836"/>
                    <a:pt x="5127" y="3826"/>
                  </a:cubicBezTo>
                  <a:cubicBezTo>
                    <a:pt x="5140" y="3823"/>
                    <a:pt x="5149" y="3818"/>
                    <a:pt x="5154" y="3811"/>
                  </a:cubicBezTo>
                  <a:cubicBezTo>
                    <a:pt x="5154" y="3810"/>
                    <a:pt x="5155" y="3810"/>
                    <a:pt x="5155" y="3809"/>
                  </a:cubicBezTo>
                  <a:cubicBezTo>
                    <a:pt x="5156" y="3807"/>
                    <a:pt x="5157" y="3805"/>
                    <a:pt x="5157" y="3803"/>
                  </a:cubicBezTo>
                  <a:cubicBezTo>
                    <a:pt x="5158" y="3798"/>
                    <a:pt x="5156" y="3793"/>
                    <a:pt x="5153" y="3786"/>
                  </a:cubicBezTo>
                  <a:cubicBezTo>
                    <a:pt x="5132" y="3790"/>
                    <a:pt x="5111" y="3791"/>
                    <a:pt x="5090" y="3796"/>
                  </a:cubicBezTo>
                  <a:cubicBezTo>
                    <a:pt x="5090" y="3772"/>
                    <a:pt x="5063" y="3760"/>
                    <a:pt x="5059" y="3736"/>
                  </a:cubicBezTo>
                  <a:cubicBezTo>
                    <a:pt x="5055" y="3731"/>
                    <a:pt x="5052" y="3727"/>
                    <a:pt x="5051" y="3724"/>
                  </a:cubicBezTo>
                  <a:cubicBezTo>
                    <a:pt x="5051" y="3723"/>
                    <a:pt x="5051" y="3723"/>
                    <a:pt x="5051" y="3723"/>
                  </a:cubicBezTo>
                  <a:cubicBezTo>
                    <a:pt x="5051" y="3722"/>
                    <a:pt x="5051" y="3722"/>
                    <a:pt x="5051" y="3722"/>
                  </a:cubicBezTo>
                  <a:cubicBezTo>
                    <a:pt x="5051" y="3721"/>
                    <a:pt x="5051" y="3721"/>
                    <a:pt x="5051" y="3721"/>
                  </a:cubicBezTo>
                  <a:cubicBezTo>
                    <a:pt x="5051" y="3720"/>
                    <a:pt x="5051" y="3720"/>
                    <a:pt x="5051" y="3720"/>
                  </a:cubicBezTo>
                  <a:cubicBezTo>
                    <a:pt x="5052" y="3720"/>
                    <a:pt x="5052" y="3720"/>
                    <a:pt x="5052" y="3719"/>
                  </a:cubicBezTo>
                  <a:cubicBezTo>
                    <a:pt x="5059" y="3710"/>
                    <a:pt x="5094" y="3714"/>
                    <a:pt x="5103" y="3701"/>
                  </a:cubicBezTo>
                  <a:cubicBezTo>
                    <a:pt x="5103" y="3700"/>
                    <a:pt x="5103" y="3700"/>
                    <a:pt x="5103" y="3700"/>
                  </a:cubicBezTo>
                  <a:cubicBezTo>
                    <a:pt x="5104" y="3699"/>
                    <a:pt x="5104" y="3699"/>
                    <a:pt x="5104" y="3699"/>
                  </a:cubicBezTo>
                  <a:cubicBezTo>
                    <a:pt x="5104" y="3698"/>
                    <a:pt x="5104" y="3698"/>
                    <a:pt x="5104" y="3698"/>
                  </a:cubicBezTo>
                  <a:cubicBezTo>
                    <a:pt x="5104" y="3697"/>
                    <a:pt x="5104" y="3697"/>
                    <a:pt x="5104" y="3697"/>
                  </a:cubicBezTo>
                  <a:cubicBezTo>
                    <a:pt x="5105" y="3696"/>
                    <a:pt x="5105" y="3696"/>
                    <a:pt x="5105" y="3696"/>
                  </a:cubicBezTo>
                  <a:cubicBezTo>
                    <a:pt x="5105" y="3695"/>
                    <a:pt x="5105" y="3695"/>
                    <a:pt x="5105" y="3695"/>
                  </a:cubicBezTo>
                  <a:cubicBezTo>
                    <a:pt x="5078" y="3693"/>
                    <a:pt x="5052" y="3690"/>
                    <a:pt x="5026" y="3686"/>
                  </a:cubicBezTo>
                  <a:cubicBezTo>
                    <a:pt x="5022" y="3688"/>
                    <a:pt x="5018" y="3689"/>
                    <a:pt x="5015" y="3689"/>
                  </a:cubicBezTo>
                  <a:cubicBezTo>
                    <a:pt x="5014" y="3689"/>
                    <a:pt x="5012" y="3689"/>
                    <a:pt x="5011" y="3689"/>
                  </a:cubicBezTo>
                  <a:cubicBezTo>
                    <a:pt x="5010" y="3689"/>
                    <a:pt x="5011" y="3689"/>
                    <a:pt x="5010" y="3689"/>
                  </a:cubicBezTo>
                  <a:cubicBezTo>
                    <a:pt x="5010" y="3689"/>
                    <a:pt x="5010" y="3689"/>
                    <a:pt x="5009" y="3689"/>
                  </a:cubicBezTo>
                  <a:cubicBezTo>
                    <a:pt x="5009" y="3688"/>
                    <a:pt x="5009" y="3688"/>
                    <a:pt x="5008" y="3688"/>
                  </a:cubicBezTo>
                  <a:cubicBezTo>
                    <a:pt x="5008" y="3687"/>
                    <a:pt x="5007" y="3688"/>
                    <a:pt x="5007" y="3687"/>
                  </a:cubicBezTo>
                  <a:cubicBezTo>
                    <a:pt x="5007" y="3687"/>
                    <a:pt x="5007" y="3687"/>
                    <a:pt x="5006" y="3687"/>
                  </a:cubicBezTo>
                  <a:cubicBezTo>
                    <a:pt x="4997" y="3676"/>
                    <a:pt x="5004" y="3641"/>
                    <a:pt x="4991" y="3624"/>
                  </a:cubicBezTo>
                  <a:cubicBezTo>
                    <a:pt x="4988" y="3621"/>
                    <a:pt x="4985" y="3618"/>
                    <a:pt x="4980" y="3616"/>
                  </a:cubicBezTo>
                  <a:cubicBezTo>
                    <a:pt x="4961" y="3615"/>
                    <a:pt x="4952" y="3611"/>
                    <a:pt x="4950" y="3606"/>
                  </a:cubicBezTo>
                  <a:cubicBezTo>
                    <a:pt x="4945" y="3596"/>
                    <a:pt x="4965" y="3580"/>
                    <a:pt x="4966" y="3562"/>
                  </a:cubicBezTo>
                  <a:cubicBezTo>
                    <a:pt x="4977" y="3548"/>
                    <a:pt x="4997" y="3535"/>
                    <a:pt x="5006" y="3519"/>
                  </a:cubicBezTo>
                  <a:cubicBezTo>
                    <a:pt x="5023" y="3509"/>
                    <a:pt x="5020" y="3480"/>
                    <a:pt x="5024" y="3462"/>
                  </a:cubicBezTo>
                  <a:cubicBezTo>
                    <a:pt x="5032" y="3440"/>
                    <a:pt x="5044" y="3422"/>
                    <a:pt x="5022" y="3405"/>
                  </a:cubicBezTo>
                  <a:cubicBezTo>
                    <a:pt x="5031" y="3396"/>
                    <a:pt x="5041" y="3388"/>
                    <a:pt x="5044" y="3381"/>
                  </a:cubicBezTo>
                  <a:cubicBezTo>
                    <a:pt x="5044" y="3380"/>
                    <a:pt x="5045" y="3380"/>
                    <a:pt x="5045" y="3379"/>
                  </a:cubicBezTo>
                  <a:cubicBezTo>
                    <a:pt x="5045" y="3378"/>
                    <a:pt x="5045" y="3378"/>
                    <a:pt x="5045" y="3377"/>
                  </a:cubicBezTo>
                  <a:cubicBezTo>
                    <a:pt x="5045" y="3376"/>
                    <a:pt x="5045" y="3376"/>
                    <a:pt x="5045" y="3376"/>
                  </a:cubicBezTo>
                  <a:cubicBezTo>
                    <a:pt x="5045" y="3375"/>
                    <a:pt x="5045" y="3374"/>
                    <a:pt x="5045" y="3373"/>
                  </a:cubicBezTo>
                  <a:cubicBezTo>
                    <a:pt x="5044" y="3372"/>
                    <a:pt x="5044" y="3371"/>
                    <a:pt x="5043" y="3371"/>
                  </a:cubicBezTo>
                  <a:cubicBezTo>
                    <a:pt x="5043" y="3370"/>
                    <a:pt x="5043" y="3370"/>
                    <a:pt x="5042" y="3370"/>
                  </a:cubicBezTo>
                  <a:cubicBezTo>
                    <a:pt x="5040" y="3367"/>
                    <a:pt x="5035" y="3365"/>
                    <a:pt x="5028" y="3363"/>
                  </a:cubicBezTo>
                  <a:cubicBezTo>
                    <a:pt x="5028" y="3363"/>
                    <a:pt x="5027" y="3364"/>
                    <a:pt x="5026" y="3364"/>
                  </a:cubicBezTo>
                  <a:cubicBezTo>
                    <a:pt x="5026" y="3364"/>
                    <a:pt x="5026" y="3364"/>
                    <a:pt x="5025" y="3364"/>
                  </a:cubicBezTo>
                  <a:cubicBezTo>
                    <a:pt x="5024" y="3364"/>
                    <a:pt x="5024" y="3365"/>
                    <a:pt x="5023" y="3365"/>
                  </a:cubicBezTo>
                  <a:cubicBezTo>
                    <a:pt x="5023" y="3365"/>
                    <a:pt x="5023" y="3365"/>
                    <a:pt x="5022" y="3365"/>
                  </a:cubicBezTo>
                  <a:cubicBezTo>
                    <a:pt x="5022" y="3365"/>
                    <a:pt x="5022" y="3365"/>
                    <a:pt x="5021" y="3365"/>
                  </a:cubicBezTo>
                  <a:cubicBezTo>
                    <a:pt x="5002" y="3365"/>
                    <a:pt x="4986" y="3329"/>
                    <a:pt x="4998" y="3316"/>
                  </a:cubicBezTo>
                  <a:cubicBezTo>
                    <a:pt x="4999" y="3316"/>
                    <a:pt x="4999" y="3316"/>
                    <a:pt x="4999" y="3316"/>
                  </a:cubicBezTo>
                  <a:cubicBezTo>
                    <a:pt x="4999" y="3315"/>
                    <a:pt x="4999" y="3315"/>
                    <a:pt x="5000" y="3315"/>
                  </a:cubicBezTo>
                  <a:cubicBezTo>
                    <a:pt x="5001" y="3314"/>
                    <a:pt x="5000" y="3314"/>
                    <a:pt x="5001" y="3314"/>
                  </a:cubicBezTo>
                  <a:cubicBezTo>
                    <a:pt x="5002" y="3314"/>
                    <a:pt x="5003" y="3313"/>
                    <a:pt x="5004" y="3313"/>
                  </a:cubicBezTo>
                  <a:cubicBezTo>
                    <a:pt x="5005" y="3313"/>
                    <a:pt x="5006" y="3313"/>
                    <a:pt x="5008" y="3312"/>
                  </a:cubicBezTo>
                  <a:cubicBezTo>
                    <a:pt x="5009" y="3312"/>
                    <a:pt x="5010" y="3312"/>
                    <a:pt x="5011" y="3312"/>
                  </a:cubicBezTo>
                  <a:cubicBezTo>
                    <a:pt x="5011" y="3311"/>
                    <a:pt x="5011" y="3311"/>
                    <a:pt x="5011" y="3310"/>
                  </a:cubicBezTo>
                  <a:cubicBezTo>
                    <a:pt x="5011" y="3309"/>
                    <a:pt x="5010" y="3310"/>
                    <a:pt x="5010" y="3309"/>
                  </a:cubicBezTo>
                  <a:cubicBezTo>
                    <a:pt x="5010" y="3308"/>
                    <a:pt x="5010" y="3308"/>
                    <a:pt x="5010" y="3308"/>
                  </a:cubicBezTo>
                  <a:cubicBezTo>
                    <a:pt x="5002" y="3295"/>
                    <a:pt x="4967" y="3303"/>
                    <a:pt x="4959" y="3301"/>
                  </a:cubicBezTo>
                  <a:cubicBezTo>
                    <a:pt x="4959" y="3301"/>
                    <a:pt x="4959" y="3301"/>
                    <a:pt x="4958" y="3301"/>
                  </a:cubicBezTo>
                  <a:cubicBezTo>
                    <a:pt x="4958" y="3300"/>
                    <a:pt x="4958" y="3301"/>
                    <a:pt x="4958" y="3301"/>
                  </a:cubicBezTo>
                  <a:cubicBezTo>
                    <a:pt x="4958" y="3300"/>
                    <a:pt x="4958" y="3300"/>
                    <a:pt x="4958" y="3300"/>
                  </a:cubicBezTo>
                  <a:cubicBezTo>
                    <a:pt x="4958" y="3299"/>
                    <a:pt x="4958" y="3299"/>
                    <a:pt x="4958" y="3299"/>
                  </a:cubicBezTo>
                  <a:cubicBezTo>
                    <a:pt x="4959" y="3297"/>
                    <a:pt x="4963" y="3294"/>
                    <a:pt x="4972" y="3289"/>
                  </a:cubicBezTo>
                  <a:cubicBezTo>
                    <a:pt x="4982" y="3274"/>
                    <a:pt x="5000" y="3273"/>
                    <a:pt x="5006" y="3266"/>
                  </a:cubicBezTo>
                  <a:cubicBezTo>
                    <a:pt x="5007" y="3266"/>
                    <a:pt x="5007" y="3265"/>
                    <a:pt x="5007" y="3265"/>
                  </a:cubicBezTo>
                  <a:cubicBezTo>
                    <a:pt x="5008" y="3264"/>
                    <a:pt x="5008" y="3264"/>
                    <a:pt x="5008" y="3264"/>
                  </a:cubicBezTo>
                  <a:cubicBezTo>
                    <a:pt x="5008" y="3263"/>
                    <a:pt x="5008" y="3263"/>
                    <a:pt x="5008" y="3263"/>
                  </a:cubicBezTo>
                  <a:cubicBezTo>
                    <a:pt x="5008" y="3262"/>
                    <a:pt x="5008" y="3262"/>
                    <a:pt x="5008" y="3262"/>
                  </a:cubicBezTo>
                  <a:cubicBezTo>
                    <a:pt x="5008" y="3261"/>
                    <a:pt x="5008" y="3261"/>
                    <a:pt x="5008" y="3260"/>
                  </a:cubicBezTo>
                  <a:cubicBezTo>
                    <a:pt x="5008" y="3259"/>
                    <a:pt x="5008" y="3259"/>
                    <a:pt x="5008" y="3259"/>
                  </a:cubicBezTo>
                  <a:cubicBezTo>
                    <a:pt x="4979" y="3239"/>
                    <a:pt x="4986" y="3201"/>
                    <a:pt x="4993" y="3172"/>
                  </a:cubicBezTo>
                  <a:cubicBezTo>
                    <a:pt x="4997" y="3149"/>
                    <a:pt x="5013" y="3133"/>
                    <a:pt x="5021" y="3110"/>
                  </a:cubicBezTo>
                  <a:cubicBezTo>
                    <a:pt x="5027" y="3103"/>
                    <a:pt x="5030" y="3085"/>
                    <a:pt x="5035" y="3077"/>
                  </a:cubicBezTo>
                  <a:cubicBezTo>
                    <a:pt x="5036" y="3075"/>
                    <a:pt x="5037" y="3074"/>
                    <a:pt x="5038" y="3073"/>
                  </a:cubicBezTo>
                  <a:cubicBezTo>
                    <a:pt x="5039" y="3072"/>
                    <a:pt x="5040" y="3072"/>
                    <a:pt x="5041" y="3072"/>
                  </a:cubicBezTo>
                  <a:cubicBezTo>
                    <a:pt x="5042" y="3072"/>
                    <a:pt x="5043" y="3072"/>
                    <a:pt x="5044" y="3072"/>
                  </a:cubicBezTo>
                  <a:cubicBezTo>
                    <a:pt x="5046" y="3073"/>
                    <a:pt x="5050" y="3075"/>
                    <a:pt x="5054" y="3079"/>
                  </a:cubicBezTo>
                  <a:cubicBezTo>
                    <a:pt x="5087" y="3095"/>
                    <a:pt x="5111" y="3121"/>
                    <a:pt x="5135" y="3148"/>
                  </a:cubicBezTo>
                  <a:cubicBezTo>
                    <a:pt x="5146" y="3148"/>
                    <a:pt x="5154" y="3153"/>
                    <a:pt x="5158" y="3159"/>
                  </a:cubicBezTo>
                  <a:cubicBezTo>
                    <a:pt x="5164" y="3167"/>
                    <a:pt x="5164" y="3180"/>
                    <a:pt x="5156" y="3193"/>
                  </a:cubicBezTo>
                  <a:cubicBezTo>
                    <a:pt x="5167" y="3220"/>
                    <a:pt x="5193" y="3215"/>
                    <a:pt x="5212" y="3207"/>
                  </a:cubicBezTo>
                  <a:cubicBezTo>
                    <a:pt x="5220" y="3209"/>
                    <a:pt x="5224" y="3207"/>
                    <a:pt x="5226" y="3203"/>
                  </a:cubicBezTo>
                  <a:cubicBezTo>
                    <a:pt x="5229" y="3197"/>
                    <a:pt x="5229" y="3186"/>
                    <a:pt x="5232" y="3180"/>
                  </a:cubicBezTo>
                  <a:cubicBezTo>
                    <a:pt x="5233" y="3179"/>
                    <a:pt x="5233" y="3178"/>
                    <a:pt x="5233" y="3178"/>
                  </a:cubicBezTo>
                  <a:cubicBezTo>
                    <a:pt x="5234" y="3177"/>
                    <a:pt x="5234" y="3177"/>
                    <a:pt x="5235" y="3176"/>
                  </a:cubicBezTo>
                  <a:cubicBezTo>
                    <a:pt x="5237" y="3174"/>
                    <a:pt x="5241" y="3174"/>
                    <a:pt x="5246" y="3175"/>
                  </a:cubicBezTo>
                  <a:cubicBezTo>
                    <a:pt x="5262" y="3161"/>
                    <a:pt x="5270" y="3147"/>
                    <a:pt x="5277" y="3130"/>
                  </a:cubicBezTo>
                  <a:cubicBezTo>
                    <a:pt x="5269" y="3129"/>
                    <a:pt x="5265" y="3129"/>
                    <a:pt x="5263" y="3127"/>
                  </a:cubicBezTo>
                  <a:cubicBezTo>
                    <a:pt x="5263" y="3126"/>
                    <a:pt x="5263" y="3126"/>
                    <a:pt x="5263" y="3126"/>
                  </a:cubicBezTo>
                  <a:cubicBezTo>
                    <a:pt x="5263" y="3125"/>
                    <a:pt x="5263" y="3125"/>
                    <a:pt x="5263" y="3125"/>
                  </a:cubicBezTo>
                  <a:cubicBezTo>
                    <a:pt x="5264" y="3124"/>
                    <a:pt x="5264" y="3124"/>
                    <a:pt x="5264" y="3124"/>
                  </a:cubicBezTo>
                  <a:cubicBezTo>
                    <a:pt x="5265" y="3123"/>
                    <a:pt x="5265" y="3123"/>
                    <a:pt x="5266" y="3123"/>
                  </a:cubicBezTo>
                  <a:cubicBezTo>
                    <a:pt x="5274" y="3119"/>
                    <a:pt x="5297" y="3114"/>
                    <a:pt x="5305" y="3114"/>
                  </a:cubicBezTo>
                  <a:cubicBezTo>
                    <a:pt x="5340" y="3118"/>
                    <a:pt x="5335" y="3093"/>
                    <a:pt x="5361" y="3080"/>
                  </a:cubicBezTo>
                  <a:cubicBezTo>
                    <a:pt x="5368" y="3075"/>
                    <a:pt x="5370" y="3071"/>
                    <a:pt x="5370" y="3068"/>
                  </a:cubicBezTo>
                  <a:cubicBezTo>
                    <a:pt x="5370" y="3067"/>
                    <a:pt x="5369" y="3066"/>
                    <a:pt x="5368" y="3065"/>
                  </a:cubicBezTo>
                  <a:cubicBezTo>
                    <a:pt x="5362" y="3059"/>
                    <a:pt x="5346" y="3058"/>
                    <a:pt x="5342" y="3053"/>
                  </a:cubicBezTo>
                  <a:cubicBezTo>
                    <a:pt x="5342" y="3052"/>
                    <a:pt x="5342" y="3053"/>
                    <a:pt x="5341" y="3052"/>
                  </a:cubicBezTo>
                  <a:cubicBezTo>
                    <a:pt x="5341" y="3051"/>
                    <a:pt x="5341" y="3051"/>
                    <a:pt x="5341" y="3051"/>
                  </a:cubicBezTo>
                  <a:cubicBezTo>
                    <a:pt x="5341" y="3050"/>
                    <a:pt x="5341" y="3050"/>
                    <a:pt x="5341" y="3050"/>
                  </a:cubicBezTo>
                  <a:cubicBezTo>
                    <a:pt x="5341" y="3049"/>
                    <a:pt x="5342" y="3047"/>
                    <a:pt x="5344" y="3045"/>
                  </a:cubicBezTo>
                  <a:cubicBezTo>
                    <a:pt x="5353" y="3028"/>
                    <a:pt x="5376" y="3018"/>
                    <a:pt x="5396" y="3020"/>
                  </a:cubicBezTo>
                  <a:cubicBezTo>
                    <a:pt x="5420" y="3041"/>
                    <a:pt x="5455" y="3009"/>
                    <a:pt x="5467" y="2992"/>
                  </a:cubicBezTo>
                  <a:cubicBezTo>
                    <a:pt x="5483" y="2999"/>
                    <a:pt x="5496" y="2998"/>
                    <a:pt x="5505" y="2990"/>
                  </a:cubicBezTo>
                  <a:cubicBezTo>
                    <a:pt x="5506" y="2989"/>
                    <a:pt x="5507" y="2989"/>
                    <a:pt x="5508" y="2988"/>
                  </a:cubicBezTo>
                  <a:cubicBezTo>
                    <a:pt x="5510" y="2985"/>
                    <a:pt x="5512" y="2981"/>
                    <a:pt x="5513" y="2977"/>
                  </a:cubicBezTo>
                  <a:cubicBezTo>
                    <a:pt x="5527" y="2965"/>
                    <a:pt x="5575" y="2961"/>
                    <a:pt x="5556" y="2938"/>
                  </a:cubicBezTo>
                  <a:cubicBezTo>
                    <a:pt x="5553" y="2935"/>
                    <a:pt x="5552" y="2932"/>
                    <a:pt x="5552" y="2930"/>
                  </a:cubicBezTo>
                  <a:cubicBezTo>
                    <a:pt x="5552" y="2929"/>
                    <a:pt x="5552" y="2929"/>
                    <a:pt x="5552" y="2929"/>
                  </a:cubicBezTo>
                  <a:cubicBezTo>
                    <a:pt x="5552" y="2928"/>
                    <a:pt x="5553" y="2928"/>
                    <a:pt x="5553" y="2928"/>
                  </a:cubicBezTo>
                  <a:cubicBezTo>
                    <a:pt x="5553" y="2927"/>
                    <a:pt x="5554" y="2927"/>
                    <a:pt x="5554" y="2927"/>
                  </a:cubicBezTo>
                  <a:cubicBezTo>
                    <a:pt x="5563" y="2922"/>
                    <a:pt x="5596" y="2936"/>
                    <a:pt x="5595" y="2955"/>
                  </a:cubicBezTo>
                  <a:cubicBezTo>
                    <a:pt x="5595" y="2956"/>
                    <a:pt x="5595" y="2956"/>
                    <a:pt x="5594" y="2957"/>
                  </a:cubicBezTo>
                  <a:cubicBezTo>
                    <a:pt x="5594" y="2958"/>
                    <a:pt x="5594" y="2959"/>
                    <a:pt x="5593" y="2959"/>
                  </a:cubicBezTo>
                  <a:cubicBezTo>
                    <a:pt x="5616" y="2954"/>
                    <a:pt x="5636" y="2983"/>
                    <a:pt x="5655" y="2971"/>
                  </a:cubicBezTo>
                  <a:cubicBezTo>
                    <a:pt x="5650" y="2961"/>
                    <a:pt x="5650" y="2948"/>
                    <a:pt x="5658" y="2940"/>
                  </a:cubicBezTo>
                  <a:cubicBezTo>
                    <a:pt x="5663" y="2935"/>
                    <a:pt x="5671" y="2933"/>
                    <a:pt x="5683" y="2935"/>
                  </a:cubicBezTo>
                  <a:cubicBezTo>
                    <a:pt x="5688" y="2934"/>
                    <a:pt x="5691" y="2932"/>
                    <a:pt x="5693" y="2930"/>
                  </a:cubicBezTo>
                  <a:cubicBezTo>
                    <a:pt x="5697" y="2918"/>
                    <a:pt x="5673" y="2893"/>
                    <a:pt x="5683" y="2880"/>
                  </a:cubicBezTo>
                  <a:cubicBezTo>
                    <a:pt x="5681" y="2873"/>
                    <a:pt x="5682" y="2869"/>
                    <a:pt x="5685" y="2866"/>
                  </a:cubicBezTo>
                  <a:cubicBezTo>
                    <a:pt x="5690" y="2859"/>
                    <a:pt x="5704" y="2861"/>
                    <a:pt x="5711" y="2858"/>
                  </a:cubicBezTo>
                  <a:cubicBezTo>
                    <a:pt x="5712" y="2857"/>
                    <a:pt x="5714" y="2856"/>
                    <a:pt x="5714" y="2854"/>
                  </a:cubicBezTo>
                  <a:cubicBezTo>
                    <a:pt x="5714" y="2852"/>
                    <a:pt x="5713" y="2849"/>
                    <a:pt x="5710" y="2845"/>
                  </a:cubicBezTo>
                  <a:cubicBezTo>
                    <a:pt x="5702" y="2829"/>
                    <a:pt x="5710" y="2808"/>
                    <a:pt x="5697" y="2791"/>
                  </a:cubicBezTo>
                  <a:cubicBezTo>
                    <a:pt x="5693" y="2782"/>
                    <a:pt x="5695" y="2776"/>
                    <a:pt x="5699" y="2772"/>
                  </a:cubicBezTo>
                  <a:cubicBezTo>
                    <a:pt x="5708" y="2763"/>
                    <a:pt x="5728" y="2760"/>
                    <a:pt x="5733" y="2749"/>
                  </a:cubicBezTo>
                  <a:cubicBezTo>
                    <a:pt x="5734" y="2748"/>
                    <a:pt x="5735" y="2748"/>
                    <a:pt x="5735" y="2747"/>
                  </a:cubicBezTo>
                  <a:cubicBezTo>
                    <a:pt x="5736" y="2747"/>
                    <a:pt x="5737" y="2746"/>
                    <a:pt x="5737" y="2746"/>
                  </a:cubicBezTo>
                  <a:cubicBezTo>
                    <a:pt x="5738" y="2746"/>
                    <a:pt x="5738" y="2746"/>
                    <a:pt x="5738" y="2746"/>
                  </a:cubicBezTo>
                  <a:cubicBezTo>
                    <a:pt x="5739" y="2746"/>
                    <a:pt x="5739" y="2746"/>
                    <a:pt x="5740" y="2746"/>
                  </a:cubicBezTo>
                  <a:cubicBezTo>
                    <a:pt x="5741" y="2746"/>
                    <a:pt x="5741" y="2746"/>
                    <a:pt x="5741" y="2746"/>
                  </a:cubicBezTo>
                  <a:cubicBezTo>
                    <a:pt x="5742" y="2747"/>
                    <a:pt x="5744" y="2748"/>
                    <a:pt x="5745" y="2748"/>
                  </a:cubicBezTo>
                  <a:cubicBezTo>
                    <a:pt x="5753" y="2756"/>
                    <a:pt x="5763" y="2777"/>
                    <a:pt x="5780" y="2772"/>
                  </a:cubicBezTo>
                  <a:cubicBezTo>
                    <a:pt x="5795" y="2749"/>
                    <a:pt x="5825" y="2742"/>
                    <a:pt x="5850" y="2740"/>
                  </a:cubicBezTo>
                  <a:close/>
                </a:path>
              </a:pathLst>
            </a:custGeom>
            <a:solidFill>
              <a:srgbClr val="B7B7B7"/>
            </a:solidFill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89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1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57">
              <a:extLst>
                <a:ext uri="{FF2B5EF4-FFF2-40B4-BE49-F238E27FC236}">
                  <a16:creationId xmlns:a16="http://schemas.microsoft.com/office/drawing/2014/main" id="{12F8527D-E697-991B-96BD-0874BDCAE19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0000">
              <a:off x="10796673" y="4095561"/>
              <a:ext cx="847640" cy="1618327"/>
            </a:xfrm>
            <a:custGeom>
              <a:avLst/>
              <a:gdLst>
                <a:gd name="T0" fmla="*/ 988539 w 3258"/>
                <a:gd name="T1" fmla="*/ 45700 h 6216"/>
                <a:gd name="T2" fmla="*/ 937835 w 3258"/>
                <a:gd name="T3" fmla="*/ 153653 h 6216"/>
                <a:gd name="T4" fmla="*/ 796872 w 3258"/>
                <a:gd name="T5" fmla="*/ 136021 h 6216"/>
                <a:gd name="T6" fmla="*/ 649437 w 3258"/>
                <a:gd name="T7" fmla="*/ 234978 h 6216"/>
                <a:gd name="T8" fmla="*/ 576798 w 3258"/>
                <a:gd name="T9" fmla="*/ 340772 h 6216"/>
                <a:gd name="T10" fmla="*/ 502001 w 3258"/>
                <a:gd name="T11" fmla="*/ 400146 h 6216"/>
                <a:gd name="T12" fmla="*/ 347733 w 3258"/>
                <a:gd name="T13" fmla="*/ 420297 h 6216"/>
                <a:gd name="T14" fmla="*/ 314650 w 3258"/>
                <a:gd name="T15" fmla="*/ 563515 h 6216"/>
                <a:gd name="T16" fmla="*/ 239853 w 3258"/>
                <a:gd name="T17" fmla="*/ 646999 h 6216"/>
                <a:gd name="T18" fmla="*/ 275094 w 3258"/>
                <a:gd name="T19" fmla="*/ 785898 h 6216"/>
                <a:gd name="T20" fmla="*/ 354565 w 3258"/>
                <a:gd name="T21" fmla="*/ 887374 h 6216"/>
                <a:gd name="T22" fmla="*/ 303862 w 3258"/>
                <a:gd name="T23" fmla="*/ 979854 h 6216"/>
                <a:gd name="T24" fmla="*/ 323640 w 3258"/>
                <a:gd name="T25" fmla="*/ 1120553 h 6216"/>
                <a:gd name="T26" fmla="*/ 178361 w 3258"/>
                <a:gd name="T27" fmla="*/ 1221669 h 6216"/>
                <a:gd name="T28" fmla="*/ 65807 w 3258"/>
                <a:gd name="T29" fmla="*/ 1325303 h 6216"/>
                <a:gd name="T30" fmla="*/ 17620 w 3258"/>
                <a:gd name="T31" fmla="*/ 1323144 h 6216"/>
                <a:gd name="T32" fmla="*/ 48186 w 3258"/>
                <a:gd name="T33" fmla="*/ 1468521 h 6216"/>
                <a:gd name="T34" fmla="*/ 98890 w 3258"/>
                <a:gd name="T35" fmla="*/ 1640526 h 6216"/>
                <a:gd name="T36" fmla="*/ 107880 w 3258"/>
                <a:gd name="T37" fmla="*/ 1779066 h 6216"/>
                <a:gd name="T38" fmla="*/ 184834 w 3258"/>
                <a:gd name="T39" fmla="*/ 1924443 h 6216"/>
                <a:gd name="T40" fmla="*/ 96732 w 3258"/>
                <a:gd name="T41" fmla="*/ 2076657 h 6216"/>
                <a:gd name="T42" fmla="*/ 68324 w 3258"/>
                <a:gd name="T43" fmla="*/ 2184610 h 6216"/>
                <a:gd name="T44" fmla="*/ 116510 w 3258"/>
                <a:gd name="T45" fmla="*/ 2219874 h 6216"/>
                <a:gd name="T46" fmla="*/ 263946 w 3258"/>
                <a:gd name="T47" fmla="*/ 2083134 h 6216"/>
                <a:gd name="T48" fmla="*/ 330112 w 3258"/>
                <a:gd name="T49" fmla="*/ 1994972 h 6216"/>
                <a:gd name="T50" fmla="*/ 380816 w 3258"/>
                <a:gd name="T51" fmla="*/ 1933439 h 6216"/>
                <a:gd name="T52" fmla="*/ 490853 w 3258"/>
                <a:gd name="T53" fmla="*/ 1911489 h 6216"/>
                <a:gd name="T54" fmla="*/ 603048 w 3258"/>
                <a:gd name="T55" fmla="*/ 1917966 h 6216"/>
                <a:gd name="T56" fmla="*/ 535084 w 3258"/>
                <a:gd name="T57" fmla="*/ 1882701 h 6216"/>
                <a:gd name="T58" fmla="*/ 578955 w 3258"/>
                <a:gd name="T59" fmla="*/ 1803535 h 6216"/>
                <a:gd name="T60" fmla="*/ 605565 w 3258"/>
                <a:gd name="T61" fmla="*/ 1711056 h 6216"/>
                <a:gd name="T62" fmla="*/ 532567 w 3258"/>
                <a:gd name="T63" fmla="*/ 1697741 h 6216"/>
                <a:gd name="T64" fmla="*/ 504158 w 3258"/>
                <a:gd name="T65" fmla="*/ 1616057 h 6216"/>
                <a:gd name="T66" fmla="*/ 504158 w 3258"/>
                <a:gd name="T67" fmla="*/ 1450889 h 6216"/>
                <a:gd name="T68" fmla="*/ 495168 w 3258"/>
                <a:gd name="T69" fmla="*/ 1296516 h 6216"/>
                <a:gd name="T70" fmla="*/ 543714 w 3258"/>
                <a:gd name="T71" fmla="*/ 1263770 h 6216"/>
                <a:gd name="T72" fmla="*/ 719918 w 3258"/>
                <a:gd name="T73" fmla="*/ 1129189 h 6216"/>
                <a:gd name="T74" fmla="*/ 755159 w 3258"/>
                <a:gd name="T75" fmla="*/ 1034910 h 6216"/>
                <a:gd name="T76" fmla="*/ 655909 w 3258"/>
                <a:gd name="T77" fmla="*/ 867583 h 6216"/>
                <a:gd name="T78" fmla="*/ 424687 w 3258"/>
                <a:gd name="T79" fmla="*/ 829799 h 6216"/>
                <a:gd name="T80" fmla="*/ 550187 w 3258"/>
                <a:gd name="T81" fmla="*/ 730842 h 6216"/>
                <a:gd name="T82" fmla="*/ 629659 w 3258"/>
                <a:gd name="T83" fmla="*/ 649158 h 6216"/>
                <a:gd name="T84" fmla="*/ 728548 w 3258"/>
                <a:gd name="T85" fmla="*/ 689100 h 6216"/>
                <a:gd name="T86" fmla="*/ 869511 w 3258"/>
                <a:gd name="T87" fmla="*/ 772584 h 6216"/>
                <a:gd name="T88" fmla="*/ 1142807 w 3258"/>
                <a:gd name="T89" fmla="*/ 689100 h 6216"/>
                <a:gd name="T90" fmla="*/ 1092104 w 3258"/>
                <a:gd name="T91" fmla="*/ 532568 h 6216"/>
                <a:gd name="T92" fmla="*/ 1034927 w 3258"/>
                <a:gd name="T93" fmla="*/ 431092 h 6216"/>
                <a:gd name="T94" fmla="*/ 1129502 w 3258"/>
                <a:gd name="T95" fmla="*/ 270242 h 6216"/>
                <a:gd name="T96" fmla="*/ 1089946 w 3258"/>
                <a:gd name="T97" fmla="*/ 148975 h 6216"/>
                <a:gd name="T98" fmla="*/ 1057942 w 3258"/>
                <a:gd name="T99" fmla="*/ 0 h 621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3258" h="6216">
                  <a:moveTo>
                    <a:pt x="2942" y="1"/>
                  </a:moveTo>
                  <a:cubicBezTo>
                    <a:pt x="2914" y="28"/>
                    <a:pt x="2887" y="56"/>
                    <a:pt x="2859" y="84"/>
                  </a:cubicBezTo>
                  <a:cubicBezTo>
                    <a:pt x="2833" y="110"/>
                    <a:pt x="2806" y="136"/>
                    <a:pt x="2780" y="163"/>
                  </a:cubicBezTo>
                  <a:cubicBezTo>
                    <a:pt x="2770" y="151"/>
                    <a:pt x="2759" y="139"/>
                    <a:pt x="2749" y="127"/>
                  </a:cubicBezTo>
                  <a:cubicBezTo>
                    <a:pt x="2704" y="143"/>
                    <a:pt x="2659" y="159"/>
                    <a:pt x="2614" y="176"/>
                  </a:cubicBezTo>
                  <a:cubicBezTo>
                    <a:pt x="2626" y="210"/>
                    <a:pt x="2639" y="245"/>
                    <a:pt x="2651" y="280"/>
                  </a:cubicBezTo>
                  <a:cubicBezTo>
                    <a:pt x="2649" y="312"/>
                    <a:pt x="2647" y="345"/>
                    <a:pt x="2645" y="378"/>
                  </a:cubicBezTo>
                  <a:cubicBezTo>
                    <a:pt x="2633" y="394"/>
                    <a:pt x="2620" y="410"/>
                    <a:pt x="2608" y="427"/>
                  </a:cubicBezTo>
                  <a:cubicBezTo>
                    <a:pt x="2586" y="410"/>
                    <a:pt x="2563" y="394"/>
                    <a:pt x="2541" y="378"/>
                  </a:cubicBezTo>
                  <a:cubicBezTo>
                    <a:pt x="2500" y="349"/>
                    <a:pt x="2459" y="320"/>
                    <a:pt x="2418" y="292"/>
                  </a:cubicBezTo>
                  <a:cubicBezTo>
                    <a:pt x="2383" y="292"/>
                    <a:pt x="2349" y="292"/>
                    <a:pt x="2314" y="292"/>
                  </a:cubicBezTo>
                  <a:cubicBezTo>
                    <a:pt x="2281" y="320"/>
                    <a:pt x="2249" y="349"/>
                    <a:pt x="2216" y="378"/>
                  </a:cubicBezTo>
                  <a:cubicBezTo>
                    <a:pt x="2192" y="412"/>
                    <a:pt x="2167" y="447"/>
                    <a:pt x="2143" y="482"/>
                  </a:cubicBezTo>
                  <a:cubicBezTo>
                    <a:pt x="2100" y="506"/>
                    <a:pt x="2057" y="530"/>
                    <a:pt x="2014" y="555"/>
                  </a:cubicBezTo>
                  <a:cubicBezTo>
                    <a:pt x="1975" y="571"/>
                    <a:pt x="1937" y="587"/>
                    <a:pt x="1898" y="604"/>
                  </a:cubicBezTo>
                  <a:cubicBezTo>
                    <a:pt x="1867" y="620"/>
                    <a:pt x="1837" y="636"/>
                    <a:pt x="1806" y="653"/>
                  </a:cubicBezTo>
                  <a:cubicBezTo>
                    <a:pt x="1804" y="698"/>
                    <a:pt x="1802" y="743"/>
                    <a:pt x="1800" y="788"/>
                  </a:cubicBezTo>
                  <a:cubicBezTo>
                    <a:pt x="1792" y="812"/>
                    <a:pt x="1783" y="836"/>
                    <a:pt x="1775" y="861"/>
                  </a:cubicBezTo>
                  <a:cubicBezTo>
                    <a:pt x="1745" y="877"/>
                    <a:pt x="1714" y="893"/>
                    <a:pt x="1684" y="910"/>
                  </a:cubicBezTo>
                  <a:cubicBezTo>
                    <a:pt x="1657" y="922"/>
                    <a:pt x="1631" y="934"/>
                    <a:pt x="1604" y="947"/>
                  </a:cubicBezTo>
                  <a:cubicBezTo>
                    <a:pt x="1604" y="981"/>
                    <a:pt x="1604" y="1016"/>
                    <a:pt x="1604" y="1051"/>
                  </a:cubicBezTo>
                  <a:cubicBezTo>
                    <a:pt x="1584" y="1069"/>
                    <a:pt x="1563" y="1087"/>
                    <a:pt x="1543" y="1106"/>
                  </a:cubicBezTo>
                  <a:cubicBezTo>
                    <a:pt x="1514" y="1128"/>
                    <a:pt x="1486" y="1151"/>
                    <a:pt x="1457" y="1174"/>
                  </a:cubicBezTo>
                  <a:cubicBezTo>
                    <a:pt x="1437" y="1153"/>
                    <a:pt x="1417" y="1132"/>
                    <a:pt x="1396" y="1112"/>
                  </a:cubicBezTo>
                  <a:cubicBezTo>
                    <a:pt x="1357" y="1087"/>
                    <a:pt x="1318" y="1063"/>
                    <a:pt x="1279" y="1039"/>
                  </a:cubicBezTo>
                  <a:cubicBezTo>
                    <a:pt x="1255" y="1047"/>
                    <a:pt x="1231" y="1055"/>
                    <a:pt x="1206" y="1063"/>
                  </a:cubicBezTo>
                  <a:cubicBezTo>
                    <a:pt x="1155" y="1073"/>
                    <a:pt x="1104" y="1083"/>
                    <a:pt x="1053" y="1094"/>
                  </a:cubicBezTo>
                  <a:cubicBezTo>
                    <a:pt x="1025" y="1118"/>
                    <a:pt x="996" y="1143"/>
                    <a:pt x="967" y="1168"/>
                  </a:cubicBezTo>
                  <a:cubicBezTo>
                    <a:pt x="953" y="1188"/>
                    <a:pt x="939" y="1208"/>
                    <a:pt x="924" y="1229"/>
                  </a:cubicBezTo>
                  <a:cubicBezTo>
                    <a:pt x="896" y="1269"/>
                    <a:pt x="868" y="1310"/>
                    <a:pt x="839" y="1351"/>
                  </a:cubicBezTo>
                  <a:cubicBezTo>
                    <a:pt x="845" y="1383"/>
                    <a:pt x="851" y="1416"/>
                    <a:pt x="857" y="1449"/>
                  </a:cubicBezTo>
                  <a:cubicBezTo>
                    <a:pt x="863" y="1488"/>
                    <a:pt x="869" y="1527"/>
                    <a:pt x="875" y="1566"/>
                  </a:cubicBezTo>
                  <a:cubicBezTo>
                    <a:pt x="857" y="1596"/>
                    <a:pt x="839" y="1626"/>
                    <a:pt x="820" y="1657"/>
                  </a:cubicBezTo>
                  <a:cubicBezTo>
                    <a:pt x="820" y="1685"/>
                    <a:pt x="820" y="1714"/>
                    <a:pt x="820" y="1743"/>
                  </a:cubicBezTo>
                  <a:cubicBezTo>
                    <a:pt x="794" y="1739"/>
                    <a:pt x="768" y="1735"/>
                    <a:pt x="741" y="1731"/>
                  </a:cubicBezTo>
                  <a:cubicBezTo>
                    <a:pt x="717" y="1753"/>
                    <a:pt x="692" y="1775"/>
                    <a:pt x="667" y="1798"/>
                  </a:cubicBezTo>
                  <a:cubicBezTo>
                    <a:pt x="667" y="1845"/>
                    <a:pt x="667" y="1892"/>
                    <a:pt x="667" y="1939"/>
                  </a:cubicBezTo>
                  <a:cubicBezTo>
                    <a:pt x="676" y="1973"/>
                    <a:pt x="684" y="2008"/>
                    <a:pt x="692" y="2043"/>
                  </a:cubicBezTo>
                  <a:cubicBezTo>
                    <a:pt x="698" y="2061"/>
                    <a:pt x="704" y="2079"/>
                    <a:pt x="710" y="2098"/>
                  </a:cubicBezTo>
                  <a:cubicBezTo>
                    <a:pt x="729" y="2126"/>
                    <a:pt x="747" y="2155"/>
                    <a:pt x="765" y="2184"/>
                  </a:cubicBezTo>
                  <a:cubicBezTo>
                    <a:pt x="788" y="2202"/>
                    <a:pt x="810" y="2220"/>
                    <a:pt x="832" y="2239"/>
                  </a:cubicBezTo>
                  <a:cubicBezTo>
                    <a:pt x="867" y="2273"/>
                    <a:pt x="902" y="2308"/>
                    <a:pt x="937" y="2343"/>
                  </a:cubicBezTo>
                  <a:cubicBezTo>
                    <a:pt x="951" y="2361"/>
                    <a:pt x="965" y="2379"/>
                    <a:pt x="979" y="2398"/>
                  </a:cubicBezTo>
                  <a:cubicBezTo>
                    <a:pt x="982" y="2420"/>
                    <a:pt x="984" y="2443"/>
                    <a:pt x="986" y="2466"/>
                  </a:cubicBezTo>
                  <a:cubicBezTo>
                    <a:pt x="968" y="2488"/>
                    <a:pt x="949" y="2510"/>
                    <a:pt x="930" y="2533"/>
                  </a:cubicBezTo>
                  <a:cubicBezTo>
                    <a:pt x="930" y="2557"/>
                    <a:pt x="930" y="2581"/>
                    <a:pt x="930" y="2606"/>
                  </a:cubicBezTo>
                  <a:cubicBezTo>
                    <a:pt x="922" y="2628"/>
                    <a:pt x="914" y="2651"/>
                    <a:pt x="906" y="2674"/>
                  </a:cubicBezTo>
                  <a:cubicBezTo>
                    <a:pt x="886" y="2690"/>
                    <a:pt x="866" y="2706"/>
                    <a:pt x="845" y="2723"/>
                  </a:cubicBezTo>
                  <a:cubicBezTo>
                    <a:pt x="841" y="2747"/>
                    <a:pt x="837" y="2771"/>
                    <a:pt x="832" y="2796"/>
                  </a:cubicBezTo>
                  <a:cubicBezTo>
                    <a:pt x="835" y="2837"/>
                    <a:pt x="837" y="2878"/>
                    <a:pt x="839" y="2919"/>
                  </a:cubicBezTo>
                  <a:cubicBezTo>
                    <a:pt x="872" y="2951"/>
                    <a:pt x="905" y="2984"/>
                    <a:pt x="937" y="3016"/>
                  </a:cubicBezTo>
                  <a:cubicBezTo>
                    <a:pt x="925" y="3049"/>
                    <a:pt x="913" y="3082"/>
                    <a:pt x="900" y="3114"/>
                  </a:cubicBezTo>
                  <a:cubicBezTo>
                    <a:pt x="872" y="3147"/>
                    <a:pt x="843" y="3180"/>
                    <a:pt x="814" y="3212"/>
                  </a:cubicBezTo>
                  <a:cubicBezTo>
                    <a:pt x="782" y="3239"/>
                    <a:pt x="749" y="3265"/>
                    <a:pt x="716" y="3291"/>
                  </a:cubicBezTo>
                  <a:cubicBezTo>
                    <a:pt x="682" y="3322"/>
                    <a:pt x="647" y="3353"/>
                    <a:pt x="612" y="3383"/>
                  </a:cubicBezTo>
                  <a:cubicBezTo>
                    <a:pt x="574" y="3387"/>
                    <a:pt x="535" y="3391"/>
                    <a:pt x="496" y="3395"/>
                  </a:cubicBezTo>
                  <a:cubicBezTo>
                    <a:pt x="449" y="3400"/>
                    <a:pt x="402" y="3404"/>
                    <a:pt x="355" y="3408"/>
                  </a:cubicBezTo>
                  <a:cubicBezTo>
                    <a:pt x="357" y="3410"/>
                    <a:pt x="359" y="3412"/>
                    <a:pt x="361" y="3414"/>
                  </a:cubicBezTo>
                  <a:cubicBezTo>
                    <a:pt x="333" y="3461"/>
                    <a:pt x="304" y="3508"/>
                    <a:pt x="275" y="3554"/>
                  </a:cubicBezTo>
                  <a:cubicBezTo>
                    <a:pt x="245" y="3597"/>
                    <a:pt x="214" y="3640"/>
                    <a:pt x="183" y="3683"/>
                  </a:cubicBezTo>
                  <a:cubicBezTo>
                    <a:pt x="161" y="3638"/>
                    <a:pt x="139" y="3593"/>
                    <a:pt x="116" y="3548"/>
                  </a:cubicBezTo>
                  <a:cubicBezTo>
                    <a:pt x="96" y="3548"/>
                    <a:pt x="76" y="3548"/>
                    <a:pt x="55" y="3548"/>
                  </a:cubicBezTo>
                  <a:cubicBezTo>
                    <a:pt x="55" y="3565"/>
                    <a:pt x="55" y="3581"/>
                    <a:pt x="55" y="3597"/>
                  </a:cubicBezTo>
                  <a:cubicBezTo>
                    <a:pt x="53" y="3624"/>
                    <a:pt x="51" y="3651"/>
                    <a:pt x="49" y="3677"/>
                  </a:cubicBezTo>
                  <a:cubicBezTo>
                    <a:pt x="33" y="3688"/>
                    <a:pt x="17" y="3698"/>
                    <a:pt x="0" y="3708"/>
                  </a:cubicBezTo>
                  <a:cubicBezTo>
                    <a:pt x="15" y="3753"/>
                    <a:pt x="29" y="3798"/>
                    <a:pt x="43" y="3842"/>
                  </a:cubicBezTo>
                  <a:cubicBezTo>
                    <a:pt x="62" y="3887"/>
                    <a:pt x="80" y="3932"/>
                    <a:pt x="98" y="3977"/>
                  </a:cubicBezTo>
                  <a:cubicBezTo>
                    <a:pt x="110" y="4012"/>
                    <a:pt x="122" y="4047"/>
                    <a:pt x="134" y="4081"/>
                  </a:cubicBezTo>
                  <a:cubicBezTo>
                    <a:pt x="155" y="4126"/>
                    <a:pt x="176" y="4171"/>
                    <a:pt x="196" y="4216"/>
                  </a:cubicBezTo>
                  <a:cubicBezTo>
                    <a:pt x="204" y="4263"/>
                    <a:pt x="212" y="4310"/>
                    <a:pt x="220" y="4357"/>
                  </a:cubicBezTo>
                  <a:cubicBezTo>
                    <a:pt x="222" y="4396"/>
                    <a:pt x="224" y="4435"/>
                    <a:pt x="226" y="4473"/>
                  </a:cubicBezTo>
                  <a:cubicBezTo>
                    <a:pt x="243" y="4502"/>
                    <a:pt x="259" y="4531"/>
                    <a:pt x="275" y="4559"/>
                  </a:cubicBezTo>
                  <a:cubicBezTo>
                    <a:pt x="294" y="4584"/>
                    <a:pt x="312" y="4608"/>
                    <a:pt x="330" y="4632"/>
                  </a:cubicBezTo>
                  <a:cubicBezTo>
                    <a:pt x="333" y="4655"/>
                    <a:pt x="335" y="4677"/>
                    <a:pt x="337" y="4699"/>
                  </a:cubicBezTo>
                  <a:cubicBezTo>
                    <a:pt x="337" y="4734"/>
                    <a:pt x="337" y="4769"/>
                    <a:pt x="337" y="4804"/>
                  </a:cubicBezTo>
                  <a:cubicBezTo>
                    <a:pt x="325" y="4851"/>
                    <a:pt x="313" y="4898"/>
                    <a:pt x="300" y="4944"/>
                  </a:cubicBezTo>
                  <a:cubicBezTo>
                    <a:pt x="306" y="4981"/>
                    <a:pt x="312" y="5018"/>
                    <a:pt x="318" y="5055"/>
                  </a:cubicBezTo>
                  <a:cubicBezTo>
                    <a:pt x="351" y="5090"/>
                    <a:pt x="384" y="5125"/>
                    <a:pt x="416" y="5159"/>
                  </a:cubicBezTo>
                  <a:cubicBezTo>
                    <a:pt x="451" y="5182"/>
                    <a:pt x="486" y="5204"/>
                    <a:pt x="520" y="5226"/>
                  </a:cubicBezTo>
                  <a:cubicBezTo>
                    <a:pt x="518" y="5267"/>
                    <a:pt x="516" y="5308"/>
                    <a:pt x="514" y="5348"/>
                  </a:cubicBezTo>
                  <a:cubicBezTo>
                    <a:pt x="494" y="5379"/>
                    <a:pt x="474" y="5410"/>
                    <a:pt x="453" y="5440"/>
                  </a:cubicBezTo>
                  <a:cubicBezTo>
                    <a:pt x="431" y="5481"/>
                    <a:pt x="408" y="5522"/>
                    <a:pt x="385" y="5563"/>
                  </a:cubicBezTo>
                  <a:cubicBezTo>
                    <a:pt x="363" y="5600"/>
                    <a:pt x="341" y="5637"/>
                    <a:pt x="318" y="5673"/>
                  </a:cubicBezTo>
                  <a:cubicBezTo>
                    <a:pt x="302" y="5706"/>
                    <a:pt x="286" y="5739"/>
                    <a:pt x="269" y="5771"/>
                  </a:cubicBezTo>
                  <a:cubicBezTo>
                    <a:pt x="255" y="5773"/>
                    <a:pt x="241" y="5775"/>
                    <a:pt x="226" y="5777"/>
                  </a:cubicBezTo>
                  <a:cubicBezTo>
                    <a:pt x="196" y="5802"/>
                    <a:pt x="165" y="5827"/>
                    <a:pt x="134" y="5851"/>
                  </a:cubicBezTo>
                  <a:cubicBezTo>
                    <a:pt x="139" y="5904"/>
                    <a:pt x="143" y="5957"/>
                    <a:pt x="147" y="6010"/>
                  </a:cubicBezTo>
                  <a:cubicBezTo>
                    <a:pt x="162" y="6031"/>
                    <a:pt x="176" y="6051"/>
                    <a:pt x="190" y="6071"/>
                  </a:cubicBezTo>
                  <a:cubicBezTo>
                    <a:pt x="213" y="6092"/>
                    <a:pt x="235" y="6112"/>
                    <a:pt x="257" y="6132"/>
                  </a:cubicBezTo>
                  <a:cubicBezTo>
                    <a:pt x="257" y="6157"/>
                    <a:pt x="257" y="6182"/>
                    <a:pt x="257" y="6206"/>
                  </a:cubicBezTo>
                  <a:cubicBezTo>
                    <a:pt x="257" y="6209"/>
                    <a:pt x="257" y="6212"/>
                    <a:pt x="257" y="6215"/>
                  </a:cubicBezTo>
                  <a:cubicBezTo>
                    <a:pt x="280" y="6200"/>
                    <a:pt x="302" y="6185"/>
                    <a:pt x="324" y="6169"/>
                  </a:cubicBezTo>
                  <a:cubicBezTo>
                    <a:pt x="363" y="6139"/>
                    <a:pt x="402" y="6108"/>
                    <a:pt x="441" y="6077"/>
                  </a:cubicBezTo>
                  <a:cubicBezTo>
                    <a:pt x="480" y="6067"/>
                    <a:pt x="519" y="6057"/>
                    <a:pt x="557" y="6046"/>
                  </a:cubicBezTo>
                  <a:cubicBezTo>
                    <a:pt x="596" y="5987"/>
                    <a:pt x="635" y="5928"/>
                    <a:pt x="673" y="5869"/>
                  </a:cubicBezTo>
                  <a:cubicBezTo>
                    <a:pt x="694" y="5843"/>
                    <a:pt x="714" y="5816"/>
                    <a:pt x="734" y="5789"/>
                  </a:cubicBezTo>
                  <a:cubicBezTo>
                    <a:pt x="743" y="5757"/>
                    <a:pt x="751" y="5724"/>
                    <a:pt x="759" y="5691"/>
                  </a:cubicBezTo>
                  <a:cubicBezTo>
                    <a:pt x="796" y="5687"/>
                    <a:pt x="833" y="5683"/>
                    <a:pt x="869" y="5679"/>
                  </a:cubicBezTo>
                  <a:cubicBezTo>
                    <a:pt x="878" y="5661"/>
                    <a:pt x="886" y="5643"/>
                    <a:pt x="894" y="5624"/>
                  </a:cubicBezTo>
                  <a:cubicBezTo>
                    <a:pt x="902" y="5598"/>
                    <a:pt x="910" y="5571"/>
                    <a:pt x="918" y="5544"/>
                  </a:cubicBezTo>
                  <a:cubicBezTo>
                    <a:pt x="939" y="5524"/>
                    <a:pt x="959" y="5504"/>
                    <a:pt x="979" y="5483"/>
                  </a:cubicBezTo>
                  <a:cubicBezTo>
                    <a:pt x="988" y="5459"/>
                    <a:pt x="996" y="5435"/>
                    <a:pt x="1004" y="5410"/>
                  </a:cubicBezTo>
                  <a:cubicBezTo>
                    <a:pt x="1008" y="5386"/>
                    <a:pt x="1012" y="5361"/>
                    <a:pt x="1016" y="5336"/>
                  </a:cubicBezTo>
                  <a:cubicBezTo>
                    <a:pt x="1031" y="5349"/>
                    <a:pt x="1045" y="5361"/>
                    <a:pt x="1059" y="5373"/>
                  </a:cubicBezTo>
                  <a:cubicBezTo>
                    <a:pt x="1076" y="5373"/>
                    <a:pt x="1092" y="5373"/>
                    <a:pt x="1108" y="5373"/>
                  </a:cubicBezTo>
                  <a:cubicBezTo>
                    <a:pt x="1143" y="5359"/>
                    <a:pt x="1178" y="5345"/>
                    <a:pt x="1212" y="5330"/>
                  </a:cubicBezTo>
                  <a:cubicBezTo>
                    <a:pt x="1239" y="5339"/>
                    <a:pt x="1266" y="5347"/>
                    <a:pt x="1292" y="5355"/>
                  </a:cubicBezTo>
                  <a:cubicBezTo>
                    <a:pt x="1317" y="5341"/>
                    <a:pt x="1341" y="5327"/>
                    <a:pt x="1365" y="5312"/>
                  </a:cubicBezTo>
                  <a:cubicBezTo>
                    <a:pt x="1396" y="5331"/>
                    <a:pt x="1427" y="5349"/>
                    <a:pt x="1457" y="5367"/>
                  </a:cubicBezTo>
                  <a:cubicBezTo>
                    <a:pt x="1476" y="5353"/>
                    <a:pt x="1494" y="5339"/>
                    <a:pt x="1512" y="5324"/>
                  </a:cubicBezTo>
                  <a:cubicBezTo>
                    <a:pt x="1528" y="5328"/>
                    <a:pt x="1545" y="5332"/>
                    <a:pt x="1561" y="5336"/>
                  </a:cubicBezTo>
                  <a:cubicBezTo>
                    <a:pt x="1600" y="5334"/>
                    <a:pt x="1638" y="5332"/>
                    <a:pt x="1677" y="5330"/>
                  </a:cubicBezTo>
                  <a:cubicBezTo>
                    <a:pt x="1687" y="5320"/>
                    <a:pt x="1698" y="5310"/>
                    <a:pt x="1708" y="5299"/>
                  </a:cubicBezTo>
                  <a:cubicBezTo>
                    <a:pt x="1698" y="5285"/>
                    <a:pt x="1687" y="5271"/>
                    <a:pt x="1677" y="5257"/>
                  </a:cubicBezTo>
                  <a:cubicBezTo>
                    <a:pt x="1649" y="5249"/>
                    <a:pt x="1620" y="5241"/>
                    <a:pt x="1592" y="5232"/>
                  </a:cubicBezTo>
                  <a:cubicBezTo>
                    <a:pt x="1557" y="5232"/>
                    <a:pt x="1523" y="5232"/>
                    <a:pt x="1488" y="5232"/>
                  </a:cubicBezTo>
                  <a:cubicBezTo>
                    <a:pt x="1494" y="5210"/>
                    <a:pt x="1500" y="5188"/>
                    <a:pt x="1506" y="5165"/>
                  </a:cubicBezTo>
                  <a:cubicBezTo>
                    <a:pt x="1557" y="5143"/>
                    <a:pt x="1608" y="5120"/>
                    <a:pt x="1659" y="5097"/>
                  </a:cubicBezTo>
                  <a:cubicBezTo>
                    <a:pt x="1673" y="5069"/>
                    <a:pt x="1688" y="5041"/>
                    <a:pt x="1702" y="5012"/>
                  </a:cubicBezTo>
                  <a:cubicBezTo>
                    <a:pt x="1671" y="5012"/>
                    <a:pt x="1641" y="5012"/>
                    <a:pt x="1610" y="5012"/>
                  </a:cubicBezTo>
                  <a:cubicBezTo>
                    <a:pt x="1588" y="4973"/>
                    <a:pt x="1565" y="4934"/>
                    <a:pt x="1543" y="4895"/>
                  </a:cubicBezTo>
                  <a:cubicBezTo>
                    <a:pt x="1561" y="4875"/>
                    <a:pt x="1580" y="4855"/>
                    <a:pt x="1598" y="4834"/>
                  </a:cubicBezTo>
                  <a:cubicBezTo>
                    <a:pt x="1614" y="4816"/>
                    <a:pt x="1631" y="4798"/>
                    <a:pt x="1647" y="4779"/>
                  </a:cubicBezTo>
                  <a:cubicBezTo>
                    <a:pt x="1659" y="4771"/>
                    <a:pt x="1672" y="4763"/>
                    <a:pt x="1684" y="4755"/>
                  </a:cubicBezTo>
                  <a:cubicBezTo>
                    <a:pt x="1694" y="4733"/>
                    <a:pt x="1704" y="4710"/>
                    <a:pt x="1714" y="4687"/>
                  </a:cubicBezTo>
                  <a:cubicBezTo>
                    <a:pt x="1700" y="4669"/>
                    <a:pt x="1685" y="4651"/>
                    <a:pt x="1671" y="4632"/>
                  </a:cubicBezTo>
                  <a:cubicBezTo>
                    <a:pt x="1645" y="4634"/>
                    <a:pt x="1618" y="4636"/>
                    <a:pt x="1592" y="4638"/>
                  </a:cubicBezTo>
                  <a:cubicBezTo>
                    <a:pt x="1555" y="4665"/>
                    <a:pt x="1518" y="4692"/>
                    <a:pt x="1481" y="4718"/>
                  </a:cubicBezTo>
                  <a:cubicBezTo>
                    <a:pt x="1471" y="4682"/>
                    <a:pt x="1461" y="4645"/>
                    <a:pt x="1451" y="4608"/>
                  </a:cubicBezTo>
                  <a:cubicBezTo>
                    <a:pt x="1464" y="4592"/>
                    <a:pt x="1476" y="4576"/>
                    <a:pt x="1488" y="4559"/>
                  </a:cubicBezTo>
                  <a:cubicBezTo>
                    <a:pt x="1476" y="4537"/>
                    <a:pt x="1464" y="4514"/>
                    <a:pt x="1451" y="4491"/>
                  </a:cubicBezTo>
                  <a:cubicBezTo>
                    <a:pt x="1435" y="4491"/>
                    <a:pt x="1419" y="4491"/>
                    <a:pt x="1402" y="4491"/>
                  </a:cubicBezTo>
                  <a:cubicBezTo>
                    <a:pt x="1388" y="4461"/>
                    <a:pt x="1374" y="4430"/>
                    <a:pt x="1359" y="4399"/>
                  </a:cubicBezTo>
                  <a:cubicBezTo>
                    <a:pt x="1374" y="4377"/>
                    <a:pt x="1388" y="4355"/>
                    <a:pt x="1402" y="4332"/>
                  </a:cubicBezTo>
                  <a:cubicBezTo>
                    <a:pt x="1404" y="4271"/>
                    <a:pt x="1406" y="4210"/>
                    <a:pt x="1408" y="4148"/>
                  </a:cubicBezTo>
                  <a:cubicBezTo>
                    <a:pt x="1406" y="4110"/>
                    <a:pt x="1404" y="4071"/>
                    <a:pt x="1402" y="4032"/>
                  </a:cubicBezTo>
                  <a:cubicBezTo>
                    <a:pt x="1419" y="4004"/>
                    <a:pt x="1435" y="3975"/>
                    <a:pt x="1451" y="3946"/>
                  </a:cubicBezTo>
                  <a:cubicBezTo>
                    <a:pt x="1449" y="3895"/>
                    <a:pt x="1447" y="3844"/>
                    <a:pt x="1445" y="3793"/>
                  </a:cubicBezTo>
                  <a:cubicBezTo>
                    <a:pt x="1417" y="3787"/>
                    <a:pt x="1388" y="3781"/>
                    <a:pt x="1359" y="3775"/>
                  </a:cubicBezTo>
                  <a:cubicBezTo>
                    <a:pt x="1365" y="3718"/>
                    <a:pt x="1371" y="3661"/>
                    <a:pt x="1377" y="3603"/>
                  </a:cubicBezTo>
                  <a:cubicBezTo>
                    <a:pt x="1365" y="3565"/>
                    <a:pt x="1353" y="3526"/>
                    <a:pt x="1341" y="3487"/>
                  </a:cubicBezTo>
                  <a:cubicBezTo>
                    <a:pt x="1351" y="3467"/>
                    <a:pt x="1361" y="3447"/>
                    <a:pt x="1371" y="3426"/>
                  </a:cubicBezTo>
                  <a:cubicBezTo>
                    <a:pt x="1390" y="3426"/>
                    <a:pt x="1408" y="3426"/>
                    <a:pt x="1426" y="3426"/>
                  </a:cubicBezTo>
                  <a:cubicBezTo>
                    <a:pt x="1455" y="3455"/>
                    <a:pt x="1484" y="3484"/>
                    <a:pt x="1512" y="3512"/>
                  </a:cubicBezTo>
                  <a:cubicBezTo>
                    <a:pt x="1537" y="3484"/>
                    <a:pt x="1561" y="3455"/>
                    <a:pt x="1586" y="3426"/>
                  </a:cubicBezTo>
                  <a:cubicBezTo>
                    <a:pt x="1633" y="3424"/>
                    <a:pt x="1679" y="3422"/>
                    <a:pt x="1726" y="3420"/>
                  </a:cubicBezTo>
                  <a:cubicBezTo>
                    <a:pt x="1793" y="3357"/>
                    <a:pt x="1861" y="3294"/>
                    <a:pt x="1928" y="3230"/>
                  </a:cubicBezTo>
                  <a:cubicBezTo>
                    <a:pt x="1953" y="3200"/>
                    <a:pt x="1977" y="3169"/>
                    <a:pt x="2002" y="3138"/>
                  </a:cubicBezTo>
                  <a:cubicBezTo>
                    <a:pt x="1992" y="3112"/>
                    <a:pt x="1981" y="3086"/>
                    <a:pt x="1971" y="3059"/>
                  </a:cubicBezTo>
                  <a:cubicBezTo>
                    <a:pt x="1963" y="3029"/>
                    <a:pt x="1955" y="2998"/>
                    <a:pt x="1947" y="2967"/>
                  </a:cubicBezTo>
                  <a:cubicBezTo>
                    <a:pt x="1976" y="2955"/>
                    <a:pt x="2004" y="2943"/>
                    <a:pt x="2033" y="2930"/>
                  </a:cubicBezTo>
                  <a:cubicBezTo>
                    <a:pt x="2055" y="2912"/>
                    <a:pt x="2078" y="2894"/>
                    <a:pt x="2100" y="2876"/>
                  </a:cubicBezTo>
                  <a:cubicBezTo>
                    <a:pt x="2098" y="2841"/>
                    <a:pt x="2096" y="2806"/>
                    <a:pt x="2094" y="2772"/>
                  </a:cubicBezTo>
                  <a:cubicBezTo>
                    <a:pt x="2049" y="2743"/>
                    <a:pt x="2004" y="2714"/>
                    <a:pt x="1959" y="2686"/>
                  </a:cubicBezTo>
                  <a:cubicBezTo>
                    <a:pt x="1955" y="2629"/>
                    <a:pt x="1951" y="2572"/>
                    <a:pt x="1947" y="2515"/>
                  </a:cubicBezTo>
                  <a:cubicBezTo>
                    <a:pt x="1906" y="2480"/>
                    <a:pt x="1865" y="2445"/>
                    <a:pt x="1824" y="2411"/>
                  </a:cubicBezTo>
                  <a:cubicBezTo>
                    <a:pt x="1789" y="2425"/>
                    <a:pt x="1755" y="2439"/>
                    <a:pt x="1720" y="2453"/>
                  </a:cubicBezTo>
                  <a:cubicBezTo>
                    <a:pt x="1640" y="2422"/>
                    <a:pt x="1561" y="2392"/>
                    <a:pt x="1481" y="2362"/>
                  </a:cubicBezTo>
                  <a:cubicBezTo>
                    <a:pt x="1453" y="2372"/>
                    <a:pt x="1425" y="2382"/>
                    <a:pt x="1396" y="2392"/>
                  </a:cubicBezTo>
                  <a:cubicBezTo>
                    <a:pt x="1325" y="2363"/>
                    <a:pt x="1253" y="2334"/>
                    <a:pt x="1181" y="2306"/>
                  </a:cubicBezTo>
                  <a:cubicBezTo>
                    <a:pt x="1202" y="2275"/>
                    <a:pt x="1223" y="2245"/>
                    <a:pt x="1243" y="2215"/>
                  </a:cubicBezTo>
                  <a:cubicBezTo>
                    <a:pt x="1270" y="2215"/>
                    <a:pt x="1296" y="2215"/>
                    <a:pt x="1322" y="2215"/>
                  </a:cubicBezTo>
                  <a:cubicBezTo>
                    <a:pt x="1343" y="2180"/>
                    <a:pt x="1364" y="2145"/>
                    <a:pt x="1384" y="2111"/>
                  </a:cubicBezTo>
                  <a:cubicBezTo>
                    <a:pt x="1433" y="2084"/>
                    <a:pt x="1482" y="2057"/>
                    <a:pt x="1530" y="2031"/>
                  </a:cubicBezTo>
                  <a:cubicBezTo>
                    <a:pt x="1516" y="1994"/>
                    <a:pt x="1502" y="1957"/>
                    <a:pt x="1488" y="1921"/>
                  </a:cubicBezTo>
                  <a:cubicBezTo>
                    <a:pt x="1498" y="1898"/>
                    <a:pt x="1508" y="1875"/>
                    <a:pt x="1518" y="1853"/>
                  </a:cubicBezTo>
                  <a:cubicBezTo>
                    <a:pt x="1563" y="1853"/>
                    <a:pt x="1608" y="1853"/>
                    <a:pt x="1653" y="1853"/>
                  </a:cubicBezTo>
                  <a:cubicBezTo>
                    <a:pt x="1686" y="1836"/>
                    <a:pt x="1718" y="1820"/>
                    <a:pt x="1751" y="1804"/>
                  </a:cubicBezTo>
                  <a:cubicBezTo>
                    <a:pt x="1784" y="1828"/>
                    <a:pt x="1816" y="1853"/>
                    <a:pt x="1849" y="1878"/>
                  </a:cubicBezTo>
                  <a:cubicBezTo>
                    <a:pt x="1884" y="1876"/>
                    <a:pt x="1918" y="1874"/>
                    <a:pt x="1953" y="1872"/>
                  </a:cubicBezTo>
                  <a:cubicBezTo>
                    <a:pt x="1959" y="1886"/>
                    <a:pt x="1965" y="1900"/>
                    <a:pt x="1971" y="1915"/>
                  </a:cubicBezTo>
                  <a:cubicBezTo>
                    <a:pt x="1989" y="1915"/>
                    <a:pt x="2008" y="1915"/>
                    <a:pt x="2026" y="1915"/>
                  </a:cubicBezTo>
                  <a:cubicBezTo>
                    <a:pt x="2042" y="1925"/>
                    <a:pt x="2059" y="1935"/>
                    <a:pt x="2075" y="1945"/>
                  </a:cubicBezTo>
                  <a:cubicBezTo>
                    <a:pt x="2087" y="1977"/>
                    <a:pt x="2100" y="2010"/>
                    <a:pt x="2112" y="2043"/>
                  </a:cubicBezTo>
                  <a:cubicBezTo>
                    <a:pt x="2139" y="2057"/>
                    <a:pt x="2165" y="2071"/>
                    <a:pt x="2192" y="2086"/>
                  </a:cubicBezTo>
                  <a:cubicBezTo>
                    <a:pt x="2267" y="2106"/>
                    <a:pt x="2343" y="2126"/>
                    <a:pt x="2418" y="2147"/>
                  </a:cubicBezTo>
                  <a:cubicBezTo>
                    <a:pt x="2443" y="2075"/>
                    <a:pt x="2467" y="2004"/>
                    <a:pt x="2492" y="1933"/>
                  </a:cubicBezTo>
                  <a:cubicBezTo>
                    <a:pt x="2516" y="1971"/>
                    <a:pt x="2541" y="2010"/>
                    <a:pt x="2565" y="2049"/>
                  </a:cubicBezTo>
                  <a:cubicBezTo>
                    <a:pt x="2710" y="2006"/>
                    <a:pt x="2855" y="1963"/>
                    <a:pt x="3000" y="1921"/>
                  </a:cubicBezTo>
                  <a:cubicBezTo>
                    <a:pt x="3059" y="1919"/>
                    <a:pt x="3119" y="1917"/>
                    <a:pt x="3178" y="1915"/>
                  </a:cubicBezTo>
                  <a:cubicBezTo>
                    <a:pt x="3153" y="1874"/>
                    <a:pt x="3129" y="1833"/>
                    <a:pt x="3104" y="1792"/>
                  </a:cubicBezTo>
                  <a:cubicBezTo>
                    <a:pt x="3106" y="1730"/>
                    <a:pt x="3108" y="1669"/>
                    <a:pt x="3110" y="1608"/>
                  </a:cubicBezTo>
                  <a:cubicBezTo>
                    <a:pt x="3088" y="1583"/>
                    <a:pt x="3065" y="1559"/>
                    <a:pt x="3043" y="1535"/>
                  </a:cubicBezTo>
                  <a:cubicBezTo>
                    <a:pt x="3041" y="1516"/>
                    <a:pt x="3039" y="1498"/>
                    <a:pt x="3037" y="1480"/>
                  </a:cubicBezTo>
                  <a:cubicBezTo>
                    <a:pt x="3047" y="1457"/>
                    <a:pt x="3057" y="1435"/>
                    <a:pt x="3067" y="1413"/>
                  </a:cubicBezTo>
                  <a:cubicBezTo>
                    <a:pt x="3055" y="1390"/>
                    <a:pt x="3043" y="1367"/>
                    <a:pt x="3031" y="1345"/>
                  </a:cubicBezTo>
                  <a:cubicBezTo>
                    <a:pt x="2980" y="1308"/>
                    <a:pt x="2929" y="1271"/>
                    <a:pt x="2878" y="1235"/>
                  </a:cubicBezTo>
                  <a:cubicBezTo>
                    <a:pt x="2878" y="1222"/>
                    <a:pt x="2878" y="1210"/>
                    <a:pt x="2878" y="1198"/>
                  </a:cubicBezTo>
                  <a:cubicBezTo>
                    <a:pt x="2925" y="1188"/>
                    <a:pt x="2971" y="1178"/>
                    <a:pt x="3018" y="1168"/>
                  </a:cubicBezTo>
                  <a:cubicBezTo>
                    <a:pt x="3053" y="1127"/>
                    <a:pt x="3087" y="1086"/>
                    <a:pt x="3122" y="1045"/>
                  </a:cubicBezTo>
                  <a:cubicBezTo>
                    <a:pt x="3118" y="981"/>
                    <a:pt x="3114" y="918"/>
                    <a:pt x="3110" y="855"/>
                  </a:cubicBezTo>
                  <a:cubicBezTo>
                    <a:pt x="3120" y="820"/>
                    <a:pt x="3131" y="785"/>
                    <a:pt x="3141" y="751"/>
                  </a:cubicBezTo>
                  <a:cubicBezTo>
                    <a:pt x="3133" y="728"/>
                    <a:pt x="3124" y="706"/>
                    <a:pt x="3116" y="684"/>
                  </a:cubicBezTo>
                  <a:cubicBezTo>
                    <a:pt x="3163" y="616"/>
                    <a:pt x="3210" y="549"/>
                    <a:pt x="3257" y="482"/>
                  </a:cubicBezTo>
                  <a:cubicBezTo>
                    <a:pt x="3241" y="461"/>
                    <a:pt x="3224" y="441"/>
                    <a:pt x="3208" y="421"/>
                  </a:cubicBezTo>
                  <a:cubicBezTo>
                    <a:pt x="3149" y="418"/>
                    <a:pt x="3090" y="416"/>
                    <a:pt x="3031" y="414"/>
                  </a:cubicBezTo>
                  <a:cubicBezTo>
                    <a:pt x="3021" y="367"/>
                    <a:pt x="3010" y="320"/>
                    <a:pt x="3000" y="274"/>
                  </a:cubicBezTo>
                  <a:cubicBezTo>
                    <a:pt x="2998" y="227"/>
                    <a:pt x="2996" y="180"/>
                    <a:pt x="2994" y="133"/>
                  </a:cubicBezTo>
                  <a:cubicBezTo>
                    <a:pt x="2988" y="102"/>
                    <a:pt x="2982" y="71"/>
                    <a:pt x="2976" y="41"/>
                  </a:cubicBezTo>
                  <a:cubicBezTo>
                    <a:pt x="2965" y="27"/>
                    <a:pt x="2953" y="13"/>
                    <a:pt x="2942" y="0"/>
                  </a:cubicBezTo>
                  <a:cubicBezTo>
                    <a:pt x="2942" y="0"/>
                    <a:pt x="2942" y="0"/>
                    <a:pt x="2942" y="1"/>
                  </a:cubicBezTo>
                </a:path>
              </a:pathLst>
            </a:custGeom>
            <a:solidFill>
              <a:srgbClr val="EC6602"/>
            </a:solidFill>
            <a:ln w="635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89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1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62">
              <a:extLst>
                <a:ext uri="{FF2B5EF4-FFF2-40B4-BE49-F238E27FC236}">
                  <a16:creationId xmlns:a16="http://schemas.microsoft.com/office/drawing/2014/main" id="{526B2D08-CB81-5B5A-E7A2-D8AB18FA24E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0000">
              <a:off x="10789781" y="3870443"/>
              <a:ext cx="400849" cy="306667"/>
            </a:xfrm>
            <a:custGeom>
              <a:avLst/>
              <a:gdLst>
                <a:gd name="T0" fmla="*/ 309356 w 1542"/>
                <a:gd name="T1" fmla="*/ 14332 h 1183"/>
                <a:gd name="T2" fmla="*/ 279175 w 1542"/>
                <a:gd name="T3" fmla="*/ 21139 h 1183"/>
                <a:gd name="T4" fmla="*/ 274145 w 1542"/>
                <a:gd name="T5" fmla="*/ 53028 h 1183"/>
                <a:gd name="T6" fmla="*/ 264084 w 1542"/>
                <a:gd name="T7" fmla="*/ 85633 h 1183"/>
                <a:gd name="T8" fmla="*/ 228514 w 1542"/>
                <a:gd name="T9" fmla="*/ 73809 h 1183"/>
                <a:gd name="T10" fmla="*/ 196536 w 1542"/>
                <a:gd name="T11" fmla="*/ 93157 h 1183"/>
                <a:gd name="T12" fmla="*/ 152342 w 1542"/>
                <a:gd name="T13" fmla="*/ 112146 h 1183"/>
                <a:gd name="T14" fmla="*/ 138330 w 1542"/>
                <a:gd name="T15" fmla="*/ 136869 h 1183"/>
                <a:gd name="T16" fmla="*/ 117131 w 1542"/>
                <a:gd name="T17" fmla="*/ 158725 h 1183"/>
                <a:gd name="T18" fmla="*/ 84794 w 1542"/>
                <a:gd name="T19" fmla="*/ 165174 h 1183"/>
                <a:gd name="T20" fmla="*/ 48146 w 1542"/>
                <a:gd name="T21" fmla="*/ 124328 h 1183"/>
                <a:gd name="T22" fmla="*/ 26229 w 1542"/>
                <a:gd name="T23" fmla="*/ 157650 h 1183"/>
                <a:gd name="T24" fmla="*/ 18684 w 1542"/>
                <a:gd name="T25" fmla="*/ 199570 h 1183"/>
                <a:gd name="T26" fmla="*/ 38804 w 1542"/>
                <a:gd name="T27" fmla="*/ 226084 h 1183"/>
                <a:gd name="T28" fmla="*/ 37367 w 1542"/>
                <a:gd name="T29" fmla="*/ 261555 h 1183"/>
                <a:gd name="T30" fmla="*/ 16528 w 1542"/>
                <a:gd name="T31" fmla="*/ 297385 h 1183"/>
                <a:gd name="T32" fmla="*/ 38086 w 1542"/>
                <a:gd name="T33" fmla="*/ 341813 h 1183"/>
                <a:gd name="T34" fmla="*/ 49942 w 1542"/>
                <a:gd name="T35" fmla="*/ 359370 h 1183"/>
                <a:gd name="T36" fmla="*/ 83717 w 1542"/>
                <a:gd name="T37" fmla="*/ 377643 h 1183"/>
                <a:gd name="T38" fmla="*/ 53176 w 1542"/>
                <a:gd name="T39" fmla="*/ 402007 h 1183"/>
                <a:gd name="T40" fmla="*/ 120365 w 1542"/>
                <a:gd name="T41" fmla="*/ 388033 h 1183"/>
                <a:gd name="T42" fmla="*/ 168511 w 1542"/>
                <a:gd name="T43" fmla="*/ 403798 h 1183"/>
                <a:gd name="T44" fmla="*/ 195099 w 1542"/>
                <a:gd name="T45" fmla="*/ 398782 h 1183"/>
                <a:gd name="T46" fmla="*/ 240371 w 1542"/>
                <a:gd name="T47" fmla="*/ 389108 h 1183"/>
                <a:gd name="T48" fmla="*/ 308637 w 1542"/>
                <a:gd name="T49" fmla="*/ 409173 h 1183"/>
                <a:gd name="T50" fmla="*/ 344926 w 1542"/>
                <a:gd name="T51" fmla="*/ 410606 h 1183"/>
                <a:gd name="T52" fmla="*/ 351753 w 1542"/>
                <a:gd name="T53" fmla="*/ 376926 h 1183"/>
                <a:gd name="T54" fmla="*/ 406007 w 1542"/>
                <a:gd name="T55" fmla="*/ 348263 h 1183"/>
                <a:gd name="T56" fmla="*/ 442296 w 1542"/>
                <a:gd name="T57" fmla="*/ 337872 h 1183"/>
                <a:gd name="T58" fmla="*/ 509126 w 1542"/>
                <a:gd name="T59" fmla="*/ 367969 h 1183"/>
                <a:gd name="T60" fmla="*/ 540744 w 1542"/>
                <a:gd name="T61" fmla="*/ 342172 h 1183"/>
                <a:gd name="T62" fmla="*/ 520264 w 1542"/>
                <a:gd name="T63" fmla="*/ 325332 h 1183"/>
                <a:gd name="T64" fmla="*/ 503018 w 1542"/>
                <a:gd name="T65" fmla="*/ 297743 h 1183"/>
                <a:gd name="T66" fmla="*/ 492239 w 1542"/>
                <a:gd name="T67" fmla="*/ 281620 h 1183"/>
                <a:gd name="T68" fmla="*/ 496550 w 1542"/>
                <a:gd name="T69" fmla="*/ 233250 h 1183"/>
                <a:gd name="T70" fmla="*/ 512359 w 1542"/>
                <a:gd name="T71" fmla="*/ 171265 h 1183"/>
                <a:gd name="T72" fmla="*/ 503736 w 1542"/>
                <a:gd name="T73" fmla="*/ 123253 h 1183"/>
                <a:gd name="T74" fmla="*/ 459543 w 1542"/>
                <a:gd name="T75" fmla="*/ 113221 h 1183"/>
                <a:gd name="T76" fmla="*/ 455231 w 1542"/>
                <a:gd name="T77" fmla="*/ 73809 h 1183"/>
                <a:gd name="T78" fmla="*/ 418223 w 1542"/>
                <a:gd name="T79" fmla="*/ 86349 h 1183"/>
                <a:gd name="T80" fmla="*/ 360017 w 1542"/>
                <a:gd name="T81" fmla="*/ 64135 h 1183"/>
                <a:gd name="T82" fmla="*/ 347441 w 1542"/>
                <a:gd name="T83" fmla="*/ 10032 h 118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542" h="1183">
                  <a:moveTo>
                    <a:pt x="933" y="8"/>
                  </a:moveTo>
                  <a:cubicBezTo>
                    <a:pt x="907" y="10"/>
                    <a:pt x="875" y="16"/>
                    <a:pt x="861" y="40"/>
                  </a:cubicBezTo>
                  <a:cubicBezTo>
                    <a:pt x="835" y="47"/>
                    <a:pt x="827" y="0"/>
                    <a:pt x="813" y="17"/>
                  </a:cubicBezTo>
                  <a:cubicBezTo>
                    <a:pt x="806" y="33"/>
                    <a:pt x="767" y="31"/>
                    <a:pt x="777" y="59"/>
                  </a:cubicBezTo>
                  <a:cubicBezTo>
                    <a:pt x="790" y="76"/>
                    <a:pt x="783" y="97"/>
                    <a:pt x="790" y="113"/>
                  </a:cubicBezTo>
                  <a:cubicBezTo>
                    <a:pt x="809" y="140"/>
                    <a:pt x="755" y="114"/>
                    <a:pt x="763" y="148"/>
                  </a:cubicBezTo>
                  <a:cubicBezTo>
                    <a:pt x="751" y="164"/>
                    <a:pt x="792" y="200"/>
                    <a:pt x="763" y="203"/>
                  </a:cubicBezTo>
                  <a:cubicBezTo>
                    <a:pt x="733" y="197"/>
                    <a:pt x="727" y="222"/>
                    <a:pt x="735" y="239"/>
                  </a:cubicBezTo>
                  <a:cubicBezTo>
                    <a:pt x="716" y="251"/>
                    <a:pt x="696" y="222"/>
                    <a:pt x="674" y="227"/>
                  </a:cubicBezTo>
                  <a:cubicBezTo>
                    <a:pt x="684" y="198"/>
                    <a:pt x="615" y="181"/>
                    <a:pt x="636" y="206"/>
                  </a:cubicBezTo>
                  <a:cubicBezTo>
                    <a:pt x="655" y="229"/>
                    <a:pt x="607" y="232"/>
                    <a:pt x="594" y="245"/>
                  </a:cubicBezTo>
                  <a:cubicBezTo>
                    <a:pt x="586" y="265"/>
                    <a:pt x="569" y="269"/>
                    <a:pt x="547" y="260"/>
                  </a:cubicBezTo>
                  <a:cubicBezTo>
                    <a:pt x="535" y="276"/>
                    <a:pt x="500" y="309"/>
                    <a:pt x="476" y="288"/>
                  </a:cubicBezTo>
                  <a:cubicBezTo>
                    <a:pt x="456" y="286"/>
                    <a:pt x="433" y="296"/>
                    <a:pt x="424" y="313"/>
                  </a:cubicBezTo>
                  <a:cubicBezTo>
                    <a:pt x="407" y="330"/>
                    <a:pt x="473" y="323"/>
                    <a:pt x="442" y="348"/>
                  </a:cubicBezTo>
                  <a:cubicBezTo>
                    <a:pt x="415" y="361"/>
                    <a:pt x="420" y="386"/>
                    <a:pt x="385" y="382"/>
                  </a:cubicBezTo>
                  <a:cubicBezTo>
                    <a:pt x="372" y="383"/>
                    <a:pt x="317" y="394"/>
                    <a:pt x="357" y="398"/>
                  </a:cubicBezTo>
                  <a:cubicBezTo>
                    <a:pt x="350" y="415"/>
                    <a:pt x="343" y="429"/>
                    <a:pt x="326" y="443"/>
                  </a:cubicBezTo>
                  <a:cubicBezTo>
                    <a:pt x="298" y="436"/>
                    <a:pt x="321" y="482"/>
                    <a:pt x="292" y="474"/>
                  </a:cubicBezTo>
                  <a:cubicBezTo>
                    <a:pt x="273" y="482"/>
                    <a:pt x="247" y="488"/>
                    <a:pt x="236" y="461"/>
                  </a:cubicBezTo>
                  <a:cubicBezTo>
                    <a:pt x="250" y="438"/>
                    <a:pt x="241" y="417"/>
                    <a:pt x="215" y="416"/>
                  </a:cubicBezTo>
                  <a:cubicBezTo>
                    <a:pt x="191" y="389"/>
                    <a:pt x="167" y="363"/>
                    <a:pt x="134" y="347"/>
                  </a:cubicBezTo>
                  <a:cubicBezTo>
                    <a:pt x="111" y="323"/>
                    <a:pt x="112" y="365"/>
                    <a:pt x="101" y="378"/>
                  </a:cubicBezTo>
                  <a:cubicBezTo>
                    <a:pt x="93" y="401"/>
                    <a:pt x="78" y="417"/>
                    <a:pt x="73" y="440"/>
                  </a:cubicBezTo>
                  <a:cubicBezTo>
                    <a:pt x="66" y="469"/>
                    <a:pt x="59" y="507"/>
                    <a:pt x="88" y="527"/>
                  </a:cubicBezTo>
                  <a:cubicBezTo>
                    <a:pt x="91" y="541"/>
                    <a:pt x="66" y="538"/>
                    <a:pt x="52" y="557"/>
                  </a:cubicBezTo>
                  <a:cubicBezTo>
                    <a:pt x="6" y="584"/>
                    <a:pt x="89" y="553"/>
                    <a:pt x="91" y="580"/>
                  </a:cubicBezTo>
                  <a:cubicBezTo>
                    <a:pt x="55" y="578"/>
                    <a:pt x="83" y="646"/>
                    <a:pt x="108" y="631"/>
                  </a:cubicBezTo>
                  <a:cubicBezTo>
                    <a:pt x="141" y="641"/>
                    <a:pt x="119" y="655"/>
                    <a:pt x="102" y="673"/>
                  </a:cubicBezTo>
                  <a:cubicBezTo>
                    <a:pt x="124" y="690"/>
                    <a:pt x="112" y="708"/>
                    <a:pt x="104" y="730"/>
                  </a:cubicBezTo>
                  <a:cubicBezTo>
                    <a:pt x="100" y="748"/>
                    <a:pt x="103" y="777"/>
                    <a:pt x="86" y="787"/>
                  </a:cubicBezTo>
                  <a:cubicBezTo>
                    <a:pt x="78" y="803"/>
                    <a:pt x="57" y="816"/>
                    <a:pt x="46" y="830"/>
                  </a:cubicBezTo>
                  <a:cubicBezTo>
                    <a:pt x="45" y="857"/>
                    <a:pt x="0" y="880"/>
                    <a:pt x="60" y="884"/>
                  </a:cubicBezTo>
                  <a:cubicBezTo>
                    <a:pt x="96" y="898"/>
                    <a:pt x="63" y="976"/>
                    <a:pt x="106" y="954"/>
                  </a:cubicBezTo>
                  <a:cubicBezTo>
                    <a:pt x="132" y="958"/>
                    <a:pt x="159" y="961"/>
                    <a:pt x="185" y="963"/>
                  </a:cubicBezTo>
                  <a:cubicBezTo>
                    <a:pt x="183" y="990"/>
                    <a:pt x="107" y="970"/>
                    <a:pt x="139" y="1003"/>
                  </a:cubicBezTo>
                  <a:cubicBezTo>
                    <a:pt x="143" y="1027"/>
                    <a:pt x="170" y="1040"/>
                    <a:pt x="170" y="1064"/>
                  </a:cubicBezTo>
                  <a:cubicBezTo>
                    <a:pt x="191" y="1060"/>
                    <a:pt x="212" y="1058"/>
                    <a:pt x="233" y="1054"/>
                  </a:cubicBezTo>
                  <a:cubicBezTo>
                    <a:pt x="244" y="1075"/>
                    <a:pt x="231" y="1089"/>
                    <a:pt x="207" y="1094"/>
                  </a:cubicBezTo>
                  <a:cubicBezTo>
                    <a:pt x="187" y="1104"/>
                    <a:pt x="159" y="1098"/>
                    <a:pt x="148" y="1122"/>
                  </a:cubicBezTo>
                  <a:cubicBezTo>
                    <a:pt x="167" y="1136"/>
                    <a:pt x="190" y="1119"/>
                    <a:pt x="209" y="1109"/>
                  </a:cubicBezTo>
                  <a:cubicBezTo>
                    <a:pt x="245" y="1073"/>
                    <a:pt x="300" y="1114"/>
                    <a:pt x="335" y="1083"/>
                  </a:cubicBezTo>
                  <a:cubicBezTo>
                    <a:pt x="370" y="1050"/>
                    <a:pt x="404" y="1111"/>
                    <a:pt x="427" y="1094"/>
                  </a:cubicBezTo>
                  <a:cubicBezTo>
                    <a:pt x="450" y="1100"/>
                    <a:pt x="475" y="1094"/>
                    <a:pt x="469" y="1127"/>
                  </a:cubicBezTo>
                  <a:cubicBezTo>
                    <a:pt x="481" y="1137"/>
                    <a:pt x="514" y="1178"/>
                    <a:pt x="516" y="1147"/>
                  </a:cubicBezTo>
                  <a:cubicBezTo>
                    <a:pt x="518" y="1109"/>
                    <a:pt x="538" y="1144"/>
                    <a:pt x="543" y="1113"/>
                  </a:cubicBezTo>
                  <a:cubicBezTo>
                    <a:pt x="552" y="1095"/>
                    <a:pt x="557" y="1064"/>
                    <a:pt x="571" y="1054"/>
                  </a:cubicBezTo>
                  <a:cubicBezTo>
                    <a:pt x="603" y="1068"/>
                    <a:pt x="638" y="1072"/>
                    <a:pt x="669" y="1086"/>
                  </a:cubicBezTo>
                  <a:cubicBezTo>
                    <a:pt x="698" y="1107"/>
                    <a:pt x="738" y="1107"/>
                    <a:pt x="772" y="1118"/>
                  </a:cubicBezTo>
                  <a:cubicBezTo>
                    <a:pt x="804" y="1113"/>
                    <a:pt x="827" y="1140"/>
                    <a:pt x="859" y="1142"/>
                  </a:cubicBezTo>
                  <a:cubicBezTo>
                    <a:pt x="878" y="1153"/>
                    <a:pt x="887" y="1182"/>
                    <a:pt x="901" y="1151"/>
                  </a:cubicBezTo>
                  <a:cubicBezTo>
                    <a:pt x="928" y="1163"/>
                    <a:pt x="935" y="1122"/>
                    <a:pt x="960" y="1146"/>
                  </a:cubicBezTo>
                  <a:cubicBezTo>
                    <a:pt x="999" y="1161"/>
                    <a:pt x="983" y="1141"/>
                    <a:pt x="978" y="1115"/>
                  </a:cubicBezTo>
                  <a:cubicBezTo>
                    <a:pt x="985" y="1096"/>
                    <a:pt x="957" y="1060"/>
                    <a:pt x="979" y="1052"/>
                  </a:cubicBezTo>
                  <a:cubicBezTo>
                    <a:pt x="1019" y="1052"/>
                    <a:pt x="1059" y="1058"/>
                    <a:pt x="1082" y="1021"/>
                  </a:cubicBezTo>
                  <a:cubicBezTo>
                    <a:pt x="1102" y="1009"/>
                    <a:pt x="1109" y="986"/>
                    <a:pt x="1130" y="972"/>
                  </a:cubicBezTo>
                  <a:cubicBezTo>
                    <a:pt x="1144" y="949"/>
                    <a:pt x="1149" y="937"/>
                    <a:pt x="1179" y="952"/>
                  </a:cubicBezTo>
                  <a:cubicBezTo>
                    <a:pt x="1197" y="934"/>
                    <a:pt x="1208" y="936"/>
                    <a:pt x="1231" y="943"/>
                  </a:cubicBezTo>
                  <a:cubicBezTo>
                    <a:pt x="1255" y="934"/>
                    <a:pt x="1285" y="921"/>
                    <a:pt x="1307" y="943"/>
                  </a:cubicBezTo>
                  <a:cubicBezTo>
                    <a:pt x="1350" y="963"/>
                    <a:pt x="1367" y="1019"/>
                    <a:pt x="1417" y="1027"/>
                  </a:cubicBezTo>
                  <a:cubicBezTo>
                    <a:pt x="1456" y="1032"/>
                    <a:pt x="1541" y="1098"/>
                    <a:pt x="1517" y="1016"/>
                  </a:cubicBezTo>
                  <a:cubicBezTo>
                    <a:pt x="1529" y="1000"/>
                    <a:pt x="1522" y="969"/>
                    <a:pt x="1505" y="955"/>
                  </a:cubicBezTo>
                  <a:cubicBezTo>
                    <a:pt x="1520" y="941"/>
                    <a:pt x="1519" y="904"/>
                    <a:pt x="1491" y="909"/>
                  </a:cubicBezTo>
                  <a:cubicBezTo>
                    <a:pt x="1470" y="920"/>
                    <a:pt x="1454" y="933"/>
                    <a:pt x="1448" y="908"/>
                  </a:cubicBezTo>
                  <a:cubicBezTo>
                    <a:pt x="1435" y="939"/>
                    <a:pt x="1416" y="903"/>
                    <a:pt x="1416" y="893"/>
                  </a:cubicBezTo>
                  <a:cubicBezTo>
                    <a:pt x="1379" y="873"/>
                    <a:pt x="1443" y="835"/>
                    <a:pt x="1400" y="831"/>
                  </a:cubicBezTo>
                  <a:cubicBezTo>
                    <a:pt x="1413" y="854"/>
                    <a:pt x="1370" y="872"/>
                    <a:pt x="1365" y="845"/>
                  </a:cubicBezTo>
                  <a:cubicBezTo>
                    <a:pt x="1359" y="822"/>
                    <a:pt x="1383" y="802"/>
                    <a:pt x="1370" y="786"/>
                  </a:cubicBezTo>
                  <a:cubicBezTo>
                    <a:pt x="1380" y="762"/>
                    <a:pt x="1383" y="739"/>
                    <a:pt x="1372" y="715"/>
                  </a:cubicBezTo>
                  <a:cubicBezTo>
                    <a:pt x="1363" y="692"/>
                    <a:pt x="1368" y="671"/>
                    <a:pt x="1382" y="651"/>
                  </a:cubicBezTo>
                  <a:cubicBezTo>
                    <a:pt x="1393" y="627"/>
                    <a:pt x="1406" y="604"/>
                    <a:pt x="1403" y="576"/>
                  </a:cubicBezTo>
                  <a:cubicBezTo>
                    <a:pt x="1407" y="543"/>
                    <a:pt x="1412" y="510"/>
                    <a:pt x="1426" y="478"/>
                  </a:cubicBezTo>
                  <a:cubicBezTo>
                    <a:pt x="1402" y="479"/>
                    <a:pt x="1402" y="456"/>
                    <a:pt x="1374" y="457"/>
                  </a:cubicBezTo>
                  <a:cubicBezTo>
                    <a:pt x="1382" y="419"/>
                    <a:pt x="1398" y="383"/>
                    <a:pt x="1402" y="344"/>
                  </a:cubicBezTo>
                  <a:cubicBezTo>
                    <a:pt x="1380" y="335"/>
                    <a:pt x="1360" y="345"/>
                    <a:pt x="1339" y="347"/>
                  </a:cubicBezTo>
                  <a:cubicBezTo>
                    <a:pt x="1310" y="351"/>
                    <a:pt x="1303" y="324"/>
                    <a:pt x="1279" y="316"/>
                  </a:cubicBezTo>
                  <a:cubicBezTo>
                    <a:pt x="1280" y="292"/>
                    <a:pt x="1245" y="285"/>
                    <a:pt x="1266" y="261"/>
                  </a:cubicBezTo>
                  <a:cubicBezTo>
                    <a:pt x="1275" y="242"/>
                    <a:pt x="1298" y="217"/>
                    <a:pt x="1267" y="206"/>
                  </a:cubicBezTo>
                  <a:cubicBezTo>
                    <a:pt x="1235" y="186"/>
                    <a:pt x="1197" y="173"/>
                    <a:pt x="1159" y="178"/>
                  </a:cubicBezTo>
                  <a:cubicBezTo>
                    <a:pt x="1151" y="194"/>
                    <a:pt x="1165" y="221"/>
                    <a:pt x="1164" y="241"/>
                  </a:cubicBezTo>
                  <a:cubicBezTo>
                    <a:pt x="1168" y="259"/>
                    <a:pt x="1152" y="300"/>
                    <a:pt x="1133" y="273"/>
                  </a:cubicBezTo>
                  <a:cubicBezTo>
                    <a:pt x="1090" y="241"/>
                    <a:pt x="1046" y="210"/>
                    <a:pt x="1002" y="179"/>
                  </a:cubicBezTo>
                  <a:cubicBezTo>
                    <a:pt x="998" y="148"/>
                    <a:pt x="1011" y="113"/>
                    <a:pt x="992" y="85"/>
                  </a:cubicBezTo>
                  <a:cubicBezTo>
                    <a:pt x="992" y="62"/>
                    <a:pt x="995" y="37"/>
                    <a:pt x="967" y="28"/>
                  </a:cubicBezTo>
                  <a:cubicBezTo>
                    <a:pt x="957" y="20"/>
                    <a:pt x="945" y="15"/>
                    <a:pt x="933" y="8"/>
                  </a:cubicBezTo>
                </a:path>
              </a:pathLst>
            </a:custGeom>
            <a:solidFill>
              <a:srgbClr val="EC6602"/>
            </a:solidFill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89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1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8" name="Rechteck 37">
            <a:extLst>
              <a:ext uri="{FF2B5EF4-FFF2-40B4-BE49-F238E27FC236}">
                <a16:creationId xmlns:a16="http://schemas.microsoft.com/office/drawing/2014/main" id="{66FCF108-A51F-6628-64D7-9265A359A63C}"/>
              </a:ext>
            </a:extLst>
          </p:cNvPr>
          <p:cNvSpPr>
            <a:spLocks/>
          </p:cNvSpPr>
          <p:nvPr/>
        </p:nvSpPr>
        <p:spPr>
          <a:xfrm>
            <a:off x="753628" y="1826246"/>
            <a:ext cx="2201842" cy="906229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tlCol="0" anchor="t"/>
          <a:lstStyle/>
          <a:p>
            <a:pPr algn="l"/>
            <a:endParaRPr lang="de-DE" sz="1200" b="1">
              <a:solidFill>
                <a:schemeClr val="tx1"/>
              </a:solidFill>
            </a:endParaRP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A15A96B1-DED7-2A71-9C28-DDDC05D748A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695" y="1928411"/>
            <a:ext cx="1402018" cy="701900"/>
          </a:xfrm>
          <a:prstGeom prst="rect">
            <a:avLst/>
          </a:prstGeom>
        </p:spPr>
      </p:pic>
      <p:sp>
        <p:nvSpPr>
          <p:cNvPr id="318" name="Ellipse 317">
            <a:extLst>
              <a:ext uri="{FF2B5EF4-FFF2-40B4-BE49-F238E27FC236}">
                <a16:creationId xmlns:a16="http://schemas.microsoft.com/office/drawing/2014/main" id="{D5BC3B51-5C46-8862-D819-BDFF1319052E}"/>
              </a:ext>
            </a:extLst>
          </p:cNvPr>
          <p:cNvSpPr>
            <a:spLocks/>
          </p:cNvSpPr>
          <p:nvPr/>
        </p:nvSpPr>
        <p:spPr>
          <a:xfrm>
            <a:off x="3816995" y="2079335"/>
            <a:ext cx="114300" cy="1143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9" name="Ellipse 318">
            <a:extLst>
              <a:ext uri="{FF2B5EF4-FFF2-40B4-BE49-F238E27FC236}">
                <a16:creationId xmlns:a16="http://schemas.microsoft.com/office/drawing/2014/main" id="{CC50225E-55D3-440D-5E23-3231AF93FFCF}"/>
              </a:ext>
            </a:extLst>
          </p:cNvPr>
          <p:cNvSpPr>
            <a:spLocks/>
          </p:cNvSpPr>
          <p:nvPr/>
        </p:nvSpPr>
        <p:spPr>
          <a:xfrm>
            <a:off x="5023809" y="2079335"/>
            <a:ext cx="114300" cy="1143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0" name="Ellipse 319">
            <a:extLst>
              <a:ext uri="{FF2B5EF4-FFF2-40B4-BE49-F238E27FC236}">
                <a16:creationId xmlns:a16="http://schemas.microsoft.com/office/drawing/2014/main" id="{B4CEE243-B100-3FD5-8FAF-0016B7572A64}"/>
              </a:ext>
            </a:extLst>
          </p:cNvPr>
          <p:cNvSpPr>
            <a:spLocks/>
          </p:cNvSpPr>
          <p:nvPr/>
        </p:nvSpPr>
        <p:spPr>
          <a:xfrm>
            <a:off x="6230623" y="2079335"/>
            <a:ext cx="114300" cy="1143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1" name="Ellipse 320">
            <a:extLst>
              <a:ext uri="{FF2B5EF4-FFF2-40B4-BE49-F238E27FC236}">
                <a16:creationId xmlns:a16="http://schemas.microsoft.com/office/drawing/2014/main" id="{FA701BB5-8ABE-24F5-F954-6F271A30D76D}"/>
              </a:ext>
            </a:extLst>
          </p:cNvPr>
          <p:cNvSpPr>
            <a:spLocks/>
          </p:cNvSpPr>
          <p:nvPr/>
        </p:nvSpPr>
        <p:spPr>
          <a:xfrm>
            <a:off x="7437437" y="2079335"/>
            <a:ext cx="114300" cy="1143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2" name="Ellipse 321">
            <a:extLst>
              <a:ext uri="{FF2B5EF4-FFF2-40B4-BE49-F238E27FC236}">
                <a16:creationId xmlns:a16="http://schemas.microsoft.com/office/drawing/2014/main" id="{7D12D263-BA77-FEE1-6F21-8D57A0590DD0}"/>
              </a:ext>
            </a:extLst>
          </p:cNvPr>
          <p:cNvSpPr>
            <a:spLocks/>
          </p:cNvSpPr>
          <p:nvPr/>
        </p:nvSpPr>
        <p:spPr>
          <a:xfrm>
            <a:off x="8644251" y="2079335"/>
            <a:ext cx="114300" cy="1143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3" name="Ellipse 322">
            <a:extLst>
              <a:ext uri="{FF2B5EF4-FFF2-40B4-BE49-F238E27FC236}">
                <a16:creationId xmlns:a16="http://schemas.microsoft.com/office/drawing/2014/main" id="{AECDE5DE-26D5-7543-82F5-A4F82DEEAB4B}"/>
              </a:ext>
            </a:extLst>
          </p:cNvPr>
          <p:cNvSpPr>
            <a:spLocks/>
          </p:cNvSpPr>
          <p:nvPr/>
        </p:nvSpPr>
        <p:spPr>
          <a:xfrm>
            <a:off x="9851065" y="2079335"/>
            <a:ext cx="114300" cy="1143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4" name="Ellipse 323">
            <a:extLst>
              <a:ext uri="{FF2B5EF4-FFF2-40B4-BE49-F238E27FC236}">
                <a16:creationId xmlns:a16="http://schemas.microsoft.com/office/drawing/2014/main" id="{56403B44-5BCC-132D-CC0B-F5882F54AC52}"/>
              </a:ext>
            </a:extLst>
          </p:cNvPr>
          <p:cNvSpPr>
            <a:spLocks/>
          </p:cNvSpPr>
          <p:nvPr/>
        </p:nvSpPr>
        <p:spPr>
          <a:xfrm>
            <a:off x="11057879" y="2079335"/>
            <a:ext cx="114300" cy="1143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5" name="TextBox 419">
            <a:extLst>
              <a:ext uri="{FF2B5EF4-FFF2-40B4-BE49-F238E27FC236}">
                <a16:creationId xmlns:a16="http://schemas.microsoft.com/office/drawing/2014/main" id="{9AAF5A13-9EAB-46A5-EA96-27F614560BD5}"/>
              </a:ext>
            </a:extLst>
          </p:cNvPr>
          <p:cNvSpPr txBox="1">
            <a:spLocks/>
          </p:cNvSpPr>
          <p:nvPr/>
        </p:nvSpPr>
        <p:spPr>
          <a:xfrm>
            <a:off x="5774367" y="1757078"/>
            <a:ext cx="102681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>
                <a:latin typeface="Calibri"/>
                <a:cs typeface="Calibri"/>
              </a:rPr>
              <a:t>271</a:t>
            </a:r>
            <a:endParaRPr lang="de-DE" sz="1600" b="1" i="0" u="none" strike="noStrike" kern="1200" cap="none" spc="0" normalizeH="0" baseline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326" name="TextBox 419">
            <a:extLst>
              <a:ext uri="{FF2B5EF4-FFF2-40B4-BE49-F238E27FC236}">
                <a16:creationId xmlns:a16="http://schemas.microsoft.com/office/drawing/2014/main" id="{3F48194E-2AF7-47FE-BF98-D05054A40874}"/>
              </a:ext>
            </a:extLst>
          </p:cNvPr>
          <p:cNvSpPr txBox="1">
            <a:spLocks/>
          </p:cNvSpPr>
          <p:nvPr/>
        </p:nvSpPr>
        <p:spPr>
          <a:xfrm>
            <a:off x="5774367" y="2262379"/>
            <a:ext cx="1026814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>
                <a:latin typeface="Calibri"/>
              </a:rPr>
              <a:t>Krankenhäuser</a:t>
            </a:r>
            <a:endParaRPr kumimoji="0" lang="de-DE" sz="1200" i="0" u="none" strike="noStrike" kern="1200" cap="none" spc="0" normalizeH="0" baseline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7" name="TextBox 426">
            <a:extLst>
              <a:ext uri="{FF2B5EF4-FFF2-40B4-BE49-F238E27FC236}">
                <a16:creationId xmlns:a16="http://schemas.microsoft.com/office/drawing/2014/main" id="{8FBEC3DF-5108-87B5-823F-44969E785647}"/>
              </a:ext>
            </a:extLst>
          </p:cNvPr>
          <p:cNvSpPr txBox="1">
            <a:spLocks/>
          </p:cNvSpPr>
          <p:nvPr/>
        </p:nvSpPr>
        <p:spPr>
          <a:xfrm>
            <a:off x="3360738" y="1757078"/>
            <a:ext cx="102681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>
                <a:latin typeface="Calibri"/>
              </a:rPr>
              <a:t>24.000</a:t>
            </a:r>
            <a:endParaRPr lang="de-DE" sz="1600" b="1" i="0" u="none" strike="noStrike" kern="1200" cap="none" spc="0" normalizeH="0" baseline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328" name="TextBox 426">
            <a:extLst>
              <a:ext uri="{FF2B5EF4-FFF2-40B4-BE49-F238E27FC236}">
                <a16:creationId xmlns:a16="http://schemas.microsoft.com/office/drawing/2014/main" id="{F63419DA-85CA-E36C-E6A0-BCC46C2FF17D}"/>
              </a:ext>
            </a:extLst>
          </p:cNvPr>
          <p:cNvSpPr txBox="1">
            <a:spLocks/>
          </p:cNvSpPr>
          <p:nvPr/>
        </p:nvSpPr>
        <p:spPr>
          <a:xfrm>
            <a:off x="3360738" y="2262379"/>
            <a:ext cx="1026814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Ärztepersonal</a:t>
            </a:r>
          </a:p>
        </p:txBody>
      </p:sp>
      <p:sp>
        <p:nvSpPr>
          <p:cNvPr id="329" name="TextBox 429">
            <a:extLst>
              <a:ext uri="{FF2B5EF4-FFF2-40B4-BE49-F238E27FC236}">
                <a16:creationId xmlns:a16="http://schemas.microsoft.com/office/drawing/2014/main" id="{9B17788F-0EED-C0D6-3B8D-7FB1908A49B7}"/>
              </a:ext>
            </a:extLst>
          </p:cNvPr>
          <p:cNvSpPr txBox="1">
            <a:spLocks/>
          </p:cNvSpPr>
          <p:nvPr/>
        </p:nvSpPr>
        <p:spPr>
          <a:xfrm>
            <a:off x="10601622" y="1757078"/>
            <a:ext cx="102681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2.200</a:t>
            </a:r>
          </a:p>
        </p:txBody>
      </p:sp>
      <p:sp>
        <p:nvSpPr>
          <p:cNvPr id="330" name="TextBox 429">
            <a:extLst>
              <a:ext uri="{FF2B5EF4-FFF2-40B4-BE49-F238E27FC236}">
                <a16:creationId xmlns:a16="http://schemas.microsoft.com/office/drawing/2014/main" id="{7BB6FD91-2AA6-6384-DAB1-2F5C41CB655E}"/>
              </a:ext>
            </a:extLst>
          </p:cNvPr>
          <p:cNvSpPr txBox="1">
            <a:spLocks/>
          </p:cNvSpPr>
          <p:nvPr/>
        </p:nvSpPr>
        <p:spPr>
          <a:xfrm>
            <a:off x="10601622" y="2262379"/>
            <a:ext cx="1026814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Apotheken</a:t>
            </a:r>
          </a:p>
        </p:txBody>
      </p:sp>
      <p:sp>
        <p:nvSpPr>
          <p:cNvPr id="331" name="TextBox 432">
            <a:extLst>
              <a:ext uri="{FF2B5EF4-FFF2-40B4-BE49-F238E27FC236}">
                <a16:creationId xmlns:a16="http://schemas.microsoft.com/office/drawing/2014/main" id="{9F8DC493-2E92-E3C2-7F9D-031D8E387997}"/>
              </a:ext>
            </a:extLst>
          </p:cNvPr>
          <p:cNvSpPr txBox="1">
            <a:spLocks/>
          </p:cNvSpPr>
          <p:nvPr/>
        </p:nvSpPr>
        <p:spPr>
          <a:xfrm>
            <a:off x="6981181" y="1757078"/>
            <a:ext cx="102681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>
                <a:latin typeface="Calibri"/>
                <a:cs typeface="Calibri"/>
              </a:rPr>
              <a:t>9</a:t>
            </a:r>
            <a:endParaRPr kumimoji="0" lang="de-DE" sz="1600" b="1" i="0" u="none" strike="noStrike" kern="1200" cap="none" spc="0" normalizeH="0" baseline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2" name="TextBox 432">
            <a:extLst>
              <a:ext uri="{FF2B5EF4-FFF2-40B4-BE49-F238E27FC236}">
                <a16:creationId xmlns:a16="http://schemas.microsoft.com/office/drawing/2014/main" id="{6EAEE231-7320-461A-33A6-AF59236F1162}"/>
              </a:ext>
            </a:extLst>
          </p:cNvPr>
          <p:cNvSpPr txBox="1">
            <a:spLocks/>
          </p:cNvSpPr>
          <p:nvPr/>
        </p:nvSpPr>
        <p:spPr>
          <a:xfrm>
            <a:off x="6981181" y="2262379"/>
            <a:ext cx="1026814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>
                <a:latin typeface="Calibri"/>
                <a:cs typeface="Calibri"/>
              </a:rPr>
              <a:t>Bundesländer</a:t>
            </a:r>
            <a:endParaRPr lang="de-DE" sz="1200" i="0" u="none" strike="noStrike" kern="1200" cap="none" spc="0" normalizeH="0" baseline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333" name="TextBox 435">
            <a:extLst>
              <a:ext uri="{FF2B5EF4-FFF2-40B4-BE49-F238E27FC236}">
                <a16:creationId xmlns:a16="http://schemas.microsoft.com/office/drawing/2014/main" id="{F554FABE-42F8-58A0-3621-26770404F604}"/>
              </a:ext>
            </a:extLst>
          </p:cNvPr>
          <p:cNvSpPr txBox="1">
            <a:spLocks/>
          </p:cNvSpPr>
          <p:nvPr/>
        </p:nvSpPr>
        <p:spPr>
          <a:xfrm>
            <a:off x="8187995" y="1757078"/>
            <a:ext cx="102681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>
                <a:latin typeface="Calibri"/>
                <a:cs typeface="Calibri"/>
              </a:rPr>
              <a:t>284</a:t>
            </a:r>
            <a:endParaRPr lang="de-DE" sz="1600" b="1" i="0" u="none" strike="noStrike" kern="1200" cap="none" spc="0" normalizeH="0" baseline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334" name="TextBox 435">
            <a:extLst>
              <a:ext uri="{FF2B5EF4-FFF2-40B4-BE49-F238E27FC236}">
                <a16:creationId xmlns:a16="http://schemas.microsoft.com/office/drawing/2014/main" id="{A1EB6471-9B15-4B8B-835E-0B5216C33496}"/>
              </a:ext>
            </a:extLst>
          </p:cNvPr>
          <p:cNvSpPr txBox="1">
            <a:spLocks/>
          </p:cNvSpPr>
          <p:nvPr/>
        </p:nvSpPr>
        <p:spPr>
          <a:xfrm>
            <a:off x="8129933" y="2273983"/>
            <a:ext cx="1154550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defRPr/>
            </a:pPr>
            <a:r>
              <a:rPr lang="de-DE" sz="1200" err="1">
                <a:latin typeface="Calibri"/>
              </a:rPr>
              <a:t>Healthcare</a:t>
            </a:r>
            <a:r>
              <a:rPr lang="de-DE" sz="1200">
                <a:latin typeface="Calibri"/>
              </a:rPr>
              <a:t> </a:t>
            </a:r>
            <a:endParaRPr lang="de-DE">
              <a:latin typeface="Calibri"/>
            </a:endParaRPr>
          </a:p>
          <a:p>
            <a:pPr algn="ctr">
              <a:defRPr/>
            </a:pPr>
            <a:r>
              <a:rPr lang="de-DE" sz="1200">
                <a:latin typeface="Calibri"/>
              </a:rPr>
              <a:t>Einrichtungen </a:t>
            </a:r>
            <a:endParaRPr lang="de-DE">
              <a:latin typeface="Calibri"/>
            </a:endParaRPr>
          </a:p>
          <a:p>
            <a:pPr algn="ctr">
              <a:defRPr/>
            </a:pPr>
            <a:r>
              <a:rPr lang="de-DE" sz="1200">
                <a:latin typeface="Calibri"/>
              </a:rPr>
              <a:t>@ELGA</a:t>
            </a:r>
            <a:endParaRPr lang="de-DE">
              <a:cs typeface="Calibri"/>
            </a:endParaRPr>
          </a:p>
        </p:txBody>
      </p:sp>
      <p:sp>
        <p:nvSpPr>
          <p:cNvPr id="335" name="TextBox 438">
            <a:extLst>
              <a:ext uri="{FF2B5EF4-FFF2-40B4-BE49-F238E27FC236}">
                <a16:creationId xmlns:a16="http://schemas.microsoft.com/office/drawing/2014/main" id="{CE4A2D6A-A720-0DD2-D992-730B6D74148A}"/>
              </a:ext>
            </a:extLst>
          </p:cNvPr>
          <p:cNvSpPr txBox="1">
            <a:spLocks/>
          </p:cNvSpPr>
          <p:nvPr/>
        </p:nvSpPr>
        <p:spPr>
          <a:xfrm>
            <a:off x="9394809" y="1757078"/>
            <a:ext cx="102681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r>
              <a:rPr lang="de-DE" sz="1600" b="1">
                <a:latin typeface="Calibri"/>
                <a:cs typeface="Calibri"/>
              </a:rPr>
              <a:t>73 Mio.</a:t>
            </a:r>
            <a:endParaRPr lang="de-DE"/>
          </a:p>
        </p:txBody>
      </p:sp>
      <p:sp>
        <p:nvSpPr>
          <p:cNvPr id="336" name="TextBox 438">
            <a:extLst>
              <a:ext uri="{FF2B5EF4-FFF2-40B4-BE49-F238E27FC236}">
                <a16:creationId xmlns:a16="http://schemas.microsoft.com/office/drawing/2014/main" id="{69AF7386-4639-DC91-B710-376C4256802A}"/>
              </a:ext>
            </a:extLst>
          </p:cNvPr>
          <p:cNvSpPr txBox="1">
            <a:spLocks/>
          </p:cNvSpPr>
          <p:nvPr/>
        </p:nvSpPr>
        <p:spPr>
          <a:xfrm>
            <a:off x="9394809" y="2262379"/>
            <a:ext cx="1026814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defRPr/>
            </a:pPr>
            <a:r>
              <a:rPr lang="de-DE" sz="1200" err="1">
                <a:latin typeface="Calibri"/>
                <a:cs typeface="Calibri"/>
              </a:rPr>
              <a:t>eBefunde</a:t>
            </a:r>
            <a:endParaRPr kumimoji="0" lang="de-DE" sz="1200" i="0" u="none" strike="noStrike" kern="1200" cap="none" spc="0" normalizeH="0" baseline="0" err="1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7" name="TextBox 422">
            <a:extLst>
              <a:ext uri="{FF2B5EF4-FFF2-40B4-BE49-F238E27FC236}">
                <a16:creationId xmlns:a16="http://schemas.microsoft.com/office/drawing/2014/main" id="{6F3A2B00-B63B-7D16-36A8-52AADC8D631A}"/>
              </a:ext>
            </a:extLst>
          </p:cNvPr>
          <p:cNvSpPr txBox="1">
            <a:spLocks/>
          </p:cNvSpPr>
          <p:nvPr/>
        </p:nvSpPr>
        <p:spPr>
          <a:xfrm>
            <a:off x="4567553" y="1757078"/>
            <a:ext cx="102681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>
                <a:latin typeface="Calibri"/>
                <a:cs typeface="Calibri"/>
              </a:rPr>
              <a:t>90.100</a:t>
            </a:r>
            <a:endParaRPr lang="de-DE" sz="1600" b="1" i="0" u="none" strike="noStrike" kern="1200" cap="none" spc="0" normalizeH="0" baseline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338" name="TextBox 422">
            <a:extLst>
              <a:ext uri="{FF2B5EF4-FFF2-40B4-BE49-F238E27FC236}">
                <a16:creationId xmlns:a16="http://schemas.microsoft.com/office/drawing/2014/main" id="{2F84F4E8-7AC1-1B79-2A0F-2611ADBA3659}"/>
              </a:ext>
            </a:extLst>
          </p:cNvPr>
          <p:cNvSpPr txBox="1">
            <a:spLocks/>
          </p:cNvSpPr>
          <p:nvPr/>
        </p:nvSpPr>
        <p:spPr>
          <a:xfrm>
            <a:off x="4579165" y="2262379"/>
            <a:ext cx="1026814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>
                <a:latin typeface="Calibri"/>
              </a:rPr>
              <a:t>Pflegekräfte</a:t>
            </a:r>
            <a:endParaRPr lang="de-DE">
              <a:ea typeface="+mn-ea"/>
              <a:cs typeface="+mn-cs"/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98831483-E076-FECC-16EA-C0C1940611E0}"/>
              </a:ext>
            </a:extLst>
          </p:cNvPr>
          <p:cNvSpPr/>
          <p:nvPr/>
        </p:nvSpPr>
        <p:spPr>
          <a:xfrm>
            <a:off x="3360738" y="2895600"/>
            <a:ext cx="8267700" cy="3298825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LGA Architecture – Das große Ganze</a:t>
            </a:r>
          </a:p>
        </p:txBody>
      </p:sp>
      <p:grpSp>
        <p:nvGrpSpPr>
          <p:cNvPr id="340" name="Gruppieren 339">
            <a:extLst>
              <a:ext uri="{FF2B5EF4-FFF2-40B4-BE49-F238E27FC236}">
                <a16:creationId xmlns:a16="http://schemas.microsoft.com/office/drawing/2014/main" id="{8496483C-3824-DE3B-4AED-6C70B4E3C497}"/>
              </a:ext>
            </a:extLst>
          </p:cNvPr>
          <p:cNvGrpSpPr>
            <a:grpSpLocks noChangeAspect="1"/>
          </p:cNvGrpSpPr>
          <p:nvPr/>
        </p:nvGrpSpPr>
        <p:grpSpPr>
          <a:xfrm>
            <a:off x="3657380" y="3248964"/>
            <a:ext cx="7793575" cy="2775278"/>
            <a:chOff x="-379997" y="1440881"/>
            <a:chExt cx="12616556" cy="4492733"/>
          </a:xfrm>
        </p:grpSpPr>
        <p:grpSp>
          <p:nvGrpSpPr>
            <p:cNvPr id="341" name="Gruppieren 21">
              <a:extLst>
                <a:ext uri="{FF2B5EF4-FFF2-40B4-BE49-F238E27FC236}">
                  <a16:creationId xmlns:a16="http://schemas.microsoft.com/office/drawing/2014/main" id="{4A58BEDA-7BF0-7DE7-9CB0-7D0A7C54A023}"/>
                </a:ext>
              </a:extLst>
            </p:cNvPr>
            <p:cNvGrpSpPr/>
            <p:nvPr/>
          </p:nvGrpSpPr>
          <p:grpSpPr>
            <a:xfrm rot="187544">
              <a:off x="2828806" y="2770038"/>
              <a:ext cx="4443997" cy="2180635"/>
              <a:chOff x="5575300" y="3142253"/>
              <a:chExt cx="6069013" cy="3133283"/>
            </a:xfrm>
            <a:solidFill>
              <a:srgbClr val="EC6602">
                <a:alpha val="38039"/>
              </a:srgbClr>
            </a:solidFill>
          </p:grpSpPr>
          <p:sp>
            <p:nvSpPr>
              <p:cNvPr id="368" name="Freeform 6">
                <a:extLst>
                  <a:ext uri="{FF2B5EF4-FFF2-40B4-BE49-F238E27FC236}">
                    <a16:creationId xmlns:a16="http://schemas.microsoft.com/office/drawing/2014/main" id="{881ABB34-0216-D6B6-33DA-A70FD8891A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20000">
                <a:off x="5575300" y="4854763"/>
                <a:ext cx="568539" cy="900474"/>
              </a:xfrm>
              <a:custGeom>
                <a:avLst/>
                <a:gdLst>
                  <a:gd name="T0" fmla="*/ 658258 w 2187"/>
                  <a:gd name="T1" fmla="*/ 1175935 h 3462"/>
                  <a:gd name="T2" fmla="*/ 616578 w 2187"/>
                  <a:gd name="T3" fmla="*/ 1101158 h 3462"/>
                  <a:gd name="T4" fmla="*/ 673708 w 2187"/>
                  <a:gd name="T5" fmla="*/ 1028539 h 3462"/>
                  <a:gd name="T6" fmla="*/ 660773 w 2187"/>
                  <a:gd name="T7" fmla="*/ 949448 h 3462"/>
                  <a:gd name="T8" fmla="*/ 687002 w 2187"/>
                  <a:gd name="T9" fmla="*/ 887613 h 3462"/>
                  <a:gd name="T10" fmla="*/ 691314 w 2187"/>
                  <a:gd name="T11" fmla="*/ 817151 h 3462"/>
                  <a:gd name="T12" fmla="*/ 746289 w 2187"/>
                  <a:gd name="T13" fmla="*/ 722601 h 3462"/>
                  <a:gd name="T14" fmla="*/ 748445 w 2187"/>
                  <a:gd name="T15" fmla="*/ 632366 h 3462"/>
                  <a:gd name="T16" fmla="*/ 715388 w 2187"/>
                  <a:gd name="T17" fmla="*/ 534222 h 3462"/>
                  <a:gd name="T18" fmla="*/ 715029 w 2187"/>
                  <a:gd name="T19" fmla="*/ 508697 h 3462"/>
                  <a:gd name="T20" fmla="*/ 758865 w 2187"/>
                  <a:gd name="T21" fmla="*/ 482094 h 3462"/>
                  <a:gd name="T22" fmla="*/ 758865 w 2187"/>
                  <a:gd name="T23" fmla="*/ 422776 h 3462"/>
                  <a:gd name="T24" fmla="*/ 774315 w 2187"/>
                  <a:gd name="T25" fmla="*/ 339011 h 3462"/>
                  <a:gd name="T26" fmla="*/ 697423 w 2187"/>
                  <a:gd name="T27" fmla="*/ 363458 h 3462"/>
                  <a:gd name="T28" fmla="*/ 631309 w 2187"/>
                  <a:gd name="T29" fmla="*/ 383230 h 3462"/>
                  <a:gd name="T30" fmla="*/ 602924 w 2187"/>
                  <a:gd name="T31" fmla="*/ 299466 h 3462"/>
                  <a:gd name="T32" fmla="*/ 633465 w 2187"/>
                  <a:gd name="T33" fmla="*/ 233318 h 3462"/>
                  <a:gd name="T34" fmla="*/ 582802 w 2187"/>
                  <a:gd name="T35" fmla="*/ 198086 h 3462"/>
                  <a:gd name="T36" fmla="*/ 565196 w 2187"/>
                  <a:gd name="T37" fmla="*/ 165371 h 3462"/>
                  <a:gd name="T38" fmla="*/ 523516 w 2187"/>
                  <a:gd name="T39" fmla="*/ 171843 h 3462"/>
                  <a:gd name="T40" fmla="*/ 488304 w 2187"/>
                  <a:gd name="T41" fmla="*/ 110008 h 3462"/>
                  <a:gd name="T42" fmla="*/ 424706 w 2187"/>
                  <a:gd name="T43" fmla="*/ 101380 h 3462"/>
                  <a:gd name="T44" fmla="*/ 374043 w 2187"/>
                  <a:gd name="T45" fmla="*/ 92392 h 3462"/>
                  <a:gd name="T46" fmla="*/ 332003 w 2187"/>
                  <a:gd name="T47" fmla="*/ 24446 h 3462"/>
                  <a:gd name="T48" fmla="*/ 264094 w 2187"/>
                  <a:gd name="T49" fmla="*/ 2157 h 3462"/>
                  <a:gd name="T50" fmla="*/ 217742 w 2187"/>
                  <a:gd name="T51" fmla="*/ 97066 h 3462"/>
                  <a:gd name="T52" fmla="*/ 50663 w 2187"/>
                  <a:gd name="T53" fmla="*/ 99223 h 3462"/>
                  <a:gd name="T54" fmla="*/ 45992 w 2187"/>
                  <a:gd name="T55" fmla="*/ 171843 h 3462"/>
                  <a:gd name="T56" fmla="*/ 140850 w 2187"/>
                  <a:gd name="T57" fmla="*/ 231161 h 3462"/>
                  <a:gd name="T58" fmla="*/ 160612 w 2187"/>
                  <a:gd name="T59" fmla="*/ 323553 h 3462"/>
                  <a:gd name="T60" fmla="*/ 123244 w 2187"/>
                  <a:gd name="T61" fmla="*/ 374243 h 3462"/>
                  <a:gd name="T62" fmla="*/ 63598 w 2187"/>
                  <a:gd name="T63" fmla="*/ 444705 h 3462"/>
                  <a:gd name="T64" fmla="*/ 0 w 2187"/>
                  <a:gd name="T65" fmla="*/ 537098 h 3462"/>
                  <a:gd name="T66" fmla="*/ 24074 w 2187"/>
                  <a:gd name="T67" fmla="*/ 598932 h 3462"/>
                  <a:gd name="T68" fmla="*/ 50663 w 2187"/>
                  <a:gd name="T69" fmla="*/ 695639 h 3462"/>
                  <a:gd name="T70" fmla="*/ 100966 w 2187"/>
                  <a:gd name="T71" fmla="*/ 752800 h 3462"/>
                  <a:gd name="T72" fmla="*/ 109949 w 2187"/>
                  <a:gd name="T73" fmla="*/ 823262 h 3462"/>
                  <a:gd name="T74" fmla="*/ 127555 w 2187"/>
                  <a:gd name="T75" fmla="*/ 889411 h 3462"/>
                  <a:gd name="T76" fmla="*/ 252955 w 2187"/>
                  <a:gd name="T77" fmla="*/ 924642 h 3462"/>
                  <a:gd name="T78" fmla="*/ 329847 w 2187"/>
                  <a:gd name="T79" fmla="*/ 948729 h 3462"/>
                  <a:gd name="T80" fmla="*/ 407099 w 2187"/>
                  <a:gd name="T81" fmla="*/ 995105 h 3462"/>
                  <a:gd name="T82" fmla="*/ 389493 w 2187"/>
                  <a:gd name="T83" fmla="*/ 1047952 h 3462"/>
                  <a:gd name="T84" fmla="*/ 417879 w 2187"/>
                  <a:gd name="T85" fmla="*/ 1096485 h 3462"/>
                  <a:gd name="T86" fmla="*/ 492615 w 2187"/>
                  <a:gd name="T87" fmla="*/ 1133873 h 3462"/>
                  <a:gd name="T88" fmla="*/ 538966 w 2187"/>
                  <a:gd name="T89" fmla="*/ 1151489 h 3462"/>
                  <a:gd name="T90" fmla="*/ 589629 w 2187"/>
                  <a:gd name="T91" fmla="*/ 1212964 h 3462"/>
                  <a:gd name="T92" fmla="*/ 655742 w 2187"/>
                  <a:gd name="T93" fmla="*/ 1237410 h 346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2187" h="3462">
                    <a:moveTo>
                      <a:pt x="1826" y="3461"/>
                    </a:moveTo>
                    <a:cubicBezTo>
                      <a:pt x="1828" y="3398"/>
                      <a:pt x="1830" y="3335"/>
                      <a:pt x="1832" y="3271"/>
                    </a:cubicBezTo>
                    <a:cubicBezTo>
                      <a:pt x="1797" y="3251"/>
                      <a:pt x="1763" y="3231"/>
                      <a:pt x="1728" y="3210"/>
                    </a:cubicBezTo>
                    <a:cubicBezTo>
                      <a:pt x="1724" y="3161"/>
                      <a:pt x="1720" y="3112"/>
                      <a:pt x="1716" y="3063"/>
                    </a:cubicBezTo>
                    <a:cubicBezTo>
                      <a:pt x="1753" y="3035"/>
                      <a:pt x="1789" y="3006"/>
                      <a:pt x="1826" y="2977"/>
                    </a:cubicBezTo>
                    <a:cubicBezTo>
                      <a:pt x="1842" y="2939"/>
                      <a:pt x="1859" y="2900"/>
                      <a:pt x="1875" y="2861"/>
                    </a:cubicBezTo>
                    <a:cubicBezTo>
                      <a:pt x="1873" y="2827"/>
                      <a:pt x="1871" y="2792"/>
                      <a:pt x="1869" y="2757"/>
                    </a:cubicBezTo>
                    <a:cubicBezTo>
                      <a:pt x="1859" y="2719"/>
                      <a:pt x="1849" y="2680"/>
                      <a:pt x="1839" y="2641"/>
                    </a:cubicBezTo>
                    <a:cubicBezTo>
                      <a:pt x="1843" y="2623"/>
                      <a:pt x="1847" y="2604"/>
                      <a:pt x="1851" y="2585"/>
                    </a:cubicBezTo>
                    <a:cubicBezTo>
                      <a:pt x="1871" y="2547"/>
                      <a:pt x="1892" y="2508"/>
                      <a:pt x="1912" y="2469"/>
                    </a:cubicBezTo>
                    <a:cubicBezTo>
                      <a:pt x="1906" y="2435"/>
                      <a:pt x="1900" y="2400"/>
                      <a:pt x="1894" y="2365"/>
                    </a:cubicBezTo>
                    <a:cubicBezTo>
                      <a:pt x="1904" y="2335"/>
                      <a:pt x="1914" y="2304"/>
                      <a:pt x="1924" y="2273"/>
                    </a:cubicBezTo>
                    <a:cubicBezTo>
                      <a:pt x="1953" y="2231"/>
                      <a:pt x="1981" y="2188"/>
                      <a:pt x="2010" y="2145"/>
                    </a:cubicBezTo>
                    <a:cubicBezTo>
                      <a:pt x="2032" y="2100"/>
                      <a:pt x="2055" y="2055"/>
                      <a:pt x="2077" y="2010"/>
                    </a:cubicBezTo>
                    <a:cubicBezTo>
                      <a:pt x="2085" y="1967"/>
                      <a:pt x="2094" y="1924"/>
                      <a:pt x="2102" y="1881"/>
                    </a:cubicBezTo>
                    <a:cubicBezTo>
                      <a:pt x="2096" y="1841"/>
                      <a:pt x="2089" y="1800"/>
                      <a:pt x="2083" y="1759"/>
                    </a:cubicBezTo>
                    <a:cubicBezTo>
                      <a:pt x="2067" y="1716"/>
                      <a:pt x="2050" y="1673"/>
                      <a:pt x="2034" y="1630"/>
                    </a:cubicBezTo>
                    <a:cubicBezTo>
                      <a:pt x="2020" y="1582"/>
                      <a:pt x="2005" y="1534"/>
                      <a:pt x="1991" y="1486"/>
                    </a:cubicBezTo>
                    <a:cubicBezTo>
                      <a:pt x="1991" y="1485"/>
                      <a:pt x="1990" y="1484"/>
                      <a:pt x="1990" y="1482"/>
                    </a:cubicBezTo>
                    <a:cubicBezTo>
                      <a:pt x="1990" y="1460"/>
                      <a:pt x="1990" y="1438"/>
                      <a:pt x="1990" y="1415"/>
                    </a:cubicBezTo>
                    <a:cubicBezTo>
                      <a:pt x="2004" y="1397"/>
                      <a:pt x="2019" y="1379"/>
                      <a:pt x="2033" y="1360"/>
                    </a:cubicBezTo>
                    <a:cubicBezTo>
                      <a:pt x="2059" y="1354"/>
                      <a:pt x="2086" y="1348"/>
                      <a:pt x="2112" y="1341"/>
                    </a:cubicBezTo>
                    <a:cubicBezTo>
                      <a:pt x="2120" y="1321"/>
                      <a:pt x="2129" y="1301"/>
                      <a:pt x="2137" y="1280"/>
                    </a:cubicBezTo>
                    <a:cubicBezTo>
                      <a:pt x="2129" y="1246"/>
                      <a:pt x="2120" y="1211"/>
                      <a:pt x="2112" y="1176"/>
                    </a:cubicBezTo>
                    <a:cubicBezTo>
                      <a:pt x="2137" y="1131"/>
                      <a:pt x="2161" y="1086"/>
                      <a:pt x="2186" y="1041"/>
                    </a:cubicBezTo>
                    <a:cubicBezTo>
                      <a:pt x="2176" y="1009"/>
                      <a:pt x="2165" y="976"/>
                      <a:pt x="2155" y="943"/>
                    </a:cubicBezTo>
                    <a:cubicBezTo>
                      <a:pt x="2110" y="931"/>
                      <a:pt x="2065" y="919"/>
                      <a:pt x="2020" y="906"/>
                    </a:cubicBezTo>
                    <a:cubicBezTo>
                      <a:pt x="1994" y="941"/>
                      <a:pt x="1967" y="976"/>
                      <a:pt x="1941" y="1011"/>
                    </a:cubicBezTo>
                    <a:cubicBezTo>
                      <a:pt x="1902" y="1005"/>
                      <a:pt x="1863" y="999"/>
                      <a:pt x="1824" y="992"/>
                    </a:cubicBezTo>
                    <a:cubicBezTo>
                      <a:pt x="1802" y="1017"/>
                      <a:pt x="1779" y="1042"/>
                      <a:pt x="1757" y="1066"/>
                    </a:cubicBezTo>
                    <a:cubicBezTo>
                      <a:pt x="1753" y="1007"/>
                      <a:pt x="1749" y="948"/>
                      <a:pt x="1745" y="888"/>
                    </a:cubicBezTo>
                    <a:cubicBezTo>
                      <a:pt x="1723" y="870"/>
                      <a:pt x="1700" y="852"/>
                      <a:pt x="1678" y="833"/>
                    </a:cubicBezTo>
                    <a:cubicBezTo>
                      <a:pt x="1713" y="811"/>
                      <a:pt x="1747" y="789"/>
                      <a:pt x="1782" y="766"/>
                    </a:cubicBezTo>
                    <a:cubicBezTo>
                      <a:pt x="1776" y="727"/>
                      <a:pt x="1769" y="688"/>
                      <a:pt x="1763" y="649"/>
                    </a:cubicBezTo>
                    <a:cubicBezTo>
                      <a:pt x="1747" y="627"/>
                      <a:pt x="1730" y="605"/>
                      <a:pt x="1714" y="582"/>
                    </a:cubicBezTo>
                    <a:cubicBezTo>
                      <a:pt x="1683" y="572"/>
                      <a:pt x="1653" y="562"/>
                      <a:pt x="1622" y="551"/>
                    </a:cubicBezTo>
                    <a:cubicBezTo>
                      <a:pt x="1622" y="521"/>
                      <a:pt x="1622" y="491"/>
                      <a:pt x="1622" y="460"/>
                    </a:cubicBezTo>
                    <a:cubicBezTo>
                      <a:pt x="1606" y="460"/>
                      <a:pt x="1589" y="460"/>
                      <a:pt x="1573" y="460"/>
                    </a:cubicBezTo>
                    <a:cubicBezTo>
                      <a:pt x="1545" y="481"/>
                      <a:pt x="1516" y="501"/>
                      <a:pt x="1488" y="521"/>
                    </a:cubicBezTo>
                    <a:cubicBezTo>
                      <a:pt x="1478" y="507"/>
                      <a:pt x="1467" y="493"/>
                      <a:pt x="1457" y="478"/>
                    </a:cubicBezTo>
                    <a:cubicBezTo>
                      <a:pt x="1457" y="444"/>
                      <a:pt x="1457" y="409"/>
                      <a:pt x="1457" y="374"/>
                    </a:cubicBezTo>
                    <a:cubicBezTo>
                      <a:pt x="1424" y="352"/>
                      <a:pt x="1392" y="329"/>
                      <a:pt x="1359" y="306"/>
                    </a:cubicBezTo>
                    <a:cubicBezTo>
                      <a:pt x="1347" y="276"/>
                      <a:pt x="1334" y="246"/>
                      <a:pt x="1322" y="215"/>
                    </a:cubicBezTo>
                    <a:cubicBezTo>
                      <a:pt x="1275" y="238"/>
                      <a:pt x="1229" y="260"/>
                      <a:pt x="1182" y="282"/>
                    </a:cubicBezTo>
                    <a:cubicBezTo>
                      <a:pt x="1159" y="254"/>
                      <a:pt x="1137" y="225"/>
                      <a:pt x="1114" y="196"/>
                    </a:cubicBezTo>
                    <a:cubicBezTo>
                      <a:pt x="1090" y="217"/>
                      <a:pt x="1065" y="237"/>
                      <a:pt x="1041" y="257"/>
                    </a:cubicBezTo>
                    <a:cubicBezTo>
                      <a:pt x="1000" y="233"/>
                      <a:pt x="959" y="209"/>
                      <a:pt x="918" y="184"/>
                    </a:cubicBezTo>
                    <a:cubicBezTo>
                      <a:pt x="920" y="146"/>
                      <a:pt x="922" y="107"/>
                      <a:pt x="924" y="68"/>
                    </a:cubicBezTo>
                    <a:cubicBezTo>
                      <a:pt x="906" y="46"/>
                      <a:pt x="887" y="23"/>
                      <a:pt x="869" y="0"/>
                    </a:cubicBezTo>
                    <a:cubicBezTo>
                      <a:pt x="824" y="2"/>
                      <a:pt x="780" y="4"/>
                      <a:pt x="735" y="6"/>
                    </a:cubicBezTo>
                    <a:cubicBezTo>
                      <a:pt x="716" y="49"/>
                      <a:pt x="698" y="92"/>
                      <a:pt x="679" y="135"/>
                    </a:cubicBezTo>
                    <a:cubicBezTo>
                      <a:pt x="655" y="180"/>
                      <a:pt x="630" y="225"/>
                      <a:pt x="606" y="270"/>
                    </a:cubicBezTo>
                    <a:cubicBezTo>
                      <a:pt x="496" y="276"/>
                      <a:pt x="385" y="282"/>
                      <a:pt x="275" y="288"/>
                    </a:cubicBezTo>
                    <a:cubicBezTo>
                      <a:pt x="230" y="284"/>
                      <a:pt x="186" y="280"/>
                      <a:pt x="141" y="276"/>
                    </a:cubicBezTo>
                    <a:cubicBezTo>
                      <a:pt x="127" y="323"/>
                      <a:pt x="112" y="370"/>
                      <a:pt x="98" y="417"/>
                    </a:cubicBezTo>
                    <a:cubicBezTo>
                      <a:pt x="108" y="438"/>
                      <a:pt x="118" y="458"/>
                      <a:pt x="128" y="478"/>
                    </a:cubicBezTo>
                    <a:cubicBezTo>
                      <a:pt x="159" y="515"/>
                      <a:pt x="189" y="552"/>
                      <a:pt x="220" y="588"/>
                    </a:cubicBezTo>
                    <a:cubicBezTo>
                      <a:pt x="277" y="607"/>
                      <a:pt x="335" y="625"/>
                      <a:pt x="392" y="643"/>
                    </a:cubicBezTo>
                    <a:cubicBezTo>
                      <a:pt x="380" y="692"/>
                      <a:pt x="367" y="741"/>
                      <a:pt x="355" y="790"/>
                    </a:cubicBezTo>
                    <a:cubicBezTo>
                      <a:pt x="386" y="827"/>
                      <a:pt x="416" y="864"/>
                      <a:pt x="447" y="900"/>
                    </a:cubicBezTo>
                    <a:cubicBezTo>
                      <a:pt x="447" y="935"/>
                      <a:pt x="447" y="970"/>
                      <a:pt x="447" y="1004"/>
                    </a:cubicBezTo>
                    <a:cubicBezTo>
                      <a:pt x="412" y="1017"/>
                      <a:pt x="378" y="1029"/>
                      <a:pt x="343" y="1041"/>
                    </a:cubicBezTo>
                    <a:cubicBezTo>
                      <a:pt x="314" y="1045"/>
                      <a:pt x="286" y="1049"/>
                      <a:pt x="257" y="1053"/>
                    </a:cubicBezTo>
                    <a:cubicBezTo>
                      <a:pt x="230" y="1115"/>
                      <a:pt x="204" y="1176"/>
                      <a:pt x="177" y="1237"/>
                    </a:cubicBezTo>
                    <a:cubicBezTo>
                      <a:pt x="147" y="1274"/>
                      <a:pt x="116" y="1311"/>
                      <a:pt x="86" y="1347"/>
                    </a:cubicBezTo>
                    <a:cubicBezTo>
                      <a:pt x="57" y="1396"/>
                      <a:pt x="29" y="1445"/>
                      <a:pt x="0" y="1494"/>
                    </a:cubicBezTo>
                    <a:cubicBezTo>
                      <a:pt x="37" y="1529"/>
                      <a:pt x="73" y="1564"/>
                      <a:pt x="110" y="1598"/>
                    </a:cubicBezTo>
                    <a:cubicBezTo>
                      <a:pt x="96" y="1621"/>
                      <a:pt x="81" y="1644"/>
                      <a:pt x="67" y="1666"/>
                    </a:cubicBezTo>
                    <a:cubicBezTo>
                      <a:pt x="96" y="1699"/>
                      <a:pt x="124" y="1732"/>
                      <a:pt x="153" y="1764"/>
                    </a:cubicBezTo>
                    <a:cubicBezTo>
                      <a:pt x="149" y="1821"/>
                      <a:pt x="145" y="1878"/>
                      <a:pt x="141" y="1935"/>
                    </a:cubicBezTo>
                    <a:cubicBezTo>
                      <a:pt x="159" y="1954"/>
                      <a:pt x="178" y="1972"/>
                      <a:pt x="196" y="1990"/>
                    </a:cubicBezTo>
                    <a:cubicBezTo>
                      <a:pt x="224" y="2025"/>
                      <a:pt x="253" y="2060"/>
                      <a:pt x="281" y="2094"/>
                    </a:cubicBezTo>
                    <a:cubicBezTo>
                      <a:pt x="287" y="2121"/>
                      <a:pt x="294" y="2148"/>
                      <a:pt x="300" y="2174"/>
                    </a:cubicBezTo>
                    <a:cubicBezTo>
                      <a:pt x="302" y="2213"/>
                      <a:pt x="304" y="2252"/>
                      <a:pt x="306" y="2290"/>
                    </a:cubicBezTo>
                    <a:cubicBezTo>
                      <a:pt x="286" y="2346"/>
                      <a:pt x="265" y="2401"/>
                      <a:pt x="245" y="2456"/>
                    </a:cubicBezTo>
                    <a:cubicBezTo>
                      <a:pt x="282" y="2462"/>
                      <a:pt x="318" y="2468"/>
                      <a:pt x="355" y="2474"/>
                    </a:cubicBezTo>
                    <a:cubicBezTo>
                      <a:pt x="390" y="2466"/>
                      <a:pt x="424" y="2458"/>
                      <a:pt x="459" y="2449"/>
                    </a:cubicBezTo>
                    <a:cubicBezTo>
                      <a:pt x="541" y="2490"/>
                      <a:pt x="622" y="2531"/>
                      <a:pt x="704" y="2572"/>
                    </a:cubicBezTo>
                    <a:cubicBezTo>
                      <a:pt x="737" y="2572"/>
                      <a:pt x="769" y="2572"/>
                      <a:pt x="802" y="2572"/>
                    </a:cubicBezTo>
                    <a:cubicBezTo>
                      <a:pt x="841" y="2595"/>
                      <a:pt x="879" y="2617"/>
                      <a:pt x="918" y="2639"/>
                    </a:cubicBezTo>
                    <a:cubicBezTo>
                      <a:pt x="963" y="2641"/>
                      <a:pt x="1008" y="2643"/>
                      <a:pt x="1053" y="2645"/>
                    </a:cubicBezTo>
                    <a:cubicBezTo>
                      <a:pt x="1080" y="2686"/>
                      <a:pt x="1106" y="2727"/>
                      <a:pt x="1133" y="2768"/>
                    </a:cubicBezTo>
                    <a:cubicBezTo>
                      <a:pt x="1117" y="2799"/>
                      <a:pt x="1100" y="2830"/>
                      <a:pt x="1084" y="2860"/>
                    </a:cubicBezTo>
                    <a:cubicBezTo>
                      <a:pt x="1084" y="2879"/>
                      <a:pt x="1084" y="2897"/>
                      <a:pt x="1084" y="2915"/>
                    </a:cubicBezTo>
                    <a:cubicBezTo>
                      <a:pt x="1086" y="2956"/>
                      <a:pt x="1088" y="2997"/>
                      <a:pt x="1090" y="3037"/>
                    </a:cubicBezTo>
                    <a:cubicBezTo>
                      <a:pt x="1114" y="3042"/>
                      <a:pt x="1139" y="3046"/>
                      <a:pt x="1163" y="3050"/>
                    </a:cubicBezTo>
                    <a:cubicBezTo>
                      <a:pt x="1188" y="3089"/>
                      <a:pt x="1212" y="3128"/>
                      <a:pt x="1237" y="3166"/>
                    </a:cubicBezTo>
                    <a:cubicBezTo>
                      <a:pt x="1282" y="3162"/>
                      <a:pt x="1326" y="3158"/>
                      <a:pt x="1371" y="3154"/>
                    </a:cubicBezTo>
                    <a:cubicBezTo>
                      <a:pt x="1392" y="3171"/>
                      <a:pt x="1412" y="3187"/>
                      <a:pt x="1433" y="3203"/>
                    </a:cubicBezTo>
                    <a:cubicBezTo>
                      <a:pt x="1455" y="3203"/>
                      <a:pt x="1478" y="3203"/>
                      <a:pt x="1500" y="3203"/>
                    </a:cubicBezTo>
                    <a:cubicBezTo>
                      <a:pt x="1545" y="3242"/>
                      <a:pt x="1590" y="3281"/>
                      <a:pt x="1635" y="3319"/>
                    </a:cubicBezTo>
                    <a:cubicBezTo>
                      <a:pt x="1637" y="3338"/>
                      <a:pt x="1639" y="3356"/>
                      <a:pt x="1641" y="3374"/>
                    </a:cubicBezTo>
                    <a:cubicBezTo>
                      <a:pt x="1674" y="3376"/>
                      <a:pt x="1706" y="3378"/>
                      <a:pt x="1739" y="3380"/>
                    </a:cubicBezTo>
                    <a:cubicBezTo>
                      <a:pt x="1768" y="3401"/>
                      <a:pt x="1796" y="3422"/>
                      <a:pt x="1825" y="3442"/>
                    </a:cubicBezTo>
                    <a:cubicBezTo>
                      <a:pt x="1825" y="3449"/>
                      <a:pt x="1826" y="3455"/>
                      <a:pt x="1826" y="3461"/>
                    </a:cubicBezTo>
                  </a:path>
                </a:pathLst>
              </a:custGeom>
              <a:grpFill/>
              <a:ln w="9525" cap="flat">
                <a:solidFill>
                  <a:schemeClr val="bg1"/>
                </a:solidFill>
                <a:bevel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9" name="Freeform 43">
                <a:extLst>
                  <a:ext uri="{FF2B5EF4-FFF2-40B4-BE49-F238E27FC236}">
                    <a16:creationId xmlns:a16="http://schemas.microsoft.com/office/drawing/2014/main" id="{45D68748-4D49-633F-8A47-3B95D10766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20000">
                <a:off x="6022091" y="4684775"/>
                <a:ext cx="2331585" cy="1293283"/>
              </a:xfrm>
              <a:custGeom>
                <a:avLst/>
                <a:gdLst>
                  <a:gd name="T0" fmla="*/ 2343007 w 8954"/>
                  <a:gd name="T1" fmla="*/ 204731 h 4968"/>
                  <a:gd name="T2" fmla="*/ 1959344 w 8954"/>
                  <a:gd name="T3" fmla="*/ 244309 h 4968"/>
                  <a:gd name="T4" fmla="*/ 1670697 w 8954"/>
                  <a:gd name="T5" fmla="*/ 306196 h 4968"/>
                  <a:gd name="T6" fmla="*/ 1443595 w 8954"/>
                  <a:gd name="T7" fmla="*/ 464512 h 4968"/>
                  <a:gd name="T8" fmla="*/ 1342460 w 8954"/>
                  <a:gd name="T9" fmla="*/ 574973 h 4968"/>
                  <a:gd name="T10" fmla="*/ 1243126 w 8954"/>
                  <a:gd name="T11" fmla="*/ 544029 h 4968"/>
                  <a:gd name="T12" fmla="*/ 981112 w 8954"/>
                  <a:gd name="T13" fmla="*/ 592244 h 4968"/>
                  <a:gd name="T14" fmla="*/ 914889 w 8954"/>
                  <a:gd name="T15" fmla="*/ 409461 h 4968"/>
                  <a:gd name="T16" fmla="*/ 701103 w 8954"/>
                  <a:gd name="T17" fmla="*/ 378878 h 4968"/>
                  <a:gd name="T18" fmla="*/ 535545 w 8954"/>
                  <a:gd name="T19" fmla="*/ 383195 h 4968"/>
                  <a:gd name="T20" fmla="*/ 377185 w 8954"/>
                  <a:gd name="T21" fmla="*/ 321308 h 4968"/>
                  <a:gd name="T22" fmla="*/ 425772 w 8954"/>
                  <a:gd name="T23" fmla="*/ 467030 h 4968"/>
                  <a:gd name="T24" fmla="*/ 330756 w 8954"/>
                  <a:gd name="T25" fmla="*/ 676079 h 4968"/>
                  <a:gd name="T26" fmla="*/ 167718 w 8954"/>
                  <a:gd name="T27" fmla="*/ 823600 h 4968"/>
                  <a:gd name="T28" fmla="*/ 132447 w 8954"/>
                  <a:gd name="T29" fmla="*/ 931542 h 4968"/>
                  <a:gd name="T30" fmla="*/ 64064 w 8954"/>
                  <a:gd name="T31" fmla="*/ 1149586 h 4968"/>
                  <a:gd name="T32" fmla="*/ 57585 w 8954"/>
                  <a:gd name="T33" fmla="*/ 1328050 h 4968"/>
                  <a:gd name="T34" fmla="*/ 39950 w 8954"/>
                  <a:gd name="T35" fmla="*/ 1538898 h 4968"/>
                  <a:gd name="T36" fmla="*/ 191831 w 8954"/>
                  <a:gd name="T37" fmla="*/ 1405409 h 4968"/>
                  <a:gd name="T38" fmla="*/ 313121 w 8954"/>
                  <a:gd name="T39" fmla="*/ 1295308 h 4968"/>
                  <a:gd name="T40" fmla="*/ 465362 w 8954"/>
                  <a:gd name="T41" fmla="*/ 1398573 h 4968"/>
                  <a:gd name="T42" fmla="*/ 630561 w 8954"/>
                  <a:gd name="T43" fmla="*/ 1493562 h 4968"/>
                  <a:gd name="T44" fmla="*/ 751490 w 8954"/>
                  <a:gd name="T45" fmla="*/ 1607981 h 4968"/>
                  <a:gd name="T46" fmla="*/ 917048 w 8954"/>
                  <a:gd name="T47" fmla="*/ 1651877 h 4968"/>
                  <a:gd name="T48" fmla="*/ 1123996 w 8954"/>
                  <a:gd name="T49" fmla="*/ 1497880 h 4968"/>
                  <a:gd name="T50" fmla="*/ 1401845 w 8954"/>
                  <a:gd name="T51" fmla="*/ 1273000 h 4968"/>
                  <a:gd name="T52" fmla="*/ 1600155 w 8954"/>
                  <a:gd name="T53" fmla="*/ 1226944 h 4968"/>
                  <a:gd name="T54" fmla="*/ 1899960 w 8954"/>
                  <a:gd name="T55" fmla="*/ 1281995 h 4968"/>
                  <a:gd name="T56" fmla="*/ 2263468 w 8954"/>
                  <a:gd name="T57" fmla="*/ 1099213 h 4968"/>
                  <a:gd name="T58" fmla="*/ 2235035 w 8954"/>
                  <a:gd name="T59" fmla="*/ 962486 h 4968"/>
                  <a:gd name="T60" fmla="*/ 2259149 w 8954"/>
                  <a:gd name="T61" fmla="*/ 750919 h 4968"/>
                  <a:gd name="T62" fmla="*/ 2497048 w 8954"/>
                  <a:gd name="T63" fmla="*/ 656289 h 4968"/>
                  <a:gd name="T64" fmla="*/ 2755103 w 8954"/>
                  <a:gd name="T65" fmla="*/ 563819 h 4968"/>
                  <a:gd name="T66" fmla="*/ 2847600 w 8954"/>
                  <a:gd name="T67" fmla="*/ 416298 h 4968"/>
                  <a:gd name="T68" fmla="*/ 2834283 w 8954"/>
                  <a:gd name="T69" fmla="*/ 233155 h 4968"/>
                  <a:gd name="T70" fmla="*/ 2686721 w 8954"/>
                  <a:gd name="T71" fmla="*/ 162993 h 4968"/>
                  <a:gd name="T72" fmla="*/ 2400233 w 8954"/>
                  <a:gd name="T73" fmla="*/ 90312 h 4968"/>
                  <a:gd name="T74" fmla="*/ 2748265 w 8954"/>
                  <a:gd name="T75" fmla="*/ 147521 h 4968"/>
                  <a:gd name="T76" fmla="*/ 2373960 w 8954"/>
                  <a:gd name="T77" fmla="*/ 1075465 h 4968"/>
                  <a:gd name="T78" fmla="*/ 2298739 w 8954"/>
                  <a:gd name="T79" fmla="*/ 1198160 h 4968"/>
                  <a:gd name="T80" fmla="*/ 2448821 w 8954"/>
                  <a:gd name="T81" fmla="*/ 1398933 h 4968"/>
                  <a:gd name="T82" fmla="*/ 2571910 w 8954"/>
                  <a:gd name="T83" fmla="*/ 1583874 h 4968"/>
                  <a:gd name="T84" fmla="*/ 2803331 w 8954"/>
                  <a:gd name="T85" fmla="*/ 1773133 h 4968"/>
                  <a:gd name="T86" fmla="*/ 2957732 w 8954"/>
                  <a:gd name="T87" fmla="*/ 1718082 h 4968"/>
                  <a:gd name="T88" fmla="*/ 3100976 w 8954"/>
                  <a:gd name="T89" fmla="*/ 1586033 h 4968"/>
                  <a:gd name="T90" fmla="*/ 3180156 w 8954"/>
                  <a:gd name="T91" fmla="*/ 1509034 h 4968"/>
                  <a:gd name="T92" fmla="*/ 3050229 w 8954"/>
                  <a:gd name="T93" fmla="*/ 1293149 h 4968"/>
                  <a:gd name="T94" fmla="*/ 2999481 w 8954"/>
                  <a:gd name="T95" fmla="*/ 1114325 h 4968"/>
                  <a:gd name="T96" fmla="*/ 2777058 w 8954"/>
                  <a:gd name="T97" fmla="*/ 969322 h 4968"/>
                  <a:gd name="T98" fmla="*/ 2594224 w 8954"/>
                  <a:gd name="T99" fmla="*/ 969322 h 4968"/>
                  <a:gd name="T100" fmla="*/ 2402392 w 8954"/>
                  <a:gd name="T101" fmla="*/ 1097054 h 4968"/>
                  <a:gd name="T102" fmla="*/ 39950 w 8954"/>
                  <a:gd name="T103" fmla="*/ 1538898 h 4968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8954" h="4968">
                    <a:moveTo>
                      <a:pt x="6657" y="0"/>
                    </a:moveTo>
                    <a:cubicBezTo>
                      <a:pt x="6620" y="28"/>
                      <a:pt x="6583" y="57"/>
                      <a:pt x="6546" y="86"/>
                    </a:cubicBezTo>
                    <a:cubicBezTo>
                      <a:pt x="6503" y="110"/>
                      <a:pt x="6460" y="135"/>
                      <a:pt x="6418" y="159"/>
                    </a:cubicBezTo>
                    <a:cubicBezTo>
                      <a:pt x="6444" y="224"/>
                      <a:pt x="6470" y="289"/>
                      <a:pt x="6497" y="354"/>
                    </a:cubicBezTo>
                    <a:cubicBezTo>
                      <a:pt x="6501" y="426"/>
                      <a:pt x="6505" y="498"/>
                      <a:pt x="6510" y="569"/>
                    </a:cubicBezTo>
                    <a:cubicBezTo>
                      <a:pt x="6465" y="579"/>
                      <a:pt x="6420" y="589"/>
                      <a:pt x="6375" y="599"/>
                    </a:cubicBezTo>
                    <a:cubicBezTo>
                      <a:pt x="6258" y="585"/>
                      <a:pt x="6142" y="571"/>
                      <a:pt x="6026" y="557"/>
                    </a:cubicBezTo>
                    <a:cubicBezTo>
                      <a:pt x="6011" y="567"/>
                      <a:pt x="5997" y="577"/>
                      <a:pt x="5983" y="587"/>
                    </a:cubicBezTo>
                    <a:cubicBezTo>
                      <a:pt x="5956" y="577"/>
                      <a:pt x="5929" y="567"/>
                      <a:pt x="5903" y="557"/>
                    </a:cubicBezTo>
                    <a:cubicBezTo>
                      <a:pt x="5750" y="598"/>
                      <a:pt x="5597" y="639"/>
                      <a:pt x="5444" y="679"/>
                    </a:cubicBezTo>
                    <a:cubicBezTo>
                      <a:pt x="5436" y="712"/>
                      <a:pt x="5428" y="745"/>
                      <a:pt x="5420" y="777"/>
                    </a:cubicBezTo>
                    <a:cubicBezTo>
                      <a:pt x="5352" y="765"/>
                      <a:pt x="5285" y="753"/>
                      <a:pt x="5218" y="740"/>
                    </a:cubicBezTo>
                    <a:cubicBezTo>
                      <a:pt x="5109" y="751"/>
                      <a:pt x="5001" y="761"/>
                      <a:pt x="4893" y="771"/>
                    </a:cubicBezTo>
                    <a:cubicBezTo>
                      <a:pt x="4856" y="757"/>
                      <a:pt x="4819" y="743"/>
                      <a:pt x="4783" y="728"/>
                    </a:cubicBezTo>
                    <a:cubicBezTo>
                      <a:pt x="4736" y="769"/>
                      <a:pt x="4689" y="810"/>
                      <a:pt x="4642" y="851"/>
                    </a:cubicBezTo>
                    <a:cubicBezTo>
                      <a:pt x="4642" y="906"/>
                      <a:pt x="4642" y="961"/>
                      <a:pt x="4642" y="1016"/>
                    </a:cubicBezTo>
                    <a:cubicBezTo>
                      <a:pt x="4613" y="1049"/>
                      <a:pt x="4584" y="1082"/>
                      <a:pt x="4556" y="1114"/>
                    </a:cubicBezTo>
                    <a:cubicBezTo>
                      <a:pt x="4488" y="1122"/>
                      <a:pt x="4421" y="1130"/>
                      <a:pt x="4354" y="1138"/>
                    </a:cubicBezTo>
                    <a:cubicBezTo>
                      <a:pt x="4292" y="1124"/>
                      <a:pt x="4231" y="1110"/>
                      <a:pt x="4170" y="1095"/>
                    </a:cubicBezTo>
                    <a:cubicBezTo>
                      <a:pt x="4117" y="1161"/>
                      <a:pt x="4064" y="1226"/>
                      <a:pt x="4011" y="1291"/>
                    </a:cubicBezTo>
                    <a:cubicBezTo>
                      <a:pt x="4035" y="1298"/>
                      <a:pt x="4060" y="1304"/>
                      <a:pt x="4085" y="1310"/>
                    </a:cubicBezTo>
                    <a:cubicBezTo>
                      <a:pt x="4079" y="1341"/>
                      <a:pt x="4073" y="1371"/>
                      <a:pt x="4067" y="1401"/>
                    </a:cubicBezTo>
                    <a:cubicBezTo>
                      <a:pt x="4007" y="1399"/>
                      <a:pt x="3948" y="1397"/>
                      <a:pt x="3889" y="1395"/>
                    </a:cubicBezTo>
                    <a:cubicBezTo>
                      <a:pt x="3842" y="1438"/>
                      <a:pt x="3795" y="1481"/>
                      <a:pt x="3748" y="1524"/>
                    </a:cubicBezTo>
                    <a:cubicBezTo>
                      <a:pt x="3742" y="1549"/>
                      <a:pt x="3736" y="1574"/>
                      <a:pt x="3730" y="1598"/>
                    </a:cubicBezTo>
                    <a:cubicBezTo>
                      <a:pt x="3699" y="1623"/>
                      <a:pt x="3668" y="1647"/>
                      <a:pt x="3638" y="1671"/>
                    </a:cubicBezTo>
                    <a:cubicBezTo>
                      <a:pt x="3603" y="1665"/>
                      <a:pt x="3568" y="1659"/>
                      <a:pt x="3534" y="1653"/>
                    </a:cubicBezTo>
                    <a:cubicBezTo>
                      <a:pt x="3556" y="1616"/>
                      <a:pt x="3578" y="1579"/>
                      <a:pt x="3601" y="1542"/>
                    </a:cubicBezTo>
                    <a:cubicBezTo>
                      <a:pt x="3580" y="1526"/>
                      <a:pt x="3560" y="1510"/>
                      <a:pt x="3540" y="1493"/>
                    </a:cubicBezTo>
                    <a:cubicBezTo>
                      <a:pt x="3511" y="1500"/>
                      <a:pt x="3482" y="1506"/>
                      <a:pt x="3454" y="1512"/>
                    </a:cubicBezTo>
                    <a:cubicBezTo>
                      <a:pt x="3411" y="1524"/>
                      <a:pt x="3368" y="1536"/>
                      <a:pt x="3326" y="1548"/>
                    </a:cubicBezTo>
                    <a:cubicBezTo>
                      <a:pt x="3277" y="1602"/>
                      <a:pt x="3228" y="1655"/>
                      <a:pt x="3179" y="1708"/>
                    </a:cubicBezTo>
                    <a:cubicBezTo>
                      <a:pt x="3119" y="1702"/>
                      <a:pt x="3060" y="1696"/>
                      <a:pt x="3001" y="1689"/>
                    </a:cubicBezTo>
                    <a:cubicBezTo>
                      <a:pt x="2956" y="1702"/>
                      <a:pt x="2911" y="1714"/>
                      <a:pt x="2866" y="1726"/>
                    </a:cubicBezTo>
                    <a:cubicBezTo>
                      <a:pt x="2819" y="1700"/>
                      <a:pt x="2772" y="1673"/>
                      <a:pt x="2726" y="1646"/>
                    </a:cubicBezTo>
                    <a:cubicBezTo>
                      <a:pt x="2746" y="1618"/>
                      <a:pt x="2766" y="1590"/>
                      <a:pt x="2787" y="1561"/>
                    </a:cubicBezTo>
                    <a:cubicBezTo>
                      <a:pt x="2715" y="1469"/>
                      <a:pt x="2643" y="1377"/>
                      <a:pt x="2572" y="1285"/>
                    </a:cubicBezTo>
                    <a:cubicBezTo>
                      <a:pt x="2529" y="1290"/>
                      <a:pt x="2486" y="1294"/>
                      <a:pt x="2444" y="1298"/>
                    </a:cubicBezTo>
                    <a:cubicBezTo>
                      <a:pt x="2431" y="1276"/>
                      <a:pt x="2419" y="1253"/>
                      <a:pt x="2407" y="1230"/>
                    </a:cubicBezTo>
                    <a:cubicBezTo>
                      <a:pt x="2452" y="1200"/>
                      <a:pt x="2497" y="1169"/>
                      <a:pt x="2542" y="1138"/>
                    </a:cubicBezTo>
                    <a:cubicBezTo>
                      <a:pt x="2505" y="1106"/>
                      <a:pt x="2468" y="1073"/>
                      <a:pt x="2432" y="1040"/>
                    </a:cubicBezTo>
                    <a:cubicBezTo>
                      <a:pt x="2360" y="1069"/>
                      <a:pt x="2288" y="1098"/>
                      <a:pt x="2217" y="1126"/>
                    </a:cubicBezTo>
                    <a:cubicBezTo>
                      <a:pt x="2176" y="1126"/>
                      <a:pt x="2135" y="1126"/>
                      <a:pt x="2095" y="1126"/>
                    </a:cubicBezTo>
                    <a:cubicBezTo>
                      <a:pt x="2086" y="1100"/>
                      <a:pt x="2078" y="1073"/>
                      <a:pt x="2070" y="1046"/>
                    </a:cubicBezTo>
                    <a:cubicBezTo>
                      <a:pt x="2029" y="1049"/>
                      <a:pt x="1988" y="1051"/>
                      <a:pt x="1948" y="1053"/>
                    </a:cubicBezTo>
                    <a:cubicBezTo>
                      <a:pt x="1919" y="1018"/>
                      <a:pt x="1890" y="983"/>
                      <a:pt x="1862" y="948"/>
                    </a:cubicBezTo>
                    <a:cubicBezTo>
                      <a:pt x="1805" y="950"/>
                      <a:pt x="1748" y="952"/>
                      <a:pt x="1691" y="954"/>
                    </a:cubicBezTo>
                    <a:cubicBezTo>
                      <a:pt x="1658" y="936"/>
                      <a:pt x="1625" y="918"/>
                      <a:pt x="1593" y="899"/>
                    </a:cubicBezTo>
                    <a:cubicBezTo>
                      <a:pt x="1560" y="930"/>
                      <a:pt x="1527" y="961"/>
                      <a:pt x="1495" y="991"/>
                    </a:cubicBezTo>
                    <a:cubicBezTo>
                      <a:pt x="1492" y="1016"/>
                      <a:pt x="1490" y="1041"/>
                      <a:pt x="1488" y="1065"/>
                    </a:cubicBezTo>
                    <a:cubicBezTo>
                      <a:pt x="1433" y="1065"/>
                      <a:pt x="1378" y="1065"/>
                      <a:pt x="1323" y="1065"/>
                    </a:cubicBezTo>
                    <a:cubicBezTo>
                      <a:pt x="1280" y="1037"/>
                      <a:pt x="1237" y="1008"/>
                      <a:pt x="1195" y="979"/>
                    </a:cubicBezTo>
                    <a:cubicBezTo>
                      <a:pt x="1203" y="953"/>
                      <a:pt x="1211" y="926"/>
                      <a:pt x="1219" y="899"/>
                    </a:cubicBezTo>
                    <a:cubicBezTo>
                      <a:pt x="1217" y="881"/>
                      <a:pt x="1215" y="863"/>
                      <a:pt x="1213" y="844"/>
                    </a:cubicBezTo>
                    <a:cubicBezTo>
                      <a:pt x="1158" y="861"/>
                      <a:pt x="1103" y="877"/>
                      <a:pt x="1048" y="893"/>
                    </a:cubicBezTo>
                    <a:cubicBezTo>
                      <a:pt x="1074" y="926"/>
                      <a:pt x="1100" y="959"/>
                      <a:pt x="1127" y="991"/>
                    </a:cubicBezTo>
                    <a:cubicBezTo>
                      <a:pt x="1106" y="1022"/>
                      <a:pt x="1086" y="1053"/>
                      <a:pt x="1066" y="1083"/>
                    </a:cubicBezTo>
                    <a:cubicBezTo>
                      <a:pt x="1080" y="1110"/>
                      <a:pt x="1095" y="1137"/>
                      <a:pt x="1109" y="1163"/>
                    </a:cubicBezTo>
                    <a:cubicBezTo>
                      <a:pt x="1097" y="1188"/>
                      <a:pt x="1084" y="1212"/>
                      <a:pt x="1072" y="1236"/>
                    </a:cubicBezTo>
                    <a:cubicBezTo>
                      <a:pt x="1109" y="1257"/>
                      <a:pt x="1146" y="1278"/>
                      <a:pt x="1183" y="1298"/>
                    </a:cubicBezTo>
                    <a:cubicBezTo>
                      <a:pt x="1193" y="1378"/>
                      <a:pt x="1203" y="1457"/>
                      <a:pt x="1213" y="1536"/>
                    </a:cubicBezTo>
                    <a:cubicBezTo>
                      <a:pt x="1168" y="1591"/>
                      <a:pt x="1123" y="1646"/>
                      <a:pt x="1078" y="1701"/>
                    </a:cubicBezTo>
                    <a:cubicBezTo>
                      <a:pt x="1074" y="1732"/>
                      <a:pt x="1070" y="1763"/>
                      <a:pt x="1066" y="1793"/>
                    </a:cubicBezTo>
                    <a:cubicBezTo>
                      <a:pt x="1046" y="1791"/>
                      <a:pt x="1025" y="1789"/>
                      <a:pt x="1005" y="1787"/>
                    </a:cubicBezTo>
                    <a:cubicBezTo>
                      <a:pt x="976" y="1818"/>
                      <a:pt x="948" y="1849"/>
                      <a:pt x="919" y="1879"/>
                    </a:cubicBezTo>
                    <a:cubicBezTo>
                      <a:pt x="929" y="1894"/>
                      <a:pt x="940" y="1908"/>
                      <a:pt x="950" y="1922"/>
                    </a:cubicBezTo>
                    <a:cubicBezTo>
                      <a:pt x="891" y="1998"/>
                      <a:pt x="831" y="2073"/>
                      <a:pt x="772" y="2148"/>
                    </a:cubicBezTo>
                    <a:cubicBezTo>
                      <a:pt x="743" y="2148"/>
                      <a:pt x="715" y="2148"/>
                      <a:pt x="686" y="2148"/>
                    </a:cubicBezTo>
                    <a:cubicBezTo>
                      <a:pt x="658" y="2177"/>
                      <a:pt x="629" y="2206"/>
                      <a:pt x="601" y="2234"/>
                    </a:cubicBezTo>
                    <a:cubicBezTo>
                      <a:pt x="556" y="2253"/>
                      <a:pt x="511" y="2271"/>
                      <a:pt x="466" y="2289"/>
                    </a:cubicBezTo>
                    <a:cubicBezTo>
                      <a:pt x="435" y="2283"/>
                      <a:pt x="405" y="2277"/>
                      <a:pt x="374" y="2271"/>
                    </a:cubicBezTo>
                    <a:cubicBezTo>
                      <a:pt x="342" y="2281"/>
                      <a:pt x="309" y="2291"/>
                      <a:pt x="277" y="2301"/>
                    </a:cubicBezTo>
                    <a:cubicBezTo>
                      <a:pt x="277" y="2304"/>
                      <a:pt x="276" y="2306"/>
                      <a:pt x="276" y="2308"/>
                    </a:cubicBezTo>
                    <a:cubicBezTo>
                      <a:pt x="290" y="2357"/>
                      <a:pt x="305" y="2406"/>
                      <a:pt x="319" y="2455"/>
                    </a:cubicBezTo>
                    <a:cubicBezTo>
                      <a:pt x="335" y="2500"/>
                      <a:pt x="352" y="2545"/>
                      <a:pt x="368" y="2589"/>
                    </a:cubicBezTo>
                    <a:cubicBezTo>
                      <a:pt x="374" y="2630"/>
                      <a:pt x="380" y="2671"/>
                      <a:pt x="386" y="2712"/>
                    </a:cubicBezTo>
                    <a:cubicBezTo>
                      <a:pt x="378" y="2755"/>
                      <a:pt x="370" y="2798"/>
                      <a:pt x="362" y="2840"/>
                    </a:cubicBezTo>
                    <a:cubicBezTo>
                      <a:pt x="340" y="2885"/>
                      <a:pt x="317" y="2930"/>
                      <a:pt x="295" y="2975"/>
                    </a:cubicBezTo>
                    <a:cubicBezTo>
                      <a:pt x="266" y="3018"/>
                      <a:pt x="238" y="3061"/>
                      <a:pt x="209" y="3104"/>
                    </a:cubicBezTo>
                    <a:cubicBezTo>
                      <a:pt x="199" y="3135"/>
                      <a:pt x="188" y="3165"/>
                      <a:pt x="178" y="3195"/>
                    </a:cubicBezTo>
                    <a:cubicBezTo>
                      <a:pt x="184" y="3230"/>
                      <a:pt x="191" y="3265"/>
                      <a:pt x="197" y="3300"/>
                    </a:cubicBezTo>
                    <a:cubicBezTo>
                      <a:pt x="176" y="3339"/>
                      <a:pt x="156" y="3378"/>
                      <a:pt x="135" y="3416"/>
                    </a:cubicBezTo>
                    <a:cubicBezTo>
                      <a:pt x="131" y="3435"/>
                      <a:pt x="127" y="3453"/>
                      <a:pt x="123" y="3471"/>
                    </a:cubicBezTo>
                    <a:cubicBezTo>
                      <a:pt x="133" y="3510"/>
                      <a:pt x="144" y="3549"/>
                      <a:pt x="154" y="3587"/>
                    </a:cubicBezTo>
                    <a:cubicBezTo>
                      <a:pt x="156" y="3622"/>
                      <a:pt x="158" y="3657"/>
                      <a:pt x="160" y="3691"/>
                    </a:cubicBezTo>
                    <a:cubicBezTo>
                      <a:pt x="144" y="3730"/>
                      <a:pt x="127" y="3769"/>
                      <a:pt x="111" y="3808"/>
                    </a:cubicBezTo>
                    <a:cubicBezTo>
                      <a:pt x="74" y="3837"/>
                      <a:pt x="37" y="3866"/>
                      <a:pt x="0" y="3894"/>
                    </a:cubicBezTo>
                    <a:cubicBezTo>
                      <a:pt x="4" y="3943"/>
                      <a:pt x="9" y="3992"/>
                      <a:pt x="13" y="4041"/>
                    </a:cubicBezTo>
                    <a:cubicBezTo>
                      <a:pt x="48" y="4062"/>
                      <a:pt x="82" y="4082"/>
                      <a:pt x="117" y="4102"/>
                    </a:cubicBezTo>
                    <a:cubicBezTo>
                      <a:pt x="115" y="4161"/>
                      <a:pt x="113" y="4219"/>
                      <a:pt x="111" y="4277"/>
                    </a:cubicBezTo>
                    <a:cubicBezTo>
                      <a:pt x="158" y="4278"/>
                      <a:pt x="205" y="4279"/>
                      <a:pt x="252" y="4279"/>
                    </a:cubicBezTo>
                    <a:cubicBezTo>
                      <a:pt x="289" y="4251"/>
                      <a:pt x="325" y="4223"/>
                      <a:pt x="362" y="4194"/>
                    </a:cubicBezTo>
                    <a:cubicBezTo>
                      <a:pt x="405" y="4182"/>
                      <a:pt x="448" y="4170"/>
                      <a:pt x="491" y="4157"/>
                    </a:cubicBezTo>
                    <a:cubicBezTo>
                      <a:pt x="493" y="4116"/>
                      <a:pt x="495" y="4075"/>
                      <a:pt x="497" y="4034"/>
                    </a:cubicBezTo>
                    <a:cubicBezTo>
                      <a:pt x="509" y="3992"/>
                      <a:pt x="521" y="3949"/>
                      <a:pt x="533" y="3906"/>
                    </a:cubicBezTo>
                    <a:cubicBezTo>
                      <a:pt x="588" y="3916"/>
                      <a:pt x="644" y="3926"/>
                      <a:pt x="699" y="3936"/>
                    </a:cubicBezTo>
                    <a:cubicBezTo>
                      <a:pt x="715" y="3930"/>
                      <a:pt x="731" y="3924"/>
                      <a:pt x="747" y="3918"/>
                    </a:cubicBezTo>
                    <a:cubicBezTo>
                      <a:pt x="741" y="3894"/>
                      <a:pt x="735" y="3869"/>
                      <a:pt x="729" y="3844"/>
                    </a:cubicBezTo>
                    <a:cubicBezTo>
                      <a:pt x="754" y="3824"/>
                      <a:pt x="778" y="3804"/>
                      <a:pt x="803" y="3783"/>
                    </a:cubicBezTo>
                    <a:cubicBezTo>
                      <a:pt x="825" y="3722"/>
                      <a:pt x="848" y="3661"/>
                      <a:pt x="870" y="3600"/>
                    </a:cubicBezTo>
                    <a:cubicBezTo>
                      <a:pt x="886" y="3602"/>
                      <a:pt x="903" y="3604"/>
                      <a:pt x="919" y="3606"/>
                    </a:cubicBezTo>
                    <a:cubicBezTo>
                      <a:pt x="937" y="3600"/>
                      <a:pt x="956" y="3594"/>
                      <a:pt x="974" y="3587"/>
                    </a:cubicBezTo>
                    <a:cubicBezTo>
                      <a:pt x="1021" y="3618"/>
                      <a:pt x="1068" y="3649"/>
                      <a:pt x="1115" y="3679"/>
                    </a:cubicBezTo>
                    <a:cubicBezTo>
                      <a:pt x="1121" y="3706"/>
                      <a:pt x="1127" y="3733"/>
                      <a:pt x="1133" y="3759"/>
                    </a:cubicBezTo>
                    <a:cubicBezTo>
                      <a:pt x="1186" y="3802"/>
                      <a:pt x="1239" y="3845"/>
                      <a:pt x="1293" y="3887"/>
                    </a:cubicBezTo>
                    <a:cubicBezTo>
                      <a:pt x="1268" y="3951"/>
                      <a:pt x="1243" y="4014"/>
                      <a:pt x="1219" y="4077"/>
                    </a:cubicBezTo>
                    <a:cubicBezTo>
                      <a:pt x="1225" y="4100"/>
                      <a:pt x="1231" y="4122"/>
                      <a:pt x="1238" y="4144"/>
                    </a:cubicBezTo>
                    <a:cubicBezTo>
                      <a:pt x="1278" y="4173"/>
                      <a:pt x="1319" y="4202"/>
                      <a:pt x="1360" y="4230"/>
                    </a:cubicBezTo>
                    <a:cubicBezTo>
                      <a:pt x="1429" y="4235"/>
                      <a:pt x="1498" y="4239"/>
                      <a:pt x="1568" y="4243"/>
                    </a:cubicBezTo>
                    <a:cubicBezTo>
                      <a:pt x="1629" y="4213"/>
                      <a:pt x="1690" y="4182"/>
                      <a:pt x="1752" y="4151"/>
                    </a:cubicBezTo>
                    <a:cubicBezTo>
                      <a:pt x="1809" y="4153"/>
                      <a:pt x="1866" y="4155"/>
                      <a:pt x="1923" y="4157"/>
                    </a:cubicBezTo>
                    <a:cubicBezTo>
                      <a:pt x="1953" y="4188"/>
                      <a:pt x="1984" y="4219"/>
                      <a:pt x="2015" y="4249"/>
                    </a:cubicBezTo>
                    <a:cubicBezTo>
                      <a:pt x="2062" y="4261"/>
                      <a:pt x="2109" y="4273"/>
                      <a:pt x="2156" y="4285"/>
                    </a:cubicBezTo>
                    <a:cubicBezTo>
                      <a:pt x="2162" y="4310"/>
                      <a:pt x="2168" y="4335"/>
                      <a:pt x="2174" y="4359"/>
                    </a:cubicBezTo>
                    <a:cubicBezTo>
                      <a:pt x="2145" y="4396"/>
                      <a:pt x="2116" y="4433"/>
                      <a:pt x="2088" y="4469"/>
                    </a:cubicBezTo>
                    <a:cubicBezTo>
                      <a:pt x="2114" y="4476"/>
                      <a:pt x="2141" y="4482"/>
                      <a:pt x="2168" y="4488"/>
                    </a:cubicBezTo>
                    <a:cubicBezTo>
                      <a:pt x="2198" y="4474"/>
                      <a:pt x="2229" y="4459"/>
                      <a:pt x="2260" y="4444"/>
                    </a:cubicBezTo>
                    <a:cubicBezTo>
                      <a:pt x="2280" y="4469"/>
                      <a:pt x="2300" y="4494"/>
                      <a:pt x="2321" y="4518"/>
                    </a:cubicBezTo>
                    <a:cubicBezTo>
                      <a:pt x="2366" y="4522"/>
                      <a:pt x="2411" y="4526"/>
                      <a:pt x="2456" y="4530"/>
                    </a:cubicBezTo>
                    <a:cubicBezTo>
                      <a:pt x="2486" y="4551"/>
                      <a:pt x="2517" y="4571"/>
                      <a:pt x="2548" y="4591"/>
                    </a:cubicBezTo>
                    <a:cubicBezTo>
                      <a:pt x="2625" y="4573"/>
                      <a:pt x="2703" y="4555"/>
                      <a:pt x="2781" y="4536"/>
                    </a:cubicBezTo>
                    <a:cubicBezTo>
                      <a:pt x="2844" y="4551"/>
                      <a:pt x="2907" y="4565"/>
                      <a:pt x="2970" y="4579"/>
                    </a:cubicBezTo>
                    <a:cubicBezTo>
                      <a:pt x="2982" y="4534"/>
                      <a:pt x="2994" y="4489"/>
                      <a:pt x="3007" y="4444"/>
                    </a:cubicBezTo>
                    <a:cubicBezTo>
                      <a:pt x="3045" y="4410"/>
                      <a:pt x="3084" y="4376"/>
                      <a:pt x="3123" y="4341"/>
                    </a:cubicBezTo>
                    <a:cubicBezTo>
                      <a:pt x="3123" y="4282"/>
                      <a:pt x="3123" y="4223"/>
                      <a:pt x="3123" y="4163"/>
                    </a:cubicBezTo>
                    <a:cubicBezTo>
                      <a:pt x="3149" y="4137"/>
                      <a:pt x="3176" y="4110"/>
                      <a:pt x="3203" y="4083"/>
                    </a:cubicBezTo>
                    <a:cubicBezTo>
                      <a:pt x="3196" y="4030"/>
                      <a:pt x="3190" y="3977"/>
                      <a:pt x="3184" y="3924"/>
                    </a:cubicBezTo>
                    <a:cubicBezTo>
                      <a:pt x="3266" y="3828"/>
                      <a:pt x="3348" y="3732"/>
                      <a:pt x="3430" y="3636"/>
                    </a:cubicBezTo>
                    <a:cubicBezTo>
                      <a:pt x="3505" y="3630"/>
                      <a:pt x="3580" y="3624"/>
                      <a:pt x="3656" y="3618"/>
                    </a:cubicBezTo>
                    <a:cubicBezTo>
                      <a:pt x="3735" y="3592"/>
                      <a:pt x="3815" y="3565"/>
                      <a:pt x="3895" y="3538"/>
                    </a:cubicBezTo>
                    <a:cubicBezTo>
                      <a:pt x="3942" y="3547"/>
                      <a:pt x="3989" y="3555"/>
                      <a:pt x="4036" y="3563"/>
                    </a:cubicBezTo>
                    <a:cubicBezTo>
                      <a:pt x="4062" y="3582"/>
                      <a:pt x="4088" y="3600"/>
                      <a:pt x="4115" y="3618"/>
                    </a:cubicBezTo>
                    <a:cubicBezTo>
                      <a:pt x="4156" y="3608"/>
                      <a:pt x="4197" y="3598"/>
                      <a:pt x="4238" y="3587"/>
                    </a:cubicBezTo>
                    <a:cubicBezTo>
                      <a:pt x="4282" y="3528"/>
                      <a:pt x="4327" y="3469"/>
                      <a:pt x="4372" y="3410"/>
                    </a:cubicBezTo>
                    <a:cubicBezTo>
                      <a:pt x="4396" y="3410"/>
                      <a:pt x="4421" y="3410"/>
                      <a:pt x="4446" y="3410"/>
                    </a:cubicBezTo>
                    <a:cubicBezTo>
                      <a:pt x="4480" y="3441"/>
                      <a:pt x="4515" y="3472"/>
                      <a:pt x="4550" y="3502"/>
                    </a:cubicBezTo>
                    <a:cubicBezTo>
                      <a:pt x="4627" y="3470"/>
                      <a:pt x="4705" y="3437"/>
                      <a:pt x="4783" y="3404"/>
                    </a:cubicBezTo>
                    <a:cubicBezTo>
                      <a:pt x="4887" y="3435"/>
                      <a:pt x="4991" y="3466"/>
                      <a:pt x="5095" y="3496"/>
                    </a:cubicBezTo>
                    <a:cubicBezTo>
                      <a:pt x="5117" y="3519"/>
                      <a:pt x="5140" y="3541"/>
                      <a:pt x="5163" y="3563"/>
                    </a:cubicBezTo>
                    <a:cubicBezTo>
                      <a:pt x="5201" y="3563"/>
                      <a:pt x="5240" y="3563"/>
                      <a:pt x="5279" y="3563"/>
                    </a:cubicBezTo>
                    <a:cubicBezTo>
                      <a:pt x="5283" y="3537"/>
                      <a:pt x="5287" y="3510"/>
                      <a:pt x="5291" y="3483"/>
                    </a:cubicBezTo>
                    <a:cubicBezTo>
                      <a:pt x="5352" y="3477"/>
                      <a:pt x="5413" y="3471"/>
                      <a:pt x="5475" y="3465"/>
                    </a:cubicBezTo>
                    <a:cubicBezTo>
                      <a:pt x="5595" y="3396"/>
                      <a:pt x="5715" y="3327"/>
                      <a:pt x="5836" y="3257"/>
                    </a:cubicBezTo>
                    <a:cubicBezTo>
                      <a:pt x="5954" y="3227"/>
                      <a:pt x="6072" y="3196"/>
                      <a:pt x="6191" y="3165"/>
                    </a:cubicBezTo>
                    <a:cubicBezTo>
                      <a:pt x="6223" y="3129"/>
                      <a:pt x="6256" y="3092"/>
                      <a:pt x="6289" y="3055"/>
                    </a:cubicBezTo>
                    <a:cubicBezTo>
                      <a:pt x="6311" y="3050"/>
                      <a:pt x="6334" y="3045"/>
                      <a:pt x="6357" y="3040"/>
                    </a:cubicBezTo>
                    <a:cubicBezTo>
                      <a:pt x="6357" y="2998"/>
                      <a:pt x="6357" y="2956"/>
                      <a:pt x="6357" y="2914"/>
                    </a:cubicBezTo>
                    <a:cubicBezTo>
                      <a:pt x="6354" y="2865"/>
                      <a:pt x="6352" y="2816"/>
                      <a:pt x="6350" y="2767"/>
                    </a:cubicBezTo>
                    <a:cubicBezTo>
                      <a:pt x="6333" y="2749"/>
                      <a:pt x="6317" y="2731"/>
                      <a:pt x="6301" y="2712"/>
                    </a:cubicBezTo>
                    <a:cubicBezTo>
                      <a:pt x="6270" y="2700"/>
                      <a:pt x="6240" y="2688"/>
                      <a:pt x="6210" y="2675"/>
                    </a:cubicBezTo>
                    <a:cubicBezTo>
                      <a:pt x="6205" y="2628"/>
                      <a:pt x="6201" y="2581"/>
                      <a:pt x="6197" y="2534"/>
                    </a:cubicBezTo>
                    <a:cubicBezTo>
                      <a:pt x="6195" y="2475"/>
                      <a:pt x="6193" y="2416"/>
                      <a:pt x="6191" y="2357"/>
                    </a:cubicBezTo>
                    <a:cubicBezTo>
                      <a:pt x="6205" y="2331"/>
                      <a:pt x="6219" y="2304"/>
                      <a:pt x="6234" y="2277"/>
                    </a:cubicBezTo>
                    <a:cubicBezTo>
                      <a:pt x="6221" y="2228"/>
                      <a:pt x="6209" y="2179"/>
                      <a:pt x="6197" y="2130"/>
                    </a:cubicBezTo>
                    <a:cubicBezTo>
                      <a:pt x="6223" y="2116"/>
                      <a:pt x="6250" y="2102"/>
                      <a:pt x="6277" y="2087"/>
                    </a:cubicBezTo>
                    <a:cubicBezTo>
                      <a:pt x="6334" y="2092"/>
                      <a:pt x="6391" y="2096"/>
                      <a:pt x="6448" y="2100"/>
                    </a:cubicBezTo>
                    <a:cubicBezTo>
                      <a:pt x="6493" y="2076"/>
                      <a:pt x="6538" y="2051"/>
                      <a:pt x="6583" y="2026"/>
                    </a:cubicBezTo>
                    <a:cubicBezTo>
                      <a:pt x="6642" y="2000"/>
                      <a:pt x="6701" y="1974"/>
                      <a:pt x="6761" y="1947"/>
                    </a:cubicBezTo>
                    <a:cubicBezTo>
                      <a:pt x="6797" y="1914"/>
                      <a:pt x="6834" y="1881"/>
                      <a:pt x="6871" y="1848"/>
                    </a:cubicBezTo>
                    <a:cubicBezTo>
                      <a:pt x="6893" y="1840"/>
                      <a:pt x="6915" y="1832"/>
                      <a:pt x="6938" y="1824"/>
                    </a:cubicBezTo>
                    <a:cubicBezTo>
                      <a:pt x="6989" y="1859"/>
                      <a:pt x="7040" y="1894"/>
                      <a:pt x="7091" y="1928"/>
                    </a:cubicBezTo>
                    <a:cubicBezTo>
                      <a:pt x="7185" y="1892"/>
                      <a:pt x="7279" y="1855"/>
                      <a:pt x="7373" y="1818"/>
                    </a:cubicBezTo>
                    <a:cubicBezTo>
                      <a:pt x="7371" y="1788"/>
                      <a:pt x="7369" y="1757"/>
                      <a:pt x="7367" y="1726"/>
                    </a:cubicBezTo>
                    <a:cubicBezTo>
                      <a:pt x="7422" y="1673"/>
                      <a:pt x="7477" y="1620"/>
                      <a:pt x="7532" y="1567"/>
                    </a:cubicBezTo>
                    <a:cubicBezTo>
                      <a:pt x="7573" y="1567"/>
                      <a:pt x="7614" y="1567"/>
                      <a:pt x="7655" y="1567"/>
                    </a:cubicBezTo>
                    <a:cubicBezTo>
                      <a:pt x="7681" y="1555"/>
                      <a:pt x="7707" y="1543"/>
                      <a:pt x="7734" y="1530"/>
                    </a:cubicBezTo>
                    <a:cubicBezTo>
                      <a:pt x="7756" y="1500"/>
                      <a:pt x="7778" y="1469"/>
                      <a:pt x="7801" y="1438"/>
                    </a:cubicBezTo>
                    <a:cubicBezTo>
                      <a:pt x="7811" y="1404"/>
                      <a:pt x="7821" y="1369"/>
                      <a:pt x="7832" y="1334"/>
                    </a:cubicBezTo>
                    <a:cubicBezTo>
                      <a:pt x="7840" y="1300"/>
                      <a:pt x="7848" y="1265"/>
                      <a:pt x="7856" y="1230"/>
                    </a:cubicBezTo>
                    <a:cubicBezTo>
                      <a:pt x="7874" y="1206"/>
                      <a:pt x="7893" y="1182"/>
                      <a:pt x="7912" y="1157"/>
                    </a:cubicBezTo>
                    <a:cubicBezTo>
                      <a:pt x="7940" y="1110"/>
                      <a:pt x="7968" y="1063"/>
                      <a:pt x="7997" y="1016"/>
                    </a:cubicBezTo>
                    <a:cubicBezTo>
                      <a:pt x="7980" y="994"/>
                      <a:pt x="7964" y="971"/>
                      <a:pt x="7948" y="948"/>
                    </a:cubicBezTo>
                    <a:cubicBezTo>
                      <a:pt x="7927" y="924"/>
                      <a:pt x="7907" y="900"/>
                      <a:pt x="7887" y="875"/>
                    </a:cubicBezTo>
                    <a:cubicBezTo>
                      <a:pt x="7887" y="845"/>
                      <a:pt x="7887" y="814"/>
                      <a:pt x="7887" y="783"/>
                    </a:cubicBezTo>
                    <a:cubicBezTo>
                      <a:pt x="7883" y="738"/>
                      <a:pt x="7879" y="693"/>
                      <a:pt x="7875" y="648"/>
                    </a:cubicBezTo>
                    <a:cubicBezTo>
                      <a:pt x="7838" y="632"/>
                      <a:pt x="7801" y="616"/>
                      <a:pt x="7765" y="599"/>
                    </a:cubicBezTo>
                    <a:cubicBezTo>
                      <a:pt x="7732" y="579"/>
                      <a:pt x="7699" y="559"/>
                      <a:pt x="7667" y="538"/>
                    </a:cubicBezTo>
                    <a:cubicBezTo>
                      <a:pt x="7655" y="495"/>
                      <a:pt x="7644" y="452"/>
                      <a:pt x="7633" y="409"/>
                    </a:cubicBezTo>
                    <a:cubicBezTo>
                      <a:pt x="7607" y="401"/>
                      <a:pt x="7581" y="393"/>
                      <a:pt x="7556" y="385"/>
                    </a:cubicBezTo>
                    <a:cubicBezTo>
                      <a:pt x="7525" y="408"/>
                      <a:pt x="7495" y="431"/>
                      <a:pt x="7465" y="453"/>
                    </a:cubicBezTo>
                    <a:cubicBezTo>
                      <a:pt x="7401" y="400"/>
                      <a:pt x="7338" y="347"/>
                      <a:pt x="7275" y="293"/>
                    </a:cubicBezTo>
                    <a:cubicBezTo>
                      <a:pt x="7254" y="249"/>
                      <a:pt x="7234" y="204"/>
                      <a:pt x="7214" y="159"/>
                    </a:cubicBezTo>
                    <a:cubicBezTo>
                      <a:pt x="7144" y="178"/>
                      <a:pt x="7075" y="196"/>
                      <a:pt x="7006" y="214"/>
                    </a:cubicBezTo>
                    <a:cubicBezTo>
                      <a:pt x="6965" y="202"/>
                      <a:pt x="6924" y="190"/>
                      <a:pt x="6883" y="177"/>
                    </a:cubicBezTo>
                    <a:cubicBezTo>
                      <a:pt x="6811" y="202"/>
                      <a:pt x="6740" y="227"/>
                      <a:pt x="6669" y="251"/>
                    </a:cubicBezTo>
                    <a:cubicBezTo>
                      <a:pt x="6652" y="212"/>
                      <a:pt x="6636" y="173"/>
                      <a:pt x="6620" y="134"/>
                    </a:cubicBezTo>
                    <a:cubicBezTo>
                      <a:pt x="6642" y="104"/>
                      <a:pt x="6664" y="73"/>
                      <a:pt x="6687" y="43"/>
                    </a:cubicBezTo>
                    <a:cubicBezTo>
                      <a:pt x="6677" y="28"/>
                      <a:pt x="6667" y="14"/>
                      <a:pt x="6657" y="0"/>
                    </a:cubicBezTo>
                    <a:close/>
                    <a:moveTo>
                      <a:pt x="7633" y="409"/>
                    </a:moveTo>
                    <a:cubicBezTo>
                      <a:pt x="7634" y="410"/>
                      <a:pt x="7635" y="410"/>
                      <a:pt x="7636" y="410"/>
                    </a:cubicBezTo>
                    <a:cubicBezTo>
                      <a:pt x="7634" y="406"/>
                      <a:pt x="7632" y="402"/>
                      <a:pt x="7630" y="397"/>
                    </a:cubicBezTo>
                    <a:cubicBezTo>
                      <a:pt x="7631" y="401"/>
                      <a:pt x="7632" y="405"/>
                      <a:pt x="7633" y="409"/>
                    </a:cubicBezTo>
                    <a:close/>
                    <a:moveTo>
                      <a:pt x="6357" y="3040"/>
                    </a:moveTo>
                    <a:cubicBezTo>
                      <a:pt x="6410" y="3029"/>
                      <a:pt x="6464" y="3017"/>
                      <a:pt x="6518" y="3005"/>
                    </a:cubicBezTo>
                    <a:cubicBezTo>
                      <a:pt x="6544" y="3000"/>
                      <a:pt x="6570" y="2995"/>
                      <a:pt x="6596" y="2989"/>
                    </a:cubicBezTo>
                    <a:cubicBezTo>
                      <a:pt x="6621" y="3009"/>
                      <a:pt x="6646" y="3029"/>
                      <a:pt x="6671" y="3049"/>
                    </a:cubicBezTo>
                    <a:cubicBezTo>
                      <a:pt x="6678" y="3055"/>
                      <a:pt x="6685" y="3061"/>
                      <a:pt x="6693" y="3067"/>
                    </a:cubicBezTo>
                    <a:cubicBezTo>
                      <a:pt x="6656" y="3139"/>
                      <a:pt x="6619" y="3210"/>
                      <a:pt x="6583" y="3281"/>
                    </a:cubicBezTo>
                    <a:cubicBezTo>
                      <a:pt x="6517" y="3298"/>
                      <a:pt x="6452" y="3314"/>
                      <a:pt x="6387" y="3330"/>
                    </a:cubicBezTo>
                    <a:cubicBezTo>
                      <a:pt x="6387" y="3406"/>
                      <a:pt x="6387" y="3482"/>
                      <a:pt x="6387" y="3557"/>
                    </a:cubicBezTo>
                    <a:cubicBezTo>
                      <a:pt x="6417" y="3602"/>
                      <a:pt x="6448" y="3647"/>
                      <a:pt x="6479" y="3691"/>
                    </a:cubicBezTo>
                    <a:cubicBezTo>
                      <a:pt x="6483" y="3722"/>
                      <a:pt x="6487" y="3753"/>
                      <a:pt x="6491" y="3783"/>
                    </a:cubicBezTo>
                    <a:cubicBezTo>
                      <a:pt x="6552" y="3822"/>
                      <a:pt x="6613" y="3861"/>
                      <a:pt x="6675" y="3899"/>
                    </a:cubicBezTo>
                    <a:cubicBezTo>
                      <a:pt x="6718" y="3896"/>
                      <a:pt x="6761" y="3892"/>
                      <a:pt x="6804" y="3888"/>
                    </a:cubicBezTo>
                    <a:cubicBezTo>
                      <a:pt x="6818" y="3902"/>
                      <a:pt x="6832" y="3916"/>
                      <a:pt x="6846" y="3930"/>
                    </a:cubicBezTo>
                    <a:cubicBezTo>
                      <a:pt x="6881" y="3994"/>
                      <a:pt x="6916" y="4057"/>
                      <a:pt x="6951" y="4120"/>
                    </a:cubicBezTo>
                    <a:cubicBezTo>
                      <a:pt x="6934" y="4200"/>
                      <a:pt x="6917" y="4280"/>
                      <a:pt x="6901" y="4359"/>
                    </a:cubicBezTo>
                    <a:cubicBezTo>
                      <a:pt x="6942" y="4376"/>
                      <a:pt x="6983" y="4392"/>
                      <a:pt x="7024" y="4408"/>
                    </a:cubicBezTo>
                    <a:cubicBezTo>
                      <a:pt x="7064" y="4406"/>
                      <a:pt x="7122" y="4396"/>
                      <a:pt x="7146" y="4402"/>
                    </a:cubicBezTo>
                    <a:cubicBezTo>
                      <a:pt x="7146" y="4402"/>
                      <a:pt x="7146" y="4402"/>
                      <a:pt x="7147" y="4402"/>
                    </a:cubicBezTo>
                    <a:cubicBezTo>
                      <a:pt x="7147" y="4403"/>
                      <a:pt x="7148" y="4402"/>
                      <a:pt x="7148" y="4403"/>
                    </a:cubicBezTo>
                    <a:cubicBezTo>
                      <a:pt x="7174" y="4421"/>
                      <a:pt x="7200" y="4570"/>
                      <a:pt x="7226" y="4653"/>
                    </a:cubicBezTo>
                    <a:cubicBezTo>
                      <a:pt x="7271" y="4680"/>
                      <a:pt x="7316" y="4706"/>
                      <a:pt x="7361" y="4732"/>
                    </a:cubicBezTo>
                    <a:cubicBezTo>
                      <a:pt x="7503" y="4798"/>
                      <a:pt x="7646" y="4863"/>
                      <a:pt x="7789" y="4928"/>
                    </a:cubicBezTo>
                    <a:cubicBezTo>
                      <a:pt x="7838" y="4934"/>
                      <a:pt x="7887" y="4940"/>
                      <a:pt x="7936" y="4946"/>
                    </a:cubicBezTo>
                    <a:cubicBezTo>
                      <a:pt x="7989" y="4945"/>
                      <a:pt x="8042" y="4944"/>
                      <a:pt x="8095" y="4943"/>
                    </a:cubicBezTo>
                    <a:cubicBezTo>
                      <a:pt x="8103" y="4951"/>
                      <a:pt x="8112" y="4959"/>
                      <a:pt x="8121" y="4967"/>
                    </a:cubicBezTo>
                    <a:cubicBezTo>
                      <a:pt x="8126" y="4946"/>
                      <a:pt x="8132" y="4925"/>
                      <a:pt x="8138" y="4904"/>
                    </a:cubicBezTo>
                    <a:cubicBezTo>
                      <a:pt x="8164" y="4861"/>
                      <a:pt x="8187" y="4794"/>
                      <a:pt x="8218" y="4775"/>
                    </a:cubicBezTo>
                    <a:cubicBezTo>
                      <a:pt x="8248" y="4757"/>
                      <a:pt x="8246" y="4673"/>
                      <a:pt x="8261" y="4622"/>
                    </a:cubicBezTo>
                    <a:cubicBezTo>
                      <a:pt x="8263" y="4569"/>
                      <a:pt x="8265" y="4516"/>
                      <a:pt x="8267" y="4463"/>
                    </a:cubicBezTo>
                    <a:cubicBezTo>
                      <a:pt x="8301" y="4465"/>
                      <a:pt x="8336" y="4467"/>
                      <a:pt x="8371" y="4469"/>
                    </a:cubicBezTo>
                    <a:cubicBezTo>
                      <a:pt x="8414" y="4471"/>
                      <a:pt x="8457" y="4473"/>
                      <a:pt x="8500" y="4475"/>
                    </a:cubicBezTo>
                    <a:cubicBezTo>
                      <a:pt x="8538" y="4453"/>
                      <a:pt x="8577" y="4431"/>
                      <a:pt x="8616" y="4408"/>
                    </a:cubicBezTo>
                    <a:cubicBezTo>
                      <a:pt x="8661" y="4382"/>
                      <a:pt x="8706" y="4355"/>
                      <a:pt x="8751" y="4328"/>
                    </a:cubicBezTo>
                    <a:cubicBezTo>
                      <a:pt x="8783" y="4357"/>
                      <a:pt x="8816" y="4386"/>
                      <a:pt x="8849" y="4414"/>
                    </a:cubicBezTo>
                    <a:cubicBezTo>
                      <a:pt x="8883" y="4418"/>
                      <a:pt x="8918" y="4422"/>
                      <a:pt x="8953" y="4426"/>
                    </a:cubicBezTo>
                    <a:cubicBezTo>
                      <a:pt x="8944" y="4379"/>
                      <a:pt x="8936" y="4332"/>
                      <a:pt x="8928" y="4285"/>
                    </a:cubicBezTo>
                    <a:cubicBezTo>
                      <a:pt x="8897" y="4255"/>
                      <a:pt x="8866" y="4225"/>
                      <a:pt x="8836" y="4194"/>
                    </a:cubicBezTo>
                    <a:cubicBezTo>
                      <a:pt x="8803" y="4149"/>
                      <a:pt x="8770" y="4104"/>
                      <a:pt x="8738" y="4059"/>
                    </a:cubicBezTo>
                    <a:cubicBezTo>
                      <a:pt x="8701" y="4029"/>
                      <a:pt x="8664" y="3998"/>
                      <a:pt x="8628" y="3967"/>
                    </a:cubicBezTo>
                    <a:cubicBezTo>
                      <a:pt x="8597" y="3933"/>
                      <a:pt x="8566" y="3898"/>
                      <a:pt x="8536" y="3863"/>
                    </a:cubicBezTo>
                    <a:cubicBezTo>
                      <a:pt x="8532" y="3818"/>
                      <a:pt x="8528" y="3773"/>
                      <a:pt x="8524" y="3728"/>
                    </a:cubicBezTo>
                    <a:cubicBezTo>
                      <a:pt x="8507" y="3684"/>
                      <a:pt x="8491" y="3639"/>
                      <a:pt x="8475" y="3594"/>
                    </a:cubicBezTo>
                    <a:cubicBezTo>
                      <a:pt x="8436" y="3588"/>
                      <a:pt x="8397" y="3582"/>
                      <a:pt x="8359" y="3575"/>
                    </a:cubicBezTo>
                    <a:cubicBezTo>
                      <a:pt x="8344" y="3541"/>
                      <a:pt x="8330" y="3506"/>
                      <a:pt x="8316" y="3471"/>
                    </a:cubicBezTo>
                    <a:cubicBezTo>
                      <a:pt x="8291" y="3441"/>
                      <a:pt x="8266" y="3410"/>
                      <a:pt x="8242" y="3379"/>
                    </a:cubicBezTo>
                    <a:cubicBezTo>
                      <a:pt x="8252" y="3341"/>
                      <a:pt x="8262" y="3302"/>
                      <a:pt x="8273" y="3263"/>
                    </a:cubicBezTo>
                    <a:cubicBezTo>
                      <a:pt x="8293" y="3208"/>
                      <a:pt x="8313" y="3153"/>
                      <a:pt x="8334" y="3097"/>
                    </a:cubicBezTo>
                    <a:cubicBezTo>
                      <a:pt x="8270" y="3079"/>
                      <a:pt x="8207" y="3061"/>
                      <a:pt x="8144" y="3042"/>
                    </a:cubicBezTo>
                    <a:cubicBezTo>
                      <a:pt x="8078" y="3028"/>
                      <a:pt x="8013" y="3014"/>
                      <a:pt x="7948" y="3000"/>
                    </a:cubicBezTo>
                    <a:cubicBezTo>
                      <a:pt x="7936" y="2951"/>
                      <a:pt x="7924" y="2902"/>
                      <a:pt x="7912" y="2853"/>
                    </a:cubicBezTo>
                    <a:cubicBezTo>
                      <a:pt x="7895" y="2835"/>
                      <a:pt x="7879" y="2816"/>
                      <a:pt x="7863" y="2797"/>
                    </a:cubicBezTo>
                    <a:cubicBezTo>
                      <a:pt x="7814" y="2763"/>
                      <a:pt x="7765" y="2729"/>
                      <a:pt x="7716" y="2694"/>
                    </a:cubicBezTo>
                    <a:cubicBezTo>
                      <a:pt x="7677" y="2694"/>
                      <a:pt x="7638" y="2694"/>
                      <a:pt x="7600" y="2694"/>
                    </a:cubicBezTo>
                    <a:cubicBezTo>
                      <a:pt x="7573" y="2688"/>
                      <a:pt x="7546" y="2682"/>
                      <a:pt x="7520" y="2675"/>
                    </a:cubicBezTo>
                    <a:cubicBezTo>
                      <a:pt x="7489" y="2657"/>
                      <a:pt x="7458" y="2639"/>
                      <a:pt x="7428" y="2620"/>
                    </a:cubicBezTo>
                    <a:cubicBezTo>
                      <a:pt x="7391" y="2653"/>
                      <a:pt x="7354" y="2686"/>
                      <a:pt x="7318" y="2718"/>
                    </a:cubicBezTo>
                    <a:cubicBezTo>
                      <a:pt x="7281" y="2710"/>
                      <a:pt x="7244" y="2702"/>
                      <a:pt x="7208" y="2694"/>
                    </a:cubicBezTo>
                    <a:cubicBezTo>
                      <a:pt x="7161" y="2706"/>
                      <a:pt x="7114" y="2718"/>
                      <a:pt x="7067" y="2730"/>
                    </a:cubicBezTo>
                    <a:cubicBezTo>
                      <a:pt x="7054" y="2765"/>
                      <a:pt x="7042" y="2800"/>
                      <a:pt x="7030" y="2834"/>
                    </a:cubicBezTo>
                    <a:cubicBezTo>
                      <a:pt x="7015" y="2859"/>
                      <a:pt x="7001" y="2884"/>
                      <a:pt x="6987" y="2908"/>
                    </a:cubicBezTo>
                    <a:cubicBezTo>
                      <a:pt x="6940" y="2941"/>
                      <a:pt x="6893" y="2974"/>
                      <a:pt x="6846" y="3006"/>
                    </a:cubicBezTo>
                    <a:cubicBezTo>
                      <a:pt x="6789" y="3021"/>
                      <a:pt x="6732" y="3035"/>
                      <a:pt x="6675" y="3049"/>
                    </a:cubicBezTo>
                    <a:cubicBezTo>
                      <a:pt x="6673" y="3049"/>
                      <a:pt x="6672" y="3049"/>
                      <a:pt x="6671" y="3049"/>
                    </a:cubicBezTo>
                    <a:cubicBezTo>
                      <a:pt x="6645" y="3029"/>
                      <a:pt x="6620" y="3008"/>
                      <a:pt x="6595" y="2987"/>
                    </a:cubicBezTo>
                    <a:cubicBezTo>
                      <a:pt x="6557" y="2996"/>
                      <a:pt x="6519" y="3004"/>
                      <a:pt x="6481" y="3012"/>
                    </a:cubicBezTo>
                    <a:cubicBezTo>
                      <a:pt x="6439" y="3022"/>
                      <a:pt x="6398" y="3031"/>
                      <a:pt x="6357" y="3040"/>
                    </a:cubicBezTo>
                    <a:close/>
                    <a:moveTo>
                      <a:pt x="111" y="4277"/>
                    </a:moveTo>
                    <a:cubicBezTo>
                      <a:pt x="109" y="4277"/>
                      <a:pt x="107" y="4277"/>
                      <a:pt x="105" y="4277"/>
                    </a:cubicBezTo>
                    <a:cubicBezTo>
                      <a:pt x="107" y="4282"/>
                      <a:pt x="109" y="4287"/>
                      <a:pt x="111" y="4291"/>
                    </a:cubicBezTo>
                    <a:cubicBezTo>
                      <a:pt x="111" y="4287"/>
                      <a:pt x="111" y="4282"/>
                      <a:pt x="111" y="4277"/>
                    </a:cubicBezTo>
                    <a:close/>
                  </a:path>
                </a:pathLst>
              </a:custGeom>
              <a:grpFill/>
              <a:ln w="9525" cap="flat">
                <a:solidFill>
                  <a:schemeClr val="bg1"/>
                </a:solidFill>
                <a:bevel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0" name="Freeform 49">
                <a:extLst>
                  <a:ext uri="{FF2B5EF4-FFF2-40B4-BE49-F238E27FC236}">
                    <a16:creationId xmlns:a16="http://schemas.microsoft.com/office/drawing/2014/main" id="{229473F5-4720-6751-0B9E-2E146F4F1C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20000">
                <a:off x="7647310" y="4342503"/>
                <a:ext cx="1504619" cy="1251935"/>
              </a:xfrm>
              <a:custGeom>
                <a:avLst/>
                <a:gdLst>
                  <a:gd name="T0" fmla="*/ 733499 w 5781"/>
                  <a:gd name="T1" fmla="*/ 1551656 h 4812"/>
                  <a:gd name="T2" fmla="*/ 929554 w 5781"/>
                  <a:gd name="T3" fmla="*/ 1589054 h 4812"/>
                  <a:gd name="T4" fmla="*/ 1127768 w 5781"/>
                  <a:gd name="T5" fmla="*/ 1659535 h 4812"/>
                  <a:gd name="T6" fmla="*/ 1299721 w 5781"/>
                  <a:gd name="T7" fmla="*/ 1637599 h 4812"/>
                  <a:gd name="T8" fmla="*/ 1414116 w 5781"/>
                  <a:gd name="T9" fmla="*/ 1562803 h 4812"/>
                  <a:gd name="T10" fmla="*/ 1585710 w 5781"/>
                  <a:gd name="T11" fmla="*/ 1591211 h 4812"/>
                  <a:gd name="T12" fmla="*/ 1746511 w 5781"/>
                  <a:gd name="T13" fmla="*/ 1613506 h 4812"/>
                  <a:gd name="T14" fmla="*/ 1860906 w 5781"/>
                  <a:gd name="T15" fmla="*/ 1694775 h 4812"/>
                  <a:gd name="T16" fmla="*/ 1958035 w 5781"/>
                  <a:gd name="T17" fmla="*/ 1657377 h 4812"/>
                  <a:gd name="T18" fmla="*/ 2006599 w 5781"/>
                  <a:gd name="T19" fmla="*/ 1503470 h 4812"/>
                  <a:gd name="T20" fmla="*/ 2077107 w 5781"/>
                  <a:gd name="T21" fmla="*/ 1390917 h 4812"/>
                  <a:gd name="T22" fmla="*/ 1966668 w 5781"/>
                  <a:gd name="T23" fmla="*/ 1265418 h 4812"/>
                  <a:gd name="T24" fmla="*/ 1876375 w 5781"/>
                  <a:gd name="T25" fmla="*/ 1192779 h 4812"/>
                  <a:gd name="T26" fmla="*/ 1786082 w 5781"/>
                  <a:gd name="T27" fmla="*/ 1225862 h 4812"/>
                  <a:gd name="T28" fmla="*/ 1656218 w 5781"/>
                  <a:gd name="T29" fmla="*/ 1074113 h 4812"/>
                  <a:gd name="T30" fmla="*/ 1638591 w 5781"/>
                  <a:gd name="T31" fmla="*/ 884606 h 4812"/>
                  <a:gd name="T32" fmla="*/ 1515561 w 5781"/>
                  <a:gd name="T33" fmla="*/ 763422 h 4812"/>
                  <a:gd name="T34" fmla="*/ 1528512 w 5781"/>
                  <a:gd name="T35" fmla="*/ 637923 h 4812"/>
                  <a:gd name="T36" fmla="*/ 1550456 w 5781"/>
                  <a:gd name="T37" fmla="*/ 473228 h 4812"/>
                  <a:gd name="T38" fmla="*/ 1442895 w 5781"/>
                  <a:gd name="T39" fmla="*/ 411737 h 4812"/>
                  <a:gd name="T40" fmla="*/ 1491459 w 5781"/>
                  <a:gd name="T41" fmla="*/ 352044 h 4812"/>
                  <a:gd name="T42" fmla="*/ 1297562 w 5781"/>
                  <a:gd name="T43" fmla="*/ 306016 h 4812"/>
                  <a:gd name="T44" fmla="*/ 1323823 w 5781"/>
                  <a:gd name="T45" fmla="*/ 103564 h 4812"/>
                  <a:gd name="T46" fmla="*/ 1291087 w 5781"/>
                  <a:gd name="T47" fmla="*/ 41713 h 4812"/>
                  <a:gd name="T48" fmla="*/ 1070570 w 5781"/>
                  <a:gd name="T49" fmla="*/ 65806 h 4812"/>
                  <a:gd name="T50" fmla="*/ 923079 w 5781"/>
                  <a:gd name="T51" fmla="*/ 13305 h 4812"/>
                  <a:gd name="T52" fmla="*/ 813719 w 5781"/>
                  <a:gd name="T53" fmla="*/ 91697 h 4812"/>
                  <a:gd name="T54" fmla="*/ 927395 w 5781"/>
                  <a:gd name="T55" fmla="*/ 213600 h 4812"/>
                  <a:gd name="T56" fmla="*/ 911927 w 5781"/>
                  <a:gd name="T57" fmla="*/ 471071 h 4812"/>
                  <a:gd name="T58" fmla="*/ 1013372 w 5781"/>
                  <a:gd name="T59" fmla="*/ 510626 h 4812"/>
                  <a:gd name="T60" fmla="*/ 1077405 w 5781"/>
                  <a:gd name="T61" fmla="*/ 682153 h 4812"/>
                  <a:gd name="T62" fmla="*/ 1064095 w 5781"/>
                  <a:gd name="T63" fmla="*/ 783559 h 4812"/>
                  <a:gd name="T64" fmla="*/ 1061936 w 5781"/>
                  <a:gd name="T65" fmla="*/ 900068 h 4812"/>
                  <a:gd name="T66" fmla="*/ 962649 w 5781"/>
                  <a:gd name="T67" fmla="*/ 935309 h 4812"/>
                  <a:gd name="T68" fmla="*/ 788898 w 5781"/>
                  <a:gd name="T69" fmla="*/ 818440 h 4812"/>
                  <a:gd name="T70" fmla="*/ 788898 w 5781"/>
                  <a:gd name="T71" fmla="*/ 675681 h 4812"/>
                  <a:gd name="T72" fmla="*/ 676301 w 5781"/>
                  <a:gd name="T73" fmla="*/ 600525 h 4812"/>
                  <a:gd name="T74" fmla="*/ 519816 w 5781"/>
                  <a:gd name="T75" fmla="*/ 677838 h 4812"/>
                  <a:gd name="T76" fmla="*/ 605793 w 5781"/>
                  <a:gd name="T77" fmla="*/ 763422 h 4812"/>
                  <a:gd name="T78" fmla="*/ 650040 w 5781"/>
                  <a:gd name="T79" fmla="*/ 895753 h 4812"/>
                  <a:gd name="T80" fmla="*/ 579532 w 5781"/>
                  <a:gd name="T81" fmla="*/ 1047503 h 4812"/>
                  <a:gd name="T82" fmla="*/ 423048 w 5781"/>
                  <a:gd name="T83" fmla="*/ 1151066 h 4812"/>
                  <a:gd name="T84" fmla="*/ 244619 w 5781"/>
                  <a:gd name="T85" fmla="*/ 1194937 h 4812"/>
                  <a:gd name="T86" fmla="*/ 30937 w 5781"/>
                  <a:gd name="T87" fmla="*/ 1280880 h 4812"/>
                  <a:gd name="T88" fmla="*/ 2518 w 5781"/>
                  <a:gd name="T89" fmla="*/ 1441620 h 4812"/>
                  <a:gd name="T90" fmla="*/ 59716 w 5781"/>
                  <a:gd name="T91" fmla="*/ 1578266 h 4812"/>
                  <a:gd name="T92" fmla="*/ 145692 w 5781"/>
                  <a:gd name="T93" fmla="*/ 1604516 h 4812"/>
                  <a:gd name="T94" fmla="*/ 286349 w 5781"/>
                  <a:gd name="T95" fmla="*/ 1576108 h 4812"/>
                  <a:gd name="T96" fmla="*/ 405421 w 5781"/>
                  <a:gd name="T97" fmla="*/ 1507785 h 4812"/>
                  <a:gd name="T98" fmla="*/ 548595 w 5781"/>
                  <a:gd name="T99" fmla="*/ 1498795 h 4812"/>
                  <a:gd name="T100" fmla="*/ 813000 w 5781"/>
                  <a:gd name="T101" fmla="*/ 92057 h 4812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5781" h="4812">
                    <a:moveTo>
                      <a:pt x="1782" y="4279"/>
                    </a:moveTo>
                    <a:cubicBezTo>
                      <a:pt x="1788" y="4249"/>
                      <a:pt x="1794" y="4218"/>
                      <a:pt x="1801" y="4187"/>
                    </a:cubicBezTo>
                    <a:cubicBezTo>
                      <a:pt x="1852" y="4212"/>
                      <a:pt x="1903" y="4236"/>
                      <a:pt x="1954" y="4260"/>
                    </a:cubicBezTo>
                    <a:cubicBezTo>
                      <a:pt x="1982" y="4279"/>
                      <a:pt x="2010" y="4297"/>
                      <a:pt x="2039" y="4315"/>
                    </a:cubicBezTo>
                    <a:cubicBezTo>
                      <a:pt x="2071" y="4336"/>
                      <a:pt x="2104" y="4357"/>
                      <a:pt x="2137" y="4377"/>
                    </a:cubicBezTo>
                    <a:cubicBezTo>
                      <a:pt x="2186" y="4383"/>
                      <a:pt x="2235" y="4389"/>
                      <a:pt x="2284" y="4395"/>
                    </a:cubicBezTo>
                    <a:cubicBezTo>
                      <a:pt x="2343" y="4403"/>
                      <a:pt x="2402" y="4411"/>
                      <a:pt x="2462" y="4419"/>
                    </a:cubicBezTo>
                    <a:cubicBezTo>
                      <a:pt x="2502" y="4419"/>
                      <a:pt x="2543" y="4419"/>
                      <a:pt x="2584" y="4419"/>
                    </a:cubicBezTo>
                    <a:cubicBezTo>
                      <a:pt x="2629" y="4444"/>
                      <a:pt x="2674" y="4469"/>
                      <a:pt x="2719" y="4493"/>
                    </a:cubicBezTo>
                    <a:cubicBezTo>
                      <a:pt x="2764" y="4518"/>
                      <a:pt x="2809" y="4542"/>
                      <a:pt x="2854" y="4566"/>
                    </a:cubicBezTo>
                    <a:cubicBezTo>
                      <a:pt x="2899" y="4593"/>
                      <a:pt x="2944" y="4620"/>
                      <a:pt x="2989" y="4646"/>
                    </a:cubicBezTo>
                    <a:cubicBezTo>
                      <a:pt x="3037" y="4636"/>
                      <a:pt x="3086" y="4626"/>
                      <a:pt x="3135" y="4615"/>
                    </a:cubicBezTo>
                    <a:cubicBezTo>
                      <a:pt x="3172" y="4615"/>
                      <a:pt x="3209" y="4615"/>
                      <a:pt x="3246" y="4615"/>
                    </a:cubicBezTo>
                    <a:cubicBezTo>
                      <a:pt x="3288" y="4620"/>
                      <a:pt x="3331" y="4624"/>
                      <a:pt x="3374" y="4628"/>
                    </a:cubicBezTo>
                    <a:cubicBezTo>
                      <a:pt x="3423" y="4610"/>
                      <a:pt x="3472" y="4591"/>
                      <a:pt x="3521" y="4572"/>
                    </a:cubicBezTo>
                    <a:cubicBezTo>
                      <a:pt x="3551" y="4566"/>
                      <a:pt x="3582" y="4560"/>
                      <a:pt x="3613" y="4554"/>
                    </a:cubicBezTo>
                    <a:cubicBezTo>
                      <a:pt x="3621" y="4526"/>
                      <a:pt x="3629" y="4497"/>
                      <a:pt x="3638" y="4468"/>
                    </a:cubicBezTo>
                    <a:cubicBezTo>
                      <a:pt x="3658" y="4428"/>
                      <a:pt x="3678" y="4387"/>
                      <a:pt x="3699" y="4346"/>
                    </a:cubicBezTo>
                    <a:cubicBezTo>
                      <a:pt x="3743" y="4334"/>
                      <a:pt x="3788" y="4322"/>
                      <a:pt x="3833" y="4309"/>
                    </a:cubicBezTo>
                    <a:cubicBezTo>
                      <a:pt x="3865" y="4322"/>
                      <a:pt x="3898" y="4334"/>
                      <a:pt x="3931" y="4346"/>
                    </a:cubicBezTo>
                    <a:cubicBezTo>
                      <a:pt x="3968" y="4367"/>
                      <a:pt x="4005" y="4387"/>
                      <a:pt x="4042" y="4407"/>
                    </a:cubicBezTo>
                    <a:cubicBezTo>
                      <a:pt x="4086" y="4411"/>
                      <a:pt x="4131" y="4415"/>
                      <a:pt x="4176" y="4419"/>
                    </a:cubicBezTo>
                    <a:cubicBezTo>
                      <a:pt x="4221" y="4421"/>
                      <a:pt x="4265" y="4423"/>
                      <a:pt x="4310" y="4425"/>
                    </a:cubicBezTo>
                    <a:cubicBezTo>
                      <a:pt x="4343" y="4425"/>
                      <a:pt x="4376" y="4425"/>
                      <a:pt x="4408" y="4425"/>
                    </a:cubicBezTo>
                    <a:cubicBezTo>
                      <a:pt x="4451" y="4440"/>
                      <a:pt x="4494" y="4454"/>
                      <a:pt x="4537" y="4468"/>
                    </a:cubicBezTo>
                    <a:cubicBezTo>
                      <a:pt x="4558" y="4477"/>
                      <a:pt x="4578" y="4485"/>
                      <a:pt x="4598" y="4493"/>
                    </a:cubicBezTo>
                    <a:cubicBezTo>
                      <a:pt x="4647" y="4491"/>
                      <a:pt x="4696" y="4489"/>
                      <a:pt x="4745" y="4487"/>
                    </a:cubicBezTo>
                    <a:cubicBezTo>
                      <a:pt x="4782" y="4487"/>
                      <a:pt x="4819" y="4487"/>
                      <a:pt x="4855" y="4487"/>
                    </a:cubicBezTo>
                    <a:cubicBezTo>
                      <a:pt x="4878" y="4502"/>
                      <a:pt x="4900" y="4516"/>
                      <a:pt x="4922" y="4530"/>
                    </a:cubicBezTo>
                    <a:cubicBezTo>
                      <a:pt x="4947" y="4555"/>
                      <a:pt x="4972" y="4579"/>
                      <a:pt x="4996" y="4603"/>
                    </a:cubicBezTo>
                    <a:cubicBezTo>
                      <a:pt x="5023" y="4626"/>
                      <a:pt x="5050" y="4648"/>
                      <a:pt x="5076" y="4670"/>
                    </a:cubicBezTo>
                    <a:cubicBezTo>
                      <a:pt x="5109" y="4685"/>
                      <a:pt x="5141" y="4699"/>
                      <a:pt x="5173" y="4713"/>
                    </a:cubicBezTo>
                    <a:cubicBezTo>
                      <a:pt x="5218" y="4746"/>
                      <a:pt x="5263" y="4779"/>
                      <a:pt x="5308" y="4811"/>
                    </a:cubicBezTo>
                    <a:cubicBezTo>
                      <a:pt x="5333" y="4801"/>
                      <a:pt x="5358" y="4791"/>
                      <a:pt x="5382" y="4781"/>
                    </a:cubicBezTo>
                    <a:cubicBezTo>
                      <a:pt x="5405" y="4757"/>
                      <a:pt x="5427" y="4732"/>
                      <a:pt x="5449" y="4707"/>
                    </a:cubicBezTo>
                    <a:cubicBezTo>
                      <a:pt x="5447" y="4675"/>
                      <a:pt x="5445" y="4642"/>
                      <a:pt x="5443" y="4609"/>
                    </a:cubicBezTo>
                    <a:cubicBezTo>
                      <a:pt x="5460" y="4579"/>
                      <a:pt x="5476" y="4548"/>
                      <a:pt x="5492" y="4517"/>
                    </a:cubicBezTo>
                    <a:cubicBezTo>
                      <a:pt x="5509" y="4485"/>
                      <a:pt x="5525" y="4452"/>
                      <a:pt x="5541" y="4419"/>
                    </a:cubicBezTo>
                    <a:cubicBezTo>
                      <a:pt x="5562" y="4391"/>
                      <a:pt x="5582" y="4363"/>
                      <a:pt x="5602" y="4334"/>
                    </a:cubicBezTo>
                    <a:cubicBezTo>
                      <a:pt x="5594" y="4283"/>
                      <a:pt x="5586" y="4232"/>
                      <a:pt x="5578" y="4181"/>
                    </a:cubicBezTo>
                    <a:cubicBezTo>
                      <a:pt x="5588" y="4153"/>
                      <a:pt x="5598" y="4124"/>
                      <a:pt x="5608" y="4095"/>
                    </a:cubicBezTo>
                    <a:cubicBezTo>
                      <a:pt x="5653" y="4065"/>
                      <a:pt x="5698" y="4034"/>
                      <a:pt x="5743" y="4003"/>
                    </a:cubicBezTo>
                    <a:cubicBezTo>
                      <a:pt x="5756" y="3985"/>
                      <a:pt x="5768" y="3967"/>
                      <a:pt x="5780" y="3948"/>
                    </a:cubicBezTo>
                    <a:cubicBezTo>
                      <a:pt x="5778" y="3922"/>
                      <a:pt x="5776" y="3895"/>
                      <a:pt x="5774" y="3868"/>
                    </a:cubicBezTo>
                    <a:cubicBezTo>
                      <a:pt x="5735" y="3858"/>
                      <a:pt x="5696" y="3848"/>
                      <a:pt x="5657" y="3838"/>
                    </a:cubicBezTo>
                    <a:cubicBezTo>
                      <a:pt x="5641" y="3828"/>
                      <a:pt x="5625" y="3818"/>
                      <a:pt x="5608" y="3807"/>
                    </a:cubicBezTo>
                    <a:cubicBezTo>
                      <a:pt x="5582" y="3752"/>
                      <a:pt x="5556" y="3697"/>
                      <a:pt x="5529" y="3642"/>
                    </a:cubicBezTo>
                    <a:cubicBezTo>
                      <a:pt x="5509" y="3601"/>
                      <a:pt x="5488" y="3560"/>
                      <a:pt x="5467" y="3519"/>
                    </a:cubicBezTo>
                    <a:cubicBezTo>
                      <a:pt x="5445" y="3483"/>
                      <a:pt x="5423" y="3446"/>
                      <a:pt x="5400" y="3409"/>
                    </a:cubicBezTo>
                    <a:cubicBezTo>
                      <a:pt x="5374" y="3354"/>
                      <a:pt x="5347" y="3299"/>
                      <a:pt x="5320" y="3244"/>
                    </a:cubicBezTo>
                    <a:cubicBezTo>
                      <a:pt x="5292" y="3246"/>
                      <a:pt x="5264" y="3248"/>
                      <a:pt x="5235" y="3250"/>
                    </a:cubicBezTo>
                    <a:cubicBezTo>
                      <a:pt x="5229" y="3273"/>
                      <a:pt x="5223" y="3295"/>
                      <a:pt x="5216" y="3317"/>
                    </a:cubicBezTo>
                    <a:cubicBezTo>
                      <a:pt x="5208" y="3332"/>
                      <a:pt x="5200" y="3346"/>
                      <a:pt x="5192" y="3360"/>
                    </a:cubicBezTo>
                    <a:cubicBezTo>
                      <a:pt x="5147" y="3348"/>
                      <a:pt x="5102" y="3336"/>
                      <a:pt x="5057" y="3323"/>
                    </a:cubicBezTo>
                    <a:cubicBezTo>
                      <a:pt x="5039" y="3340"/>
                      <a:pt x="5021" y="3356"/>
                      <a:pt x="5002" y="3372"/>
                    </a:cubicBezTo>
                    <a:cubicBezTo>
                      <a:pt x="4990" y="3385"/>
                      <a:pt x="4978" y="3397"/>
                      <a:pt x="4965" y="3409"/>
                    </a:cubicBezTo>
                    <a:cubicBezTo>
                      <a:pt x="4918" y="3381"/>
                      <a:pt x="4871" y="3352"/>
                      <a:pt x="4824" y="3323"/>
                    </a:cubicBezTo>
                    <a:cubicBezTo>
                      <a:pt x="4792" y="3301"/>
                      <a:pt x="4759" y="3279"/>
                      <a:pt x="4726" y="3256"/>
                    </a:cubicBezTo>
                    <a:cubicBezTo>
                      <a:pt x="4710" y="3248"/>
                      <a:pt x="4694" y="3240"/>
                      <a:pt x="4677" y="3232"/>
                    </a:cubicBezTo>
                    <a:cubicBezTo>
                      <a:pt x="4653" y="3151"/>
                      <a:pt x="4629" y="3069"/>
                      <a:pt x="4604" y="2987"/>
                    </a:cubicBezTo>
                    <a:cubicBezTo>
                      <a:pt x="4582" y="2930"/>
                      <a:pt x="4560" y="2873"/>
                      <a:pt x="4537" y="2815"/>
                    </a:cubicBezTo>
                    <a:cubicBezTo>
                      <a:pt x="4525" y="2771"/>
                      <a:pt x="4513" y="2726"/>
                      <a:pt x="4500" y="2681"/>
                    </a:cubicBezTo>
                    <a:cubicBezTo>
                      <a:pt x="4515" y="2620"/>
                      <a:pt x="4529" y="2559"/>
                      <a:pt x="4543" y="2497"/>
                    </a:cubicBezTo>
                    <a:cubicBezTo>
                      <a:pt x="4547" y="2485"/>
                      <a:pt x="4551" y="2473"/>
                      <a:pt x="4555" y="2460"/>
                    </a:cubicBezTo>
                    <a:cubicBezTo>
                      <a:pt x="4519" y="2436"/>
                      <a:pt x="4482" y="2412"/>
                      <a:pt x="4445" y="2387"/>
                    </a:cubicBezTo>
                    <a:cubicBezTo>
                      <a:pt x="4413" y="2361"/>
                      <a:pt x="4380" y="2334"/>
                      <a:pt x="4347" y="2307"/>
                    </a:cubicBezTo>
                    <a:cubicBezTo>
                      <a:pt x="4304" y="2281"/>
                      <a:pt x="4261" y="2254"/>
                      <a:pt x="4219" y="2227"/>
                    </a:cubicBezTo>
                    <a:cubicBezTo>
                      <a:pt x="4217" y="2193"/>
                      <a:pt x="4215" y="2158"/>
                      <a:pt x="4213" y="2123"/>
                    </a:cubicBezTo>
                    <a:cubicBezTo>
                      <a:pt x="4225" y="2087"/>
                      <a:pt x="4237" y="2050"/>
                      <a:pt x="4249" y="2013"/>
                    </a:cubicBezTo>
                    <a:cubicBezTo>
                      <a:pt x="4268" y="1981"/>
                      <a:pt x="4286" y="1948"/>
                      <a:pt x="4304" y="1915"/>
                    </a:cubicBezTo>
                    <a:cubicBezTo>
                      <a:pt x="4300" y="1883"/>
                      <a:pt x="4296" y="1850"/>
                      <a:pt x="4292" y="1817"/>
                    </a:cubicBezTo>
                    <a:cubicBezTo>
                      <a:pt x="4278" y="1803"/>
                      <a:pt x="4264" y="1789"/>
                      <a:pt x="4249" y="1774"/>
                    </a:cubicBezTo>
                    <a:cubicBezTo>
                      <a:pt x="4270" y="1711"/>
                      <a:pt x="4290" y="1648"/>
                      <a:pt x="4310" y="1586"/>
                    </a:cubicBezTo>
                    <a:cubicBezTo>
                      <a:pt x="4329" y="1528"/>
                      <a:pt x="4347" y="1471"/>
                      <a:pt x="4365" y="1414"/>
                    </a:cubicBezTo>
                    <a:cubicBezTo>
                      <a:pt x="4361" y="1387"/>
                      <a:pt x="4357" y="1360"/>
                      <a:pt x="4353" y="1334"/>
                    </a:cubicBezTo>
                    <a:cubicBezTo>
                      <a:pt x="4339" y="1328"/>
                      <a:pt x="4325" y="1322"/>
                      <a:pt x="4310" y="1316"/>
                    </a:cubicBezTo>
                    <a:cubicBezTo>
                      <a:pt x="4276" y="1312"/>
                      <a:pt x="4241" y="1308"/>
                      <a:pt x="4207" y="1304"/>
                    </a:cubicBezTo>
                    <a:cubicBezTo>
                      <a:pt x="4166" y="1279"/>
                      <a:pt x="4125" y="1254"/>
                      <a:pt x="4085" y="1230"/>
                    </a:cubicBezTo>
                    <a:cubicBezTo>
                      <a:pt x="4060" y="1209"/>
                      <a:pt x="4035" y="1189"/>
                      <a:pt x="4011" y="1169"/>
                    </a:cubicBezTo>
                    <a:cubicBezTo>
                      <a:pt x="4011" y="1161"/>
                      <a:pt x="4011" y="1153"/>
                      <a:pt x="4011" y="1145"/>
                    </a:cubicBezTo>
                    <a:cubicBezTo>
                      <a:pt x="4098" y="1145"/>
                      <a:pt x="4186" y="1145"/>
                      <a:pt x="4273" y="1145"/>
                    </a:cubicBezTo>
                    <a:cubicBezTo>
                      <a:pt x="4286" y="1132"/>
                      <a:pt x="4298" y="1120"/>
                      <a:pt x="4310" y="1108"/>
                    </a:cubicBezTo>
                    <a:cubicBezTo>
                      <a:pt x="4308" y="1089"/>
                      <a:pt x="4306" y="1071"/>
                      <a:pt x="4304" y="1053"/>
                    </a:cubicBezTo>
                    <a:cubicBezTo>
                      <a:pt x="4251" y="1028"/>
                      <a:pt x="4199" y="1003"/>
                      <a:pt x="4146" y="979"/>
                    </a:cubicBezTo>
                    <a:cubicBezTo>
                      <a:pt x="4072" y="973"/>
                      <a:pt x="3998" y="967"/>
                      <a:pt x="3925" y="961"/>
                    </a:cubicBezTo>
                    <a:cubicBezTo>
                      <a:pt x="3890" y="963"/>
                      <a:pt x="3855" y="965"/>
                      <a:pt x="3821" y="967"/>
                    </a:cubicBezTo>
                    <a:cubicBezTo>
                      <a:pt x="3770" y="967"/>
                      <a:pt x="3719" y="967"/>
                      <a:pt x="3668" y="967"/>
                    </a:cubicBezTo>
                    <a:cubicBezTo>
                      <a:pt x="3647" y="928"/>
                      <a:pt x="3627" y="889"/>
                      <a:pt x="3607" y="851"/>
                    </a:cubicBezTo>
                    <a:cubicBezTo>
                      <a:pt x="3582" y="773"/>
                      <a:pt x="3557" y="695"/>
                      <a:pt x="3533" y="618"/>
                    </a:cubicBezTo>
                    <a:cubicBezTo>
                      <a:pt x="3516" y="554"/>
                      <a:pt x="3500" y="491"/>
                      <a:pt x="3484" y="428"/>
                    </a:cubicBezTo>
                    <a:cubicBezTo>
                      <a:pt x="3498" y="379"/>
                      <a:pt x="3512" y="330"/>
                      <a:pt x="3527" y="281"/>
                    </a:cubicBezTo>
                    <a:cubicBezTo>
                      <a:pt x="3578" y="283"/>
                      <a:pt x="3629" y="285"/>
                      <a:pt x="3680" y="288"/>
                    </a:cubicBezTo>
                    <a:cubicBezTo>
                      <a:pt x="3706" y="290"/>
                      <a:pt x="3733" y="292"/>
                      <a:pt x="3760" y="294"/>
                    </a:cubicBezTo>
                    <a:cubicBezTo>
                      <a:pt x="3760" y="267"/>
                      <a:pt x="3760" y="240"/>
                      <a:pt x="3760" y="214"/>
                    </a:cubicBezTo>
                    <a:cubicBezTo>
                      <a:pt x="3743" y="189"/>
                      <a:pt x="3727" y="165"/>
                      <a:pt x="3711" y="141"/>
                    </a:cubicBezTo>
                    <a:cubicBezTo>
                      <a:pt x="3670" y="132"/>
                      <a:pt x="3629" y="124"/>
                      <a:pt x="3589" y="116"/>
                    </a:cubicBezTo>
                    <a:cubicBezTo>
                      <a:pt x="3548" y="122"/>
                      <a:pt x="3507" y="128"/>
                      <a:pt x="3466" y="135"/>
                    </a:cubicBezTo>
                    <a:cubicBezTo>
                      <a:pt x="3439" y="159"/>
                      <a:pt x="3413" y="183"/>
                      <a:pt x="3387" y="208"/>
                    </a:cubicBezTo>
                    <a:cubicBezTo>
                      <a:pt x="3319" y="210"/>
                      <a:pt x="3251" y="212"/>
                      <a:pt x="3184" y="214"/>
                    </a:cubicBezTo>
                    <a:cubicBezTo>
                      <a:pt x="3114" y="203"/>
                      <a:pt x="3045" y="193"/>
                      <a:pt x="2976" y="183"/>
                    </a:cubicBezTo>
                    <a:cubicBezTo>
                      <a:pt x="2931" y="142"/>
                      <a:pt x="2886" y="101"/>
                      <a:pt x="2842" y="61"/>
                    </a:cubicBezTo>
                    <a:cubicBezTo>
                      <a:pt x="2821" y="40"/>
                      <a:pt x="2800" y="20"/>
                      <a:pt x="2780" y="0"/>
                    </a:cubicBezTo>
                    <a:cubicBezTo>
                      <a:pt x="2741" y="2"/>
                      <a:pt x="2702" y="4"/>
                      <a:pt x="2664" y="6"/>
                    </a:cubicBezTo>
                    <a:cubicBezTo>
                      <a:pt x="2631" y="16"/>
                      <a:pt x="2598" y="26"/>
                      <a:pt x="2566" y="37"/>
                    </a:cubicBezTo>
                    <a:cubicBezTo>
                      <a:pt x="2543" y="39"/>
                      <a:pt x="2521" y="41"/>
                      <a:pt x="2499" y="43"/>
                    </a:cubicBezTo>
                    <a:cubicBezTo>
                      <a:pt x="2490" y="63"/>
                      <a:pt x="2482" y="83"/>
                      <a:pt x="2474" y="104"/>
                    </a:cubicBezTo>
                    <a:cubicBezTo>
                      <a:pt x="2461" y="138"/>
                      <a:pt x="2449" y="173"/>
                      <a:pt x="2437" y="208"/>
                    </a:cubicBezTo>
                    <a:cubicBezTo>
                      <a:pt x="2378" y="223"/>
                      <a:pt x="2320" y="239"/>
                      <a:pt x="2262" y="255"/>
                    </a:cubicBezTo>
                    <a:cubicBezTo>
                      <a:pt x="2273" y="270"/>
                      <a:pt x="2285" y="285"/>
                      <a:pt x="2297" y="300"/>
                    </a:cubicBezTo>
                    <a:cubicBezTo>
                      <a:pt x="2311" y="316"/>
                      <a:pt x="2325" y="332"/>
                      <a:pt x="2339" y="349"/>
                    </a:cubicBezTo>
                    <a:cubicBezTo>
                      <a:pt x="2371" y="361"/>
                      <a:pt x="2404" y="373"/>
                      <a:pt x="2437" y="386"/>
                    </a:cubicBezTo>
                    <a:cubicBezTo>
                      <a:pt x="2484" y="455"/>
                      <a:pt x="2531" y="524"/>
                      <a:pt x="2578" y="594"/>
                    </a:cubicBezTo>
                    <a:cubicBezTo>
                      <a:pt x="2629" y="675"/>
                      <a:pt x="2680" y="757"/>
                      <a:pt x="2731" y="839"/>
                    </a:cubicBezTo>
                    <a:cubicBezTo>
                      <a:pt x="2694" y="916"/>
                      <a:pt x="2657" y="993"/>
                      <a:pt x="2621" y="1071"/>
                    </a:cubicBezTo>
                    <a:cubicBezTo>
                      <a:pt x="2590" y="1105"/>
                      <a:pt x="2559" y="1140"/>
                      <a:pt x="2529" y="1175"/>
                    </a:cubicBezTo>
                    <a:cubicBezTo>
                      <a:pt x="2531" y="1220"/>
                      <a:pt x="2533" y="1265"/>
                      <a:pt x="2535" y="1310"/>
                    </a:cubicBezTo>
                    <a:cubicBezTo>
                      <a:pt x="2514" y="1353"/>
                      <a:pt x="2494" y="1396"/>
                      <a:pt x="2474" y="1439"/>
                    </a:cubicBezTo>
                    <a:cubicBezTo>
                      <a:pt x="2488" y="1459"/>
                      <a:pt x="2502" y="1479"/>
                      <a:pt x="2517" y="1500"/>
                    </a:cubicBezTo>
                    <a:cubicBezTo>
                      <a:pt x="2586" y="1500"/>
                      <a:pt x="2655" y="1500"/>
                      <a:pt x="2725" y="1500"/>
                    </a:cubicBezTo>
                    <a:cubicBezTo>
                      <a:pt x="2755" y="1473"/>
                      <a:pt x="2786" y="1446"/>
                      <a:pt x="2817" y="1420"/>
                    </a:cubicBezTo>
                    <a:cubicBezTo>
                      <a:pt x="2862" y="1465"/>
                      <a:pt x="2907" y="1510"/>
                      <a:pt x="2952" y="1555"/>
                    </a:cubicBezTo>
                    <a:cubicBezTo>
                      <a:pt x="2968" y="1595"/>
                      <a:pt x="2984" y="1636"/>
                      <a:pt x="3001" y="1676"/>
                    </a:cubicBezTo>
                    <a:cubicBezTo>
                      <a:pt x="3025" y="1721"/>
                      <a:pt x="3049" y="1766"/>
                      <a:pt x="3074" y="1811"/>
                    </a:cubicBezTo>
                    <a:cubicBezTo>
                      <a:pt x="3047" y="1840"/>
                      <a:pt x="3021" y="1869"/>
                      <a:pt x="2995" y="1897"/>
                    </a:cubicBezTo>
                    <a:cubicBezTo>
                      <a:pt x="2993" y="1950"/>
                      <a:pt x="2991" y="2003"/>
                      <a:pt x="2989" y="2056"/>
                    </a:cubicBezTo>
                    <a:cubicBezTo>
                      <a:pt x="2968" y="2056"/>
                      <a:pt x="2947" y="2056"/>
                      <a:pt x="2927" y="2056"/>
                    </a:cubicBezTo>
                    <a:cubicBezTo>
                      <a:pt x="2919" y="2077"/>
                      <a:pt x="2911" y="2097"/>
                      <a:pt x="2903" y="2117"/>
                    </a:cubicBezTo>
                    <a:cubicBezTo>
                      <a:pt x="2921" y="2138"/>
                      <a:pt x="2939" y="2159"/>
                      <a:pt x="2958" y="2179"/>
                    </a:cubicBezTo>
                    <a:cubicBezTo>
                      <a:pt x="2939" y="2206"/>
                      <a:pt x="2921" y="2232"/>
                      <a:pt x="2903" y="2258"/>
                    </a:cubicBezTo>
                    <a:cubicBezTo>
                      <a:pt x="2901" y="2281"/>
                      <a:pt x="2899" y="2303"/>
                      <a:pt x="2897" y="2325"/>
                    </a:cubicBezTo>
                    <a:cubicBezTo>
                      <a:pt x="2919" y="2350"/>
                      <a:pt x="2933" y="2399"/>
                      <a:pt x="2964" y="2399"/>
                    </a:cubicBezTo>
                    <a:cubicBezTo>
                      <a:pt x="2995" y="2399"/>
                      <a:pt x="2956" y="2469"/>
                      <a:pt x="2952" y="2503"/>
                    </a:cubicBezTo>
                    <a:cubicBezTo>
                      <a:pt x="2925" y="2514"/>
                      <a:pt x="2898" y="2524"/>
                      <a:pt x="2872" y="2534"/>
                    </a:cubicBezTo>
                    <a:cubicBezTo>
                      <a:pt x="2857" y="2567"/>
                      <a:pt x="2843" y="2600"/>
                      <a:pt x="2829" y="2632"/>
                    </a:cubicBezTo>
                    <a:cubicBezTo>
                      <a:pt x="2806" y="2604"/>
                      <a:pt x="2784" y="2575"/>
                      <a:pt x="2762" y="2546"/>
                    </a:cubicBezTo>
                    <a:cubicBezTo>
                      <a:pt x="2733" y="2565"/>
                      <a:pt x="2704" y="2583"/>
                      <a:pt x="2676" y="2601"/>
                    </a:cubicBezTo>
                    <a:cubicBezTo>
                      <a:pt x="2598" y="2554"/>
                      <a:pt x="2521" y="2507"/>
                      <a:pt x="2444" y="2460"/>
                    </a:cubicBezTo>
                    <a:cubicBezTo>
                      <a:pt x="2441" y="2442"/>
                      <a:pt x="2439" y="2424"/>
                      <a:pt x="2437" y="2405"/>
                    </a:cubicBezTo>
                    <a:cubicBezTo>
                      <a:pt x="2388" y="2362"/>
                      <a:pt x="2339" y="2319"/>
                      <a:pt x="2290" y="2276"/>
                    </a:cubicBezTo>
                    <a:cubicBezTo>
                      <a:pt x="2257" y="2276"/>
                      <a:pt x="2225" y="2276"/>
                      <a:pt x="2193" y="2276"/>
                    </a:cubicBezTo>
                    <a:cubicBezTo>
                      <a:pt x="2166" y="2221"/>
                      <a:pt x="2139" y="2166"/>
                      <a:pt x="2113" y="2111"/>
                    </a:cubicBezTo>
                    <a:cubicBezTo>
                      <a:pt x="2127" y="2066"/>
                      <a:pt x="2141" y="2021"/>
                      <a:pt x="2156" y="1976"/>
                    </a:cubicBezTo>
                    <a:cubicBezTo>
                      <a:pt x="2182" y="1972"/>
                      <a:pt x="2208" y="1968"/>
                      <a:pt x="2235" y="1964"/>
                    </a:cubicBezTo>
                    <a:cubicBezTo>
                      <a:pt x="2221" y="1936"/>
                      <a:pt x="2207" y="1908"/>
                      <a:pt x="2193" y="1879"/>
                    </a:cubicBezTo>
                    <a:cubicBezTo>
                      <a:pt x="2141" y="1855"/>
                      <a:pt x="2090" y="1830"/>
                      <a:pt x="2039" y="1805"/>
                    </a:cubicBezTo>
                    <a:cubicBezTo>
                      <a:pt x="2041" y="1773"/>
                      <a:pt x="2043" y="1740"/>
                      <a:pt x="2046" y="1707"/>
                    </a:cubicBezTo>
                    <a:cubicBezTo>
                      <a:pt x="2011" y="1689"/>
                      <a:pt x="1976" y="1671"/>
                      <a:pt x="1941" y="1652"/>
                    </a:cubicBezTo>
                    <a:cubicBezTo>
                      <a:pt x="1920" y="1658"/>
                      <a:pt x="1900" y="1664"/>
                      <a:pt x="1880" y="1670"/>
                    </a:cubicBezTo>
                    <a:cubicBezTo>
                      <a:pt x="1837" y="1668"/>
                      <a:pt x="1794" y="1666"/>
                      <a:pt x="1752" y="1664"/>
                    </a:cubicBezTo>
                    <a:cubicBezTo>
                      <a:pt x="1719" y="1681"/>
                      <a:pt x="1686" y="1697"/>
                      <a:pt x="1654" y="1713"/>
                    </a:cubicBezTo>
                    <a:cubicBezTo>
                      <a:pt x="1619" y="1711"/>
                      <a:pt x="1584" y="1709"/>
                      <a:pt x="1550" y="1707"/>
                    </a:cubicBezTo>
                    <a:cubicBezTo>
                      <a:pt x="1515" y="1767"/>
                      <a:pt x="1491" y="1846"/>
                      <a:pt x="1445" y="1885"/>
                    </a:cubicBezTo>
                    <a:cubicBezTo>
                      <a:pt x="1443" y="1881"/>
                      <a:pt x="1441" y="1877"/>
                      <a:pt x="1439" y="1872"/>
                    </a:cubicBezTo>
                    <a:cubicBezTo>
                      <a:pt x="1451" y="1919"/>
                      <a:pt x="1463" y="1966"/>
                      <a:pt x="1476" y="2013"/>
                    </a:cubicBezTo>
                    <a:cubicBezTo>
                      <a:pt x="1508" y="2034"/>
                      <a:pt x="1541" y="2054"/>
                      <a:pt x="1574" y="2074"/>
                    </a:cubicBezTo>
                    <a:cubicBezTo>
                      <a:pt x="1610" y="2091"/>
                      <a:pt x="1647" y="2107"/>
                      <a:pt x="1684" y="2123"/>
                    </a:cubicBezTo>
                    <a:cubicBezTo>
                      <a:pt x="1688" y="2168"/>
                      <a:pt x="1692" y="2213"/>
                      <a:pt x="1697" y="2258"/>
                    </a:cubicBezTo>
                    <a:cubicBezTo>
                      <a:pt x="1697" y="2289"/>
                      <a:pt x="1697" y="2320"/>
                      <a:pt x="1697" y="2350"/>
                    </a:cubicBezTo>
                    <a:cubicBezTo>
                      <a:pt x="1717" y="2375"/>
                      <a:pt x="1737" y="2399"/>
                      <a:pt x="1758" y="2423"/>
                    </a:cubicBezTo>
                    <a:cubicBezTo>
                      <a:pt x="1774" y="2446"/>
                      <a:pt x="1790" y="2469"/>
                      <a:pt x="1807" y="2491"/>
                    </a:cubicBezTo>
                    <a:cubicBezTo>
                      <a:pt x="1778" y="2538"/>
                      <a:pt x="1749" y="2585"/>
                      <a:pt x="1721" y="2632"/>
                    </a:cubicBezTo>
                    <a:cubicBezTo>
                      <a:pt x="1702" y="2657"/>
                      <a:pt x="1684" y="2681"/>
                      <a:pt x="1666" y="2705"/>
                    </a:cubicBezTo>
                    <a:cubicBezTo>
                      <a:pt x="1657" y="2740"/>
                      <a:pt x="1649" y="2775"/>
                      <a:pt x="1641" y="2809"/>
                    </a:cubicBezTo>
                    <a:cubicBezTo>
                      <a:pt x="1631" y="2844"/>
                      <a:pt x="1621" y="2879"/>
                      <a:pt x="1611" y="2913"/>
                    </a:cubicBezTo>
                    <a:cubicBezTo>
                      <a:pt x="1588" y="2944"/>
                      <a:pt x="1565" y="2975"/>
                      <a:pt x="1543" y="3005"/>
                    </a:cubicBezTo>
                    <a:cubicBezTo>
                      <a:pt x="1516" y="3018"/>
                      <a:pt x="1490" y="3030"/>
                      <a:pt x="1464" y="3042"/>
                    </a:cubicBezTo>
                    <a:cubicBezTo>
                      <a:pt x="1423" y="3042"/>
                      <a:pt x="1382" y="3042"/>
                      <a:pt x="1341" y="3042"/>
                    </a:cubicBezTo>
                    <a:cubicBezTo>
                      <a:pt x="1286" y="3095"/>
                      <a:pt x="1231" y="3148"/>
                      <a:pt x="1176" y="3201"/>
                    </a:cubicBezTo>
                    <a:cubicBezTo>
                      <a:pt x="1178" y="3232"/>
                      <a:pt x="1180" y="3263"/>
                      <a:pt x="1182" y="3293"/>
                    </a:cubicBezTo>
                    <a:cubicBezTo>
                      <a:pt x="1088" y="3330"/>
                      <a:pt x="994" y="3367"/>
                      <a:pt x="901" y="3403"/>
                    </a:cubicBezTo>
                    <a:cubicBezTo>
                      <a:pt x="849" y="3369"/>
                      <a:pt x="798" y="3334"/>
                      <a:pt x="747" y="3299"/>
                    </a:cubicBezTo>
                    <a:cubicBezTo>
                      <a:pt x="724" y="3307"/>
                      <a:pt x="702" y="3315"/>
                      <a:pt x="680" y="3323"/>
                    </a:cubicBezTo>
                    <a:cubicBezTo>
                      <a:pt x="643" y="3356"/>
                      <a:pt x="606" y="3389"/>
                      <a:pt x="570" y="3421"/>
                    </a:cubicBezTo>
                    <a:cubicBezTo>
                      <a:pt x="510" y="3448"/>
                      <a:pt x="451" y="3475"/>
                      <a:pt x="392" y="3501"/>
                    </a:cubicBezTo>
                    <a:cubicBezTo>
                      <a:pt x="347" y="3526"/>
                      <a:pt x="302" y="3551"/>
                      <a:pt x="258" y="3575"/>
                    </a:cubicBezTo>
                    <a:cubicBezTo>
                      <a:pt x="200" y="3571"/>
                      <a:pt x="143" y="3567"/>
                      <a:pt x="86" y="3562"/>
                    </a:cubicBezTo>
                    <a:cubicBezTo>
                      <a:pt x="59" y="3577"/>
                      <a:pt x="33" y="3591"/>
                      <a:pt x="7" y="3605"/>
                    </a:cubicBezTo>
                    <a:cubicBezTo>
                      <a:pt x="19" y="3654"/>
                      <a:pt x="31" y="3703"/>
                      <a:pt x="43" y="3752"/>
                    </a:cubicBezTo>
                    <a:cubicBezTo>
                      <a:pt x="28" y="3779"/>
                      <a:pt x="14" y="3806"/>
                      <a:pt x="0" y="3832"/>
                    </a:cubicBezTo>
                    <a:cubicBezTo>
                      <a:pt x="2" y="3891"/>
                      <a:pt x="4" y="3950"/>
                      <a:pt x="7" y="4009"/>
                    </a:cubicBezTo>
                    <a:cubicBezTo>
                      <a:pt x="11" y="4056"/>
                      <a:pt x="15" y="4103"/>
                      <a:pt x="19" y="4150"/>
                    </a:cubicBezTo>
                    <a:cubicBezTo>
                      <a:pt x="49" y="4163"/>
                      <a:pt x="80" y="4175"/>
                      <a:pt x="111" y="4187"/>
                    </a:cubicBezTo>
                    <a:cubicBezTo>
                      <a:pt x="127" y="4206"/>
                      <a:pt x="143" y="4224"/>
                      <a:pt x="160" y="4242"/>
                    </a:cubicBezTo>
                    <a:cubicBezTo>
                      <a:pt x="162" y="4291"/>
                      <a:pt x="164" y="4340"/>
                      <a:pt x="166" y="4389"/>
                    </a:cubicBezTo>
                    <a:cubicBezTo>
                      <a:pt x="166" y="4434"/>
                      <a:pt x="166" y="4479"/>
                      <a:pt x="166" y="4524"/>
                    </a:cubicBezTo>
                    <a:cubicBezTo>
                      <a:pt x="166" y="4521"/>
                      <a:pt x="166" y="4518"/>
                      <a:pt x="167" y="4515"/>
                    </a:cubicBezTo>
                    <a:cubicBezTo>
                      <a:pt x="195" y="4509"/>
                      <a:pt x="223" y="4503"/>
                      <a:pt x="252" y="4496"/>
                    </a:cubicBezTo>
                    <a:cubicBezTo>
                      <a:pt x="303" y="4485"/>
                      <a:pt x="354" y="4474"/>
                      <a:pt x="405" y="4462"/>
                    </a:cubicBezTo>
                    <a:cubicBezTo>
                      <a:pt x="429" y="4481"/>
                      <a:pt x="453" y="4499"/>
                      <a:pt x="478" y="4517"/>
                    </a:cubicBezTo>
                    <a:cubicBezTo>
                      <a:pt x="480" y="4520"/>
                      <a:pt x="482" y="4522"/>
                      <a:pt x="484" y="4524"/>
                    </a:cubicBezTo>
                    <a:cubicBezTo>
                      <a:pt x="541" y="4510"/>
                      <a:pt x="598" y="4496"/>
                      <a:pt x="656" y="4481"/>
                    </a:cubicBezTo>
                    <a:cubicBezTo>
                      <a:pt x="702" y="4449"/>
                      <a:pt x="749" y="4416"/>
                      <a:pt x="796" y="4383"/>
                    </a:cubicBezTo>
                    <a:cubicBezTo>
                      <a:pt x="810" y="4359"/>
                      <a:pt x="824" y="4334"/>
                      <a:pt x="839" y="4309"/>
                    </a:cubicBezTo>
                    <a:cubicBezTo>
                      <a:pt x="851" y="4275"/>
                      <a:pt x="863" y="4240"/>
                      <a:pt x="876" y="4205"/>
                    </a:cubicBezTo>
                    <a:cubicBezTo>
                      <a:pt x="923" y="4193"/>
                      <a:pt x="970" y="4181"/>
                      <a:pt x="1017" y="4168"/>
                    </a:cubicBezTo>
                    <a:cubicBezTo>
                      <a:pt x="1053" y="4177"/>
                      <a:pt x="1090" y="4185"/>
                      <a:pt x="1127" y="4193"/>
                    </a:cubicBezTo>
                    <a:cubicBezTo>
                      <a:pt x="1163" y="4161"/>
                      <a:pt x="1200" y="4128"/>
                      <a:pt x="1237" y="4095"/>
                    </a:cubicBezTo>
                    <a:cubicBezTo>
                      <a:pt x="1267" y="4114"/>
                      <a:pt x="1298" y="4132"/>
                      <a:pt x="1329" y="4150"/>
                    </a:cubicBezTo>
                    <a:cubicBezTo>
                      <a:pt x="1355" y="4156"/>
                      <a:pt x="1382" y="4162"/>
                      <a:pt x="1409" y="4168"/>
                    </a:cubicBezTo>
                    <a:cubicBezTo>
                      <a:pt x="1447" y="4168"/>
                      <a:pt x="1486" y="4168"/>
                      <a:pt x="1525" y="4168"/>
                    </a:cubicBezTo>
                    <a:cubicBezTo>
                      <a:pt x="1574" y="4203"/>
                      <a:pt x="1623" y="4238"/>
                      <a:pt x="1672" y="4272"/>
                    </a:cubicBezTo>
                    <a:cubicBezTo>
                      <a:pt x="1688" y="4291"/>
                      <a:pt x="1704" y="4310"/>
                      <a:pt x="1721" y="4328"/>
                    </a:cubicBezTo>
                    <a:cubicBezTo>
                      <a:pt x="1741" y="4312"/>
                      <a:pt x="1761" y="4296"/>
                      <a:pt x="1782" y="4279"/>
                    </a:cubicBezTo>
                    <a:close/>
                    <a:moveTo>
                      <a:pt x="2260" y="256"/>
                    </a:moveTo>
                    <a:cubicBezTo>
                      <a:pt x="2258" y="252"/>
                      <a:pt x="2256" y="248"/>
                      <a:pt x="2254" y="245"/>
                    </a:cubicBezTo>
                    <a:cubicBezTo>
                      <a:pt x="2256" y="248"/>
                      <a:pt x="2259" y="251"/>
                      <a:pt x="2262" y="255"/>
                    </a:cubicBezTo>
                    <a:cubicBezTo>
                      <a:pt x="2261" y="255"/>
                      <a:pt x="2260" y="255"/>
                      <a:pt x="2260" y="256"/>
                    </a:cubicBezTo>
                    <a:close/>
                  </a:path>
                </a:pathLst>
              </a:custGeom>
              <a:grpFill/>
              <a:ln w="9525" cap="flat">
                <a:solidFill>
                  <a:schemeClr val="bg1"/>
                </a:solidFill>
                <a:bevel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1" name="Freeform 55">
                <a:extLst>
                  <a:ext uri="{FF2B5EF4-FFF2-40B4-BE49-F238E27FC236}">
                    <a16:creationId xmlns:a16="http://schemas.microsoft.com/office/drawing/2014/main" id="{9003D304-4766-CA1A-C5F8-FD63715642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20000">
                <a:off x="8166461" y="3445474"/>
                <a:ext cx="1743520" cy="1575830"/>
              </a:xfrm>
              <a:custGeom>
                <a:avLst/>
                <a:gdLst>
                  <a:gd name="T0" fmla="*/ 92464 w 6698"/>
                  <a:gd name="T1" fmla="*/ 1268491 h 6056"/>
                  <a:gd name="T2" fmla="*/ 52888 w 6698"/>
                  <a:gd name="T3" fmla="*/ 1123192 h 6056"/>
                  <a:gd name="T4" fmla="*/ 105776 w 6698"/>
                  <a:gd name="T5" fmla="*/ 999831 h 6056"/>
                  <a:gd name="T6" fmla="*/ 246451 w 6698"/>
                  <a:gd name="T7" fmla="*/ 951278 h 6056"/>
                  <a:gd name="T8" fmla="*/ 356905 w 6698"/>
                  <a:gd name="T9" fmla="*/ 876471 h 6056"/>
                  <a:gd name="T10" fmla="*/ 539674 w 6698"/>
                  <a:gd name="T11" fmla="*/ 821444 h 6056"/>
                  <a:gd name="T12" fmla="*/ 700497 w 6698"/>
                  <a:gd name="T13" fmla="*/ 680461 h 6056"/>
                  <a:gd name="T14" fmla="*/ 720285 w 6698"/>
                  <a:gd name="T15" fmla="*/ 546311 h 6056"/>
                  <a:gd name="T16" fmla="*/ 722444 w 6698"/>
                  <a:gd name="T17" fmla="*/ 389862 h 6056"/>
                  <a:gd name="T18" fmla="*/ 836855 w 6698"/>
                  <a:gd name="T19" fmla="*/ 345985 h 6056"/>
                  <a:gd name="T20" fmla="*/ 951266 w 6698"/>
                  <a:gd name="T21" fmla="*/ 370081 h 6056"/>
                  <a:gd name="T22" fmla="*/ 1041571 w 6698"/>
                  <a:gd name="T23" fmla="*/ 411801 h 6056"/>
                  <a:gd name="T24" fmla="*/ 1136194 w 6698"/>
                  <a:gd name="T25" fmla="*/ 253195 h 6056"/>
                  <a:gd name="T26" fmla="*/ 1112089 w 6698"/>
                  <a:gd name="T27" fmla="*/ 35246 h 6056"/>
                  <a:gd name="T28" fmla="*/ 1310329 w 6698"/>
                  <a:gd name="T29" fmla="*/ 81641 h 6056"/>
                  <a:gd name="T30" fmla="*/ 1338752 w 6698"/>
                  <a:gd name="T31" fmla="*/ 209317 h 6056"/>
                  <a:gd name="T32" fmla="*/ 1572610 w 6698"/>
                  <a:gd name="T33" fmla="*/ 290958 h 6056"/>
                  <a:gd name="T34" fmla="*/ 1728756 w 6698"/>
                  <a:gd name="T35" fmla="*/ 293116 h 6056"/>
                  <a:gd name="T36" fmla="*/ 1843527 w 6698"/>
                  <a:gd name="T37" fmla="*/ 162922 h 6056"/>
                  <a:gd name="T38" fmla="*/ 1971250 w 6698"/>
                  <a:gd name="T39" fmla="*/ 180545 h 6056"/>
                  <a:gd name="T40" fmla="*/ 2077026 w 6698"/>
                  <a:gd name="T41" fmla="*/ 255712 h 6056"/>
                  <a:gd name="T42" fmla="*/ 2198273 w 6698"/>
                  <a:gd name="T43" fmla="*/ 301748 h 6056"/>
                  <a:gd name="T44" fmla="*/ 2299372 w 6698"/>
                  <a:gd name="T45" fmla="*/ 372239 h 6056"/>
                  <a:gd name="T46" fmla="*/ 2352260 w 6698"/>
                  <a:gd name="T47" fmla="*/ 491284 h 6056"/>
                  <a:gd name="T48" fmla="*/ 2381042 w 6698"/>
                  <a:gd name="T49" fmla="*/ 625434 h 6056"/>
                  <a:gd name="T50" fmla="*/ 2409465 w 6698"/>
                  <a:gd name="T51" fmla="*/ 852374 h 6056"/>
                  <a:gd name="T52" fmla="*/ 2312684 w 6698"/>
                  <a:gd name="T53" fmla="*/ 823602 h 6056"/>
                  <a:gd name="T54" fmla="*/ 2191437 w 6698"/>
                  <a:gd name="T55" fmla="*/ 913875 h 6056"/>
                  <a:gd name="T56" fmla="*/ 2041767 w 6698"/>
                  <a:gd name="T57" fmla="*/ 913875 h 6056"/>
                  <a:gd name="T58" fmla="*/ 1914044 w 6698"/>
                  <a:gd name="T59" fmla="*/ 834751 h 6056"/>
                  <a:gd name="T60" fmla="*/ 1880944 w 6698"/>
                  <a:gd name="T61" fmla="*/ 1041551 h 6056"/>
                  <a:gd name="T62" fmla="*/ 1894256 w 6698"/>
                  <a:gd name="T63" fmla="*/ 1197999 h 6056"/>
                  <a:gd name="T64" fmla="*/ 2006509 w 6698"/>
                  <a:gd name="T65" fmla="*/ 1272807 h 6056"/>
                  <a:gd name="T66" fmla="*/ 2160496 w 6698"/>
                  <a:gd name="T67" fmla="*/ 1336825 h 6056"/>
                  <a:gd name="T68" fmla="*/ 2173808 w 6698"/>
                  <a:gd name="T69" fmla="*/ 1482124 h 6056"/>
                  <a:gd name="T70" fmla="*/ 2147543 w 6698"/>
                  <a:gd name="T71" fmla="*/ 1631739 h 6056"/>
                  <a:gd name="T72" fmla="*/ 1929515 w 6698"/>
                  <a:gd name="T73" fmla="*/ 1746468 h 6056"/>
                  <a:gd name="T74" fmla="*/ 1841368 w 6698"/>
                  <a:gd name="T75" fmla="*/ 1805811 h 6056"/>
                  <a:gd name="T76" fmla="*/ 1675868 w 6698"/>
                  <a:gd name="T77" fmla="*/ 1869109 h 6056"/>
                  <a:gd name="T78" fmla="*/ 1561457 w 6698"/>
                  <a:gd name="T79" fmla="*/ 1854004 h 6056"/>
                  <a:gd name="T80" fmla="*/ 1468993 w 6698"/>
                  <a:gd name="T81" fmla="*/ 1860478 h 6056"/>
                  <a:gd name="T82" fmla="*/ 1343429 w 6698"/>
                  <a:gd name="T83" fmla="*/ 1783872 h 6056"/>
                  <a:gd name="T84" fmla="*/ 1220023 w 6698"/>
                  <a:gd name="T85" fmla="*/ 1733161 h 6056"/>
                  <a:gd name="T86" fmla="*/ 1054883 w 6698"/>
                  <a:gd name="T87" fmla="*/ 1882416 h 6056"/>
                  <a:gd name="T88" fmla="*/ 1096618 w 6698"/>
                  <a:gd name="T89" fmla="*/ 2021242 h 6056"/>
                  <a:gd name="T90" fmla="*/ 1092300 w 6698"/>
                  <a:gd name="T91" fmla="*/ 2133453 h 6056"/>
                  <a:gd name="T92" fmla="*/ 955583 w 6698"/>
                  <a:gd name="T93" fmla="*/ 2153234 h 6056"/>
                  <a:gd name="T94" fmla="*/ 834696 w 6698"/>
                  <a:gd name="T95" fmla="*/ 2032391 h 6056"/>
                  <a:gd name="T96" fmla="*/ 869595 w 6698"/>
                  <a:gd name="T97" fmla="*/ 1838899 h 6056"/>
                  <a:gd name="T98" fmla="*/ 788644 w 6698"/>
                  <a:gd name="T99" fmla="*/ 1711222 h 6056"/>
                  <a:gd name="T100" fmla="*/ 867436 w 6698"/>
                  <a:gd name="T101" fmla="*/ 1647204 h 6056"/>
                  <a:gd name="T102" fmla="*/ 616668 w 6698"/>
                  <a:gd name="T103" fmla="*/ 1574555 h 6056"/>
                  <a:gd name="T104" fmla="*/ 671714 w 6698"/>
                  <a:gd name="T105" fmla="*/ 1374229 h 6056"/>
                  <a:gd name="T106" fmla="*/ 537515 w 6698"/>
                  <a:gd name="T107" fmla="*/ 1343299 h 6056"/>
                  <a:gd name="T108" fmla="*/ 277393 w 6698"/>
                  <a:gd name="T109" fmla="*/ 1270649 h 6056"/>
                  <a:gd name="T110" fmla="*/ 132040 w 6698"/>
                  <a:gd name="T111" fmla="*/ 1360562 h 605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6698" h="6056">
                    <a:moveTo>
                      <a:pt x="361" y="3772"/>
                    </a:moveTo>
                    <a:cubicBezTo>
                      <a:pt x="361" y="3743"/>
                      <a:pt x="361" y="3714"/>
                      <a:pt x="361" y="3686"/>
                    </a:cubicBezTo>
                    <a:cubicBezTo>
                      <a:pt x="351" y="3661"/>
                      <a:pt x="341" y="3637"/>
                      <a:pt x="331" y="3613"/>
                    </a:cubicBezTo>
                    <a:cubicBezTo>
                      <a:pt x="332" y="3608"/>
                      <a:pt x="334" y="3604"/>
                      <a:pt x="336" y="3600"/>
                    </a:cubicBezTo>
                    <a:cubicBezTo>
                      <a:pt x="309" y="3575"/>
                      <a:pt x="283" y="3551"/>
                      <a:pt x="257" y="3527"/>
                    </a:cubicBezTo>
                    <a:cubicBezTo>
                      <a:pt x="206" y="3496"/>
                      <a:pt x="155" y="3465"/>
                      <a:pt x="104" y="3435"/>
                    </a:cubicBezTo>
                    <a:cubicBezTo>
                      <a:pt x="83" y="3390"/>
                      <a:pt x="63" y="3345"/>
                      <a:pt x="43" y="3300"/>
                    </a:cubicBezTo>
                    <a:cubicBezTo>
                      <a:pt x="28" y="3247"/>
                      <a:pt x="14" y="3194"/>
                      <a:pt x="0" y="3141"/>
                    </a:cubicBezTo>
                    <a:cubicBezTo>
                      <a:pt x="20" y="3131"/>
                      <a:pt x="40" y="3121"/>
                      <a:pt x="61" y="3111"/>
                    </a:cubicBezTo>
                    <a:cubicBezTo>
                      <a:pt x="89" y="3115"/>
                      <a:pt x="118" y="3119"/>
                      <a:pt x="147" y="3123"/>
                    </a:cubicBezTo>
                    <a:cubicBezTo>
                      <a:pt x="145" y="3098"/>
                      <a:pt x="143" y="3073"/>
                      <a:pt x="141" y="3049"/>
                    </a:cubicBezTo>
                    <a:cubicBezTo>
                      <a:pt x="155" y="3028"/>
                      <a:pt x="169" y="3008"/>
                      <a:pt x="183" y="2988"/>
                    </a:cubicBezTo>
                    <a:cubicBezTo>
                      <a:pt x="215" y="2971"/>
                      <a:pt x="248" y="2955"/>
                      <a:pt x="281" y="2939"/>
                    </a:cubicBezTo>
                    <a:cubicBezTo>
                      <a:pt x="285" y="2912"/>
                      <a:pt x="289" y="2886"/>
                      <a:pt x="294" y="2860"/>
                    </a:cubicBezTo>
                    <a:cubicBezTo>
                      <a:pt x="294" y="2833"/>
                      <a:pt x="294" y="2806"/>
                      <a:pt x="294" y="2780"/>
                    </a:cubicBezTo>
                    <a:cubicBezTo>
                      <a:pt x="318" y="2765"/>
                      <a:pt x="342" y="2751"/>
                      <a:pt x="367" y="2737"/>
                    </a:cubicBezTo>
                    <a:cubicBezTo>
                      <a:pt x="403" y="2737"/>
                      <a:pt x="440" y="2737"/>
                      <a:pt x="477" y="2737"/>
                    </a:cubicBezTo>
                    <a:cubicBezTo>
                      <a:pt x="509" y="2731"/>
                      <a:pt x="542" y="2725"/>
                      <a:pt x="575" y="2719"/>
                    </a:cubicBezTo>
                    <a:cubicBezTo>
                      <a:pt x="601" y="2712"/>
                      <a:pt x="628" y="2706"/>
                      <a:pt x="655" y="2700"/>
                    </a:cubicBezTo>
                    <a:cubicBezTo>
                      <a:pt x="665" y="2681"/>
                      <a:pt x="675" y="2663"/>
                      <a:pt x="685" y="2645"/>
                    </a:cubicBezTo>
                    <a:cubicBezTo>
                      <a:pt x="705" y="2610"/>
                      <a:pt x="726" y="2575"/>
                      <a:pt x="747" y="2541"/>
                    </a:cubicBezTo>
                    <a:cubicBezTo>
                      <a:pt x="755" y="2520"/>
                      <a:pt x="763" y="2500"/>
                      <a:pt x="771" y="2480"/>
                    </a:cubicBezTo>
                    <a:cubicBezTo>
                      <a:pt x="797" y="2476"/>
                      <a:pt x="824" y="2472"/>
                      <a:pt x="851" y="2468"/>
                    </a:cubicBezTo>
                    <a:cubicBezTo>
                      <a:pt x="881" y="2468"/>
                      <a:pt x="912" y="2468"/>
                      <a:pt x="943" y="2468"/>
                    </a:cubicBezTo>
                    <a:cubicBezTo>
                      <a:pt x="959" y="2457"/>
                      <a:pt x="975" y="2447"/>
                      <a:pt x="992" y="2437"/>
                    </a:cubicBezTo>
                    <a:cubicBezTo>
                      <a:pt x="1004" y="2424"/>
                      <a:pt x="1016" y="2412"/>
                      <a:pt x="1028" y="2400"/>
                    </a:cubicBezTo>
                    <a:cubicBezTo>
                      <a:pt x="1050" y="2398"/>
                      <a:pt x="1073" y="2396"/>
                      <a:pt x="1096" y="2394"/>
                    </a:cubicBezTo>
                    <a:cubicBezTo>
                      <a:pt x="1116" y="2375"/>
                      <a:pt x="1136" y="2357"/>
                      <a:pt x="1157" y="2339"/>
                    </a:cubicBezTo>
                    <a:cubicBezTo>
                      <a:pt x="1191" y="2322"/>
                      <a:pt x="1226" y="2306"/>
                      <a:pt x="1261" y="2290"/>
                    </a:cubicBezTo>
                    <a:cubicBezTo>
                      <a:pt x="1340" y="2288"/>
                      <a:pt x="1420" y="2286"/>
                      <a:pt x="1500" y="2284"/>
                    </a:cubicBezTo>
                    <a:cubicBezTo>
                      <a:pt x="1524" y="2276"/>
                      <a:pt x="1548" y="2268"/>
                      <a:pt x="1573" y="2260"/>
                    </a:cubicBezTo>
                    <a:cubicBezTo>
                      <a:pt x="1618" y="2227"/>
                      <a:pt x="1663" y="2194"/>
                      <a:pt x="1708" y="2162"/>
                    </a:cubicBezTo>
                    <a:cubicBezTo>
                      <a:pt x="1738" y="2127"/>
                      <a:pt x="1769" y="2092"/>
                      <a:pt x="1800" y="2058"/>
                    </a:cubicBezTo>
                    <a:cubicBezTo>
                      <a:pt x="1828" y="2027"/>
                      <a:pt x="1857" y="1996"/>
                      <a:pt x="1886" y="1966"/>
                    </a:cubicBezTo>
                    <a:cubicBezTo>
                      <a:pt x="1906" y="1941"/>
                      <a:pt x="1926" y="1916"/>
                      <a:pt x="1947" y="1892"/>
                    </a:cubicBezTo>
                    <a:cubicBezTo>
                      <a:pt x="1953" y="1867"/>
                      <a:pt x="1959" y="1843"/>
                      <a:pt x="1965" y="1819"/>
                    </a:cubicBezTo>
                    <a:cubicBezTo>
                      <a:pt x="1973" y="1798"/>
                      <a:pt x="1981" y="1778"/>
                      <a:pt x="1990" y="1758"/>
                    </a:cubicBezTo>
                    <a:cubicBezTo>
                      <a:pt x="1996" y="1737"/>
                      <a:pt x="2002" y="1716"/>
                      <a:pt x="2008" y="1696"/>
                    </a:cubicBezTo>
                    <a:cubicBezTo>
                      <a:pt x="2008" y="1665"/>
                      <a:pt x="2008" y="1634"/>
                      <a:pt x="2008" y="1604"/>
                    </a:cubicBezTo>
                    <a:cubicBezTo>
                      <a:pt x="2006" y="1575"/>
                      <a:pt x="2004" y="1547"/>
                      <a:pt x="2002" y="1519"/>
                    </a:cubicBezTo>
                    <a:cubicBezTo>
                      <a:pt x="2002" y="1494"/>
                      <a:pt x="2002" y="1469"/>
                      <a:pt x="2002" y="1445"/>
                    </a:cubicBezTo>
                    <a:cubicBezTo>
                      <a:pt x="2008" y="1420"/>
                      <a:pt x="2014" y="1396"/>
                      <a:pt x="2020" y="1372"/>
                    </a:cubicBezTo>
                    <a:cubicBezTo>
                      <a:pt x="2040" y="1341"/>
                      <a:pt x="2061" y="1310"/>
                      <a:pt x="2082" y="1280"/>
                    </a:cubicBezTo>
                    <a:cubicBezTo>
                      <a:pt x="2067" y="1243"/>
                      <a:pt x="2053" y="1206"/>
                      <a:pt x="2039" y="1170"/>
                    </a:cubicBezTo>
                    <a:cubicBezTo>
                      <a:pt x="2028" y="1141"/>
                      <a:pt x="2018" y="1112"/>
                      <a:pt x="2008" y="1084"/>
                    </a:cubicBezTo>
                    <a:cubicBezTo>
                      <a:pt x="2008" y="1061"/>
                      <a:pt x="2008" y="1039"/>
                      <a:pt x="2008" y="1017"/>
                    </a:cubicBezTo>
                    <a:cubicBezTo>
                      <a:pt x="2028" y="1000"/>
                      <a:pt x="2048" y="984"/>
                      <a:pt x="2069" y="968"/>
                    </a:cubicBezTo>
                    <a:cubicBezTo>
                      <a:pt x="2097" y="955"/>
                      <a:pt x="2126" y="943"/>
                      <a:pt x="2155" y="931"/>
                    </a:cubicBezTo>
                    <a:cubicBezTo>
                      <a:pt x="2185" y="922"/>
                      <a:pt x="2216" y="914"/>
                      <a:pt x="2247" y="906"/>
                    </a:cubicBezTo>
                    <a:cubicBezTo>
                      <a:pt x="2273" y="924"/>
                      <a:pt x="2299" y="943"/>
                      <a:pt x="2326" y="962"/>
                    </a:cubicBezTo>
                    <a:cubicBezTo>
                      <a:pt x="2342" y="978"/>
                      <a:pt x="2358" y="994"/>
                      <a:pt x="2374" y="1011"/>
                    </a:cubicBezTo>
                    <a:cubicBezTo>
                      <a:pt x="2399" y="1002"/>
                      <a:pt x="2424" y="994"/>
                      <a:pt x="2448" y="986"/>
                    </a:cubicBezTo>
                    <a:cubicBezTo>
                      <a:pt x="2463" y="984"/>
                      <a:pt x="2477" y="982"/>
                      <a:pt x="2491" y="980"/>
                    </a:cubicBezTo>
                    <a:cubicBezTo>
                      <a:pt x="2510" y="994"/>
                      <a:pt x="2528" y="1008"/>
                      <a:pt x="2546" y="1023"/>
                    </a:cubicBezTo>
                    <a:cubicBezTo>
                      <a:pt x="2579" y="1025"/>
                      <a:pt x="2612" y="1027"/>
                      <a:pt x="2644" y="1029"/>
                    </a:cubicBezTo>
                    <a:cubicBezTo>
                      <a:pt x="2652" y="1045"/>
                      <a:pt x="2660" y="1061"/>
                      <a:pt x="2668" y="1078"/>
                    </a:cubicBezTo>
                    <a:cubicBezTo>
                      <a:pt x="2681" y="1092"/>
                      <a:pt x="2693" y="1106"/>
                      <a:pt x="2705" y="1121"/>
                    </a:cubicBezTo>
                    <a:cubicBezTo>
                      <a:pt x="2736" y="1139"/>
                      <a:pt x="2767" y="1157"/>
                      <a:pt x="2797" y="1176"/>
                    </a:cubicBezTo>
                    <a:cubicBezTo>
                      <a:pt x="2816" y="1184"/>
                      <a:pt x="2834" y="1192"/>
                      <a:pt x="2852" y="1200"/>
                    </a:cubicBezTo>
                    <a:cubicBezTo>
                      <a:pt x="2867" y="1181"/>
                      <a:pt x="2881" y="1163"/>
                      <a:pt x="2895" y="1145"/>
                    </a:cubicBezTo>
                    <a:cubicBezTo>
                      <a:pt x="2899" y="1094"/>
                      <a:pt x="2903" y="1043"/>
                      <a:pt x="2907" y="992"/>
                    </a:cubicBezTo>
                    <a:cubicBezTo>
                      <a:pt x="2934" y="988"/>
                      <a:pt x="2961" y="984"/>
                      <a:pt x="2987" y="980"/>
                    </a:cubicBezTo>
                    <a:cubicBezTo>
                      <a:pt x="3020" y="949"/>
                      <a:pt x="3053" y="918"/>
                      <a:pt x="3085" y="888"/>
                    </a:cubicBezTo>
                    <a:cubicBezTo>
                      <a:pt x="3085" y="855"/>
                      <a:pt x="3085" y="822"/>
                      <a:pt x="3085" y="790"/>
                    </a:cubicBezTo>
                    <a:cubicBezTo>
                      <a:pt x="3110" y="761"/>
                      <a:pt x="3134" y="732"/>
                      <a:pt x="3158" y="704"/>
                    </a:cubicBezTo>
                    <a:cubicBezTo>
                      <a:pt x="3136" y="604"/>
                      <a:pt x="3114" y="504"/>
                      <a:pt x="3091" y="404"/>
                    </a:cubicBezTo>
                    <a:cubicBezTo>
                      <a:pt x="3108" y="379"/>
                      <a:pt x="3124" y="355"/>
                      <a:pt x="3140" y="331"/>
                    </a:cubicBezTo>
                    <a:cubicBezTo>
                      <a:pt x="3097" y="296"/>
                      <a:pt x="3054" y="261"/>
                      <a:pt x="3011" y="227"/>
                    </a:cubicBezTo>
                    <a:cubicBezTo>
                      <a:pt x="3030" y="204"/>
                      <a:pt x="3048" y="182"/>
                      <a:pt x="3066" y="160"/>
                    </a:cubicBezTo>
                    <a:cubicBezTo>
                      <a:pt x="3075" y="139"/>
                      <a:pt x="3083" y="118"/>
                      <a:pt x="3091" y="98"/>
                    </a:cubicBezTo>
                    <a:cubicBezTo>
                      <a:pt x="3099" y="65"/>
                      <a:pt x="3107" y="32"/>
                      <a:pt x="3115" y="0"/>
                    </a:cubicBezTo>
                    <a:cubicBezTo>
                      <a:pt x="3142" y="4"/>
                      <a:pt x="3169" y="8"/>
                      <a:pt x="3195" y="13"/>
                    </a:cubicBezTo>
                    <a:cubicBezTo>
                      <a:pt x="3224" y="15"/>
                      <a:pt x="3253" y="17"/>
                      <a:pt x="3281" y="19"/>
                    </a:cubicBezTo>
                    <a:cubicBezTo>
                      <a:pt x="3361" y="84"/>
                      <a:pt x="3440" y="149"/>
                      <a:pt x="3519" y="215"/>
                    </a:cubicBezTo>
                    <a:cubicBezTo>
                      <a:pt x="3560" y="219"/>
                      <a:pt x="3601" y="223"/>
                      <a:pt x="3642" y="227"/>
                    </a:cubicBezTo>
                    <a:cubicBezTo>
                      <a:pt x="3671" y="269"/>
                      <a:pt x="3700" y="312"/>
                      <a:pt x="3728" y="355"/>
                    </a:cubicBezTo>
                    <a:cubicBezTo>
                      <a:pt x="3757" y="373"/>
                      <a:pt x="3785" y="392"/>
                      <a:pt x="3813" y="411"/>
                    </a:cubicBezTo>
                    <a:cubicBezTo>
                      <a:pt x="3813" y="435"/>
                      <a:pt x="3813" y="459"/>
                      <a:pt x="3813" y="484"/>
                    </a:cubicBezTo>
                    <a:cubicBezTo>
                      <a:pt x="3783" y="498"/>
                      <a:pt x="3752" y="512"/>
                      <a:pt x="3721" y="527"/>
                    </a:cubicBezTo>
                    <a:cubicBezTo>
                      <a:pt x="3721" y="545"/>
                      <a:pt x="3721" y="563"/>
                      <a:pt x="3721" y="582"/>
                    </a:cubicBezTo>
                    <a:cubicBezTo>
                      <a:pt x="3742" y="600"/>
                      <a:pt x="3763" y="618"/>
                      <a:pt x="3783" y="637"/>
                    </a:cubicBezTo>
                    <a:cubicBezTo>
                      <a:pt x="3785" y="653"/>
                      <a:pt x="3787" y="669"/>
                      <a:pt x="3789" y="686"/>
                    </a:cubicBezTo>
                    <a:cubicBezTo>
                      <a:pt x="3826" y="706"/>
                      <a:pt x="3863" y="726"/>
                      <a:pt x="3899" y="747"/>
                    </a:cubicBezTo>
                    <a:cubicBezTo>
                      <a:pt x="4024" y="749"/>
                      <a:pt x="4149" y="751"/>
                      <a:pt x="4273" y="753"/>
                    </a:cubicBezTo>
                    <a:cubicBezTo>
                      <a:pt x="4306" y="771"/>
                      <a:pt x="4339" y="790"/>
                      <a:pt x="4371" y="809"/>
                    </a:cubicBezTo>
                    <a:cubicBezTo>
                      <a:pt x="4402" y="811"/>
                      <a:pt x="4432" y="813"/>
                      <a:pt x="4462" y="815"/>
                    </a:cubicBezTo>
                    <a:cubicBezTo>
                      <a:pt x="4489" y="819"/>
                      <a:pt x="4516" y="823"/>
                      <a:pt x="4542" y="827"/>
                    </a:cubicBezTo>
                    <a:cubicBezTo>
                      <a:pt x="4569" y="835"/>
                      <a:pt x="4596" y="843"/>
                      <a:pt x="4622" y="851"/>
                    </a:cubicBezTo>
                    <a:cubicBezTo>
                      <a:pt x="4653" y="871"/>
                      <a:pt x="4683" y="892"/>
                      <a:pt x="4713" y="913"/>
                    </a:cubicBezTo>
                    <a:cubicBezTo>
                      <a:pt x="4744" y="880"/>
                      <a:pt x="4775" y="847"/>
                      <a:pt x="4805" y="815"/>
                    </a:cubicBezTo>
                    <a:cubicBezTo>
                      <a:pt x="4828" y="788"/>
                      <a:pt x="4851" y="761"/>
                      <a:pt x="4873" y="735"/>
                    </a:cubicBezTo>
                    <a:cubicBezTo>
                      <a:pt x="4898" y="737"/>
                      <a:pt x="4922" y="739"/>
                      <a:pt x="4946" y="741"/>
                    </a:cubicBezTo>
                    <a:cubicBezTo>
                      <a:pt x="4965" y="700"/>
                      <a:pt x="4983" y="659"/>
                      <a:pt x="5001" y="619"/>
                    </a:cubicBezTo>
                    <a:cubicBezTo>
                      <a:pt x="5001" y="574"/>
                      <a:pt x="5001" y="529"/>
                      <a:pt x="5001" y="484"/>
                    </a:cubicBezTo>
                    <a:cubicBezTo>
                      <a:pt x="5042" y="473"/>
                      <a:pt x="5083" y="463"/>
                      <a:pt x="5124" y="453"/>
                    </a:cubicBezTo>
                    <a:cubicBezTo>
                      <a:pt x="5149" y="481"/>
                      <a:pt x="5173" y="510"/>
                      <a:pt x="5197" y="539"/>
                    </a:cubicBezTo>
                    <a:cubicBezTo>
                      <a:pt x="5224" y="551"/>
                      <a:pt x="5251" y="563"/>
                      <a:pt x="5277" y="576"/>
                    </a:cubicBezTo>
                    <a:cubicBezTo>
                      <a:pt x="5304" y="588"/>
                      <a:pt x="5330" y="600"/>
                      <a:pt x="5356" y="613"/>
                    </a:cubicBezTo>
                    <a:cubicBezTo>
                      <a:pt x="5377" y="592"/>
                      <a:pt x="5398" y="571"/>
                      <a:pt x="5418" y="551"/>
                    </a:cubicBezTo>
                    <a:cubicBezTo>
                      <a:pt x="5439" y="534"/>
                      <a:pt x="5459" y="518"/>
                      <a:pt x="5479" y="502"/>
                    </a:cubicBezTo>
                    <a:cubicBezTo>
                      <a:pt x="5498" y="512"/>
                      <a:pt x="5516" y="522"/>
                      <a:pt x="5534" y="533"/>
                    </a:cubicBezTo>
                    <a:cubicBezTo>
                      <a:pt x="5540" y="557"/>
                      <a:pt x="5546" y="581"/>
                      <a:pt x="5552" y="606"/>
                    </a:cubicBezTo>
                    <a:cubicBezTo>
                      <a:pt x="5585" y="606"/>
                      <a:pt x="5618" y="606"/>
                      <a:pt x="5650" y="606"/>
                    </a:cubicBezTo>
                    <a:cubicBezTo>
                      <a:pt x="5661" y="638"/>
                      <a:pt x="5671" y="671"/>
                      <a:pt x="5681" y="704"/>
                    </a:cubicBezTo>
                    <a:cubicBezTo>
                      <a:pt x="5712" y="706"/>
                      <a:pt x="5743" y="708"/>
                      <a:pt x="5773" y="711"/>
                    </a:cubicBezTo>
                    <a:cubicBezTo>
                      <a:pt x="5775" y="708"/>
                      <a:pt x="5777" y="706"/>
                      <a:pt x="5779" y="704"/>
                    </a:cubicBezTo>
                    <a:cubicBezTo>
                      <a:pt x="5779" y="726"/>
                      <a:pt x="5779" y="749"/>
                      <a:pt x="5779" y="772"/>
                    </a:cubicBezTo>
                    <a:cubicBezTo>
                      <a:pt x="5814" y="772"/>
                      <a:pt x="5849" y="772"/>
                      <a:pt x="5883" y="772"/>
                    </a:cubicBezTo>
                    <a:cubicBezTo>
                      <a:pt x="5918" y="778"/>
                      <a:pt x="5953" y="784"/>
                      <a:pt x="5987" y="790"/>
                    </a:cubicBezTo>
                    <a:cubicBezTo>
                      <a:pt x="6028" y="806"/>
                      <a:pt x="6069" y="822"/>
                      <a:pt x="6110" y="839"/>
                    </a:cubicBezTo>
                    <a:cubicBezTo>
                      <a:pt x="6147" y="851"/>
                      <a:pt x="6184" y="863"/>
                      <a:pt x="6220" y="876"/>
                    </a:cubicBezTo>
                    <a:cubicBezTo>
                      <a:pt x="6265" y="880"/>
                      <a:pt x="6310" y="884"/>
                      <a:pt x="6354" y="888"/>
                    </a:cubicBezTo>
                    <a:cubicBezTo>
                      <a:pt x="6393" y="912"/>
                      <a:pt x="6432" y="937"/>
                      <a:pt x="6471" y="962"/>
                    </a:cubicBezTo>
                    <a:cubicBezTo>
                      <a:pt x="6465" y="984"/>
                      <a:pt x="6459" y="1006"/>
                      <a:pt x="6452" y="1029"/>
                    </a:cubicBezTo>
                    <a:cubicBezTo>
                      <a:pt x="6432" y="1031"/>
                      <a:pt x="6412" y="1033"/>
                      <a:pt x="6391" y="1035"/>
                    </a:cubicBezTo>
                    <a:cubicBezTo>
                      <a:pt x="6373" y="1061"/>
                      <a:pt x="6355" y="1088"/>
                      <a:pt x="6336" y="1115"/>
                    </a:cubicBezTo>
                    <a:cubicBezTo>
                      <a:pt x="6330" y="1133"/>
                      <a:pt x="6324" y="1151"/>
                      <a:pt x="6318" y="1170"/>
                    </a:cubicBezTo>
                    <a:cubicBezTo>
                      <a:pt x="6324" y="1190"/>
                      <a:pt x="6330" y="1210"/>
                      <a:pt x="6336" y="1231"/>
                    </a:cubicBezTo>
                    <a:cubicBezTo>
                      <a:pt x="6383" y="1267"/>
                      <a:pt x="6430" y="1304"/>
                      <a:pt x="6477" y="1341"/>
                    </a:cubicBezTo>
                    <a:cubicBezTo>
                      <a:pt x="6498" y="1349"/>
                      <a:pt x="6518" y="1357"/>
                      <a:pt x="6538" y="1366"/>
                    </a:cubicBezTo>
                    <a:cubicBezTo>
                      <a:pt x="6540" y="1417"/>
                      <a:pt x="6542" y="1468"/>
                      <a:pt x="6544" y="1519"/>
                    </a:cubicBezTo>
                    <a:cubicBezTo>
                      <a:pt x="6569" y="1519"/>
                      <a:pt x="6594" y="1519"/>
                      <a:pt x="6618" y="1519"/>
                    </a:cubicBezTo>
                    <a:cubicBezTo>
                      <a:pt x="6618" y="1533"/>
                      <a:pt x="6618" y="1547"/>
                      <a:pt x="6618" y="1562"/>
                    </a:cubicBezTo>
                    <a:cubicBezTo>
                      <a:pt x="6620" y="1600"/>
                      <a:pt x="6622" y="1639"/>
                      <a:pt x="6624" y="1678"/>
                    </a:cubicBezTo>
                    <a:cubicBezTo>
                      <a:pt x="6622" y="1698"/>
                      <a:pt x="6620" y="1718"/>
                      <a:pt x="6618" y="1739"/>
                    </a:cubicBezTo>
                    <a:cubicBezTo>
                      <a:pt x="6635" y="1765"/>
                      <a:pt x="6651" y="1792"/>
                      <a:pt x="6667" y="1819"/>
                    </a:cubicBezTo>
                    <a:cubicBezTo>
                      <a:pt x="6671" y="1849"/>
                      <a:pt x="6675" y="1880"/>
                      <a:pt x="6679" y="1911"/>
                    </a:cubicBezTo>
                    <a:cubicBezTo>
                      <a:pt x="6677" y="1957"/>
                      <a:pt x="6675" y="2004"/>
                      <a:pt x="6673" y="2051"/>
                    </a:cubicBezTo>
                    <a:cubicBezTo>
                      <a:pt x="6675" y="2092"/>
                      <a:pt x="6677" y="2133"/>
                      <a:pt x="6679" y="2174"/>
                    </a:cubicBezTo>
                    <a:cubicBezTo>
                      <a:pt x="6685" y="2239"/>
                      <a:pt x="6691" y="2304"/>
                      <a:pt x="6697" y="2370"/>
                    </a:cubicBezTo>
                    <a:cubicBezTo>
                      <a:pt x="6683" y="2361"/>
                      <a:pt x="6669" y="2353"/>
                      <a:pt x="6655" y="2345"/>
                    </a:cubicBezTo>
                    <a:cubicBezTo>
                      <a:pt x="6637" y="2337"/>
                      <a:pt x="6618" y="2329"/>
                      <a:pt x="6599" y="2321"/>
                    </a:cubicBezTo>
                    <a:cubicBezTo>
                      <a:pt x="6583" y="2306"/>
                      <a:pt x="6567" y="2292"/>
                      <a:pt x="6550" y="2278"/>
                    </a:cubicBezTo>
                    <a:cubicBezTo>
                      <a:pt x="6528" y="2280"/>
                      <a:pt x="6506" y="2282"/>
                      <a:pt x="6483" y="2284"/>
                    </a:cubicBezTo>
                    <a:cubicBezTo>
                      <a:pt x="6465" y="2286"/>
                      <a:pt x="6447" y="2288"/>
                      <a:pt x="6428" y="2290"/>
                    </a:cubicBezTo>
                    <a:cubicBezTo>
                      <a:pt x="6408" y="2304"/>
                      <a:pt x="6388" y="2318"/>
                      <a:pt x="6367" y="2333"/>
                    </a:cubicBezTo>
                    <a:cubicBezTo>
                      <a:pt x="6341" y="2361"/>
                      <a:pt x="6314" y="2390"/>
                      <a:pt x="6287" y="2419"/>
                    </a:cubicBezTo>
                    <a:cubicBezTo>
                      <a:pt x="6267" y="2445"/>
                      <a:pt x="6247" y="2471"/>
                      <a:pt x="6226" y="2498"/>
                    </a:cubicBezTo>
                    <a:cubicBezTo>
                      <a:pt x="6206" y="2506"/>
                      <a:pt x="6186" y="2514"/>
                      <a:pt x="6165" y="2523"/>
                    </a:cubicBezTo>
                    <a:cubicBezTo>
                      <a:pt x="6141" y="2529"/>
                      <a:pt x="6116" y="2535"/>
                      <a:pt x="6091" y="2541"/>
                    </a:cubicBezTo>
                    <a:cubicBezTo>
                      <a:pt x="6069" y="2547"/>
                      <a:pt x="6047" y="2553"/>
                      <a:pt x="6024" y="2560"/>
                    </a:cubicBezTo>
                    <a:cubicBezTo>
                      <a:pt x="6000" y="2566"/>
                      <a:pt x="5975" y="2572"/>
                      <a:pt x="5950" y="2578"/>
                    </a:cubicBezTo>
                    <a:cubicBezTo>
                      <a:pt x="5914" y="2588"/>
                      <a:pt x="5877" y="2598"/>
                      <a:pt x="5840" y="2609"/>
                    </a:cubicBezTo>
                    <a:cubicBezTo>
                      <a:pt x="5800" y="2596"/>
                      <a:pt x="5759" y="2584"/>
                      <a:pt x="5718" y="2572"/>
                    </a:cubicBezTo>
                    <a:cubicBezTo>
                      <a:pt x="5704" y="2561"/>
                      <a:pt x="5690" y="2551"/>
                      <a:pt x="5675" y="2541"/>
                    </a:cubicBezTo>
                    <a:cubicBezTo>
                      <a:pt x="5653" y="2516"/>
                      <a:pt x="5630" y="2492"/>
                      <a:pt x="5607" y="2468"/>
                    </a:cubicBezTo>
                    <a:cubicBezTo>
                      <a:pt x="5583" y="2441"/>
                      <a:pt x="5559" y="2414"/>
                      <a:pt x="5534" y="2388"/>
                    </a:cubicBezTo>
                    <a:cubicBezTo>
                      <a:pt x="5528" y="2371"/>
                      <a:pt x="5522" y="2355"/>
                      <a:pt x="5516" y="2339"/>
                    </a:cubicBezTo>
                    <a:cubicBezTo>
                      <a:pt x="5488" y="2337"/>
                      <a:pt x="5459" y="2335"/>
                      <a:pt x="5430" y="2333"/>
                    </a:cubicBezTo>
                    <a:cubicBezTo>
                      <a:pt x="5394" y="2329"/>
                      <a:pt x="5357" y="2325"/>
                      <a:pt x="5320" y="2321"/>
                    </a:cubicBezTo>
                    <a:cubicBezTo>
                      <a:pt x="5279" y="2353"/>
                      <a:pt x="5238" y="2386"/>
                      <a:pt x="5197" y="2419"/>
                    </a:cubicBezTo>
                    <a:cubicBezTo>
                      <a:pt x="5193" y="2455"/>
                      <a:pt x="5189" y="2492"/>
                      <a:pt x="5185" y="2529"/>
                    </a:cubicBezTo>
                    <a:cubicBezTo>
                      <a:pt x="5189" y="2572"/>
                      <a:pt x="5193" y="2615"/>
                      <a:pt x="5197" y="2658"/>
                    </a:cubicBezTo>
                    <a:cubicBezTo>
                      <a:pt x="5187" y="2698"/>
                      <a:pt x="5177" y="2739"/>
                      <a:pt x="5167" y="2780"/>
                    </a:cubicBezTo>
                    <a:cubicBezTo>
                      <a:pt x="5188" y="2818"/>
                      <a:pt x="5208" y="2857"/>
                      <a:pt x="5228" y="2896"/>
                    </a:cubicBezTo>
                    <a:cubicBezTo>
                      <a:pt x="5220" y="2910"/>
                      <a:pt x="5212" y="2924"/>
                      <a:pt x="5203" y="2939"/>
                    </a:cubicBezTo>
                    <a:cubicBezTo>
                      <a:pt x="5193" y="2967"/>
                      <a:pt x="5183" y="2996"/>
                      <a:pt x="5173" y="3025"/>
                    </a:cubicBezTo>
                    <a:cubicBezTo>
                      <a:pt x="5155" y="3063"/>
                      <a:pt x="5137" y="3102"/>
                      <a:pt x="5118" y="3141"/>
                    </a:cubicBezTo>
                    <a:cubicBezTo>
                      <a:pt x="5126" y="3171"/>
                      <a:pt x="5134" y="3202"/>
                      <a:pt x="5142" y="3233"/>
                    </a:cubicBezTo>
                    <a:cubicBezTo>
                      <a:pt x="5183" y="3265"/>
                      <a:pt x="5224" y="3298"/>
                      <a:pt x="5265" y="3331"/>
                    </a:cubicBezTo>
                    <a:cubicBezTo>
                      <a:pt x="5288" y="3349"/>
                      <a:pt x="5310" y="3367"/>
                      <a:pt x="5332" y="3386"/>
                    </a:cubicBezTo>
                    <a:cubicBezTo>
                      <a:pt x="5355" y="3404"/>
                      <a:pt x="5377" y="3422"/>
                      <a:pt x="5399" y="3441"/>
                    </a:cubicBezTo>
                    <a:cubicBezTo>
                      <a:pt x="5422" y="3445"/>
                      <a:pt x="5445" y="3449"/>
                      <a:pt x="5467" y="3454"/>
                    </a:cubicBezTo>
                    <a:cubicBezTo>
                      <a:pt x="5488" y="3466"/>
                      <a:pt x="5508" y="3478"/>
                      <a:pt x="5528" y="3490"/>
                    </a:cubicBezTo>
                    <a:cubicBezTo>
                      <a:pt x="5545" y="3506"/>
                      <a:pt x="5561" y="3522"/>
                      <a:pt x="5577" y="3539"/>
                    </a:cubicBezTo>
                    <a:cubicBezTo>
                      <a:pt x="5608" y="3563"/>
                      <a:pt x="5639" y="3588"/>
                      <a:pt x="5669" y="3613"/>
                    </a:cubicBezTo>
                    <a:cubicBezTo>
                      <a:pt x="5702" y="3623"/>
                      <a:pt x="5735" y="3633"/>
                      <a:pt x="5767" y="3643"/>
                    </a:cubicBezTo>
                    <a:cubicBezTo>
                      <a:pt x="5792" y="3653"/>
                      <a:pt x="5816" y="3663"/>
                      <a:pt x="5840" y="3674"/>
                    </a:cubicBezTo>
                    <a:cubicBezTo>
                      <a:pt x="5863" y="3674"/>
                      <a:pt x="5886" y="3674"/>
                      <a:pt x="5908" y="3674"/>
                    </a:cubicBezTo>
                    <a:cubicBezTo>
                      <a:pt x="5941" y="3688"/>
                      <a:pt x="5973" y="3702"/>
                      <a:pt x="6005" y="3717"/>
                    </a:cubicBezTo>
                    <a:cubicBezTo>
                      <a:pt x="6042" y="3747"/>
                      <a:pt x="6079" y="3778"/>
                      <a:pt x="6116" y="3809"/>
                    </a:cubicBezTo>
                    <a:cubicBezTo>
                      <a:pt x="6122" y="3841"/>
                      <a:pt x="6128" y="3874"/>
                      <a:pt x="6134" y="3907"/>
                    </a:cubicBezTo>
                    <a:cubicBezTo>
                      <a:pt x="6118" y="3919"/>
                      <a:pt x="6102" y="3931"/>
                      <a:pt x="6085" y="3943"/>
                    </a:cubicBezTo>
                    <a:cubicBezTo>
                      <a:pt x="6085" y="3971"/>
                      <a:pt x="6085" y="4000"/>
                      <a:pt x="6085" y="4029"/>
                    </a:cubicBezTo>
                    <a:cubicBezTo>
                      <a:pt x="6071" y="4059"/>
                      <a:pt x="6057" y="4090"/>
                      <a:pt x="6042" y="4121"/>
                    </a:cubicBezTo>
                    <a:cubicBezTo>
                      <a:pt x="6032" y="4139"/>
                      <a:pt x="6022" y="4157"/>
                      <a:pt x="6012" y="4176"/>
                    </a:cubicBezTo>
                    <a:cubicBezTo>
                      <a:pt x="6012" y="4200"/>
                      <a:pt x="6012" y="4224"/>
                      <a:pt x="6012" y="4249"/>
                    </a:cubicBezTo>
                    <a:cubicBezTo>
                      <a:pt x="6026" y="4288"/>
                      <a:pt x="6040" y="4327"/>
                      <a:pt x="6054" y="4366"/>
                    </a:cubicBezTo>
                    <a:cubicBezTo>
                      <a:pt x="6048" y="4402"/>
                      <a:pt x="6042" y="4439"/>
                      <a:pt x="6036" y="4476"/>
                    </a:cubicBezTo>
                    <a:cubicBezTo>
                      <a:pt x="6014" y="4496"/>
                      <a:pt x="5992" y="4516"/>
                      <a:pt x="5969" y="4537"/>
                    </a:cubicBezTo>
                    <a:cubicBezTo>
                      <a:pt x="5937" y="4576"/>
                      <a:pt x="5904" y="4615"/>
                      <a:pt x="5871" y="4654"/>
                    </a:cubicBezTo>
                    <a:cubicBezTo>
                      <a:pt x="5835" y="4670"/>
                      <a:pt x="5798" y="4686"/>
                      <a:pt x="5761" y="4703"/>
                    </a:cubicBezTo>
                    <a:cubicBezTo>
                      <a:pt x="5706" y="4723"/>
                      <a:pt x="5651" y="4743"/>
                      <a:pt x="5595" y="4764"/>
                    </a:cubicBezTo>
                    <a:cubicBezTo>
                      <a:pt x="5569" y="4774"/>
                      <a:pt x="5543" y="4784"/>
                      <a:pt x="5516" y="4794"/>
                    </a:cubicBezTo>
                    <a:cubicBezTo>
                      <a:pt x="5465" y="4814"/>
                      <a:pt x="5414" y="4835"/>
                      <a:pt x="5363" y="4856"/>
                    </a:cubicBezTo>
                    <a:cubicBezTo>
                      <a:pt x="5365" y="4876"/>
                      <a:pt x="5367" y="4896"/>
                      <a:pt x="5369" y="4917"/>
                    </a:cubicBezTo>
                    <a:cubicBezTo>
                      <a:pt x="5355" y="4937"/>
                      <a:pt x="5341" y="4957"/>
                      <a:pt x="5326" y="4978"/>
                    </a:cubicBezTo>
                    <a:cubicBezTo>
                      <a:pt x="5294" y="4980"/>
                      <a:pt x="5261" y="4982"/>
                      <a:pt x="5228" y="4984"/>
                    </a:cubicBezTo>
                    <a:cubicBezTo>
                      <a:pt x="5206" y="4984"/>
                      <a:pt x="5183" y="4984"/>
                      <a:pt x="5160" y="4984"/>
                    </a:cubicBezTo>
                    <a:cubicBezTo>
                      <a:pt x="5146" y="4996"/>
                      <a:pt x="5132" y="5008"/>
                      <a:pt x="5118" y="5021"/>
                    </a:cubicBezTo>
                    <a:cubicBezTo>
                      <a:pt x="5092" y="5061"/>
                      <a:pt x="5065" y="5102"/>
                      <a:pt x="5038" y="5142"/>
                    </a:cubicBezTo>
                    <a:cubicBezTo>
                      <a:pt x="5030" y="5163"/>
                      <a:pt x="5022" y="5184"/>
                      <a:pt x="5014" y="5204"/>
                    </a:cubicBezTo>
                    <a:cubicBezTo>
                      <a:pt x="4986" y="5210"/>
                      <a:pt x="4952" y="5222"/>
                      <a:pt x="4928" y="5222"/>
                    </a:cubicBezTo>
                    <a:cubicBezTo>
                      <a:pt x="4903" y="5222"/>
                      <a:pt x="4875" y="5222"/>
                      <a:pt x="4848" y="5222"/>
                    </a:cubicBezTo>
                    <a:cubicBezTo>
                      <a:pt x="4785" y="5214"/>
                      <a:pt x="4722" y="5206"/>
                      <a:pt x="4658" y="5197"/>
                    </a:cubicBezTo>
                    <a:cubicBezTo>
                      <a:pt x="4636" y="5183"/>
                      <a:pt x="4614" y="5169"/>
                      <a:pt x="4591" y="5155"/>
                    </a:cubicBezTo>
                    <a:cubicBezTo>
                      <a:pt x="4567" y="5127"/>
                      <a:pt x="4543" y="5098"/>
                      <a:pt x="4518" y="5070"/>
                    </a:cubicBezTo>
                    <a:cubicBezTo>
                      <a:pt x="4502" y="5070"/>
                      <a:pt x="4486" y="5070"/>
                      <a:pt x="4469" y="5070"/>
                    </a:cubicBezTo>
                    <a:cubicBezTo>
                      <a:pt x="4441" y="5076"/>
                      <a:pt x="4412" y="5082"/>
                      <a:pt x="4383" y="5088"/>
                    </a:cubicBezTo>
                    <a:cubicBezTo>
                      <a:pt x="4369" y="5110"/>
                      <a:pt x="4355" y="5133"/>
                      <a:pt x="4340" y="5155"/>
                    </a:cubicBezTo>
                    <a:cubicBezTo>
                      <a:pt x="4314" y="5157"/>
                      <a:pt x="4287" y="5159"/>
                      <a:pt x="4260" y="5161"/>
                    </a:cubicBezTo>
                    <a:cubicBezTo>
                      <a:pt x="4228" y="5165"/>
                      <a:pt x="4195" y="5169"/>
                      <a:pt x="4162" y="5173"/>
                    </a:cubicBezTo>
                    <a:cubicBezTo>
                      <a:pt x="4150" y="5202"/>
                      <a:pt x="4138" y="5231"/>
                      <a:pt x="4126" y="5259"/>
                    </a:cubicBezTo>
                    <a:cubicBezTo>
                      <a:pt x="4110" y="5257"/>
                      <a:pt x="4094" y="5255"/>
                      <a:pt x="4077" y="5253"/>
                    </a:cubicBezTo>
                    <a:cubicBezTo>
                      <a:pt x="4079" y="5227"/>
                      <a:pt x="4081" y="5200"/>
                      <a:pt x="4083" y="5173"/>
                    </a:cubicBezTo>
                    <a:cubicBezTo>
                      <a:pt x="4079" y="5153"/>
                      <a:pt x="4075" y="5133"/>
                      <a:pt x="4071" y="5113"/>
                    </a:cubicBezTo>
                    <a:cubicBezTo>
                      <a:pt x="4036" y="5082"/>
                      <a:pt x="4001" y="5051"/>
                      <a:pt x="3966" y="5021"/>
                    </a:cubicBezTo>
                    <a:cubicBezTo>
                      <a:pt x="3932" y="4990"/>
                      <a:pt x="3897" y="4959"/>
                      <a:pt x="3862" y="4929"/>
                    </a:cubicBezTo>
                    <a:cubicBezTo>
                      <a:pt x="3858" y="4929"/>
                      <a:pt x="3854" y="4929"/>
                      <a:pt x="3850" y="4929"/>
                    </a:cubicBezTo>
                    <a:cubicBezTo>
                      <a:pt x="3812" y="4939"/>
                      <a:pt x="3773" y="4949"/>
                      <a:pt x="3734" y="4960"/>
                    </a:cubicBezTo>
                    <a:cubicBezTo>
                      <a:pt x="3720" y="4945"/>
                      <a:pt x="3706" y="4931"/>
                      <a:pt x="3691" y="4917"/>
                    </a:cubicBezTo>
                    <a:cubicBezTo>
                      <a:pt x="3681" y="4919"/>
                      <a:pt x="3671" y="4921"/>
                      <a:pt x="3660" y="4923"/>
                    </a:cubicBezTo>
                    <a:cubicBezTo>
                      <a:pt x="3624" y="4919"/>
                      <a:pt x="3587" y="4915"/>
                      <a:pt x="3550" y="4911"/>
                    </a:cubicBezTo>
                    <a:cubicBezTo>
                      <a:pt x="3534" y="4906"/>
                      <a:pt x="3518" y="4902"/>
                      <a:pt x="3501" y="4898"/>
                    </a:cubicBezTo>
                    <a:cubicBezTo>
                      <a:pt x="3465" y="4871"/>
                      <a:pt x="3428" y="4845"/>
                      <a:pt x="3391" y="4819"/>
                    </a:cubicBezTo>
                    <a:cubicBezTo>
                      <a:pt x="3359" y="4843"/>
                      <a:pt x="3326" y="4867"/>
                      <a:pt x="3293" y="4892"/>
                    </a:cubicBezTo>
                    <a:cubicBezTo>
                      <a:pt x="3246" y="4918"/>
                      <a:pt x="3199" y="4945"/>
                      <a:pt x="3152" y="4972"/>
                    </a:cubicBezTo>
                    <a:cubicBezTo>
                      <a:pt x="3085" y="5012"/>
                      <a:pt x="3018" y="5053"/>
                      <a:pt x="2950" y="5094"/>
                    </a:cubicBezTo>
                    <a:cubicBezTo>
                      <a:pt x="2946" y="5104"/>
                      <a:pt x="2942" y="5114"/>
                      <a:pt x="2938" y="5124"/>
                    </a:cubicBezTo>
                    <a:cubicBezTo>
                      <a:pt x="2936" y="5161"/>
                      <a:pt x="2934" y="5198"/>
                      <a:pt x="2932" y="5234"/>
                    </a:cubicBezTo>
                    <a:cubicBezTo>
                      <a:pt x="2932" y="5267"/>
                      <a:pt x="2932" y="5300"/>
                      <a:pt x="2932" y="5332"/>
                    </a:cubicBezTo>
                    <a:cubicBezTo>
                      <a:pt x="2932" y="5361"/>
                      <a:pt x="2932" y="5390"/>
                      <a:pt x="2932" y="5418"/>
                    </a:cubicBezTo>
                    <a:cubicBezTo>
                      <a:pt x="2936" y="5445"/>
                      <a:pt x="2940" y="5472"/>
                      <a:pt x="2944" y="5498"/>
                    </a:cubicBezTo>
                    <a:cubicBezTo>
                      <a:pt x="2957" y="5521"/>
                      <a:pt x="2969" y="5543"/>
                      <a:pt x="2981" y="5565"/>
                    </a:cubicBezTo>
                    <a:cubicBezTo>
                      <a:pt x="3004" y="5584"/>
                      <a:pt x="3026" y="5602"/>
                      <a:pt x="3048" y="5620"/>
                    </a:cubicBezTo>
                    <a:cubicBezTo>
                      <a:pt x="3069" y="5645"/>
                      <a:pt x="3089" y="5669"/>
                      <a:pt x="3109" y="5693"/>
                    </a:cubicBezTo>
                    <a:cubicBezTo>
                      <a:pt x="3118" y="5716"/>
                      <a:pt x="3126" y="5739"/>
                      <a:pt x="3134" y="5761"/>
                    </a:cubicBezTo>
                    <a:cubicBezTo>
                      <a:pt x="3134" y="5794"/>
                      <a:pt x="3134" y="5827"/>
                      <a:pt x="3134" y="5859"/>
                    </a:cubicBezTo>
                    <a:cubicBezTo>
                      <a:pt x="3128" y="5865"/>
                      <a:pt x="3122" y="5871"/>
                      <a:pt x="3115" y="5877"/>
                    </a:cubicBezTo>
                    <a:cubicBezTo>
                      <a:pt x="3089" y="5896"/>
                      <a:pt x="3063" y="5914"/>
                      <a:pt x="3036" y="5932"/>
                    </a:cubicBezTo>
                    <a:cubicBezTo>
                      <a:pt x="3030" y="5951"/>
                      <a:pt x="3024" y="5969"/>
                      <a:pt x="3017" y="5987"/>
                    </a:cubicBezTo>
                    <a:cubicBezTo>
                      <a:pt x="3011" y="6010"/>
                      <a:pt x="3005" y="6033"/>
                      <a:pt x="2999" y="6055"/>
                    </a:cubicBezTo>
                    <a:cubicBezTo>
                      <a:pt x="2973" y="6049"/>
                      <a:pt x="2946" y="6043"/>
                      <a:pt x="2919" y="6036"/>
                    </a:cubicBezTo>
                    <a:cubicBezTo>
                      <a:pt x="2873" y="6030"/>
                      <a:pt x="2826" y="6024"/>
                      <a:pt x="2779" y="6018"/>
                    </a:cubicBezTo>
                    <a:cubicBezTo>
                      <a:pt x="2738" y="6008"/>
                      <a:pt x="2697" y="5998"/>
                      <a:pt x="2656" y="5987"/>
                    </a:cubicBezTo>
                    <a:cubicBezTo>
                      <a:pt x="2658" y="5987"/>
                      <a:pt x="2660" y="5987"/>
                      <a:pt x="2662" y="5987"/>
                    </a:cubicBezTo>
                    <a:cubicBezTo>
                      <a:pt x="2626" y="5963"/>
                      <a:pt x="2589" y="5939"/>
                      <a:pt x="2552" y="5914"/>
                    </a:cubicBezTo>
                    <a:cubicBezTo>
                      <a:pt x="2520" y="5888"/>
                      <a:pt x="2487" y="5861"/>
                      <a:pt x="2454" y="5834"/>
                    </a:cubicBezTo>
                    <a:cubicBezTo>
                      <a:pt x="2411" y="5808"/>
                      <a:pt x="2368" y="5782"/>
                      <a:pt x="2326" y="5755"/>
                    </a:cubicBezTo>
                    <a:cubicBezTo>
                      <a:pt x="2324" y="5721"/>
                      <a:pt x="2322" y="5686"/>
                      <a:pt x="2320" y="5651"/>
                    </a:cubicBezTo>
                    <a:cubicBezTo>
                      <a:pt x="2332" y="5614"/>
                      <a:pt x="2344" y="5577"/>
                      <a:pt x="2356" y="5540"/>
                    </a:cubicBezTo>
                    <a:cubicBezTo>
                      <a:pt x="2375" y="5508"/>
                      <a:pt x="2393" y="5475"/>
                      <a:pt x="2411" y="5442"/>
                    </a:cubicBezTo>
                    <a:cubicBezTo>
                      <a:pt x="2407" y="5410"/>
                      <a:pt x="2403" y="5377"/>
                      <a:pt x="2399" y="5344"/>
                    </a:cubicBezTo>
                    <a:cubicBezTo>
                      <a:pt x="2385" y="5330"/>
                      <a:pt x="2371" y="5316"/>
                      <a:pt x="2356" y="5302"/>
                    </a:cubicBezTo>
                    <a:cubicBezTo>
                      <a:pt x="2377" y="5239"/>
                      <a:pt x="2397" y="5176"/>
                      <a:pt x="2417" y="5113"/>
                    </a:cubicBezTo>
                    <a:cubicBezTo>
                      <a:pt x="2436" y="5055"/>
                      <a:pt x="2454" y="4998"/>
                      <a:pt x="2472" y="4941"/>
                    </a:cubicBezTo>
                    <a:cubicBezTo>
                      <a:pt x="2468" y="4914"/>
                      <a:pt x="2464" y="4888"/>
                      <a:pt x="2460" y="4862"/>
                    </a:cubicBezTo>
                    <a:cubicBezTo>
                      <a:pt x="2446" y="4855"/>
                      <a:pt x="2432" y="4849"/>
                      <a:pt x="2417" y="4843"/>
                    </a:cubicBezTo>
                    <a:cubicBezTo>
                      <a:pt x="2383" y="4839"/>
                      <a:pt x="2348" y="4835"/>
                      <a:pt x="2314" y="4831"/>
                    </a:cubicBezTo>
                    <a:cubicBezTo>
                      <a:pt x="2273" y="4806"/>
                      <a:pt x="2232" y="4782"/>
                      <a:pt x="2192" y="4758"/>
                    </a:cubicBezTo>
                    <a:cubicBezTo>
                      <a:pt x="2167" y="4737"/>
                      <a:pt x="2142" y="4716"/>
                      <a:pt x="2118" y="4696"/>
                    </a:cubicBezTo>
                    <a:cubicBezTo>
                      <a:pt x="2118" y="4688"/>
                      <a:pt x="2118" y="4680"/>
                      <a:pt x="2118" y="4672"/>
                    </a:cubicBezTo>
                    <a:cubicBezTo>
                      <a:pt x="2206" y="4672"/>
                      <a:pt x="2294" y="4672"/>
                      <a:pt x="2381" y="4672"/>
                    </a:cubicBezTo>
                    <a:cubicBezTo>
                      <a:pt x="2393" y="4659"/>
                      <a:pt x="2405" y="4647"/>
                      <a:pt x="2417" y="4635"/>
                    </a:cubicBezTo>
                    <a:cubicBezTo>
                      <a:pt x="2415" y="4616"/>
                      <a:pt x="2413" y="4598"/>
                      <a:pt x="2411" y="4580"/>
                    </a:cubicBezTo>
                    <a:cubicBezTo>
                      <a:pt x="2358" y="4555"/>
                      <a:pt x="2306" y="4531"/>
                      <a:pt x="2253" y="4507"/>
                    </a:cubicBezTo>
                    <a:cubicBezTo>
                      <a:pt x="2179" y="4500"/>
                      <a:pt x="2106" y="4494"/>
                      <a:pt x="2033" y="4488"/>
                    </a:cubicBezTo>
                    <a:cubicBezTo>
                      <a:pt x="1998" y="4490"/>
                      <a:pt x="1963" y="4492"/>
                      <a:pt x="1928" y="4494"/>
                    </a:cubicBezTo>
                    <a:cubicBezTo>
                      <a:pt x="1877" y="4494"/>
                      <a:pt x="1826" y="4494"/>
                      <a:pt x="1775" y="4494"/>
                    </a:cubicBezTo>
                    <a:cubicBezTo>
                      <a:pt x="1754" y="4455"/>
                      <a:pt x="1734" y="4416"/>
                      <a:pt x="1714" y="4378"/>
                    </a:cubicBezTo>
                    <a:cubicBezTo>
                      <a:pt x="1689" y="4300"/>
                      <a:pt x="1665" y="4222"/>
                      <a:pt x="1641" y="4145"/>
                    </a:cubicBezTo>
                    <a:cubicBezTo>
                      <a:pt x="1624" y="4082"/>
                      <a:pt x="1608" y="4019"/>
                      <a:pt x="1592" y="3956"/>
                    </a:cubicBezTo>
                    <a:cubicBezTo>
                      <a:pt x="1606" y="3907"/>
                      <a:pt x="1620" y="3858"/>
                      <a:pt x="1635" y="3809"/>
                    </a:cubicBezTo>
                    <a:cubicBezTo>
                      <a:pt x="1686" y="3811"/>
                      <a:pt x="1737" y="3813"/>
                      <a:pt x="1788" y="3815"/>
                    </a:cubicBezTo>
                    <a:cubicBezTo>
                      <a:pt x="1814" y="3817"/>
                      <a:pt x="1840" y="3819"/>
                      <a:pt x="1867" y="3821"/>
                    </a:cubicBezTo>
                    <a:cubicBezTo>
                      <a:pt x="1867" y="3794"/>
                      <a:pt x="1867" y="3767"/>
                      <a:pt x="1867" y="3741"/>
                    </a:cubicBezTo>
                    <a:cubicBezTo>
                      <a:pt x="1850" y="3716"/>
                      <a:pt x="1834" y="3692"/>
                      <a:pt x="1818" y="3668"/>
                    </a:cubicBezTo>
                    <a:cubicBezTo>
                      <a:pt x="1777" y="3659"/>
                      <a:pt x="1736" y="3651"/>
                      <a:pt x="1696" y="3643"/>
                    </a:cubicBezTo>
                    <a:cubicBezTo>
                      <a:pt x="1655" y="3649"/>
                      <a:pt x="1614" y="3655"/>
                      <a:pt x="1573" y="3662"/>
                    </a:cubicBezTo>
                    <a:cubicBezTo>
                      <a:pt x="1546" y="3686"/>
                      <a:pt x="1520" y="3710"/>
                      <a:pt x="1494" y="3735"/>
                    </a:cubicBezTo>
                    <a:cubicBezTo>
                      <a:pt x="1426" y="3737"/>
                      <a:pt x="1359" y="3739"/>
                      <a:pt x="1292" y="3741"/>
                    </a:cubicBezTo>
                    <a:cubicBezTo>
                      <a:pt x="1222" y="3731"/>
                      <a:pt x="1152" y="3721"/>
                      <a:pt x="1083" y="3711"/>
                    </a:cubicBezTo>
                    <a:cubicBezTo>
                      <a:pt x="1038" y="3670"/>
                      <a:pt x="993" y="3629"/>
                      <a:pt x="949" y="3588"/>
                    </a:cubicBezTo>
                    <a:cubicBezTo>
                      <a:pt x="928" y="3567"/>
                      <a:pt x="908" y="3547"/>
                      <a:pt x="888" y="3527"/>
                    </a:cubicBezTo>
                    <a:cubicBezTo>
                      <a:pt x="849" y="3529"/>
                      <a:pt x="810" y="3531"/>
                      <a:pt x="771" y="3533"/>
                    </a:cubicBezTo>
                    <a:cubicBezTo>
                      <a:pt x="738" y="3543"/>
                      <a:pt x="705" y="3553"/>
                      <a:pt x="673" y="3564"/>
                    </a:cubicBezTo>
                    <a:cubicBezTo>
                      <a:pt x="650" y="3566"/>
                      <a:pt x="628" y="3568"/>
                      <a:pt x="606" y="3570"/>
                    </a:cubicBezTo>
                    <a:cubicBezTo>
                      <a:pt x="597" y="3590"/>
                      <a:pt x="589" y="3610"/>
                      <a:pt x="581" y="3631"/>
                    </a:cubicBezTo>
                    <a:cubicBezTo>
                      <a:pt x="569" y="3665"/>
                      <a:pt x="557" y="3700"/>
                      <a:pt x="545" y="3735"/>
                    </a:cubicBezTo>
                    <a:cubicBezTo>
                      <a:pt x="485" y="3751"/>
                      <a:pt x="426" y="3767"/>
                      <a:pt x="367" y="3783"/>
                    </a:cubicBezTo>
                    <a:cubicBezTo>
                      <a:pt x="365" y="3779"/>
                      <a:pt x="363" y="3775"/>
                      <a:pt x="361" y="3772"/>
                    </a:cubicBezTo>
                  </a:path>
                </a:pathLst>
              </a:custGeom>
              <a:grpFill/>
              <a:ln w="9525" cap="flat">
                <a:solidFill>
                  <a:schemeClr val="bg1"/>
                </a:solidFill>
                <a:bevel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2" name="Freeform 53">
                <a:extLst>
                  <a:ext uri="{FF2B5EF4-FFF2-40B4-BE49-F238E27FC236}">
                    <a16:creationId xmlns:a16="http://schemas.microsoft.com/office/drawing/2014/main" id="{19DE0C07-0F66-3CDC-3596-A02AA74C61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20000">
                <a:off x="8810805" y="4526273"/>
                <a:ext cx="2107616" cy="1439151"/>
              </a:xfrm>
              <a:custGeom>
                <a:avLst/>
                <a:gdLst>
                  <a:gd name="T0" fmla="*/ 1242801 w 8096"/>
                  <a:gd name="T1" fmla="*/ 174126 h 5529"/>
                  <a:gd name="T2" fmla="*/ 1396802 w 8096"/>
                  <a:gd name="T3" fmla="*/ 187437 h 5529"/>
                  <a:gd name="T4" fmla="*/ 1537849 w 8096"/>
                  <a:gd name="T5" fmla="*/ 154339 h 5529"/>
                  <a:gd name="T6" fmla="*/ 1705163 w 8096"/>
                  <a:gd name="T7" fmla="*/ 121241 h 5529"/>
                  <a:gd name="T8" fmla="*/ 1833257 w 8096"/>
                  <a:gd name="T9" fmla="*/ 33098 h 5529"/>
                  <a:gd name="T10" fmla="*/ 1989417 w 8096"/>
                  <a:gd name="T11" fmla="*/ 41733 h 5529"/>
                  <a:gd name="T12" fmla="*/ 2185516 w 8096"/>
                  <a:gd name="T13" fmla="*/ 123399 h 5529"/>
                  <a:gd name="T14" fmla="*/ 2355349 w 8096"/>
                  <a:gd name="T15" fmla="*/ 176285 h 5529"/>
                  <a:gd name="T16" fmla="*/ 2494237 w 8096"/>
                  <a:gd name="T17" fmla="*/ 317312 h 5529"/>
                  <a:gd name="T18" fmla="*/ 2599663 w 8096"/>
                  <a:gd name="T19" fmla="*/ 444669 h 5529"/>
                  <a:gd name="T20" fmla="*/ 2763019 w 8096"/>
                  <a:gd name="T21" fmla="*/ 466614 h 5529"/>
                  <a:gd name="T22" fmla="*/ 2824548 w 8096"/>
                  <a:gd name="T23" fmla="*/ 618795 h 5529"/>
                  <a:gd name="T24" fmla="*/ 2742870 w 8096"/>
                  <a:gd name="T25" fmla="*/ 662686 h 5529"/>
                  <a:gd name="T26" fmla="*/ 2795762 w 8096"/>
                  <a:gd name="T27" fmla="*/ 856599 h 5529"/>
                  <a:gd name="T28" fmla="*/ 2846496 w 8096"/>
                  <a:gd name="T29" fmla="*/ 1030725 h 5529"/>
                  <a:gd name="T30" fmla="*/ 2912702 w 8096"/>
                  <a:gd name="T31" fmla="*/ 1219961 h 5529"/>
                  <a:gd name="T32" fmla="*/ 2822389 w 8096"/>
                  <a:gd name="T33" fmla="*/ 1416032 h 5529"/>
                  <a:gd name="T34" fmla="*/ 2818071 w 8096"/>
                  <a:gd name="T35" fmla="*/ 1545907 h 5529"/>
                  <a:gd name="T36" fmla="*/ 2789286 w 8096"/>
                  <a:gd name="T37" fmla="*/ 1684776 h 5529"/>
                  <a:gd name="T38" fmla="*/ 2866286 w 8096"/>
                  <a:gd name="T39" fmla="*/ 1821487 h 5529"/>
                  <a:gd name="T40" fmla="*/ 2657234 w 8096"/>
                  <a:gd name="T41" fmla="*/ 1779394 h 5529"/>
                  <a:gd name="T42" fmla="*/ 2458976 w 8096"/>
                  <a:gd name="T43" fmla="*/ 1823645 h 5529"/>
                  <a:gd name="T44" fmla="*/ 2311092 w 8096"/>
                  <a:gd name="T45" fmla="*/ 1892001 h 5529"/>
                  <a:gd name="T46" fmla="*/ 2196670 w 8096"/>
                  <a:gd name="T47" fmla="*/ 1962155 h 5529"/>
                  <a:gd name="T48" fmla="*/ 1883631 w 8096"/>
                  <a:gd name="T49" fmla="*/ 1947045 h 5529"/>
                  <a:gd name="T50" fmla="*/ 1709841 w 8096"/>
                  <a:gd name="T51" fmla="*/ 1896318 h 5529"/>
                  <a:gd name="T52" fmla="*/ 1669901 w 8096"/>
                  <a:gd name="T53" fmla="*/ 1717875 h 5529"/>
                  <a:gd name="T54" fmla="*/ 1676738 w 8096"/>
                  <a:gd name="T55" fmla="*/ 1554901 h 5529"/>
                  <a:gd name="T56" fmla="*/ 1555480 w 8096"/>
                  <a:gd name="T57" fmla="*/ 1387251 h 5529"/>
                  <a:gd name="T58" fmla="*/ 1405797 w 8096"/>
                  <a:gd name="T59" fmla="*/ 1374300 h 5529"/>
                  <a:gd name="T60" fmla="*/ 1264750 w 8096"/>
                  <a:gd name="T61" fmla="*/ 1382934 h 5529"/>
                  <a:gd name="T62" fmla="*/ 1152128 w 8096"/>
                  <a:gd name="T63" fmla="*/ 1396245 h 5529"/>
                  <a:gd name="T64" fmla="*/ 1015758 w 8096"/>
                  <a:gd name="T65" fmla="*/ 1440137 h 5529"/>
                  <a:gd name="T66" fmla="*/ 912131 w 8096"/>
                  <a:gd name="T67" fmla="*/ 1409557 h 5529"/>
                  <a:gd name="T68" fmla="*/ 780079 w 8096"/>
                  <a:gd name="T69" fmla="*/ 1360988 h 5529"/>
                  <a:gd name="T70" fmla="*/ 669616 w 8096"/>
                  <a:gd name="T71" fmla="*/ 1389770 h 5529"/>
                  <a:gd name="T72" fmla="*/ 524250 w 8096"/>
                  <a:gd name="T73" fmla="*/ 1497699 h 5529"/>
                  <a:gd name="T74" fmla="*/ 381044 w 8096"/>
                  <a:gd name="T75" fmla="*/ 1625415 h 5529"/>
                  <a:gd name="T76" fmla="*/ 317357 w 8096"/>
                  <a:gd name="T77" fmla="*/ 1537273 h 5529"/>
                  <a:gd name="T78" fmla="*/ 396516 w 8096"/>
                  <a:gd name="T79" fmla="*/ 1376458 h 5529"/>
                  <a:gd name="T80" fmla="*/ 458404 w 8096"/>
                  <a:gd name="T81" fmla="*/ 1208808 h 5529"/>
                  <a:gd name="T82" fmla="*/ 323833 w 8096"/>
                  <a:gd name="T83" fmla="*/ 1043676 h 5529"/>
                  <a:gd name="T84" fmla="*/ 200417 w 8096"/>
                  <a:gd name="T85" fmla="*/ 1013096 h 5529"/>
                  <a:gd name="T86" fmla="*/ 64047 w 8096"/>
                  <a:gd name="T87" fmla="*/ 979998 h 5529"/>
                  <a:gd name="T88" fmla="*/ 19790 w 8096"/>
                  <a:gd name="T89" fmla="*/ 702980 h 5529"/>
                  <a:gd name="T90" fmla="*/ 154361 w 8096"/>
                  <a:gd name="T91" fmla="*/ 682473 h 5529"/>
                  <a:gd name="T92" fmla="*/ 158678 w 8096"/>
                  <a:gd name="T93" fmla="*/ 570226 h 5529"/>
                  <a:gd name="T94" fmla="*/ 116580 w 8096"/>
                  <a:gd name="T95" fmla="*/ 431357 h 5529"/>
                  <a:gd name="T96" fmla="*/ 282095 w 8096"/>
                  <a:gd name="T97" fmla="*/ 282055 h 5529"/>
                  <a:gd name="T98" fmla="*/ 405511 w 8096"/>
                  <a:gd name="T99" fmla="*/ 332782 h 5529"/>
                  <a:gd name="T100" fmla="*/ 531087 w 8096"/>
                  <a:gd name="T101" fmla="*/ 409412 h 5529"/>
                  <a:gd name="T102" fmla="*/ 623559 w 8096"/>
                  <a:gd name="T103" fmla="*/ 402936 h 5529"/>
                  <a:gd name="T104" fmla="*/ 737981 w 8096"/>
                  <a:gd name="T105" fmla="*/ 418046 h 5529"/>
                  <a:gd name="T106" fmla="*/ 903136 w 8096"/>
                  <a:gd name="T107" fmla="*/ 354728 h 5529"/>
                  <a:gd name="T108" fmla="*/ 991290 w 8096"/>
                  <a:gd name="T109" fmla="*/ 295367 h 5529"/>
                  <a:gd name="T110" fmla="*/ 1209698 w 8096"/>
                  <a:gd name="T111" fmla="*/ 180602 h 5529"/>
                  <a:gd name="T112" fmla="*/ 19790 w 8096"/>
                  <a:gd name="T113" fmla="*/ 702980 h 552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8096" h="5529">
                    <a:moveTo>
                      <a:pt x="3425" y="434"/>
                    </a:moveTo>
                    <a:cubicBezTo>
                      <a:pt x="3427" y="436"/>
                      <a:pt x="3428" y="438"/>
                      <a:pt x="3429" y="441"/>
                    </a:cubicBezTo>
                    <a:cubicBezTo>
                      <a:pt x="3428" y="438"/>
                      <a:pt x="3427" y="436"/>
                      <a:pt x="3425" y="434"/>
                    </a:cubicBezTo>
                    <a:close/>
                    <a:moveTo>
                      <a:pt x="3454" y="484"/>
                    </a:moveTo>
                    <a:cubicBezTo>
                      <a:pt x="3477" y="502"/>
                      <a:pt x="3499" y="520"/>
                      <a:pt x="3521" y="539"/>
                    </a:cubicBezTo>
                    <a:cubicBezTo>
                      <a:pt x="3546" y="518"/>
                      <a:pt x="3570" y="498"/>
                      <a:pt x="3594" y="478"/>
                    </a:cubicBezTo>
                    <a:cubicBezTo>
                      <a:pt x="3652" y="480"/>
                      <a:pt x="3709" y="482"/>
                      <a:pt x="3766" y="484"/>
                    </a:cubicBezTo>
                    <a:cubicBezTo>
                      <a:pt x="3789" y="488"/>
                      <a:pt x="3811" y="492"/>
                      <a:pt x="3833" y="496"/>
                    </a:cubicBezTo>
                    <a:cubicBezTo>
                      <a:pt x="3850" y="504"/>
                      <a:pt x="3866" y="512"/>
                      <a:pt x="3882" y="521"/>
                    </a:cubicBezTo>
                    <a:cubicBezTo>
                      <a:pt x="3915" y="549"/>
                      <a:pt x="3948" y="577"/>
                      <a:pt x="3980" y="606"/>
                    </a:cubicBezTo>
                    <a:cubicBezTo>
                      <a:pt x="4007" y="610"/>
                      <a:pt x="4023" y="612"/>
                      <a:pt x="4060" y="619"/>
                    </a:cubicBezTo>
                    <a:cubicBezTo>
                      <a:pt x="4097" y="625"/>
                      <a:pt x="4113" y="598"/>
                      <a:pt x="4139" y="588"/>
                    </a:cubicBezTo>
                    <a:cubicBezTo>
                      <a:pt x="4160" y="541"/>
                      <a:pt x="4181" y="494"/>
                      <a:pt x="4201" y="447"/>
                    </a:cubicBezTo>
                    <a:cubicBezTo>
                      <a:pt x="4226" y="441"/>
                      <a:pt x="4250" y="435"/>
                      <a:pt x="4274" y="429"/>
                    </a:cubicBezTo>
                    <a:cubicBezTo>
                      <a:pt x="4311" y="424"/>
                      <a:pt x="4348" y="420"/>
                      <a:pt x="4384" y="416"/>
                    </a:cubicBezTo>
                    <a:cubicBezTo>
                      <a:pt x="4409" y="430"/>
                      <a:pt x="4434" y="444"/>
                      <a:pt x="4458" y="459"/>
                    </a:cubicBezTo>
                    <a:cubicBezTo>
                      <a:pt x="4479" y="453"/>
                      <a:pt x="4499" y="447"/>
                      <a:pt x="4519" y="441"/>
                    </a:cubicBezTo>
                    <a:cubicBezTo>
                      <a:pt x="4554" y="422"/>
                      <a:pt x="4589" y="404"/>
                      <a:pt x="4623" y="386"/>
                    </a:cubicBezTo>
                    <a:cubicBezTo>
                      <a:pt x="4662" y="369"/>
                      <a:pt x="4701" y="353"/>
                      <a:pt x="4739" y="337"/>
                    </a:cubicBezTo>
                    <a:cubicBezTo>
                      <a:pt x="4782" y="326"/>
                      <a:pt x="4825" y="316"/>
                      <a:pt x="4868" y="306"/>
                    </a:cubicBezTo>
                    <a:cubicBezTo>
                      <a:pt x="4885" y="259"/>
                      <a:pt x="4901" y="212"/>
                      <a:pt x="4917" y="165"/>
                    </a:cubicBezTo>
                    <a:cubicBezTo>
                      <a:pt x="4930" y="157"/>
                      <a:pt x="4942" y="149"/>
                      <a:pt x="4954" y="141"/>
                    </a:cubicBezTo>
                    <a:cubicBezTo>
                      <a:pt x="4975" y="118"/>
                      <a:pt x="4995" y="96"/>
                      <a:pt x="5015" y="74"/>
                    </a:cubicBezTo>
                    <a:cubicBezTo>
                      <a:pt x="5042" y="80"/>
                      <a:pt x="5069" y="86"/>
                      <a:pt x="5095" y="92"/>
                    </a:cubicBezTo>
                    <a:cubicBezTo>
                      <a:pt x="5128" y="84"/>
                      <a:pt x="5161" y="76"/>
                      <a:pt x="5193" y="68"/>
                    </a:cubicBezTo>
                    <a:cubicBezTo>
                      <a:pt x="5212" y="49"/>
                      <a:pt x="5230" y="30"/>
                      <a:pt x="5248" y="12"/>
                    </a:cubicBezTo>
                    <a:cubicBezTo>
                      <a:pt x="5269" y="8"/>
                      <a:pt x="5289" y="4"/>
                      <a:pt x="5309" y="0"/>
                    </a:cubicBezTo>
                    <a:cubicBezTo>
                      <a:pt x="5342" y="0"/>
                      <a:pt x="5375" y="0"/>
                      <a:pt x="5407" y="0"/>
                    </a:cubicBezTo>
                    <a:cubicBezTo>
                      <a:pt x="5450" y="0"/>
                      <a:pt x="5489" y="77"/>
                      <a:pt x="5529" y="116"/>
                    </a:cubicBezTo>
                    <a:cubicBezTo>
                      <a:pt x="5554" y="146"/>
                      <a:pt x="5579" y="177"/>
                      <a:pt x="5603" y="208"/>
                    </a:cubicBezTo>
                    <a:cubicBezTo>
                      <a:pt x="5648" y="212"/>
                      <a:pt x="5714" y="221"/>
                      <a:pt x="5738" y="221"/>
                    </a:cubicBezTo>
                    <a:cubicBezTo>
                      <a:pt x="5763" y="221"/>
                      <a:pt x="5820" y="245"/>
                      <a:pt x="5860" y="257"/>
                    </a:cubicBezTo>
                    <a:cubicBezTo>
                      <a:pt x="5889" y="291"/>
                      <a:pt x="5918" y="326"/>
                      <a:pt x="5946" y="361"/>
                    </a:cubicBezTo>
                    <a:cubicBezTo>
                      <a:pt x="5989" y="355"/>
                      <a:pt x="6032" y="349"/>
                      <a:pt x="6074" y="343"/>
                    </a:cubicBezTo>
                    <a:cubicBezTo>
                      <a:pt x="6119" y="343"/>
                      <a:pt x="6164" y="343"/>
                      <a:pt x="6209" y="343"/>
                    </a:cubicBezTo>
                    <a:cubicBezTo>
                      <a:pt x="6228" y="383"/>
                      <a:pt x="6246" y="424"/>
                      <a:pt x="6264" y="465"/>
                    </a:cubicBezTo>
                    <a:cubicBezTo>
                      <a:pt x="6289" y="469"/>
                      <a:pt x="6314" y="473"/>
                      <a:pt x="6338" y="478"/>
                    </a:cubicBezTo>
                    <a:cubicBezTo>
                      <a:pt x="6371" y="482"/>
                      <a:pt x="6404" y="486"/>
                      <a:pt x="6436" y="490"/>
                    </a:cubicBezTo>
                    <a:cubicBezTo>
                      <a:pt x="6473" y="490"/>
                      <a:pt x="6510" y="490"/>
                      <a:pt x="6546" y="490"/>
                    </a:cubicBezTo>
                    <a:cubicBezTo>
                      <a:pt x="6565" y="541"/>
                      <a:pt x="6583" y="592"/>
                      <a:pt x="6601" y="643"/>
                    </a:cubicBezTo>
                    <a:cubicBezTo>
                      <a:pt x="6630" y="712"/>
                      <a:pt x="6659" y="781"/>
                      <a:pt x="6687" y="851"/>
                    </a:cubicBezTo>
                    <a:cubicBezTo>
                      <a:pt x="6712" y="806"/>
                      <a:pt x="6736" y="761"/>
                      <a:pt x="6760" y="716"/>
                    </a:cubicBezTo>
                    <a:cubicBezTo>
                      <a:pt x="6803" y="718"/>
                      <a:pt x="6846" y="720"/>
                      <a:pt x="6889" y="723"/>
                    </a:cubicBezTo>
                    <a:cubicBezTo>
                      <a:pt x="6904" y="776"/>
                      <a:pt x="6918" y="829"/>
                      <a:pt x="6932" y="882"/>
                    </a:cubicBezTo>
                    <a:cubicBezTo>
                      <a:pt x="6928" y="922"/>
                      <a:pt x="6924" y="963"/>
                      <a:pt x="6919" y="1004"/>
                    </a:cubicBezTo>
                    <a:cubicBezTo>
                      <a:pt x="6962" y="1000"/>
                      <a:pt x="7005" y="996"/>
                      <a:pt x="7048" y="992"/>
                    </a:cubicBezTo>
                    <a:cubicBezTo>
                      <a:pt x="7075" y="1014"/>
                      <a:pt x="7101" y="1036"/>
                      <a:pt x="7127" y="1059"/>
                    </a:cubicBezTo>
                    <a:cubicBezTo>
                      <a:pt x="7146" y="1087"/>
                      <a:pt x="7165" y="1116"/>
                      <a:pt x="7183" y="1144"/>
                    </a:cubicBezTo>
                    <a:cubicBezTo>
                      <a:pt x="7197" y="1175"/>
                      <a:pt x="7211" y="1206"/>
                      <a:pt x="7225" y="1236"/>
                    </a:cubicBezTo>
                    <a:cubicBezTo>
                      <a:pt x="7266" y="1236"/>
                      <a:pt x="7307" y="1236"/>
                      <a:pt x="7348" y="1236"/>
                    </a:cubicBezTo>
                    <a:cubicBezTo>
                      <a:pt x="7395" y="1236"/>
                      <a:pt x="7442" y="1236"/>
                      <a:pt x="7489" y="1236"/>
                    </a:cubicBezTo>
                    <a:cubicBezTo>
                      <a:pt x="7499" y="1251"/>
                      <a:pt x="7509" y="1265"/>
                      <a:pt x="7519" y="1279"/>
                    </a:cubicBezTo>
                    <a:cubicBezTo>
                      <a:pt x="7534" y="1287"/>
                      <a:pt x="7548" y="1295"/>
                      <a:pt x="7562" y="1303"/>
                    </a:cubicBezTo>
                    <a:cubicBezTo>
                      <a:pt x="7601" y="1301"/>
                      <a:pt x="7640" y="1299"/>
                      <a:pt x="7679" y="1297"/>
                    </a:cubicBezTo>
                    <a:cubicBezTo>
                      <a:pt x="7704" y="1273"/>
                      <a:pt x="7728" y="1249"/>
                      <a:pt x="7752" y="1224"/>
                    </a:cubicBezTo>
                    <a:cubicBezTo>
                      <a:pt x="7756" y="1287"/>
                      <a:pt x="7760" y="1350"/>
                      <a:pt x="7764" y="1413"/>
                    </a:cubicBezTo>
                    <a:cubicBezTo>
                      <a:pt x="7787" y="1436"/>
                      <a:pt x="7810" y="1459"/>
                      <a:pt x="7832" y="1481"/>
                    </a:cubicBezTo>
                    <a:cubicBezTo>
                      <a:pt x="7867" y="1514"/>
                      <a:pt x="7902" y="1547"/>
                      <a:pt x="7936" y="1579"/>
                    </a:cubicBezTo>
                    <a:cubicBezTo>
                      <a:pt x="7908" y="1626"/>
                      <a:pt x="7879" y="1673"/>
                      <a:pt x="7850" y="1720"/>
                    </a:cubicBezTo>
                    <a:cubicBezTo>
                      <a:pt x="7820" y="1763"/>
                      <a:pt x="7789" y="1806"/>
                      <a:pt x="7758" y="1848"/>
                    </a:cubicBezTo>
                    <a:cubicBezTo>
                      <a:pt x="7736" y="1803"/>
                      <a:pt x="7714" y="1758"/>
                      <a:pt x="7691" y="1713"/>
                    </a:cubicBezTo>
                    <a:cubicBezTo>
                      <a:pt x="7671" y="1713"/>
                      <a:pt x="7651" y="1713"/>
                      <a:pt x="7630" y="1713"/>
                    </a:cubicBezTo>
                    <a:cubicBezTo>
                      <a:pt x="7630" y="1730"/>
                      <a:pt x="7630" y="1746"/>
                      <a:pt x="7630" y="1762"/>
                    </a:cubicBezTo>
                    <a:cubicBezTo>
                      <a:pt x="7628" y="1789"/>
                      <a:pt x="7626" y="1816"/>
                      <a:pt x="7623" y="1842"/>
                    </a:cubicBezTo>
                    <a:cubicBezTo>
                      <a:pt x="7607" y="1853"/>
                      <a:pt x="7591" y="1863"/>
                      <a:pt x="7574" y="1873"/>
                    </a:cubicBezTo>
                    <a:cubicBezTo>
                      <a:pt x="7589" y="1918"/>
                      <a:pt x="7603" y="1963"/>
                      <a:pt x="7617" y="2007"/>
                    </a:cubicBezTo>
                    <a:cubicBezTo>
                      <a:pt x="7636" y="2052"/>
                      <a:pt x="7654" y="2097"/>
                      <a:pt x="7672" y="2142"/>
                    </a:cubicBezTo>
                    <a:cubicBezTo>
                      <a:pt x="7685" y="2177"/>
                      <a:pt x="7697" y="2212"/>
                      <a:pt x="7709" y="2246"/>
                    </a:cubicBezTo>
                    <a:cubicBezTo>
                      <a:pt x="7730" y="2291"/>
                      <a:pt x="7750" y="2336"/>
                      <a:pt x="7770" y="2381"/>
                    </a:cubicBezTo>
                    <a:cubicBezTo>
                      <a:pt x="7779" y="2428"/>
                      <a:pt x="7787" y="2475"/>
                      <a:pt x="7795" y="2522"/>
                    </a:cubicBezTo>
                    <a:cubicBezTo>
                      <a:pt x="7797" y="2561"/>
                      <a:pt x="7799" y="2600"/>
                      <a:pt x="7801" y="2638"/>
                    </a:cubicBezTo>
                    <a:cubicBezTo>
                      <a:pt x="7818" y="2667"/>
                      <a:pt x="7834" y="2696"/>
                      <a:pt x="7850" y="2724"/>
                    </a:cubicBezTo>
                    <a:cubicBezTo>
                      <a:pt x="7869" y="2749"/>
                      <a:pt x="7887" y="2773"/>
                      <a:pt x="7905" y="2797"/>
                    </a:cubicBezTo>
                    <a:cubicBezTo>
                      <a:pt x="7907" y="2820"/>
                      <a:pt x="7909" y="2843"/>
                      <a:pt x="7911" y="2865"/>
                    </a:cubicBezTo>
                    <a:cubicBezTo>
                      <a:pt x="7911" y="2900"/>
                      <a:pt x="7911" y="2935"/>
                      <a:pt x="7911" y="2969"/>
                    </a:cubicBezTo>
                    <a:cubicBezTo>
                      <a:pt x="7899" y="3016"/>
                      <a:pt x="7887" y="3063"/>
                      <a:pt x="7874" y="3109"/>
                    </a:cubicBezTo>
                    <a:cubicBezTo>
                      <a:pt x="7881" y="3146"/>
                      <a:pt x="7887" y="3183"/>
                      <a:pt x="7893" y="3220"/>
                    </a:cubicBezTo>
                    <a:cubicBezTo>
                      <a:pt x="7926" y="3255"/>
                      <a:pt x="7959" y="3290"/>
                      <a:pt x="7991" y="3324"/>
                    </a:cubicBezTo>
                    <a:cubicBezTo>
                      <a:pt x="8026" y="3347"/>
                      <a:pt x="8061" y="3369"/>
                      <a:pt x="8095" y="3391"/>
                    </a:cubicBezTo>
                    <a:cubicBezTo>
                      <a:pt x="8093" y="3432"/>
                      <a:pt x="8091" y="3473"/>
                      <a:pt x="8089" y="3514"/>
                    </a:cubicBezTo>
                    <a:cubicBezTo>
                      <a:pt x="8069" y="3545"/>
                      <a:pt x="8049" y="3575"/>
                      <a:pt x="8028" y="3605"/>
                    </a:cubicBezTo>
                    <a:cubicBezTo>
                      <a:pt x="8006" y="3646"/>
                      <a:pt x="7983" y="3687"/>
                      <a:pt x="7960" y="3728"/>
                    </a:cubicBezTo>
                    <a:cubicBezTo>
                      <a:pt x="7938" y="3765"/>
                      <a:pt x="7916" y="3802"/>
                      <a:pt x="7893" y="3838"/>
                    </a:cubicBezTo>
                    <a:cubicBezTo>
                      <a:pt x="7877" y="3871"/>
                      <a:pt x="7861" y="3904"/>
                      <a:pt x="7844" y="3936"/>
                    </a:cubicBezTo>
                    <a:cubicBezTo>
                      <a:pt x="7830" y="3938"/>
                      <a:pt x="7816" y="3940"/>
                      <a:pt x="7801" y="3942"/>
                    </a:cubicBezTo>
                    <a:cubicBezTo>
                      <a:pt x="7771" y="3967"/>
                      <a:pt x="7740" y="3992"/>
                      <a:pt x="7709" y="4016"/>
                    </a:cubicBezTo>
                    <a:cubicBezTo>
                      <a:pt x="7713" y="4069"/>
                      <a:pt x="7717" y="4122"/>
                      <a:pt x="7721" y="4175"/>
                    </a:cubicBezTo>
                    <a:cubicBezTo>
                      <a:pt x="7736" y="4196"/>
                      <a:pt x="7750" y="4216"/>
                      <a:pt x="7764" y="4236"/>
                    </a:cubicBezTo>
                    <a:cubicBezTo>
                      <a:pt x="7787" y="4257"/>
                      <a:pt x="7810" y="4277"/>
                      <a:pt x="7832" y="4297"/>
                    </a:cubicBezTo>
                    <a:cubicBezTo>
                      <a:pt x="7832" y="4322"/>
                      <a:pt x="7832" y="4347"/>
                      <a:pt x="7832" y="4371"/>
                    </a:cubicBezTo>
                    <a:cubicBezTo>
                      <a:pt x="7822" y="4381"/>
                      <a:pt x="7812" y="4391"/>
                      <a:pt x="7801" y="4401"/>
                    </a:cubicBezTo>
                    <a:cubicBezTo>
                      <a:pt x="7769" y="4410"/>
                      <a:pt x="7736" y="4418"/>
                      <a:pt x="7703" y="4426"/>
                    </a:cubicBezTo>
                    <a:cubicBezTo>
                      <a:pt x="7720" y="4453"/>
                      <a:pt x="7736" y="4479"/>
                      <a:pt x="7752" y="4505"/>
                    </a:cubicBezTo>
                    <a:cubicBezTo>
                      <a:pt x="7752" y="4565"/>
                      <a:pt x="7752" y="4624"/>
                      <a:pt x="7752" y="4683"/>
                    </a:cubicBezTo>
                    <a:cubicBezTo>
                      <a:pt x="7758" y="4736"/>
                      <a:pt x="7764" y="4789"/>
                      <a:pt x="7770" y="4842"/>
                    </a:cubicBezTo>
                    <a:cubicBezTo>
                      <a:pt x="7789" y="4871"/>
                      <a:pt x="7807" y="4900"/>
                      <a:pt x="7825" y="4928"/>
                    </a:cubicBezTo>
                    <a:cubicBezTo>
                      <a:pt x="7850" y="4932"/>
                      <a:pt x="7875" y="4936"/>
                      <a:pt x="7899" y="4940"/>
                    </a:cubicBezTo>
                    <a:cubicBezTo>
                      <a:pt x="7903" y="4965"/>
                      <a:pt x="7907" y="4990"/>
                      <a:pt x="7911" y="5014"/>
                    </a:cubicBezTo>
                    <a:cubicBezTo>
                      <a:pt x="7930" y="5031"/>
                      <a:pt x="7948" y="5047"/>
                      <a:pt x="7966" y="5063"/>
                    </a:cubicBezTo>
                    <a:cubicBezTo>
                      <a:pt x="7966" y="5116"/>
                      <a:pt x="7966" y="5169"/>
                      <a:pt x="7966" y="5222"/>
                    </a:cubicBezTo>
                    <a:cubicBezTo>
                      <a:pt x="7948" y="5222"/>
                      <a:pt x="7930" y="5222"/>
                      <a:pt x="7911" y="5222"/>
                    </a:cubicBezTo>
                    <a:cubicBezTo>
                      <a:pt x="7869" y="5167"/>
                      <a:pt x="7826" y="5112"/>
                      <a:pt x="7783" y="5057"/>
                    </a:cubicBezTo>
                    <a:cubicBezTo>
                      <a:pt x="7763" y="5065"/>
                      <a:pt x="7742" y="5073"/>
                      <a:pt x="7721" y="5081"/>
                    </a:cubicBezTo>
                    <a:cubicBezTo>
                      <a:pt x="7609" y="5036"/>
                      <a:pt x="7497" y="4991"/>
                      <a:pt x="7385" y="4946"/>
                    </a:cubicBezTo>
                    <a:cubicBezTo>
                      <a:pt x="7324" y="4963"/>
                      <a:pt x="7263" y="4979"/>
                      <a:pt x="7201" y="4995"/>
                    </a:cubicBezTo>
                    <a:cubicBezTo>
                      <a:pt x="7158" y="5026"/>
                      <a:pt x="7115" y="5057"/>
                      <a:pt x="7072" y="5087"/>
                    </a:cubicBezTo>
                    <a:cubicBezTo>
                      <a:pt x="7038" y="5096"/>
                      <a:pt x="7003" y="5104"/>
                      <a:pt x="6968" y="5112"/>
                    </a:cubicBezTo>
                    <a:cubicBezTo>
                      <a:pt x="6948" y="5112"/>
                      <a:pt x="6928" y="5112"/>
                      <a:pt x="6907" y="5112"/>
                    </a:cubicBezTo>
                    <a:cubicBezTo>
                      <a:pt x="6883" y="5098"/>
                      <a:pt x="6859" y="5084"/>
                      <a:pt x="6834" y="5069"/>
                    </a:cubicBezTo>
                    <a:cubicBezTo>
                      <a:pt x="6806" y="5069"/>
                      <a:pt x="6777" y="5069"/>
                      <a:pt x="6748" y="5069"/>
                    </a:cubicBezTo>
                    <a:cubicBezTo>
                      <a:pt x="6736" y="5106"/>
                      <a:pt x="6724" y="5143"/>
                      <a:pt x="6711" y="5179"/>
                    </a:cubicBezTo>
                    <a:cubicBezTo>
                      <a:pt x="6705" y="5194"/>
                      <a:pt x="6699" y="5208"/>
                      <a:pt x="6693" y="5222"/>
                    </a:cubicBezTo>
                    <a:cubicBezTo>
                      <a:pt x="6661" y="5210"/>
                      <a:pt x="6628" y="5198"/>
                      <a:pt x="6595" y="5185"/>
                    </a:cubicBezTo>
                    <a:cubicBezTo>
                      <a:pt x="6538" y="5210"/>
                      <a:pt x="6481" y="5235"/>
                      <a:pt x="6423" y="5259"/>
                    </a:cubicBezTo>
                    <a:cubicBezTo>
                      <a:pt x="6423" y="5286"/>
                      <a:pt x="6423" y="5312"/>
                      <a:pt x="6423" y="5338"/>
                    </a:cubicBezTo>
                    <a:cubicBezTo>
                      <a:pt x="6423" y="5369"/>
                      <a:pt x="6423" y="5400"/>
                      <a:pt x="6423" y="5430"/>
                    </a:cubicBezTo>
                    <a:cubicBezTo>
                      <a:pt x="6391" y="5457"/>
                      <a:pt x="6358" y="5484"/>
                      <a:pt x="6325" y="5510"/>
                    </a:cubicBezTo>
                    <a:cubicBezTo>
                      <a:pt x="6278" y="5516"/>
                      <a:pt x="6231" y="5522"/>
                      <a:pt x="6184" y="5528"/>
                    </a:cubicBezTo>
                    <a:cubicBezTo>
                      <a:pt x="6158" y="5504"/>
                      <a:pt x="6132" y="5479"/>
                      <a:pt x="6105" y="5454"/>
                    </a:cubicBezTo>
                    <a:cubicBezTo>
                      <a:pt x="6085" y="5434"/>
                      <a:pt x="6065" y="5414"/>
                      <a:pt x="6044" y="5393"/>
                    </a:cubicBezTo>
                    <a:cubicBezTo>
                      <a:pt x="6005" y="5393"/>
                      <a:pt x="5966" y="5393"/>
                      <a:pt x="5927" y="5393"/>
                    </a:cubicBezTo>
                    <a:cubicBezTo>
                      <a:pt x="5825" y="5408"/>
                      <a:pt x="5723" y="5422"/>
                      <a:pt x="5621" y="5436"/>
                    </a:cubicBezTo>
                    <a:cubicBezTo>
                      <a:pt x="5536" y="5445"/>
                      <a:pt x="5450" y="5453"/>
                      <a:pt x="5364" y="5461"/>
                    </a:cubicBezTo>
                    <a:cubicBezTo>
                      <a:pt x="5321" y="5445"/>
                      <a:pt x="5278" y="5429"/>
                      <a:pt x="5235" y="5412"/>
                    </a:cubicBezTo>
                    <a:cubicBezTo>
                      <a:pt x="5156" y="5426"/>
                      <a:pt x="5077" y="5440"/>
                      <a:pt x="4997" y="5454"/>
                    </a:cubicBezTo>
                    <a:cubicBezTo>
                      <a:pt x="5005" y="5448"/>
                      <a:pt x="5012" y="5442"/>
                      <a:pt x="5019" y="5435"/>
                    </a:cubicBezTo>
                    <a:cubicBezTo>
                      <a:pt x="4991" y="5419"/>
                      <a:pt x="4963" y="5403"/>
                      <a:pt x="4935" y="5387"/>
                    </a:cubicBezTo>
                    <a:cubicBezTo>
                      <a:pt x="4901" y="5359"/>
                      <a:pt x="4866" y="5330"/>
                      <a:pt x="4831" y="5301"/>
                    </a:cubicBezTo>
                    <a:cubicBezTo>
                      <a:pt x="4805" y="5291"/>
                      <a:pt x="4779" y="5281"/>
                      <a:pt x="4752" y="5271"/>
                    </a:cubicBezTo>
                    <a:cubicBezTo>
                      <a:pt x="4748" y="5255"/>
                      <a:pt x="4744" y="5239"/>
                      <a:pt x="4739" y="5222"/>
                    </a:cubicBezTo>
                    <a:cubicBezTo>
                      <a:pt x="4733" y="5175"/>
                      <a:pt x="4727" y="5128"/>
                      <a:pt x="4721" y="5081"/>
                    </a:cubicBezTo>
                    <a:cubicBezTo>
                      <a:pt x="4721" y="5032"/>
                      <a:pt x="4721" y="4983"/>
                      <a:pt x="4721" y="4934"/>
                    </a:cubicBezTo>
                    <a:cubicBezTo>
                      <a:pt x="4709" y="4898"/>
                      <a:pt x="4697" y="4861"/>
                      <a:pt x="4684" y="4824"/>
                    </a:cubicBezTo>
                    <a:cubicBezTo>
                      <a:pt x="4670" y="4808"/>
                      <a:pt x="4656" y="4792"/>
                      <a:pt x="4641" y="4775"/>
                    </a:cubicBezTo>
                    <a:cubicBezTo>
                      <a:pt x="4629" y="4753"/>
                      <a:pt x="4617" y="4730"/>
                      <a:pt x="4605" y="4707"/>
                    </a:cubicBezTo>
                    <a:cubicBezTo>
                      <a:pt x="4599" y="4675"/>
                      <a:pt x="4593" y="4643"/>
                      <a:pt x="4586" y="4610"/>
                    </a:cubicBezTo>
                    <a:cubicBezTo>
                      <a:pt x="4595" y="4584"/>
                      <a:pt x="4603" y="4557"/>
                      <a:pt x="4611" y="4530"/>
                    </a:cubicBezTo>
                    <a:cubicBezTo>
                      <a:pt x="4630" y="4498"/>
                      <a:pt x="4648" y="4465"/>
                      <a:pt x="4666" y="4432"/>
                    </a:cubicBezTo>
                    <a:cubicBezTo>
                      <a:pt x="4664" y="4396"/>
                      <a:pt x="4662" y="4359"/>
                      <a:pt x="4660" y="4322"/>
                    </a:cubicBezTo>
                    <a:cubicBezTo>
                      <a:pt x="4644" y="4298"/>
                      <a:pt x="4628" y="4273"/>
                      <a:pt x="4611" y="4248"/>
                    </a:cubicBezTo>
                    <a:cubicBezTo>
                      <a:pt x="4581" y="4210"/>
                      <a:pt x="4550" y="4171"/>
                      <a:pt x="4519" y="4132"/>
                    </a:cubicBezTo>
                    <a:cubicBezTo>
                      <a:pt x="4497" y="4102"/>
                      <a:pt x="4475" y="4071"/>
                      <a:pt x="4452" y="4040"/>
                    </a:cubicBezTo>
                    <a:cubicBezTo>
                      <a:pt x="4430" y="4004"/>
                      <a:pt x="4407" y="3967"/>
                      <a:pt x="4384" y="3930"/>
                    </a:cubicBezTo>
                    <a:cubicBezTo>
                      <a:pt x="4364" y="3906"/>
                      <a:pt x="4344" y="3881"/>
                      <a:pt x="4323" y="3856"/>
                    </a:cubicBezTo>
                    <a:cubicBezTo>
                      <a:pt x="4291" y="3840"/>
                      <a:pt x="4258" y="3824"/>
                      <a:pt x="4225" y="3807"/>
                    </a:cubicBezTo>
                    <a:cubicBezTo>
                      <a:pt x="4201" y="3783"/>
                      <a:pt x="4176" y="3759"/>
                      <a:pt x="4151" y="3734"/>
                    </a:cubicBezTo>
                    <a:cubicBezTo>
                      <a:pt x="4127" y="3742"/>
                      <a:pt x="4103" y="3750"/>
                      <a:pt x="4078" y="3758"/>
                    </a:cubicBezTo>
                    <a:cubicBezTo>
                      <a:pt x="4042" y="3773"/>
                      <a:pt x="4005" y="3787"/>
                      <a:pt x="3968" y="3801"/>
                    </a:cubicBezTo>
                    <a:cubicBezTo>
                      <a:pt x="3948" y="3808"/>
                      <a:pt x="3928" y="3814"/>
                      <a:pt x="3907" y="3820"/>
                    </a:cubicBezTo>
                    <a:cubicBezTo>
                      <a:pt x="3881" y="3820"/>
                      <a:pt x="3854" y="3820"/>
                      <a:pt x="3827" y="3820"/>
                    </a:cubicBezTo>
                    <a:cubicBezTo>
                      <a:pt x="3805" y="3822"/>
                      <a:pt x="3783" y="3824"/>
                      <a:pt x="3760" y="3826"/>
                    </a:cubicBezTo>
                    <a:cubicBezTo>
                      <a:pt x="3732" y="3830"/>
                      <a:pt x="3703" y="3834"/>
                      <a:pt x="3674" y="3838"/>
                    </a:cubicBezTo>
                    <a:cubicBezTo>
                      <a:pt x="3644" y="3840"/>
                      <a:pt x="3613" y="3842"/>
                      <a:pt x="3582" y="3844"/>
                    </a:cubicBezTo>
                    <a:cubicBezTo>
                      <a:pt x="3560" y="3844"/>
                      <a:pt x="3538" y="3844"/>
                      <a:pt x="3515" y="3844"/>
                    </a:cubicBezTo>
                    <a:cubicBezTo>
                      <a:pt x="3491" y="3853"/>
                      <a:pt x="3466" y="3861"/>
                      <a:pt x="3441" y="3869"/>
                    </a:cubicBezTo>
                    <a:cubicBezTo>
                      <a:pt x="3423" y="3869"/>
                      <a:pt x="3405" y="3869"/>
                      <a:pt x="3386" y="3869"/>
                    </a:cubicBezTo>
                    <a:cubicBezTo>
                      <a:pt x="3362" y="3863"/>
                      <a:pt x="3338" y="3857"/>
                      <a:pt x="3313" y="3850"/>
                    </a:cubicBezTo>
                    <a:cubicBezTo>
                      <a:pt x="3295" y="3850"/>
                      <a:pt x="3276" y="3850"/>
                      <a:pt x="3257" y="3850"/>
                    </a:cubicBezTo>
                    <a:cubicBezTo>
                      <a:pt x="3239" y="3861"/>
                      <a:pt x="3221" y="3871"/>
                      <a:pt x="3202" y="3881"/>
                    </a:cubicBezTo>
                    <a:cubicBezTo>
                      <a:pt x="3151" y="3883"/>
                      <a:pt x="3100" y="3885"/>
                      <a:pt x="3049" y="3887"/>
                    </a:cubicBezTo>
                    <a:cubicBezTo>
                      <a:pt x="3031" y="3893"/>
                      <a:pt x="3013" y="3899"/>
                      <a:pt x="2994" y="3905"/>
                    </a:cubicBezTo>
                    <a:cubicBezTo>
                      <a:pt x="2978" y="3905"/>
                      <a:pt x="2962" y="3905"/>
                      <a:pt x="2945" y="3905"/>
                    </a:cubicBezTo>
                    <a:cubicBezTo>
                      <a:pt x="2925" y="3920"/>
                      <a:pt x="2905" y="3934"/>
                      <a:pt x="2884" y="3948"/>
                    </a:cubicBezTo>
                    <a:cubicBezTo>
                      <a:pt x="2864" y="3967"/>
                      <a:pt x="2844" y="3985"/>
                      <a:pt x="2823" y="4003"/>
                    </a:cubicBezTo>
                    <a:cubicBezTo>
                      <a:pt x="2797" y="4018"/>
                      <a:pt x="2770" y="4032"/>
                      <a:pt x="2743" y="4046"/>
                    </a:cubicBezTo>
                    <a:cubicBezTo>
                      <a:pt x="2717" y="4046"/>
                      <a:pt x="2691" y="4046"/>
                      <a:pt x="2664" y="4046"/>
                    </a:cubicBezTo>
                    <a:cubicBezTo>
                      <a:pt x="2650" y="4038"/>
                      <a:pt x="2636" y="4030"/>
                      <a:pt x="2621" y="4022"/>
                    </a:cubicBezTo>
                    <a:cubicBezTo>
                      <a:pt x="2605" y="3983"/>
                      <a:pt x="2589" y="3944"/>
                      <a:pt x="2572" y="3905"/>
                    </a:cubicBezTo>
                    <a:cubicBezTo>
                      <a:pt x="2560" y="3910"/>
                      <a:pt x="2548" y="3914"/>
                      <a:pt x="2535" y="3918"/>
                    </a:cubicBezTo>
                    <a:cubicBezTo>
                      <a:pt x="2494" y="3922"/>
                      <a:pt x="2453" y="3926"/>
                      <a:pt x="2412" y="3930"/>
                    </a:cubicBezTo>
                    <a:cubicBezTo>
                      <a:pt x="2384" y="3932"/>
                      <a:pt x="2356" y="3934"/>
                      <a:pt x="2327" y="3936"/>
                    </a:cubicBezTo>
                    <a:cubicBezTo>
                      <a:pt x="2301" y="3930"/>
                      <a:pt x="2274" y="3924"/>
                      <a:pt x="2247" y="3918"/>
                    </a:cubicBezTo>
                    <a:cubicBezTo>
                      <a:pt x="2233" y="3894"/>
                      <a:pt x="2219" y="3869"/>
                      <a:pt x="2204" y="3844"/>
                    </a:cubicBezTo>
                    <a:cubicBezTo>
                      <a:pt x="2192" y="3824"/>
                      <a:pt x="2180" y="3804"/>
                      <a:pt x="2168" y="3783"/>
                    </a:cubicBezTo>
                    <a:cubicBezTo>
                      <a:pt x="2150" y="3787"/>
                      <a:pt x="2131" y="3791"/>
                      <a:pt x="2112" y="3795"/>
                    </a:cubicBezTo>
                    <a:cubicBezTo>
                      <a:pt x="2094" y="3802"/>
                      <a:pt x="2076" y="3808"/>
                      <a:pt x="2057" y="3814"/>
                    </a:cubicBezTo>
                    <a:cubicBezTo>
                      <a:pt x="2043" y="3814"/>
                      <a:pt x="2029" y="3814"/>
                      <a:pt x="2014" y="3814"/>
                    </a:cubicBezTo>
                    <a:cubicBezTo>
                      <a:pt x="1988" y="3818"/>
                      <a:pt x="1962" y="3822"/>
                      <a:pt x="1935" y="3826"/>
                    </a:cubicBezTo>
                    <a:cubicBezTo>
                      <a:pt x="1911" y="3839"/>
                      <a:pt x="1886" y="3851"/>
                      <a:pt x="1861" y="3863"/>
                    </a:cubicBezTo>
                    <a:cubicBezTo>
                      <a:pt x="1829" y="3880"/>
                      <a:pt x="1796" y="3896"/>
                      <a:pt x="1763" y="3912"/>
                    </a:cubicBezTo>
                    <a:cubicBezTo>
                      <a:pt x="1731" y="3933"/>
                      <a:pt x="1698" y="3953"/>
                      <a:pt x="1665" y="3973"/>
                    </a:cubicBezTo>
                    <a:cubicBezTo>
                      <a:pt x="1635" y="3986"/>
                      <a:pt x="1605" y="3998"/>
                      <a:pt x="1574" y="4010"/>
                    </a:cubicBezTo>
                    <a:cubicBezTo>
                      <a:pt x="1550" y="4033"/>
                      <a:pt x="1525" y="4055"/>
                      <a:pt x="1500" y="4077"/>
                    </a:cubicBezTo>
                    <a:cubicBezTo>
                      <a:pt x="1486" y="4106"/>
                      <a:pt x="1472" y="4135"/>
                      <a:pt x="1457" y="4163"/>
                    </a:cubicBezTo>
                    <a:cubicBezTo>
                      <a:pt x="1443" y="4190"/>
                      <a:pt x="1429" y="4216"/>
                      <a:pt x="1414" y="4242"/>
                    </a:cubicBezTo>
                    <a:cubicBezTo>
                      <a:pt x="1386" y="4257"/>
                      <a:pt x="1358" y="4271"/>
                      <a:pt x="1329" y="4285"/>
                    </a:cubicBezTo>
                    <a:cubicBezTo>
                      <a:pt x="1297" y="4314"/>
                      <a:pt x="1264" y="4343"/>
                      <a:pt x="1231" y="4371"/>
                    </a:cubicBezTo>
                    <a:cubicBezTo>
                      <a:pt x="1219" y="4400"/>
                      <a:pt x="1207" y="4428"/>
                      <a:pt x="1194" y="4456"/>
                    </a:cubicBezTo>
                    <a:cubicBezTo>
                      <a:pt x="1149" y="4477"/>
                      <a:pt x="1104" y="4498"/>
                      <a:pt x="1059" y="4518"/>
                    </a:cubicBezTo>
                    <a:cubicBezTo>
                      <a:pt x="1037" y="4508"/>
                      <a:pt x="1015" y="4498"/>
                      <a:pt x="992" y="4487"/>
                    </a:cubicBezTo>
                    <a:cubicBezTo>
                      <a:pt x="964" y="4467"/>
                      <a:pt x="935" y="4447"/>
                      <a:pt x="906" y="4426"/>
                    </a:cubicBezTo>
                    <a:cubicBezTo>
                      <a:pt x="880" y="4383"/>
                      <a:pt x="854" y="4340"/>
                      <a:pt x="827" y="4297"/>
                    </a:cubicBezTo>
                    <a:cubicBezTo>
                      <a:pt x="821" y="4299"/>
                      <a:pt x="815" y="4301"/>
                      <a:pt x="808" y="4303"/>
                    </a:cubicBezTo>
                    <a:cubicBezTo>
                      <a:pt x="833" y="4293"/>
                      <a:pt x="858" y="4283"/>
                      <a:pt x="882" y="4273"/>
                    </a:cubicBezTo>
                    <a:cubicBezTo>
                      <a:pt x="905" y="4249"/>
                      <a:pt x="927" y="4224"/>
                      <a:pt x="949" y="4199"/>
                    </a:cubicBezTo>
                    <a:cubicBezTo>
                      <a:pt x="947" y="4167"/>
                      <a:pt x="945" y="4134"/>
                      <a:pt x="943" y="4101"/>
                    </a:cubicBezTo>
                    <a:cubicBezTo>
                      <a:pt x="960" y="4071"/>
                      <a:pt x="976" y="4040"/>
                      <a:pt x="992" y="4009"/>
                    </a:cubicBezTo>
                    <a:cubicBezTo>
                      <a:pt x="1009" y="3977"/>
                      <a:pt x="1025" y="3945"/>
                      <a:pt x="1041" y="3912"/>
                    </a:cubicBezTo>
                    <a:cubicBezTo>
                      <a:pt x="1062" y="3884"/>
                      <a:pt x="1082" y="3855"/>
                      <a:pt x="1102" y="3826"/>
                    </a:cubicBezTo>
                    <a:cubicBezTo>
                      <a:pt x="1094" y="3775"/>
                      <a:pt x="1086" y="3724"/>
                      <a:pt x="1078" y="3673"/>
                    </a:cubicBezTo>
                    <a:cubicBezTo>
                      <a:pt x="1088" y="3645"/>
                      <a:pt x="1098" y="3616"/>
                      <a:pt x="1108" y="3587"/>
                    </a:cubicBezTo>
                    <a:cubicBezTo>
                      <a:pt x="1153" y="3557"/>
                      <a:pt x="1198" y="3526"/>
                      <a:pt x="1243" y="3495"/>
                    </a:cubicBezTo>
                    <a:cubicBezTo>
                      <a:pt x="1256" y="3477"/>
                      <a:pt x="1268" y="3459"/>
                      <a:pt x="1280" y="3440"/>
                    </a:cubicBezTo>
                    <a:cubicBezTo>
                      <a:pt x="1278" y="3414"/>
                      <a:pt x="1276" y="3387"/>
                      <a:pt x="1274" y="3360"/>
                    </a:cubicBezTo>
                    <a:cubicBezTo>
                      <a:pt x="1235" y="3350"/>
                      <a:pt x="1196" y="3340"/>
                      <a:pt x="1157" y="3330"/>
                    </a:cubicBezTo>
                    <a:cubicBezTo>
                      <a:pt x="1141" y="3320"/>
                      <a:pt x="1125" y="3310"/>
                      <a:pt x="1108" y="3299"/>
                    </a:cubicBezTo>
                    <a:cubicBezTo>
                      <a:pt x="1082" y="3244"/>
                      <a:pt x="1056" y="3189"/>
                      <a:pt x="1029" y="3134"/>
                    </a:cubicBezTo>
                    <a:cubicBezTo>
                      <a:pt x="1009" y="3093"/>
                      <a:pt x="988" y="3052"/>
                      <a:pt x="967" y="3011"/>
                    </a:cubicBezTo>
                    <a:cubicBezTo>
                      <a:pt x="945" y="2975"/>
                      <a:pt x="923" y="2938"/>
                      <a:pt x="900" y="2901"/>
                    </a:cubicBezTo>
                    <a:cubicBezTo>
                      <a:pt x="874" y="2846"/>
                      <a:pt x="847" y="2791"/>
                      <a:pt x="820" y="2736"/>
                    </a:cubicBezTo>
                    <a:cubicBezTo>
                      <a:pt x="792" y="2738"/>
                      <a:pt x="764" y="2740"/>
                      <a:pt x="735" y="2742"/>
                    </a:cubicBezTo>
                    <a:cubicBezTo>
                      <a:pt x="729" y="2765"/>
                      <a:pt x="723" y="2787"/>
                      <a:pt x="716" y="2809"/>
                    </a:cubicBezTo>
                    <a:cubicBezTo>
                      <a:pt x="708" y="2824"/>
                      <a:pt x="700" y="2838"/>
                      <a:pt x="692" y="2852"/>
                    </a:cubicBezTo>
                    <a:cubicBezTo>
                      <a:pt x="647" y="2840"/>
                      <a:pt x="602" y="2828"/>
                      <a:pt x="557" y="2816"/>
                    </a:cubicBezTo>
                    <a:cubicBezTo>
                      <a:pt x="539" y="2833"/>
                      <a:pt x="521" y="2849"/>
                      <a:pt x="502" y="2865"/>
                    </a:cubicBezTo>
                    <a:cubicBezTo>
                      <a:pt x="490" y="2877"/>
                      <a:pt x="478" y="2889"/>
                      <a:pt x="465" y="2901"/>
                    </a:cubicBezTo>
                    <a:cubicBezTo>
                      <a:pt x="418" y="2873"/>
                      <a:pt x="371" y="2845"/>
                      <a:pt x="324" y="2816"/>
                    </a:cubicBezTo>
                    <a:cubicBezTo>
                      <a:pt x="292" y="2794"/>
                      <a:pt x="260" y="2771"/>
                      <a:pt x="227" y="2748"/>
                    </a:cubicBezTo>
                    <a:cubicBezTo>
                      <a:pt x="211" y="2740"/>
                      <a:pt x="195" y="2732"/>
                      <a:pt x="178" y="2724"/>
                    </a:cubicBezTo>
                    <a:cubicBezTo>
                      <a:pt x="154" y="2643"/>
                      <a:pt x="129" y="2561"/>
                      <a:pt x="104" y="2479"/>
                    </a:cubicBezTo>
                    <a:cubicBezTo>
                      <a:pt x="82" y="2422"/>
                      <a:pt x="60" y="2365"/>
                      <a:pt x="37" y="2307"/>
                    </a:cubicBezTo>
                    <a:cubicBezTo>
                      <a:pt x="25" y="2263"/>
                      <a:pt x="13" y="2218"/>
                      <a:pt x="0" y="2173"/>
                    </a:cubicBezTo>
                    <a:cubicBezTo>
                      <a:pt x="15" y="2112"/>
                      <a:pt x="29" y="2051"/>
                      <a:pt x="43" y="1989"/>
                    </a:cubicBezTo>
                    <a:cubicBezTo>
                      <a:pt x="47" y="1978"/>
                      <a:pt x="51" y="1966"/>
                      <a:pt x="55" y="1954"/>
                    </a:cubicBezTo>
                    <a:cubicBezTo>
                      <a:pt x="94" y="1964"/>
                      <a:pt x="133" y="1974"/>
                      <a:pt x="171" y="1983"/>
                    </a:cubicBezTo>
                    <a:cubicBezTo>
                      <a:pt x="218" y="1989"/>
                      <a:pt x="265" y="1995"/>
                      <a:pt x="312" y="2001"/>
                    </a:cubicBezTo>
                    <a:cubicBezTo>
                      <a:pt x="339" y="2008"/>
                      <a:pt x="366" y="2014"/>
                      <a:pt x="392" y="2020"/>
                    </a:cubicBezTo>
                    <a:cubicBezTo>
                      <a:pt x="398" y="1998"/>
                      <a:pt x="404" y="1975"/>
                      <a:pt x="410" y="1952"/>
                    </a:cubicBezTo>
                    <a:cubicBezTo>
                      <a:pt x="417" y="1934"/>
                      <a:pt x="423" y="1916"/>
                      <a:pt x="429" y="1897"/>
                    </a:cubicBezTo>
                    <a:cubicBezTo>
                      <a:pt x="456" y="1879"/>
                      <a:pt x="482" y="1861"/>
                      <a:pt x="508" y="1842"/>
                    </a:cubicBezTo>
                    <a:cubicBezTo>
                      <a:pt x="515" y="1836"/>
                      <a:pt x="521" y="1830"/>
                      <a:pt x="527" y="1824"/>
                    </a:cubicBezTo>
                    <a:cubicBezTo>
                      <a:pt x="527" y="1792"/>
                      <a:pt x="527" y="1759"/>
                      <a:pt x="527" y="1726"/>
                    </a:cubicBezTo>
                    <a:cubicBezTo>
                      <a:pt x="519" y="1704"/>
                      <a:pt x="511" y="1681"/>
                      <a:pt x="502" y="1658"/>
                    </a:cubicBezTo>
                    <a:cubicBezTo>
                      <a:pt x="482" y="1634"/>
                      <a:pt x="462" y="1610"/>
                      <a:pt x="441" y="1585"/>
                    </a:cubicBezTo>
                    <a:cubicBezTo>
                      <a:pt x="419" y="1567"/>
                      <a:pt x="396" y="1549"/>
                      <a:pt x="373" y="1530"/>
                    </a:cubicBezTo>
                    <a:cubicBezTo>
                      <a:pt x="361" y="1508"/>
                      <a:pt x="349" y="1485"/>
                      <a:pt x="337" y="1462"/>
                    </a:cubicBezTo>
                    <a:cubicBezTo>
                      <a:pt x="333" y="1436"/>
                      <a:pt x="329" y="1410"/>
                      <a:pt x="324" y="1383"/>
                    </a:cubicBezTo>
                    <a:cubicBezTo>
                      <a:pt x="324" y="1355"/>
                      <a:pt x="324" y="1326"/>
                      <a:pt x="324" y="1297"/>
                    </a:cubicBezTo>
                    <a:cubicBezTo>
                      <a:pt x="324" y="1265"/>
                      <a:pt x="324" y="1232"/>
                      <a:pt x="324" y="1199"/>
                    </a:cubicBezTo>
                    <a:cubicBezTo>
                      <a:pt x="327" y="1163"/>
                      <a:pt x="329" y="1126"/>
                      <a:pt x="331" y="1089"/>
                    </a:cubicBezTo>
                    <a:cubicBezTo>
                      <a:pt x="335" y="1079"/>
                      <a:pt x="339" y="1069"/>
                      <a:pt x="343" y="1059"/>
                    </a:cubicBezTo>
                    <a:cubicBezTo>
                      <a:pt x="411" y="1018"/>
                      <a:pt x="478" y="977"/>
                      <a:pt x="545" y="937"/>
                    </a:cubicBezTo>
                    <a:cubicBezTo>
                      <a:pt x="592" y="910"/>
                      <a:pt x="639" y="883"/>
                      <a:pt x="686" y="857"/>
                    </a:cubicBezTo>
                    <a:cubicBezTo>
                      <a:pt x="719" y="832"/>
                      <a:pt x="752" y="808"/>
                      <a:pt x="784" y="784"/>
                    </a:cubicBezTo>
                    <a:cubicBezTo>
                      <a:pt x="821" y="810"/>
                      <a:pt x="858" y="836"/>
                      <a:pt x="894" y="863"/>
                    </a:cubicBezTo>
                    <a:cubicBezTo>
                      <a:pt x="911" y="867"/>
                      <a:pt x="927" y="871"/>
                      <a:pt x="943" y="876"/>
                    </a:cubicBezTo>
                    <a:cubicBezTo>
                      <a:pt x="980" y="880"/>
                      <a:pt x="1017" y="884"/>
                      <a:pt x="1053" y="888"/>
                    </a:cubicBezTo>
                    <a:cubicBezTo>
                      <a:pt x="1064" y="886"/>
                      <a:pt x="1074" y="884"/>
                      <a:pt x="1084" y="882"/>
                    </a:cubicBezTo>
                    <a:cubicBezTo>
                      <a:pt x="1099" y="896"/>
                      <a:pt x="1113" y="910"/>
                      <a:pt x="1127" y="925"/>
                    </a:cubicBezTo>
                    <a:cubicBezTo>
                      <a:pt x="1166" y="914"/>
                      <a:pt x="1205" y="904"/>
                      <a:pt x="1243" y="894"/>
                    </a:cubicBezTo>
                    <a:cubicBezTo>
                      <a:pt x="1247" y="894"/>
                      <a:pt x="1251" y="894"/>
                      <a:pt x="1255" y="894"/>
                    </a:cubicBezTo>
                    <a:cubicBezTo>
                      <a:pt x="1290" y="924"/>
                      <a:pt x="1325" y="955"/>
                      <a:pt x="1359" y="986"/>
                    </a:cubicBezTo>
                    <a:cubicBezTo>
                      <a:pt x="1394" y="1016"/>
                      <a:pt x="1429" y="1047"/>
                      <a:pt x="1463" y="1078"/>
                    </a:cubicBezTo>
                    <a:cubicBezTo>
                      <a:pt x="1468" y="1098"/>
                      <a:pt x="1472" y="1118"/>
                      <a:pt x="1476" y="1138"/>
                    </a:cubicBezTo>
                    <a:cubicBezTo>
                      <a:pt x="1474" y="1165"/>
                      <a:pt x="1472" y="1192"/>
                      <a:pt x="1470" y="1218"/>
                    </a:cubicBezTo>
                    <a:cubicBezTo>
                      <a:pt x="1487" y="1220"/>
                      <a:pt x="1503" y="1222"/>
                      <a:pt x="1519" y="1224"/>
                    </a:cubicBezTo>
                    <a:cubicBezTo>
                      <a:pt x="1531" y="1196"/>
                      <a:pt x="1543" y="1167"/>
                      <a:pt x="1555" y="1138"/>
                    </a:cubicBezTo>
                    <a:cubicBezTo>
                      <a:pt x="1588" y="1134"/>
                      <a:pt x="1621" y="1130"/>
                      <a:pt x="1653" y="1126"/>
                    </a:cubicBezTo>
                    <a:cubicBezTo>
                      <a:pt x="1680" y="1124"/>
                      <a:pt x="1707" y="1122"/>
                      <a:pt x="1733" y="1120"/>
                    </a:cubicBezTo>
                    <a:cubicBezTo>
                      <a:pt x="1748" y="1098"/>
                      <a:pt x="1762" y="1075"/>
                      <a:pt x="1776" y="1053"/>
                    </a:cubicBezTo>
                    <a:cubicBezTo>
                      <a:pt x="1805" y="1047"/>
                      <a:pt x="1833" y="1041"/>
                      <a:pt x="1861" y="1035"/>
                    </a:cubicBezTo>
                    <a:cubicBezTo>
                      <a:pt x="1878" y="1035"/>
                      <a:pt x="1894" y="1035"/>
                      <a:pt x="1910" y="1035"/>
                    </a:cubicBezTo>
                    <a:cubicBezTo>
                      <a:pt x="1935" y="1063"/>
                      <a:pt x="1960" y="1092"/>
                      <a:pt x="1984" y="1120"/>
                    </a:cubicBezTo>
                    <a:cubicBezTo>
                      <a:pt x="2007" y="1134"/>
                      <a:pt x="2029" y="1148"/>
                      <a:pt x="2051" y="1162"/>
                    </a:cubicBezTo>
                    <a:cubicBezTo>
                      <a:pt x="2115" y="1171"/>
                      <a:pt x="2178" y="1179"/>
                      <a:pt x="2241" y="1187"/>
                    </a:cubicBezTo>
                    <a:cubicBezTo>
                      <a:pt x="2268" y="1187"/>
                      <a:pt x="2295" y="1187"/>
                      <a:pt x="2321" y="1187"/>
                    </a:cubicBezTo>
                    <a:cubicBezTo>
                      <a:pt x="2345" y="1187"/>
                      <a:pt x="2378" y="1175"/>
                      <a:pt x="2406" y="1169"/>
                    </a:cubicBezTo>
                    <a:cubicBezTo>
                      <a:pt x="2415" y="1149"/>
                      <a:pt x="2423" y="1128"/>
                      <a:pt x="2431" y="1107"/>
                    </a:cubicBezTo>
                    <a:cubicBezTo>
                      <a:pt x="2458" y="1067"/>
                      <a:pt x="2484" y="1026"/>
                      <a:pt x="2510" y="986"/>
                    </a:cubicBezTo>
                    <a:cubicBezTo>
                      <a:pt x="2525" y="973"/>
                      <a:pt x="2539" y="961"/>
                      <a:pt x="2553" y="949"/>
                    </a:cubicBezTo>
                    <a:cubicBezTo>
                      <a:pt x="2576" y="949"/>
                      <a:pt x="2599" y="949"/>
                      <a:pt x="2621" y="949"/>
                    </a:cubicBezTo>
                    <a:cubicBezTo>
                      <a:pt x="2654" y="947"/>
                      <a:pt x="2687" y="945"/>
                      <a:pt x="2719" y="943"/>
                    </a:cubicBezTo>
                    <a:cubicBezTo>
                      <a:pt x="2734" y="922"/>
                      <a:pt x="2748" y="902"/>
                      <a:pt x="2762" y="882"/>
                    </a:cubicBezTo>
                    <a:cubicBezTo>
                      <a:pt x="2760" y="861"/>
                      <a:pt x="2758" y="841"/>
                      <a:pt x="2755" y="821"/>
                    </a:cubicBezTo>
                    <a:cubicBezTo>
                      <a:pt x="2806" y="800"/>
                      <a:pt x="2857" y="779"/>
                      <a:pt x="2908" y="759"/>
                    </a:cubicBezTo>
                    <a:cubicBezTo>
                      <a:pt x="2935" y="749"/>
                      <a:pt x="2962" y="739"/>
                      <a:pt x="2988" y="729"/>
                    </a:cubicBezTo>
                    <a:cubicBezTo>
                      <a:pt x="3043" y="708"/>
                      <a:pt x="3098" y="687"/>
                      <a:pt x="3153" y="667"/>
                    </a:cubicBezTo>
                    <a:cubicBezTo>
                      <a:pt x="3190" y="651"/>
                      <a:pt x="3227" y="635"/>
                      <a:pt x="3264" y="619"/>
                    </a:cubicBezTo>
                    <a:cubicBezTo>
                      <a:pt x="3297" y="580"/>
                      <a:pt x="3330" y="541"/>
                      <a:pt x="3362" y="502"/>
                    </a:cubicBezTo>
                    <a:cubicBezTo>
                      <a:pt x="3385" y="481"/>
                      <a:pt x="3407" y="461"/>
                      <a:pt x="3429" y="441"/>
                    </a:cubicBezTo>
                    <a:cubicBezTo>
                      <a:pt x="3438" y="455"/>
                      <a:pt x="3446" y="469"/>
                      <a:pt x="3454" y="484"/>
                    </a:cubicBezTo>
                    <a:close/>
                    <a:moveTo>
                      <a:pt x="55" y="1952"/>
                    </a:moveTo>
                    <a:cubicBezTo>
                      <a:pt x="53" y="1952"/>
                      <a:pt x="51" y="1952"/>
                      <a:pt x="49" y="1952"/>
                    </a:cubicBezTo>
                    <a:cubicBezTo>
                      <a:pt x="51" y="1953"/>
                      <a:pt x="53" y="1954"/>
                      <a:pt x="55" y="1954"/>
                    </a:cubicBezTo>
                    <a:cubicBezTo>
                      <a:pt x="55" y="1954"/>
                      <a:pt x="55" y="1953"/>
                      <a:pt x="55" y="1952"/>
                    </a:cubicBezTo>
                    <a:close/>
                  </a:path>
                </a:pathLst>
              </a:custGeom>
              <a:grpFill/>
              <a:ln w="9525" cap="flat">
                <a:solidFill>
                  <a:schemeClr val="bg1"/>
                </a:solidFill>
                <a:bevel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3" name="Freeform 51">
                <a:extLst>
                  <a:ext uri="{FF2B5EF4-FFF2-40B4-BE49-F238E27FC236}">
                    <a16:creationId xmlns:a16="http://schemas.microsoft.com/office/drawing/2014/main" id="{D841BE71-7D3C-AEAD-4FB3-4308CDE476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20000">
                <a:off x="8066535" y="5457758"/>
                <a:ext cx="2030661" cy="817778"/>
              </a:xfrm>
              <a:custGeom>
                <a:avLst/>
                <a:gdLst>
                  <a:gd name="T0" fmla="*/ 83852 w 7799"/>
                  <a:gd name="T1" fmla="*/ 26261 h 3142"/>
                  <a:gd name="T2" fmla="*/ 202972 w 7799"/>
                  <a:gd name="T3" fmla="*/ 74826 h 3142"/>
                  <a:gd name="T4" fmla="*/ 359160 w 7799"/>
                  <a:gd name="T5" fmla="*/ 110080 h 3142"/>
                  <a:gd name="T6" fmla="*/ 509229 w 7799"/>
                  <a:gd name="T7" fmla="*/ 153968 h 3142"/>
                  <a:gd name="T8" fmla="*/ 648143 w 7799"/>
                  <a:gd name="T9" fmla="*/ 138859 h 3142"/>
                  <a:gd name="T10" fmla="*/ 711842 w 7799"/>
                  <a:gd name="T11" fmla="*/ 57199 h 3142"/>
                  <a:gd name="T12" fmla="*/ 835280 w 7799"/>
                  <a:gd name="T13" fmla="*/ 79143 h 3142"/>
                  <a:gd name="T14" fmla="*/ 966996 w 7799"/>
                  <a:gd name="T15" fmla="*/ 85978 h 3142"/>
                  <a:gd name="T16" fmla="*/ 1088276 w 7799"/>
                  <a:gd name="T17" fmla="*/ 107922 h 3142"/>
                  <a:gd name="T18" fmla="*/ 1178605 w 7799"/>
                  <a:gd name="T19" fmla="*/ 149651 h 3142"/>
                  <a:gd name="T20" fmla="*/ 1291248 w 7799"/>
                  <a:gd name="T21" fmla="*/ 224477 h 3142"/>
                  <a:gd name="T22" fmla="*/ 1357105 w 7799"/>
                  <a:gd name="T23" fmla="*/ 290669 h 3142"/>
                  <a:gd name="T24" fmla="*/ 1443117 w 7799"/>
                  <a:gd name="T25" fmla="*/ 248939 h 3142"/>
                  <a:gd name="T26" fmla="*/ 1524809 w 7799"/>
                  <a:gd name="T27" fmla="*/ 174114 h 3142"/>
                  <a:gd name="T28" fmla="*/ 1599664 w 7799"/>
                  <a:gd name="T29" fmla="*/ 105763 h 3142"/>
                  <a:gd name="T30" fmla="*/ 1696472 w 7799"/>
                  <a:gd name="T31" fmla="*/ 52882 h 3142"/>
                  <a:gd name="T32" fmla="*/ 1760530 w 7799"/>
                  <a:gd name="T33" fmla="*/ 41730 h 3142"/>
                  <a:gd name="T34" fmla="*/ 1809114 w 7799"/>
                  <a:gd name="T35" fmla="*/ 85978 h 3142"/>
                  <a:gd name="T36" fmla="*/ 1912400 w 7799"/>
                  <a:gd name="T37" fmla="*/ 85978 h 3142"/>
                  <a:gd name="T38" fmla="*/ 1958824 w 7799"/>
                  <a:gd name="T39" fmla="*/ 132024 h 3142"/>
                  <a:gd name="T40" fmla="*/ 2037997 w 7799"/>
                  <a:gd name="T41" fmla="*/ 96770 h 3142"/>
                  <a:gd name="T42" fmla="*/ 2097737 w 7799"/>
                  <a:gd name="T43" fmla="*/ 74826 h 3142"/>
                  <a:gd name="T44" fmla="*/ 2192386 w 7799"/>
                  <a:gd name="T45" fmla="*/ 61515 h 3142"/>
                  <a:gd name="T46" fmla="*/ 2265081 w 7799"/>
                  <a:gd name="T47" fmla="*/ 59357 h 3142"/>
                  <a:gd name="T48" fmla="*/ 2353252 w 7799"/>
                  <a:gd name="T49" fmla="*/ 52882 h 3142"/>
                  <a:gd name="T50" fmla="*/ 2428107 w 7799"/>
                  <a:gd name="T51" fmla="*/ 43888 h 3142"/>
                  <a:gd name="T52" fmla="*/ 2520596 w 7799"/>
                  <a:gd name="T53" fmla="*/ 46047 h 3142"/>
                  <a:gd name="T54" fmla="*/ 2602288 w 7799"/>
                  <a:gd name="T55" fmla="*/ 129866 h 3142"/>
                  <a:gd name="T56" fmla="*/ 2677143 w 7799"/>
                  <a:gd name="T57" fmla="*/ 231312 h 3142"/>
                  <a:gd name="T58" fmla="*/ 2650872 w 7799"/>
                  <a:gd name="T59" fmla="*/ 334917 h 3142"/>
                  <a:gd name="T60" fmla="*/ 2686140 w 7799"/>
                  <a:gd name="T61" fmla="*/ 411901 h 3142"/>
                  <a:gd name="T62" fmla="*/ 2705934 w 7799"/>
                  <a:gd name="T63" fmla="*/ 555077 h 3142"/>
                  <a:gd name="T64" fmla="*/ 2776470 w 7799"/>
                  <a:gd name="T65" fmla="*/ 614434 h 3142"/>
                  <a:gd name="T66" fmla="*/ 2721409 w 7799"/>
                  <a:gd name="T67" fmla="*/ 656164 h 3142"/>
                  <a:gd name="T68" fmla="*/ 2639716 w 7799"/>
                  <a:gd name="T69" fmla="*/ 680626 h 3142"/>
                  <a:gd name="T70" fmla="*/ 2500802 w 7799"/>
                  <a:gd name="T71" fmla="*/ 898628 h 3142"/>
                  <a:gd name="T72" fmla="*/ 2357570 w 7799"/>
                  <a:gd name="T73" fmla="*/ 982447 h 3142"/>
                  <a:gd name="T74" fmla="*/ 2253925 w 7799"/>
                  <a:gd name="T75" fmla="*/ 1096844 h 3142"/>
                  <a:gd name="T76" fmla="*/ 2150640 w 7799"/>
                  <a:gd name="T77" fmla="*/ 1090369 h 3142"/>
                  <a:gd name="T78" fmla="*/ 2066788 w 7799"/>
                  <a:gd name="T79" fmla="*/ 1030652 h 3142"/>
                  <a:gd name="T80" fmla="*/ 1910240 w 7799"/>
                  <a:gd name="T81" fmla="*/ 1048280 h 3142"/>
                  <a:gd name="T82" fmla="*/ 1716265 w 7799"/>
                  <a:gd name="T83" fmla="*/ 1000074 h 3142"/>
                  <a:gd name="T84" fmla="*/ 1496019 w 7799"/>
                  <a:gd name="T85" fmla="*/ 940358 h 3142"/>
                  <a:gd name="T86" fmla="*/ 1271454 w 7799"/>
                  <a:gd name="T87" fmla="*/ 964820 h 3142"/>
                  <a:gd name="T88" fmla="*/ 1083957 w 7799"/>
                  <a:gd name="T89" fmla="*/ 911938 h 3142"/>
                  <a:gd name="T90" fmla="*/ 954040 w 7799"/>
                  <a:gd name="T91" fmla="*/ 914097 h 3142"/>
                  <a:gd name="T92" fmla="*/ 729476 w 7799"/>
                  <a:gd name="T93" fmla="*/ 929566 h 3142"/>
                  <a:gd name="T94" fmla="*/ 412422 w 7799"/>
                  <a:gd name="T95" fmla="*/ 867691 h 3142"/>
                  <a:gd name="T96" fmla="*/ 183179 w 7799"/>
                  <a:gd name="T97" fmla="*/ 808334 h 3142"/>
                  <a:gd name="T98" fmla="*/ 81693 w 7799"/>
                  <a:gd name="T99" fmla="*/ 788548 h 3142"/>
                  <a:gd name="T100" fmla="*/ 128117 w 7799"/>
                  <a:gd name="T101" fmla="*/ 629903 h 3142"/>
                  <a:gd name="T102" fmla="*/ 253715 w 7799"/>
                  <a:gd name="T103" fmla="*/ 610117 h 3142"/>
                  <a:gd name="T104" fmla="*/ 374635 w 7799"/>
                  <a:gd name="T105" fmla="*/ 616593 h 3142"/>
                  <a:gd name="T106" fmla="*/ 297620 w 7799"/>
                  <a:gd name="T107" fmla="*/ 484568 h 3142"/>
                  <a:gd name="T108" fmla="*/ 220606 w 7799"/>
                  <a:gd name="T109" fmla="*/ 365495 h 3142"/>
                  <a:gd name="T110" fmla="*/ 145751 w 7799"/>
                  <a:gd name="T111" fmla="*/ 273042 h 3142"/>
                  <a:gd name="T112" fmla="*/ 152229 w 7799"/>
                  <a:gd name="T113" fmla="*/ 138859 h 3142"/>
                  <a:gd name="T114" fmla="*/ 0 w 7799"/>
                  <a:gd name="T115" fmla="*/ 50723 h 3142"/>
                  <a:gd name="T116" fmla="*/ 75575 w 7799"/>
                  <a:gd name="T117" fmla="*/ 811211 h 3142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7799" h="3142">
                    <a:moveTo>
                      <a:pt x="62" y="92"/>
                    </a:moveTo>
                    <a:cubicBezTo>
                      <a:pt x="68" y="62"/>
                      <a:pt x="74" y="31"/>
                      <a:pt x="80" y="0"/>
                    </a:cubicBezTo>
                    <a:cubicBezTo>
                      <a:pt x="131" y="25"/>
                      <a:pt x="182" y="49"/>
                      <a:pt x="233" y="73"/>
                    </a:cubicBezTo>
                    <a:cubicBezTo>
                      <a:pt x="261" y="92"/>
                      <a:pt x="290" y="110"/>
                      <a:pt x="319" y="128"/>
                    </a:cubicBezTo>
                    <a:cubicBezTo>
                      <a:pt x="351" y="149"/>
                      <a:pt x="384" y="170"/>
                      <a:pt x="417" y="190"/>
                    </a:cubicBezTo>
                    <a:cubicBezTo>
                      <a:pt x="466" y="196"/>
                      <a:pt x="515" y="202"/>
                      <a:pt x="564" y="208"/>
                    </a:cubicBezTo>
                    <a:cubicBezTo>
                      <a:pt x="623" y="217"/>
                      <a:pt x="682" y="225"/>
                      <a:pt x="741" y="233"/>
                    </a:cubicBezTo>
                    <a:cubicBezTo>
                      <a:pt x="782" y="233"/>
                      <a:pt x="823" y="233"/>
                      <a:pt x="864" y="233"/>
                    </a:cubicBezTo>
                    <a:cubicBezTo>
                      <a:pt x="908" y="258"/>
                      <a:pt x="953" y="282"/>
                      <a:pt x="998" y="306"/>
                    </a:cubicBezTo>
                    <a:cubicBezTo>
                      <a:pt x="1043" y="331"/>
                      <a:pt x="1088" y="355"/>
                      <a:pt x="1133" y="379"/>
                    </a:cubicBezTo>
                    <a:cubicBezTo>
                      <a:pt x="1178" y="406"/>
                      <a:pt x="1223" y="433"/>
                      <a:pt x="1268" y="459"/>
                    </a:cubicBezTo>
                    <a:cubicBezTo>
                      <a:pt x="1317" y="449"/>
                      <a:pt x="1366" y="439"/>
                      <a:pt x="1415" y="428"/>
                    </a:cubicBezTo>
                    <a:cubicBezTo>
                      <a:pt x="1451" y="428"/>
                      <a:pt x="1488" y="428"/>
                      <a:pt x="1525" y="428"/>
                    </a:cubicBezTo>
                    <a:cubicBezTo>
                      <a:pt x="1568" y="433"/>
                      <a:pt x="1611" y="437"/>
                      <a:pt x="1654" y="441"/>
                    </a:cubicBezTo>
                    <a:cubicBezTo>
                      <a:pt x="1703" y="423"/>
                      <a:pt x="1752" y="405"/>
                      <a:pt x="1801" y="386"/>
                    </a:cubicBezTo>
                    <a:cubicBezTo>
                      <a:pt x="1831" y="380"/>
                      <a:pt x="1861" y="374"/>
                      <a:pt x="1892" y="367"/>
                    </a:cubicBezTo>
                    <a:cubicBezTo>
                      <a:pt x="1900" y="339"/>
                      <a:pt x="1908" y="310"/>
                      <a:pt x="1917" y="281"/>
                    </a:cubicBezTo>
                    <a:cubicBezTo>
                      <a:pt x="1937" y="241"/>
                      <a:pt x="1957" y="200"/>
                      <a:pt x="1978" y="159"/>
                    </a:cubicBezTo>
                    <a:cubicBezTo>
                      <a:pt x="2023" y="147"/>
                      <a:pt x="2068" y="135"/>
                      <a:pt x="2113" y="122"/>
                    </a:cubicBezTo>
                    <a:cubicBezTo>
                      <a:pt x="2145" y="135"/>
                      <a:pt x="2178" y="147"/>
                      <a:pt x="2211" y="159"/>
                    </a:cubicBezTo>
                    <a:cubicBezTo>
                      <a:pt x="2247" y="180"/>
                      <a:pt x="2284" y="200"/>
                      <a:pt x="2321" y="220"/>
                    </a:cubicBezTo>
                    <a:cubicBezTo>
                      <a:pt x="2366" y="225"/>
                      <a:pt x="2411" y="229"/>
                      <a:pt x="2456" y="233"/>
                    </a:cubicBezTo>
                    <a:cubicBezTo>
                      <a:pt x="2500" y="235"/>
                      <a:pt x="2545" y="237"/>
                      <a:pt x="2589" y="239"/>
                    </a:cubicBezTo>
                    <a:cubicBezTo>
                      <a:pt x="2622" y="239"/>
                      <a:pt x="2655" y="239"/>
                      <a:pt x="2687" y="239"/>
                    </a:cubicBezTo>
                    <a:cubicBezTo>
                      <a:pt x="2730" y="253"/>
                      <a:pt x="2773" y="267"/>
                      <a:pt x="2816" y="281"/>
                    </a:cubicBezTo>
                    <a:cubicBezTo>
                      <a:pt x="2837" y="290"/>
                      <a:pt x="2857" y="298"/>
                      <a:pt x="2877" y="306"/>
                    </a:cubicBezTo>
                    <a:cubicBezTo>
                      <a:pt x="2926" y="304"/>
                      <a:pt x="2975" y="302"/>
                      <a:pt x="3024" y="300"/>
                    </a:cubicBezTo>
                    <a:cubicBezTo>
                      <a:pt x="3061" y="300"/>
                      <a:pt x="3098" y="300"/>
                      <a:pt x="3134" y="300"/>
                    </a:cubicBezTo>
                    <a:cubicBezTo>
                      <a:pt x="3157" y="315"/>
                      <a:pt x="3180" y="329"/>
                      <a:pt x="3202" y="343"/>
                    </a:cubicBezTo>
                    <a:cubicBezTo>
                      <a:pt x="3227" y="368"/>
                      <a:pt x="3251" y="392"/>
                      <a:pt x="3275" y="416"/>
                    </a:cubicBezTo>
                    <a:cubicBezTo>
                      <a:pt x="3302" y="439"/>
                      <a:pt x="3329" y="462"/>
                      <a:pt x="3355" y="484"/>
                    </a:cubicBezTo>
                    <a:cubicBezTo>
                      <a:pt x="3388" y="498"/>
                      <a:pt x="3421" y="512"/>
                      <a:pt x="3453" y="526"/>
                    </a:cubicBezTo>
                    <a:cubicBezTo>
                      <a:pt x="3498" y="559"/>
                      <a:pt x="3543" y="592"/>
                      <a:pt x="3588" y="624"/>
                    </a:cubicBezTo>
                    <a:cubicBezTo>
                      <a:pt x="3594" y="622"/>
                      <a:pt x="3600" y="620"/>
                      <a:pt x="3606" y="618"/>
                    </a:cubicBezTo>
                    <a:cubicBezTo>
                      <a:pt x="3633" y="661"/>
                      <a:pt x="3660" y="704"/>
                      <a:pt x="3686" y="747"/>
                    </a:cubicBezTo>
                    <a:cubicBezTo>
                      <a:pt x="3715" y="768"/>
                      <a:pt x="3743" y="788"/>
                      <a:pt x="3771" y="808"/>
                    </a:cubicBezTo>
                    <a:cubicBezTo>
                      <a:pt x="3794" y="819"/>
                      <a:pt x="3817" y="829"/>
                      <a:pt x="3839" y="839"/>
                    </a:cubicBezTo>
                    <a:cubicBezTo>
                      <a:pt x="3884" y="819"/>
                      <a:pt x="3929" y="798"/>
                      <a:pt x="3973" y="777"/>
                    </a:cubicBezTo>
                    <a:cubicBezTo>
                      <a:pt x="3986" y="749"/>
                      <a:pt x="3998" y="721"/>
                      <a:pt x="4010" y="692"/>
                    </a:cubicBezTo>
                    <a:cubicBezTo>
                      <a:pt x="4043" y="664"/>
                      <a:pt x="4076" y="635"/>
                      <a:pt x="4108" y="606"/>
                    </a:cubicBezTo>
                    <a:cubicBezTo>
                      <a:pt x="4137" y="592"/>
                      <a:pt x="4166" y="578"/>
                      <a:pt x="4194" y="563"/>
                    </a:cubicBezTo>
                    <a:cubicBezTo>
                      <a:pt x="4209" y="537"/>
                      <a:pt x="4223" y="511"/>
                      <a:pt x="4237" y="484"/>
                    </a:cubicBezTo>
                    <a:cubicBezTo>
                      <a:pt x="4251" y="456"/>
                      <a:pt x="4265" y="427"/>
                      <a:pt x="4279" y="398"/>
                    </a:cubicBezTo>
                    <a:cubicBezTo>
                      <a:pt x="4304" y="376"/>
                      <a:pt x="4329" y="353"/>
                      <a:pt x="4353" y="330"/>
                    </a:cubicBezTo>
                    <a:cubicBezTo>
                      <a:pt x="4384" y="318"/>
                      <a:pt x="4415" y="306"/>
                      <a:pt x="4445" y="294"/>
                    </a:cubicBezTo>
                    <a:cubicBezTo>
                      <a:pt x="4478" y="274"/>
                      <a:pt x="4511" y="254"/>
                      <a:pt x="4543" y="233"/>
                    </a:cubicBezTo>
                    <a:cubicBezTo>
                      <a:pt x="4576" y="217"/>
                      <a:pt x="4609" y="201"/>
                      <a:pt x="4641" y="184"/>
                    </a:cubicBezTo>
                    <a:cubicBezTo>
                      <a:pt x="4666" y="172"/>
                      <a:pt x="4690" y="160"/>
                      <a:pt x="4714" y="147"/>
                    </a:cubicBezTo>
                    <a:cubicBezTo>
                      <a:pt x="4741" y="143"/>
                      <a:pt x="4768" y="139"/>
                      <a:pt x="4794" y="135"/>
                    </a:cubicBezTo>
                    <a:cubicBezTo>
                      <a:pt x="4809" y="135"/>
                      <a:pt x="4823" y="135"/>
                      <a:pt x="4837" y="135"/>
                    </a:cubicBezTo>
                    <a:cubicBezTo>
                      <a:pt x="4856" y="129"/>
                      <a:pt x="4874" y="123"/>
                      <a:pt x="4892" y="116"/>
                    </a:cubicBezTo>
                    <a:cubicBezTo>
                      <a:pt x="4911" y="112"/>
                      <a:pt x="4929" y="108"/>
                      <a:pt x="4947" y="104"/>
                    </a:cubicBezTo>
                    <a:cubicBezTo>
                      <a:pt x="4960" y="125"/>
                      <a:pt x="4972" y="145"/>
                      <a:pt x="4984" y="165"/>
                    </a:cubicBezTo>
                    <a:cubicBezTo>
                      <a:pt x="4999" y="190"/>
                      <a:pt x="5013" y="215"/>
                      <a:pt x="5027" y="239"/>
                    </a:cubicBezTo>
                    <a:cubicBezTo>
                      <a:pt x="5054" y="245"/>
                      <a:pt x="5080" y="251"/>
                      <a:pt x="5106" y="257"/>
                    </a:cubicBezTo>
                    <a:cubicBezTo>
                      <a:pt x="5135" y="255"/>
                      <a:pt x="5164" y="253"/>
                      <a:pt x="5192" y="251"/>
                    </a:cubicBezTo>
                    <a:cubicBezTo>
                      <a:pt x="5233" y="247"/>
                      <a:pt x="5274" y="243"/>
                      <a:pt x="5314" y="239"/>
                    </a:cubicBezTo>
                    <a:cubicBezTo>
                      <a:pt x="5327" y="235"/>
                      <a:pt x="5339" y="231"/>
                      <a:pt x="5351" y="226"/>
                    </a:cubicBezTo>
                    <a:cubicBezTo>
                      <a:pt x="5368" y="265"/>
                      <a:pt x="5384" y="304"/>
                      <a:pt x="5400" y="343"/>
                    </a:cubicBezTo>
                    <a:cubicBezTo>
                      <a:pt x="5415" y="351"/>
                      <a:pt x="5429" y="359"/>
                      <a:pt x="5443" y="367"/>
                    </a:cubicBezTo>
                    <a:cubicBezTo>
                      <a:pt x="5470" y="367"/>
                      <a:pt x="5496" y="367"/>
                      <a:pt x="5522" y="367"/>
                    </a:cubicBezTo>
                    <a:cubicBezTo>
                      <a:pt x="5549" y="353"/>
                      <a:pt x="5576" y="339"/>
                      <a:pt x="5602" y="324"/>
                    </a:cubicBezTo>
                    <a:cubicBezTo>
                      <a:pt x="5623" y="306"/>
                      <a:pt x="5643" y="288"/>
                      <a:pt x="5663" y="269"/>
                    </a:cubicBezTo>
                    <a:cubicBezTo>
                      <a:pt x="5684" y="255"/>
                      <a:pt x="5705" y="241"/>
                      <a:pt x="5725" y="226"/>
                    </a:cubicBezTo>
                    <a:cubicBezTo>
                      <a:pt x="5742" y="226"/>
                      <a:pt x="5758" y="226"/>
                      <a:pt x="5774" y="226"/>
                    </a:cubicBezTo>
                    <a:cubicBezTo>
                      <a:pt x="5793" y="220"/>
                      <a:pt x="5811" y="214"/>
                      <a:pt x="5829" y="208"/>
                    </a:cubicBezTo>
                    <a:cubicBezTo>
                      <a:pt x="5880" y="206"/>
                      <a:pt x="5931" y="204"/>
                      <a:pt x="5982" y="202"/>
                    </a:cubicBezTo>
                    <a:cubicBezTo>
                      <a:pt x="6001" y="192"/>
                      <a:pt x="6019" y="182"/>
                      <a:pt x="6037" y="171"/>
                    </a:cubicBezTo>
                    <a:cubicBezTo>
                      <a:pt x="6056" y="171"/>
                      <a:pt x="6074" y="171"/>
                      <a:pt x="6092" y="171"/>
                    </a:cubicBezTo>
                    <a:cubicBezTo>
                      <a:pt x="6117" y="178"/>
                      <a:pt x="6141" y="184"/>
                      <a:pt x="6165" y="190"/>
                    </a:cubicBezTo>
                    <a:cubicBezTo>
                      <a:pt x="6184" y="190"/>
                      <a:pt x="6203" y="190"/>
                      <a:pt x="6221" y="190"/>
                    </a:cubicBezTo>
                    <a:cubicBezTo>
                      <a:pt x="6246" y="182"/>
                      <a:pt x="6270" y="174"/>
                      <a:pt x="6294" y="165"/>
                    </a:cubicBezTo>
                    <a:cubicBezTo>
                      <a:pt x="6317" y="165"/>
                      <a:pt x="6339" y="165"/>
                      <a:pt x="6361" y="165"/>
                    </a:cubicBezTo>
                    <a:cubicBezTo>
                      <a:pt x="6392" y="163"/>
                      <a:pt x="6423" y="161"/>
                      <a:pt x="6453" y="159"/>
                    </a:cubicBezTo>
                    <a:cubicBezTo>
                      <a:pt x="6482" y="155"/>
                      <a:pt x="6511" y="151"/>
                      <a:pt x="6539" y="147"/>
                    </a:cubicBezTo>
                    <a:cubicBezTo>
                      <a:pt x="6562" y="145"/>
                      <a:pt x="6584" y="143"/>
                      <a:pt x="6606" y="141"/>
                    </a:cubicBezTo>
                    <a:cubicBezTo>
                      <a:pt x="6633" y="141"/>
                      <a:pt x="6660" y="141"/>
                      <a:pt x="6686" y="141"/>
                    </a:cubicBezTo>
                    <a:cubicBezTo>
                      <a:pt x="6707" y="135"/>
                      <a:pt x="6727" y="129"/>
                      <a:pt x="6747" y="122"/>
                    </a:cubicBezTo>
                    <a:cubicBezTo>
                      <a:pt x="6784" y="108"/>
                      <a:pt x="6821" y="94"/>
                      <a:pt x="6857" y="79"/>
                    </a:cubicBezTo>
                    <a:cubicBezTo>
                      <a:pt x="6882" y="71"/>
                      <a:pt x="6907" y="63"/>
                      <a:pt x="6931" y="55"/>
                    </a:cubicBezTo>
                    <a:cubicBezTo>
                      <a:pt x="6956" y="80"/>
                      <a:pt x="6980" y="104"/>
                      <a:pt x="7004" y="128"/>
                    </a:cubicBezTo>
                    <a:cubicBezTo>
                      <a:pt x="7037" y="145"/>
                      <a:pt x="7070" y="161"/>
                      <a:pt x="7102" y="177"/>
                    </a:cubicBezTo>
                    <a:cubicBezTo>
                      <a:pt x="7123" y="202"/>
                      <a:pt x="7143" y="227"/>
                      <a:pt x="7163" y="251"/>
                    </a:cubicBezTo>
                    <a:cubicBezTo>
                      <a:pt x="7186" y="288"/>
                      <a:pt x="7209" y="325"/>
                      <a:pt x="7231" y="361"/>
                    </a:cubicBezTo>
                    <a:cubicBezTo>
                      <a:pt x="7254" y="392"/>
                      <a:pt x="7276" y="423"/>
                      <a:pt x="7298" y="453"/>
                    </a:cubicBezTo>
                    <a:cubicBezTo>
                      <a:pt x="7329" y="492"/>
                      <a:pt x="7360" y="531"/>
                      <a:pt x="7390" y="569"/>
                    </a:cubicBezTo>
                    <a:cubicBezTo>
                      <a:pt x="7407" y="594"/>
                      <a:pt x="7423" y="619"/>
                      <a:pt x="7439" y="643"/>
                    </a:cubicBezTo>
                    <a:cubicBezTo>
                      <a:pt x="7441" y="680"/>
                      <a:pt x="7443" y="717"/>
                      <a:pt x="7445" y="753"/>
                    </a:cubicBezTo>
                    <a:cubicBezTo>
                      <a:pt x="7427" y="786"/>
                      <a:pt x="7409" y="819"/>
                      <a:pt x="7390" y="851"/>
                    </a:cubicBezTo>
                    <a:cubicBezTo>
                      <a:pt x="7382" y="878"/>
                      <a:pt x="7374" y="905"/>
                      <a:pt x="7366" y="931"/>
                    </a:cubicBezTo>
                    <a:cubicBezTo>
                      <a:pt x="7372" y="964"/>
                      <a:pt x="7378" y="996"/>
                      <a:pt x="7384" y="1028"/>
                    </a:cubicBezTo>
                    <a:cubicBezTo>
                      <a:pt x="7397" y="1051"/>
                      <a:pt x="7409" y="1074"/>
                      <a:pt x="7421" y="1096"/>
                    </a:cubicBezTo>
                    <a:cubicBezTo>
                      <a:pt x="7436" y="1113"/>
                      <a:pt x="7450" y="1129"/>
                      <a:pt x="7464" y="1145"/>
                    </a:cubicBezTo>
                    <a:cubicBezTo>
                      <a:pt x="7476" y="1182"/>
                      <a:pt x="7488" y="1219"/>
                      <a:pt x="7500" y="1255"/>
                    </a:cubicBezTo>
                    <a:cubicBezTo>
                      <a:pt x="7500" y="1304"/>
                      <a:pt x="7500" y="1353"/>
                      <a:pt x="7500" y="1402"/>
                    </a:cubicBezTo>
                    <a:cubicBezTo>
                      <a:pt x="7507" y="1449"/>
                      <a:pt x="7513" y="1496"/>
                      <a:pt x="7519" y="1543"/>
                    </a:cubicBezTo>
                    <a:cubicBezTo>
                      <a:pt x="7523" y="1560"/>
                      <a:pt x="7527" y="1576"/>
                      <a:pt x="7531" y="1592"/>
                    </a:cubicBezTo>
                    <a:cubicBezTo>
                      <a:pt x="7558" y="1602"/>
                      <a:pt x="7585" y="1612"/>
                      <a:pt x="7611" y="1622"/>
                    </a:cubicBezTo>
                    <a:cubicBezTo>
                      <a:pt x="7646" y="1651"/>
                      <a:pt x="7681" y="1680"/>
                      <a:pt x="7715" y="1708"/>
                    </a:cubicBezTo>
                    <a:cubicBezTo>
                      <a:pt x="7743" y="1724"/>
                      <a:pt x="7771" y="1740"/>
                      <a:pt x="7798" y="1756"/>
                    </a:cubicBezTo>
                    <a:cubicBezTo>
                      <a:pt x="7791" y="1763"/>
                      <a:pt x="7784" y="1769"/>
                      <a:pt x="7776" y="1775"/>
                    </a:cubicBezTo>
                    <a:cubicBezTo>
                      <a:pt x="7705" y="1792"/>
                      <a:pt x="7634" y="1808"/>
                      <a:pt x="7562" y="1824"/>
                    </a:cubicBezTo>
                    <a:cubicBezTo>
                      <a:pt x="7540" y="1869"/>
                      <a:pt x="7517" y="1914"/>
                      <a:pt x="7494" y="1959"/>
                    </a:cubicBezTo>
                    <a:cubicBezTo>
                      <a:pt x="7482" y="1980"/>
                      <a:pt x="7470" y="2000"/>
                      <a:pt x="7457" y="2020"/>
                    </a:cubicBezTo>
                    <a:cubicBezTo>
                      <a:pt x="7417" y="1978"/>
                      <a:pt x="7376" y="1935"/>
                      <a:pt x="7335" y="1892"/>
                    </a:cubicBezTo>
                    <a:cubicBezTo>
                      <a:pt x="7311" y="1927"/>
                      <a:pt x="7287" y="1962"/>
                      <a:pt x="7262" y="1996"/>
                    </a:cubicBezTo>
                    <a:cubicBezTo>
                      <a:pt x="7203" y="2002"/>
                      <a:pt x="7144" y="2008"/>
                      <a:pt x="7084" y="2014"/>
                    </a:cubicBezTo>
                    <a:cubicBezTo>
                      <a:pt x="7039" y="2176"/>
                      <a:pt x="6994" y="2337"/>
                      <a:pt x="6949" y="2498"/>
                    </a:cubicBezTo>
                    <a:cubicBezTo>
                      <a:pt x="6866" y="2517"/>
                      <a:pt x="6782" y="2535"/>
                      <a:pt x="6698" y="2553"/>
                    </a:cubicBezTo>
                    <a:cubicBezTo>
                      <a:pt x="6676" y="2608"/>
                      <a:pt x="6654" y="2663"/>
                      <a:pt x="6631" y="2718"/>
                    </a:cubicBezTo>
                    <a:cubicBezTo>
                      <a:pt x="6605" y="2722"/>
                      <a:pt x="6578" y="2727"/>
                      <a:pt x="6551" y="2731"/>
                    </a:cubicBezTo>
                    <a:cubicBezTo>
                      <a:pt x="6533" y="2761"/>
                      <a:pt x="6515" y="2792"/>
                      <a:pt x="6496" y="2822"/>
                    </a:cubicBezTo>
                    <a:cubicBezTo>
                      <a:pt x="6419" y="2845"/>
                      <a:pt x="6341" y="2867"/>
                      <a:pt x="6263" y="2890"/>
                    </a:cubicBezTo>
                    <a:cubicBezTo>
                      <a:pt x="6263" y="2943"/>
                      <a:pt x="6263" y="2996"/>
                      <a:pt x="6263" y="3049"/>
                    </a:cubicBezTo>
                    <a:cubicBezTo>
                      <a:pt x="6245" y="3080"/>
                      <a:pt x="6227" y="3110"/>
                      <a:pt x="6208" y="3141"/>
                    </a:cubicBezTo>
                    <a:cubicBezTo>
                      <a:pt x="6149" y="3086"/>
                      <a:pt x="6090" y="3031"/>
                      <a:pt x="6031" y="2976"/>
                    </a:cubicBezTo>
                    <a:cubicBezTo>
                      <a:pt x="6013" y="2994"/>
                      <a:pt x="5995" y="3013"/>
                      <a:pt x="5976" y="3031"/>
                    </a:cubicBezTo>
                    <a:cubicBezTo>
                      <a:pt x="5948" y="3019"/>
                      <a:pt x="5919" y="3006"/>
                      <a:pt x="5890" y="2994"/>
                    </a:cubicBezTo>
                    <a:cubicBezTo>
                      <a:pt x="5866" y="2978"/>
                      <a:pt x="5841" y="2961"/>
                      <a:pt x="5816" y="2945"/>
                    </a:cubicBezTo>
                    <a:cubicBezTo>
                      <a:pt x="5792" y="2918"/>
                      <a:pt x="5768" y="2892"/>
                      <a:pt x="5743" y="2865"/>
                    </a:cubicBezTo>
                    <a:cubicBezTo>
                      <a:pt x="5668" y="2881"/>
                      <a:pt x="5592" y="2898"/>
                      <a:pt x="5516" y="2914"/>
                    </a:cubicBezTo>
                    <a:cubicBezTo>
                      <a:pt x="5476" y="2928"/>
                      <a:pt x="5435" y="2943"/>
                      <a:pt x="5394" y="2957"/>
                    </a:cubicBezTo>
                    <a:cubicBezTo>
                      <a:pt x="5366" y="2943"/>
                      <a:pt x="5337" y="2928"/>
                      <a:pt x="5308" y="2914"/>
                    </a:cubicBezTo>
                    <a:cubicBezTo>
                      <a:pt x="5243" y="2924"/>
                      <a:pt x="5178" y="2935"/>
                      <a:pt x="5112" y="2945"/>
                    </a:cubicBezTo>
                    <a:cubicBezTo>
                      <a:pt x="5043" y="2955"/>
                      <a:pt x="4974" y="2965"/>
                      <a:pt x="4904" y="2975"/>
                    </a:cubicBezTo>
                    <a:cubicBezTo>
                      <a:pt x="4859" y="2910"/>
                      <a:pt x="4814" y="2845"/>
                      <a:pt x="4769" y="2780"/>
                    </a:cubicBezTo>
                    <a:cubicBezTo>
                      <a:pt x="4702" y="2772"/>
                      <a:pt x="4635" y="2763"/>
                      <a:pt x="4567" y="2755"/>
                    </a:cubicBezTo>
                    <a:cubicBezTo>
                      <a:pt x="4506" y="2759"/>
                      <a:pt x="4445" y="2763"/>
                      <a:pt x="4384" y="2767"/>
                    </a:cubicBezTo>
                    <a:cubicBezTo>
                      <a:pt x="4309" y="2716"/>
                      <a:pt x="4233" y="2665"/>
                      <a:pt x="4157" y="2614"/>
                    </a:cubicBezTo>
                    <a:cubicBezTo>
                      <a:pt x="4088" y="2616"/>
                      <a:pt x="4019" y="2618"/>
                      <a:pt x="3949" y="2620"/>
                    </a:cubicBezTo>
                    <a:cubicBezTo>
                      <a:pt x="3900" y="2649"/>
                      <a:pt x="3851" y="2677"/>
                      <a:pt x="3802" y="2706"/>
                    </a:cubicBezTo>
                    <a:cubicBezTo>
                      <a:pt x="3713" y="2698"/>
                      <a:pt x="3623" y="2690"/>
                      <a:pt x="3533" y="2682"/>
                    </a:cubicBezTo>
                    <a:cubicBezTo>
                      <a:pt x="3427" y="2643"/>
                      <a:pt x="3321" y="2604"/>
                      <a:pt x="3214" y="2565"/>
                    </a:cubicBezTo>
                    <a:cubicBezTo>
                      <a:pt x="3180" y="2586"/>
                      <a:pt x="3145" y="2607"/>
                      <a:pt x="3110" y="2627"/>
                    </a:cubicBezTo>
                    <a:cubicBezTo>
                      <a:pt x="3078" y="2597"/>
                      <a:pt x="3045" y="2566"/>
                      <a:pt x="3012" y="2535"/>
                    </a:cubicBezTo>
                    <a:cubicBezTo>
                      <a:pt x="2980" y="2543"/>
                      <a:pt x="2947" y="2551"/>
                      <a:pt x="2914" y="2559"/>
                    </a:cubicBezTo>
                    <a:cubicBezTo>
                      <a:pt x="2884" y="2535"/>
                      <a:pt x="2853" y="2511"/>
                      <a:pt x="2822" y="2486"/>
                    </a:cubicBezTo>
                    <a:cubicBezTo>
                      <a:pt x="2765" y="2505"/>
                      <a:pt x="2708" y="2523"/>
                      <a:pt x="2651" y="2541"/>
                    </a:cubicBezTo>
                    <a:cubicBezTo>
                      <a:pt x="2615" y="2517"/>
                      <a:pt x="2578" y="2492"/>
                      <a:pt x="2541" y="2467"/>
                    </a:cubicBezTo>
                    <a:cubicBezTo>
                      <a:pt x="2452" y="2502"/>
                      <a:pt x="2362" y="2537"/>
                      <a:pt x="2272" y="2571"/>
                    </a:cubicBezTo>
                    <a:cubicBezTo>
                      <a:pt x="2190" y="2576"/>
                      <a:pt x="2108" y="2580"/>
                      <a:pt x="2027" y="2584"/>
                    </a:cubicBezTo>
                    <a:cubicBezTo>
                      <a:pt x="1939" y="2539"/>
                      <a:pt x="1851" y="2494"/>
                      <a:pt x="1764" y="2449"/>
                    </a:cubicBezTo>
                    <a:cubicBezTo>
                      <a:pt x="1670" y="2443"/>
                      <a:pt x="1576" y="2437"/>
                      <a:pt x="1482" y="2431"/>
                    </a:cubicBezTo>
                    <a:cubicBezTo>
                      <a:pt x="1370" y="2425"/>
                      <a:pt x="1258" y="2419"/>
                      <a:pt x="1146" y="2412"/>
                    </a:cubicBezTo>
                    <a:cubicBezTo>
                      <a:pt x="1041" y="2414"/>
                      <a:pt x="937" y="2416"/>
                      <a:pt x="833" y="2418"/>
                    </a:cubicBezTo>
                    <a:cubicBezTo>
                      <a:pt x="745" y="2372"/>
                      <a:pt x="657" y="2325"/>
                      <a:pt x="570" y="2278"/>
                    </a:cubicBezTo>
                    <a:cubicBezTo>
                      <a:pt x="549" y="2268"/>
                      <a:pt x="529" y="2258"/>
                      <a:pt x="509" y="2247"/>
                    </a:cubicBezTo>
                    <a:cubicBezTo>
                      <a:pt x="445" y="2249"/>
                      <a:pt x="382" y="2251"/>
                      <a:pt x="319" y="2253"/>
                    </a:cubicBezTo>
                    <a:cubicBezTo>
                      <a:pt x="283" y="2251"/>
                      <a:pt x="247" y="2249"/>
                      <a:pt x="212" y="2246"/>
                    </a:cubicBezTo>
                    <a:cubicBezTo>
                      <a:pt x="217" y="2228"/>
                      <a:pt x="222" y="2210"/>
                      <a:pt x="227" y="2192"/>
                    </a:cubicBezTo>
                    <a:cubicBezTo>
                      <a:pt x="253" y="2149"/>
                      <a:pt x="276" y="2082"/>
                      <a:pt x="307" y="2063"/>
                    </a:cubicBezTo>
                    <a:cubicBezTo>
                      <a:pt x="337" y="2045"/>
                      <a:pt x="335" y="1961"/>
                      <a:pt x="350" y="1910"/>
                    </a:cubicBezTo>
                    <a:cubicBezTo>
                      <a:pt x="352" y="1857"/>
                      <a:pt x="354" y="1804"/>
                      <a:pt x="356" y="1751"/>
                    </a:cubicBezTo>
                    <a:cubicBezTo>
                      <a:pt x="390" y="1753"/>
                      <a:pt x="425" y="1755"/>
                      <a:pt x="460" y="1757"/>
                    </a:cubicBezTo>
                    <a:cubicBezTo>
                      <a:pt x="502" y="1759"/>
                      <a:pt x="545" y="1761"/>
                      <a:pt x="588" y="1763"/>
                    </a:cubicBezTo>
                    <a:cubicBezTo>
                      <a:pt x="627" y="1741"/>
                      <a:pt x="666" y="1719"/>
                      <a:pt x="705" y="1696"/>
                    </a:cubicBezTo>
                    <a:cubicBezTo>
                      <a:pt x="749" y="1670"/>
                      <a:pt x="794" y="1643"/>
                      <a:pt x="839" y="1616"/>
                    </a:cubicBezTo>
                    <a:cubicBezTo>
                      <a:pt x="871" y="1645"/>
                      <a:pt x="904" y="1674"/>
                      <a:pt x="937" y="1702"/>
                    </a:cubicBezTo>
                    <a:cubicBezTo>
                      <a:pt x="971" y="1706"/>
                      <a:pt x="1006" y="1710"/>
                      <a:pt x="1041" y="1714"/>
                    </a:cubicBezTo>
                    <a:cubicBezTo>
                      <a:pt x="1033" y="1667"/>
                      <a:pt x="1025" y="1620"/>
                      <a:pt x="1017" y="1573"/>
                    </a:cubicBezTo>
                    <a:cubicBezTo>
                      <a:pt x="986" y="1543"/>
                      <a:pt x="955" y="1513"/>
                      <a:pt x="925" y="1482"/>
                    </a:cubicBezTo>
                    <a:cubicBezTo>
                      <a:pt x="892" y="1437"/>
                      <a:pt x="859" y="1392"/>
                      <a:pt x="827" y="1347"/>
                    </a:cubicBezTo>
                    <a:cubicBezTo>
                      <a:pt x="790" y="1317"/>
                      <a:pt x="753" y="1286"/>
                      <a:pt x="717" y="1255"/>
                    </a:cubicBezTo>
                    <a:cubicBezTo>
                      <a:pt x="686" y="1221"/>
                      <a:pt x="655" y="1186"/>
                      <a:pt x="625" y="1151"/>
                    </a:cubicBezTo>
                    <a:cubicBezTo>
                      <a:pt x="621" y="1106"/>
                      <a:pt x="617" y="1061"/>
                      <a:pt x="613" y="1016"/>
                    </a:cubicBezTo>
                    <a:cubicBezTo>
                      <a:pt x="596" y="972"/>
                      <a:pt x="580" y="927"/>
                      <a:pt x="564" y="882"/>
                    </a:cubicBezTo>
                    <a:cubicBezTo>
                      <a:pt x="525" y="876"/>
                      <a:pt x="486" y="870"/>
                      <a:pt x="447" y="863"/>
                    </a:cubicBezTo>
                    <a:cubicBezTo>
                      <a:pt x="433" y="829"/>
                      <a:pt x="419" y="794"/>
                      <a:pt x="405" y="759"/>
                    </a:cubicBezTo>
                    <a:cubicBezTo>
                      <a:pt x="380" y="729"/>
                      <a:pt x="355" y="698"/>
                      <a:pt x="331" y="667"/>
                    </a:cubicBezTo>
                    <a:cubicBezTo>
                      <a:pt x="341" y="629"/>
                      <a:pt x="351" y="590"/>
                      <a:pt x="362" y="551"/>
                    </a:cubicBezTo>
                    <a:cubicBezTo>
                      <a:pt x="382" y="496"/>
                      <a:pt x="402" y="441"/>
                      <a:pt x="423" y="386"/>
                    </a:cubicBezTo>
                    <a:cubicBezTo>
                      <a:pt x="359" y="368"/>
                      <a:pt x="296" y="349"/>
                      <a:pt x="233" y="330"/>
                    </a:cubicBezTo>
                    <a:cubicBezTo>
                      <a:pt x="167" y="316"/>
                      <a:pt x="102" y="302"/>
                      <a:pt x="37" y="288"/>
                    </a:cubicBezTo>
                    <a:cubicBezTo>
                      <a:pt x="24" y="239"/>
                      <a:pt x="12" y="190"/>
                      <a:pt x="0" y="141"/>
                    </a:cubicBezTo>
                    <a:cubicBezTo>
                      <a:pt x="20" y="125"/>
                      <a:pt x="41" y="109"/>
                      <a:pt x="62" y="92"/>
                    </a:cubicBezTo>
                    <a:close/>
                    <a:moveTo>
                      <a:pt x="191" y="2245"/>
                    </a:moveTo>
                    <a:cubicBezTo>
                      <a:pt x="197" y="2249"/>
                      <a:pt x="203" y="2252"/>
                      <a:pt x="210" y="2255"/>
                    </a:cubicBezTo>
                    <a:cubicBezTo>
                      <a:pt x="210" y="2252"/>
                      <a:pt x="211" y="2249"/>
                      <a:pt x="212" y="2246"/>
                    </a:cubicBezTo>
                    <a:cubicBezTo>
                      <a:pt x="205" y="2246"/>
                      <a:pt x="198" y="2246"/>
                      <a:pt x="191" y="2245"/>
                    </a:cubicBezTo>
                    <a:close/>
                  </a:path>
                </a:pathLst>
              </a:custGeom>
              <a:grpFill/>
              <a:ln w="9525" cap="flat">
                <a:solidFill>
                  <a:schemeClr val="bg1"/>
                </a:solidFill>
                <a:bevel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4" name="Freeform 59">
                <a:extLst>
                  <a:ext uri="{FF2B5EF4-FFF2-40B4-BE49-F238E27FC236}">
                    <a16:creationId xmlns:a16="http://schemas.microsoft.com/office/drawing/2014/main" id="{8F4CDB7D-87E1-0195-962F-7E4A2E3846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20000">
                <a:off x="9506835" y="3142253"/>
                <a:ext cx="2084644" cy="1815880"/>
              </a:xfrm>
              <a:custGeom>
                <a:avLst/>
                <a:gdLst>
                  <a:gd name="T0" fmla="*/ 489395 w 8007"/>
                  <a:gd name="T1" fmla="*/ 339731 h 6974"/>
                  <a:gd name="T2" fmla="*/ 262330 w 8007"/>
                  <a:gd name="T3" fmla="*/ 557822 h 6974"/>
                  <a:gd name="T4" fmla="*/ 396914 w 8007"/>
                  <a:gd name="T5" fmla="*/ 806502 h 6974"/>
                  <a:gd name="T6" fmla="*/ 511346 w 8007"/>
                  <a:gd name="T7" fmla="*/ 982846 h 6974"/>
                  <a:gd name="T8" fmla="*/ 562085 w 8007"/>
                  <a:gd name="T9" fmla="*/ 1273993 h 6974"/>
                  <a:gd name="T10" fmla="*/ 398713 w 8007"/>
                  <a:gd name="T11" fmla="*/ 1390596 h 6974"/>
                  <a:gd name="T12" fmla="*/ 150057 w 8007"/>
                  <a:gd name="T13" fmla="*/ 1351008 h 6974"/>
                  <a:gd name="T14" fmla="*/ 30947 w 8007"/>
                  <a:gd name="T15" fmla="*/ 1549305 h 6974"/>
                  <a:gd name="T16" fmla="*/ 165171 w 8007"/>
                  <a:gd name="T17" fmla="*/ 1765236 h 6974"/>
                  <a:gd name="T18" fmla="*/ 348334 w 8007"/>
                  <a:gd name="T19" fmla="*/ 1941580 h 6974"/>
                  <a:gd name="T20" fmla="*/ 451611 w 8007"/>
                  <a:gd name="T21" fmla="*/ 2117923 h 6974"/>
                  <a:gd name="T22" fmla="*/ 700627 w 8007"/>
                  <a:gd name="T23" fmla="*/ 2108926 h 6974"/>
                  <a:gd name="T24" fmla="*/ 965116 w 8007"/>
                  <a:gd name="T25" fmla="*/ 1967851 h 6974"/>
                  <a:gd name="T26" fmla="*/ 1282503 w 8007"/>
                  <a:gd name="T27" fmla="*/ 2067179 h 6974"/>
                  <a:gd name="T28" fmla="*/ 1575420 w 8007"/>
                  <a:gd name="T29" fmla="*/ 2203576 h 6974"/>
                  <a:gd name="T30" fmla="*/ 1802485 w 8007"/>
                  <a:gd name="T31" fmla="*/ 2403672 h 6974"/>
                  <a:gd name="T32" fmla="*/ 2079929 w 8007"/>
                  <a:gd name="T33" fmla="*/ 2467731 h 6974"/>
                  <a:gd name="T34" fmla="*/ 2157296 w 8007"/>
                  <a:gd name="T35" fmla="*/ 2194939 h 6974"/>
                  <a:gd name="T36" fmla="*/ 2062656 w 8007"/>
                  <a:gd name="T37" fmla="*/ 1930423 h 6974"/>
                  <a:gd name="T38" fmla="*/ 2201198 w 8007"/>
                  <a:gd name="T39" fmla="*/ 1677064 h 6974"/>
                  <a:gd name="T40" fmla="*/ 2461369 w 8007"/>
                  <a:gd name="T41" fmla="*/ 1593211 h 6974"/>
                  <a:gd name="T42" fmla="*/ 2736654 w 8007"/>
                  <a:gd name="T43" fmla="*/ 1419386 h 6974"/>
                  <a:gd name="T44" fmla="*/ 2880233 w 8007"/>
                  <a:gd name="T45" fmla="*/ 1282270 h 6974"/>
                  <a:gd name="T46" fmla="*/ 2730176 w 8007"/>
                  <a:gd name="T47" fmla="*/ 1053383 h 6974"/>
                  <a:gd name="T48" fmla="*/ 2624381 w 8007"/>
                  <a:gd name="T49" fmla="*/ 701056 h 6974"/>
                  <a:gd name="T50" fmla="*/ 2467846 w 8007"/>
                  <a:gd name="T51" fmla="*/ 335053 h 6974"/>
                  <a:gd name="T52" fmla="*/ 2190402 w 8007"/>
                  <a:gd name="T53" fmla="*/ 205134 h 6974"/>
                  <a:gd name="T54" fmla="*/ 1945705 w 8007"/>
                  <a:gd name="T55" fmla="*/ 344050 h 6974"/>
                  <a:gd name="T56" fmla="*/ 1361670 w 8007"/>
                  <a:gd name="T57" fmla="*/ 183181 h 6974"/>
                  <a:gd name="T58" fmla="*/ 982748 w 8007"/>
                  <a:gd name="T59" fmla="*/ 68378 h 6974"/>
                  <a:gd name="T60" fmla="*/ 683354 w 8007"/>
                  <a:gd name="T61" fmla="*/ 22313 h 6974"/>
                  <a:gd name="T62" fmla="*/ 2178168 w 8007"/>
                  <a:gd name="T63" fmla="*/ 1081454 h 6974"/>
                  <a:gd name="T64" fmla="*/ 2264891 w 8007"/>
                  <a:gd name="T65" fmla="*/ 1147673 h 6974"/>
                  <a:gd name="T66" fmla="*/ 2278925 w 8007"/>
                  <a:gd name="T67" fmla="*/ 1283710 h 6974"/>
                  <a:gd name="T68" fmla="*/ 2280005 w 8007"/>
                  <a:gd name="T69" fmla="*/ 1304583 h 6974"/>
                  <a:gd name="T70" fmla="*/ 2295119 w 8007"/>
                  <a:gd name="T71" fmla="*/ 1315020 h 6974"/>
                  <a:gd name="T72" fmla="*/ 2315630 w 8007"/>
                  <a:gd name="T73" fmla="*/ 1362525 h 6974"/>
                  <a:gd name="T74" fmla="*/ 2177088 w 8007"/>
                  <a:gd name="T75" fmla="*/ 1333014 h 6974"/>
                  <a:gd name="T76" fmla="*/ 2124550 w 8007"/>
                  <a:gd name="T77" fmla="*/ 1396714 h 6974"/>
                  <a:gd name="T78" fmla="*/ 2090004 w 8007"/>
                  <a:gd name="T79" fmla="*/ 1402472 h 6974"/>
                  <a:gd name="T80" fmla="*/ 1974853 w 8007"/>
                  <a:gd name="T81" fmla="*/ 1363604 h 6974"/>
                  <a:gd name="T82" fmla="*/ 1959379 w 8007"/>
                  <a:gd name="T83" fmla="*/ 1389156 h 6974"/>
                  <a:gd name="T84" fmla="*/ 1939228 w 8007"/>
                  <a:gd name="T85" fmla="*/ 1388796 h 6974"/>
                  <a:gd name="T86" fmla="*/ 1854663 w 8007"/>
                  <a:gd name="T87" fmla="*/ 1371522 h 6974"/>
                  <a:gd name="T88" fmla="*/ 1817599 w 8007"/>
                  <a:gd name="T89" fmla="*/ 1339492 h 6974"/>
                  <a:gd name="T90" fmla="*/ 1836311 w 8007"/>
                  <a:gd name="T91" fmla="*/ 1331575 h 6974"/>
                  <a:gd name="T92" fmla="*/ 1803205 w 8007"/>
                  <a:gd name="T93" fmla="*/ 1327616 h 6974"/>
                  <a:gd name="T94" fmla="*/ 1796008 w 8007"/>
                  <a:gd name="T95" fmla="*/ 1304223 h 6974"/>
                  <a:gd name="T96" fmla="*/ 1815440 w 8007"/>
                  <a:gd name="T97" fmla="*/ 1215332 h 6974"/>
                  <a:gd name="T98" fmla="*/ 1807163 w 8007"/>
                  <a:gd name="T99" fmla="*/ 1211013 h 6974"/>
                  <a:gd name="T100" fmla="*/ 1800686 w 8007"/>
                  <a:gd name="T101" fmla="*/ 1192299 h 6974"/>
                  <a:gd name="T102" fmla="*/ 1784133 w 8007"/>
                  <a:gd name="T103" fmla="*/ 1187980 h 6974"/>
                  <a:gd name="T104" fmla="*/ 1802125 w 8007"/>
                  <a:gd name="T105" fmla="*/ 1174665 h 6974"/>
                  <a:gd name="T106" fmla="*/ 1812921 w 8007"/>
                  <a:gd name="T107" fmla="*/ 1105927 h 6974"/>
                  <a:gd name="T108" fmla="*/ 1882731 w 8007"/>
                  <a:gd name="T109" fmla="*/ 1144434 h 6974"/>
                  <a:gd name="T110" fmla="*/ 1893887 w 8007"/>
                  <a:gd name="T111" fmla="*/ 1125001 h 6974"/>
                  <a:gd name="T112" fmla="*/ 1922315 w 8007"/>
                  <a:gd name="T113" fmla="*/ 1098729 h 6974"/>
                  <a:gd name="T114" fmla="*/ 1982050 w 8007"/>
                  <a:gd name="T115" fmla="*/ 1075336 h 6974"/>
                  <a:gd name="T116" fmla="*/ 1998243 w 8007"/>
                  <a:gd name="T117" fmla="*/ 1053743 h 6974"/>
                  <a:gd name="T118" fmla="*/ 2045023 w 8007"/>
                  <a:gd name="T119" fmla="*/ 1036469 h 6974"/>
                  <a:gd name="T120" fmla="*/ 2064455 w 8007"/>
                  <a:gd name="T121" fmla="*/ 988244 h 697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8007" h="6974">
                    <a:moveTo>
                      <a:pt x="1415" y="0"/>
                    </a:moveTo>
                    <a:cubicBezTo>
                      <a:pt x="1411" y="35"/>
                      <a:pt x="1407" y="70"/>
                      <a:pt x="1402" y="105"/>
                    </a:cubicBezTo>
                    <a:cubicBezTo>
                      <a:pt x="1390" y="138"/>
                      <a:pt x="1378" y="170"/>
                      <a:pt x="1366" y="203"/>
                    </a:cubicBezTo>
                    <a:cubicBezTo>
                      <a:pt x="1389" y="297"/>
                      <a:pt x="1411" y="390"/>
                      <a:pt x="1433" y="484"/>
                    </a:cubicBezTo>
                    <a:cubicBezTo>
                      <a:pt x="1427" y="515"/>
                      <a:pt x="1421" y="545"/>
                      <a:pt x="1415" y="576"/>
                    </a:cubicBezTo>
                    <a:cubicBezTo>
                      <a:pt x="1407" y="609"/>
                      <a:pt x="1399" y="641"/>
                      <a:pt x="1390" y="674"/>
                    </a:cubicBezTo>
                    <a:cubicBezTo>
                      <a:pt x="1394" y="701"/>
                      <a:pt x="1398" y="727"/>
                      <a:pt x="1402" y="754"/>
                    </a:cubicBezTo>
                    <a:cubicBezTo>
                      <a:pt x="1401" y="778"/>
                      <a:pt x="1399" y="803"/>
                      <a:pt x="1397" y="827"/>
                    </a:cubicBezTo>
                    <a:cubicBezTo>
                      <a:pt x="1385" y="866"/>
                      <a:pt x="1373" y="905"/>
                      <a:pt x="1360" y="944"/>
                    </a:cubicBezTo>
                    <a:cubicBezTo>
                      <a:pt x="1368" y="970"/>
                      <a:pt x="1376" y="997"/>
                      <a:pt x="1384" y="1023"/>
                    </a:cubicBezTo>
                    <a:cubicBezTo>
                      <a:pt x="1399" y="1050"/>
                      <a:pt x="1413" y="1076"/>
                      <a:pt x="1427" y="1103"/>
                    </a:cubicBezTo>
                    <a:cubicBezTo>
                      <a:pt x="1415" y="1129"/>
                      <a:pt x="1403" y="1156"/>
                      <a:pt x="1390" y="1182"/>
                    </a:cubicBezTo>
                    <a:cubicBezTo>
                      <a:pt x="1378" y="1182"/>
                      <a:pt x="1366" y="1182"/>
                      <a:pt x="1353" y="1182"/>
                    </a:cubicBezTo>
                    <a:cubicBezTo>
                      <a:pt x="1331" y="1170"/>
                      <a:pt x="1309" y="1158"/>
                      <a:pt x="1286" y="1146"/>
                    </a:cubicBezTo>
                    <a:cubicBezTo>
                      <a:pt x="1233" y="1138"/>
                      <a:pt x="1180" y="1129"/>
                      <a:pt x="1127" y="1121"/>
                    </a:cubicBezTo>
                    <a:cubicBezTo>
                      <a:pt x="1068" y="1121"/>
                      <a:pt x="1009" y="1121"/>
                      <a:pt x="950" y="1121"/>
                    </a:cubicBezTo>
                    <a:cubicBezTo>
                      <a:pt x="940" y="1196"/>
                      <a:pt x="930" y="1271"/>
                      <a:pt x="919" y="1347"/>
                    </a:cubicBezTo>
                    <a:cubicBezTo>
                      <a:pt x="856" y="1414"/>
                      <a:pt x="793" y="1482"/>
                      <a:pt x="729" y="1550"/>
                    </a:cubicBezTo>
                    <a:cubicBezTo>
                      <a:pt x="715" y="1605"/>
                      <a:pt x="701" y="1660"/>
                      <a:pt x="686" y="1715"/>
                    </a:cubicBezTo>
                    <a:cubicBezTo>
                      <a:pt x="690" y="1786"/>
                      <a:pt x="694" y="1857"/>
                      <a:pt x="698" y="1929"/>
                    </a:cubicBezTo>
                    <a:cubicBezTo>
                      <a:pt x="684" y="1978"/>
                      <a:pt x="670" y="2027"/>
                      <a:pt x="656" y="2076"/>
                    </a:cubicBezTo>
                    <a:cubicBezTo>
                      <a:pt x="658" y="2074"/>
                      <a:pt x="660" y="2072"/>
                      <a:pt x="661" y="2070"/>
                    </a:cubicBezTo>
                    <a:cubicBezTo>
                      <a:pt x="661" y="2092"/>
                      <a:pt x="661" y="2115"/>
                      <a:pt x="661" y="2138"/>
                    </a:cubicBezTo>
                    <a:cubicBezTo>
                      <a:pt x="696" y="2138"/>
                      <a:pt x="731" y="2138"/>
                      <a:pt x="766" y="2138"/>
                    </a:cubicBezTo>
                    <a:cubicBezTo>
                      <a:pt x="801" y="2144"/>
                      <a:pt x="836" y="2150"/>
                      <a:pt x="870" y="2156"/>
                    </a:cubicBezTo>
                    <a:cubicBezTo>
                      <a:pt x="911" y="2172"/>
                      <a:pt x="952" y="2188"/>
                      <a:pt x="992" y="2205"/>
                    </a:cubicBezTo>
                    <a:cubicBezTo>
                      <a:pt x="1029" y="2217"/>
                      <a:pt x="1066" y="2229"/>
                      <a:pt x="1103" y="2241"/>
                    </a:cubicBezTo>
                    <a:cubicBezTo>
                      <a:pt x="1148" y="2245"/>
                      <a:pt x="1193" y="2249"/>
                      <a:pt x="1237" y="2254"/>
                    </a:cubicBezTo>
                    <a:cubicBezTo>
                      <a:pt x="1276" y="2278"/>
                      <a:pt x="1315" y="2302"/>
                      <a:pt x="1353" y="2327"/>
                    </a:cubicBezTo>
                    <a:cubicBezTo>
                      <a:pt x="1347" y="2349"/>
                      <a:pt x="1341" y="2372"/>
                      <a:pt x="1335" y="2395"/>
                    </a:cubicBezTo>
                    <a:cubicBezTo>
                      <a:pt x="1315" y="2397"/>
                      <a:pt x="1295" y="2399"/>
                      <a:pt x="1274" y="2401"/>
                    </a:cubicBezTo>
                    <a:cubicBezTo>
                      <a:pt x="1256" y="2427"/>
                      <a:pt x="1238" y="2453"/>
                      <a:pt x="1219" y="2480"/>
                    </a:cubicBezTo>
                    <a:cubicBezTo>
                      <a:pt x="1213" y="2498"/>
                      <a:pt x="1207" y="2516"/>
                      <a:pt x="1200" y="2535"/>
                    </a:cubicBezTo>
                    <a:cubicBezTo>
                      <a:pt x="1207" y="2555"/>
                      <a:pt x="1213" y="2575"/>
                      <a:pt x="1219" y="2596"/>
                    </a:cubicBezTo>
                    <a:cubicBezTo>
                      <a:pt x="1266" y="2633"/>
                      <a:pt x="1313" y="2670"/>
                      <a:pt x="1360" y="2707"/>
                    </a:cubicBezTo>
                    <a:cubicBezTo>
                      <a:pt x="1381" y="2715"/>
                      <a:pt x="1401" y="2723"/>
                      <a:pt x="1421" y="2731"/>
                    </a:cubicBezTo>
                    <a:cubicBezTo>
                      <a:pt x="1423" y="2782"/>
                      <a:pt x="1425" y="2833"/>
                      <a:pt x="1427" y="2885"/>
                    </a:cubicBezTo>
                    <a:cubicBezTo>
                      <a:pt x="1452" y="2885"/>
                      <a:pt x="1476" y="2885"/>
                      <a:pt x="1500" y="2885"/>
                    </a:cubicBezTo>
                    <a:cubicBezTo>
                      <a:pt x="1500" y="2899"/>
                      <a:pt x="1500" y="2913"/>
                      <a:pt x="1500" y="2927"/>
                    </a:cubicBezTo>
                    <a:cubicBezTo>
                      <a:pt x="1503" y="2965"/>
                      <a:pt x="1505" y="3004"/>
                      <a:pt x="1507" y="3043"/>
                    </a:cubicBezTo>
                    <a:cubicBezTo>
                      <a:pt x="1505" y="3063"/>
                      <a:pt x="1503" y="3084"/>
                      <a:pt x="1500" y="3105"/>
                    </a:cubicBezTo>
                    <a:cubicBezTo>
                      <a:pt x="1517" y="3131"/>
                      <a:pt x="1533" y="3157"/>
                      <a:pt x="1549" y="3184"/>
                    </a:cubicBezTo>
                    <a:cubicBezTo>
                      <a:pt x="1554" y="3214"/>
                      <a:pt x="1558" y="3245"/>
                      <a:pt x="1562" y="3276"/>
                    </a:cubicBezTo>
                    <a:cubicBezTo>
                      <a:pt x="1560" y="3323"/>
                      <a:pt x="1558" y="3370"/>
                      <a:pt x="1555" y="3417"/>
                    </a:cubicBezTo>
                    <a:cubicBezTo>
                      <a:pt x="1558" y="3458"/>
                      <a:pt x="1560" y="3499"/>
                      <a:pt x="1562" y="3540"/>
                    </a:cubicBezTo>
                    <a:cubicBezTo>
                      <a:pt x="1568" y="3605"/>
                      <a:pt x="1574" y="3670"/>
                      <a:pt x="1580" y="3735"/>
                    </a:cubicBezTo>
                    <a:cubicBezTo>
                      <a:pt x="1566" y="3727"/>
                      <a:pt x="1552" y="3719"/>
                      <a:pt x="1537" y="3711"/>
                    </a:cubicBezTo>
                    <a:cubicBezTo>
                      <a:pt x="1519" y="3703"/>
                      <a:pt x="1501" y="3695"/>
                      <a:pt x="1482" y="3687"/>
                    </a:cubicBezTo>
                    <a:cubicBezTo>
                      <a:pt x="1466" y="3672"/>
                      <a:pt x="1450" y="3658"/>
                      <a:pt x="1433" y="3644"/>
                    </a:cubicBezTo>
                    <a:cubicBezTo>
                      <a:pt x="1411" y="3646"/>
                      <a:pt x="1389" y="3648"/>
                      <a:pt x="1366" y="3650"/>
                    </a:cubicBezTo>
                    <a:cubicBezTo>
                      <a:pt x="1348" y="3652"/>
                      <a:pt x="1330" y="3654"/>
                      <a:pt x="1311" y="3656"/>
                    </a:cubicBezTo>
                    <a:cubicBezTo>
                      <a:pt x="1291" y="3670"/>
                      <a:pt x="1271" y="3684"/>
                      <a:pt x="1250" y="3699"/>
                    </a:cubicBezTo>
                    <a:cubicBezTo>
                      <a:pt x="1224" y="3727"/>
                      <a:pt x="1197" y="3755"/>
                      <a:pt x="1170" y="3784"/>
                    </a:cubicBezTo>
                    <a:cubicBezTo>
                      <a:pt x="1150" y="3810"/>
                      <a:pt x="1129" y="3837"/>
                      <a:pt x="1108" y="3864"/>
                    </a:cubicBezTo>
                    <a:cubicBezTo>
                      <a:pt x="1088" y="3872"/>
                      <a:pt x="1068" y="3880"/>
                      <a:pt x="1047" y="3889"/>
                    </a:cubicBezTo>
                    <a:cubicBezTo>
                      <a:pt x="1023" y="3895"/>
                      <a:pt x="999" y="3901"/>
                      <a:pt x="974" y="3907"/>
                    </a:cubicBezTo>
                    <a:cubicBezTo>
                      <a:pt x="952" y="3913"/>
                      <a:pt x="929" y="3919"/>
                      <a:pt x="906" y="3925"/>
                    </a:cubicBezTo>
                    <a:cubicBezTo>
                      <a:pt x="882" y="3931"/>
                      <a:pt x="858" y="3937"/>
                      <a:pt x="833" y="3944"/>
                    </a:cubicBezTo>
                    <a:cubicBezTo>
                      <a:pt x="797" y="3954"/>
                      <a:pt x="760" y="3964"/>
                      <a:pt x="723" y="3974"/>
                    </a:cubicBezTo>
                    <a:cubicBezTo>
                      <a:pt x="682" y="3961"/>
                      <a:pt x="641" y="3949"/>
                      <a:pt x="600" y="3937"/>
                    </a:cubicBezTo>
                    <a:cubicBezTo>
                      <a:pt x="586" y="3927"/>
                      <a:pt x="572" y="3917"/>
                      <a:pt x="558" y="3907"/>
                    </a:cubicBezTo>
                    <a:cubicBezTo>
                      <a:pt x="536" y="3882"/>
                      <a:pt x="513" y="3858"/>
                      <a:pt x="490" y="3834"/>
                    </a:cubicBezTo>
                    <a:cubicBezTo>
                      <a:pt x="466" y="3807"/>
                      <a:pt x="442" y="3780"/>
                      <a:pt x="417" y="3754"/>
                    </a:cubicBezTo>
                    <a:cubicBezTo>
                      <a:pt x="411" y="3737"/>
                      <a:pt x="405" y="3721"/>
                      <a:pt x="398" y="3705"/>
                    </a:cubicBezTo>
                    <a:cubicBezTo>
                      <a:pt x="370" y="3703"/>
                      <a:pt x="341" y="3701"/>
                      <a:pt x="312" y="3699"/>
                    </a:cubicBezTo>
                    <a:cubicBezTo>
                      <a:pt x="276" y="3695"/>
                      <a:pt x="239" y="3691"/>
                      <a:pt x="202" y="3687"/>
                    </a:cubicBezTo>
                    <a:cubicBezTo>
                      <a:pt x="162" y="3719"/>
                      <a:pt x="121" y="3751"/>
                      <a:pt x="80" y="3784"/>
                    </a:cubicBezTo>
                    <a:cubicBezTo>
                      <a:pt x="76" y="3821"/>
                      <a:pt x="72" y="3858"/>
                      <a:pt x="68" y="3895"/>
                    </a:cubicBezTo>
                    <a:cubicBezTo>
                      <a:pt x="72" y="3937"/>
                      <a:pt x="76" y="3980"/>
                      <a:pt x="80" y="4023"/>
                    </a:cubicBezTo>
                    <a:cubicBezTo>
                      <a:pt x="70" y="4064"/>
                      <a:pt x="60" y="4105"/>
                      <a:pt x="49" y="4146"/>
                    </a:cubicBezTo>
                    <a:cubicBezTo>
                      <a:pt x="70" y="4184"/>
                      <a:pt x="90" y="4223"/>
                      <a:pt x="110" y="4262"/>
                    </a:cubicBezTo>
                    <a:cubicBezTo>
                      <a:pt x="102" y="4276"/>
                      <a:pt x="94" y="4290"/>
                      <a:pt x="86" y="4305"/>
                    </a:cubicBezTo>
                    <a:cubicBezTo>
                      <a:pt x="76" y="4333"/>
                      <a:pt x="66" y="4362"/>
                      <a:pt x="55" y="4391"/>
                    </a:cubicBezTo>
                    <a:cubicBezTo>
                      <a:pt x="37" y="4429"/>
                      <a:pt x="19" y="4468"/>
                      <a:pt x="0" y="4507"/>
                    </a:cubicBezTo>
                    <a:cubicBezTo>
                      <a:pt x="9" y="4537"/>
                      <a:pt x="17" y="4568"/>
                      <a:pt x="25" y="4599"/>
                    </a:cubicBezTo>
                    <a:cubicBezTo>
                      <a:pt x="66" y="4631"/>
                      <a:pt x="107" y="4664"/>
                      <a:pt x="147" y="4697"/>
                    </a:cubicBezTo>
                    <a:cubicBezTo>
                      <a:pt x="170" y="4715"/>
                      <a:pt x="193" y="4733"/>
                      <a:pt x="215" y="4752"/>
                    </a:cubicBezTo>
                    <a:cubicBezTo>
                      <a:pt x="238" y="4770"/>
                      <a:pt x="260" y="4788"/>
                      <a:pt x="282" y="4807"/>
                    </a:cubicBezTo>
                    <a:cubicBezTo>
                      <a:pt x="305" y="4811"/>
                      <a:pt x="327" y="4815"/>
                      <a:pt x="349" y="4819"/>
                    </a:cubicBezTo>
                    <a:cubicBezTo>
                      <a:pt x="370" y="4831"/>
                      <a:pt x="391" y="4843"/>
                      <a:pt x="411" y="4856"/>
                    </a:cubicBezTo>
                    <a:cubicBezTo>
                      <a:pt x="427" y="4872"/>
                      <a:pt x="443" y="4888"/>
                      <a:pt x="459" y="4905"/>
                    </a:cubicBezTo>
                    <a:cubicBezTo>
                      <a:pt x="490" y="4929"/>
                      <a:pt x="521" y="4953"/>
                      <a:pt x="551" y="4978"/>
                    </a:cubicBezTo>
                    <a:cubicBezTo>
                      <a:pt x="584" y="4988"/>
                      <a:pt x="617" y="4998"/>
                      <a:pt x="649" y="5009"/>
                    </a:cubicBezTo>
                    <a:cubicBezTo>
                      <a:pt x="674" y="5019"/>
                      <a:pt x="699" y="5029"/>
                      <a:pt x="723" y="5039"/>
                    </a:cubicBezTo>
                    <a:cubicBezTo>
                      <a:pt x="746" y="5039"/>
                      <a:pt x="768" y="5039"/>
                      <a:pt x="790" y="5039"/>
                    </a:cubicBezTo>
                    <a:cubicBezTo>
                      <a:pt x="823" y="5053"/>
                      <a:pt x="856" y="5068"/>
                      <a:pt x="888" y="5083"/>
                    </a:cubicBezTo>
                    <a:cubicBezTo>
                      <a:pt x="925" y="5113"/>
                      <a:pt x="962" y="5143"/>
                      <a:pt x="998" y="5174"/>
                    </a:cubicBezTo>
                    <a:cubicBezTo>
                      <a:pt x="1005" y="5206"/>
                      <a:pt x="1011" y="5239"/>
                      <a:pt x="1017" y="5272"/>
                    </a:cubicBezTo>
                    <a:cubicBezTo>
                      <a:pt x="1001" y="5284"/>
                      <a:pt x="985" y="5296"/>
                      <a:pt x="968" y="5309"/>
                    </a:cubicBezTo>
                    <a:cubicBezTo>
                      <a:pt x="968" y="5337"/>
                      <a:pt x="968" y="5366"/>
                      <a:pt x="968" y="5395"/>
                    </a:cubicBezTo>
                    <a:cubicBezTo>
                      <a:pt x="954" y="5425"/>
                      <a:pt x="940" y="5455"/>
                      <a:pt x="925" y="5486"/>
                    </a:cubicBezTo>
                    <a:cubicBezTo>
                      <a:pt x="915" y="5504"/>
                      <a:pt x="905" y="5523"/>
                      <a:pt x="894" y="5542"/>
                    </a:cubicBezTo>
                    <a:cubicBezTo>
                      <a:pt x="894" y="5566"/>
                      <a:pt x="894" y="5590"/>
                      <a:pt x="894" y="5615"/>
                    </a:cubicBezTo>
                    <a:cubicBezTo>
                      <a:pt x="909" y="5653"/>
                      <a:pt x="923" y="5692"/>
                      <a:pt x="937" y="5731"/>
                    </a:cubicBezTo>
                    <a:cubicBezTo>
                      <a:pt x="930" y="5766"/>
                      <a:pt x="923" y="5802"/>
                      <a:pt x="916" y="5838"/>
                    </a:cubicBezTo>
                    <a:cubicBezTo>
                      <a:pt x="925" y="5853"/>
                      <a:pt x="934" y="5869"/>
                      <a:pt x="943" y="5885"/>
                    </a:cubicBezTo>
                    <a:cubicBezTo>
                      <a:pt x="966" y="5903"/>
                      <a:pt x="989" y="5921"/>
                      <a:pt x="1011" y="5940"/>
                    </a:cubicBezTo>
                    <a:cubicBezTo>
                      <a:pt x="1036" y="5919"/>
                      <a:pt x="1060" y="5898"/>
                      <a:pt x="1084" y="5878"/>
                    </a:cubicBezTo>
                    <a:cubicBezTo>
                      <a:pt x="1141" y="5880"/>
                      <a:pt x="1198" y="5882"/>
                      <a:pt x="1255" y="5885"/>
                    </a:cubicBezTo>
                    <a:cubicBezTo>
                      <a:pt x="1278" y="5889"/>
                      <a:pt x="1301" y="5893"/>
                      <a:pt x="1323" y="5897"/>
                    </a:cubicBezTo>
                    <a:cubicBezTo>
                      <a:pt x="1340" y="5905"/>
                      <a:pt x="1356" y="5913"/>
                      <a:pt x="1372" y="5921"/>
                    </a:cubicBezTo>
                    <a:cubicBezTo>
                      <a:pt x="1405" y="5949"/>
                      <a:pt x="1438" y="5978"/>
                      <a:pt x="1470" y="6007"/>
                    </a:cubicBezTo>
                    <a:cubicBezTo>
                      <a:pt x="1497" y="6011"/>
                      <a:pt x="1512" y="6013"/>
                      <a:pt x="1549" y="6019"/>
                    </a:cubicBezTo>
                    <a:cubicBezTo>
                      <a:pt x="1586" y="6025"/>
                      <a:pt x="1603" y="5999"/>
                      <a:pt x="1629" y="5989"/>
                    </a:cubicBezTo>
                    <a:cubicBezTo>
                      <a:pt x="1650" y="5942"/>
                      <a:pt x="1670" y="5895"/>
                      <a:pt x="1690" y="5848"/>
                    </a:cubicBezTo>
                    <a:cubicBezTo>
                      <a:pt x="1715" y="5842"/>
                      <a:pt x="1740" y="5836"/>
                      <a:pt x="1764" y="5830"/>
                    </a:cubicBezTo>
                    <a:cubicBezTo>
                      <a:pt x="1801" y="5825"/>
                      <a:pt x="1838" y="5821"/>
                      <a:pt x="1874" y="5817"/>
                    </a:cubicBezTo>
                    <a:cubicBezTo>
                      <a:pt x="1899" y="5831"/>
                      <a:pt x="1923" y="5845"/>
                      <a:pt x="1947" y="5860"/>
                    </a:cubicBezTo>
                    <a:cubicBezTo>
                      <a:pt x="1968" y="5854"/>
                      <a:pt x="1989" y="5848"/>
                      <a:pt x="2009" y="5842"/>
                    </a:cubicBezTo>
                    <a:cubicBezTo>
                      <a:pt x="2044" y="5823"/>
                      <a:pt x="2079" y="5804"/>
                      <a:pt x="2113" y="5786"/>
                    </a:cubicBezTo>
                    <a:cubicBezTo>
                      <a:pt x="2152" y="5770"/>
                      <a:pt x="2191" y="5754"/>
                      <a:pt x="2229" y="5738"/>
                    </a:cubicBezTo>
                    <a:cubicBezTo>
                      <a:pt x="2272" y="5727"/>
                      <a:pt x="2315" y="5717"/>
                      <a:pt x="2358" y="5707"/>
                    </a:cubicBezTo>
                    <a:cubicBezTo>
                      <a:pt x="2375" y="5660"/>
                      <a:pt x="2391" y="5613"/>
                      <a:pt x="2407" y="5566"/>
                    </a:cubicBezTo>
                    <a:cubicBezTo>
                      <a:pt x="2419" y="5558"/>
                      <a:pt x="2431" y="5550"/>
                      <a:pt x="2443" y="5542"/>
                    </a:cubicBezTo>
                    <a:cubicBezTo>
                      <a:pt x="2464" y="5519"/>
                      <a:pt x="2485" y="5497"/>
                      <a:pt x="2505" y="5475"/>
                    </a:cubicBezTo>
                    <a:cubicBezTo>
                      <a:pt x="2532" y="5481"/>
                      <a:pt x="2558" y="5487"/>
                      <a:pt x="2584" y="5493"/>
                    </a:cubicBezTo>
                    <a:cubicBezTo>
                      <a:pt x="2617" y="5484"/>
                      <a:pt x="2650" y="5476"/>
                      <a:pt x="2682" y="5468"/>
                    </a:cubicBezTo>
                    <a:cubicBezTo>
                      <a:pt x="2701" y="5449"/>
                      <a:pt x="2719" y="5431"/>
                      <a:pt x="2737" y="5413"/>
                    </a:cubicBezTo>
                    <a:cubicBezTo>
                      <a:pt x="2758" y="5409"/>
                      <a:pt x="2779" y="5405"/>
                      <a:pt x="2799" y="5401"/>
                    </a:cubicBezTo>
                    <a:cubicBezTo>
                      <a:pt x="2832" y="5401"/>
                      <a:pt x="2854" y="5401"/>
                      <a:pt x="2896" y="5401"/>
                    </a:cubicBezTo>
                    <a:cubicBezTo>
                      <a:pt x="2939" y="5401"/>
                      <a:pt x="2978" y="5478"/>
                      <a:pt x="3019" y="5517"/>
                    </a:cubicBezTo>
                    <a:cubicBezTo>
                      <a:pt x="3044" y="5547"/>
                      <a:pt x="3069" y="5578"/>
                      <a:pt x="3093" y="5609"/>
                    </a:cubicBezTo>
                    <a:cubicBezTo>
                      <a:pt x="3138" y="5613"/>
                      <a:pt x="3203" y="5621"/>
                      <a:pt x="3227" y="5621"/>
                    </a:cubicBezTo>
                    <a:cubicBezTo>
                      <a:pt x="3252" y="5621"/>
                      <a:pt x="3309" y="5645"/>
                      <a:pt x="3350" y="5658"/>
                    </a:cubicBezTo>
                    <a:cubicBezTo>
                      <a:pt x="3379" y="5692"/>
                      <a:pt x="3407" y="5727"/>
                      <a:pt x="3435" y="5762"/>
                    </a:cubicBezTo>
                    <a:cubicBezTo>
                      <a:pt x="3478" y="5756"/>
                      <a:pt x="3521" y="5750"/>
                      <a:pt x="3564" y="5744"/>
                    </a:cubicBezTo>
                    <a:cubicBezTo>
                      <a:pt x="3609" y="5744"/>
                      <a:pt x="3654" y="5744"/>
                      <a:pt x="3698" y="5744"/>
                    </a:cubicBezTo>
                    <a:cubicBezTo>
                      <a:pt x="3717" y="5784"/>
                      <a:pt x="3736" y="5825"/>
                      <a:pt x="3754" y="5866"/>
                    </a:cubicBezTo>
                    <a:cubicBezTo>
                      <a:pt x="3779" y="5870"/>
                      <a:pt x="3803" y="5874"/>
                      <a:pt x="3827" y="5878"/>
                    </a:cubicBezTo>
                    <a:cubicBezTo>
                      <a:pt x="3860" y="5882"/>
                      <a:pt x="3893" y="5886"/>
                      <a:pt x="3925" y="5891"/>
                    </a:cubicBezTo>
                    <a:cubicBezTo>
                      <a:pt x="3962" y="5891"/>
                      <a:pt x="3999" y="5891"/>
                      <a:pt x="4035" y="5891"/>
                    </a:cubicBezTo>
                    <a:cubicBezTo>
                      <a:pt x="4054" y="5942"/>
                      <a:pt x="4072" y="5993"/>
                      <a:pt x="4090" y="6044"/>
                    </a:cubicBezTo>
                    <a:cubicBezTo>
                      <a:pt x="4119" y="6113"/>
                      <a:pt x="4148" y="6182"/>
                      <a:pt x="4176" y="6252"/>
                    </a:cubicBezTo>
                    <a:cubicBezTo>
                      <a:pt x="4201" y="6207"/>
                      <a:pt x="4226" y="6162"/>
                      <a:pt x="4250" y="6117"/>
                    </a:cubicBezTo>
                    <a:cubicBezTo>
                      <a:pt x="4293" y="6119"/>
                      <a:pt x="4336" y="6121"/>
                      <a:pt x="4378" y="6123"/>
                    </a:cubicBezTo>
                    <a:cubicBezTo>
                      <a:pt x="4393" y="6176"/>
                      <a:pt x="4407" y="6229"/>
                      <a:pt x="4421" y="6283"/>
                    </a:cubicBezTo>
                    <a:cubicBezTo>
                      <a:pt x="4417" y="6323"/>
                      <a:pt x="4413" y="6364"/>
                      <a:pt x="4409" y="6405"/>
                    </a:cubicBezTo>
                    <a:cubicBezTo>
                      <a:pt x="4452" y="6401"/>
                      <a:pt x="4495" y="6397"/>
                      <a:pt x="4538" y="6393"/>
                    </a:cubicBezTo>
                    <a:cubicBezTo>
                      <a:pt x="4565" y="6415"/>
                      <a:pt x="4591" y="6437"/>
                      <a:pt x="4617" y="6460"/>
                    </a:cubicBezTo>
                    <a:cubicBezTo>
                      <a:pt x="4636" y="6488"/>
                      <a:pt x="4654" y="6517"/>
                      <a:pt x="4672" y="6545"/>
                    </a:cubicBezTo>
                    <a:cubicBezTo>
                      <a:pt x="4687" y="6576"/>
                      <a:pt x="4701" y="6607"/>
                      <a:pt x="4715" y="6637"/>
                    </a:cubicBezTo>
                    <a:cubicBezTo>
                      <a:pt x="4756" y="6637"/>
                      <a:pt x="4797" y="6637"/>
                      <a:pt x="4838" y="6637"/>
                    </a:cubicBezTo>
                    <a:cubicBezTo>
                      <a:pt x="4885" y="6637"/>
                      <a:pt x="4932" y="6637"/>
                      <a:pt x="4978" y="6637"/>
                    </a:cubicBezTo>
                    <a:cubicBezTo>
                      <a:pt x="4989" y="6651"/>
                      <a:pt x="4999" y="6665"/>
                      <a:pt x="5009" y="6679"/>
                    </a:cubicBezTo>
                    <a:cubicBezTo>
                      <a:pt x="5024" y="6688"/>
                      <a:pt x="5038" y="6696"/>
                      <a:pt x="5052" y="6704"/>
                    </a:cubicBezTo>
                    <a:cubicBezTo>
                      <a:pt x="5091" y="6702"/>
                      <a:pt x="5130" y="6700"/>
                      <a:pt x="5168" y="6698"/>
                    </a:cubicBezTo>
                    <a:cubicBezTo>
                      <a:pt x="5193" y="6674"/>
                      <a:pt x="5218" y="6649"/>
                      <a:pt x="5242" y="6624"/>
                    </a:cubicBezTo>
                    <a:cubicBezTo>
                      <a:pt x="5246" y="6688"/>
                      <a:pt x="5250" y="6751"/>
                      <a:pt x="5254" y="6814"/>
                    </a:cubicBezTo>
                    <a:cubicBezTo>
                      <a:pt x="5277" y="6837"/>
                      <a:pt x="5300" y="6860"/>
                      <a:pt x="5322" y="6882"/>
                    </a:cubicBezTo>
                    <a:cubicBezTo>
                      <a:pt x="5355" y="6913"/>
                      <a:pt x="5387" y="6943"/>
                      <a:pt x="5419" y="6973"/>
                    </a:cubicBezTo>
                    <a:cubicBezTo>
                      <a:pt x="5466" y="6969"/>
                      <a:pt x="5513" y="6965"/>
                      <a:pt x="5560" y="6961"/>
                    </a:cubicBezTo>
                    <a:cubicBezTo>
                      <a:pt x="5599" y="6957"/>
                      <a:pt x="5638" y="6953"/>
                      <a:pt x="5677" y="6949"/>
                    </a:cubicBezTo>
                    <a:cubicBezTo>
                      <a:pt x="5712" y="6919"/>
                      <a:pt x="5746" y="6888"/>
                      <a:pt x="5780" y="6857"/>
                    </a:cubicBezTo>
                    <a:cubicBezTo>
                      <a:pt x="5813" y="6831"/>
                      <a:pt x="5846" y="6804"/>
                      <a:pt x="5879" y="6777"/>
                    </a:cubicBezTo>
                    <a:cubicBezTo>
                      <a:pt x="5908" y="6745"/>
                      <a:pt x="5936" y="6712"/>
                      <a:pt x="5964" y="6679"/>
                    </a:cubicBezTo>
                    <a:cubicBezTo>
                      <a:pt x="5977" y="6647"/>
                      <a:pt x="5989" y="6615"/>
                      <a:pt x="6001" y="6582"/>
                    </a:cubicBezTo>
                    <a:cubicBezTo>
                      <a:pt x="5969" y="6550"/>
                      <a:pt x="5936" y="6517"/>
                      <a:pt x="5903" y="6485"/>
                    </a:cubicBezTo>
                    <a:cubicBezTo>
                      <a:pt x="5901" y="6444"/>
                      <a:pt x="5899" y="6403"/>
                      <a:pt x="5897" y="6362"/>
                    </a:cubicBezTo>
                    <a:cubicBezTo>
                      <a:pt x="5901" y="6337"/>
                      <a:pt x="5905" y="6313"/>
                      <a:pt x="5909" y="6289"/>
                    </a:cubicBezTo>
                    <a:cubicBezTo>
                      <a:pt x="5930" y="6272"/>
                      <a:pt x="5950" y="6256"/>
                      <a:pt x="5970" y="6240"/>
                    </a:cubicBezTo>
                    <a:cubicBezTo>
                      <a:pt x="5979" y="6217"/>
                      <a:pt x="5987" y="6194"/>
                      <a:pt x="5995" y="6172"/>
                    </a:cubicBezTo>
                    <a:cubicBezTo>
                      <a:pt x="5995" y="6147"/>
                      <a:pt x="5995" y="6123"/>
                      <a:pt x="5995" y="6099"/>
                    </a:cubicBezTo>
                    <a:cubicBezTo>
                      <a:pt x="6014" y="6076"/>
                      <a:pt x="6032" y="6053"/>
                      <a:pt x="6050" y="6031"/>
                    </a:cubicBezTo>
                    <a:cubicBezTo>
                      <a:pt x="6048" y="6008"/>
                      <a:pt x="6046" y="5986"/>
                      <a:pt x="6044" y="5964"/>
                    </a:cubicBezTo>
                    <a:cubicBezTo>
                      <a:pt x="6030" y="5945"/>
                      <a:pt x="6016" y="5927"/>
                      <a:pt x="6001" y="5909"/>
                    </a:cubicBezTo>
                    <a:cubicBezTo>
                      <a:pt x="5967" y="5874"/>
                      <a:pt x="5932" y="5839"/>
                      <a:pt x="5897" y="5805"/>
                    </a:cubicBezTo>
                    <a:cubicBezTo>
                      <a:pt x="5875" y="5786"/>
                      <a:pt x="5853" y="5768"/>
                      <a:pt x="5830" y="5750"/>
                    </a:cubicBezTo>
                    <a:cubicBezTo>
                      <a:pt x="5812" y="5721"/>
                      <a:pt x="5793" y="5692"/>
                      <a:pt x="5774" y="5664"/>
                    </a:cubicBezTo>
                    <a:cubicBezTo>
                      <a:pt x="5768" y="5645"/>
                      <a:pt x="5762" y="5627"/>
                      <a:pt x="5756" y="5609"/>
                    </a:cubicBezTo>
                    <a:cubicBezTo>
                      <a:pt x="5748" y="5574"/>
                      <a:pt x="5740" y="5539"/>
                      <a:pt x="5732" y="5505"/>
                    </a:cubicBezTo>
                    <a:cubicBezTo>
                      <a:pt x="5732" y="5458"/>
                      <a:pt x="5732" y="5411"/>
                      <a:pt x="5732" y="5364"/>
                    </a:cubicBezTo>
                    <a:cubicBezTo>
                      <a:pt x="5757" y="5341"/>
                      <a:pt x="5781" y="5319"/>
                      <a:pt x="5805" y="5297"/>
                    </a:cubicBezTo>
                    <a:cubicBezTo>
                      <a:pt x="5832" y="5301"/>
                      <a:pt x="5859" y="5305"/>
                      <a:pt x="5885" y="5309"/>
                    </a:cubicBezTo>
                    <a:cubicBezTo>
                      <a:pt x="5885" y="5280"/>
                      <a:pt x="5885" y="5251"/>
                      <a:pt x="5885" y="5223"/>
                    </a:cubicBezTo>
                    <a:cubicBezTo>
                      <a:pt x="5904" y="5192"/>
                      <a:pt x="5922" y="5161"/>
                      <a:pt x="5940" y="5131"/>
                    </a:cubicBezTo>
                    <a:cubicBezTo>
                      <a:pt x="5934" y="5092"/>
                      <a:pt x="5928" y="5053"/>
                      <a:pt x="5921" y="5015"/>
                    </a:cubicBezTo>
                    <a:cubicBezTo>
                      <a:pt x="5915" y="4982"/>
                      <a:pt x="5909" y="4949"/>
                      <a:pt x="5903" y="4917"/>
                    </a:cubicBezTo>
                    <a:cubicBezTo>
                      <a:pt x="5932" y="4876"/>
                      <a:pt x="5961" y="4835"/>
                      <a:pt x="5989" y="4795"/>
                    </a:cubicBezTo>
                    <a:cubicBezTo>
                      <a:pt x="6004" y="4774"/>
                      <a:pt x="6018" y="4754"/>
                      <a:pt x="6032" y="4734"/>
                    </a:cubicBezTo>
                    <a:cubicBezTo>
                      <a:pt x="6061" y="4709"/>
                      <a:pt x="6089" y="4684"/>
                      <a:pt x="6117" y="4660"/>
                    </a:cubicBezTo>
                    <a:cubicBezTo>
                      <a:pt x="6168" y="4649"/>
                      <a:pt x="6219" y="4639"/>
                      <a:pt x="6270" y="4629"/>
                    </a:cubicBezTo>
                    <a:cubicBezTo>
                      <a:pt x="6295" y="4621"/>
                      <a:pt x="6320" y="4613"/>
                      <a:pt x="6344" y="4605"/>
                    </a:cubicBezTo>
                    <a:cubicBezTo>
                      <a:pt x="6383" y="4629"/>
                      <a:pt x="6422" y="4653"/>
                      <a:pt x="6460" y="4678"/>
                    </a:cubicBezTo>
                    <a:cubicBezTo>
                      <a:pt x="6481" y="4698"/>
                      <a:pt x="6501" y="4718"/>
                      <a:pt x="6521" y="4739"/>
                    </a:cubicBezTo>
                    <a:cubicBezTo>
                      <a:pt x="6550" y="4716"/>
                      <a:pt x="6578" y="4694"/>
                      <a:pt x="6607" y="4672"/>
                    </a:cubicBezTo>
                    <a:cubicBezTo>
                      <a:pt x="6627" y="4653"/>
                      <a:pt x="6648" y="4635"/>
                      <a:pt x="6668" y="4617"/>
                    </a:cubicBezTo>
                    <a:cubicBezTo>
                      <a:pt x="6668" y="4582"/>
                      <a:pt x="6668" y="4547"/>
                      <a:pt x="6668" y="4513"/>
                    </a:cubicBezTo>
                    <a:cubicBezTo>
                      <a:pt x="6695" y="4500"/>
                      <a:pt x="6721" y="4488"/>
                      <a:pt x="6748" y="4476"/>
                    </a:cubicBezTo>
                    <a:cubicBezTo>
                      <a:pt x="6779" y="4459"/>
                      <a:pt x="6809" y="4443"/>
                      <a:pt x="6840" y="4427"/>
                    </a:cubicBezTo>
                    <a:cubicBezTo>
                      <a:pt x="6848" y="4402"/>
                      <a:pt x="6856" y="4378"/>
                      <a:pt x="6864" y="4354"/>
                    </a:cubicBezTo>
                    <a:cubicBezTo>
                      <a:pt x="6866" y="4309"/>
                      <a:pt x="6869" y="4264"/>
                      <a:pt x="6871" y="4219"/>
                    </a:cubicBezTo>
                    <a:cubicBezTo>
                      <a:pt x="6901" y="4202"/>
                      <a:pt x="6932" y="4186"/>
                      <a:pt x="6962" y="4170"/>
                    </a:cubicBezTo>
                    <a:cubicBezTo>
                      <a:pt x="7001" y="4153"/>
                      <a:pt x="7040" y="4137"/>
                      <a:pt x="7079" y="4121"/>
                    </a:cubicBezTo>
                    <a:cubicBezTo>
                      <a:pt x="7122" y="4096"/>
                      <a:pt x="7164" y="4072"/>
                      <a:pt x="7207" y="4048"/>
                    </a:cubicBezTo>
                    <a:cubicBezTo>
                      <a:pt x="7232" y="4013"/>
                      <a:pt x="7256" y="3978"/>
                      <a:pt x="7281" y="3944"/>
                    </a:cubicBezTo>
                    <a:cubicBezTo>
                      <a:pt x="7314" y="3915"/>
                      <a:pt x="7346" y="3886"/>
                      <a:pt x="7379" y="3858"/>
                    </a:cubicBezTo>
                    <a:cubicBezTo>
                      <a:pt x="7414" y="3858"/>
                      <a:pt x="7448" y="3858"/>
                      <a:pt x="7483" y="3858"/>
                    </a:cubicBezTo>
                    <a:cubicBezTo>
                      <a:pt x="7524" y="3886"/>
                      <a:pt x="7564" y="3915"/>
                      <a:pt x="7605" y="3944"/>
                    </a:cubicBezTo>
                    <a:cubicBezTo>
                      <a:pt x="7628" y="3960"/>
                      <a:pt x="7650" y="3976"/>
                      <a:pt x="7673" y="3993"/>
                    </a:cubicBezTo>
                    <a:cubicBezTo>
                      <a:pt x="7685" y="3976"/>
                      <a:pt x="7697" y="3960"/>
                      <a:pt x="7709" y="3944"/>
                    </a:cubicBezTo>
                    <a:cubicBezTo>
                      <a:pt x="7711" y="3911"/>
                      <a:pt x="7713" y="3878"/>
                      <a:pt x="7715" y="3846"/>
                    </a:cubicBezTo>
                    <a:cubicBezTo>
                      <a:pt x="7703" y="3811"/>
                      <a:pt x="7691" y="3776"/>
                      <a:pt x="7679" y="3742"/>
                    </a:cubicBezTo>
                    <a:cubicBezTo>
                      <a:pt x="7724" y="3725"/>
                      <a:pt x="7768" y="3709"/>
                      <a:pt x="7813" y="3693"/>
                    </a:cubicBezTo>
                    <a:cubicBezTo>
                      <a:pt x="7823" y="3705"/>
                      <a:pt x="7834" y="3717"/>
                      <a:pt x="7844" y="3729"/>
                    </a:cubicBezTo>
                    <a:cubicBezTo>
                      <a:pt x="7870" y="3702"/>
                      <a:pt x="7897" y="3676"/>
                      <a:pt x="7923" y="3650"/>
                    </a:cubicBezTo>
                    <a:cubicBezTo>
                      <a:pt x="7951" y="3622"/>
                      <a:pt x="7978" y="3594"/>
                      <a:pt x="8006" y="3567"/>
                    </a:cubicBezTo>
                    <a:cubicBezTo>
                      <a:pt x="8005" y="3565"/>
                      <a:pt x="8005" y="3564"/>
                      <a:pt x="8004" y="3563"/>
                    </a:cubicBezTo>
                    <a:cubicBezTo>
                      <a:pt x="7989" y="3545"/>
                      <a:pt x="7975" y="3527"/>
                      <a:pt x="7960" y="3509"/>
                    </a:cubicBezTo>
                    <a:cubicBezTo>
                      <a:pt x="7942" y="3509"/>
                      <a:pt x="7923" y="3509"/>
                      <a:pt x="7905" y="3509"/>
                    </a:cubicBezTo>
                    <a:cubicBezTo>
                      <a:pt x="7881" y="3500"/>
                      <a:pt x="7856" y="3492"/>
                      <a:pt x="7832" y="3484"/>
                    </a:cubicBezTo>
                    <a:cubicBezTo>
                      <a:pt x="7805" y="3455"/>
                      <a:pt x="7779" y="3427"/>
                      <a:pt x="7752" y="3399"/>
                    </a:cubicBezTo>
                    <a:cubicBezTo>
                      <a:pt x="7730" y="3395"/>
                      <a:pt x="7707" y="3391"/>
                      <a:pt x="7685" y="3387"/>
                    </a:cubicBezTo>
                    <a:cubicBezTo>
                      <a:pt x="7673" y="3344"/>
                      <a:pt x="7660" y="3301"/>
                      <a:pt x="7648" y="3258"/>
                    </a:cubicBezTo>
                    <a:cubicBezTo>
                      <a:pt x="7640" y="3227"/>
                      <a:pt x="7631" y="3196"/>
                      <a:pt x="7623" y="3166"/>
                    </a:cubicBezTo>
                    <a:cubicBezTo>
                      <a:pt x="7611" y="3133"/>
                      <a:pt x="7599" y="3100"/>
                      <a:pt x="7587" y="3068"/>
                    </a:cubicBezTo>
                    <a:cubicBezTo>
                      <a:pt x="7587" y="3021"/>
                      <a:pt x="7587" y="2974"/>
                      <a:pt x="7587" y="2927"/>
                    </a:cubicBezTo>
                    <a:cubicBezTo>
                      <a:pt x="7556" y="2919"/>
                      <a:pt x="7526" y="2911"/>
                      <a:pt x="7495" y="2903"/>
                    </a:cubicBezTo>
                    <a:cubicBezTo>
                      <a:pt x="7487" y="2890"/>
                      <a:pt x="7478" y="2878"/>
                      <a:pt x="7470" y="2866"/>
                    </a:cubicBezTo>
                    <a:cubicBezTo>
                      <a:pt x="7448" y="2837"/>
                      <a:pt x="7425" y="2808"/>
                      <a:pt x="7403" y="2780"/>
                    </a:cubicBezTo>
                    <a:cubicBezTo>
                      <a:pt x="7395" y="2743"/>
                      <a:pt x="7387" y="2706"/>
                      <a:pt x="7379" y="2670"/>
                    </a:cubicBezTo>
                    <a:cubicBezTo>
                      <a:pt x="7326" y="2641"/>
                      <a:pt x="7272" y="2613"/>
                      <a:pt x="7219" y="2585"/>
                    </a:cubicBezTo>
                    <a:cubicBezTo>
                      <a:pt x="7207" y="2548"/>
                      <a:pt x="7195" y="2511"/>
                      <a:pt x="7183" y="2474"/>
                    </a:cubicBezTo>
                    <a:cubicBezTo>
                      <a:pt x="7197" y="2455"/>
                      <a:pt x="7212" y="2437"/>
                      <a:pt x="7226" y="2419"/>
                    </a:cubicBezTo>
                    <a:cubicBezTo>
                      <a:pt x="7224" y="2315"/>
                      <a:pt x="7221" y="2211"/>
                      <a:pt x="7219" y="2107"/>
                    </a:cubicBezTo>
                    <a:cubicBezTo>
                      <a:pt x="7244" y="2054"/>
                      <a:pt x="7268" y="2001"/>
                      <a:pt x="7293" y="1948"/>
                    </a:cubicBezTo>
                    <a:cubicBezTo>
                      <a:pt x="7317" y="1903"/>
                      <a:pt x="7342" y="1858"/>
                      <a:pt x="7366" y="1813"/>
                    </a:cubicBezTo>
                    <a:cubicBezTo>
                      <a:pt x="7395" y="1764"/>
                      <a:pt x="7423" y="1715"/>
                      <a:pt x="7452" y="1666"/>
                    </a:cubicBezTo>
                    <a:cubicBezTo>
                      <a:pt x="7432" y="1608"/>
                      <a:pt x="7411" y="1551"/>
                      <a:pt x="7391" y="1494"/>
                    </a:cubicBezTo>
                    <a:cubicBezTo>
                      <a:pt x="7391" y="1463"/>
                      <a:pt x="7391" y="1433"/>
                      <a:pt x="7391" y="1403"/>
                    </a:cubicBezTo>
                    <a:cubicBezTo>
                      <a:pt x="7381" y="1368"/>
                      <a:pt x="7370" y="1333"/>
                      <a:pt x="7360" y="1299"/>
                    </a:cubicBezTo>
                    <a:cubicBezTo>
                      <a:pt x="7325" y="1189"/>
                      <a:pt x="7291" y="1078"/>
                      <a:pt x="7256" y="968"/>
                    </a:cubicBezTo>
                    <a:cubicBezTo>
                      <a:pt x="7225" y="931"/>
                      <a:pt x="7195" y="895"/>
                      <a:pt x="7164" y="858"/>
                    </a:cubicBezTo>
                    <a:cubicBezTo>
                      <a:pt x="7121" y="882"/>
                      <a:pt x="7079" y="907"/>
                      <a:pt x="7036" y="931"/>
                    </a:cubicBezTo>
                    <a:cubicBezTo>
                      <a:pt x="6977" y="931"/>
                      <a:pt x="6917" y="931"/>
                      <a:pt x="6858" y="931"/>
                    </a:cubicBezTo>
                    <a:cubicBezTo>
                      <a:pt x="6829" y="898"/>
                      <a:pt x="6801" y="866"/>
                      <a:pt x="6772" y="833"/>
                    </a:cubicBezTo>
                    <a:cubicBezTo>
                      <a:pt x="6727" y="827"/>
                      <a:pt x="6683" y="821"/>
                      <a:pt x="6638" y="815"/>
                    </a:cubicBezTo>
                    <a:cubicBezTo>
                      <a:pt x="6632" y="833"/>
                      <a:pt x="6625" y="852"/>
                      <a:pt x="6619" y="870"/>
                    </a:cubicBezTo>
                    <a:cubicBezTo>
                      <a:pt x="6599" y="880"/>
                      <a:pt x="6578" y="891"/>
                      <a:pt x="6558" y="901"/>
                    </a:cubicBezTo>
                    <a:cubicBezTo>
                      <a:pt x="6550" y="874"/>
                      <a:pt x="6542" y="848"/>
                      <a:pt x="6534" y="821"/>
                    </a:cubicBezTo>
                    <a:cubicBezTo>
                      <a:pt x="6534" y="786"/>
                      <a:pt x="6534" y="752"/>
                      <a:pt x="6534" y="717"/>
                    </a:cubicBezTo>
                    <a:cubicBezTo>
                      <a:pt x="6504" y="688"/>
                      <a:pt x="6473" y="660"/>
                      <a:pt x="6442" y="631"/>
                    </a:cubicBezTo>
                    <a:cubicBezTo>
                      <a:pt x="6399" y="651"/>
                      <a:pt x="6356" y="672"/>
                      <a:pt x="6313" y="692"/>
                    </a:cubicBezTo>
                    <a:cubicBezTo>
                      <a:pt x="6238" y="651"/>
                      <a:pt x="6163" y="611"/>
                      <a:pt x="6087" y="570"/>
                    </a:cubicBezTo>
                    <a:cubicBezTo>
                      <a:pt x="6057" y="590"/>
                      <a:pt x="6026" y="611"/>
                      <a:pt x="5995" y="631"/>
                    </a:cubicBezTo>
                    <a:cubicBezTo>
                      <a:pt x="5954" y="621"/>
                      <a:pt x="5913" y="610"/>
                      <a:pt x="5872" y="600"/>
                    </a:cubicBezTo>
                    <a:cubicBezTo>
                      <a:pt x="5840" y="692"/>
                      <a:pt x="5807" y="784"/>
                      <a:pt x="5774" y="876"/>
                    </a:cubicBezTo>
                    <a:cubicBezTo>
                      <a:pt x="5730" y="909"/>
                      <a:pt x="5685" y="941"/>
                      <a:pt x="5640" y="974"/>
                    </a:cubicBezTo>
                    <a:cubicBezTo>
                      <a:pt x="5622" y="958"/>
                      <a:pt x="5604" y="941"/>
                      <a:pt x="5585" y="925"/>
                    </a:cubicBezTo>
                    <a:cubicBezTo>
                      <a:pt x="5567" y="925"/>
                      <a:pt x="5549" y="925"/>
                      <a:pt x="5530" y="925"/>
                    </a:cubicBezTo>
                    <a:cubicBezTo>
                      <a:pt x="5514" y="950"/>
                      <a:pt x="5497" y="974"/>
                      <a:pt x="5480" y="999"/>
                    </a:cubicBezTo>
                    <a:cubicBezTo>
                      <a:pt x="5466" y="985"/>
                      <a:pt x="5452" y="970"/>
                      <a:pt x="5438" y="956"/>
                    </a:cubicBezTo>
                    <a:cubicBezTo>
                      <a:pt x="5428" y="956"/>
                      <a:pt x="5418" y="956"/>
                      <a:pt x="5407" y="956"/>
                    </a:cubicBezTo>
                    <a:cubicBezTo>
                      <a:pt x="5340" y="962"/>
                      <a:pt x="5273" y="968"/>
                      <a:pt x="5205" y="974"/>
                    </a:cubicBezTo>
                    <a:cubicBezTo>
                      <a:pt x="5132" y="960"/>
                      <a:pt x="5058" y="945"/>
                      <a:pt x="4984" y="931"/>
                    </a:cubicBezTo>
                    <a:cubicBezTo>
                      <a:pt x="4964" y="947"/>
                      <a:pt x="4944" y="964"/>
                      <a:pt x="4923" y="980"/>
                    </a:cubicBezTo>
                    <a:cubicBezTo>
                      <a:pt x="4879" y="980"/>
                      <a:pt x="4834" y="980"/>
                      <a:pt x="4789" y="980"/>
                    </a:cubicBezTo>
                    <a:cubicBezTo>
                      <a:pt x="4648" y="900"/>
                      <a:pt x="4507" y="821"/>
                      <a:pt x="4366" y="741"/>
                    </a:cubicBezTo>
                    <a:cubicBezTo>
                      <a:pt x="4346" y="709"/>
                      <a:pt x="4326" y="676"/>
                      <a:pt x="4305" y="644"/>
                    </a:cubicBezTo>
                    <a:cubicBezTo>
                      <a:pt x="4191" y="585"/>
                      <a:pt x="4077" y="525"/>
                      <a:pt x="3962" y="466"/>
                    </a:cubicBezTo>
                    <a:cubicBezTo>
                      <a:pt x="3907" y="466"/>
                      <a:pt x="3852" y="466"/>
                      <a:pt x="3797" y="466"/>
                    </a:cubicBezTo>
                    <a:cubicBezTo>
                      <a:pt x="3793" y="480"/>
                      <a:pt x="3789" y="495"/>
                      <a:pt x="3784" y="509"/>
                    </a:cubicBezTo>
                    <a:cubicBezTo>
                      <a:pt x="3774" y="529"/>
                      <a:pt x="3764" y="550"/>
                      <a:pt x="3754" y="570"/>
                    </a:cubicBezTo>
                    <a:cubicBezTo>
                      <a:pt x="3681" y="564"/>
                      <a:pt x="3607" y="558"/>
                      <a:pt x="3533" y="552"/>
                    </a:cubicBezTo>
                    <a:cubicBezTo>
                      <a:pt x="3523" y="538"/>
                      <a:pt x="3513" y="523"/>
                      <a:pt x="3503" y="509"/>
                    </a:cubicBezTo>
                    <a:cubicBezTo>
                      <a:pt x="3479" y="493"/>
                      <a:pt x="3454" y="476"/>
                      <a:pt x="3429" y="460"/>
                    </a:cubicBezTo>
                    <a:cubicBezTo>
                      <a:pt x="3395" y="442"/>
                      <a:pt x="3360" y="423"/>
                      <a:pt x="3325" y="405"/>
                    </a:cubicBezTo>
                    <a:cubicBezTo>
                      <a:pt x="3274" y="399"/>
                      <a:pt x="3223" y="392"/>
                      <a:pt x="3172" y="386"/>
                    </a:cubicBezTo>
                    <a:cubicBezTo>
                      <a:pt x="3113" y="374"/>
                      <a:pt x="3054" y="362"/>
                      <a:pt x="2994" y="350"/>
                    </a:cubicBezTo>
                    <a:cubicBezTo>
                      <a:pt x="2956" y="297"/>
                      <a:pt x="2917" y="243"/>
                      <a:pt x="2878" y="190"/>
                    </a:cubicBezTo>
                    <a:cubicBezTo>
                      <a:pt x="2829" y="190"/>
                      <a:pt x="2780" y="190"/>
                      <a:pt x="2731" y="190"/>
                    </a:cubicBezTo>
                    <a:cubicBezTo>
                      <a:pt x="2652" y="151"/>
                      <a:pt x="2572" y="113"/>
                      <a:pt x="2492" y="74"/>
                    </a:cubicBezTo>
                    <a:cubicBezTo>
                      <a:pt x="2456" y="88"/>
                      <a:pt x="2419" y="103"/>
                      <a:pt x="2382" y="117"/>
                    </a:cubicBezTo>
                    <a:cubicBezTo>
                      <a:pt x="2350" y="95"/>
                      <a:pt x="2317" y="72"/>
                      <a:pt x="2284" y="50"/>
                    </a:cubicBezTo>
                    <a:cubicBezTo>
                      <a:pt x="2270" y="113"/>
                      <a:pt x="2256" y="176"/>
                      <a:pt x="2241" y="239"/>
                    </a:cubicBezTo>
                    <a:cubicBezTo>
                      <a:pt x="2194" y="237"/>
                      <a:pt x="2147" y="235"/>
                      <a:pt x="2100" y="233"/>
                    </a:cubicBezTo>
                    <a:cubicBezTo>
                      <a:pt x="2070" y="258"/>
                      <a:pt x="2040" y="282"/>
                      <a:pt x="2009" y="307"/>
                    </a:cubicBezTo>
                    <a:cubicBezTo>
                      <a:pt x="1979" y="303"/>
                      <a:pt x="1948" y="299"/>
                      <a:pt x="1917" y="295"/>
                    </a:cubicBezTo>
                    <a:cubicBezTo>
                      <a:pt x="1938" y="258"/>
                      <a:pt x="1958" y="221"/>
                      <a:pt x="1978" y="184"/>
                    </a:cubicBezTo>
                    <a:cubicBezTo>
                      <a:pt x="1952" y="143"/>
                      <a:pt x="1926" y="103"/>
                      <a:pt x="1899" y="62"/>
                    </a:cubicBezTo>
                    <a:cubicBezTo>
                      <a:pt x="1828" y="62"/>
                      <a:pt x="1756" y="62"/>
                      <a:pt x="1684" y="62"/>
                    </a:cubicBezTo>
                    <a:cubicBezTo>
                      <a:pt x="1668" y="46"/>
                      <a:pt x="1652" y="29"/>
                      <a:pt x="1635" y="13"/>
                    </a:cubicBezTo>
                    <a:cubicBezTo>
                      <a:pt x="1562" y="9"/>
                      <a:pt x="1489" y="4"/>
                      <a:pt x="1415" y="0"/>
                    </a:cubicBezTo>
                    <a:close/>
                    <a:moveTo>
                      <a:pt x="5850" y="2740"/>
                    </a:moveTo>
                    <a:cubicBezTo>
                      <a:pt x="5851" y="2740"/>
                      <a:pt x="5852" y="2740"/>
                      <a:pt x="5853" y="2740"/>
                    </a:cubicBezTo>
                    <a:cubicBezTo>
                      <a:pt x="5864" y="2747"/>
                      <a:pt x="5877" y="2752"/>
                      <a:pt x="5887" y="2760"/>
                    </a:cubicBezTo>
                    <a:cubicBezTo>
                      <a:pt x="5915" y="2768"/>
                      <a:pt x="5911" y="2794"/>
                      <a:pt x="5912" y="2817"/>
                    </a:cubicBezTo>
                    <a:cubicBezTo>
                      <a:pt x="5931" y="2845"/>
                      <a:pt x="5918" y="2880"/>
                      <a:pt x="5922" y="2911"/>
                    </a:cubicBezTo>
                    <a:cubicBezTo>
                      <a:pt x="5966" y="2942"/>
                      <a:pt x="6010" y="2973"/>
                      <a:pt x="6053" y="3005"/>
                    </a:cubicBezTo>
                    <a:cubicBezTo>
                      <a:pt x="6058" y="3014"/>
                      <a:pt x="6064" y="3015"/>
                      <a:pt x="6069" y="3013"/>
                    </a:cubicBezTo>
                    <a:cubicBezTo>
                      <a:pt x="6080" y="3009"/>
                      <a:pt x="6087" y="2986"/>
                      <a:pt x="6084" y="2973"/>
                    </a:cubicBezTo>
                    <a:cubicBezTo>
                      <a:pt x="6085" y="2953"/>
                      <a:pt x="6071" y="2926"/>
                      <a:pt x="6078" y="2910"/>
                    </a:cubicBezTo>
                    <a:cubicBezTo>
                      <a:pt x="6117" y="2905"/>
                      <a:pt x="6155" y="2918"/>
                      <a:pt x="6187" y="2938"/>
                    </a:cubicBezTo>
                    <a:cubicBezTo>
                      <a:pt x="6218" y="2949"/>
                      <a:pt x="6194" y="2974"/>
                      <a:pt x="6186" y="2993"/>
                    </a:cubicBezTo>
                    <a:cubicBezTo>
                      <a:pt x="6165" y="3017"/>
                      <a:pt x="6200" y="3024"/>
                      <a:pt x="6199" y="3048"/>
                    </a:cubicBezTo>
                    <a:cubicBezTo>
                      <a:pt x="6223" y="3056"/>
                      <a:pt x="6230" y="3083"/>
                      <a:pt x="6259" y="3079"/>
                    </a:cubicBezTo>
                    <a:cubicBezTo>
                      <a:pt x="6280" y="3077"/>
                      <a:pt x="6300" y="3066"/>
                      <a:pt x="6322" y="3076"/>
                    </a:cubicBezTo>
                    <a:cubicBezTo>
                      <a:pt x="6318" y="3115"/>
                      <a:pt x="6301" y="3151"/>
                      <a:pt x="6294" y="3189"/>
                    </a:cubicBezTo>
                    <a:cubicBezTo>
                      <a:pt x="6321" y="3188"/>
                      <a:pt x="6322" y="3211"/>
                      <a:pt x="6345" y="3210"/>
                    </a:cubicBezTo>
                    <a:cubicBezTo>
                      <a:pt x="6332" y="3242"/>
                      <a:pt x="6327" y="3275"/>
                      <a:pt x="6322" y="3309"/>
                    </a:cubicBezTo>
                    <a:cubicBezTo>
                      <a:pt x="6326" y="3336"/>
                      <a:pt x="6313" y="3359"/>
                      <a:pt x="6302" y="3383"/>
                    </a:cubicBezTo>
                    <a:cubicBezTo>
                      <a:pt x="6288" y="3403"/>
                      <a:pt x="6283" y="3424"/>
                      <a:pt x="6292" y="3447"/>
                    </a:cubicBezTo>
                    <a:cubicBezTo>
                      <a:pt x="6303" y="3471"/>
                      <a:pt x="6300" y="3494"/>
                      <a:pt x="6290" y="3518"/>
                    </a:cubicBezTo>
                    <a:cubicBezTo>
                      <a:pt x="6303" y="3534"/>
                      <a:pt x="6279" y="3554"/>
                      <a:pt x="6285" y="3577"/>
                    </a:cubicBezTo>
                    <a:cubicBezTo>
                      <a:pt x="6290" y="3604"/>
                      <a:pt x="6333" y="3586"/>
                      <a:pt x="6319" y="3564"/>
                    </a:cubicBezTo>
                    <a:cubicBezTo>
                      <a:pt x="6326" y="3564"/>
                      <a:pt x="6330" y="3565"/>
                      <a:pt x="6332" y="3567"/>
                    </a:cubicBezTo>
                    <a:cubicBezTo>
                      <a:pt x="6333" y="3567"/>
                      <a:pt x="6333" y="3567"/>
                      <a:pt x="6333" y="3567"/>
                    </a:cubicBezTo>
                    <a:cubicBezTo>
                      <a:pt x="6333" y="3567"/>
                      <a:pt x="6333" y="3567"/>
                      <a:pt x="6333" y="3568"/>
                    </a:cubicBezTo>
                    <a:cubicBezTo>
                      <a:pt x="6334" y="3568"/>
                      <a:pt x="6333" y="3568"/>
                      <a:pt x="6334" y="3568"/>
                    </a:cubicBezTo>
                    <a:cubicBezTo>
                      <a:pt x="6334" y="3568"/>
                      <a:pt x="6334" y="3568"/>
                      <a:pt x="6334" y="3569"/>
                    </a:cubicBezTo>
                    <a:cubicBezTo>
                      <a:pt x="6339" y="3580"/>
                      <a:pt x="6317" y="3601"/>
                      <a:pt x="6326" y="3616"/>
                    </a:cubicBezTo>
                    <a:cubicBezTo>
                      <a:pt x="6326" y="3617"/>
                      <a:pt x="6327" y="3618"/>
                      <a:pt x="6328" y="3619"/>
                    </a:cubicBezTo>
                    <a:cubicBezTo>
                      <a:pt x="6330" y="3621"/>
                      <a:pt x="6332" y="3623"/>
                      <a:pt x="6336" y="3625"/>
                    </a:cubicBezTo>
                    <a:cubicBezTo>
                      <a:pt x="6336" y="3630"/>
                      <a:pt x="6340" y="3640"/>
                      <a:pt x="6346" y="3647"/>
                    </a:cubicBezTo>
                    <a:cubicBezTo>
                      <a:pt x="6348" y="3649"/>
                      <a:pt x="6351" y="3651"/>
                      <a:pt x="6354" y="3652"/>
                    </a:cubicBezTo>
                    <a:cubicBezTo>
                      <a:pt x="6355" y="3652"/>
                      <a:pt x="6356" y="3652"/>
                      <a:pt x="6357" y="3652"/>
                    </a:cubicBezTo>
                    <a:cubicBezTo>
                      <a:pt x="6360" y="3651"/>
                      <a:pt x="6364" y="3648"/>
                      <a:pt x="6367" y="3641"/>
                    </a:cubicBezTo>
                    <a:cubicBezTo>
                      <a:pt x="6369" y="3645"/>
                      <a:pt x="6370" y="3648"/>
                      <a:pt x="6372" y="3650"/>
                    </a:cubicBezTo>
                    <a:cubicBezTo>
                      <a:pt x="6373" y="3651"/>
                      <a:pt x="6373" y="3652"/>
                      <a:pt x="6374" y="3652"/>
                    </a:cubicBezTo>
                    <a:cubicBezTo>
                      <a:pt x="6374" y="3653"/>
                      <a:pt x="6375" y="3653"/>
                      <a:pt x="6376" y="3654"/>
                    </a:cubicBezTo>
                    <a:cubicBezTo>
                      <a:pt x="6377" y="3654"/>
                      <a:pt x="6376" y="3654"/>
                      <a:pt x="6377" y="3654"/>
                    </a:cubicBezTo>
                    <a:cubicBezTo>
                      <a:pt x="6378" y="3654"/>
                      <a:pt x="6378" y="3654"/>
                      <a:pt x="6378" y="3654"/>
                    </a:cubicBezTo>
                    <a:cubicBezTo>
                      <a:pt x="6379" y="3654"/>
                      <a:pt x="6379" y="3654"/>
                      <a:pt x="6380" y="3654"/>
                    </a:cubicBezTo>
                    <a:cubicBezTo>
                      <a:pt x="6381" y="3654"/>
                      <a:pt x="6381" y="3654"/>
                      <a:pt x="6382" y="3654"/>
                    </a:cubicBezTo>
                    <a:cubicBezTo>
                      <a:pt x="6389" y="3654"/>
                      <a:pt x="6399" y="3647"/>
                      <a:pt x="6411" y="3641"/>
                    </a:cubicBezTo>
                    <a:cubicBezTo>
                      <a:pt x="6439" y="3636"/>
                      <a:pt x="6440" y="3673"/>
                      <a:pt x="6425" y="3687"/>
                    </a:cubicBezTo>
                    <a:cubicBezTo>
                      <a:pt x="6442" y="3701"/>
                      <a:pt x="6448" y="3732"/>
                      <a:pt x="6436" y="3748"/>
                    </a:cubicBezTo>
                    <a:cubicBezTo>
                      <a:pt x="6442" y="3766"/>
                      <a:pt x="6441" y="3777"/>
                      <a:pt x="6438" y="3783"/>
                    </a:cubicBezTo>
                    <a:cubicBezTo>
                      <a:pt x="6438" y="3784"/>
                      <a:pt x="6438" y="3783"/>
                      <a:pt x="6437" y="3784"/>
                    </a:cubicBezTo>
                    <a:cubicBezTo>
                      <a:pt x="6437" y="3785"/>
                      <a:pt x="6437" y="3784"/>
                      <a:pt x="6436" y="3785"/>
                    </a:cubicBezTo>
                    <a:cubicBezTo>
                      <a:pt x="6436" y="3786"/>
                      <a:pt x="6436" y="3785"/>
                      <a:pt x="6435" y="3786"/>
                    </a:cubicBezTo>
                    <a:cubicBezTo>
                      <a:pt x="6434" y="3786"/>
                      <a:pt x="6435" y="3786"/>
                      <a:pt x="6434" y="3787"/>
                    </a:cubicBezTo>
                    <a:cubicBezTo>
                      <a:pt x="6415" y="3796"/>
                      <a:pt x="6364" y="3762"/>
                      <a:pt x="6337" y="3759"/>
                    </a:cubicBezTo>
                    <a:cubicBezTo>
                      <a:pt x="6287" y="3751"/>
                      <a:pt x="6269" y="3695"/>
                      <a:pt x="6226" y="3675"/>
                    </a:cubicBezTo>
                    <a:cubicBezTo>
                      <a:pt x="6204" y="3653"/>
                      <a:pt x="6175" y="3667"/>
                      <a:pt x="6151" y="3676"/>
                    </a:cubicBezTo>
                    <a:cubicBezTo>
                      <a:pt x="6128" y="3668"/>
                      <a:pt x="6116" y="3666"/>
                      <a:pt x="6098" y="3684"/>
                    </a:cubicBezTo>
                    <a:cubicBezTo>
                      <a:pt x="6087" y="3678"/>
                      <a:pt x="6080" y="3676"/>
                      <a:pt x="6074" y="3677"/>
                    </a:cubicBezTo>
                    <a:cubicBezTo>
                      <a:pt x="6072" y="3678"/>
                      <a:pt x="6071" y="3678"/>
                      <a:pt x="6070" y="3679"/>
                    </a:cubicBezTo>
                    <a:cubicBezTo>
                      <a:pt x="6069" y="3679"/>
                      <a:pt x="6069" y="3679"/>
                      <a:pt x="6068" y="3680"/>
                    </a:cubicBezTo>
                    <a:cubicBezTo>
                      <a:pt x="6061" y="3684"/>
                      <a:pt x="6057" y="3693"/>
                      <a:pt x="6050" y="3704"/>
                    </a:cubicBezTo>
                    <a:cubicBezTo>
                      <a:pt x="6029" y="3718"/>
                      <a:pt x="6022" y="3741"/>
                      <a:pt x="6002" y="3754"/>
                    </a:cubicBezTo>
                    <a:cubicBezTo>
                      <a:pt x="5978" y="3790"/>
                      <a:pt x="5939" y="3784"/>
                      <a:pt x="5899" y="3784"/>
                    </a:cubicBezTo>
                    <a:cubicBezTo>
                      <a:pt x="5877" y="3792"/>
                      <a:pt x="5905" y="3828"/>
                      <a:pt x="5898" y="3847"/>
                    </a:cubicBezTo>
                    <a:cubicBezTo>
                      <a:pt x="5900" y="3860"/>
                      <a:pt x="5905" y="3871"/>
                      <a:pt x="5905" y="3877"/>
                    </a:cubicBezTo>
                    <a:cubicBezTo>
                      <a:pt x="5905" y="3878"/>
                      <a:pt x="5905" y="3878"/>
                      <a:pt x="5905" y="3879"/>
                    </a:cubicBezTo>
                    <a:cubicBezTo>
                      <a:pt x="5905" y="3880"/>
                      <a:pt x="5905" y="3879"/>
                      <a:pt x="5905" y="3880"/>
                    </a:cubicBezTo>
                    <a:cubicBezTo>
                      <a:pt x="5905" y="3880"/>
                      <a:pt x="5905" y="3880"/>
                      <a:pt x="5905" y="3881"/>
                    </a:cubicBezTo>
                    <a:cubicBezTo>
                      <a:pt x="5905" y="3881"/>
                      <a:pt x="5905" y="3881"/>
                      <a:pt x="5904" y="3881"/>
                    </a:cubicBezTo>
                    <a:cubicBezTo>
                      <a:pt x="5904" y="3881"/>
                      <a:pt x="5904" y="3881"/>
                      <a:pt x="5903" y="3882"/>
                    </a:cubicBezTo>
                    <a:cubicBezTo>
                      <a:pt x="5902" y="3883"/>
                      <a:pt x="5901" y="3883"/>
                      <a:pt x="5900" y="3883"/>
                    </a:cubicBezTo>
                    <a:cubicBezTo>
                      <a:pt x="5896" y="3883"/>
                      <a:pt x="5889" y="3882"/>
                      <a:pt x="5879" y="3878"/>
                    </a:cubicBezTo>
                    <a:cubicBezTo>
                      <a:pt x="5855" y="3854"/>
                      <a:pt x="5848" y="3895"/>
                      <a:pt x="5821" y="3882"/>
                    </a:cubicBezTo>
                    <a:cubicBezTo>
                      <a:pt x="5818" y="3890"/>
                      <a:pt x="5815" y="3894"/>
                      <a:pt x="5812" y="3896"/>
                    </a:cubicBezTo>
                    <a:cubicBezTo>
                      <a:pt x="5812" y="3896"/>
                      <a:pt x="5812" y="3896"/>
                      <a:pt x="5811" y="3896"/>
                    </a:cubicBezTo>
                    <a:cubicBezTo>
                      <a:pt x="5810" y="3896"/>
                      <a:pt x="5811" y="3896"/>
                      <a:pt x="5810" y="3897"/>
                    </a:cubicBezTo>
                    <a:cubicBezTo>
                      <a:pt x="5809" y="3897"/>
                      <a:pt x="5809" y="3897"/>
                      <a:pt x="5808" y="3897"/>
                    </a:cubicBezTo>
                    <a:cubicBezTo>
                      <a:pt x="5808" y="3897"/>
                      <a:pt x="5808" y="3897"/>
                      <a:pt x="5807" y="3897"/>
                    </a:cubicBezTo>
                    <a:cubicBezTo>
                      <a:pt x="5807" y="3896"/>
                      <a:pt x="5807" y="3896"/>
                      <a:pt x="5806" y="3896"/>
                    </a:cubicBezTo>
                    <a:cubicBezTo>
                      <a:pt x="5805" y="3896"/>
                      <a:pt x="5805" y="3896"/>
                      <a:pt x="5804" y="3896"/>
                    </a:cubicBezTo>
                    <a:cubicBezTo>
                      <a:pt x="5804" y="3895"/>
                      <a:pt x="5804" y="3895"/>
                      <a:pt x="5803" y="3895"/>
                    </a:cubicBezTo>
                    <a:cubicBezTo>
                      <a:pt x="5796" y="3891"/>
                      <a:pt x="5789" y="3880"/>
                      <a:pt x="5779" y="3874"/>
                    </a:cubicBezTo>
                    <a:cubicBezTo>
                      <a:pt x="5747" y="3872"/>
                      <a:pt x="5724" y="3845"/>
                      <a:pt x="5692" y="3850"/>
                    </a:cubicBezTo>
                    <a:cubicBezTo>
                      <a:pt x="5657" y="3839"/>
                      <a:pt x="5618" y="3839"/>
                      <a:pt x="5588" y="3818"/>
                    </a:cubicBezTo>
                    <a:cubicBezTo>
                      <a:pt x="5558" y="3804"/>
                      <a:pt x="5523" y="3800"/>
                      <a:pt x="5491" y="3786"/>
                    </a:cubicBezTo>
                    <a:cubicBezTo>
                      <a:pt x="5490" y="3787"/>
                      <a:pt x="5489" y="3788"/>
                      <a:pt x="5488" y="3789"/>
                    </a:cubicBezTo>
                    <a:cubicBezTo>
                      <a:pt x="5476" y="3801"/>
                      <a:pt x="5471" y="3828"/>
                      <a:pt x="5463" y="3845"/>
                    </a:cubicBezTo>
                    <a:cubicBezTo>
                      <a:pt x="5462" y="3850"/>
                      <a:pt x="5461" y="3853"/>
                      <a:pt x="5460" y="3856"/>
                    </a:cubicBezTo>
                    <a:cubicBezTo>
                      <a:pt x="5459" y="3856"/>
                      <a:pt x="5458" y="3857"/>
                      <a:pt x="5457" y="3858"/>
                    </a:cubicBezTo>
                    <a:cubicBezTo>
                      <a:pt x="5457" y="3858"/>
                      <a:pt x="5457" y="3858"/>
                      <a:pt x="5456" y="3859"/>
                    </a:cubicBezTo>
                    <a:cubicBezTo>
                      <a:pt x="5456" y="3859"/>
                      <a:pt x="5456" y="3859"/>
                      <a:pt x="5455" y="3859"/>
                    </a:cubicBezTo>
                    <a:cubicBezTo>
                      <a:pt x="5454" y="3859"/>
                      <a:pt x="5455" y="3859"/>
                      <a:pt x="5454" y="3859"/>
                    </a:cubicBezTo>
                    <a:cubicBezTo>
                      <a:pt x="5451" y="3860"/>
                      <a:pt x="5447" y="3859"/>
                      <a:pt x="5445" y="3860"/>
                    </a:cubicBezTo>
                    <a:cubicBezTo>
                      <a:pt x="5444" y="3860"/>
                      <a:pt x="5445" y="3860"/>
                      <a:pt x="5444" y="3860"/>
                    </a:cubicBezTo>
                    <a:cubicBezTo>
                      <a:pt x="5444" y="3860"/>
                      <a:pt x="5444" y="3860"/>
                      <a:pt x="5443" y="3860"/>
                    </a:cubicBezTo>
                    <a:cubicBezTo>
                      <a:pt x="5443" y="3860"/>
                      <a:pt x="5442" y="3860"/>
                      <a:pt x="5442" y="3861"/>
                    </a:cubicBezTo>
                    <a:cubicBezTo>
                      <a:pt x="5441" y="3861"/>
                      <a:pt x="5441" y="3862"/>
                      <a:pt x="5440" y="3863"/>
                    </a:cubicBezTo>
                    <a:cubicBezTo>
                      <a:pt x="5438" y="3866"/>
                      <a:pt x="5437" y="3871"/>
                      <a:pt x="5436" y="3879"/>
                    </a:cubicBezTo>
                    <a:cubicBezTo>
                      <a:pt x="5436" y="3885"/>
                      <a:pt x="5434" y="3888"/>
                      <a:pt x="5432" y="3890"/>
                    </a:cubicBezTo>
                    <a:cubicBezTo>
                      <a:pt x="5431" y="3890"/>
                      <a:pt x="5430" y="3890"/>
                      <a:pt x="5429" y="3891"/>
                    </a:cubicBezTo>
                    <a:cubicBezTo>
                      <a:pt x="5418" y="3890"/>
                      <a:pt x="5398" y="3866"/>
                      <a:pt x="5389" y="3859"/>
                    </a:cubicBezTo>
                    <a:cubicBezTo>
                      <a:pt x="5391" y="3845"/>
                      <a:pt x="5388" y="3838"/>
                      <a:pt x="5382" y="3834"/>
                    </a:cubicBezTo>
                    <a:cubicBezTo>
                      <a:pt x="5374" y="3829"/>
                      <a:pt x="5360" y="3829"/>
                      <a:pt x="5347" y="3826"/>
                    </a:cubicBezTo>
                    <a:cubicBezTo>
                      <a:pt x="5347" y="3827"/>
                      <a:pt x="5346" y="3827"/>
                      <a:pt x="5345" y="3827"/>
                    </a:cubicBezTo>
                    <a:cubicBezTo>
                      <a:pt x="5345" y="3828"/>
                      <a:pt x="5345" y="3827"/>
                      <a:pt x="5345" y="3828"/>
                    </a:cubicBezTo>
                    <a:cubicBezTo>
                      <a:pt x="5321" y="3838"/>
                      <a:pt x="5289" y="3783"/>
                      <a:pt x="5255" y="3816"/>
                    </a:cubicBezTo>
                    <a:cubicBezTo>
                      <a:pt x="5220" y="3846"/>
                      <a:pt x="5165" y="3805"/>
                      <a:pt x="5128" y="3841"/>
                    </a:cubicBezTo>
                    <a:cubicBezTo>
                      <a:pt x="5109" y="3851"/>
                      <a:pt x="5087" y="3868"/>
                      <a:pt x="5068" y="3854"/>
                    </a:cubicBezTo>
                    <a:cubicBezTo>
                      <a:pt x="5079" y="3831"/>
                      <a:pt x="5107" y="3836"/>
                      <a:pt x="5127" y="3826"/>
                    </a:cubicBezTo>
                    <a:cubicBezTo>
                      <a:pt x="5140" y="3823"/>
                      <a:pt x="5149" y="3818"/>
                      <a:pt x="5154" y="3811"/>
                    </a:cubicBezTo>
                    <a:cubicBezTo>
                      <a:pt x="5154" y="3810"/>
                      <a:pt x="5155" y="3810"/>
                      <a:pt x="5155" y="3809"/>
                    </a:cubicBezTo>
                    <a:cubicBezTo>
                      <a:pt x="5156" y="3807"/>
                      <a:pt x="5157" y="3805"/>
                      <a:pt x="5157" y="3803"/>
                    </a:cubicBezTo>
                    <a:cubicBezTo>
                      <a:pt x="5158" y="3798"/>
                      <a:pt x="5156" y="3793"/>
                      <a:pt x="5153" y="3786"/>
                    </a:cubicBezTo>
                    <a:cubicBezTo>
                      <a:pt x="5132" y="3790"/>
                      <a:pt x="5111" y="3791"/>
                      <a:pt x="5090" y="3796"/>
                    </a:cubicBezTo>
                    <a:cubicBezTo>
                      <a:pt x="5090" y="3772"/>
                      <a:pt x="5063" y="3760"/>
                      <a:pt x="5059" y="3736"/>
                    </a:cubicBezTo>
                    <a:cubicBezTo>
                      <a:pt x="5055" y="3731"/>
                      <a:pt x="5052" y="3727"/>
                      <a:pt x="5051" y="3724"/>
                    </a:cubicBezTo>
                    <a:cubicBezTo>
                      <a:pt x="5051" y="3723"/>
                      <a:pt x="5051" y="3723"/>
                      <a:pt x="5051" y="3723"/>
                    </a:cubicBezTo>
                    <a:cubicBezTo>
                      <a:pt x="5051" y="3722"/>
                      <a:pt x="5051" y="3722"/>
                      <a:pt x="5051" y="3722"/>
                    </a:cubicBezTo>
                    <a:cubicBezTo>
                      <a:pt x="5051" y="3721"/>
                      <a:pt x="5051" y="3721"/>
                      <a:pt x="5051" y="3721"/>
                    </a:cubicBezTo>
                    <a:cubicBezTo>
                      <a:pt x="5051" y="3720"/>
                      <a:pt x="5051" y="3720"/>
                      <a:pt x="5051" y="3720"/>
                    </a:cubicBezTo>
                    <a:cubicBezTo>
                      <a:pt x="5052" y="3720"/>
                      <a:pt x="5052" y="3720"/>
                      <a:pt x="5052" y="3719"/>
                    </a:cubicBezTo>
                    <a:cubicBezTo>
                      <a:pt x="5059" y="3710"/>
                      <a:pt x="5094" y="3714"/>
                      <a:pt x="5103" y="3701"/>
                    </a:cubicBezTo>
                    <a:cubicBezTo>
                      <a:pt x="5103" y="3700"/>
                      <a:pt x="5103" y="3700"/>
                      <a:pt x="5103" y="3700"/>
                    </a:cubicBezTo>
                    <a:cubicBezTo>
                      <a:pt x="5104" y="3699"/>
                      <a:pt x="5104" y="3699"/>
                      <a:pt x="5104" y="3699"/>
                    </a:cubicBezTo>
                    <a:cubicBezTo>
                      <a:pt x="5104" y="3698"/>
                      <a:pt x="5104" y="3698"/>
                      <a:pt x="5104" y="3698"/>
                    </a:cubicBezTo>
                    <a:cubicBezTo>
                      <a:pt x="5104" y="3697"/>
                      <a:pt x="5104" y="3697"/>
                      <a:pt x="5104" y="3697"/>
                    </a:cubicBezTo>
                    <a:cubicBezTo>
                      <a:pt x="5105" y="3696"/>
                      <a:pt x="5105" y="3696"/>
                      <a:pt x="5105" y="3696"/>
                    </a:cubicBezTo>
                    <a:cubicBezTo>
                      <a:pt x="5105" y="3695"/>
                      <a:pt x="5105" y="3695"/>
                      <a:pt x="5105" y="3695"/>
                    </a:cubicBezTo>
                    <a:cubicBezTo>
                      <a:pt x="5078" y="3693"/>
                      <a:pt x="5052" y="3690"/>
                      <a:pt x="5026" y="3686"/>
                    </a:cubicBezTo>
                    <a:cubicBezTo>
                      <a:pt x="5022" y="3688"/>
                      <a:pt x="5018" y="3689"/>
                      <a:pt x="5015" y="3689"/>
                    </a:cubicBezTo>
                    <a:cubicBezTo>
                      <a:pt x="5014" y="3689"/>
                      <a:pt x="5012" y="3689"/>
                      <a:pt x="5011" y="3689"/>
                    </a:cubicBezTo>
                    <a:cubicBezTo>
                      <a:pt x="5010" y="3689"/>
                      <a:pt x="5011" y="3689"/>
                      <a:pt x="5010" y="3689"/>
                    </a:cubicBezTo>
                    <a:cubicBezTo>
                      <a:pt x="5010" y="3689"/>
                      <a:pt x="5010" y="3689"/>
                      <a:pt x="5009" y="3689"/>
                    </a:cubicBezTo>
                    <a:cubicBezTo>
                      <a:pt x="5009" y="3688"/>
                      <a:pt x="5009" y="3688"/>
                      <a:pt x="5008" y="3688"/>
                    </a:cubicBezTo>
                    <a:cubicBezTo>
                      <a:pt x="5008" y="3687"/>
                      <a:pt x="5007" y="3688"/>
                      <a:pt x="5007" y="3687"/>
                    </a:cubicBezTo>
                    <a:cubicBezTo>
                      <a:pt x="5007" y="3687"/>
                      <a:pt x="5007" y="3687"/>
                      <a:pt x="5006" y="3687"/>
                    </a:cubicBezTo>
                    <a:cubicBezTo>
                      <a:pt x="4997" y="3676"/>
                      <a:pt x="5004" y="3641"/>
                      <a:pt x="4991" y="3624"/>
                    </a:cubicBezTo>
                    <a:cubicBezTo>
                      <a:pt x="4988" y="3621"/>
                      <a:pt x="4985" y="3618"/>
                      <a:pt x="4980" y="3616"/>
                    </a:cubicBezTo>
                    <a:cubicBezTo>
                      <a:pt x="4961" y="3615"/>
                      <a:pt x="4952" y="3611"/>
                      <a:pt x="4950" y="3606"/>
                    </a:cubicBezTo>
                    <a:cubicBezTo>
                      <a:pt x="4945" y="3596"/>
                      <a:pt x="4965" y="3580"/>
                      <a:pt x="4966" y="3562"/>
                    </a:cubicBezTo>
                    <a:cubicBezTo>
                      <a:pt x="4977" y="3548"/>
                      <a:pt x="4997" y="3535"/>
                      <a:pt x="5006" y="3519"/>
                    </a:cubicBezTo>
                    <a:cubicBezTo>
                      <a:pt x="5023" y="3509"/>
                      <a:pt x="5020" y="3480"/>
                      <a:pt x="5024" y="3462"/>
                    </a:cubicBezTo>
                    <a:cubicBezTo>
                      <a:pt x="5032" y="3440"/>
                      <a:pt x="5044" y="3422"/>
                      <a:pt x="5022" y="3405"/>
                    </a:cubicBezTo>
                    <a:cubicBezTo>
                      <a:pt x="5031" y="3396"/>
                      <a:pt x="5041" y="3388"/>
                      <a:pt x="5044" y="3381"/>
                    </a:cubicBezTo>
                    <a:cubicBezTo>
                      <a:pt x="5044" y="3380"/>
                      <a:pt x="5045" y="3380"/>
                      <a:pt x="5045" y="3379"/>
                    </a:cubicBezTo>
                    <a:cubicBezTo>
                      <a:pt x="5045" y="3378"/>
                      <a:pt x="5045" y="3378"/>
                      <a:pt x="5045" y="3377"/>
                    </a:cubicBezTo>
                    <a:cubicBezTo>
                      <a:pt x="5045" y="3376"/>
                      <a:pt x="5045" y="3376"/>
                      <a:pt x="5045" y="3376"/>
                    </a:cubicBezTo>
                    <a:cubicBezTo>
                      <a:pt x="5045" y="3375"/>
                      <a:pt x="5045" y="3374"/>
                      <a:pt x="5045" y="3373"/>
                    </a:cubicBezTo>
                    <a:cubicBezTo>
                      <a:pt x="5044" y="3372"/>
                      <a:pt x="5044" y="3371"/>
                      <a:pt x="5043" y="3371"/>
                    </a:cubicBezTo>
                    <a:cubicBezTo>
                      <a:pt x="5043" y="3370"/>
                      <a:pt x="5043" y="3370"/>
                      <a:pt x="5042" y="3370"/>
                    </a:cubicBezTo>
                    <a:cubicBezTo>
                      <a:pt x="5040" y="3367"/>
                      <a:pt x="5035" y="3365"/>
                      <a:pt x="5028" y="3363"/>
                    </a:cubicBezTo>
                    <a:cubicBezTo>
                      <a:pt x="5028" y="3363"/>
                      <a:pt x="5027" y="3364"/>
                      <a:pt x="5026" y="3364"/>
                    </a:cubicBezTo>
                    <a:cubicBezTo>
                      <a:pt x="5026" y="3364"/>
                      <a:pt x="5026" y="3364"/>
                      <a:pt x="5025" y="3364"/>
                    </a:cubicBezTo>
                    <a:cubicBezTo>
                      <a:pt x="5024" y="3364"/>
                      <a:pt x="5024" y="3365"/>
                      <a:pt x="5023" y="3365"/>
                    </a:cubicBezTo>
                    <a:cubicBezTo>
                      <a:pt x="5023" y="3365"/>
                      <a:pt x="5023" y="3365"/>
                      <a:pt x="5022" y="3365"/>
                    </a:cubicBezTo>
                    <a:cubicBezTo>
                      <a:pt x="5022" y="3365"/>
                      <a:pt x="5022" y="3365"/>
                      <a:pt x="5021" y="3365"/>
                    </a:cubicBezTo>
                    <a:cubicBezTo>
                      <a:pt x="5002" y="3365"/>
                      <a:pt x="4986" y="3329"/>
                      <a:pt x="4998" y="3316"/>
                    </a:cubicBezTo>
                    <a:cubicBezTo>
                      <a:pt x="4999" y="3316"/>
                      <a:pt x="4999" y="3316"/>
                      <a:pt x="4999" y="3316"/>
                    </a:cubicBezTo>
                    <a:cubicBezTo>
                      <a:pt x="4999" y="3315"/>
                      <a:pt x="4999" y="3315"/>
                      <a:pt x="5000" y="3315"/>
                    </a:cubicBezTo>
                    <a:cubicBezTo>
                      <a:pt x="5001" y="3314"/>
                      <a:pt x="5000" y="3314"/>
                      <a:pt x="5001" y="3314"/>
                    </a:cubicBezTo>
                    <a:cubicBezTo>
                      <a:pt x="5002" y="3314"/>
                      <a:pt x="5003" y="3313"/>
                      <a:pt x="5004" y="3313"/>
                    </a:cubicBezTo>
                    <a:cubicBezTo>
                      <a:pt x="5005" y="3313"/>
                      <a:pt x="5006" y="3313"/>
                      <a:pt x="5008" y="3312"/>
                    </a:cubicBezTo>
                    <a:cubicBezTo>
                      <a:pt x="5009" y="3312"/>
                      <a:pt x="5010" y="3312"/>
                      <a:pt x="5011" y="3312"/>
                    </a:cubicBezTo>
                    <a:cubicBezTo>
                      <a:pt x="5011" y="3311"/>
                      <a:pt x="5011" y="3311"/>
                      <a:pt x="5011" y="3310"/>
                    </a:cubicBezTo>
                    <a:cubicBezTo>
                      <a:pt x="5011" y="3309"/>
                      <a:pt x="5010" y="3310"/>
                      <a:pt x="5010" y="3309"/>
                    </a:cubicBezTo>
                    <a:cubicBezTo>
                      <a:pt x="5010" y="3308"/>
                      <a:pt x="5010" y="3308"/>
                      <a:pt x="5010" y="3308"/>
                    </a:cubicBezTo>
                    <a:cubicBezTo>
                      <a:pt x="5002" y="3295"/>
                      <a:pt x="4967" y="3303"/>
                      <a:pt x="4959" y="3301"/>
                    </a:cubicBezTo>
                    <a:cubicBezTo>
                      <a:pt x="4959" y="3301"/>
                      <a:pt x="4959" y="3301"/>
                      <a:pt x="4958" y="3301"/>
                    </a:cubicBezTo>
                    <a:cubicBezTo>
                      <a:pt x="4958" y="3300"/>
                      <a:pt x="4958" y="3301"/>
                      <a:pt x="4958" y="3301"/>
                    </a:cubicBezTo>
                    <a:cubicBezTo>
                      <a:pt x="4958" y="3300"/>
                      <a:pt x="4958" y="3300"/>
                      <a:pt x="4958" y="3300"/>
                    </a:cubicBezTo>
                    <a:cubicBezTo>
                      <a:pt x="4958" y="3299"/>
                      <a:pt x="4958" y="3299"/>
                      <a:pt x="4958" y="3299"/>
                    </a:cubicBezTo>
                    <a:cubicBezTo>
                      <a:pt x="4959" y="3297"/>
                      <a:pt x="4963" y="3294"/>
                      <a:pt x="4972" y="3289"/>
                    </a:cubicBezTo>
                    <a:cubicBezTo>
                      <a:pt x="4982" y="3274"/>
                      <a:pt x="5000" y="3273"/>
                      <a:pt x="5006" y="3266"/>
                    </a:cubicBezTo>
                    <a:cubicBezTo>
                      <a:pt x="5007" y="3266"/>
                      <a:pt x="5007" y="3265"/>
                      <a:pt x="5007" y="3265"/>
                    </a:cubicBezTo>
                    <a:cubicBezTo>
                      <a:pt x="5008" y="3264"/>
                      <a:pt x="5008" y="3264"/>
                      <a:pt x="5008" y="3264"/>
                    </a:cubicBezTo>
                    <a:cubicBezTo>
                      <a:pt x="5008" y="3263"/>
                      <a:pt x="5008" y="3263"/>
                      <a:pt x="5008" y="3263"/>
                    </a:cubicBezTo>
                    <a:cubicBezTo>
                      <a:pt x="5008" y="3262"/>
                      <a:pt x="5008" y="3262"/>
                      <a:pt x="5008" y="3262"/>
                    </a:cubicBezTo>
                    <a:cubicBezTo>
                      <a:pt x="5008" y="3261"/>
                      <a:pt x="5008" y="3261"/>
                      <a:pt x="5008" y="3260"/>
                    </a:cubicBezTo>
                    <a:cubicBezTo>
                      <a:pt x="5008" y="3259"/>
                      <a:pt x="5008" y="3259"/>
                      <a:pt x="5008" y="3259"/>
                    </a:cubicBezTo>
                    <a:cubicBezTo>
                      <a:pt x="4979" y="3239"/>
                      <a:pt x="4986" y="3201"/>
                      <a:pt x="4993" y="3172"/>
                    </a:cubicBezTo>
                    <a:cubicBezTo>
                      <a:pt x="4997" y="3149"/>
                      <a:pt x="5013" y="3133"/>
                      <a:pt x="5021" y="3110"/>
                    </a:cubicBezTo>
                    <a:cubicBezTo>
                      <a:pt x="5027" y="3103"/>
                      <a:pt x="5030" y="3085"/>
                      <a:pt x="5035" y="3077"/>
                    </a:cubicBezTo>
                    <a:cubicBezTo>
                      <a:pt x="5036" y="3075"/>
                      <a:pt x="5037" y="3074"/>
                      <a:pt x="5038" y="3073"/>
                    </a:cubicBezTo>
                    <a:cubicBezTo>
                      <a:pt x="5039" y="3072"/>
                      <a:pt x="5040" y="3072"/>
                      <a:pt x="5041" y="3072"/>
                    </a:cubicBezTo>
                    <a:cubicBezTo>
                      <a:pt x="5042" y="3072"/>
                      <a:pt x="5043" y="3072"/>
                      <a:pt x="5044" y="3072"/>
                    </a:cubicBezTo>
                    <a:cubicBezTo>
                      <a:pt x="5046" y="3073"/>
                      <a:pt x="5050" y="3075"/>
                      <a:pt x="5054" y="3079"/>
                    </a:cubicBezTo>
                    <a:cubicBezTo>
                      <a:pt x="5087" y="3095"/>
                      <a:pt x="5111" y="3121"/>
                      <a:pt x="5135" y="3148"/>
                    </a:cubicBezTo>
                    <a:cubicBezTo>
                      <a:pt x="5146" y="3148"/>
                      <a:pt x="5154" y="3153"/>
                      <a:pt x="5158" y="3159"/>
                    </a:cubicBezTo>
                    <a:cubicBezTo>
                      <a:pt x="5164" y="3167"/>
                      <a:pt x="5164" y="3180"/>
                      <a:pt x="5156" y="3193"/>
                    </a:cubicBezTo>
                    <a:cubicBezTo>
                      <a:pt x="5167" y="3220"/>
                      <a:pt x="5193" y="3215"/>
                      <a:pt x="5212" y="3207"/>
                    </a:cubicBezTo>
                    <a:cubicBezTo>
                      <a:pt x="5220" y="3209"/>
                      <a:pt x="5224" y="3207"/>
                      <a:pt x="5226" y="3203"/>
                    </a:cubicBezTo>
                    <a:cubicBezTo>
                      <a:pt x="5229" y="3197"/>
                      <a:pt x="5229" y="3186"/>
                      <a:pt x="5232" y="3180"/>
                    </a:cubicBezTo>
                    <a:cubicBezTo>
                      <a:pt x="5233" y="3179"/>
                      <a:pt x="5233" y="3178"/>
                      <a:pt x="5233" y="3178"/>
                    </a:cubicBezTo>
                    <a:cubicBezTo>
                      <a:pt x="5234" y="3177"/>
                      <a:pt x="5234" y="3177"/>
                      <a:pt x="5235" y="3176"/>
                    </a:cubicBezTo>
                    <a:cubicBezTo>
                      <a:pt x="5237" y="3174"/>
                      <a:pt x="5241" y="3174"/>
                      <a:pt x="5246" y="3175"/>
                    </a:cubicBezTo>
                    <a:cubicBezTo>
                      <a:pt x="5262" y="3161"/>
                      <a:pt x="5270" y="3147"/>
                      <a:pt x="5277" y="3130"/>
                    </a:cubicBezTo>
                    <a:cubicBezTo>
                      <a:pt x="5269" y="3129"/>
                      <a:pt x="5265" y="3129"/>
                      <a:pt x="5263" y="3127"/>
                    </a:cubicBezTo>
                    <a:cubicBezTo>
                      <a:pt x="5263" y="3126"/>
                      <a:pt x="5263" y="3126"/>
                      <a:pt x="5263" y="3126"/>
                    </a:cubicBezTo>
                    <a:cubicBezTo>
                      <a:pt x="5263" y="3125"/>
                      <a:pt x="5263" y="3125"/>
                      <a:pt x="5263" y="3125"/>
                    </a:cubicBezTo>
                    <a:cubicBezTo>
                      <a:pt x="5264" y="3124"/>
                      <a:pt x="5264" y="3124"/>
                      <a:pt x="5264" y="3124"/>
                    </a:cubicBezTo>
                    <a:cubicBezTo>
                      <a:pt x="5265" y="3123"/>
                      <a:pt x="5265" y="3123"/>
                      <a:pt x="5266" y="3123"/>
                    </a:cubicBezTo>
                    <a:cubicBezTo>
                      <a:pt x="5274" y="3119"/>
                      <a:pt x="5297" y="3114"/>
                      <a:pt x="5305" y="3114"/>
                    </a:cubicBezTo>
                    <a:cubicBezTo>
                      <a:pt x="5340" y="3118"/>
                      <a:pt x="5335" y="3093"/>
                      <a:pt x="5361" y="3080"/>
                    </a:cubicBezTo>
                    <a:cubicBezTo>
                      <a:pt x="5368" y="3075"/>
                      <a:pt x="5370" y="3071"/>
                      <a:pt x="5370" y="3068"/>
                    </a:cubicBezTo>
                    <a:cubicBezTo>
                      <a:pt x="5370" y="3067"/>
                      <a:pt x="5369" y="3066"/>
                      <a:pt x="5368" y="3065"/>
                    </a:cubicBezTo>
                    <a:cubicBezTo>
                      <a:pt x="5362" y="3059"/>
                      <a:pt x="5346" y="3058"/>
                      <a:pt x="5342" y="3053"/>
                    </a:cubicBezTo>
                    <a:cubicBezTo>
                      <a:pt x="5342" y="3052"/>
                      <a:pt x="5342" y="3053"/>
                      <a:pt x="5341" y="3052"/>
                    </a:cubicBezTo>
                    <a:cubicBezTo>
                      <a:pt x="5341" y="3051"/>
                      <a:pt x="5341" y="3051"/>
                      <a:pt x="5341" y="3051"/>
                    </a:cubicBezTo>
                    <a:cubicBezTo>
                      <a:pt x="5341" y="3050"/>
                      <a:pt x="5341" y="3050"/>
                      <a:pt x="5341" y="3050"/>
                    </a:cubicBezTo>
                    <a:cubicBezTo>
                      <a:pt x="5341" y="3049"/>
                      <a:pt x="5342" y="3047"/>
                      <a:pt x="5344" y="3045"/>
                    </a:cubicBezTo>
                    <a:cubicBezTo>
                      <a:pt x="5353" y="3028"/>
                      <a:pt x="5376" y="3018"/>
                      <a:pt x="5396" y="3020"/>
                    </a:cubicBezTo>
                    <a:cubicBezTo>
                      <a:pt x="5420" y="3041"/>
                      <a:pt x="5455" y="3009"/>
                      <a:pt x="5467" y="2992"/>
                    </a:cubicBezTo>
                    <a:cubicBezTo>
                      <a:pt x="5483" y="2999"/>
                      <a:pt x="5496" y="2998"/>
                      <a:pt x="5505" y="2990"/>
                    </a:cubicBezTo>
                    <a:cubicBezTo>
                      <a:pt x="5506" y="2989"/>
                      <a:pt x="5507" y="2989"/>
                      <a:pt x="5508" y="2988"/>
                    </a:cubicBezTo>
                    <a:cubicBezTo>
                      <a:pt x="5510" y="2985"/>
                      <a:pt x="5512" y="2981"/>
                      <a:pt x="5513" y="2977"/>
                    </a:cubicBezTo>
                    <a:cubicBezTo>
                      <a:pt x="5527" y="2965"/>
                      <a:pt x="5575" y="2961"/>
                      <a:pt x="5556" y="2938"/>
                    </a:cubicBezTo>
                    <a:cubicBezTo>
                      <a:pt x="5553" y="2935"/>
                      <a:pt x="5552" y="2932"/>
                      <a:pt x="5552" y="2930"/>
                    </a:cubicBezTo>
                    <a:cubicBezTo>
                      <a:pt x="5552" y="2929"/>
                      <a:pt x="5552" y="2929"/>
                      <a:pt x="5552" y="2929"/>
                    </a:cubicBezTo>
                    <a:cubicBezTo>
                      <a:pt x="5552" y="2928"/>
                      <a:pt x="5553" y="2928"/>
                      <a:pt x="5553" y="2928"/>
                    </a:cubicBezTo>
                    <a:cubicBezTo>
                      <a:pt x="5553" y="2927"/>
                      <a:pt x="5554" y="2927"/>
                      <a:pt x="5554" y="2927"/>
                    </a:cubicBezTo>
                    <a:cubicBezTo>
                      <a:pt x="5563" y="2922"/>
                      <a:pt x="5596" y="2936"/>
                      <a:pt x="5595" y="2955"/>
                    </a:cubicBezTo>
                    <a:cubicBezTo>
                      <a:pt x="5595" y="2956"/>
                      <a:pt x="5595" y="2956"/>
                      <a:pt x="5594" y="2957"/>
                    </a:cubicBezTo>
                    <a:cubicBezTo>
                      <a:pt x="5594" y="2958"/>
                      <a:pt x="5594" y="2959"/>
                      <a:pt x="5593" y="2959"/>
                    </a:cubicBezTo>
                    <a:cubicBezTo>
                      <a:pt x="5616" y="2954"/>
                      <a:pt x="5636" y="2983"/>
                      <a:pt x="5655" y="2971"/>
                    </a:cubicBezTo>
                    <a:cubicBezTo>
                      <a:pt x="5650" y="2961"/>
                      <a:pt x="5650" y="2948"/>
                      <a:pt x="5658" y="2940"/>
                    </a:cubicBezTo>
                    <a:cubicBezTo>
                      <a:pt x="5663" y="2935"/>
                      <a:pt x="5671" y="2933"/>
                      <a:pt x="5683" y="2935"/>
                    </a:cubicBezTo>
                    <a:cubicBezTo>
                      <a:pt x="5688" y="2934"/>
                      <a:pt x="5691" y="2932"/>
                      <a:pt x="5693" y="2930"/>
                    </a:cubicBezTo>
                    <a:cubicBezTo>
                      <a:pt x="5697" y="2918"/>
                      <a:pt x="5673" y="2893"/>
                      <a:pt x="5683" y="2880"/>
                    </a:cubicBezTo>
                    <a:cubicBezTo>
                      <a:pt x="5681" y="2873"/>
                      <a:pt x="5682" y="2869"/>
                      <a:pt x="5685" y="2866"/>
                    </a:cubicBezTo>
                    <a:cubicBezTo>
                      <a:pt x="5690" y="2859"/>
                      <a:pt x="5704" y="2861"/>
                      <a:pt x="5711" y="2858"/>
                    </a:cubicBezTo>
                    <a:cubicBezTo>
                      <a:pt x="5712" y="2857"/>
                      <a:pt x="5714" y="2856"/>
                      <a:pt x="5714" y="2854"/>
                    </a:cubicBezTo>
                    <a:cubicBezTo>
                      <a:pt x="5714" y="2852"/>
                      <a:pt x="5713" y="2849"/>
                      <a:pt x="5710" y="2845"/>
                    </a:cubicBezTo>
                    <a:cubicBezTo>
                      <a:pt x="5702" y="2829"/>
                      <a:pt x="5710" y="2808"/>
                      <a:pt x="5697" y="2791"/>
                    </a:cubicBezTo>
                    <a:cubicBezTo>
                      <a:pt x="5693" y="2782"/>
                      <a:pt x="5695" y="2776"/>
                      <a:pt x="5699" y="2772"/>
                    </a:cubicBezTo>
                    <a:cubicBezTo>
                      <a:pt x="5708" y="2763"/>
                      <a:pt x="5728" y="2760"/>
                      <a:pt x="5733" y="2749"/>
                    </a:cubicBezTo>
                    <a:cubicBezTo>
                      <a:pt x="5734" y="2748"/>
                      <a:pt x="5735" y="2748"/>
                      <a:pt x="5735" y="2747"/>
                    </a:cubicBezTo>
                    <a:cubicBezTo>
                      <a:pt x="5736" y="2747"/>
                      <a:pt x="5737" y="2746"/>
                      <a:pt x="5737" y="2746"/>
                    </a:cubicBezTo>
                    <a:cubicBezTo>
                      <a:pt x="5738" y="2746"/>
                      <a:pt x="5738" y="2746"/>
                      <a:pt x="5738" y="2746"/>
                    </a:cubicBezTo>
                    <a:cubicBezTo>
                      <a:pt x="5739" y="2746"/>
                      <a:pt x="5739" y="2746"/>
                      <a:pt x="5740" y="2746"/>
                    </a:cubicBezTo>
                    <a:cubicBezTo>
                      <a:pt x="5741" y="2746"/>
                      <a:pt x="5741" y="2746"/>
                      <a:pt x="5741" y="2746"/>
                    </a:cubicBezTo>
                    <a:cubicBezTo>
                      <a:pt x="5742" y="2747"/>
                      <a:pt x="5744" y="2748"/>
                      <a:pt x="5745" y="2748"/>
                    </a:cubicBezTo>
                    <a:cubicBezTo>
                      <a:pt x="5753" y="2756"/>
                      <a:pt x="5763" y="2777"/>
                      <a:pt x="5780" y="2772"/>
                    </a:cubicBezTo>
                    <a:cubicBezTo>
                      <a:pt x="5795" y="2749"/>
                      <a:pt x="5825" y="2742"/>
                      <a:pt x="5850" y="2740"/>
                    </a:cubicBezTo>
                    <a:close/>
                  </a:path>
                </a:pathLst>
              </a:custGeom>
              <a:grpFill/>
              <a:ln w="9525" cap="flat">
                <a:solidFill>
                  <a:schemeClr val="bg1"/>
                </a:solidFill>
                <a:bevel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5" name="Freeform 57">
                <a:extLst>
                  <a:ext uri="{FF2B5EF4-FFF2-40B4-BE49-F238E27FC236}">
                    <a16:creationId xmlns:a16="http://schemas.microsoft.com/office/drawing/2014/main" id="{31C8E904-EFF1-2D8F-3924-1CC9417E82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20000">
                <a:off x="10796673" y="4095561"/>
                <a:ext cx="847640" cy="1618327"/>
              </a:xfrm>
              <a:custGeom>
                <a:avLst/>
                <a:gdLst>
                  <a:gd name="T0" fmla="*/ 988539 w 3258"/>
                  <a:gd name="T1" fmla="*/ 45700 h 6216"/>
                  <a:gd name="T2" fmla="*/ 937835 w 3258"/>
                  <a:gd name="T3" fmla="*/ 153653 h 6216"/>
                  <a:gd name="T4" fmla="*/ 796872 w 3258"/>
                  <a:gd name="T5" fmla="*/ 136021 h 6216"/>
                  <a:gd name="T6" fmla="*/ 649437 w 3258"/>
                  <a:gd name="T7" fmla="*/ 234978 h 6216"/>
                  <a:gd name="T8" fmla="*/ 576798 w 3258"/>
                  <a:gd name="T9" fmla="*/ 340772 h 6216"/>
                  <a:gd name="T10" fmla="*/ 502001 w 3258"/>
                  <a:gd name="T11" fmla="*/ 400146 h 6216"/>
                  <a:gd name="T12" fmla="*/ 347733 w 3258"/>
                  <a:gd name="T13" fmla="*/ 420297 h 6216"/>
                  <a:gd name="T14" fmla="*/ 314650 w 3258"/>
                  <a:gd name="T15" fmla="*/ 563515 h 6216"/>
                  <a:gd name="T16" fmla="*/ 239853 w 3258"/>
                  <a:gd name="T17" fmla="*/ 646999 h 6216"/>
                  <a:gd name="T18" fmla="*/ 275094 w 3258"/>
                  <a:gd name="T19" fmla="*/ 785898 h 6216"/>
                  <a:gd name="T20" fmla="*/ 354565 w 3258"/>
                  <a:gd name="T21" fmla="*/ 887374 h 6216"/>
                  <a:gd name="T22" fmla="*/ 303862 w 3258"/>
                  <a:gd name="T23" fmla="*/ 979854 h 6216"/>
                  <a:gd name="T24" fmla="*/ 323640 w 3258"/>
                  <a:gd name="T25" fmla="*/ 1120553 h 6216"/>
                  <a:gd name="T26" fmla="*/ 178361 w 3258"/>
                  <a:gd name="T27" fmla="*/ 1221669 h 6216"/>
                  <a:gd name="T28" fmla="*/ 65807 w 3258"/>
                  <a:gd name="T29" fmla="*/ 1325303 h 6216"/>
                  <a:gd name="T30" fmla="*/ 17620 w 3258"/>
                  <a:gd name="T31" fmla="*/ 1323144 h 6216"/>
                  <a:gd name="T32" fmla="*/ 48186 w 3258"/>
                  <a:gd name="T33" fmla="*/ 1468521 h 6216"/>
                  <a:gd name="T34" fmla="*/ 98890 w 3258"/>
                  <a:gd name="T35" fmla="*/ 1640526 h 6216"/>
                  <a:gd name="T36" fmla="*/ 107880 w 3258"/>
                  <a:gd name="T37" fmla="*/ 1779066 h 6216"/>
                  <a:gd name="T38" fmla="*/ 184834 w 3258"/>
                  <a:gd name="T39" fmla="*/ 1924443 h 6216"/>
                  <a:gd name="T40" fmla="*/ 96732 w 3258"/>
                  <a:gd name="T41" fmla="*/ 2076657 h 6216"/>
                  <a:gd name="T42" fmla="*/ 68324 w 3258"/>
                  <a:gd name="T43" fmla="*/ 2184610 h 6216"/>
                  <a:gd name="T44" fmla="*/ 116510 w 3258"/>
                  <a:gd name="T45" fmla="*/ 2219874 h 6216"/>
                  <a:gd name="T46" fmla="*/ 263946 w 3258"/>
                  <a:gd name="T47" fmla="*/ 2083134 h 6216"/>
                  <a:gd name="T48" fmla="*/ 330112 w 3258"/>
                  <a:gd name="T49" fmla="*/ 1994972 h 6216"/>
                  <a:gd name="T50" fmla="*/ 380816 w 3258"/>
                  <a:gd name="T51" fmla="*/ 1933439 h 6216"/>
                  <a:gd name="T52" fmla="*/ 490853 w 3258"/>
                  <a:gd name="T53" fmla="*/ 1911489 h 6216"/>
                  <a:gd name="T54" fmla="*/ 603048 w 3258"/>
                  <a:gd name="T55" fmla="*/ 1917966 h 6216"/>
                  <a:gd name="T56" fmla="*/ 535084 w 3258"/>
                  <a:gd name="T57" fmla="*/ 1882701 h 6216"/>
                  <a:gd name="T58" fmla="*/ 578955 w 3258"/>
                  <a:gd name="T59" fmla="*/ 1803535 h 6216"/>
                  <a:gd name="T60" fmla="*/ 605565 w 3258"/>
                  <a:gd name="T61" fmla="*/ 1711056 h 6216"/>
                  <a:gd name="T62" fmla="*/ 532567 w 3258"/>
                  <a:gd name="T63" fmla="*/ 1697741 h 6216"/>
                  <a:gd name="T64" fmla="*/ 504158 w 3258"/>
                  <a:gd name="T65" fmla="*/ 1616057 h 6216"/>
                  <a:gd name="T66" fmla="*/ 504158 w 3258"/>
                  <a:gd name="T67" fmla="*/ 1450889 h 6216"/>
                  <a:gd name="T68" fmla="*/ 495168 w 3258"/>
                  <a:gd name="T69" fmla="*/ 1296516 h 6216"/>
                  <a:gd name="T70" fmla="*/ 543714 w 3258"/>
                  <a:gd name="T71" fmla="*/ 1263770 h 6216"/>
                  <a:gd name="T72" fmla="*/ 719918 w 3258"/>
                  <a:gd name="T73" fmla="*/ 1129189 h 6216"/>
                  <a:gd name="T74" fmla="*/ 755159 w 3258"/>
                  <a:gd name="T75" fmla="*/ 1034910 h 6216"/>
                  <a:gd name="T76" fmla="*/ 655909 w 3258"/>
                  <a:gd name="T77" fmla="*/ 867583 h 6216"/>
                  <a:gd name="T78" fmla="*/ 424687 w 3258"/>
                  <a:gd name="T79" fmla="*/ 829799 h 6216"/>
                  <a:gd name="T80" fmla="*/ 550187 w 3258"/>
                  <a:gd name="T81" fmla="*/ 730842 h 6216"/>
                  <a:gd name="T82" fmla="*/ 629659 w 3258"/>
                  <a:gd name="T83" fmla="*/ 649158 h 6216"/>
                  <a:gd name="T84" fmla="*/ 728548 w 3258"/>
                  <a:gd name="T85" fmla="*/ 689100 h 6216"/>
                  <a:gd name="T86" fmla="*/ 869511 w 3258"/>
                  <a:gd name="T87" fmla="*/ 772584 h 6216"/>
                  <a:gd name="T88" fmla="*/ 1142807 w 3258"/>
                  <a:gd name="T89" fmla="*/ 689100 h 6216"/>
                  <a:gd name="T90" fmla="*/ 1092104 w 3258"/>
                  <a:gd name="T91" fmla="*/ 532568 h 6216"/>
                  <a:gd name="T92" fmla="*/ 1034927 w 3258"/>
                  <a:gd name="T93" fmla="*/ 431092 h 6216"/>
                  <a:gd name="T94" fmla="*/ 1129502 w 3258"/>
                  <a:gd name="T95" fmla="*/ 270242 h 6216"/>
                  <a:gd name="T96" fmla="*/ 1089946 w 3258"/>
                  <a:gd name="T97" fmla="*/ 148975 h 6216"/>
                  <a:gd name="T98" fmla="*/ 1057942 w 3258"/>
                  <a:gd name="T99" fmla="*/ 0 h 621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3258" h="6216">
                    <a:moveTo>
                      <a:pt x="2942" y="1"/>
                    </a:moveTo>
                    <a:cubicBezTo>
                      <a:pt x="2914" y="28"/>
                      <a:pt x="2887" y="56"/>
                      <a:pt x="2859" y="84"/>
                    </a:cubicBezTo>
                    <a:cubicBezTo>
                      <a:pt x="2833" y="110"/>
                      <a:pt x="2806" y="136"/>
                      <a:pt x="2780" y="163"/>
                    </a:cubicBezTo>
                    <a:cubicBezTo>
                      <a:pt x="2770" y="151"/>
                      <a:pt x="2759" y="139"/>
                      <a:pt x="2749" y="127"/>
                    </a:cubicBezTo>
                    <a:cubicBezTo>
                      <a:pt x="2704" y="143"/>
                      <a:pt x="2659" y="159"/>
                      <a:pt x="2614" y="176"/>
                    </a:cubicBezTo>
                    <a:cubicBezTo>
                      <a:pt x="2626" y="210"/>
                      <a:pt x="2639" y="245"/>
                      <a:pt x="2651" y="280"/>
                    </a:cubicBezTo>
                    <a:cubicBezTo>
                      <a:pt x="2649" y="312"/>
                      <a:pt x="2647" y="345"/>
                      <a:pt x="2645" y="378"/>
                    </a:cubicBezTo>
                    <a:cubicBezTo>
                      <a:pt x="2633" y="394"/>
                      <a:pt x="2620" y="410"/>
                      <a:pt x="2608" y="427"/>
                    </a:cubicBezTo>
                    <a:cubicBezTo>
                      <a:pt x="2586" y="410"/>
                      <a:pt x="2563" y="394"/>
                      <a:pt x="2541" y="378"/>
                    </a:cubicBezTo>
                    <a:cubicBezTo>
                      <a:pt x="2500" y="349"/>
                      <a:pt x="2459" y="320"/>
                      <a:pt x="2418" y="292"/>
                    </a:cubicBezTo>
                    <a:cubicBezTo>
                      <a:pt x="2383" y="292"/>
                      <a:pt x="2349" y="292"/>
                      <a:pt x="2314" y="292"/>
                    </a:cubicBezTo>
                    <a:cubicBezTo>
                      <a:pt x="2281" y="320"/>
                      <a:pt x="2249" y="349"/>
                      <a:pt x="2216" y="378"/>
                    </a:cubicBezTo>
                    <a:cubicBezTo>
                      <a:pt x="2192" y="412"/>
                      <a:pt x="2167" y="447"/>
                      <a:pt x="2143" y="482"/>
                    </a:cubicBezTo>
                    <a:cubicBezTo>
                      <a:pt x="2100" y="506"/>
                      <a:pt x="2057" y="530"/>
                      <a:pt x="2014" y="555"/>
                    </a:cubicBezTo>
                    <a:cubicBezTo>
                      <a:pt x="1975" y="571"/>
                      <a:pt x="1937" y="587"/>
                      <a:pt x="1898" y="604"/>
                    </a:cubicBezTo>
                    <a:cubicBezTo>
                      <a:pt x="1867" y="620"/>
                      <a:pt x="1837" y="636"/>
                      <a:pt x="1806" y="653"/>
                    </a:cubicBezTo>
                    <a:cubicBezTo>
                      <a:pt x="1804" y="698"/>
                      <a:pt x="1802" y="743"/>
                      <a:pt x="1800" y="788"/>
                    </a:cubicBezTo>
                    <a:cubicBezTo>
                      <a:pt x="1792" y="812"/>
                      <a:pt x="1783" y="836"/>
                      <a:pt x="1775" y="861"/>
                    </a:cubicBezTo>
                    <a:cubicBezTo>
                      <a:pt x="1745" y="877"/>
                      <a:pt x="1714" y="893"/>
                      <a:pt x="1684" y="910"/>
                    </a:cubicBezTo>
                    <a:cubicBezTo>
                      <a:pt x="1657" y="922"/>
                      <a:pt x="1631" y="934"/>
                      <a:pt x="1604" y="947"/>
                    </a:cubicBezTo>
                    <a:cubicBezTo>
                      <a:pt x="1604" y="981"/>
                      <a:pt x="1604" y="1016"/>
                      <a:pt x="1604" y="1051"/>
                    </a:cubicBezTo>
                    <a:cubicBezTo>
                      <a:pt x="1584" y="1069"/>
                      <a:pt x="1563" y="1087"/>
                      <a:pt x="1543" y="1106"/>
                    </a:cubicBezTo>
                    <a:cubicBezTo>
                      <a:pt x="1514" y="1128"/>
                      <a:pt x="1486" y="1151"/>
                      <a:pt x="1457" y="1174"/>
                    </a:cubicBezTo>
                    <a:cubicBezTo>
                      <a:pt x="1437" y="1153"/>
                      <a:pt x="1417" y="1132"/>
                      <a:pt x="1396" y="1112"/>
                    </a:cubicBezTo>
                    <a:cubicBezTo>
                      <a:pt x="1357" y="1087"/>
                      <a:pt x="1318" y="1063"/>
                      <a:pt x="1279" y="1039"/>
                    </a:cubicBezTo>
                    <a:cubicBezTo>
                      <a:pt x="1255" y="1047"/>
                      <a:pt x="1231" y="1055"/>
                      <a:pt x="1206" y="1063"/>
                    </a:cubicBezTo>
                    <a:cubicBezTo>
                      <a:pt x="1155" y="1073"/>
                      <a:pt x="1104" y="1083"/>
                      <a:pt x="1053" y="1094"/>
                    </a:cubicBezTo>
                    <a:cubicBezTo>
                      <a:pt x="1025" y="1118"/>
                      <a:pt x="996" y="1143"/>
                      <a:pt x="967" y="1168"/>
                    </a:cubicBezTo>
                    <a:cubicBezTo>
                      <a:pt x="953" y="1188"/>
                      <a:pt x="939" y="1208"/>
                      <a:pt x="924" y="1229"/>
                    </a:cubicBezTo>
                    <a:cubicBezTo>
                      <a:pt x="896" y="1269"/>
                      <a:pt x="868" y="1310"/>
                      <a:pt x="839" y="1351"/>
                    </a:cubicBezTo>
                    <a:cubicBezTo>
                      <a:pt x="845" y="1383"/>
                      <a:pt x="851" y="1416"/>
                      <a:pt x="857" y="1449"/>
                    </a:cubicBezTo>
                    <a:cubicBezTo>
                      <a:pt x="863" y="1488"/>
                      <a:pt x="869" y="1527"/>
                      <a:pt x="875" y="1566"/>
                    </a:cubicBezTo>
                    <a:cubicBezTo>
                      <a:pt x="857" y="1596"/>
                      <a:pt x="839" y="1626"/>
                      <a:pt x="820" y="1657"/>
                    </a:cubicBezTo>
                    <a:cubicBezTo>
                      <a:pt x="820" y="1685"/>
                      <a:pt x="820" y="1714"/>
                      <a:pt x="820" y="1743"/>
                    </a:cubicBezTo>
                    <a:cubicBezTo>
                      <a:pt x="794" y="1739"/>
                      <a:pt x="768" y="1735"/>
                      <a:pt x="741" y="1731"/>
                    </a:cubicBezTo>
                    <a:cubicBezTo>
                      <a:pt x="717" y="1753"/>
                      <a:pt x="692" y="1775"/>
                      <a:pt x="667" y="1798"/>
                    </a:cubicBezTo>
                    <a:cubicBezTo>
                      <a:pt x="667" y="1845"/>
                      <a:pt x="667" y="1892"/>
                      <a:pt x="667" y="1939"/>
                    </a:cubicBezTo>
                    <a:cubicBezTo>
                      <a:pt x="676" y="1973"/>
                      <a:pt x="684" y="2008"/>
                      <a:pt x="692" y="2043"/>
                    </a:cubicBezTo>
                    <a:cubicBezTo>
                      <a:pt x="698" y="2061"/>
                      <a:pt x="704" y="2079"/>
                      <a:pt x="710" y="2098"/>
                    </a:cubicBezTo>
                    <a:cubicBezTo>
                      <a:pt x="729" y="2126"/>
                      <a:pt x="747" y="2155"/>
                      <a:pt x="765" y="2184"/>
                    </a:cubicBezTo>
                    <a:cubicBezTo>
                      <a:pt x="788" y="2202"/>
                      <a:pt x="810" y="2220"/>
                      <a:pt x="832" y="2239"/>
                    </a:cubicBezTo>
                    <a:cubicBezTo>
                      <a:pt x="867" y="2273"/>
                      <a:pt x="902" y="2308"/>
                      <a:pt x="937" y="2343"/>
                    </a:cubicBezTo>
                    <a:cubicBezTo>
                      <a:pt x="951" y="2361"/>
                      <a:pt x="965" y="2379"/>
                      <a:pt x="979" y="2398"/>
                    </a:cubicBezTo>
                    <a:cubicBezTo>
                      <a:pt x="982" y="2420"/>
                      <a:pt x="984" y="2443"/>
                      <a:pt x="986" y="2466"/>
                    </a:cubicBezTo>
                    <a:cubicBezTo>
                      <a:pt x="968" y="2488"/>
                      <a:pt x="949" y="2510"/>
                      <a:pt x="930" y="2533"/>
                    </a:cubicBezTo>
                    <a:cubicBezTo>
                      <a:pt x="930" y="2557"/>
                      <a:pt x="930" y="2581"/>
                      <a:pt x="930" y="2606"/>
                    </a:cubicBezTo>
                    <a:cubicBezTo>
                      <a:pt x="922" y="2628"/>
                      <a:pt x="914" y="2651"/>
                      <a:pt x="906" y="2674"/>
                    </a:cubicBezTo>
                    <a:cubicBezTo>
                      <a:pt x="886" y="2690"/>
                      <a:pt x="866" y="2706"/>
                      <a:pt x="845" y="2723"/>
                    </a:cubicBezTo>
                    <a:cubicBezTo>
                      <a:pt x="841" y="2747"/>
                      <a:pt x="837" y="2771"/>
                      <a:pt x="832" y="2796"/>
                    </a:cubicBezTo>
                    <a:cubicBezTo>
                      <a:pt x="835" y="2837"/>
                      <a:pt x="837" y="2878"/>
                      <a:pt x="839" y="2919"/>
                    </a:cubicBezTo>
                    <a:cubicBezTo>
                      <a:pt x="872" y="2951"/>
                      <a:pt x="905" y="2984"/>
                      <a:pt x="937" y="3016"/>
                    </a:cubicBezTo>
                    <a:cubicBezTo>
                      <a:pt x="925" y="3049"/>
                      <a:pt x="913" y="3082"/>
                      <a:pt x="900" y="3114"/>
                    </a:cubicBezTo>
                    <a:cubicBezTo>
                      <a:pt x="872" y="3147"/>
                      <a:pt x="843" y="3180"/>
                      <a:pt x="814" y="3212"/>
                    </a:cubicBezTo>
                    <a:cubicBezTo>
                      <a:pt x="782" y="3239"/>
                      <a:pt x="749" y="3265"/>
                      <a:pt x="716" y="3291"/>
                    </a:cubicBezTo>
                    <a:cubicBezTo>
                      <a:pt x="682" y="3322"/>
                      <a:pt x="647" y="3353"/>
                      <a:pt x="612" y="3383"/>
                    </a:cubicBezTo>
                    <a:cubicBezTo>
                      <a:pt x="574" y="3387"/>
                      <a:pt x="535" y="3391"/>
                      <a:pt x="496" y="3395"/>
                    </a:cubicBezTo>
                    <a:cubicBezTo>
                      <a:pt x="449" y="3400"/>
                      <a:pt x="402" y="3404"/>
                      <a:pt x="355" y="3408"/>
                    </a:cubicBezTo>
                    <a:cubicBezTo>
                      <a:pt x="357" y="3410"/>
                      <a:pt x="359" y="3412"/>
                      <a:pt x="361" y="3414"/>
                    </a:cubicBezTo>
                    <a:cubicBezTo>
                      <a:pt x="333" y="3461"/>
                      <a:pt x="304" y="3508"/>
                      <a:pt x="275" y="3554"/>
                    </a:cubicBezTo>
                    <a:cubicBezTo>
                      <a:pt x="245" y="3597"/>
                      <a:pt x="214" y="3640"/>
                      <a:pt x="183" y="3683"/>
                    </a:cubicBezTo>
                    <a:cubicBezTo>
                      <a:pt x="161" y="3638"/>
                      <a:pt x="139" y="3593"/>
                      <a:pt x="116" y="3548"/>
                    </a:cubicBezTo>
                    <a:cubicBezTo>
                      <a:pt x="96" y="3548"/>
                      <a:pt x="76" y="3548"/>
                      <a:pt x="55" y="3548"/>
                    </a:cubicBezTo>
                    <a:cubicBezTo>
                      <a:pt x="55" y="3565"/>
                      <a:pt x="55" y="3581"/>
                      <a:pt x="55" y="3597"/>
                    </a:cubicBezTo>
                    <a:cubicBezTo>
                      <a:pt x="53" y="3624"/>
                      <a:pt x="51" y="3651"/>
                      <a:pt x="49" y="3677"/>
                    </a:cubicBezTo>
                    <a:cubicBezTo>
                      <a:pt x="33" y="3688"/>
                      <a:pt x="17" y="3698"/>
                      <a:pt x="0" y="3708"/>
                    </a:cubicBezTo>
                    <a:cubicBezTo>
                      <a:pt x="15" y="3753"/>
                      <a:pt x="29" y="3798"/>
                      <a:pt x="43" y="3842"/>
                    </a:cubicBezTo>
                    <a:cubicBezTo>
                      <a:pt x="62" y="3887"/>
                      <a:pt x="80" y="3932"/>
                      <a:pt x="98" y="3977"/>
                    </a:cubicBezTo>
                    <a:cubicBezTo>
                      <a:pt x="110" y="4012"/>
                      <a:pt x="122" y="4047"/>
                      <a:pt x="134" y="4081"/>
                    </a:cubicBezTo>
                    <a:cubicBezTo>
                      <a:pt x="155" y="4126"/>
                      <a:pt x="176" y="4171"/>
                      <a:pt x="196" y="4216"/>
                    </a:cubicBezTo>
                    <a:cubicBezTo>
                      <a:pt x="204" y="4263"/>
                      <a:pt x="212" y="4310"/>
                      <a:pt x="220" y="4357"/>
                    </a:cubicBezTo>
                    <a:cubicBezTo>
                      <a:pt x="222" y="4396"/>
                      <a:pt x="224" y="4435"/>
                      <a:pt x="226" y="4473"/>
                    </a:cubicBezTo>
                    <a:cubicBezTo>
                      <a:pt x="243" y="4502"/>
                      <a:pt x="259" y="4531"/>
                      <a:pt x="275" y="4559"/>
                    </a:cubicBezTo>
                    <a:cubicBezTo>
                      <a:pt x="294" y="4584"/>
                      <a:pt x="312" y="4608"/>
                      <a:pt x="330" y="4632"/>
                    </a:cubicBezTo>
                    <a:cubicBezTo>
                      <a:pt x="333" y="4655"/>
                      <a:pt x="335" y="4677"/>
                      <a:pt x="337" y="4699"/>
                    </a:cubicBezTo>
                    <a:cubicBezTo>
                      <a:pt x="337" y="4734"/>
                      <a:pt x="337" y="4769"/>
                      <a:pt x="337" y="4804"/>
                    </a:cubicBezTo>
                    <a:cubicBezTo>
                      <a:pt x="325" y="4851"/>
                      <a:pt x="313" y="4898"/>
                      <a:pt x="300" y="4944"/>
                    </a:cubicBezTo>
                    <a:cubicBezTo>
                      <a:pt x="306" y="4981"/>
                      <a:pt x="312" y="5018"/>
                      <a:pt x="318" y="5055"/>
                    </a:cubicBezTo>
                    <a:cubicBezTo>
                      <a:pt x="351" y="5090"/>
                      <a:pt x="384" y="5125"/>
                      <a:pt x="416" y="5159"/>
                    </a:cubicBezTo>
                    <a:cubicBezTo>
                      <a:pt x="451" y="5182"/>
                      <a:pt x="486" y="5204"/>
                      <a:pt x="520" y="5226"/>
                    </a:cubicBezTo>
                    <a:cubicBezTo>
                      <a:pt x="518" y="5267"/>
                      <a:pt x="516" y="5308"/>
                      <a:pt x="514" y="5348"/>
                    </a:cubicBezTo>
                    <a:cubicBezTo>
                      <a:pt x="494" y="5379"/>
                      <a:pt x="474" y="5410"/>
                      <a:pt x="453" y="5440"/>
                    </a:cubicBezTo>
                    <a:cubicBezTo>
                      <a:pt x="431" y="5481"/>
                      <a:pt x="408" y="5522"/>
                      <a:pt x="385" y="5563"/>
                    </a:cubicBezTo>
                    <a:cubicBezTo>
                      <a:pt x="363" y="5600"/>
                      <a:pt x="341" y="5637"/>
                      <a:pt x="318" y="5673"/>
                    </a:cubicBezTo>
                    <a:cubicBezTo>
                      <a:pt x="302" y="5706"/>
                      <a:pt x="286" y="5739"/>
                      <a:pt x="269" y="5771"/>
                    </a:cubicBezTo>
                    <a:cubicBezTo>
                      <a:pt x="255" y="5773"/>
                      <a:pt x="241" y="5775"/>
                      <a:pt x="226" y="5777"/>
                    </a:cubicBezTo>
                    <a:cubicBezTo>
                      <a:pt x="196" y="5802"/>
                      <a:pt x="165" y="5827"/>
                      <a:pt x="134" y="5851"/>
                    </a:cubicBezTo>
                    <a:cubicBezTo>
                      <a:pt x="139" y="5904"/>
                      <a:pt x="143" y="5957"/>
                      <a:pt x="147" y="6010"/>
                    </a:cubicBezTo>
                    <a:cubicBezTo>
                      <a:pt x="162" y="6031"/>
                      <a:pt x="176" y="6051"/>
                      <a:pt x="190" y="6071"/>
                    </a:cubicBezTo>
                    <a:cubicBezTo>
                      <a:pt x="213" y="6092"/>
                      <a:pt x="235" y="6112"/>
                      <a:pt x="257" y="6132"/>
                    </a:cubicBezTo>
                    <a:cubicBezTo>
                      <a:pt x="257" y="6157"/>
                      <a:pt x="257" y="6182"/>
                      <a:pt x="257" y="6206"/>
                    </a:cubicBezTo>
                    <a:cubicBezTo>
                      <a:pt x="257" y="6209"/>
                      <a:pt x="257" y="6212"/>
                      <a:pt x="257" y="6215"/>
                    </a:cubicBezTo>
                    <a:cubicBezTo>
                      <a:pt x="280" y="6200"/>
                      <a:pt x="302" y="6185"/>
                      <a:pt x="324" y="6169"/>
                    </a:cubicBezTo>
                    <a:cubicBezTo>
                      <a:pt x="363" y="6139"/>
                      <a:pt x="402" y="6108"/>
                      <a:pt x="441" y="6077"/>
                    </a:cubicBezTo>
                    <a:cubicBezTo>
                      <a:pt x="480" y="6067"/>
                      <a:pt x="519" y="6057"/>
                      <a:pt x="557" y="6046"/>
                    </a:cubicBezTo>
                    <a:cubicBezTo>
                      <a:pt x="596" y="5987"/>
                      <a:pt x="635" y="5928"/>
                      <a:pt x="673" y="5869"/>
                    </a:cubicBezTo>
                    <a:cubicBezTo>
                      <a:pt x="694" y="5843"/>
                      <a:pt x="714" y="5816"/>
                      <a:pt x="734" y="5789"/>
                    </a:cubicBezTo>
                    <a:cubicBezTo>
                      <a:pt x="743" y="5757"/>
                      <a:pt x="751" y="5724"/>
                      <a:pt x="759" y="5691"/>
                    </a:cubicBezTo>
                    <a:cubicBezTo>
                      <a:pt x="796" y="5687"/>
                      <a:pt x="833" y="5683"/>
                      <a:pt x="869" y="5679"/>
                    </a:cubicBezTo>
                    <a:cubicBezTo>
                      <a:pt x="878" y="5661"/>
                      <a:pt x="886" y="5643"/>
                      <a:pt x="894" y="5624"/>
                    </a:cubicBezTo>
                    <a:cubicBezTo>
                      <a:pt x="902" y="5598"/>
                      <a:pt x="910" y="5571"/>
                      <a:pt x="918" y="5544"/>
                    </a:cubicBezTo>
                    <a:cubicBezTo>
                      <a:pt x="939" y="5524"/>
                      <a:pt x="959" y="5504"/>
                      <a:pt x="979" y="5483"/>
                    </a:cubicBezTo>
                    <a:cubicBezTo>
                      <a:pt x="988" y="5459"/>
                      <a:pt x="996" y="5435"/>
                      <a:pt x="1004" y="5410"/>
                    </a:cubicBezTo>
                    <a:cubicBezTo>
                      <a:pt x="1008" y="5386"/>
                      <a:pt x="1012" y="5361"/>
                      <a:pt x="1016" y="5336"/>
                    </a:cubicBezTo>
                    <a:cubicBezTo>
                      <a:pt x="1031" y="5349"/>
                      <a:pt x="1045" y="5361"/>
                      <a:pt x="1059" y="5373"/>
                    </a:cubicBezTo>
                    <a:cubicBezTo>
                      <a:pt x="1076" y="5373"/>
                      <a:pt x="1092" y="5373"/>
                      <a:pt x="1108" y="5373"/>
                    </a:cubicBezTo>
                    <a:cubicBezTo>
                      <a:pt x="1143" y="5359"/>
                      <a:pt x="1178" y="5345"/>
                      <a:pt x="1212" y="5330"/>
                    </a:cubicBezTo>
                    <a:cubicBezTo>
                      <a:pt x="1239" y="5339"/>
                      <a:pt x="1266" y="5347"/>
                      <a:pt x="1292" y="5355"/>
                    </a:cubicBezTo>
                    <a:cubicBezTo>
                      <a:pt x="1317" y="5341"/>
                      <a:pt x="1341" y="5327"/>
                      <a:pt x="1365" y="5312"/>
                    </a:cubicBezTo>
                    <a:cubicBezTo>
                      <a:pt x="1396" y="5331"/>
                      <a:pt x="1427" y="5349"/>
                      <a:pt x="1457" y="5367"/>
                    </a:cubicBezTo>
                    <a:cubicBezTo>
                      <a:pt x="1476" y="5353"/>
                      <a:pt x="1494" y="5339"/>
                      <a:pt x="1512" y="5324"/>
                    </a:cubicBezTo>
                    <a:cubicBezTo>
                      <a:pt x="1528" y="5328"/>
                      <a:pt x="1545" y="5332"/>
                      <a:pt x="1561" y="5336"/>
                    </a:cubicBezTo>
                    <a:cubicBezTo>
                      <a:pt x="1600" y="5334"/>
                      <a:pt x="1638" y="5332"/>
                      <a:pt x="1677" y="5330"/>
                    </a:cubicBezTo>
                    <a:cubicBezTo>
                      <a:pt x="1687" y="5320"/>
                      <a:pt x="1698" y="5310"/>
                      <a:pt x="1708" y="5299"/>
                    </a:cubicBezTo>
                    <a:cubicBezTo>
                      <a:pt x="1698" y="5285"/>
                      <a:pt x="1687" y="5271"/>
                      <a:pt x="1677" y="5257"/>
                    </a:cubicBezTo>
                    <a:cubicBezTo>
                      <a:pt x="1649" y="5249"/>
                      <a:pt x="1620" y="5241"/>
                      <a:pt x="1592" y="5232"/>
                    </a:cubicBezTo>
                    <a:cubicBezTo>
                      <a:pt x="1557" y="5232"/>
                      <a:pt x="1523" y="5232"/>
                      <a:pt x="1488" y="5232"/>
                    </a:cubicBezTo>
                    <a:cubicBezTo>
                      <a:pt x="1494" y="5210"/>
                      <a:pt x="1500" y="5188"/>
                      <a:pt x="1506" y="5165"/>
                    </a:cubicBezTo>
                    <a:cubicBezTo>
                      <a:pt x="1557" y="5143"/>
                      <a:pt x="1608" y="5120"/>
                      <a:pt x="1659" y="5097"/>
                    </a:cubicBezTo>
                    <a:cubicBezTo>
                      <a:pt x="1673" y="5069"/>
                      <a:pt x="1688" y="5041"/>
                      <a:pt x="1702" y="5012"/>
                    </a:cubicBezTo>
                    <a:cubicBezTo>
                      <a:pt x="1671" y="5012"/>
                      <a:pt x="1641" y="5012"/>
                      <a:pt x="1610" y="5012"/>
                    </a:cubicBezTo>
                    <a:cubicBezTo>
                      <a:pt x="1588" y="4973"/>
                      <a:pt x="1565" y="4934"/>
                      <a:pt x="1543" y="4895"/>
                    </a:cubicBezTo>
                    <a:cubicBezTo>
                      <a:pt x="1561" y="4875"/>
                      <a:pt x="1580" y="4855"/>
                      <a:pt x="1598" y="4834"/>
                    </a:cubicBezTo>
                    <a:cubicBezTo>
                      <a:pt x="1614" y="4816"/>
                      <a:pt x="1631" y="4798"/>
                      <a:pt x="1647" y="4779"/>
                    </a:cubicBezTo>
                    <a:cubicBezTo>
                      <a:pt x="1659" y="4771"/>
                      <a:pt x="1672" y="4763"/>
                      <a:pt x="1684" y="4755"/>
                    </a:cubicBezTo>
                    <a:cubicBezTo>
                      <a:pt x="1694" y="4733"/>
                      <a:pt x="1704" y="4710"/>
                      <a:pt x="1714" y="4687"/>
                    </a:cubicBezTo>
                    <a:cubicBezTo>
                      <a:pt x="1700" y="4669"/>
                      <a:pt x="1685" y="4651"/>
                      <a:pt x="1671" y="4632"/>
                    </a:cubicBezTo>
                    <a:cubicBezTo>
                      <a:pt x="1645" y="4634"/>
                      <a:pt x="1618" y="4636"/>
                      <a:pt x="1592" y="4638"/>
                    </a:cubicBezTo>
                    <a:cubicBezTo>
                      <a:pt x="1555" y="4665"/>
                      <a:pt x="1518" y="4692"/>
                      <a:pt x="1481" y="4718"/>
                    </a:cubicBezTo>
                    <a:cubicBezTo>
                      <a:pt x="1471" y="4682"/>
                      <a:pt x="1461" y="4645"/>
                      <a:pt x="1451" y="4608"/>
                    </a:cubicBezTo>
                    <a:cubicBezTo>
                      <a:pt x="1464" y="4592"/>
                      <a:pt x="1476" y="4576"/>
                      <a:pt x="1488" y="4559"/>
                    </a:cubicBezTo>
                    <a:cubicBezTo>
                      <a:pt x="1476" y="4537"/>
                      <a:pt x="1464" y="4514"/>
                      <a:pt x="1451" y="4491"/>
                    </a:cubicBezTo>
                    <a:cubicBezTo>
                      <a:pt x="1435" y="4491"/>
                      <a:pt x="1419" y="4491"/>
                      <a:pt x="1402" y="4491"/>
                    </a:cubicBezTo>
                    <a:cubicBezTo>
                      <a:pt x="1388" y="4461"/>
                      <a:pt x="1374" y="4430"/>
                      <a:pt x="1359" y="4399"/>
                    </a:cubicBezTo>
                    <a:cubicBezTo>
                      <a:pt x="1374" y="4377"/>
                      <a:pt x="1388" y="4355"/>
                      <a:pt x="1402" y="4332"/>
                    </a:cubicBezTo>
                    <a:cubicBezTo>
                      <a:pt x="1404" y="4271"/>
                      <a:pt x="1406" y="4210"/>
                      <a:pt x="1408" y="4148"/>
                    </a:cubicBezTo>
                    <a:cubicBezTo>
                      <a:pt x="1406" y="4110"/>
                      <a:pt x="1404" y="4071"/>
                      <a:pt x="1402" y="4032"/>
                    </a:cubicBezTo>
                    <a:cubicBezTo>
                      <a:pt x="1419" y="4004"/>
                      <a:pt x="1435" y="3975"/>
                      <a:pt x="1451" y="3946"/>
                    </a:cubicBezTo>
                    <a:cubicBezTo>
                      <a:pt x="1449" y="3895"/>
                      <a:pt x="1447" y="3844"/>
                      <a:pt x="1445" y="3793"/>
                    </a:cubicBezTo>
                    <a:cubicBezTo>
                      <a:pt x="1417" y="3787"/>
                      <a:pt x="1388" y="3781"/>
                      <a:pt x="1359" y="3775"/>
                    </a:cubicBezTo>
                    <a:cubicBezTo>
                      <a:pt x="1365" y="3718"/>
                      <a:pt x="1371" y="3661"/>
                      <a:pt x="1377" y="3603"/>
                    </a:cubicBezTo>
                    <a:cubicBezTo>
                      <a:pt x="1365" y="3565"/>
                      <a:pt x="1353" y="3526"/>
                      <a:pt x="1341" y="3487"/>
                    </a:cubicBezTo>
                    <a:cubicBezTo>
                      <a:pt x="1351" y="3467"/>
                      <a:pt x="1361" y="3447"/>
                      <a:pt x="1371" y="3426"/>
                    </a:cubicBezTo>
                    <a:cubicBezTo>
                      <a:pt x="1390" y="3426"/>
                      <a:pt x="1408" y="3426"/>
                      <a:pt x="1426" y="3426"/>
                    </a:cubicBezTo>
                    <a:cubicBezTo>
                      <a:pt x="1455" y="3455"/>
                      <a:pt x="1484" y="3484"/>
                      <a:pt x="1512" y="3512"/>
                    </a:cubicBezTo>
                    <a:cubicBezTo>
                      <a:pt x="1537" y="3484"/>
                      <a:pt x="1561" y="3455"/>
                      <a:pt x="1586" y="3426"/>
                    </a:cubicBezTo>
                    <a:cubicBezTo>
                      <a:pt x="1633" y="3424"/>
                      <a:pt x="1679" y="3422"/>
                      <a:pt x="1726" y="3420"/>
                    </a:cubicBezTo>
                    <a:cubicBezTo>
                      <a:pt x="1793" y="3357"/>
                      <a:pt x="1861" y="3294"/>
                      <a:pt x="1928" y="3230"/>
                    </a:cubicBezTo>
                    <a:cubicBezTo>
                      <a:pt x="1953" y="3200"/>
                      <a:pt x="1977" y="3169"/>
                      <a:pt x="2002" y="3138"/>
                    </a:cubicBezTo>
                    <a:cubicBezTo>
                      <a:pt x="1992" y="3112"/>
                      <a:pt x="1981" y="3086"/>
                      <a:pt x="1971" y="3059"/>
                    </a:cubicBezTo>
                    <a:cubicBezTo>
                      <a:pt x="1963" y="3029"/>
                      <a:pt x="1955" y="2998"/>
                      <a:pt x="1947" y="2967"/>
                    </a:cubicBezTo>
                    <a:cubicBezTo>
                      <a:pt x="1976" y="2955"/>
                      <a:pt x="2004" y="2943"/>
                      <a:pt x="2033" y="2930"/>
                    </a:cubicBezTo>
                    <a:cubicBezTo>
                      <a:pt x="2055" y="2912"/>
                      <a:pt x="2078" y="2894"/>
                      <a:pt x="2100" y="2876"/>
                    </a:cubicBezTo>
                    <a:cubicBezTo>
                      <a:pt x="2098" y="2841"/>
                      <a:pt x="2096" y="2806"/>
                      <a:pt x="2094" y="2772"/>
                    </a:cubicBezTo>
                    <a:cubicBezTo>
                      <a:pt x="2049" y="2743"/>
                      <a:pt x="2004" y="2714"/>
                      <a:pt x="1959" y="2686"/>
                    </a:cubicBezTo>
                    <a:cubicBezTo>
                      <a:pt x="1955" y="2629"/>
                      <a:pt x="1951" y="2572"/>
                      <a:pt x="1947" y="2515"/>
                    </a:cubicBezTo>
                    <a:cubicBezTo>
                      <a:pt x="1906" y="2480"/>
                      <a:pt x="1865" y="2445"/>
                      <a:pt x="1824" y="2411"/>
                    </a:cubicBezTo>
                    <a:cubicBezTo>
                      <a:pt x="1789" y="2425"/>
                      <a:pt x="1755" y="2439"/>
                      <a:pt x="1720" y="2453"/>
                    </a:cubicBezTo>
                    <a:cubicBezTo>
                      <a:pt x="1640" y="2422"/>
                      <a:pt x="1561" y="2392"/>
                      <a:pt x="1481" y="2362"/>
                    </a:cubicBezTo>
                    <a:cubicBezTo>
                      <a:pt x="1453" y="2372"/>
                      <a:pt x="1425" y="2382"/>
                      <a:pt x="1396" y="2392"/>
                    </a:cubicBezTo>
                    <a:cubicBezTo>
                      <a:pt x="1325" y="2363"/>
                      <a:pt x="1253" y="2334"/>
                      <a:pt x="1181" y="2306"/>
                    </a:cubicBezTo>
                    <a:cubicBezTo>
                      <a:pt x="1202" y="2275"/>
                      <a:pt x="1223" y="2245"/>
                      <a:pt x="1243" y="2215"/>
                    </a:cubicBezTo>
                    <a:cubicBezTo>
                      <a:pt x="1270" y="2215"/>
                      <a:pt x="1296" y="2215"/>
                      <a:pt x="1322" y="2215"/>
                    </a:cubicBezTo>
                    <a:cubicBezTo>
                      <a:pt x="1343" y="2180"/>
                      <a:pt x="1364" y="2145"/>
                      <a:pt x="1384" y="2111"/>
                    </a:cubicBezTo>
                    <a:cubicBezTo>
                      <a:pt x="1433" y="2084"/>
                      <a:pt x="1482" y="2057"/>
                      <a:pt x="1530" y="2031"/>
                    </a:cubicBezTo>
                    <a:cubicBezTo>
                      <a:pt x="1516" y="1994"/>
                      <a:pt x="1502" y="1957"/>
                      <a:pt x="1488" y="1921"/>
                    </a:cubicBezTo>
                    <a:cubicBezTo>
                      <a:pt x="1498" y="1898"/>
                      <a:pt x="1508" y="1875"/>
                      <a:pt x="1518" y="1853"/>
                    </a:cubicBezTo>
                    <a:cubicBezTo>
                      <a:pt x="1563" y="1853"/>
                      <a:pt x="1608" y="1853"/>
                      <a:pt x="1653" y="1853"/>
                    </a:cubicBezTo>
                    <a:cubicBezTo>
                      <a:pt x="1686" y="1836"/>
                      <a:pt x="1718" y="1820"/>
                      <a:pt x="1751" y="1804"/>
                    </a:cubicBezTo>
                    <a:cubicBezTo>
                      <a:pt x="1784" y="1828"/>
                      <a:pt x="1816" y="1853"/>
                      <a:pt x="1849" y="1878"/>
                    </a:cubicBezTo>
                    <a:cubicBezTo>
                      <a:pt x="1884" y="1876"/>
                      <a:pt x="1918" y="1874"/>
                      <a:pt x="1953" y="1872"/>
                    </a:cubicBezTo>
                    <a:cubicBezTo>
                      <a:pt x="1959" y="1886"/>
                      <a:pt x="1965" y="1900"/>
                      <a:pt x="1971" y="1915"/>
                    </a:cubicBezTo>
                    <a:cubicBezTo>
                      <a:pt x="1989" y="1915"/>
                      <a:pt x="2008" y="1915"/>
                      <a:pt x="2026" y="1915"/>
                    </a:cubicBezTo>
                    <a:cubicBezTo>
                      <a:pt x="2042" y="1925"/>
                      <a:pt x="2059" y="1935"/>
                      <a:pt x="2075" y="1945"/>
                    </a:cubicBezTo>
                    <a:cubicBezTo>
                      <a:pt x="2087" y="1977"/>
                      <a:pt x="2100" y="2010"/>
                      <a:pt x="2112" y="2043"/>
                    </a:cubicBezTo>
                    <a:cubicBezTo>
                      <a:pt x="2139" y="2057"/>
                      <a:pt x="2165" y="2071"/>
                      <a:pt x="2192" y="2086"/>
                    </a:cubicBezTo>
                    <a:cubicBezTo>
                      <a:pt x="2267" y="2106"/>
                      <a:pt x="2343" y="2126"/>
                      <a:pt x="2418" y="2147"/>
                    </a:cubicBezTo>
                    <a:cubicBezTo>
                      <a:pt x="2443" y="2075"/>
                      <a:pt x="2467" y="2004"/>
                      <a:pt x="2492" y="1933"/>
                    </a:cubicBezTo>
                    <a:cubicBezTo>
                      <a:pt x="2516" y="1971"/>
                      <a:pt x="2541" y="2010"/>
                      <a:pt x="2565" y="2049"/>
                    </a:cubicBezTo>
                    <a:cubicBezTo>
                      <a:pt x="2710" y="2006"/>
                      <a:pt x="2855" y="1963"/>
                      <a:pt x="3000" y="1921"/>
                    </a:cubicBezTo>
                    <a:cubicBezTo>
                      <a:pt x="3059" y="1919"/>
                      <a:pt x="3119" y="1917"/>
                      <a:pt x="3178" y="1915"/>
                    </a:cubicBezTo>
                    <a:cubicBezTo>
                      <a:pt x="3153" y="1874"/>
                      <a:pt x="3129" y="1833"/>
                      <a:pt x="3104" y="1792"/>
                    </a:cubicBezTo>
                    <a:cubicBezTo>
                      <a:pt x="3106" y="1730"/>
                      <a:pt x="3108" y="1669"/>
                      <a:pt x="3110" y="1608"/>
                    </a:cubicBezTo>
                    <a:cubicBezTo>
                      <a:pt x="3088" y="1583"/>
                      <a:pt x="3065" y="1559"/>
                      <a:pt x="3043" y="1535"/>
                    </a:cubicBezTo>
                    <a:cubicBezTo>
                      <a:pt x="3041" y="1516"/>
                      <a:pt x="3039" y="1498"/>
                      <a:pt x="3037" y="1480"/>
                    </a:cubicBezTo>
                    <a:cubicBezTo>
                      <a:pt x="3047" y="1457"/>
                      <a:pt x="3057" y="1435"/>
                      <a:pt x="3067" y="1413"/>
                    </a:cubicBezTo>
                    <a:cubicBezTo>
                      <a:pt x="3055" y="1390"/>
                      <a:pt x="3043" y="1367"/>
                      <a:pt x="3031" y="1345"/>
                    </a:cubicBezTo>
                    <a:cubicBezTo>
                      <a:pt x="2980" y="1308"/>
                      <a:pt x="2929" y="1271"/>
                      <a:pt x="2878" y="1235"/>
                    </a:cubicBezTo>
                    <a:cubicBezTo>
                      <a:pt x="2878" y="1222"/>
                      <a:pt x="2878" y="1210"/>
                      <a:pt x="2878" y="1198"/>
                    </a:cubicBezTo>
                    <a:cubicBezTo>
                      <a:pt x="2925" y="1188"/>
                      <a:pt x="2971" y="1178"/>
                      <a:pt x="3018" y="1168"/>
                    </a:cubicBezTo>
                    <a:cubicBezTo>
                      <a:pt x="3053" y="1127"/>
                      <a:pt x="3087" y="1086"/>
                      <a:pt x="3122" y="1045"/>
                    </a:cubicBezTo>
                    <a:cubicBezTo>
                      <a:pt x="3118" y="981"/>
                      <a:pt x="3114" y="918"/>
                      <a:pt x="3110" y="855"/>
                    </a:cubicBezTo>
                    <a:cubicBezTo>
                      <a:pt x="3120" y="820"/>
                      <a:pt x="3131" y="785"/>
                      <a:pt x="3141" y="751"/>
                    </a:cubicBezTo>
                    <a:cubicBezTo>
                      <a:pt x="3133" y="728"/>
                      <a:pt x="3124" y="706"/>
                      <a:pt x="3116" y="684"/>
                    </a:cubicBezTo>
                    <a:cubicBezTo>
                      <a:pt x="3163" y="616"/>
                      <a:pt x="3210" y="549"/>
                      <a:pt x="3257" y="482"/>
                    </a:cubicBezTo>
                    <a:cubicBezTo>
                      <a:pt x="3241" y="461"/>
                      <a:pt x="3224" y="441"/>
                      <a:pt x="3208" y="421"/>
                    </a:cubicBezTo>
                    <a:cubicBezTo>
                      <a:pt x="3149" y="418"/>
                      <a:pt x="3090" y="416"/>
                      <a:pt x="3031" y="414"/>
                    </a:cubicBezTo>
                    <a:cubicBezTo>
                      <a:pt x="3021" y="367"/>
                      <a:pt x="3010" y="320"/>
                      <a:pt x="3000" y="274"/>
                    </a:cubicBezTo>
                    <a:cubicBezTo>
                      <a:pt x="2998" y="227"/>
                      <a:pt x="2996" y="180"/>
                      <a:pt x="2994" y="133"/>
                    </a:cubicBezTo>
                    <a:cubicBezTo>
                      <a:pt x="2988" y="102"/>
                      <a:pt x="2982" y="71"/>
                      <a:pt x="2976" y="41"/>
                    </a:cubicBezTo>
                    <a:cubicBezTo>
                      <a:pt x="2965" y="27"/>
                      <a:pt x="2953" y="13"/>
                      <a:pt x="2942" y="0"/>
                    </a:cubicBezTo>
                    <a:cubicBezTo>
                      <a:pt x="2942" y="0"/>
                      <a:pt x="2942" y="0"/>
                      <a:pt x="2942" y="1"/>
                    </a:cubicBezTo>
                  </a:path>
                </a:pathLst>
              </a:custGeom>
              <a:grpFill/>
              <a:ln w="9525" cap="flat">
                <a:solidFill>
                  <a:schemeClr val="bg1"/>
                </a:solidFill>
                <a:bevel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6" name="Freeform 62">
                <a:extLst>
                  <a:ext uri="{FF2B5EF4-FFF2-40B4-BE49-F238E27FC236}">
                    <a16:creationId xmlns:a16="http://schemas.microsoft.com/office/drawing/2014/main" id="{8EAB9AEC-BC22-BD66-53A1-DE7344A877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20000">
                <a:off x="10789781" y="3870443"/>
                <a:ext cx="400849" cy="306667"/>
              </a:xfrm>
              <a:custGeom>
                <a:avLst/>
                <a:gdLst>
                  <a:gd name="T0" fmla="*/ 309356 w 1542"/>
                  <a:gd name="T1" fmla="*/ 14332 h 1183"/>
                  <a:gd name="T2" fmla="*/ 279175 w 1542"/>
                  <a:gd name="T3" fmla="*/ 21139 h 1183"/>
                  <a:gd name="T4" fmla="*/ 274145 w 1542"/>
                  <a:gd name="T5" fmla="*/ 53028 h 1183"/>
                  <a:gd name="T6" fmla="*/ 264084 w 1542"/>
                  <a:gd name="T7" fmla="*/ 85633 h 1183"/>
                  <a:gd name="T8" fmla="*/ 228514 w 1542"/>
                  <a:gd name="T9" fmla="*/ 73809 h 1183"/>
                  <a:gd name="T10" fmla="*/ 196536 w 1542"/>
                  <a:gd name="T11" fmla="*/ 93157 h 1183"/>
                  <a:gd name="T12" fmla="*/ 152342 w 1542"/>
                  <a:gd name="T13" fmla="*/ 112146 h 1183"/>
                  <a:gd name="T14" fmla="*/ 138330 w 1542"/>
                  <a:gd name="T15" fmla="*/ 136869 h 1183"/>
                  <a:gd name="T16" fmla="*/ 117131 w 1542"/>
                  <a:gd name="T17" fmla="*/ 158725 h 1183"/>
                  <a:gd name="T18" fmla="*/ 84794 w 1542"/>
                  <a:gd name="T19" fmla="*/ 165174 h 1183"/>
                  <a:gd name="T20" fmla="*/ 48146 w 1542"/>
                  <a:gd name="T21" fmla="*/ 124328 h 1183"/>
                  <a:gd name="T22" fmla="*/ 26229 w 1542"/>
                  <a:gd name="T23" fmla="*/ 157650 h 1183"/>
                  <a:gd name="T24" fmla="*/ 18684 w 1542"/>
                  <a:gd name="T25" fmla="*/ 199570 h 1183"/>
                  <a:gd name="T26" fmla="*/ 38804 w 1542"/>
                  <a:gd name="T27" fmla="*/ 226084 h 1183"/>
                  <a:gd name="T28" fmla="*/ 37367 w 1542"/>
                  <a:gd name="T29" fmla="*/ 261555 h 1183"/>
                  <a:gd name="T30" fmla="*/ 16528 w 1542"/>
                  <a:gd name="T31" fmla="*/ 297385 h 1183"/>
                  <a:gd name="T32" fmla="*/ 38086 w 1542"/>
                  <a:gd name="T33" fmla="*/ 341813 h 1183"/>
                  <a:gd name="T34" fmla="*/ 49942 w 1542"/>
                  <a:gd name="T35" fmla="*/ 359370 h 1183"/>
                  <a:gd name="T36" fmla="*/ 83717 w 1542"/>
                  <a:gd name="T37" fmla="*/ 377643 h 1183"/>
                  <a:gd name="T38" fmla="*/ 53176 w 1542"/>
                  <a:gd name="T39" fmla="*/ 402007 h 1183"/>
                  <a:gd name="T40" fmla="*/ 120365 w 1542"/>
                  <a:gd name="T41" fmla="*/ 388033 h 1183"/>
                  <a:gd name="T42" fmla="*/ 168511 w 1542"/>
                  <a:gd name="T43" fmla="*/ 403798 h 1183"/>
                  <a:gd name="T44" fmla="*/ 195099 w 1542"/>
                  <a:gd name="T45" fmla="*/ 398782 h 1183"/>
                  <a:gd name="T46" fmla="*/ 240371 w 1542"/>
                  <a:gd name="T47" fmla="*/ 389108 h 1183"/>
                  <a:gd name="T48" fmla="*/ 308637 w 1542"/>
                  <a:gd name="T49" fmla="*/ 409173 h 1183"/>
                  <a:gd name="T50" fmla="*/ 344926 w 1542"/>
                  <a:gd name="T51" fmla="*/ 410606 h 1183"/>
                  <a:gd name="T52" fmla="*/ 351753 w 1542"/>
                  <a:gd name="T53" fmla="*/ 376926 h 1183"/>
                  <a:gd name="T54" fmla="*/ 406007 w 1542"/>
                  <a:gd name="T55" fmla="*/ 348263 h 1183"/>
                  <a:gd name="T56" fmla="*/ 442296 w 1542"/>
                  <a:gd name="T57" fmla="*/ 337872 h 1183"/>
                  <a:gd name="T58" fmla="*/ 509126 w 1542"/>
                  <a:gd name="T59" fmla="*/ 367969 h 1183"/>
                  <a:gd name="T60" fmla="*/ 540744 w 1542"/>
                  <a:gd name="T61" fmla="*/ 342172 h 1183"/>
                  <a:gd name="T62" fmla="*/ 520264 w 1542"/>
                  <a:gd name="T63" fmla="*/ 325332 h 1183"/>
                  <a:gd name="T64" fmla="*/ 503018 w 1542"/>
                  <a:gd name="T65" fmla="*/ 297743 h 1183"/>
                  <a:gd name="T66" fmla="*/ 492239 w 1542"/>
                  <a:gd name="T67" fmla="*/ 281620 h 1183"/>
                  <a:gd name="T68" fmla="*/ 496550 w 1542"/>
                  <a:gd name="T69" fmla="*/ 233250 h 1183"/>
                  <a:gd name="T70" fmla="*/ 512359 w 1542"/>
                  <a:gd name="T71" fmla="*/ 171265 h 1183"/>
                  <a:gd name="T72" fmla="*/ 503736 w 1542"/>
                  <a:gd name="T73" fmla="*/ 123253 h 1183"/>
                  <a:gd name="T74" fmla="*/ 459543 w 1542"/>
                  <a:gd name="T75" fmla="*/ 113221 h 1183"/>
                  <a:gd name="T76" fmla="*/ 455231 w 1542"/>
                  <a:gd name="T77" fmla="*/ 73809 h 1183"/>
                  <a:gd name="T78" fmla="*/ 418223 w 1542"/>
                  <a:gd name="T79" fmla="*/ 86349 h 1183"/>
                  <a:gd name="T80" fmla="*/ 360017 w 1542"/>
                  <a:gd name="T81" fmla="*/ 64135 h 1183"/>
                  <a:gd name="T82" fmla="*/ 347441 w 1542"/>
                  <a:gd name="T83" fmla="*/ 10032 h 118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542" h="1183">
                    <a:moveTo>
                      <a:pt x="933" y="8"/>
                    </a:moveTo>
                    <a:cubicBezTo>
                      <a:pt x="907" y="10"/>
                      <a:pt x="875" y="16"/>
                      <a:pt x="861" y="40"/>
                    </a:cubicBezTo>
                    <a:cubicBezTo>
                      <a:pt x="835" y="47"/>
                      <a:pt x="827" y="0"/>
                      <a:pt x="813" y="17"/>
                    </a:cubicBezTo>
                    <a:cubicBezTo>
                      <a:pt x="806" y="33"/>
                      <a:pt x="767" y="31"/>
                      <a:pt x="777" y="59"/>
                    </a:cubicBezTo>
                    <a:cubicBezTo>
                      <a:pt x="790" y="76"/>
                      <a:pt x="783" y="97"/>
                      <a:pt x="790" y="113"/>
                    </a:cubicBezTo>
                    <a:cubicBezTo>
                      <a:pt x="809" y="140"/>
                      <a:pt x="755" y="114"/>
                      <a:pt x="763" y="148"/>
                    </a:cubicBezTo>
                    <a:cubicBezTo>
                      <a:pt x="751" y="164"/>
                      <a:pt x="792" y="200"/>
                      <a:pt x="763" y="203"/>
                    </a:cubicBezTo>
                    <a:cubicBezTo>
                      <a:pt x="733" y="197"/>
                      <a:pt x="727" y="222"/>
                      <a:pt x="735" y="239"/>
                    </a:cubicBezTo>
                    <a:cubicBezTo>
                      <a:pt x="716" y="251"/>
                      <a:pt x="696" y="222"/>
                      <a:pt x="674" y="227"/>
                    </a:cubicBezTo>
                    <a:cubicBezTo>
                      <a:pt x="684" y="198"/>
                      <a:pt x="615" y="181"/>
                      <a:pt x="636" y="206"/>
                    </a:cubicBezTo>
                    <a:cubicBezTo>
                      <a:pt x="655" y="229"/>
                      <a:pt x="607" y="232"/>
                      <a:pt x="594" y="245"/>
                    </a:cubicBezTo>
                    <a:cubicBezTo>
                      <a:pt x="586" y="265"/>
                      <a:pt x="569" y="269"/>
                      <a:pt x="547" y="260"/>
                    </a:cubicBezTo>
                    <a:cubicBezTo>
                      <a:pt x="535" y="276"/>
                      <a:pt x="500" y="309"/>
                      <a:pt x="476" y="288"/>
                    </a:cubicBezTo>
                    <a:cubicBezTo>
                      <a:pt x="456" y="286"/>
                      <a:pt x="433" y="296"/>
                      <a:pt x="424" y="313"/>
                    </a:cubicBezTo>
                    <a:cubicBezTo>
                      <a:pt x="407" y="330"/>
                      <a:pt x="473" y="323"/>
                      <a:pt x="442" y="348"/>
                    </a:cubicBezTo>
                    <a:cubicBezTo>
                      <a:pt x="415" y="361"/>
                      <a:pt x="420" y="386"/>
                      <a:pt x="385" y="382"/>
                    </a:cubicBezTo>
                    <a:cubicBezTo>
                      <a:pt x="372" y="383"/>
                      <a:pt x="317" y="394"/>
                      <a:pt x="357" y="398"/>
                    </a:cubicBezTo>
                    <a:cubicBezTo>
                      <a:pt x="350" y="415"/>
                      <a:pt x="343" y="429"/>
                      <a:pt x="326" y="443"/>
                    </a:cubicBezTo>
                    <a:cubicBezTo>
                      <a:pt x="298" y="436"/>
                      <a:pt x="321" y="482"/>
                      <a:pt x="292" y="474"/>
                    </a:cubicBezTo>
                    <a:cubicBezTo>
                      <a:pt x="273" y="482"/>
                      <a:pt x="247" y="488"/>
                      <a:pt x="236" y="461"/>
                    </a:cubicBezTo>
                    <a:cubicBezTo>
                      <a:pt x="250" y="438"/>
                      <a:pt x="241" y="417"/>
                      <a:pt x="215" y="416"/>
                    </a:cubicBezTo>
                    <a:cubicBezTo>
                      <a:pt x="191" y="389"/>
                      <a:pt x="167" y="363"/>
                      <a:pt x="134" y="347"/>
                    </a:cubicBezTo>
                    <a:cubicBezTo>
                      <a:pt x="111" y="323"/>
                      <a:pt x="112" y="365"/>
                      <a:pt x="101" y="378"/>
                    </a:cubicBezTo>
                    <a:cubicBezTo>
                      <a:pt x="93" y="401"/>
                      <a:pt x="78" y="417"/>
                      <a:pt x="73" y="440"/>
                    </a:cubicBezTo>
                    <a:cubicBezTo>
                      <a:pt x="66" y="469"/>
                      <a:pt x="59" y="507"/>
                      <a:pt x="88" y="527"/>
                    </a:cubicBezTo>
                    <a:cubicBezTo>
                      <a:pt x="91" y="541"/>
                      <a:pt x="66" y="538"/>
                      <a:pt x="52" y="557"/>
                    </a:cubicBezTo>
                    <a:cubicBezTo>
                      <a:pt x="6" y="584"/>
                      <a:pt x="89" y="553"/>
                      <a:pt x="91" y="580"/>
                    </a:cubicBezTo>
                    <a:cubicBezTo>
                      <a:pt x="55" y="578"/>
                      <a:pt x="83" y="646"/>
                      <a:pt x="108" y="631"/>
                    </a:cubicBezTo>
                    <a:cubicBezTo>
                      <a:pt x="141" y="641"/>
                      <a:pt x="119" y="655"/>
                      <a:pt x="102" y="673"/>
                    </a:cubicBezTo>
                    <a:cubicBezTo>
                      <a:pt x="124" y="690"/>
                      <a:pt x="112" y="708"/>
                      <a:pt x="104" y="730"/>
                    </a:cubicBezTo>
                    <a:cubicBezTo>
                      <a:pt x="100" y="748"/>
                      <a:pt x="103" y="777"/>
                      <a:pt x="86" y="787"/>
                    </a:cubicBezTo>
                    <a:cubicBezTo>
                      <a:pt x="78" y="803"/>
                      <a:pt x="57" y="816"/>
                      <a:pt x="46" y="830"/>
                    </a:cubicBezTo>
                    <a:cubicBezTo>
                      <a:pt x="45" y="857"/>
                      <a:pt x="0" y="880"/>
                      <a:pt x="60" y="884"/>
                    </a:cubicBezTo>
                    <a:cubicBezTo>
                      <a:pt x="96" y="898"/>
                      <a:pt x="63" y="976"/>
                      <a:pt x="106" y="954"/>
                    </a:cubicBezTo>
                    <a:cubicBezTo>
                      <a:pt x="132" y="958"/>
                      <a:pt x="159" y="961"/>
                      <a:pt x="185" y="963"/>
                    </a:cubicBezTo>
                    <a:cubicBezTo>
                      <a:pt x="183" y="990"/>
                      <a:pt x="107" y="970"/>
                      <a:pt x="139" y="1003"/>
                    </a:cubicBezTo>
                    <a:cubicBezTo>
                      <a:pt x="143" y="1027"/>
                      <a:pt x="170" y="1040"/>
                      <a:pt x="170" y="1064"/>
                    </a:cubicBezTo>
                    <a:cubicBezTo>
                      <a:pt x="191" y="1060"/>
                      <a:pt x="212" y="1058"/>
                      <a:pt x="233" y="1054"/>
                    </a:cubicBezTo>
                    <a:cubicBezTo>
                      <a:pt x="244" y="1075"/>
                      <a:pt x="231" y="1089"/>
                      <a:pt x="207" y="1094"/>
                    </a:cubicBezTo>
                    <a:cubicBezTo>
                      <a:pt x="187" y="1104"/>
                      <a:pt x="159" y="1098"/>
                      <a:pt x="148" y="1122"/>
                    </a:cubicBezTo>
                    <a:cubicBezTo>
                      <a:pt x="167" y="1136"/>
                      <a:pt x="190" y="1119"/>
                      <a:pt x="209" y="1109"/>
                    </a:cubicBezTo>
                    <a:cubicBezTo>
                      <a:pt x="245" y="1073"/>
                      <a:pt x="300" y="1114"/>
                      <a:pt x="335" y="1083"/>
                    </a:cubicBezTo>
                    <a:cubicBezTo>
                      <a:pt x="370" y="1050"/>
                      <a:pt x="404" y="1111"/>
                      <a:pt x="427" y="1094"/>
                    </a:cubicBezTo>
                    <a:cubicBezTo>
                      <a:pt x="450" y="1100"/>
                      <a:pt x="475" y="1094"/>
                      <a:pt x="469" y="1127"/>
                    </a:cubicBezTo>
                    <a:cubicBezTo>
                      <a:pt x="481" y="1137"/>
                      <a:pt x="514" y="1178"/>
                      <a:pt x="516" y="1147"/>
                    </a:cubicBezTo>
                    <a:cubicBezTo>
                      <a:pt x="518" y="1109"/>
                      <a:pt x="538" y="1144"/>
                      <a:pt x="543" y="1113"/>
                    </a:cubicBezTo>
                    <a:cubicBezTo>
                      <a:pt x="552" y="1095"/>
                      <a:pt x="557" y="1064"/>
                      <a:pt x="571" y="1054"/>
                    </a:cubicBezTo>
                    <a:cubicBezTo>
                      <a:pt x="603" y="1068"/>
                      <a:pt x="638" y="1072"/>
                      <a:pt x="669" y="1086"/>
                    </a:cubicBezTo>
                    <a:cubicBezTo>
                      <a:pt x="698" y="1107"/>
                      <a:pt x="738" y="1107"/>
                      <a:pt x="772" y="1118"/>
                    </a:cubicBezTo>
                    <a:cubicBezTo>
                      <a:pt x="804" y="1113"/>
                      <a:pt x="827" y="1140"/>
                      <a:pt x="859" y="1142"/>
                    </a:cubicBezTo>
                    <a:cubicBezTo>
                      <a:pt x="878" y="1153"/>
                      <a:pt x="887" y="1182"/>
                      <a:pt x="901" y="1151"/>
                    </a:cubicBezTo>
                    <a:cubicBezTo>
                      <a:pt x="928" y="1163"/>
                      <a:pt x="935" y="1122"/>
                      <a:pt x="960" y="1146"/>
                    </a:cubicBezTo>
                    <a:cubicBezTo>
                      <a:pt x="999" y="1161"/>
                      <a:pt x="983" y="1141"/>
                      <a:pt x="978" y="1115"/>
                    </a:cubicBezTo>
                    <a:cubicBezTo>
                      <a:pt x="985" y="1096"/>
                      <a:pt x="957" y="1060"/>
                      <a:pt x="979" y="1052"/>
                    </a:cubicBezTo>
                    <a:cubicBezTo>
                      <a:pt x="1019" y="1052"/>
                      <a:pt x="1059" y="1058"/>
                      <a:pt x="1082" y="1021"/>
                    </a:cubicBezTo>
                    <a:cubicBezTo>
                      <a:pt x="1102" y="1009"/>
                      <a:pt x="1109" y="986"/>
                      <a:pt x="1130" y="972"/>
                    </a:cubicBezTo>
                    <a:cubicBezTo>
                      <a:pt x="1144" y="949"/>
                      <a:pt x="1149" y="937"/>
                      <a:pt x="1179" y="952"/>
                    </a:cubicBezTo>
                    <a:cubicBezTo>
                      <a:pt x="1197" y="934"/>
                      <a:pt x="1208" y="936"/>
                      <a:pt x="1231" y="943"/>
                    </a:cubicBezTo>
                    <a:cubicBezTo>
                      <a:pt x="1255" y="934"/>
                      <a:pt x="1285" y="921"/>
                      <a:pt x="1307" y="943"/>
                    </a:cubicBezTo>
                    <a:cubicBezTo>
                      <a:pt x="1350" y="963"/>
                      <a:pt x="1367" y="1019"/>
                      <a:pt x="1417" y="1027"/>
                    </a:cubicBezTo>
                    <a:cubicBezTo>
                      <a:pt x="1456" y="1032"/>
                      <a:pt x="1541" y="1098"/>
                      <a:pt x="1517" y="1016"/>
                    </a:cubicBezTo>
                    <a:cubicBezTo>
                      <a:pt x="1529" y="1000"/>
                      <a:pt x="1522" y="969"/>
                      <a:pt x="1505" y="955"/>
                    </a:cubicBezTo>
                    <a:cubicBezTo>
                      <a:pt x="1520" y="941"/>
                      <a:pt x="1519" y="904"/>
                      <a:pt x="1491" y="909"/>
                    </a:cubicBezTo>
                    <a:cubicBezTo>
                      <a:pt x="1470" y="920"/>
                      <a:pt x="1454" y="933"/>
                      <a:pt x="1448" y="908"/>
                    </a:cubicBezTo>
                    <a:cubicBezTo>
                      <a:pt x="1435" y="939"/>
                      <a:pt x="1416" y="903"/>
                      <a:pt x="1416" y="893"/>
                    </a:cubicBezTo>
                    <a:cubicBezTo>
                      <a:pt x="1379" y="873"/>
                      <a:pt x="1443" y="835"/>
                      <a:pt x="1400" y="831"/>
                    </a:cubicBezTo>
                    <a:cubicBezTo>
                      <a:pt x="1413" y="854"/>
                      <a:pt x="1370" y="872"/>
                      <a:pt x="1365" y="845"/>
                    </a:cubicBezTo>
                    <a:cubicBezTo>
                      <a:pt x="1359" y="822"/>
                      <a:pt x="1383" y="802"/>
                      <a:pt x="1370" y="786"/>
                    </a:cubicBezTo>
                    <a:cubicBezTo>
                      <a:pt x="1380" y="762"/>
                      <a:pt x="1383" y="739"/>
                      <a:pt x="1372" y="715"/>
                    </a:cubicBezTo>
                    <a:cubicBezTo>
                      <a:pt x="1363" y="692"/>
                      <a:pt x="1368" y="671"/>
                      <a:pt x="1382" y="651"/>
                    </a:cubicBezTo>
                    <a:cubicBezTo>
                      <a:pt x="1393" y="627"/>
                      <a:pt x="1406" y="604"/>
                      <a:pt x="1403" y="576"/>
                    </a:cubicBezTo>
                    <a:cubicBezTo>
                      <a:pt x="1407" y="543"/>
                      <a:pt x="1412" y="510"/>
                      <a:pt x="1426" y="478"/>
                    </a:cubicBezTo>
                    <a:cubicBezTo>
                      <a:pt x="1402" y="479"/>
                      <a:pt x="1402" y="456"/>
                      <a:pt x="1374" y="457"/>
                    </a:cubicBezTo>
                    <a:cubicBezTo>
                      <a:pt x="1382" y="419"/>
                      <a:pt x="1398" y="383"/>
                      <a:pt x="1402" y="344"/>
                    </a:cubicBezTo>
                    <a:cubicBezTo>
                      <a:pt x="1380" y="335"/>
                      <a:pt x="1360" y="345"/>
                      <a:pt x="1339" y="347"/>
                    </a:cubicBezTo>
                    <a:cubicBezTo>
                      <a:pt x="1310" y="351"/>
                      <a:pt x="1303" y="324"/>
                      <a:pt x="1279" y="316"/>
                    </a:cubicBezTo>
                    <a:cubicBezTo>
                      <a:pt x="1280" y="292"/>
                      <a:pt x="1245" y="285"/>
                      <a:pt x="1266" y="261"/>
                    </a:cubicBezTo>
                    <a:cubicBezTo>
                      <a:pt x="1275" y="242"/>
                      <a:pt x="1298" y="217"/>
                      <a:pt x="1267" y="206"/>
                    </a:cubicBezTo>
                    <a:cubicBezTo>
                      <a:pt x="1235" y="186"/>
                      <a:pt x="1197" y="173"/>
                      <a:pt x="1159" y="178"/>
                    </a:cubicBezTo>
                    <a:cubicBezTo>
                      <a:pt x="1151" y="194"/>
                      <a:pt x="1165" y="221"/>
                      <a:pt x="1164" y="241"/>
                    </a:cubicBezTo>
                    <a:cubicBezTo>
                      <a:pt x="1168" y="259"/>
                      <a:pt x="1152" y="300"/>
                      <a:pt x="1133" y="273"/>
                    </a:cubicBezTo>
                    <a:cubicBezTo>
                      <a:pt x="1090" y="241"/>
                      <a:pt x="1046" y="210"/>
                      <a:pt x="1002" y="179"/>
                    </a:cubicBezTo>
                    <a:cubicBezTo>
                      <a:pt x="998" y="148"/>
                      <a:pt x="1011" y="113"/>
                      <a:pt x="992" y="85"/>
                    </a:cubicBezTo>
                    <a:cubicBezTo>
                      <a:pt x="992" y="62"/>
                      <a:pt x="995" y="37"/>
                      <a:pt x="967" y="28"/>
                    </a:cubicBezTo>
                    <a:cubicBezTo>
                      <a:pt x="957" y="20"/>
                      <a:pt x="945" y="15"/>
                      <a:pt x="933" y="8"/>
                    </a:cubicBezTo>
                  </a:path>
                </a:pathLst>
              </a:custGeom>
              <a:grpFill/>
              <a:ln w="9525" cap="flat">
                <a:solidFill>
                  <a:schemeClr val="bg1"/>
                </a:solidFill>
                <a:bevel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342" name="Zylinder 341">
              <a:extLst>
                <a:ext uri="{FF2B5EF4-FFF2-40B4-BE49-F238E27FC236}">
                  <a16:creationId xmlns:a16="http://schemas.microsoft.com/office/drawing/2014/main" id="{723BB0FE-A05C-34F0-ABD5-F4F1B9D0618D}"/>
                </a:ext>
              </a:extLst>
            </p:cNvPr>
            <p:cNvSpPr>
              <a:spLocks/>
            </p:cNvSpPr>
            <p:nvPr/>
          </p:nvSpPr>
          <p:spPr>
            <a:xfrm>
              <a:off x="1045596" y="3474985"/>
              <a:ext cx="2037748" cy="1057343"/>
            </a:xfrm>
            <a:prstGeom prst="ca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LGA Gebietsverzeichnis, Speicherort</a:t>
              </a:r>
            </a:p>
          </p:txBody>
        </p:sp>
        <p:sp>
          <p:nvSpPr>
            <p:cNvPr id="343" name="Zylinder 342">
              <a:extLst>
                <a:ext uri="{FF2B5EF4-FFF2-40B4-BE49-F238E27FC236}">
                  <a16:creationId xmlns:a16="http://schemas.microsoft.com/office/drawing/2014/main" id="{1B31215A-27FF-BE41-6EA4-CC7EAFA08C8E}"/>
                </a:ext>
              </a:extLst>
            </p:cNvPr>
            <p:cNvSpPr>
              <a:spLocks/>
            </p:cNvSpPr>
            <p:nvPr/>
          </p:nvSpPr>
          <p:spPr>
            <a:xfrm>
              <a:off x="4233497" y="3474092"/>
              <a:ext cx="2037748" cy="1058618"/>
            </a:xfrm>
            <a:prstGeom prst="ca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LGA Gebietsverzeichnis, Speicherort</a:t>
              </a:r>
            </a:p>
          </p:txBody>
        </p:sp>
        <p:sp>
          <p:nvSpPr>
            <p:cNvPr id="344" name="Zylinder 343">
              <a:extLst>
                <a:ext uri="{FF2B5EF4-FFF2-40B4-BE49-F238E27FC236}">
                  <a16:creationId xmlns:a16="http://schemas.microsoft.com/office/drawing/2014/main" id="{428C5D2E-C860-AE5F-1CC4-0379A26497B5}"/>
                </a:ext>
              </a:extLst>
            </p:cNvPr>
            <p:cNvSpPr>
              <a:spLocks/>
            </p:cNvSpPr>
            <p:nvPr/>
          </p:nvSpPr>
          <p:spPr>
            <a:xfrm>
              <a:off x="7421397" y="3471981"/>
              <a:ext cx="2037748" cy="1062843"/>
            </a:xfrm>
            <a:prstGeom prst="ca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LGA Gebietsverzeichnis, Speicherort</a:t>
              </a:r>
            </a:p>
          </p:txBody>
        </p:sp>
        <p:sp>
          <p:nvSpPr>
            <p:cNvPr id="345" name="Rechteck 344">
              <a:extLst>
                <a:ext uri="{FF2B5EF4-FFF2-40B4-BE49-F238E27FC236}">
                  <a16:creationId xmlns:a16="http://schemas.microsoft.com/office/drawing/2014/main" id="{86FFD41E-6A74-1D50-ED3B-C374326749A1}"/>
                </a:ext>
              </a:extLst>
            </p:cNvPr>
            <p:cNvSpPr/>
            <p:nvPr/>
          </p:nvSpPr>
          <p:spPr>
            <a:xfrm>
              <a:off x="10609297" y="1440881"/>
              <a:ext cx="1627262" cy="449273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LGA </a:t>
              </a:r>
              <a:br>
                <a:rPr kumimoji="0" lang="de-DE" sz="1000" b="1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de-DE" sz="1000" b="1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ürgerportal</a:t>
              </a:r>
            </a:p>
          </p:txBody>
        </p:sp>
        <p:sp>
          <p:nvSpPr>
            <p:cNvPr id="346" name="Rechteck 345">
              <a:extLst>
                <a:ext uri="{FF2B5EF4-FFF2-40B4-BE49-F238E27FC236}">
                  <a16:creationId xmlns:a16="http://schemas.microsoft.com/office/drawing/2014/main" id="{6F503CC6-FD04-1C7D-8509-86CC98C76042}"/>
                </a:ext>
              </a:extLst>
            </p:cNvPr>
            <p:cNvSpPr>
              <a:spLocks/>
            </p:cNvSpPr>
            <p:nvPr/>
          </p:nvSpPr>
          <p:spPr>
            <a:xfrm>
              <a:off x="7421397" y="5033615"/>
              <a:ext cx="2037748" cy="89999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Krankenhaus, Privatpraxis, Pflegeorganisation</a:t>
              </a:r>
            </a:p>
          </p:txBody>
        </p:sp>
        <p:sp>
          <p:nvSpPr>
            <p:cNvPr id="347" name="Rechteck 346">
              <a:extLst>
                <a:ext uri="{FF2B5EF4-FFF2-40B4-BE49-F238E27FC236}">
                  <a16:creationId xmlns:a16="http://schemas.microsoft.com/office/drawing/2014/main" id="{0651F3A3-5210-EFC5-14C1-22FB026D7CAE}"/>
                </a:ext>
              </a:extLst>
            </p:cNvPr>
            <p:cNvSpPr>
              <a:spLocks/>
            </p:cNvSpPr>
            <p:nvPr/>
          </p:nvSpPr>
          <p:spPr>
            <a:xfrm>
              <a:off x="4233497" y="5033615"/>
              <a:ext cx="2037748" cy="89999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Krankenhaus, Privatpraxis, Pflegeorganisation</a:t>
              </a:r>
            </a:p>
          </p:txBody>
        </p:sp>
        <p:sp>
          <p:nvSpPr>
            <p:cNvPr id="348" name="Rechteck 347">
              <a:extLst>
                <a:ext uri="{FF2B5EF4-FFF2-40B4-BE49-F238E27FC236}">
                  <a16:creationId xmlns:a16="http://schemas.microsoft.com/office/drawing/2014/main" id="{BE2447CC-6488-9F6D-6B3C-9F796838B9DD}"/>
                </a:ext>
              </a:extLst>
            </p:cNvPr>
            <p:cNvSpPr>
              <a:spLocks/>
            </p:cNvSpPr>
            <p:nvPr/>
          </p:nvSpPr>
          <p:spPr>
            <a:xfrm>
              <a:off x="1045596" y="5033613"/>
              <a:ext cx="2037748" cy="89999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Krankenhaus, Privatpraxis, Pflegeorganisation</a:t>
              </a:r>
            </a:p>
          </p:txBody>
        </p:sp>
        <p:grpSp>
          <p:nvGrpSpPr>
            <p:cNvPr id="359" name="Gruppieren 358">
              <a:extLst>
                <a:ext uri="{FF2B5EF4-FFF2-40B4-BE49-F238E27FC236}">
                  <a16:creationId xmlns:a16="http://schemas.microsoft.com/office/drawing/2014/main" id="{AADBD6CC-3C31-87E8-F8BF-99F81EE6DBE3}"/>
                </a:ext>
              </a:extLst>
            </p:cNvPr>
            <p:cNvGrpSpPr/>
            <p:nvPr/>
          </p:nvGrpSpPr>
          <p:grpSpPr>
            <a:xfrm>
              <a:off x="802037" y="1485620"/>
              <a:ext cx="8890298" cy="1488080"/>
              <a:chOff x="802037" y="1485620"/>
              <a:chExt cx="8890298" cy="1488080"/>
            </a:xfrm>
          </p:grpSpPr>
          <p:grpSp>
            <p:nvGrpSpPr>
              <p:cNvPr id="361" name="Gruppieren 360">
                <a:extLst>
                  <a:ext uri="{FF2B5EF4-FFF2-40B4-BE49-F238E27FC236}">
                    <a16:creationId xmlns:a16="http://schemas.microsoft.com/office/drawing/2014/main" id="{D2DE5F20-ACD4-91FB-2E90-8250742B08D1}"/>
                  </a:ext>
                </a:extLst>
              </p:cNvPr>
              <p:cNvGrpSpPr/>
              <p:nvPr/>
            </p:nvGrpSpPr>
            <p:grpSpPr>
              <a:xfrm>
                <a:off x="802037" y="1485620"/>
                <a:ext cx="8890298" cy="1488080"/>
                <a:chOff x="1575320" y="1329267"/>
                <a:chExt cx="8949246" cy="1488080"/>
              </a:xfrm>
            </p:grpSpPr>
            <p:sp>
              <p:nvSpPr>
                <p:cNvPr id="363" name="Rechteck: abgerundete Ecken 362">
                  <a:extLst>
                    <a:ext uri="{FF2B5EF4-FFF2-40B4-BE49-F238E27FC236}">
                      <a16:creationId xmlns:a16="http://schemas.microsoft.com/office/drawing/2014/main" id="{C01906F3-A75B-2791-DBD4-2CE9BE495E8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575320" y="1329267"/>
                  <a:ext cx="8949246" cy="1488080"/>
                </a:xfrm>
                <a:prstGeom prst="roundRect">
                  <a:avLst>
                    <a:gd name="adj" fmla="val 13493"/>
                  </a:avLst>
                </a:prstGeom>
                <a:solidFill>
                  <a:schemeClr val="bg1"/>
                </a:solidFill>
                <a:ln w="9525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000" b="0" i="0" u="none" strike="noStrike" kern="120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ELGA Central Components</a:t>
                  </a:r>
                </a:p>
              </p:txBody>
            </p:sp>
            <p:sp>
              <p:nvSpPr>
                <p:cNvPr id="364" name="Rechteck 363">
                  <a:extLst>
                    <a:ext uri="{FF2B5EF4-FFF2-40B4-BE49-F238E27FC236}">
                      <a16:creationId xmlns:a16="http://schemas.microsoft.com/office/drawing/2014/main" id="{619C96B6-0FC9-577D-2EA7-50970ECEF57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820925" y="1489624"/>
                  <a:ext cx="1594503" cy="1167365"/>
                </a:xfrm>
                <a:prstGeom prst="rect">
                  <a:avLst/>
                </a:prstGeom>
                <a:solidFill>
                  <a:srgbClr val="ECECE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000" b="0" i="0" u="none" strike="noStrike" kern="120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Austrian Central Master Patient Index (Z-PI)</a:t>
                  </a:r>
                </a:p>
              </p:txBody>
            </p:sp>
            <p:sp>
              <p:nvSpPr>
                <p:cNvPr id="365" name="Rechteck 364">
                  <a:extLst>
                    <a:ext uri="{FF2B5EF4-FFF2-40B4-BE49-F238E27FC236}">
                      <a16:creationId xmlns:a16="http://schemas.microsoft.com/office/drawing/2014/main" id="{CD12C75A-1868-4F99-0FE2-FC026A9BCF73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539880" y="1489624"/>
                  <a:ext cx="1594503" cy="1167365"/>
                </a:xfrm>
                <a:prstGeom prst="rect">
                  <a:avLst/>
                </a:prstGeom>
                <a:solidFill>
                  <a:srgbClr val="ECECE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000" b="0" i="0" u="none" strike="noStrike" kern="1200" cap="none" spc="0" normalizeH="0" baseline="0" err="1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Healthcare</a:t>
                  </a:r>
                  <a:r>
                    <a:rPr kumimoji="0" lang="de-DE" sz="1000" b="0" i="0" u="none" strike="noStrike" kern="120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 Provider Index</a:t>
                  </a:r>
                </a:p>
              </p:txBody>
            </p:sp>
            <p:sp>
              <p:nvSpPr>
                <p:cNvPr id="366" name="Rechteck 365">
                  <a:extLst>
                    <a:ext uri="{FF2B5EF4-FFF2-40B4-BE49-F238E27FC236}">
                      <a16:creationId xmlns:a16="http://schemas.microsoft.com/office/drawing/2014/main" id="{6F0E273B-F136-15A1-0CE0-3D925F04337F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5258837" y="1489624"/>
                  <a:ext cx="1594503" cy="1167365"/>
                </a:xfrm>
                <a:prstGeom prst="rect">
                  <a:avLst/>
                </a:prstGeom>
                <a:solidFill>
                  <a:srgbClr val="ECECE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000" b="0" i="0" u="none" strike="noStrike" kern="120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Access Management System</a:t>
                  </a:r>
                </a:p>
              </p:txBody>
            </p:sp>
            <p:sp>
              <p:nvSpPr>
                <p:cNvPr id="367" name="Rechteck 366">
                  <a:extLst>
                    <a:ext uri="{FF2B5EF4-FFF2-40B4-BE49-F238E27FC236}">
                      <a16:creationId xmlns:a16="http://schemas.microsoft.com/office/drawing/2014/main" id="{FC868089-9A6D-6DE2-A928-1EC474440657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6977795" y="1489624"/>
                  <a:ext cx="1594503" cy="1167365"/>
                </a:xfrm>
                <a:prstGeom prst="rect">
                  <a:avLst/>
                </a:prstGeom>
                <a:solidFill>
                  <a:srgbClr val="ECECE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000" b="0" i="0" u="none" strike="noStrike" kern="120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Rechnungs-prüfung</a:t>
                  </a:r>
                </a:p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000" b="0" i="0" u="none" strike="noStrike" kern="120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(Protokoll)</a:t>
                  </a:r>
                </a:p>
              </p:txBody>
            </p:sp>
          </p:grpSp>
          <p:sp>
            <p:nvSpPr>
              <p:cNvPr id="362" name="Zylinder 361">
                <a:extLst>
                  <a:ext uri="{FF2B5EF4-FFF2-40B4-BE49-F238E27FC236}">
                    <a16:creationId xmlns:a16="http://schemas.microsoft.com/office/drawing/2014/main" id="{6D8E1473-B8E2-69F0-0435-7C6D690D699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876561" y="1770729"/>
                <a:ext cx="1584000" cy="917865"/>
              </a:xfrm>
              <a:prstGeom prst="can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00" b="0" i="0" u="none" strike="noStrike" kern="1200" cap="none" spc="0" normalizeH="0" baseline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MED</a:t>
                </a:r>
                <a:r>
                  <a:rPr kumimoji="0" lang="de-DE" sz="1000" b="0" i="0" u="none" strike="noStrike" kern="120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und </a:t>
                </a:r>
                <a:r>
                  <a:rPr kumimoji="0" lang="de-DE" sz="1000" b="0" i="0" u="none" strike="noStrike" kern="1200" cap="none" spc="0" normalizeH="0" baseline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Vaccination</a:t>
                </a:r>
                <a:endParaRPr kumimoji="0" lang="de-DE" sz="1000" b="0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360" name="Textfeld 359">
              <a:extLst>
                <a:ext uri="{FF2B5EF4-FFF2-40B4-BE49-F238E27FC236}">
                  <a16:creationId xmlns:a16="http://schemas.microsoft.com/office/drawing/2014/main" id="{E88660BB-1455-8FBE-BE93-80A9433A2869}"/>
                </a:ext>
              </a:extLst>
            </p:cNvPr>
            <p:cNvSpPr txBox="1"/>
            <p:nvPr/>
          </p:nvSpPr>
          <p:spPr>
            <a:xfrm>
              <a:off x="-379997" y="3824200"/>
              <a:ext cx="1061359" cy="4982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zentrale </a:t>
              </a:r>
              <a:br>
                <a:rPr kumimoji="0" lang="de-DE" sz="1000" b="1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de-DE" sz="1000" b="1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peicherung</a:t>
              </a:r>
            </a:p>
          </p:txBody>
        </p:sp>
      </p:grpSp>
      <p:cxnSp>
        <p:nvCxnSpPr>
          <p:cNvPr id="416" name="Gerade Verbindung mit Pfeil 415">
            <a:extLst>
              <a:ext uri="{FF2B5EF4-FFF2-40B4-BE49-F238E27FC236}">
                <a16:creationId xmlns:a16="http://schemas.microsoft.com/office/drawing/2014/main" id="{4405000F-04DB-ABDC-0BCD-586246F48320}"/>
              </a:ext>
            </a:extLst>
          </p:cNvPr>
          <p:cNvCxnSpPr>
            <a:cxnSpLocks/>
          </p:cNvCxnSpPr>
          <p:nvPr/>
        </p:nvCxnSpPr>
        <p:spPr>
          <a:xfrm>
            <a:off x="5145729" y="4195826"/>
            <a:ext cx="0" cy="307801"/>
          </a:xfrm>
          <a:prstGeom prst="straightConnector1">
            <a:avLst/>
          </a:prstGeom>
          <a:ln w="12700" cap="rnd">
            <a:solidFill>
              <a:schemeClr val="bg2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8" name="Gerade Verbindung mit Pfeil 417">
            <a:extLst>
              <a:ext uri="{FF2B5EF4-FFF2-40B4-BE49-F238E27FC236}">
                <a16:creationId xmlns:a16="http://schemas.microsoft.com/office/drawing/2014/main" id="{F12BF78B-1A47-45D1-6F79-6909D62BDFE3}"/>
              </a:ext>
            </a:extLst>
          </p:cNvPr>
          <p:cNvCxnSpPr>
            <a:cxnSpLocks/>
          </p:cNvCxnSpPr>
          <p:nvPr/>
        </p:nvCxnSpPr>
        <p:spPr>
          <a:xfrm>
            <a:off x="7115175" y="4195826"/>
            <a:ext cx="0" cy="307801"/>
          </a:xfrm>
          <a:prstGeom prst="straightConnector1">
            <a:avLst/>
          </a:prstGeom>
          <a:ln w="12700" cap="rnd">
            <a:solidFill>
              <a:schemeClr val="bg2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9" name="Gerade Verbindung mit Pfeil 418">
            <a:extLst>
              <a:ext uri="{FF2B5EF4-FFF2-40B4-BE49-F238E27FC236}">
                <a16:creationId xmlns:a16="http://schemas.microsoft.com/office/drawing/2014/main" id="{250428AC-17FC-A18B-2975-1F2EB17FD345}"/>
              </a:ext>
            </a:extLst>
          </p:cNvPr>
          <p:cNvCxnSpPr>
            <a:cxnSpLocks/>
          </p:cNvCxnSpPr>
          <p:nvPr/>
        </p:nvCxnSpPr>
        <p:spPr>
          <a:xfrm>
            <a:off x="9091612" y="4195826"/>
            <a:ext cx="0" cy="307801"/>
          </a:xfrm>
          <a:prstGeom prst="straightConnector1">
            <a:avLst/>
          </a:prstGeom>
          <a:ln w="12700" cap="rnd">
            <a:solidFill>
              <a:schemeClr val="bg2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0" name="Gerade Verbindung mit Pfeil 419">
            <a:extLst>
              <a:ext uri="{FF2B5EF4-FFF2-40B4-BE49-F238E27FC236}">
                <a16:creationId xmlns:a16="http://schemas.microsoft.com/office/drawing/2014/main" id="{53D499A2-99FE-8668-3F8B-DD354FA14B22}"/>
              </a:ext>
            </a:extLst>
          </p:cNvPr>
          <p:cNvCxnSpPr>
            <a:cxnSpLocks/>
          </p:cNvCxnSpPr>
          <p:nvPr/>
        </p:nvCxnSpPr>
        <p:spPr>
          <a:xfrm>
            <a:off x="5145729" y="5158631"/>
            <a:ext cx="0" cy="307801"/>
          </a:xfrm>
          <a:prstGeom prst="straightConnector1">
            <a:avLst/>
          </a:prstGeom>
          <a:ln w="12700" cap="rnd">
            <a:solidFill>
              <a:schemeClr val="bg2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1" name="Gerade Verbindung mit Pfeil 420">
            <a:extLst>
              <a:ext uri="{FF2B5EF4-FFF2-40B4-BE49-F238E27FC236}">
                <a16:creationId xmlns:a16="http://schemas.microsoft.com/office/drawing/2014/main" id="{50BAD37D-1768-4808-5616-4B793F9A506E}"/>
              </a:ext>
            </a:extLst>
          </p:cNvPr>
          <p:cNvCxnSpPr>
            <a:cxnSpLocks/>
          </p:cNvCxnSpPr>
          <p:nvPr/>
        </p:nvCxnSpPr>
        <p:spPr>
          <a:xfrm>
            <a:off x="7115175" y="5158631"/>
            <a:ext cx="0" cy="307801"/>
          </a:xfrm>
          <a:prstGeom prst="straightConnector1">
            <a:avLst/>
          </a:prstGeom>
          <a:ln w="12700" cap="rnd">
            <a:solidFill>
              <a:schemeClr val="bg2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2" name="Gerade Verbindung mit Pfeil 421">
            <a:extLst>
              <a:ext uri="{FF2B5EF4-FFF2-40B4-BE49-F238E27FC236}">
                <a16:creationId xmlns:a16="http://schemas.microsoft.com/office/drawing/2014/main" id="{A9D7D9A8-D0B5-6CA2-8B04-280F577416E2}"/>
              </a:ext>
            </a:extLst>
          </p:cNvPr>
          <p:cNvCxnSpPr>
            <a:cxnSpLocks/>
          </p:cNvCxnSpPr>
          <p:nvPr/>
        </p:nvCxnSpPr>
        <p:spPr>
          <a:xfrm>
            <a:off x="9091612" y="5158631"/>
            <a:ext cx="0" cy="307801"/>
          </a:xfrm>
          <a:prstGeom prst="straightConnector1">
            <a:avLst/>
          </a:prstGeom>
          <a:ln w="12700" cap="rnd">
            <a:solidFill>
              <a:schemeClr val="bg2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3" name="Gerade Verbindung mit Pfeil 422">
            <a:extLst>
              <a:ext uri="{FF2B5EF4-FFF2-40B4-BE49-F238E27FC236}">
                <a16:creationId xmlns:a16="http://schemas.microsoft.com/office/drawing/2014/main" id="{73DF8813-B329-FF46-1D66-B85F9D78CD5C}"/>
              </a:ext>
            </a:extLst>
          </p:cNvPr>
          <p:cNvCxnSpPr>
            <a:cxnSpLocks/>
          </p:cNvCxnSpPr>
          <p:nvPr/>
        </p:nvCxnSpPr>
        <p:spPr>
          <a:xfrm flipH="1">
            <a:off x="5795104" y="4838384"/>
            <a:ext cx="710471" cy="0"/>
          </a:xfrm>
          <a:prstGeom prst="straightConnector1">
            <a:avLst/>
          </a:prstGeom>
          <a:ln w="12700" cap="rnd">
            <a:solidFill>
              <a:schemeClr val="bg2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5" name="Gerade Verbindung mit Pfeil 424">
            <a:extLst>
              <a:ext uri="{FF2B5EF4-FFF2-40B4-BE49-F238E27FC236}">
                <a16:creationId xmlns:a16="http://schemas.microsoft.com/office/drawing/2014/main" id="{89CC0ABD-C893-FF36-C78D-E3F62657D8FC}"/>
              </a:ext>
            </a:extLst>
          </p:cNvPr>
          <p:cNvCxnSpPr>
            <a:cxnSpLocks/>
          </p:cNvCxnSpPr>
          <p:nvPr/>
        </p:nvCxnSpPr>
        <p:spPr>
          <a:xfrm flipH="1">
            <a:off x="7762016" y="4838384"/>
            <a:ext cx="710471" cy="0"/>
          </a:xfrm>
          <a:prstGeom prst="straightConnector1">
            <a:avLst/>
          </a:prstGeom>
          <a:ln w="12700" cap="rnd">
            <a:solidFill>
              <a:schemeClr val="bg2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6" name="Gerade Verbindung mit Pfeil 425">
            <a:extLst>
              <a:ext uri="{FF2B5EF4-FFF2-40B4-BE49-F238E27FC236}">
                <a16:creationId xmlns:a16="http://schemas.microsoft.com/office/drawing/2014/main" id="{6C21DBE5-60C2-590A-A4C1-8A20821A57E6}"/>
              </a:ext>
            </a:extLst>
          </p:cNvPr>
          <p:cNvCxnSpPr>
            <a:cxnSpLocks/>
          </p:cNvCxnSpPr>
          <p:nvPr/>
        </p:nvCxnSpPr>
        <p:spPr>
          <a:xfrm flipH="1">
            <a:off x="9728929" y="4838384"/>
            <a:ext cx="710471" cy="0"/>
          </a:xfrm>
          <a:prstGeom prst="straightConnector1">
            <a:avLst/>
          </a:prstGeom>
          <a:ln w="12700" cap="rnd">
            <a:solidFill>
              <a:schemeClr val="bg2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7" name="Gerade Verbindung mit Pfeil 426">
            <a:extLst>
              <a:ext uri="{FF2B5EF4-FFF2-40B4-BE49-F238E27FC236}">
                <a16:creationId xmlns:a16="http://schemas.microsoft.com/office/drawing/2014/main" id="{F8C59789-1C07-B656-B3BE-5348D6AD3A3D}"/>
              </a:ext>
            </a:extLst>
          </p:cNvPr>
          <p:cNvCxnSpPr>
            <a:cxnSpLocks/>
          </p:cNvCxnSpPr>
          <p:nvPr/>
        </p:nvCxnSpPr>
        <p:spPr>
          <a:xfrm flipH="1">
            <a:off x="9882188" y="3738246"/>
            <a:ext cx="557212" cy="0"/>
          </a:xfrm>
          <a:prstGeom prst="straightConnector1">
            <a:avLst/>
          </a:prstGeom>
          <a:ln w="12700" cap="rnd">
            <a:solidFill>
              <a:schemeClr val="bg2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0" name="Gruppieren 429">
            <a:extLst>
              <a:ext uri="{FF2B5EF4-FFF2-40B4-BE49-F238E27FC236}">
                <a16:creationId xmlns:a16="http://schemas.microsoft.com/office/drawing/2014/main" id="{0D18B6A6-3668-9D5C-738C-4C29695C0BE5}"/>
              </a:ext>
            </a:extLst>
          </p:cNvPr>
          <p:cNvGrpSpPr>
            <a:grpSpLocks/>
          </p:cNvGrpSpPr>
          <p:nvPr/>
        </p:nvGrpSpPr>
        <p:grpSpPr>
          <a:xfrm>
            <a:off x="2347010" y="1929618"/>
            <a:ext cx="490972" cy="287633"/>
            <a:chOff x="6920299" y="671158"/>
            <a:chExt cx="897873" cy="525030"/>
          </a:xfrm>
        </p:grpSpPr>
        <p:sp>
          <p:nvSpPr>
            <p:cNvPr id="431" name="Rectangle 64">
              <a:extLst>
                <a:ext uri="{FF2B5EF4-FFF2-40B4-BE49-F238E27FC236}">
                  <a16:creationId xmlns:a16="http://schemas.microsoft.com/office/drawing/2014/main" id="{97A87BDC-BA76-01D6-4726-730C48F402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0299" y="672841"/>
              <a:ext cx="897873" cy="51914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2" name="Rectangle 65">
              <a:extLst>
                <a:ext uri="{FF2B5EF4-FFF2-40B4-BE49-F238E27FC236}">
                  <a16:creationId xmlns:a16="http://schemas.microsoft.com/office/drawing/2014/main" id="{FCE044C9-DD3B-F2A0-D283-C6F04CD396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0299" y="1021178"/>
              <a:ext cx="897873" cy="175010"/>
            </a:xfrm>
            <a:prstGeom prst="rect">
              <a:avLst/>
            </a:prstGeom>
            <a:solidFill>
              <a:srgbClr val="CC17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3" name="Rectangle 66">
              <a:extLst>
                <a:ext uri="{FF2B5EF4-FFF2-40B4-BE49-F238E27FC236}">
                  <a16:creationId xmlns:a16="http://schemas.microsoft.com/office/drawing/2014/main" id="{730813BB-3431-011A-E414-BD01180DAE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0299" y="671158"/>
              <a:ext cx="897873" cy="175010"/>
            </a:xfrm>
            <a:prstGeom prst="rect">
              <a:avLst/>
            </a:prstGeom>
            <a:solidFill>
              <a:srgbClr val="CC17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9EB4670-740B-8F7A-AA71-D1DC574D607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0000" y="6413388"/>
            <a:ext cx="7344220" cy="348396"/>
          </a:xfrm>
        </p:spPr>
        <p:txBody>
          <a:bodyPr/>
          <a:lstStyle/>
          <a:p>
            <a:r>
              <a:rPr lang="de-DE" sz="900">
                <a:ea typeface="+mn-lt"/>
                <a:cs typeface="+mn-lt"/>
              </a:rPr>
              <a:t>https://2016.export.gov/industry/health/healthcareresourceguide/eg_main_108562.asp#:~:text=The%20Austrian%20healthcare%20system%20includes,7.4%20beds%2Fthousand%20population)</a:t>
            </a:r>
          </a:p>
          <a:p>
            <a:r>
              <a:rPr lang="de-DE" sz="900">
                <a:ea typeface="+mn-lt"/>
                <a:cs typeface="+mn-lt"/>
              </a:rPr>
              <a:t>https://www.elga.gv.at/elga/zahlen-daten-fakten/ (Stand: 31.12.2022)</a:t>
            </a:r>
          </a:p>
        </p:txBody>
      </p:sp>
    </p:spTree>
    <p:extLst>
      <p:ext uri="{BB962C8B-B14F-4D97-AF65-F5344CB8AC3E}">
        <p14:creationId xmlns:p14="http://schemas.microsoft.com/office/powerpoint/2010/main" val="16783704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A77E4D6-6AAB-DC96-BBEE-9C550E6BB6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8261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A77E4D6-6AAB-DC96-BBEE-9C550E6BB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17" name="Gerader Verbinder 316">
            <a:extLst>
              <a:ext uri="{FF2B5EF4-FFF2-40B4-BE49-F238E27FC236}">
                <a16:creationId xmlns:a16="http://schemas.microsoft.com/office/drawing/2014/main" id="{C55CC0D9-2E61-19DE-BDF5-4289B879FA04}"/>
              </a:ext>
            </a:extLst>
          </p:cNvPr>
          <p:cNvCxnSpPr>
            <a:cxnSpLocks/>
          </p:cNvCxnSpPr>
          <p:nvPr/>
        </p:nvCxnSpPr>
        <p:spPr>
          <a:xfrm>
            <a:off x="3175002" y="2136485"/>
            <a:ext cx="8994773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11EA4DE3-7B80-4C74-90F2-6C4EB8C768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EPD Schweiz und Business Plattform Cuor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8FCB540-CA87-0833-D900-9C794B4C2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5179DCD-0B7B-6B6C-45DC-A1195E4DF2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pt-BR"/>
              <a:t>A91GER-H-001672-E4</a:t>
            </a:r>
            <a:endParaRPr lang="de-DE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9364AC64-B7C3-0166-2335-D3E6A31B0B72}"/>
              </a:ext>
            </a:extLst>
          </p:cNvPr>
          <p:cNvGrpSpPr>
            <a:grpSpLocks/>
          </p:cNvGrpSpPr>
          <p:nvPr/>
        </p:nvGrpSpPr>
        <p:grpSpPr>
          <a:xfrm flipH="1">
            <a:off x="0" y="1619250"/>
            <a:ext cx="3175003" cy="5238751"/>
            <a:chOff x="8994773" y="1619250"/>
            <a:chExt cx="3175003" cy="5238751"/>
          </a:xfrm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A2510BED-1414-EA37-B1A4-6BF4190359C4}"/>
                </a:ext>
              </a:extLst>
            </p:cNvPr>
            <p:cNvSpPr/>
            <p:nvPr/>
          </p:nvSpPr>
          <p:spPr>
            <a:xfrm>
              <a:off x="8994773" y="1619250"/>
              <a:ext cx="3175003" cy="5238751"/>
            </a:xfrm>
            <a:custGeom>
              <a:avLst/>
              <a:gdLst>
                <a:gd name="connsiteX0" fmla="*/ 2641103 w 3175003"/>
                <a:gd name="connsiteY0" fmla="*/ 0 h 5238751"/>
                <a:gd name="connsiteX1" fmla="*/ 3175003 w 3175003"/>
                <a:gd name="connsiteY1" fmla="*/ 1401789 h 5238751"/>
                <a:gd name="connsiteX2" fmla="*/ 3175003 w 3175003"/>
                <a:gd name="connsiteY2" fmla="*/ 5238751 h 5238751"/>
                <a:gd name="connsiteX3" fmla="*/ 252737 w 3175003"/>
                <a:gd name="connsiteY3" fmla="*/ 5238751 h 5238751"/>
                <a:gd name="connsiteX4" fmla="*/ 0 w 3175003"/>
                <a:gd name="connsiteY4" fmla="*/ 4575174 h 5238751"/>
                <a:gd name="connsiteX5" fmla="*/ 2641103 w 3175003"/>
                <a:gd name="connsiteY5" fmla="*/ 4575174 h 5238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5003" h="5238751">
                  <a:moveTo>
                    <a:pt x="2641103" y="0"/>
                  </a:moveTo>
                  <a:lnTo>
                    <a:pt x="3175003" y="1401789"/>
                  </a:lnTo>
                  <a:lnTo>
                    <a:pt x="3175003" y="5238751"/>
                  </a:lnTo>
                  <a:lnTo>
                    <a:pt x="252737" y="5238751"/>
                  </a:lnTo>
                  <a:lnTo>
                    <a:pt x="0" y="4575174"/>
                  </a:lnTo>
                  <a:lnTo>
                    <a:pt x="2641103" y="4575174"/>
                  </a:lnTo>
                  <a:close/>
                </a:path>
              </a:pathLst>
            </a:custGeom>
            <a:pattFill prst="wdDnDiag">
              <a:fgClr>
                <a:srgbClr val="ECECEC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E4091980-35B6-5E03-4606-99A3C4B28D93}"/>
                </a:ext>
              </a:extLst>
            </p:cNvPr>
            <p:cNvSpPr txBox="1">
              <a:spLocks/>
            </p:cNvSpPr>
            <p:nvPr/>
          </p:nvSpPr>
          <p:spPr>
            <a:xfrm>
              <a:off x="8994774" y="1619250"/>
              <a:ext cx="2633663" cy="4575175"/>
            </a:xfrm>
            <a:prstGeom prst="rect">
              <a:avLst/>
            </a:prstGeom>
            <a:solidFill>
              <a:srgbClr val="ECECEC"/>
            </a:solidFill>
            <a:effectLst>
              <a:outerShdw blurRad="50800" dist="38100" dir="8100000" algn="tr" rotWithShape="0">
                <a:prstClr val="black">
                  <a:alpha val="8000"/>
                </a:prstClr>
              </a:outerShdw>
            </a:effectLst>
          </p:spPr>
          <p:txBody>
            <a:bodyPr wrap="square" lIns="180000" tIns="144000" rIns="180000" bIns="0" rtlCol="0" anchor="t">
              <a:noAutofit/>
            </a:bodyPr>
            <a:lstStyle/>
            <a:p>
              <a:pPr>
                <a:spcAft>
                  <a:spcPts val="300"/>
                </a:spcAft>
              </a:pPr>
              <a:endParaRPr lang="de-DE" sz="4400"/>
            </a:p>
          </p:txBody>
        </p:sp>
      </p:grpSp>
      <p:sp>
        <p:nvSpPr>
          <p:cNvPr id="38" name="Rechteck 37">
            <a:extLst>
              <a:ext uri="{FF2B5EF4-FFF2-40B4-BE49-F238E27FC236}">
                <a16:creationId xmlns:a16="http://schemas.microsoft.com/office/drawing/2014/main" id="{66FCF108-A51F-6628-64D7-9265A359A63C}"/>
              </a:ext>
            </a:extLst>
          </p:cNvPr>
          <p:cNvSpPr>
            <a:spLocks/>
          </p:cNvSpPr>
          <p:nvPr/>
        </p:nvSpPr>
        <p:spPr>
          <a:xfrm>
            <a:off x="753628" y="1826246"/>
            <a:ext cx="2201842" cy="1983754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tlCol="0" anchor="t"/>
          <a:lstStyle/>
          <a:p>
            <a:pPr algn="l"/>
            <a:endParaRPr lang="de-DE" sz="1200" b="1">
              <a:solidFill>
                <a:schemeClr val="tx1"/>
              </a:solidFill>
            </a:endParaRPr>
          </a:p>
        </p:txBody>
      </p:sp>
      <p:sp>
        <p:nvSpPr>
          <p:cNvPr id="318" name="Ellipse 317">
            <a:extLst>
              <a:ext uri="{FF2B5EF4-FFF2-40B4-BE49-F238E27FC236}">
                <a16:creationId xmlns:a16="http://schemas.microsoft.com/office/drawing/2014/main" id="{D5BC3B51-5C46-8862-D819-BDFF1319052E}"/>
              </a:ext>
            </a:extLst>
          </p:cNvPr>
          <p:cNvSpPr>
            <a:spLocks/>
          </p:cNvSpPr>
          <p:nvPr/>
        </p:nvSpPr>
        <p:spPr>
          <a:xfrm>
            <a:off x="3816995" y="2079335"/>
            <a:ext cx="114300" cy="1143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9" name="Ellipse 318">
            <a:extLst>
              <a:ext uri="{FF2B5EF4-FFF2-40B4-BE49-F238E27FC236}">
                <a16:creationId xmlns:a16="http://schemas.microsoft.com/office/drawing/2014/main" id="{CC50225E-55D3-440D-5E23-3231AF93FFCF}"/>
              </a:ext>
            </a:extLst>
          </p:cNvPr>
          <p:cNvSpPr>
            <a:spLocks/>
          </p:cNvSpPr>
          <p:nvPr/>
        </p:nvSpPr>
        <p:spPr>
          <a:xfrm>
            <a:off x="5023809" y="2079335"/>
            <a:ext cx="114300" cy="1143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0" name="Ellipse 319">
            <a:extLst>
              <a:ext uri="{FF2B5EF4-FFF2-40B4-BE49-F238E27FC236}">
                <a16:creationId xmlns:a16="http://schemas.microsoft.com/office/drawing/2014/main" id="{B4CEE243-B100-3FD5-8FAF-0016B7572A64}"/>
              </a:ext>
            </a:extLst>
          </p:cNvPr>
          <p:cNvSpPr>
            <a:spLocks/>
          </p:cNvSpPr>
          <p:nvPr/>
        </p:nvSpPr>
        <p:spPr>
          <a:xfrm>
            <a:off x="6230623" y="2079335"/>
            <a:ext cx="114300" cy="1143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1" name="Ellipse 320">
            <a:extLst>
              <a:ext uri="{FF2B5EF4-FFF2-40B4-BE49-F238E27FC236}">
                <a16:creationId xmlns:a16="http://schemas.microsoft.com/office/drawing/2014/main" id="{FA701BB5-8ABE-24F5-F954-6F271A30D76D}"/>
              </a:ext>
            </a:extLst>
          </p:cNvPr>
          <p:cNvSpPr>
            <a:spLocks/>
          </p:cNvSpPr>
          <p:nvPr/>
        </p:nvSpPr>
        <p:spPr>
          <a:xfrm>
            <a:off x="7437437" y="2079335"/>
            <a:ext cx="114300" cy="1143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2" name="Ellipse 321">
            <a:extLst>
              <a:ext uri="{FF2B5EF4-FFF2-40B4-BE49-F238E27FC236}">
                <a16:creationId xmlns:a16="http://schemas.microsoft.com/office/drawing/2014/main" id="{7D12D263-BA77-FEE1-6F21-8D57A0590DD0}"/>
              </a:ext>
            </a:extLst>
          </p:cNvPr>
          <p:cNvSpPr>
            <a:spLocks/>
          </p:cNvSpPr>
          <p:nvPr/>
        </p:nvSpPr>
        <p:spPr>
          <a:xfrm>
            <a:off x="8644251" y="2079335"/>
            <a:ext cx="114300" cy="1143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3" name="Ellipse 322">
            <a:extLst>
              <a:ext uri="{FF2B5EF4-FFF2-40B4-BE49-F238E27FC236}">
                <a16:creationId xmlns:a16="http://schemas.microsoft.com/office/drawing/2014/main" id="{AECDE5DE-26D5-7543-82F5-A4F82DEEAB4B}"/>
              </a:ext>
            </a:extLst>
          </p:cNvPr>
          <p:cNvSpPr>
            <a:spLocks/>
          </p:cNvSpPr>
          <p:nvPr/>
        </p:nvSpPr>
        <p:spPr>
          <a:xfrm>
            <a:off x="9851065" y="2079335"/>
            <a:ext cx="114300" cy="1143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4" name="Ellipse 323">
            <a:extLst>
              <a:ext uri="{FF2B5EF4-FFF2-40B4-BE49-F238E27FC236}">
                <a16:creationId xmlns:a16="http://schemas.microsoft.com/office/drawing/2014/main" id="{56403B44-5BCC-132D-CC0B-F5882F54AC52}"/>
              </a:ext>
            </a:extLst>
          </p:cNvPr>
          <p:cNvSpPr>
            <a:spLocks/>
          </p:cNvSpPr>
          <p:nvPr/>
        </p:nvSpPr>
        <p:spPr>
          <a:xfrm>
            <a:off x="11057879" y="2079335"/>
            <a:ext cx="114300" cy="1143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5" name="TextBox 419">
            <a:extLst>
              <a:ext uri="{FF2B5EF4-FFF2-40B4-BE49-F238E27FC236}">
                <a16:creationId xmlns:a16="http://schemas.microsoft.com/office/drawing/2014/main" id="{9AAF5A13-9EAB-46A5-EA96-27F614560BD5}"/>
              </a:ext>
            </a:extLst>
          </p:cNvPr>
          <p:cNvSpPr txBox="1">
            <a:spLocks/>
          </p:cNvSpPr>
          <p:nvPr/>
        </p:nvSpPr>
        <p:spPr>
          <a:xfrm>
            <a:off x="5774367" y="1757078"/>
            <a:ext cx="102681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26</a:t>
            </a:r>
          </a:p>
        </p:txBody>
      </p:sp>
      <p:sp>
        <p:nvSpPr>
          <p:cNvPr id="326" name="TextBox 419">
            <a:extLst>
              <a:ext uri="{FF2B5EF4-FFF2-40B4-BE49-F238E27FC236}">
                <a16:creationId xmlns:a16="http://schemas.microsoft.com/office/drawing/2014/main" id="{3F48194E-2AF7-47FE-BF98-D05054A40874}"/>
              </a:ext>
            </a:extLst>
          </p:cNvPr>
          <p:cNvSpPr txBox="1">
            <a:spLocks/>
          </p:cNvSpPr>
          <p:nvPr/>
        </p:nvSpPr>
        <p:spPr>
          <a:xfrm>
            <a:off x="5774367" y="2262379"/>
            <a:ext cx="1026814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Kantone</a:t>
            </a:r>
          </a:p>
        </p:txBody>
      </p:sp>
      <p:sp>
        <p:nvSpPr>
          <p:cNvPr id="327" name="TextBox 426">
            <a:extLst>
              <a:ext uri="{FF2B5EF4-FFF2-40B4-BE49-F238E27FC236}">
                <a16:creationId xmlns:a16="http://schemas.microsoft.com/office/drawing/2014/main" id="{8FBEC3DF-5108-87B5-823F-44969E785647}"/>
              </a:ext>
            </a:extLst>
          </p:cNvPr>
          <p:cNvSpPr txBox="1">
            <a:spLocks/>
          </p:cNvSpPr>
          <p:nvPr/>
        </p:nvSpPr>
        <p:spPr>
          <a:xfrm>
            <a:off x="3360738" y="1757078"/>
            <a:ext cx="102681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18.000</a:t>
            </a:r>
          </a:p>
        </p:txBody>
      </p:sp>
      <p:sp>
        <p:nvSpPr>
          <p:cNvPr id="328" name="TextBox 426">
            <a:extLst>
              <a:ext uri="{FF2B5EF4-FFF2-40B4-BE49-F238E27FC236}">
                <a16:creationId xmlns:a16="http://schemas.microsoft.com/office/drawing/2014/main" id="{F63419DA-85CA-E36C-E6A0-BCC46C2FF17D}"/>
              </a:ext>
            </a:extLst>
          </p:cNvPr>
          <p:cNvSpPr txBox="1">
            <a:spLocks/>
          </p:cNvSpPr>
          <p:nvPr/>
        </p:nvSpPr>
        <p:spPr>
          <a:xfrm>
            <a:off x="3360738" y="2262379"/>
            <a:ext cx="1026814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Ärztepersonal</a:t>
            </a:r>
          </a:p>
        </p:txBody>
      </p:sp>
      <p:sp>
        <p:nvSpPr>
          <p:cNvPr id="329" name="TextBox 429">
            <a:extLst>
              <a:ext uri="{FF2B5EF4-FFF2-40B4-BE49-F238E27FC236}">
                <a16:creationId xmlns:a16="http://schemas.microsoft.com/office/drawing/2014/main" id="{9B17788F-0EED-C0D6-3B8D-7FB1908A49B7}"/>
              </a:ext>
            </a:extLst>
          </p:cNvPr>
          <p:cNvSpPr txBox="1">
            <a:spLocks/>
          </p:cNvSpPr>
          <p:nvPr/>
        </p:nvSpPr>
        <p:spPr>
          <a:xfrm>
            <a:off x="10601622" y="1757078"/>
            <a:ext cx="102681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1.800</a:t>
            </a:r>
          </a:p>
        </p:txBody>
      </p:sp>
      <p:sp>
        <p:nvSpPr>
          <p:cNvPr id="330" name="TextBox 429">
            <a:extLst>
              <a:ext uri="{FF2B5EF4-FFF2-40B4-BE49-F238E27FC236}">
                <a16:creationId xmlns:a16="http://schemas.microsoft.com/office/drawing/2014/main" id="{7BB6FD91-2AA6-6384-DAB1-2F5C41CB655E}"/>
              </a:ext>
            </a:extLst>
          </p:cNvPr>
          <p:cNvSpPr txBox="1">
            <a:spLocks/>
          </p:cNvSpPr>
          <p:nvPr/>
        </p:nvSpPr>
        <p:spPr>
          <a:xfrm>
            <a:off x="10601622" y="2262379"/>
            <a:ext cx="1026814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Apotheken</a:t>
            </a:r>
          </a:p>
        </p:txBody>
      </p:sp>
      <p:sp>
        <p:nvSpPr>
          <p:cNvPr id="331" name="TextBox 432">
            <a:extLst>
              <a:ext uri="{FF2B5EF4-FFF2-40B4-BE49-F238E27FC236}">
                <a16:creationId xmlns:a16="http://schemas.microsoft.com/office/drawing/2014/main" id="{9F8DC493-2E92-E3C2-7F9D-031D8E387997}"/>
              </a:ext>
            </a:extLst>
          </p:cNvPr>
          <p:cNvSpPr txBox="1">
            <a:spLocks/>
          </p:cNvSpPr>
          <p:nvPr/>
        </p:nvSpPr>
        <p:spPr>
          <a:xfrm>
            <a:off x="6981181" y="1757078"/>
            <a:ext cx="102681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300</a:t>
            </a:r>
          </a:p>
        </p:txBody>
      </p:sp>
      <p:sp>
        <p:nvSpPr>
          <p:cNvPr id="332" name="TextBox 432">
            <a:extLst>
              <a:ext uri="{FF2B5EF4-FFF2-40B4-BE49-F238E27FC236}">
                <a16:creationId xmlns:a16="http://schemas.microsoft.com/office/drawing/2014/main" id="{6EAEE231-7320-461A-33A6-AF59236F1162}"/>
              </a:ext>
            </a:extLst>
          </p:cNvPr>
          <p:cNvSpPr txBox="1">
            <a:spLocks/>
          </p:cNvSpPr>
          <p:nvPr/>
        </p:nvSpPr>
        <p:spPr>
          <a:xfrm>
            <a:off x="6981181" y="2262379"/>
            <a:ext cx="1026814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Krankenhäuser</a:t>
            </a:r>
          </a:p>
        </p:txBody>
      </p:sp>
      <p:sp>
        <p:nvSpPr>
          <p:cNvPr id="333" name="TextBox 435">
            <a:extLst>
              <a:ext uri="{FF2B5EF4-FFF2-40B4-BE49-F238E27FC236}">
                <a16:creationId xmlns:a16="http://schemas.microsoft.com/office/drawing/2014/main" id="{F554FABE-42F8-58A0-3621-26770404F604}"/>
              </a:ext>
            </a:extLst>
          </p:cNvPr>
          <p:cNvSpPr txBox="1">
            <a:spLocks/>
          </p:cNvSpPr>
          <p:nvPr/>
        </p:nvSpPr>
        <p:spPr>
          <a:xfrm>
            <a:off x="8187995" y="1757078"/>
            <a:ext cx="102681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300 Mio.</a:t>
            </a:r>
          </a:p>
        </p:txBody>
      </p:sp>
      <p:sp>
        <p:nvSpPr>
          <p:cNvPr id="334" name="TextBox 435">
            <a:extLst>
              <a:ext uri="{FF2B5EF4-FFF2-40B4-BE49-F238E27FC236}">
                <a16:creationId xmlns:a16="http://schemas.microsoft.com/office/drawing/2014/main" id="{A1EB6471-9B15-4B8B-835E-0B5216C33496}"/>
              </a:ext>
            </a:extLst>
          </p:cNvPr>
          <p:cNvSpPr txBox="1">
            <a:spLocks/>
          </p:cNvSpPr>
          <p:nvPr/>
        </p:nvSpPr>
        <p:spPr>
          <a:xfrm>
            <a:off x="8187995" y="2262379"/>
            <a:ext cx="1026814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Dokumente</a:t>
            </a:r>
          </a:p>
        </p:txBody>
      </p:sp>
      <p:sp>
        <p:nvSpPr>
          <p:cNvPr id="335" name="TextBox 438">
            <a:extLst>
              <a:ext uri="{FF2B5EF4-FFF2-40B4-BE49-F238E27FC236}">
                <a16:creationId xmlns:a16="http://schemas.microsoft.com/office/drawing/2014/main" id="{CE4A2D6A-A720-0DD2-D992-730B6D74148A}"/>
              </a:ext>
            </a:extLst>
          </p:cNvPr>
          <p:cNvSpPr txBox="1">
            <a:spLocks/>
          </p:cNvSpPr>
          <p:nvPr/>
        </p:nvSpPr>
        <p:spPr>
          <a:xfrm>
            <a:off x="9394809" y="1757078"/>
            <a:ext cx="102681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14 Mio.</a:t>
            </a:r>
          </a:p>
        </p:txBody>
      </p:sp>
      <p:sp>
        <p:nvSpPr>
          <p:cNvPr id="336" name="TextBox 438">
            <a:extLst>
              <a:ext uri="{FF2B5EF4-FFF2-40B4-BE49-F238E27FC236}">
                <a16:creationId xmlns:a16="http://schemas.microsoft.com/office/drawing/2014/main" id="{69AF7386-4639-DC91-B710-376C4256802A}"/>
              </a:ext>
            </a:extLst>
          </p:cNvPr>
          <p:cNvSpPr txBox="1">
            <a:spLocks/>
          </p:cNvSpPr>
          <p:nvPr/>
        </p:nvSpPr>
        <p:spPr>
          <a:xfrm>
            <a:off x="9394809" y="2262379"/>
            <a:ext cx="1026814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de-DE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Behandlungen</a:t>
            </a:r>
          </a:p>
        </p:txBody>
      </p:sp>
      <p:sp>
        <p:nvSpPr>
          <p:cNvPr id="337" name="TextBox 422">
            <a:extLst>
              <a:ext uri="{FF2B5EF4-FFF2-40B4-BE49-F238E27FC236}">
                <a16:creationId xmlns:a16="http://schemas.microsoft.com/office/drawing/2014/main" id="{6F3A2B00-B63B-7D16-36A8-52AADC8D631A}"/>
              </a:ext>
            </a:extLst>
          </p:cNvPr>
          <p:cNvSpPr txBox="1">
            <a:spLocks/>
          </p:cNvSpPr>
          <p:nvPr/>
        </p:nvSpPr>
        <p:spPr>
          <a:xfrm>
            <a:off x="4567553" y="1757078"/>
            <a:ext cx="102681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19.000</a:t>
            </a:r>
          </a:p>
        </p:txBody>
      </p:sp>
      <p:sp>
        <p:nvSpPr>
          <p:cNvPr id="338" name="TextBox 422">
            <a:extLst>
              <a:ext uri="{FF2B5EF4-FFF2-40B4-BE49-F238E27FC236}">
                <a16:creationId xmlns:a16="http://schemas.microsoft.com/office/drawing/2014/main" id="{2F84F4E8-7AC1-1B79-2A0F-2611ADBA3659}"/>
              </a:ext>
            </a:extLst>
          </p:cNvPr>
          <p:cNvSpPr txBox="1">
            <a:spLocks/>
          </p:cNvSpPr>
          <p:nvPr/>
        </p:nvSpPr>
        <p:spPr>
          <a:xfrm>
            <a:off x="4567553" y="2262379"/>
            <a:ext cx="1026814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Pflegekräfte</a:t>
            </a: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98831483-E076-FECC-16EA-C0C1940611E0}"/>
              </a:ext>
            </a:extLst>
          </p:cNvPr>
          <p:cNvSpPr/>
          <p:nvPr/>
        </p:nvSpPr>
        <p:spPr>
          <a:xfrm>
            <a:off x="3360738" y="2895600"/>
            <a:ext cx="8267700" cy="3298825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4" name="Picture 7">
            <a:extLst>
              <a:ext uri="{FF2B5EF4-FFF2-40B4-BE49-F238E27FC236}">
                <a16:creationId xmlns:a16="http://schemas.microsoft.com/office/drawing/2014/main" id="{E4C5D2F8-1D46-3719-F0F0-0992DD99C1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4418" y="3244854"/>
            <a:ext cx="1256166" cy="374646"/>
          </a:xfrm>
          <a:prstGeom prst="rect">
            <a:avLst/>
          </a:prstGeom>
        </p:spPr>
      </p:pic>
      <p:pic>
        <p:nvPicPr>
          <p:cNvPr id="25" name="Picture 6" descr="geometrical heart image">
            <a:extLst>
              <a:ext uri="{FF2B5EF4-FFF2-40B4-BE49-F238E27FC236}">
                <a16:creationId xmlns:a16="http://schemas.microsoft.com/office/drawing/2014/main" id="{C0BED6E9-C87A-087F-15A8-B23565A493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8317" y="2693318"/>
            <a:ext cx="722982" cy="722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67E94D79-30A5-0909-6A21-BAE19AA4EB13}"/>
              </a:ext>
            </a:extLst>
          </p:cNvPr>
          <p:cNvGrpSpPr>
            <a:grpSpLocks noChangeAspect="1"/>
          </p:cNvGrpSpPr>
          <p:nvPr/>
        </p:nvGrpSpPr>
        <p:grpSpPr>
          <a:xfrm>
            <a:off x="662915" y="4012076"/>
            <a:ext cx="2569235" cy="2088279"/>
            <a:chOff x="399516" y="1265865"/>
            <a:chExt cx="5602960" cy="4554097"/>
          </a:xfrm>
        </p:grpSpPr>
        <p:sp>
          <p:nvSpPr>
            <p:cNvPr id="27" name="TextBox 9">
              <a:extLst>
                <a:ext uri="{FF2B5EF4-FFF2-40B4-BE49-F238E27FC236}">
                  <a16:creationId xmlns:a16="http://schemas.microsoft.com/office/drawing/2014/main" id="{F4ECEADC-B2F0-02C9-816D-2CFFCA9CD53A}"/>
                </a:ext>
              </a:extLst>
            </p:cNvPr>
            <p:cNvSpPr txBox="1"/>
            <p:nvPr/>
          </p:nvSpPr>
          <p:spPr>
            <a:xfrm>
              <a:off x="2016087" y="5618603"/>
              <a:ext cx="376864" cy="2013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60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Cara</a:t>
              </a:r>
            </a:p>
          </p:txBody>
        </p:sp>
        <p:sp>
          <p:nvSpPr>
            <p:cNvPr id="28" name="TextBox 12">
              <a:extLst>
                <a:ext uri="{FF2B5EF4-FFF2-40B4-BE49-F238E27FC236}">
                  <a16:creationId xmlns:a16="http://schemas.microsoft.com/office/drawing/2014/main" id="{9AE0171B-8D16-6784-019E-04EB06A2ED68}"/>
                </a:ext>
              </a:extLst>
            </p:cNvPr>
            <p:cNvSpPr txBox="1"/>
            <p:nvPr/>
          </p:nvSpPr>
          <p:spPr>
            <a:xfrm>
              <a:off x="566857" y="2191863"/>
              <a:ext cx="1065137" cy="40271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60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Ma </a:t>
              </a:r>
              <a:r>
                <a:rPr kumimoji="0" lang="de-DE" sz="600" i="0" u="none" strike="noStrike" kern="1200" cap="none" spc="0" normalizeH="0" baseline="0" noProof="0" err="1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sante</a:t>
              </a:r>
              <a:r>
                <a:rPr kumimoji="0" lang="de-DE" sz="60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de-DE" sz="600" i="0" u="none" strike="noStrike" kern="1200" cap="none" spc="0" normalizeH="0" baseline="0" noProof="0" err="1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connectee</a:t>
              </a:r>
              <a:endParaRPr kumimoji="0" lang="de-DE" sz="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TextBox 16">
              <a:extLst>
                <a:ext uri="{FF2B5EF4-FFF2-40B4-BE49-F238E27FC236}">
                  <a16:creationId xmlns:a16="http://schemas.microsoft.com/office/drawing/2014/main" id="{CEB1116F-C1F0-95E7-7256-3A1909E3BD82}"/>
                </a:ext>
              </a:extLst>
            </p:cNvPr>
            <p:cNvSpPr txBox="1"/>
            <p:nvPr/>
          </p:nvSpPr>
          <p:spPr>
            <a:xfrm>
              <a:off x="2727260" y="1358091"/>
              <a:ext cx="1065137" cy="2013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600" i="0" u="none" strike="noStrike" kern="1200" cap="none" spc="0" normalizeH="0" baseline="0" noProof="0" err="1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eHealth</a:t>
              </a:r>
              <a:r>
                <a:rPr kumimoji="0" lang="de-DE" sz="60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 Aargau</a:t>
              </a:r>
            </a:p>
          </p:txBody>
        </p:sp>
        <p:sp>
          <p:nvSpPr>
            <p:cNvPr id="30" name="TextBox 17">
              <a:extLst>
                <a:ext uri="{FF2B5EF4-FFF2-40B4-BE49-F238E27FC236}">
                  <a16:creationId xmlns:a16="http://schemas.microsoft.com/office/drawing/2014/main" id="{C3911B67-C445-5A03-38C6-A6467432CAF0}"/>
                </a:ext>
              </a:extLst>
            </p:cNvPr>
            <p:cNvSpPr txBox="1"/>
            <p:nvPr/>
          </p:nvSpPr>
          <p:spPr>
            <a:xfrm>
              <a:off x="3208872" y="5323202"/>
              <a:ext cx="820450" cy="40271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600" i="0" u="none" strike="noStrike" kern="1200" cap="none" spc="0" normalizeH="0" baseline="0" noProof="0" err="1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eHealth</a:t>
              </a:r>
              <a:r>
                <a:rPr kumimoji="0" lang="de-DE" sz="60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 Ticino</a:t>
              </a:r>
            </a:p>
          </p:txBody>
        </p:sp>
        <p:sp>
          <p:nvSpPr>
            <p:cNvPr id="31" name="TextBox 18">
              <a:extLst>
                <a:ext uri="{FF2B5EF4-FFF2-40B4-BE49-F238E27FC236}">
                  <a16:creationId xmlns:a16="http://schemas.microsoft.com/office/drawing/2014/main" id="{4E0D7CAD-75B4-275B-E2FD-BF8A3D5E727E}"/>
                </a:ext>
              </a:extLst>
            </p:cNvPr>
            <p:cNvSpPr txBox="1"/>
            <p:nvPr/>
          </p:nvSpPr>
          <p:spPr>
            <a:xfrm>
              <a:off x="4599354" y="4982497"/>
              <a:ext cx="820450" cy="40271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600" i="0" u="none" strike="noStrike" kern="1200" cap="none" spc="0" normalizeH="0" baseline="0" noProof="0" err="1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eHealth</a:t>
              </a:r>
              <a:r>
                <a:rPr kumimoji="0" lang="de-DE" sz="60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 Südost</a:t>
              </a:r>
            </a:p>
          </p:txBody>
        </p:sp>
        <p:sp>
          <p:nvSpPr>
            <p:cNvPr id="32" name="TextBox 21">
              <a:extLst>
                <a:ext uri="{FF2B5EF4-FFF2-40B4-BE49-F238E27FC236}">
                  <a16:creationId xmlns:a16="http://schemas.microsoft.com/office/drawing/2014/main" id="{C614E2F9-A797-E4AC-987F-DD38622BDEDE}"/>
                </a:ext>
              </a:extLst>
            </p:cNvPr>
            <p:cNvSpPr txBox="1"/>
            <p:nvPr/>
          </p:nvSpPr>
          <p:spPr>
            <a:xfrm>
              <a:off x="1945783" y="1265865"/>
              <a:ext cx="1065137" cy="2013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600" i="0" u="none" strike="noStrike" kern="1200" cap="none" spc="0" normalizeH="0" baseline="0" noProof="0" err="1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Xsana</a:t>
              </a:r>
              <a:endParaRPr kumimoji="0" lang="de-DE" sz="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TextBox 24">
              <a:extLst>
                <a:ext uri="{FF2B5EF4-FFF2-40B4-BE49-F238E27FC236}">
                  <a16:creationId xmlns:a16="http://schemas.microsoft.com/office/drawing/2014/main" id="{D4A58BC0-E214-ABA3-B2CD-CA23ACC4C12C}"/>
                </a:ext>
              </a:extLst>
            </p:cNvPr>
            <p:cNvSpPr txBox="1"/>
            <p:nvPr/>
          </p:nvSpPr>
          <p:spPr>
            <a:xfrm>
              <a:off x="4041305" y="1279386"/>
              <a:ext cx="1961171" cy="6040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60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Stammgemeinschaften</a:t>
              </a:r>
            </a:p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60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Schweiz AG </a:t>
              </a:r>
            </a:p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7" name="Gruppieren 21">
              <a:extLst>
                <a:ext uri="{FF2B5EF4-FFF2-40B4-BE49-F238E27FC236}">
                  <a16:creationId xmlns:a16="http://schemas.microsoft.com/office/drawing/2014/main" id="{5EA79559-9557-2754-A302-6E8AB57F6470}"/>
                </a:ext>
              </a:extLst>
            </p:cNvPr>
            <p:cNvGrpSpPr/>
            <p:nvPr/>
          </p:nvGrpSpPr>
          <p:grpSpPr>
            <a:xfrm>
              <a:off x="399516" y="1853658"/>
              <a:ext cx="5152803" cy="3549235"/>
              <a:chOff x="227348" y="1418955"/>
              <a:chExt cx="7489689" cy="4746349"/>
            </a:xfrm>
          </p:grpSpPr>
          <p:sp>
            <p:nvSpPr>
              <p:cNvPr id="46" name="Freeform 226">
                <a:extLst>
                  <a:ext uri="{FF2B5EF4-FFF2-40B4-BE49-F238E27FC236}">
                    <a16:creationId xmlns:a16="http://schemas.microsoft.com/office/drawing/2014/main" id="{795E79BD-3DB1-4CF9-7560-A17CC513C5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7080" y="2215556"/>
                <a:ext cx="4235023" cy="1639130"/>
              </a:xfrm>
              <a:custGeom>
                <a:avLst/>
                <a:gdLst>
                  <a:gd name="T0" fmla="*/ 576 w 2674"/>
                  <a:gd name="T1" fmla="*/ 541 h 1035"/>
                  <a:gd name="T2" fmla="*/ 323 w 2674"/>
                  <a:gd name="T3" fmla="*/ 600 h 1035"/>
                  <a:gd name="T4" fmla="*/ 282 w 2674"/>
                  <a:gd name="T5" fmla="*/ 617 h 1035"/>
                  <a:gd name="T6" fmla="*/ 247 w 2674"/>
                  <a:gd name="T7" fmla="*/ 629 h 1035"/>
                  <a:gd name="T8" fmla="*/ 141 w 2674"/>
                  <a:gd name="T9" fmla="*/ 700 h 1035"/>
                  <a:gd name="T10" fmla="*/ 94 w 2674"/>
                  <a:gd name="T11" fmla="*/ 723 h 1035"/>
                  <a:gd name="T12" fmla="*/ 71 w 2674"/>
                  <a:gd name="T13" fmla="*/ 735 h 1035"/>
                  <a:gd name="T14" fmla="*/ 59 w 2674"/>
                  <a:gd name="T15" fmla="*/ 753 h 1035"/>
                  <a:gd name="T16" fmla="*/ 35 w 2674"/>
                  <a:gd name="T17" fmla="*/ 764 h 1035"/>
                  <a:gd name="T18" fmla="*/ 24 w 2674"/>
                  <a:gd name="T19" fmla="*/ 800 h 1035"/>
                  <a:gd name="T20" fmla="*/ 0 w 2674"/>
                  <a:gd name="T21" fmla="*/ 841 h 1035"/>
                  <a:gd name="T22" fmla="*/ 65 w 2674"/>
                  <a:gd name="T23" fmla="*/ 999 h 1035"/>
                  <a:gd name="T24" fmla="*/ 118 w 2674"/>
                  <a:gd name="T25" fmla="*/ 1023 h 1035"/>
                  <a:gd name="T26" fmla="*/ 165 w 2674"/>
                  <a:gd name="T27" fmla="*/ 1035 h 1035"/>
                  <a:gd name="T28" fmla="*/ 511 w 2674"/>
                  <a:gd name="T29" fmla="*/ 999 h 1035"/>
                  <a:gd name="T30" fmla="*/ 600 w 2674"/>
                  <a:gd name="T31" fmla="*/ 952 h 1035"/>
                  <a:gd name="T32" fmla="*/ 664 w 2674"/>
                  <a:gd name="T33" fmla="*/ 941 h 1035"/>
                  <a:gd name="T34" fmla="*/ 1481 w 2674"/>
                  <a:gd name="T35" fmla="*/ 964 h 1035"/>
                  <a:gd name="T36" fmla="*/ 2163 w 2674"/>
                  <a:gd name="T37" fmla="*/ 929 h 1035"/>
                  <a:gd name="T38" fmla="*/ 2234 w 2674"/>
                  <a:gd name="T39" fmla="*/ 905 h 1035"/>
                  <a:gd name="T40" fmla="*/ 2292 w 2674"/>
                  <a:gd name="T41" fmla="*/ 870 h 1035"/>
                  <a:gd name="T42" fmla="*/ 2357 w 2674"/>
                  <a:gd name="T43" fmla="*/ 806 h 1035"/>
                  <a:gd name="T44" fmla="*/ 2416 w 2674"/>
                  <a:gd name="T45" fmla="*/ 753 h 1035"/>
                  <a:gd name="T46" fmla="*/ 2475 w 2674"/>
                  <a:gd name="T47" fmla="*/ 723 h 1035"/>
                  <a:gd name="T48" fmla="*/ 2557 w 2674"/>
                  <a:gd name="T49" fmla="*/ 664 h 1035"/>
                  <a:gd name="T50" fmla="*/ 2598 w 2674"/>
                  <a:gd name="T51" fmla="*/ 617 h 1035"/>
                  <a:gd name="T52" fmla="*/ 2651 w 2674"/>
                  <a:gd name="T53" fmla="*/ 506 h 1035"/>
                  <a:gd name="T54" fmla="*/ 2674 w 2674"/>
                  <a:gd name="T55" fmla="*/ 453 h 1035"/>
                  <a:gd name="T56" fmla="*/ 2663 w 2674"/>
                  <a:gd name="T57" fmla="*/ 218 h 1035"/>
                  <a:gd name="T58" fmla="*/ 2492 w 2674"/>
                  <a:gd name="T59" fmla="*/ 77 h 1035"/>
                  <a:gd name="T60" fmla="*/ 2257 w 2674"/>
                  <a:gd name="T61" fmla="*/ 0 h 1035"/>
                  <a:gd name="T62" fmla="*/ 1969 w 2674"/>
                  <a:gd name="T63" fmla="*/ 24 h 1035"/>
                  <a:gd name="T64" fmla="*/ 1869 w 2674"/>
                  <a:gd name="T65" fmla="*/ 53 h 1035"/>
                  <a:gd name="T66" fmla="*/ 1822 w 2674"/>
                  <a:gd name="T67" fmla="*/ 65 h 1035"/>
                  <a:gd name="T68" fmla="*/ 1699 w 2674"/>
                  <a:gd name="T69" fmla="*/ 100 h 1035"/>
                  <a:gd name="T70" fmla="*/ 1428 w 2674"/>
                  <a:gd name="T71" fmla="*/ 159 h 1035"/>
                  <a:gd name="T72" fmla="*/ 1334 w 2674"/>
                  <a:gd name="T73" fmla="*/ 182 h 1035"/>
                  <a:gd name="T74" fmla="*/ 988 w 2674"/>
                  <a:gd name="T75" fmla="*/ 259 h 1035"/>
                  <a:gd name="T76" fmla="*/ 852 w 2674"/>
                  <a:gd name="T77" fmla="*/ 324 h 1035"/>
                  <a:gd name="T78" fmla="*/ 799 w 2674"/>
                  <a:gd name="T79" fmla="*/ 347 h 1035"/>
                  <a:gd name="T80" fmla="*/ 747 w 2674"/>
                  <a:gd name="T81" fmla="*/ 394 h 1035"/>
                  <a:gd name="T82" fmla="*/ 658 w 2674"/>
                  <a:gd name="T83" fmla="*/ 453 h 1035"/>
                  <a:gd name="T84" fmla="*/ 617 w 2674"/>
                  <a:gd name="T85" fmla="*/ 476 h 1035"/>
                  <a:gd name="T86" fmla="*/ 582 w 2674"/>
                  <a:gd name="T87" fmla="*/ 500 h 1035"/>
                  <a:gd name="T88" fmla="*/ 547 w 2674"/>
                  <a:gd name="T89" fmla="*/ 529 h 1035"/>
                  <a:gd name="T90" fmla="*/ 535 w 2674"/>
                  <a:gd name="T91" fmla="*/ 547 h 1035"/>
                  <a:gd name="T92" fmla="*/ 511 w 2674"/>
                  <a:gd name="T93" fmla="*/ 553 h 1035"/>
                  <a:gd name="T94" fmla="*/ 576 w 2674"/>
                  <a:gd name="T95" fmla="*/ 541 h 103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674"/>
                  <a:gd name="T145" fmla="*/ 0 h 1035"/>
                  <a:gd name="T146" fmla="*/ 2674 w 2674"/>
                  <a:gd name="T147" fmla="*/ 1035 h 103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674" h="1035">
                    <a:moveTo>
                      <a:pt x="576" y="541"/>
                    </a:moveTo>
                    <a:cubicBezTo>
                      <a:pt x="487" y="551"/>
                      <a:pt x="409" y="579"/>
                      <a:pt x="323" y="600"/>
                    </a:cubicBezTo>
                    <a:cubicBezTo>
                      <a:pt x="287" y="619"/>
                      <a:pt x="314" y="607"/>
                      <a:pt x="282" y="617"/>
                    </a:cubicBezTo>
                    <a:cubicBezTo>
                      <a:pt x="270" y="621"/>
                      <a:pt x="247" y="629"/>
                      <a:pt x="247" y="629"/>
                    </a:cubicBezTo>
                    <a:cubicBezTo>
                      <a:pt x="225" y="662"/>
                      <a:pt x="176" y="682"/>
                      <a:pt x="141" y="700"/>
                    </a:cubicBezTo>
                    <a:cubicBezTo>
                      <a:pt x="76" y="732"/>
                      <a:pt x="161" y="689"/>
                      <a:pt x="94" y="723"/>
                    </a:cubicBezTo>
                    <a:cubicBezTo>
                      <a:pt x="86" y="727"/>
                      <a:pt x="71" y="735"/>
                      <a:pt x="71" y="735"/>
                    </a:cubicBezTo>
                    <a:cubicBezTo>
                      <a:pt x="67" y="741"/>
                      <a:pt x="65" y="748"/>
                      <a:pt x="59" y="753"/>
                    </a:cubicBezTo>
                    <a:cubicBezTo>
                      <a:pt x="52" y="759"/>
                      <a:pt x="40" y="757"/>
                      <a:pt x="35" y="764"/>
                    </a:cubicBezTo>
                    <a:cubicBezTo>
                      <a:pt x="28" y="774"/>
                      <a:pt x="29" y="788"/>
                      <a:pt x="24" y="800"/>
                    </a:cubicBezTo>
                    <a:cubicBezTo>
                      <a:pt x="18" y="815"/>
                      <a:pt x="7" y="827"/>
                      <a:pt x="0" y="841"/>
                    </a:cubicBezTo>
                    <a:cubicBezTo>
                      <a:pt x="7" y="932"/>
                      <a:pt x="2" y="947"/>
                      <a:pt x="65" y="999"/>
                    </a:cubicBezTo>
                    <a:cubicBezTo>
                      <a:pt x="83" y="1014"/>
                      <a:pt x="92" y="1016"/>
                      <a:pt x="118" y="1023"/>
                    </a:cubicBezTo>
                    <a:cubicBezTo>
                      <a:pt x="134" y="1027"/>
                      <a:pt x="165" y="1035"/>
                      <a:pt x="165" y="1035"/>
                    </a:cubicBezTo>
                    <a:cubicBezTo>
                      <a:pt x="283" y="1027"/>
                      <a:pt x="394" y="1012"/>
                      <a:pt x="511" y="999"/>
                    </a:cubicBezTo>
                    <a:cubicBezTo>
                      <a:pt x="543" y="987"/>
                      <a:pt x="568" y="960"/>
                      <a:pt x="600" y="952"/>
                    </a:cubicBezTo>
                    <a:cubicBezTo>
                      <a:pt x="621" y="947"/>
                      <a:pt x="643" y="945"/>
                      <a:pt x="664" y="941"/>
                    </a:cubicBezTo>
                    <a:cubicBezTo>
                      <a:pt x="982" y="944"/>
                      <a:pt x="1200" y="938"/>
                      <a:pt x="1481" y="964"/>
                    </a:cubicBezTo>
                    <a:cubicBezTo>
                      <a:pt x="1706" y="954"/>
                      <a:pt x="1941" y="964"/>
                      <a:pt x="2163" y="929"/>
                    </a:cubicBezTo>
                    <a:cubicBezTo>
                      <a:pt x="2186" y="919"/>
                      <a:pt x="2211" y="915"/>
                      <a:pt x="2234" y="905"/>
                    </a:cubicBezTo>
                    <a:cubicBezTo>
                      <a:pt x="2255" y="896"/>
                      <a:pt x="2272" y="880"/>
                      <a:pt x="2292" y="870"/>
                    </a:cubicBezTo>
                    <a:cubicBezTo>
                      <a:pt x="2311" y="843"/>
                      <a:pt x="2334" y="826"/>
                      <a:pt x="2357" y="806"/>
                    </a:cubicBezTo>
                    <a:cubicBezTo>
                      <a:pt x="2386" y="780"/>
                      <a:pt x="2386" y="769"/>
                      <a:pt x="2416" y="753"/>
                    </a:cubicBezTo>
                    <a:cubicBezTo>
                      <a:pt x="2469" y="724"/>
                      <a:pt x="2421" y="760"/>
                      <a:pt x="2475" y="723"/>
                    </a:cubicBezTo>
                    <a:cubicBezTo>
                      <a:pt x="2502" y="704"/>
                      <a:pt x="2526" y="674"/>
                      <a:pt x="2557" y="664"/>
                    </a:cubicBezTo>
                    <a:cubicBezTo>
                      <a:pt x="2565" y="641"/>
                      <a:pt x="2578" y="631"/>
                      <a:pt x="2598" y="617"/>
                    </a:cubicBezTo>
                    <a:cubicBezTo>
                      <a:pt x="2610" y="583"/>
                      <a:pt x="2630" y="536"/>
                      <a:pt x="2651" y="506"/>
                    </a:cubicBezTo>
                    <a:cubicBezTo>
                      <a:pt x="2657" y="487"/>
                      <a:pt x="2668" y="472"/>
                      <a:pt x="2674" y="453"/>
                    </a:cubicBezTo>
                    <a:cubicBezTo>
                      <a:pt x="2670" y="375"/>
                      <a:pt x="2669" y="296"/>
                      <a:pt x="2663" y="218"/>
                    </a:cubicBezTo>
                    <a:cubicBezTo>
                      <a:pt x="2656" y="132"/>
                      <a:pt x="2565" y="95"/>
                      <a:pt x="2492" y="77"/>
                    </a:cubicBezTo>
                    <a:cubicBezTo>
                      <a:pt x="2426" y="25"/>
                      <a:pt x="2338" y="15"/>
                      <a:pt x="2257" y="0"/>
                    </a:cubicBezTo>
                    <a:cubicBezTo>
                      <a:pt x="2166" y="3"/>
                      <a:pt x="2060" y="0"/>
                      <a:pt x="1969" y="24"/>
                    </a:cubicBezTo>
                    <a:cubicBezTo>
                      <a:pt x="1933" y="33"/>
                      <a:pt x="1906" y="45"/>
                      <a:pt x="1869" y="53"/>
                    </a:cubicBezTo>
                    <a:cubicBezTo>
                      <a:pt x="1853" y="56"/>
                      <a:pt x="1822" y="65"/>
                      <a:pt x="1822" y="65"/>
                    </a:cubicBezTo>
                    <a:cubicBezTo>
                      <a:pt x="1789" y="88"/>
                      <a:pt x="1739" y="89"/>
                      <a:pt x="1699" y="100"/>
                    </a:cubicBezTo>
                    <a:cubicBezTo>
                      <a:pt x="1611" y="124"/>
                      <a:pt x="1518" y="144"/>
                      <a:pt x="1428" y="159"/>
                    </a:cubicBezTo>
                    <a:cubicBezTo>
                      <a:pt x="1395" y="173"/>
                      <a:pt x="1370" y="178"/>
                      <a:pt x="1334" y="182"/>
                    </a:cubicBezTo>
                    <a:cubicBezTo>
                      <a:pt x="1220" y="212"/>
                      <a:pt x="1101" y="224"/>
                      <a:pt x="988" y="259"/>
                    </a:cubicBezTo>
                    <a:cubicBezTo>
                      <a:pt x="938" y="274"/>
                      <a:pt x="897" y="299"/>
                      <a:pt x="852" y="324"/>
                    </a:cubicBezTo>
                    <a:cubicBezTo>
                      <a:pt x="835" y="333"/>
                      <a:pt x="799" y="347"/>
                      <a:pt x="799" y="347"/>
                    </a:cubicBezTo>
                    <a:cubicBezTo>
                      <a:pt x="782" y="365"/>
                      <a:pt x="767" y="380"/>
                      <a:pt x="747" y="394"/>
                    </a:cubicBezTo>
                    <a:cubicBezTo>
                      <a:pt x="730" y="420"/>
                      <a:pt x="689" y="443"/>
                      <a:pt x="658" y="453"/>
                    </a:cubicBezTo>
                    <a:cubicBezTo>
                      <a:pt x="645" y="462"/>
                      <a:pt x="629" y="466"/>
                      <a:pt x="617" y="476"/>
                    </a:cubicBezTo>
                    <a:cubicBezTo>
                      <a:pt x="580" y="506"/>
                      <a:pt x="635" y="486"/>
                      <a:pt x="582" y="500"/>
                    </a:cubicBezTo>
                    <a:cubicBezTo>
                      <a:pt x="552" y="545"/>
                      <a:pt x="592" y="492"/>
                      <a:pt x="547" y="529"/>
                    </a:cubicBezTo>
                    <a:cubicBezTo>
                      <a:pt x="541" y="534"/>
                      <a:pt x="541" y="543"/>
                      <a:pt x="535" y="547"/>
                    </a:cubicBezTo>
                    <a:cubicBezTo>
                      <a:pt x="528" y="552"/>
                      <a:pt x="511" y="553"/>
                      <a:pt x="511" y="553"/>
                    </a:cubicBezTo>
                    <a:lnTo>
                      <a:pt x="576" y="541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317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7" name="Freeform 253">
                <a:extLst>
                  <a:ext uri="{FF2B5EF4-FFF2-40B4-BE49-F238E27FC236}">
                    <a16:creationId xmlns:a16="http://schemas.microsoft.com/office/drawing/2014/main" id="{1F48A1BA-A2B9-74EE-4B41-F88668B87BF4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797790" y="2467944"/>
                <a:ext cx="2576807" cy="2404056"/>
              </a:xfrm>
              <a:custGeom>
                <a:avLst/>
                <a:gdLst/>
                <a:ahLst/>
                <a:cxnLst>
                  <a:cxn ang="0">
                    <a:pos x="808" y="485"/>
                  </a:cxn>
                  <a:cxn ang="0">
                    <a:pos x="776" y="434"/>
                  </a:cxn>
                  <a:cxn ang="0">
                    <a:pos x="710" y="445"/>
                  </a:cxn>
                  <a:cxn ang="0">
                    <a:pos x="643" y="440"/>
                  </a:cxn>
                  <a:cxn ang="0">
                    <a:pos x="579" y="427"/>
                  </a:cxn>
                  <a:cxn ang="0">
                    <a:pos x="513" y="380"/>
                  </a:cxn>
                  <a:cxn ang="0">
                    <a:pos x="515" y="319"/>
                  </a:cxn>
                  <a:cxn ang="0">
                    <a:pos x="559" y="262"/>
                  </a:cxn>
                  <a:cxn ang="0">
                    <a:pos x="517" y="219"/>
                  </a:cxn>
                  <a:cxn ang="0">
                    <a:pos x="525" y="137"/>
                  </a:cxn>
                  <a:cxn ang="0">
                    <a:pos x="498" y="64"/>
                  </a:cxn>
                  <a:cxn ang="0">
                    <a:pos x="441" y="52"/>
                  </a:cxn>
                  <a:cxn ang="0">
                    <a:pos x="382" y="64"/>
                  </a:cxn>
                  <a:cxn ang="0">
                    <a:pos x="411" y="109"/>
                  </a:cxn>
                  <a:cxn ang="0">
                    <a:pos x="392" y="142"/>
                  </a:cxn>
                  <a:cxn ang="0">
                    <a:pos x="354" y="135"/>
                  </a:cxn>
                  <a:cxn ang="0">
                    <a:pos x="324" y="169"/>
                  </a:cxn>
                  <a:cxn ang="0">
                    <a:pos x="298" y="198"/>
                  </a:cxn>
                  <a:cxn ang="0">
                    <a:pos x="271" y="162"/>
                  </a:cxn>
                  <a:cxn ang="0">
                    <a:pos x="302" y="140"/>
                  </a:cxn>
                  <a:cxn ang="0">
                    <a:pos x="309" y="113"/>
                  </a:cxn>
                  <a:cxn ang="0">
                    <a:pos x="271" y="115"/>
                  </a:cxn>
                  <a:cxn ang="0">
                    <a:pos x="268" y="86"/>
                  </a:cxn>
                  <a:cxn ang="0">
                    <a:pos x="319" y="57"/>
                  </a:cxn>
                  <a:cxn ang="0">
                    <a:pos x="367" y="18"/>
                  </a:cxn>
                  <a:cxn ang="0">
                    <a:pos x="346" y="19"/>
                  </a:cxn>
                  <a:cxn ang="0">
                    <a:pos x="256" y="24"/>
                  </a:cxn>
                  <a:cxn ang="0">
                    <a:pos x="167" y="31"/>
                  </a:cxn>
                  <a:cxn ang="0">
                    <a:pos x="159" y="60"/>
                  </a:cxn>
                  <a:cxn ang="0">
                    <a:pos x="109" y="74"/>
                  </a:cxn>
                  <a:cxn ang="0">
                    <a:pos x="72" y="114"/>
                  </a:cxn>
                  <a:cxn ang="0">
                    <a:pos x="0" y="117"/>
                  </a:cxn>
                  <a:cxn ang="0">
                    <a:pos x="9" y="179"/>
                  </a:cxn>
                  <a:cxn ang="0">
                    <a:pos x="92" y="157"/>
                  </a:cxn>
                  <a:cxn ang="0">
                    <a:pos x="117" y="207"/>
                  </a:cxn>
                  <a:cxn ang="0">
                    <a:pos x="94" y="259"/>
                  </a:cxn>
                  <a:cxn ang="0">
                    <a:pos x="141" y="261"/>
                  </a:cxn>
                  <a:cxn ang="0">
                    <a:pos x="182" y="274"/>
                  </a:cxn>
                  <a:cxn ang="0">
                    <a:pos x="185" y="298"/>
                  </a:cxn>
                  <a:cxn ang="0">
                    <a:pos x="172" y="320"/>
                  </a:cxn>
                  <a:cxn ang="0">
                    <a:pos x="215" y="331"/>
                  </a:cxn>
                  <a:cxn ang="0">
                    <a:pos x="226" y="370"/>
                  </a:cxn>
                  <a:cxn ang="0">
                    <a:pos x="218" y="441"/>
                  </a:cxn>
                  <a:cxn ang="0">
                    <a:pos x="253" y="506"/>
                  </a:cxn>
                  <a:cxn ang="0">
                    <a:pos x="223" y="536"/>
                  </a:cxn>
                  <a:cxn ang="0">
                    <a:pos x="194" y="577"/>
                  </a:cxn>
                  <a:cxn ang="0">
                    <a:pos x="184" y="624"/>
                  </a:cxn>
                  <a:cxn ang="0">
                    <a:pos x="158" y="668"/>
                  </a:cxn>
                  <a:cxn ang="0">
                    <a:pos x="168" y="727"/>
                  </a:cxn>
                  <a:cxn ang="0">
                    <a:pos x="205" y="727"/>
                  </a:cxn>
                  <a:cxn ang="0">
                    <a:pos x="275" y="717"/>
                  </a:cxn>
                  <a:cxn ang="0">
                    <a:pos x="327" y="703"/>
                  </a:cxn>
                  <a:cxn ang="0">
                    <a:pos x="378" y="676"/>
                  </a:cxn>
                  <a:cxn ang="0">
                    <a:pos x="433" y="690"/>
                  </a:cxn>
                  <a:cxn ang="0">
                    <a:pos x="478" y="661"/>
                  </a:cxn>
                  <a:cxn ang="0">
                    <a:pos x="538" y="634"/>
                  </a:cxn>
                  <a:cxn ang="0">
                    <a:pos x="593" y="594"/>
                  </a:cxn>
                  <a:cxn ang="0">
                    <a:pos x="653" y="616"/>
                  </a:cxn>
                  <a:cxn ang="0">
                    <a:pos x="722" y="609"/>
                  </a:cxn>
                  <a:cxn ang="0">
                    <a:pos x="773" y="540"/>
                  </a:cxn>
                  <a:cxn ang="0">
                    <a:pos x="781" y="507"/>
                  </a:cxn>
                  <a:cxn ang="0">
                    <a:pos x="424" y="138"/>
                  </a:cxn>
                </a:cxnLst>
                <a:rect l="0" t="0" r="r" b="b"/>
                <a:pathLst>
                  <a:path w="813" h="755">
                    <a:moveTo>
                      <a:pt x="137" y="311"/>
                    </a:moveTo>
                    <a:cubicBezTo>
                      <a:pt x="137" y="311"/>
                      <a:pt x="132" y="311"/>
                      <a:pt x="130" y="312"/>
                    </a:cubicBezTo>
                    <a:cubicBezTo>
                      <a:pt x="130" y="312"/>
                      <a:pt x="130" y="317"/>
                      <a:pt x="130" y="317"/>
                    </a:cubicBezTo>
                    <a:cubicBezTo>
                      <a:pt x="131" y="318"/>
                      <a:pt x="133" y="316"/>
                      <a:pt x="133" y="319"/>
                    </a:cubicBezTo>
                    <a:cubicBezTo>
                      <a:pt x="133" y="319"/>
                      <a:pt x="135" y="321"/>
                      <a:pt x="136" y="318"/>
                    </a:cubicBezTo>
                    <a:cubicBezTo>
                      <a:pt x="136" y="318"/>
                      <a:pt x="135" y="316"/>
                      <a:pt x="137" y="318"/>
                    </a:cubicBezTo>
                    <a:cubicBezTo>
                      <a:pt x="137" y="318"/>
                      <a:pt x="139" y="311"/>
                      <a:pt x="137" y="311"/>
                    </a:cubicBezTo>
                    <a:close/>
                    <a:moveTo>
                      <a:pt x="808" y="492"/>
                    </a:moveTo>
                    <a:cubicBezTo>
                      <a:pt x="805" y="491"/>
                      <a:pt x="808" y="488"/>
                      <a:pt x="808" y="489"/>
                    </a:cubicBezTo>
                    <a:cubicBezTo>
                      <a:pt x="811" y="487"/>
                      <a:pt x="808" y="485"/>
                      <a:pt x="808" y="485"/>
                    </a:cubicBezTo>
                    <a:cubicBezTo>
                      <a:pt x="805" y="483"/>
                      <a:pt x="806" y="474"/>
                      <a:pt x="806" y="474"/>
                    </a:cubicBezTo>
                    <a:cubicBezTo>
                      <a:pt x="808" y="473"/>
                      <a:pt x="806" y="471"/>
                      <a:pt x="806" y="471"/>
                    </a:cubicBezTo>
                    <a:cubicBezTo>
                      <a:pt x="804" y="470"/>
                      <a:pt x="802" y="460"/>
                      <a:pt x="802" y="460"/>
                    </a:cubicBezTo>
                    <a:cubicBezTo>
                      <a:pt x="801" y="458"/>
                      <a:pt x="804" y="454"/>
                      <a:pt x="804" y="453"/>
                    </a:cubicBezTo>
                    <a:cubicBezTo>
                      <a:pt x="809" y="451"/>
                      <a:pt x="805" y="444"/>
                      <a:pt x="805" y="445"/>
                    </a:cubicBezTo>
                    <a:cubicBezTo>
                      <a:pt x="804" y="437"/>
                      <a:pt x="794" y="440"/>
                      <a:pt x="795" y="440"/>
                    </a:cubicBezTo>
                    <a:cubicBezTo>
                      <a:pt x="793" y="441"/>
                      <a:pt x="789" y="440"/>
                      <a:pt x="789" y="440"/>
                    </a:cubicBezTo>
                    <a:cubicBezTo>
                      <a:pt x="785" y="439"/>
                      <a:pt x="784" y="443"/>
                      <a:pt x="784" y="444"/>
                    </a:cubicBezTo>
                    <a:cubicBezTo>
                      <a:pt x="781" y="445"/>
                      <a:pt x="778" y="442"/>
                      <a:pt x="778" y="442"/>
                    </a:cubicBezTo>
                    <a:cubicBezTo>
                      <a:pt x="778" y="437"/>
                      <a:pt x="776" y="434"/>
                      <a:pt x="776" y="434"/>
                    </a:cubicBezTo>
                    <a:cubicBezTo>
                      <a:pt x="776" y="434"/>
                      <a:pt x="771" y="430"/>
                      <a:pt x="772" y="430"/>
                    </a:cubicBezTo>
                    <a:cubicBezTo>
                      <a:pt x="765" y="424"/>
                      <a:pt x="763" y="430"/>
                      <a:pt x="762" y="430"/>
                    </a:cubicBezTo>
                    <a:cubicBezTo>
                      <a:pt x="758" y="430"/>
                      <a:pt x="755" y="432"/>
                      <a:pt x="755" y="432"/>
                    </a:cubicBezTo>
                    <a:cubicBezTo>
                      <a:pt x="747" y="432"/>
                      <a:pt x="743" y="434"/>
                      <a:pt x="743" y="434"/>
                    </a:cubicBezTo>
                    <a:cubicBezTo>
                      <a:pt x="742" y="436"/>
                      <a:pt x="739" y="439"/>
                      <a:pt x="739" y="439"/>
                    </a:cubicBezTo>
                    <a:cubicBezTo>
                      <a:pt x="738" y="440"/>
                      <a:pt x="734" y="445"/>
                      <a:pt x="734" y="445"/>
                    </a:cubicBezTo>
                    <a:cubicBezTo>
                      <a:pt x="731" y="448"/>
                      <a:pt x="730" y="445"/>
                      <a:pt x="730" y="445"/>
                    </a:cubicBezTo>
                    <a:cubicBezTo>
                      <a:pt x="727" y="444"/>
                      <a:pt x="726" y="449"/>
                      <a:pt x="726" y="449"/>
                    </a:cubicBezTo>
                    <a:cubicBezTo>
                      <a:pt x="723" y="452"/>
                      <a:pt x="714" y="450"/>
                      <a:pt x="714" y="450"/>
                    </a:cubicBezTo>
                    <a:cubicBezTo>
                      <a:pt x="713" y="447"/>
                      <a:pt x="710" y="445"/>
                      <a:pt x="710" y="445"/>
                    </a:cubicBezTo>
                    <a:cubicBezTo>
                      <a:pt x="708" y="441"/>
                      <a:pt x="703" y="439"/>
                      <a:pt x="702" y="440"/>
                    </a:cubicBezTo>
                    <a:cubicBezTo>
                      <a:pt x="698" y="440"/>
                      <a:pt x="697" y="442"/>
                      <a:pt x="697" y="442"/>
                    </a:cubicBezTo>
                    <a:cubicBezTo>
                      <a:pt x="693" y="445"/>
                      <a:pt x="689" y="442"/>
                      <a:pt x="689" y="442"/>
                    </a:cubicBezTo>
                    <a:cubicBezTo>
                      <a:pt x="689" y="439"/>
                      <a:pt x="676" y="440"/>
                      <a:pt x="675" y="440"/>
                    </a:cubicBezTo>
                    <a:cubicBezTo>
                      <a:pt x="674" y="440"/>
                      <a:pt x="663" y="442"/>
                      <a:pt x="663" y="442"/>
                    </a:cubicBezTo>
                    <a:cubicBezTo>
                      <a:pt x="661" y="442"/>
                      <a:pt x="658" y="445"/>
                      <a:pt x="658" y="445"/>
                    </a:cubicBezTo>
                    <a:cubicBezTo>
                      <a:pt x="655" y="446"/>
                      <a:pt x="654" y="448"/>
                      <a:pt x="654" y="448"/>
                    </a:cubicBezTo>
                    <a:cubicBezTo>
                      <a:pt x="653" y="449"/>
                      <a:pt x="652" y="448"/>
                      <a:pt x="651" y="448"/>
                    </a:cubicBezTo>
                    <a:cubicBezTo>
                      <a:pt x="651" y="447"/>
                      <a:pt x="648" y="445"/>
                      <a:pt x="648" y="445"/>
                    </a:cubicBezTo>
                    <a:cubicBezTo>
                      <a:pt x="648" y="444"/>
                      <a:pt x="643" y="440"/>
                      <a:pt x="643" y="440"/>
                    </a:cubicBezTo>
                    <a:cubicBezTo>
                      <a:pt x="643" y="437"/>
                      <a:pt x="637" y="437"/>
                      <a:pt x="637" y="436"/>
                    </a:cubicBezTo>
                    <a:cubicBezTo>
                      <a:pt x="636" y="434"/>
                      <a:pt x="631" y="434"/>
                      <a:pt x="631" y="434"/>
                    </a:cubicBezTo>
                    <a:cubicBezTo>
                      <a:pt x="633" y="430"/>
                      <a:pt x="628" y="430"/>
                      <a:pt x="628" y="430"/>
                    </a:cubicBezTo>
                    <a:cubicBezTo>
                      <a:pt x="628" y="431"/>
                      <a:pt x="624" y="427"/>
                      <a:pt x="624" y="426"/>
                    </a:cubicBezTo>
                    <a:cubicBezTo>
                      <a:pt x="624" y="424"/>
                      <a:pt x="614" y="425"/>
                      <a:pt x="614" y="425"/>
                    </a:cubicBezTo>
                    <a:cubicBezTo>
                      <a:pt x="613" y="422"/>
                      <a:pt x="607" y="423"/>
                      <a:pt x="607" y="423"/>
                    </a:cubicBezTo>
                    <a:cubicBezTo>
                      <a:pt x="605" y="425"/>
                      <a:pt x="603" y="423"/>
                      <a:pt x="603" y="423"/>
                    </a:cubicBezTo>
                    <a:cubicBezTo>
                      <a:pt x="601" y="425"/>
                      <a:pt x="598" y="422"/>
                      <a:pt x="598" y="422"/>
                    </a:cubicBezTo>
                    <a:cubicBezTo>
                      <a:pt x="595" y="418"/>
                      <a:pt x="590" y="422"/>
                      <a:pt x="589" y="422"/>
                    </a:cubicBezTo>
                    <a:cubicBezTo>
                      <a:pt x="587" y="422"/>
                      <a:pt x="579" y="427"/>
                      <a:pt x="579" y="427"/>
                    </a:cubicBezTo>
                    <a:cubicBezTo>
                      <a:pt x="575" y="427"/>
                      <a:pt x="571" y="430"/>
                      <a:pt x="570" y="430"/>
                    </a:cubicBezTo>
                    <a:cubicBezTo>
                      <a:pt x="569" y="433"/>
                      <a:pt x="565" y="430"/>
                      <a:pt x="565" y="430"/>
                    </a:cubicBezTo>
                    <a:cubicBezTo>
                      <a:pt x="565" y="425"/>
                      <a:pt x="559" y="423"/>
                      <a:pt x="560" y="423"/>
                    </a:cubicBezTo>
                    <a:cubicBezTo>
                      <a:pt x="551" y="425"/>
                      <a:pt x="554" y="420"/>
                      <a:pt x="555" y="420"/>
                    </a:cubicBezTo>
                    <a:cubicBezTo>
                      <a:pt x="555" y="420"/>
                      <a:pt x="549" y="407"/>
                      <a:pt x="548" y="406"/>
                    </a:cubicBezTo>
                    <a:cubicBezTo>
                      <a:pt x="544" y="402"/>
                      <a:pt x="544" y="402"/>
                      <a:pt x="544" y="402"/>
                    </a:cubicBezTo>
                    <a:cubicBezTo>
                      <a:pt x="543" y="402"/>
                      <a:pt x="537" y="395"/>
                      <a:pt x="537" y="395"/>
                    </a:cubicBezTo>
                    <a:cubicBezTo>
                      <a:pt x="536" y="395"/>
                      <a:pt x="527" y="391"/>
                      <a:pt x="527" y="391"/>
                    </a:cubicBezTo>
                    <a:cubicBezTo>
                      <a:pt x="525" y="391"/>
                      <a:pt x="518" y="386"/>
                      <a:pt x="518" y="386"/>
                    </a:cubicBezTo>
                    <a:cubicBezTo>
                      <a:pt x="516" y="385"/>
                      <a:pt x="514" y="380"/>
                      <a:pt x="513" y="380"/>
                    </a:cubicBezTo>
                    <a:cubicBezTo>
                      <a:pt x="512" y="380"/>
                      <a:pt x="511" y="368"/>
                      <a:pt x="511" y="369"/>
                    </a:cubicBezTo>
                    <a:cubicBezTo>
                      <a:pt x="509" y="368"/>
                      <a:pt x="511" y="367"/>
                      <a:pt x="511" y="367"/>
                    </a:cubicBezTo>
                    <a:cubicBezTo>
                      <a:pt x="513" y="367"/>
                      <a:pt x="511" y="361"/>
                      <a:pt x="510" y="361"/>
                    </a:cubicBezTo>
                    <a:cubicBezTo>
                      <a:pt x="506" y="356"/>
                      <a:pt x="507" y="353"/>
                      <a:pt x="506" y="353"/>
                    </a:cubicBezTo>
                    <a:cubicBezTo>
                      <a:pt x="498" y="353"/>
                      <a:pt x="510" y="347"/>
                      <a:pt x="510" y="347"/>
                    </a:cubicBezTo>
                    <a:cubicBezTo>
                      <a:pt x="513" y="346"/>
                      <a:pt x="514" y="342"/>
                      <a:pt x="514" y="342"/>
                    </a:cubicBezTo>
                    <a:cubicBezTo>
                      <a:pt x="516" y="342"/>
                      <a:pt x="517" y="337"/>
                      <a:pt x="518" y="337"/>
                    </a:cubicBezTo>
                    <a:cubicBezTo>
                      <a:pt x="521" y="334"/>
                      <a:pt x="518" y="329"/>
                      <a:pt x="518" y="330"/>
                    </a:cubicBezTo>
                    <a:cubicBezTo>
                      <a:pt x="517" y="330"/>
                      <a:pt x="513" y="326"/>
                      <a:pt x="513" y="326"/>
                    </a:cubicBezTo>
                    <a:cubicBezTo>
                      <a:pt x="512" y="326"/>
                      <a:pt x="515" y="319"/>
                      <a:pt x="515" y="319"/>
                    </a:cubicBezTo>
                    <a:cubicBezTo>
                      <a:pt x="517" y="318"/>
                      <a:pt x="519" y="317"/>
                      <a:pt x="519" y="316"/>
                    </a:cubicBezTo>
                    <a:cubicBezTo>
                      <a:pt x="521" y="316"/>
                      <a:pt x="525" y="314"/>
                      <a:pt x="525" y="314"/>
                    </a:cubicBezTo>
                    <a:cubicBezTo>
                      <a:pt x="533" y="309"/>
                      <a:pt x="532" y="314"/>
                      <a:pt x="533" y="314"/>
                    </a:cubicBezTo>
                    <a:cubicBezTo>
                      <a:pt x="534" y="314"/>
                      <a:pt x="538" y="311"/>
                      <a:pt x="538" y="311"/>
                    </a:cubicBezTo>
                    <a:cubicBezTo>
                      <a:pt x="540" y="311"/>
                      <a:pt x="542" y="303"/>
                      <a:pt x="542" y="303"/>
                    </a:cubicBezTo>
                    <a:cubicBezTo>
                      <a:pt x="546" y="302"/>
                      <a:pt x="546" y="293"/>
                      <a:pt x="546" y="293"/>
                    </a:cubicBezTo>
                    <a:cubicBezTo>
                      <a:pt x="546" y="289"/>
                      <a:pt x="552" y="290"/>
                      <a:pt x="552" y="289"/>
                    </a:cubicBezTo>
                    <a:cubicBezTo>
                      <a:pt x="554" y="291"/>
                      <a:pt x="556" y="279"/>
                      <a:pt x="557" y="278"/>
                    </a:cubicBezTo>
                    <a:cubicBezTo>
                      <a:pt x="561" y="277"/>
                      <a:pt x="557" y="275"/>
                      <a:pt x="557" y="275"/>
                    </a:cubicBezTo>
                    <a:cubicBezTo>
                      <a:pt x="553" y="271"/>
                      <a:pt x="559" y="263"/>
                      <a:pt x="559" y="262"/>
                    </a:cubicBezTo>
                    <a:cubicBezTo>
                      <a:pt x="562" y="261"/>
                      <a:pt x="559" y="259"/>
                      <a:pt x="559" y="259"/>
                    </a:cubicBezTo>
                    <a:cubicBezTo>
                      <a:pt x="558" y="257"/>
                      <a:pt x="551" y="259"/>
                      <a:pt x="551" y="259"/>
                    </a:cubicBezTo>
                    <a:cubicBezTo>
                      <a:pt x="546" y="262"/>
                      <a:pt x="547" y="257"/>
                      <a:pt x="547" y="257"/>
                    </a:cubicBezTo>
                    <a:cubicBezTo>
                      <a:pt x="547" y="254"/>
                      <a:pt x="538" y="257"/>
                      <a:pt x="538" y="257"/>
                    </a:cubicBezTo>
                    <a:cubicBezTo>
                      <a:pt x="530" y="261"/>
                      <a:pt x="532" y="257"/>
                      <a:pt x="532" y="256"/>
                    </a:cubicBezTo>
                    <a:cubicBezTo>
                      <a:pt x="522" y="254"/>
                      <a:pt x="532" y="252"/>
                      <a:pt x="532" y="252"/>
                    </a:cubicBezTo>
                    <a:cubicBezTo>
                      <a:pt x="532" y="248"/>
                      <a:pt x="527" y="241"/>
                      <a:pt x="527" y="241"/>
                    </a:cubicBezTo>
                    <a:cubicBezTo>
                      <a:pt x="527" y="234"/>
                      <a:pt x="523" y="234"/>
                      <a:pt x="522" y="234"/>
                    </a:cubicBezTo>
                    <a:cubicBezTo>
                      <a:pt x="522" y="230"/>
                      <a:pt x="517" y="228"/>
                      <a:pt x="517" y="228"/>
                    </a:cubicBezTo>
                    <a:cubicBezTo>
                      <a:pt x="510" y="223"/>
                      <a:pt x="517" y="219"/>
                      <a:pt x="517" y="219"/>
                    </a:cubicBezTo>
                    <a:cubicBezTo>
                      <a:pt x="516" y="218"/>
                      <a:pt x="520" y="213"/>
                      <a:pt x="521" y="212"/>
                    </a:cubicBezTo>
                    <a:cubicBezTo>
                      <a:pt x="522" y="207"/>
                      <a:pt x="522" y="199"/>
                      <a:pt x="523" y="199"/>
                    </a:cubicBezTo>
                    <a:cubicBezTo>
                      <a:pt x="526" y="196"/>
                      <a:pt x="523" y="192"/>
                      <a:pt x="523" y="192"/>
                    </a:cubicBezTo>
                    <a:cubicBezTo>
                      <a:pt x="522" y="192"/>
                      <a:pt x="521" y="184"/>
                      <a:pt x="521" y="184"/>
                    </a:cubicBezTo>
                    <a:cubicBezTo>
                      <a:pt x="519" y="184"/>
                      <a:pt x="517" y="174"/>
                      <a:pt x="517" y="174"/>
                    </a:cubicBezTo>
                    <a:cubicBezTo>
                      <a:pt x="519" y="173"/>
                      <a:pt x="521" y="169"/>
                      <a:pt x="521" y="169"/>
                    </a:cubicBezTo>
                    <a:cubicBezTo>
                      <a:pt x="521" y="169"/>
                      <a:pt x="527" y="165"/>
                      <a:pt x="528" y="165"/>
                    </a:cubicBezTo>
                    <a:cubicBezTo>
                      <a:pt x="533" y="159"/>
                      <a:pt x="526" y="157"/>
                      <a:pt x="526" y="157"/>
                    </a:cubicBezTo>
                    <a:cubicBezTo>
                      <a:pt x="528" y="154"/>
                      <a:pt x="522" y="147"/>
                      <a:pt x="522" y="147"/>
                    </a:cubicBezTo>
                    <a:cubicBezTo>
                      <a:pt x="519" y="143"/>
                      <a:pt x="525" y="136"/>
                      <a:pt x="525" y="137"/>
                    </a:cubicBezTo>
                    <a:cubicBezTo>
                      <a:pt x="528" y="131"/>
                      <a:pt x="522" y="128"/>
                      <a:pt x="522" y="129"/>
                    </a:cubicBezTo>
                    <a:cubicBezTo>
                      <a:pt x="521" y="123"/>
                      <a:pt x="517" y="123"/>
                      <a:pt x="517" y="123"/>
                    </a:cubicBezTo>
                    <a:cubicBezTo>
                      <a:pt x="516" y="115"/>
                      <a:pt x="513" y="115"/>
                      <a:pt x="513" y="115"/>
                    </a:cubicBezTo>
                    <a:cubicBezTo>
                      <a:pt x="512" y="108"/>
                      <a:pt x="508" y="102"/>
                      <a:pt x="508" y="101"/>
                    </a:cubicBezTo>
                    <a:cubicBezTo>
                      <a:pt x="508" y="96"/>
                      <a:pt x="503" y="90"/>
                      <a:pt x="503" y="90"/>
                    </a:cubicBezTo>
                    <a:cubicBezTo>
                      <a:pt x="503" y="83"/>
                      <a:pt x="499" y="81"/>
                      <a:pt x="499" y="81"/>
                    </a:cubicBezTo>
                    <a:cubicBezTo>
                      <a:pt x="495" y="80"/>
                      <a:pt x="499" y="77"/>
                      <a:pt x="499" y="77"/>
                    </a:cubicBezTo>
                    <a:cubicBezTo>
                      <a:pt x="500" y="74"/>
                      <a:pt x="500" y="74"/>
                      <a:pt x="500" y="74"/>
                    </a:cubicBezTo>
                    <a:cubicBezTo>
                      <a:pt x="497" y="74"/>
                      <a:pt x="499" y="72"/>
                      <a:pt x="499" y="72"/>
                    </a:cubicBezTo>
                    <a:cubicBezTo>
                      <a:pt x="501" y="61"/>
                      <a:pt x="498" y="64"/>
                      <a:pt x="498" y="64"/>
                    </a:cubicBezTo>
                    <a:cubicBezTo>
                      <a:pt x="495" y="66"/>
                      <a:pt x="489" y="63"/>
                      <a:pt x="489" y="63"/>
                    </a:cubicBezTo>
                    <a:cubicBezTo>
                      <a:pt x="489" y="60"/>
                      <a:pt x="486" y="61"/>
                      <a:pt x="486" y="61"/>
                    </a:cubicBezTo>
                    <a:cubicBezTo>
                      <a:pt x="485" y="63"/>
                      <a:pt x="480" y="65"/>
                      <a:pt x="481" y="65"/>
                    </a:cubicBezTo>
                    <a:cubicBezTo>
                      <a:pt x="479" y="71"/>
                      <a:pt x="474" y="64"/>
                      <a:pt x="474" y="64"/>
                    </a:cubicBezTo>
                    <a:cubicBezTo>
                      <a:pt x="475" y="58"/>
                      <a:pt x="467" y="64"/>
                      <a:pt x="467" y="63"/>
                    </a:cubicBezTo>
                    <a:cubicBezTo>
                      <a:pt x="467" y="65"/>
                      <a:pt x="461" y="66"/>
                      <a:pt x="461" y="66"/>
                    </a:cubicBezTo>
                    <a:cubicBezTo>
                      <a:pt x="459" y="69"/>
                      <a:pt x="455" y="67"/>
                      <a:pt x="455" y="67"/>
                    </a:cubicBezTo>
                    <a:cubicBezTo>
                      <a:pt x="455" y="65"/>
                      <a:pt x="452" y="65"/>
                      <a:pt x="452" y="65"/>
                    </a:cubicBezTo>
                    <a:cubicBezTo>
                      <a:pt x="450" y="60"/>
                      <a:pt x="446" y="58"/>
                      <a:pt x="447" y="58"/>
                    </a:cubicBezTo>
                    <a:cubicBezTo>
                      <a:pt x="447" y="57"/>
                      <a:pt x="441" y="52"/>
                      <a:pt x="441" y="52"/>
                    </a:cubicBezTo>
                    <a:cubicBezTo>
                      <a:pt x="441" y="47"/>
                      <a:pt x="437" y="45"/>
                      <a:pt x="437" y="46"/>
                    </a:cubicBezTo>
                    <a:cubicBezTo>
                      <a:pt x="437" y="45"/>
                      <a:pt x="432" y="42"/>
                      <a:pt x="432" y="42"/>
                    </a:cubicBezTo>
                    <a:cubicBezTo>
                      <a:pt x="431" y="38"/>
                      <a:pt x="428" y="41"/>
                      <a:pt x="428" y="42"/>
                    </a:cubicBezTo>
                    <a:cubicBezTo>
                      <a:pt x="425" y="42"/>
                      <a:pt x="421" y="43"/>
                      <a:pt x="421" y="43"/>
                    </a:cubicBezTo>
                    <a:cubicBezTo>
                      <a:pt x="417" y="43"/>
                      <a:pt x="415" y="46"/>
                      <a:pt x="415" y="46"/>
                    </a:cubicBezTo>
                    <a:cubicBezTo>
                      <a:pt x="410" y="46"/>
                      <a:pt x="408" y="49"/>
                      <a:pt x="408" y="49"/>
                    </a:cubicBezTo>
                    <a:cubicBezTo>
                      <a:pt x="387" y="48"/>
                      <a:pt x="375" y="51"/>
                      <a:pt x="375" y="50"/>
                    </a:cubicBezTo>
                    <a:cubicBezTo>
                      <a:pt x="371" y="52"/>
                      <a:pt x="377" y="54"/>
                      <a:pt x="377" y="54"/>
                    </a:cubicBezTo>
                    <a:cubicBezTo>
                      <a:pt x="375" y="56"/>
                      <a:pt x="381" y="58"/>
                      <a:pt x="381" y="58"/>
                    </a:cubicBezTo>
                    <a:cubicBezTo>
                      <a:pt x="380" y="59"/>
                      <a:pt x="382" y="64"/>
                      <a:pt x="382" y="64"/>
                    </a:cubicBezTo>
                    <a:cubicBezTo>
                      <a:pt x="384" y="64"/>
                      <a:pt x="383" y="68"/>
                      <a:pt x="383" y="68"/>
                    </a:cubicBezTo>
                    <a:cubicBezTo>
                      <a:pt x="382" y="68"/>
                      <a:pt x="381" y="73"/>
                      <a:pt x="381" y="73"/>
                    </a:cubicBezTo>
                    <a:cubicBezTo>
                      <a:pt x="382" y="73"/>
                      <a:pt x="386" y="77"/>
                      <a:pt x="386" y="77"/>
                    </a:cubicBezTo>
                    <a:cubicBezTo>
                      <a:pt x="386" y="80"/>
                      <a:pt x="389" y="81"/>
                      <a:pt x="389" y="81"/>
                    </a:cubicBezTo>
                    <a:cubicBezTo>
                      <a:pt x="390" y="80"/>
                      <a:pt x="392" y="84"/>
                      <a:pt x="392" y="84"/>
                    </a:cubicBezTo>
                    <a:cubicBezTo>
                      <a:pt x="391" y="86"/>
                      <a:pt x="397" y="88"/>
                      <a:pt x="397" y="88"/>
                    </a:cubicBezTo>
                    <a:cubicBezTo>
                      <a:pt x="404" y="87"/>
                      <a:pt x="406" y="93"/>
                      <a:pt x="406" y="93"/>
                    </a:cubicBezTo>
                    <a:cubicBezTo>
                      <a:pt x="404" y="95"/>
                      <a:pt x="407" y="102"/>
                      <a:pt x="408" y="102"/>
                    </a:cubicBezTo>
                    <a:cubicBezTo>
                      <a:pt x="411" y="104"/>
                      <a:pt x="409" y="106"/>
                      <a:pt x="408" y="106"/>
                    </a:cubicBezTo>
                    <a:cubicBezTo>
                      <a:pt x="406" y="107"/>
                      <a:pt x="410" y="109"/>
                      <a:pt x="411" y="109"/>
                    </a:cubicBezTo>
                    <a:cubicBezTo>
                      <a:pt x="416" y="108"/>
                      <a:pt x="417" y="114"/>
                      <a:pt x="417" y="114"/>
                    </a:cubicBezTo>
                    <a:cubicBezTo>
                      <a:pt x="421" y="111"/>
                      <a:pt x="420" y="121"/>
                      <a:pt x="420" y="121"/>
                    </a:cubicBezTo>
                    <a:cubicBezTo>
                      <a:pt x="425" y="124"/>
                      <a:pt x="419" y="129"/>
                      <a:pt x="419" y="129"/>
                    </a:cubicBezTo>
                    <a:cubicBezTo>
                      <a:pt x="420" y="132"/>
                      <a:pt x="416" y="133"/>
                      <a:pt x="416" y="133"/>
                    </a:cubicBezTo>
                    <a:cubicBezTo>
                      <a:pt x="411" y="131"/>
                      <a:pt x="410" y="137"/>
                      <a:pt x="410" y="137"/>
                    </a:cubicBezTo>
                    <a:cubicBezTo>
                      <a:pt x="407" y="136"/>
                      <a:pt x="407" y="144"/>
                      <a:pt x="408" y="144"/>
                    </a:cubicBezTo>
                    <a:cubicBezTo>
                      <a:pt x="408" y="147"/>
                      <a:pt x="404" y="146"/>
                      <a:pt x="404" y="146"/>
                    </a:cubicBezTo>
                    <a:cubicBezTo>
                      <a:pt x="403" y="143"/>
                      <a:pt x="398" y="143"/>
                      <a:pt x="399" y="143"/>
                    </a:cubicBezTo>
                    <a:cubicBezTo>
                      <a:pt x="398" y="139"/>
                      <a:pt x="398" y="143"/>
                      <a:pt x="397" y="143"/>
                    </a:cubicBezTo>
                    <a:cubicBezTo>
                      <a:pt x="396" y="145"/>
                      <a:pt x="392" y="142"/>
                      <a:pt x="392" y="142"/>
                    </a:cubicBezTo>
                    <a:cubicBezTo>
                      <a:pt x="394" y="134"/>
                      <a:pt x="390" y="142"/>
                      <a:pt x="390" y="142"/>
                    </a:cubicBezTo>
                    <a:cubicBezTo>
                      <a:pt x="386" y="142"/>
                      <a:pt x="386" y="142"/>
                      <a:pt x="386" y="142"/>
                    </a:cubicBezTo>
                    <a:cubicBezTo>
                      <a:pt x="385" y="146"/>
                      <a:pt x="378" y="144"/>
                      <a:pt x="377" y="143"/>
                    </a:cubicBezTo>
                    <a:cubicBezTo>
                      <a:pt x="376" y="139"/>
                      <a:pt x="376" y="145"/>
                      <a:pt x="376" y="145"/>
                    </a:cubicBezTo>
                    <a:cubicBezTo>
                      <a:pt x="375" y="147"/>
                      <a:pt x="374" y="143"/>
                      <a:pt x="373" y="143"/>
                    </a:cubicBezTo>
                    <a:cubicBezTo>
                      <a:pt x="373" y="142"/>
                      <a:pt x="370" y="138"/>
                      <a:pt x="370" y="138"/>
                    </a:cubicBezTo>
                    <a:cubicBezTo>
                      <a:pt x="370" y="133"/>
                      <a:pt x="365" y="134"/>
                      <a:pt x="365" y="134"/>
                    </a:cubicBezTo>
                    <a:cubicBezTo>
                      <a:pt x="367" y="126"/>
                      <a:pt x="359" y="132"/>
                      <a:pt x="359" y="131"/>
                    </a:cubicBezTo>
                    <a:cubicBezTo>
                      <a:pt x="356" y="131"/>
                      <a:pt x="356" y="134"/>
                      <a:pt x="356" y="134"/>
                    </a:cubicBezTo>
                    <a:cubicBezTo>
                      <a:pt x="356" y="138"/>
                      <a:pt x="354" y="135"/>
                      <a:pt x="354" y="135"/>
                    </a:cubicBezTo>
                    <a:cubicBezTo>
                      <a:pt x="348" y="134"/>
                      <a:pt x="348" y="134"/>
                      <a:pt x="348" y="134"/>
                    </a:cubicBezTo>
                    <a:cubicBezTo>
                      <a:pt x="344" y="134"/>
                      <a:pt x="343" y="136"/>
                      <a:pt x="343" y="136"/>
                    </a:cubicBezTo>
                    <a:cubicBezTo>
                      <a:pt x="339" y="136"/>
                      <a:pt x="342" y="139"/>
                      <a:pt x="342" y="139"/>
                    </a:cubicBezTo>
                    <a:cubicBezTo>
                      <a:pt x="344" y="142"/>
                      <a:pt x="344" y="142"/>
                      <a:pt x="344" y="142"/>
                    </a:cubicBezTo>
                    <a:cubicBezTo>
                      <a:pt x="347" y="144"/>
                      <a:pt x="343" y="146"/>
                      <a:pt x="344" y="146"/>
                    </a:cubicBezTo>
                    <a:cubicBezTo>
                      <a:pt x="344" y="149"/>
                      <a:pt x="341" y="152"/>
                      <a:pt x="341" y="151"/>
                    </a:cubicBezTo>
                    <a:cubicBezTo>
                      <a:pt x="339" y="151"/>
                      <a:pt x="337" y="157"/>
                      <a:pt x="337" y="157"/>
                    </a:cubicBezTo>
                    <a:cubicBezTo>
                      <a:pt x="337" y="158"/>
                      <a:pt x="333" y="164"/>
                      <a:pt x="333" y="164"/>
                    </a:cubicBezTo>
                    <a:cubicBezTo>
                      <a:pt x="334" y="165"/>
                      <a:pt x="329" y="165"/>
                      <a:pt x="329" y="165"/>
                    </a:cubicBezTo>
                    <a:cubicBezTo>
                      <a:pt x="329" y="168"/>
                      <a:pt x="324" y="169"/>
                      <a:pt x="324" y="169"/>
                    </a:cubicBezTo>
                    <a:cubicBezTo>
                      <a:pt x="324" y="170"/>
                      <a:pt x="319" y="171"/>
                      <a:pt x="319" y="171"/>
                    </a:cubicBezTo>
                    <a:cubicBezTo>
                      <a:pt x="319" y="173"/>
                      <a:pt x="314" y="173"/>
                      <a:pt x="314" y="173"/>
                    </a:cubicBezTo>
                    <a:cubicBezTo>
                      <a:pt x="315" y="174"/>
                      <a:pt x="313" y="175"/>
                      <a:pt x="313" y="175"/>
                    </a:cubicBezTo>
                    <a:cubicBezTo>
                      <a:pt x="308" y="174"/>
                      <a:pt x="310" y="177"/>
                      <a:pt x="310" y="177"/>
                    </a:cubicBezTo>
                    <a:cubicBezTo>
                      <a:pt x="312" y="177"/>
                      <a:pt x="312" y="185"/>
                      <a:pt x="312" y="185"/>
                    </a:cubicBezTo>
                    <a:cubicBezTo>
                      <a:pt x="314" y="184"/>
                      <a:pt x="314" y="188"/>
                      <a:pt x="315" y="188"/>
                    </a:cubicBezTo>
                    <a:cubicBezTo>
                      <a:pt x="320" y="189"/>
                      <a:pt x="314" y="192"/>
                      <a:pt x="314" y="192"/>
                    </a:cubicBezTo>
                    <a:cubicBezTo>
                      <a:pt x="314" y="193"/>
                      <a:pt x="312" y="196"/>
                      <a:pt x="312" y="196"/>
                    </a:cubicBezTo>
                    <a:cubicBezTo>
                      <a:pt x="310" y="196"/>
                      <a:pt x="306" y="198"/>
                      <a:pt x="306" y="198"/>
                    </a:cubicBezTo>
                    <a:cubicBezTo>
                      <a:pt x="304" y="199"/>
                      <a:pt x="298" y="199"/>
                      <a:pt x="298" y="198"/>
                    </a:cubicBezTo>
                    <a:cubicBezTo>
                      <a:pt x="295" y="197"/>
                      <a:pt x="297" y="186"/>
                      <a:pt x="297" y="186"/>
                    </a:cubicBezTo>
                    <a:cubicBezTo>
                      <a:pt x="300" y="184"/>
                      <a:pt x="297" y="184"/>
                      <a:pt x="297" y="184"/>
                    </a:cubicBezTo>
                    <a:cubicBezTo>
                      <a:pt x="298" y="180"/>
                      <a:pt x="294" y="180"/>
                      <a:pt x="294" y="180"/>
                    </a:cubicBezTo>
                    <a:cubicBezTo>
                      <a:pt x="291" y="180"/>
                      <a:pt x="287" y="182"/>
                      <a:pt x="287" y="182"/>
                    </a:cubicBezTo>
                    <a:cubicBezTo>
                      <a:pt x="285" y="182"/>
                      <a:pt x="283" y="184"/>
                      <a:pt x="283" y="184"/>
                    </a:cubicBezTo>
                    <a:cubicBezTo>
                      <a:pt x="282" y="185"/>
                      <a:pt x="276" y="184"/>
                      <a:pt x="276" y="184"/>
                    </a:cubicBezTo>
                    <a:cubicBezTo>
                      <a:pt x="275" y="185"/>
                      <a:pt x="272" y="182"/>
                      <a:pt x="271" y="182"/>
                    </a:cubicBezTo>
                    <a:cubicBezTo>
                      <a:pt x="270" y="182"/>
                      <a:pt x="268" y="176"/>
                      <a:pt x="268" y="176"/>
                    </a:cubicBezTo>
                    <a:cubicBezTo>
                      <a:pt x="269" y="172"/>
                      <a:pt x="266" y="166"/>
                      <a:pt x="266" y="166"/>
                    </a:cubicBezTo>
                    <a:cubicBezTo>
                      <a:pt x="260" y="160"/>
                      <a:pt x="271" y="161"/>
                      <a:pt x="271" y="162"/>
                    </a:cubicBezTo>
                    <a:cubicBezTo>
                      <a:pt x="271" y="157"/>
                      <a:pt x="276" y="162"/>
                      <a:pt x="276" y="162"/>
                    </a:cubicBezTo>
                    <a:cubicBezTo>
                      <a:pt x="275" y="163"/>
                      <a:pt x="281" y="165"/>
                      <a:pt x="281" y="165"/>
                    </a:cubicBezTo>
                    <a:cubicBezTo>
                      <a:pt x="283" y="167"/>
                      <a:pt x="285" y="165"/>
                      <a:pt x="285" y="165"/>
                    </a:cubicBezTo>
                    <a:cubicBezTo>
                      <a:pt x="286" y="165"/>
                      <a:pt x="293" y="161"/>
                      <a:pt x="293" y="161"/>
                    </a:cubicBezTo>
                    <a:cubicBezTo>
                      <a:pt x="298" y="163"/>
                      <a:pt x="298" y="161"/>
                      <a:pt x="298" y="161"/>
                    </a:cubicBezTo>
                    <a:cubicBezTo>
                      <a:pt x="300" y="156"/>
                      <a:pt x="294" y="155"/>
                      <a:pt x="293" y="155"/>
                    </a:cubicBezTo>
                    <a:cubicBezTo>
                      <a:pt x="285" y="155"/>
                      <a:pt x="291" y="153"/>
                      <a:pt x="291" y="153"/>
                    </a:cubicBezTo>
                    <a:cubicBezTo>
                      <a:pt x="294" y="153"/>
                      <a:pt x="295" y="150"/>
                      <a:pt x="295" y="150"/>
                    </a:cubicBezTo>
                    <a:cubicBezTo>
                      <a:pt x="295" y="148"/>
                      <a:pt x="299" y="147"/>
                      <a:pt x="299" y="147"/>
                    </a:cubicBezTo>
                    <a:cubicBezTo>
                      <a:pt x="302" y="146"/>
                      <a:pt x="302" y="140"/>
                      <a:pt x="302" y="140"/>
                    </a:cubicBezTo>
                    <a:cubicBezTo>
                      <a:pt x="302" y="137"/>
                      <a:pt x="309" y="138"/>
                      <a:pt x="309" y="138"/>
                    </a:cubicBezTo>
                    <a:cubicBezTo>
                      <a:pt x="310" y="141"/>
                      <a:pt x="314" y="140"/>
                      <a:pt x="314" y="140"/>
                    </a:cubicBezTo>
                    <a:cubicBezTo>
                      <a:pt x="315" y="144"/>
                      <a:pt x="319" y="141"/>
                      <a:pt x="319" y="141"/>
                    </a:cubicBezTo>
                    <a:cubicBezTo>
                      <a:pt x="321" y="141"/>
                      <a:pt x="323" y="138"/>
                      <a:pt x="323" y="138"/>
                    </a:cubicBezTo>
                    <a:cubicBezTo>
                      <a:pt x="327" y="138"/>
                      <a:pt x="327" y="132"/>
                      <a:pt x="327" y="131"/>
                    </a:cubicBezTo>
                    <a:cubicBezTo>
                      <a:pt x="332" y="129"/>
                      <a:pt x="327" y="127"/>
                      <a:pt x="326" y="127"/>
                    </a:cubicBezTo>
                    <a:cubicBezTo>
                      <a:pt x="327" y="124"/>
                      <a:pt x="322" y="124"/>
                      <a:pt x="322" y="124"/>
                    </a:cubicBezTo>
                    <a:cubicBezTo>
                      <a:pt x="319" y="125"/>
                      <a:pt x="318" y="121"/>
                      <a:pt x="318" y="121"/>
                    </a:cubicBezTo>
                    <a:cubicBezTo>
                      <a:pt x="315" y="115"/>
                      <a:pt x="321" y="116"/>
                      <a:pt x="321" y="116"/>
                    </a:cubicBezTo>
                    <a:cubicBezTo>
                      <a:pt x="325" y="111"/>
                      <a:pt x="308" y="113"/>
                      <a:pt x="309" y="113"/>
                    </a:cubicBezTo>
                    <a:cubicBezTo>
                      <a:pt x="309" y="115"/>
                      <a:pt x="304" y="117"/>
                      <a:pt x="304" y="117"/>
                    </a:cubicBezTo>
                    <a:cubicBezTo>
                      <a:pt x="304" y="119"/>
                      <a:pt x="298" y="118"/>
                      <a:pt x="298" y="117"/>
                    </a:cubicBezTo>
                    <a:cubicBezTo>
                      <a:pt x="296" y="116"/>
                      <a:pt x="296" y="122"/>
                      <a:pt x="296" y="122"/>
                    </a:cubicBezTo>
                    <a:cubicBezTo>
                      <a:pt x="298" y="123"/>
                      <a:pt x="294" y="124"/>
                      <a:pt x="293" y="124"/>
                    </a:cubicBezTo>
                    <a:cubicBezTo>
                      <a:pt x="290" y="124"/>
                      <a:pt x="289" y="130"/>
                      <a:pt x="289" y="130"/>
                    </a:cubicBezTo>
                    <a:cubicBezTo>
                      <a:pt x="289" y="131"/>
                      <a:pt x="281" y="132"/>
                      <a:pt x="281" y="132"/>
                    </a:cubicBezTo>
                    <a:cubicBezTo>
                      <a:pt x="281" y="134"/>
                      <a:pt x="274" y="134"/>
                      <a:pt x="274" y="134"/>
                    </a:cubicBezTo>
                    <a:cubicBezTo>
                      <a:pt x="267" y="134"/>
                      <a:pt x="274" y="130"/>
                      <a:pt x="274" y="130"/>
                    </a:cubicBezTo>
                    <a:cubicBezTo>
                      <a:pt x="277" y="128"/>
                      <a:pt x="274" y="119"/>
                      <a:pt x="274" y="119"/>
                    </a:cubicBezTo>
                    <a:cubicBezTo>
                      <a:pt x="276" y="115"/>
                      <a:pt x="271" y="115"/>
                      <a:pt x="271" y="115"/>
                    </a:cubicBezTo>
                    <a:cubicBezTo>
                      <a:pt x="270" y="110"/>
                      <a:pt x="265" y="111"/>
                      <a:pt x="265" y="111"/>
                    </a:cubicBezTo>
                    <a:cubicBezTo>
                      <a:pt x="265" y="107"/>
                      <a:pt x="261" y="108"/>
                      <a:pt x="261" y="108"/>
                    </a:cubicBezTo>
                    <a:cubicBezTo>
                      <a:pt x="261" y="111"/>
                      <a:pt x="259" y="111"/>
                      <a:pt x="259" y="110"/>
                    </a:cubicBezTo>
                    <a:cubicBezTo>
                      <a:pt x="257" y="111"/>
                      <a:pt x="256" y="107"/>
                      <a:pt x="256" y="107"/>
                    </a:cubicBezTo>
                    <a:cubicBezTo>
                      <a:pt x="256" y="104"/>
                      <a:pt x="255" y="104"/>
                      <a:pt x="254" y="103"/>
                    </a:cubicBezTo>
                    <a:cubicBezTo>
                      <a:pt x="253" y="103"/>
                      <a:pt x="253" y="91"/>
                      <a:pt x="253" y="91"/>
                    </a:cubicBezTo>
                    <a:cubicBezTo>
                      <a:pt x="252" y="90"/>
                      <a:pt x="259" y="89"/>
                      <a:pt x="259" y="88"/>
                    </a:cubicBezTo>
                    <a:cubicBezTo>
                      <a:pt x="260" y="85"/>
                      <a:pt x="262" y="90"/>
                      <a:pt x="262" y="90"/>
                    </a:cubicBezTo>
                    <a:cubicBezTo>
                      <a:pt x="264" y="92"/>
                      <a:pt x="264" y="88"/>
                      <a:pt x="264" y="88"/>
                    </a:cubicBezTo>
                    <a:cubicBezTo>
                      <a:pt x="267" y="88"/>
                      <a:pt x="268" y="86"/>
                      <a:pt x="268" y="86"/>
                    </a:cubicBezTo>
                    <a:cubicBezTo>
                      <a:pt x="268" y="86"/>
                      <a:pt x="271" y="84"/>
                      <a:pt x="271" y="83"/>
                    </a:cubicBezTo>
                    <a:cubicBezTo>
                      <a:pt x="273" y="83"/>
                      <a:pt x="277" y="81"/>
                      <a:pt x="277" y="81"/>
                    </a:cubicBezTo>
                    <a:cubicBezTo>
                      <a:pt x="281" y="80"/>
                      <a:pt x="286" y="77"/>
                      <a:pt x="286" y="77"/>
                    </a:cubicBezTo>
                    <a:cubicBezTo>
                      <a:pt x="287" y="77"/>
                      <a:pt x="293" y="75"/>
                      <a:pt x="292" y="74"/>
                    </a:cubicBezTo>
                    <a:cubicBezTo>
                      <a:pt x="296" y="73"/>
                      <a:pt x="292" y="72"/>
                      <a:pt x="292" y="72"/>
                    </a:cubicBezTo>
                    <a:cubicBezTo>
                      <a:pt x="291" y="72"/>
                      <a:pt x="290" y="67"/>
                      <a:pt x="291" y="66"/>
                    </a:cubicBezTo>
                    <a:cubicBezTo>
                      <a:pt x="292" y="66"/>
                      <a:pt x="295" y="65"/>
                      <a:pt x="295" y="65"/>
                    </a:cubicBezTo>
                    <a:cubicBezTo>
                      <a:pt x="298" y="64"/>
                      <a:pt x="301" y="61"/>
                      <a:pt x="300" y="61"/>
                    </a:cubicBezTo>
                    <a:cubicBezTo>
                      <a:pt x="302" y="61"/>
                      <a:pt x="306" y="60"/>
                      <a:pt x="306" y="59"/>
                    </a:cubicBezTo>
                    <a:cubicBezTo>
                      <a:pt x="311" y="57"/>
                      <a:pt x="319" y="58"/>
                      <a:pt x="319" y="57"/>
                    </a:cubicBezTo>
                    <a:cubicBezTo>
                      <a:pt x="321" y="55"/>
                      <a:pt x="321" y="53"/>
                      <a:pt x="321" y="53"/>
                    </a:cubicBezTo>
                    <a:cubicBezTo>
                      <a:pt x="322" y="53"/>
                      <a:pt x="324" y="47"/>
                      <a:pt x="324" y="47"/>
                    </a:cubicBezTo>
                    <a:cubicBezTo>
                      <a:pt x="326" y="47"/>
                      <a:pt x="329" y="44"/>
                      <a:pt x="328" y="43"/>
                    </a:cubicBezTo>
                    <a:cubicBezTo>
                      <a:pt x="329" y="43"/>
                      <a:pt x="334" y="41"/>
                      <a:pt x="333" y="40"/>
                    </a:cubicBezTo>
                    <a:cubicBezTo>
                      <a:pt x="337" y="41"/>
                      <a:pt x="342" y="38"/>
                      <a:pt x="341" y="38"/>
                    </a:cubicBezTo>
                    <a:cubicBezTo>
                      <a:pt x="344" y="38"/>
                      <a:pt x="352" y="35"/>
                      <a:pt x="352" y="35"/>
                    </a:cubicBezTo>
                    <a:cubicBezTo>
                      <a:pt x="355" y="37"/>
                      <a:pt x="357" y="28"/>
                      <a:pt x="356" y="28"/>
                    </a:cubicBezTo>
                    <a:cubicBezTo>
                      <a:pt x="360" y="28"/>
                      <a:pt x="360" y="26"/>
                      <a:pt x="360" y="26"/>
                    </a:cubicBezTo>
                    <a:cubicBezTo>
                      <a:pt x="360" y="24"/>
                      <a:pt x="362" y="19"/>
                      <a:pt x="362" y="19"/>
                    </a:cubicBezTo>
                    <a:cubicBezTo>
                      <a:pt x="361" y="16"/>
                      <a:pt x="367" y="19"/>
                      <a:pt x="367" y="18"/>
                    </a:cubicBezTo>
                    <a:cubicBezTo>
                      <a:pt x="367" y="16"/>
                      <a:pt x="372" y="13"/>
                      <a:pt x="372" y="13"/>
                    </a:cubicBezTo>
                    <a:cubicBezTo>
                      <a:pt x="375" y="12"/>
                      <a:pt x="370" y="7"/>
                      <a:pt x="369" y="6"/>
                    </a:cubicBezTo>
                    <a:cubicBezTo>
                      <a:pt x="369" y="1"/>
                      <a:pt x="365" y="1"/>
                      <a:pt x="365" y="1"/>
                    </a:cubicBezTo>
                    <a:cubicBezTo>
                      <a:pt x="364" y="0"/>
                      <a:pt x="363" y="0"/>
                      <a:pt x="362" y="0"/>
                    </a:cubicBezTo>
                    <a:cubicBezTo>
                      <a:pt x="360" y="0"/>
                      <a:pt x="360" y="0"/>
                      <a:pt x="360" y="0"/>
                    </a:cubicBezTo>
                    <a:cubicBezTo>
                      <a:pt x="360" y="0"/>
                      <a:pt x="359" y="4"/>
                      <a:pt x="358" y="4"/>
                    </a:cubicBezTo>
                    <a:cubicBezTo>
                      <a:pt x="356" y="4"/>
                      <a:pt x="353" y="7"/>
                      <a:pt x="353" y="7"/>
                    </a:cubicBezTo>
                    <a:cubicBezTo>
                      <a:pt x="354" y="8"/>
                      <a:pt x="350" y="12"/>
                      <a:pt x="351" y="11"/>
                    </a:cubicBezTo>
                    <a:cubicBezTo>
                      <a:pt x="352" y="12"/>
                      <a:pt x="349" y="15"/>
                      <a:pt x="349" y="15"/>
                    </a:cubicBezTo>
                    <a:cubicBezTo>
                      <a:pt x="348" y="15"/>
                      <a:pt x="346" y="19"/>
                      <a:pt x="346" y="19"/>
                    </a:cubicBezTo>
                    <a:cubicBezTo>
                      <a:pt x="347" y="19"/>
                      <a:pt x="346" y="23"/>
                      <a:pt x="346" y="23"/>
                    </a:cubicBezTo>
                    <a:cubicBezTo>
                      <a:pt x="344" y="22"/>
                      <a:pt x="340" y="26"/>
                      <a:pt x="340" y="25"/>
                    </a:cubicBezTo>
                    <a:cubicBezTo>
                      <a:pt x="340" y="27"/>
                      <a:pt x="333" y="31"/>
                      <a:pt x="333" y="31"/>
                    </a:cubicBezTo>
                    <a:cubicBezTo>
                      <a:pt x="332" y="31"/>
                      <a:pt x="325" y="29"/>
                      <a:pt x="325" y="28"/>
                    </a:cubicBezTo>
                    <a:cubicBezTo>
                      <a:pt x="322" y="23"/>
                      <a:pt x="297" y="26"/>
                      <a:pt x="297" y="26"/>
                    </a:cubicBezTo>
                    <a:cubicBezTo>
                      <a:pt x="295" y="23"/>
                      <a:pt x="291" y="23"/>
                      <a:pt x="291" y="23"/>
                    </a:cubicBezTo>
                    <a:cubicBezTo>
                      <a:pt x="291" y="19"/>
                      <a:pt x="280" y="21"/>
                      <a:pt x="280" y="21"/>
                    </a:cubicBezTo>
                    <a:cubicBezTo>
                      <a:pt x="277" y="16"/>
                      <a:pt x="270" y="21"/>
                      <a:pt x="270" y="21"/>
                    </a:cubicBezTo>
                    <a:cubicBezTo>
                      <a:pt x="269" y="22"/>
                      <a:pt x="262" y="24"/>
                      <a:pt x="262" y="23"/>
                    </a:cubicBezTo>
                    <a:cubicBezTo>
                      <a:pt x="260" y="27"/>
                      <a:pt x="256" y="25"/>
                      <a:pt x="256" y="24"/>
                    </a:cubicBezTo>
                    <a:cubicBezTo>
                      <a:pt x="254" y="22"/>
                      <a:pt x="250" y="25"/>
                      <a:pt x="250" y="25"/>
                    </a:cubicBezTo>
                    <a:cubicBezTo>
                      <a:pt x="250" y="28"/>
                      <a:pt x="246" y="30"/>
                      <a:pt x="246" y="30"/>
                    </a:cubicBezTo>
                    <a:cubicBezTo>
                      <a:pt x="245" y="33"/>
                      <a:pt x="244" y="35"/>
                      <a:pt x="244" y="35"/>
                    </a:cubicBezTo>
                    <a:cubicBezTo>
                      <a:pt x="241" y="35"/>
                      <a:pt x="237" y="38"/>
                      <a:pt x="237" y="38"/>
                    </a:cubicBezTo>
                    <a:cubicBezTo>
                      <a:pt x="234" y="37"/>
                      <a:pt x="225" y="41"/>
                      <a:pt x="225" y="41"/>
                    </a:cubicBezTo>
                    <a:cubicBezTo>
                      <a:pt x="223" y="36"/>
                      <a:pt x="204" y="38"/>
                      <a:pt x="204" y="38"/>
                    </a:cubicBezTo>
                    <a:cubicBezTo>
                      <a:pt x="202" y="34"/>
                      <a:pt x="191" y="36"/>
                      <a:pt x="191" y="35"/>
                    </a:cubicBezTo>
                    <a:cubicBezTo>
                      <a:pt x="186" y="35"/>
                      <a:pt x="189" y="32"/>
                      <a:pt x="189" y="32"/>
                    </a:cubicBezTo>
                    <a:cubicBezTo>
                      <a:pt x="189" y="28"/>
                      <a:pt x="167" y="29"/>
                      <a:pt x="167" y="30"/>
                    </a:cubicBezTo>
                    <a:cubicBezTo>
                      <a:pt x="163" y="31"/>
                      <a:pt x="167" y="31"/>
                      <a:pt x="167" y="31"/>
                    </a:cubicBezTo>
                    <a:cubicBezTo>
                      <a:pt x="169" y="32"/>
                      <a:pt x="166" y="35"/>
                      <a:pt x="166" y="35"/>
                    </a:cubicBezTo>
                    <a:cubicBezTo>
                      <a:pt x="160" y="36"/>
                      <a:pt x="166" y="37"/>
                      <a:pt x="166" y="37"/>
                    </a:cubicBezTo>
                    <a:cubicBezTo>
                      <a:pt x="168" y="35"/>
                      <a:pt x="168" y="45"/>
                      <a:pt x="168" y="45"/>
                    </a:cubicBezTo>
                    <a:cubicBezTo>
                      <a:pt x="169" y="50"/>
                      <a:pt x="159" y="46"/>
                      <a:pt x="159" y="46"/>
                    </a:cubicBezTo>
                    <a:cubicBezTo>
                      <a:pt x="159" y="50"/>
                      <a:pt x="157" y="49"/>
                      <a:pt x="157" y="49"/>
                    </a:cubicBezTo>
                    <a:cubicBezTo>
                      <a:pt x="153" y="49"/>
                      <a:pt x="157" y="54"/>
                      <a:pt x="157" y="53"/>
                    </a:cubicBezTo>
                    <a:cubicBezTo>
                      <a:pt x="160" y="54"/>
                      <a:pt x="157" y="55"/>
                      <a:pt x="157" y="55"/>
                    </a:cubicBezTo>
                    <a:cubicBezTo>
                      <a:pt x="154" y="58"/>
                      <a:pt x="154" y="58"/>
                      <a:pt x="154" y="58"/>
                    </a:cubicBezTo>
                    <a:cubicBezTo>
                      <a:pt x="153" y="60"/>
                      <a:pt x="156" y="60"/>
                      <a:pt x="156" y="59"/>
                    </a:cubicBezTo>
                    <a:cubicBezTo>
                      <a:pt x="158" y="61"/>
                      <a:pt x="159" y="61"/>
                      <a:pt x="159" y="60"/>
                    </a:cubicBezTo>
                    <a:cubicBezTo>
                      <a:pt x="161" y="61"/>
                      <a:pt x="160" y="65"/>
                      <a:pt x="160" y="64"/>
                    </a:cubicBezTo>
                    <a:cubicBezTo>
                      <a:pt x="158" y="66"/>
                      <a:pt x="153" y="67"/>
                      <a:pt x="152" y="66"/>
                    </a:cubicBezTo>
                    <a:cubicBezTo>
                      <a:pt x="150" y="70"/>
                      <a:pt x="150" y="67"/>
                      <a:pt x="149" y="67"/>
                    </a:cubicBezTo>
                    <a:cubicBezTo>
                      <a:pt x="146" y="65"/>
                      <a:pt x="142" y="68"/>
                      <a:pt x="142" y="68"/>
                    </a:cubicBezTo>
                    <a:cubicBezTo>
                      <a:pt x="131" y="69"/>
                      <a:pt x="131" y="69"/>
                      <a:pt x="131" y="69"/>
                    </a:cubicBezTo>
                    <a:cubicBezTo>
                      <a:pt x="128" y="72"/>
                      <a:pt x="125" y="69"/>
                      <a:pt x="125" y="69"/>
                    </a:cubicBezTo>
                    <a:cubicBezTo>
                      <a:pt x="125" y="66"/>
                      <a:pt x="122" y="65"/>
                      <a:pt x="122" y="65"/>
                    </a:cubicBezTo>
                    <a:cubicBezTo>
                      <a:pt x="118" y="61"/>
                      <a:pt x="118" y="67"/>
                      <a:pt x="118" y="66"/>
                    </a:cubicBezTo>
                    <a:cubicBezTo>
                      <a:pt x="112" y="64"/>
                      <a:pt x="109" y="67"/>
                      <a:pt x="109" y="67"/>
                    </a:cubicBezTo>
                    <a:cubicBezTo>
                      <a:pt x="107" y="69"/>
                      <a:pt x="109" y="74"/>
                      <a:pt x="109" y="74"/>
                    </a:cubicBezTo>
                    <a:cubicBezTo>
                      <a:pt x="111" y="75"/>
                      <a:pt x="109" y="76"/>
                      <a:pt x="109" y="76"/>
                    </a:cubicBezTo>
                    <a:cubicBezTo>
                      <a:pt x="106" y="77"/>
                      <a:pt x="106" y="77"/>
                      <a:pt x="106" y="77"/>
                    </a:cubicBezTo>
                    <a:cubicBezTo>
                      <a:pt x="103" y="77"/>
                      <a:pt x="102" y="84"/>
                      <a:pt x="102" y="84"/>
                    </a:cubicBezTo>
                    <a:cubicBezTo>
                      <a:pt x="99" y="87"/>
                      <a:pt x="99" y="87"/>
                      <a:pt x="99" y="87"/>
                    </a:cubicBezTo>
                    <a:cubicBezTo>
                      <a:pt x="100" y="87"/>
                      <a:pt x="96" y="92"/>
                      <a:pt x="97" y="91"/>
                    </a:cubicBezTo>
                    <a:cubicBezTo>
                      <a:pt x="95" y="91"/>
                      <a:pt x="95" y="96"/>
                      <a:pt x="95" y="96"/>
                    </a:cubicBezTo>
                    <a:cubicBezTo>
                      <a:pt x="94" y="98"/>
                      <a:pt x="92" y="100"/>
                      <a:pt x="92" y="100"/>
                    </a:cubicBezTo>
                    <a:cubicBezTo>
                      <a:pt x="91" y="100"/>
                      <a:pt x="80" y="103"/>
                      <a:pt x="80" y="103"/>
                    </a:cubicBezTo>
                    <a:cubicBezTo>
                      <a:pt x="76" y="97"/>
                      <a:pt x="76" y="108"/>
                      <a:pt x="76" y="108"/>
                    </a:cubicBezTo>
                    <a:cubicBezTo>
                      <a:pt x="69" y="107"/>
                      <a:pt x="72" y="114"/>
                      <a:pt x="72" y="114"/>
                    </a:cubicBezTo>
                    <a:cubicBezTo>
                      <a:pt x="68" y="118"/>
                      <a:pt x="65" y="114"/>
                      <a:pt x="65" y="114"/>
                    </a:cubicBezTo>
                    <a:cubicBezTo>
                      <a:pt x="65" y="107"/>
                      <a:pt x="55" y="107"/>
                      <a:pt x="55" y="107"/>
                    </a:cubicBezTo>
                    <a:cubicBezTo>
                      <a:pt x="46" y="104"/>
                      <a:pt x="49" y="114"/>
                      <a:pt x="49" y="114"/>
                    </a:cubicBezTo>
                    <a:cubicBezTo>
                      <a:pt x="45" y="115"/>
                      <a:pt x="45" y="115"/>
                      <a:pt x="45" y="115"/>
                    </a:cubicBezTo>
                    <a:cubicBezTo>
                      <a:pt x="43" y="115"/>
                      <a:pt x="39" y="120"/>
                      <a:pt x="39" y="120"/>
                    </a:cubicBezTo>
                    <a:cubicBezTo>
                      <a:pt x="33" y="119"/>
                      <a:pt x="33" y="125"/>
                      <a:pt x="32" y="125"/>
                    </a:cubicBezTo>
                    <a:cubicBezTo>
                      <a:pt x="27" y="123"/>
                      <a:pt x="24" y="127"/>
                      <a:pt x="24" y="128"/>
                    </a:cubicBezTo>
                    <a:cubicBezTo>
                      <a:pt x="17" y="130"/>
                      <a:pt x="18" y="123"/>
                      <a:pt x="18" y="123"/>
                    </a:cubicBezTo>
                    <a:cubicBezTo>
                      <a:pt x="17" y="120"/>
                      <a:pt x="13" y="115"/>
                      <a:pt x="12" y="115"/>
                    </a:cubicBezTo>
                    <a:cubicBezTo>
                      <a:pt x="10" y="119"/>
                      <a:pt x="3" y="118"/>
                      <a:pt x="0" y="117"/>
                    </a:cubicBezTo>
                    <a:cubicBezTo>
                      <a:pt x="0" y="118"/>
                      <a:pt x="0" y="118"/>
                      <a:pt x="0" y="118"/>
                    </a:cubicBezTo>
                    <a:cubicBezTo>
                      <a:pt x="0" y="118"/>
                      <a:pt x="3" y="118"/>
                      <a:pt x="4" y="119"/>
                    </a:cubicBezTo>
                    <a:cubicBezTo>
                      <a:pt x="4" y="119"/>
                      <a:pt x="4" y="119"/>
                      <a:pt x="4" y="119"/>
                    </a:cubicBezTo>
                    <a:cubicBezTo>
                      <a:pt x="7" y="119"/>
                      <a:pt x="8" y="121"/>
                      <a:pt x="11" y="126"/>
                    </a:cubicBezTo>
                    <a:cubicBezTo>
                      <a:pt x="11" y="127"/>
                      <a:pt x="10" y="133"/>
                      <a:pt x="13" y="133"/>
                    </a:cubicBezTo>
                    <a:cubicBezTo>
                      <a:pt x="13" y="133"/>
                      <a:pt x="15" y="141"/>
                      <a:pt x="16" y="142"/>
                    </a:cubicBezTo>
                    <a:cubicBezTo>
                      <a:pt x="17" y="142"/>
                      <a:pt x="23" y="151"/>
                      <a:pt x="19" y="156"/>
                    </a:cubicBezTo>
                    <a:cubicBezTo>
                      <a:pt x="19" y="157"/>
                      <a:pt x="15" y="163"/>
                      <a:pt x="12" y="164"/>
                    </a:cubicBezTo>
                    <a:cubicBezTo>
                      <a:pt x="13" y="165"/>
                      <a:pt x="8" y="171"/>
                      <a:pt x="11" y="173"/>
                    </a:cubicBezTo>
                    <a:cubicBezTo>
                      <a:pt x="11" y="173"/>
                      <a:pt x="4" y="180"/>
                      <a:pt x="9" y="179"/>
                    </a:cubicBezTo>
                    <a:cubicBezTo>
                      <a:pt x="9" y="179"/>
                      <a:pt x="20" y="173"/>
                      <a:pt x="22" y="173"/>
                    </a:cubicBezTo>
                    <a:cubicBezTo>
                      <a:pt x="23" y="173"/>
                      <a:pt x="34" y="165"/>
                      <a:pt x="38" y="166"/>
                    </a:cubicBezTo>
                    <a:cubicBezTo>
                      <a:pt x="37" y="167"/>
                      <a:pt x="36" y="157"/>
                      <a:pt x="43" y="164"/>
                    </a:cubicBezTo>
                    <a:cubicBezTo>
                      <a:pt x="44" y="164"/>
                      <a:pt x="46" y="165"/>
                      <a:pt x="47" y="163"/>
                    </a:cubicBezTo>
                    <a:cubicBezTo>
                      <a:pt x="46" y="164"/>
                      <a:pt x="49" y="160"/>
                      <a:pt x="55" y="161"/>
                    </a:cubicBezTo>
                    <a:cubicBezTo>
                      <a:pt x="56" y="161"/>
                      <a:pt x="53" y="157"/>
                      <a:pt x="71" y="159"/>
                    </a:cubicBezTo>
                    <a:cubicBezTo>
                      <a:pt x="72" y="159"/>
                      <a:pt x="76" y="157"/>
                      <a:pt x="77" y="156"/>
                    </a:cubicBezTo>
                    <a:cubicBezTo>
                      <a:pt x="77" y="156"/>
                      <a:pt x="76" y="154"/>
                      <a:pt x="89" y="154"/>
                    </a:cubicBezTo>
                    <a:cubicBezTo>
                      <a:pt x="89" y="154"/>
                      <a:pt x="88" y="151"/>
                      <a:pt x="95" y="153"/>
                    </a:cubicBezTo>
                    <a:cubicBezTo>
                      <a:pt x="94" y="153"/>
                      <a:pt x="99" y="154"/>
                      <a:pt x="92" y="157"/>
                    </a:cubicBezTo>
                    <a:cubicBezTo>
                      <a:pt x="90" y="159"/>
                      <a:pt x="90" y="159"/>
                      <a:pt x="90" y="159"/>
                    </a:cubicBezTo>
                    <a:cubicBezTo>
                      <a:pt x="90" y="159"/>
                      <a:pt x="85" y="165"/>
                      <a:pt x="90" y="166"/>
                    </a:cubicBezTo>
                    <a:cubicBezTo>
                      <a:pt x="90" y="167"/>
                      <a:pt x="92" y="170"/>
                      <a:pt x="93" y="166"/>
                    </a:cubicBezTo>
                    <a:cubicBezTo>
                      <a:pt x="93" y="167"/>
                      <a:pt x="99" y="165"/>
                      <a:pt x="99" y="169"/>
                    </a:cubicBezTo>
                    <a:cubicBezTo>
                      <a:pt x="100" y="169"/>
                      <a:pt x="102" y="169"/>
                      <a:pt x="105" y="173"/>
                    </a:cubicBezTo>
                    <a:cubicBezTo>
                      <a:pt x="106" y="173"/>
                      <a:pt x="111" y="172"/>
                      <a:pt x="114" y="176"/>
                    </a:cubicBezTo>
                    <a:cubicBezTo>
                      <a:pt x="114" y="176"/>
                      <a:pt x="118" y="178"/>
                      <a:pt x="118" y="182"/>
                    </a:cubicBezTo>
                    <a:cubicBezTo>
                      <a:pt x="119" y="182"/>
                      <a:pt x="121" y="188"/>
                      <a:pt x="117" y="188"/>
                    </a:cubicBezTo>
                    <a:cubicBezTo>
                      <a:pt x="117" y="188"/>
                      <a:pt x="113" y="195"/>
                      <a:pt x="116" y="199"/>
                    </a:cubicBezTo>
                    <a:cubicBezTo>
                      <a:pt x="116" y="200"/>
                      <a:pt x="124" y="204"/>
                      <a:pt x="117" y="207"/>
                    </a:cubicBezTo>
                    <a:cubicBezTo>
                      <a:pt x="117" y="207"/>
                      <a:pt x="112" y="214"/>
                      <a:pt x="110" y="213"/>
                    </a:cubicBezTo>
                    <a:cubicBezTo>
                      <a:pt x="110" y="213"/>
                      <a:pt x="109" y="219"/>
                      <a:pt x="98" y="216"/>
                    </a:cubicBezTo>
                    <a:cubicBezTo>
                      <a:pt x="91" y="223"/>
                      <a:pt x="91" y="223"/>
                      <a:pt x="91" y="223"/>
                    </a:cubicBezTo>
                    <a:cubicBezTo>
                      <a:pt x="91" y="223"/>
                      <a:pt x="93" y="235"/>
                      <a:pt x="89" y="237"/>
                    </a:cubicBezTo>
                    <a:cubicBezTo>
                      <a:pt x="88" y="237"/>
                      <a:pt x="84" y="236"/>
                      <a:pt x="87" y="242"/>
                    </a:cubicBezTo>
                    <a:cubicBezTo>
                      <a:pt x="87" y="242"/>
                      <a:pt x="88" y="243"/>
                      <a:pt x="88" y="245"/>
                    </a:cubicBezTo>
                    <a:cubicBezTo>
                      <a:pt x="87" y="244"/>
                      <a:pt x="87" y="244"/>
                      <a:pt x="87" y="244"/>
                    </a:cubicBezTo>
                    <a:cubicBezTo>
                      <a:pt x="87" y="244"/>
                      <a:pt x="92" y="248"/>
                      <a:pt x="92" y="247"/>
                    </a:cubicBezTo>
                    <a:cubicBezTo>
                      <a:pt x="92" y="245"/>
                      <a:pt x="96" y="254"/>
                      <a:pt x="96" y="254"/>
                    </a:cubicBezTo>
                    <a:cubicBezTo>
                      <a:pt x="102" y="257"/>
                      <a:pt x="94" y="260"/>
                      <a:pt x="94" y="259"/>
                    </a:cubicBezTo>
                    <a:cubicBezTo>
                      <a:pt x="88" y="261"/>
                      <a:pt x="95" y="264"/>
                      <a:pt x="95" y="264"/>
                    </a:cubicBezTo>
                    <a:cubicBezTo>
                      <a:pt x="95" y="264"/>
                      <a:pt x="95" y="264"/>
                      <a:pt x="94" y="265"/>
                    </a:cubicBezTo>
                    <a:cubicBezTo>
                      <a:pt x="94" y="265"/>
                      <a:pt x="94" y="265"/>
                      <a:pt x="94" y="265"/>
                    </a:cubicBezTo>
                    <a:cubicBezTo>
                      <a:pt x="95" y="265"/>
                      <a:pt x="95" y="264"/>
                      <a:pt x="95" y="264"/>
                    </a:cubicBezTo>
                    <a:cubicBezTo>
                      <a:pt x="98" y="263"/>
                      <a:pt x="98" y="266"/>
                      <a:pt x="98" y="266"/>
                    </a:cubicBezTo>
                    <a:cubicBezTo>
                      <a:pt x="100" y="266"/>
                      <a:pt x="100" y="267"/>
                      <a:pt x="100" y="268"/>
                    </a:cubicBezTo>
                    <a:cubicBezTo>
                      <a:pt x="101" y="268"/>
                      <a:pt x="101" y="268"/>
                      <a:pt x="101" y="268"/>
                    </a:cubicBezTo>
                    <a:cubicBezTo>
                      <a:pt x="105" y="267"/>
                      <a:pt x="105" y="267"/>
                      <a:pt x="105" y="267"/>
                    </a:cubicBezTo>
                    <a:cubicBezTo>
                      <a:pt x="107" y="267"/>
                      <a:pt x="129" y="264"/>
                      <a:pt x="129" y="264"/>
                    </a:cubicBezTo>
                    <a:cubicBezTo>
                      <a:pt x="131" y="265"/>
                      <a:pt x="141" y="261"/>
                      <a:pt x="141" y="261"/>
                    </a:cubicBezTo>
                    <a:cubicBezTo>
                      <a:pt x="145" y="261"/>
                      <a:pt x="153" y="259"/>
                      <a:pt x="153" y="259"/>
                    </a:cubicBezTo>
                    <a:cubicBezTo>
                      <a:pt x="154" y="258"/>
                      <a:pt x="159" y="257"/>
                      <a:pt x="159" y="257"/>
                    </a:cubicBezTo>
                    <a:cubicBezTo>
                      <a:pt x="160" y="257"/>
                      <a:pt x="164" y="253"/>
                      <a:pt x="164" y="253"/>
                    </a:cubicBezTo>
                    <a:cubicBezTo>
                      <a:pt x="166" y="253"/>
                      <a:pt x="170" y="249"/>
                      <a:pt x="170" y="249"/>
                    </a:cubicBezTo>
                    <a:cubicBezTo>
                      <a:pt x="172" y="250"/>
                      <a:pt x="176" y="247"/>
                      <a:pt x="177" y="247"/>
                    </a:cubicBezTo>
                    <a:cubicBezTo>
                      <a:pt x="184" y="245"/>
                      <a:pt x="187" y="252"/>
                      <a:pt x="187" y="252"/>
                    </a:cubicBezTo>
                    <a:cubicBezTo>
                      <a:pt x="184" y="253"/>
                      <a:pt x="188" y="257"/>
                      <a:pt x="188" y="256"/>
                    </a:cubicBezTo>
                    <a:cubicBezTo>
                      <a:pt x="190" y="257"/>
                      <a:pt x="193" y="261"/>
                      <a:pt x="193" y="261"/>
                    </a:cubicBezTo>
                    <a:cubicBezTo>
                      <a:pt x="191" y="262"/>
                      <a:pt x="188" y="268"/>
                      <a:pt x="188" y="267"/>
                    </a:cubicBezTo>
                    <a:cubicBezTo>
                      <a:pt x="185" y="269"/>
                      <a:pt x="183" y="274"/>
                      <a:pt x="182" y="274"/>
                    </a:cubicBezTo>
                    <a:cubicBezTo>
                      <a:pt x="180" y="274"/>
                      <a:pt x="177" y="278"/>
                      <a:pt x="177" y="278"/>
                    </a:cubicBezTo>
                    <a:cubicBezTo>
                      <a:pt x="175" y="278"/>
                      <a:pt x="176" y="282"/>
                      <a:pt x="176" y="282"/>
                    </a:cubicBezTo>
                    <a:cubicBezTo>
                      <a:pt x="180" y="284"/>
                      <a:pt x="180" y="284"/>
                      <a:pt x="180" y="284"/>
                    </a:cubicBezTo>
                    <a:cubicBezTo>
                      <a:pt x="178" y="284"/>
                      <a:pt x="178" y="291"/>
                      <a:pt x="177" y="290"/>
                    </a:cubicBezTo>
                    <a:cubicBezTo>
                      <a:pt x="181" y="292"/>
                      <a:pt x="178" y="295"/>
                      <a:pt x="178" y="295"/>
                    </a:cubicBezTo>
                    <a:cubicBezTo>
                      <a:pt x="174" y="295"/>
                      <a:pt x="176" y="299"/>
                      <a:pt x="176" y="298"/>
                    </a:cubicBezTo>
                    <a:cubicBezTo>
                      <a:pt x="178" y="298"/>
                      <a:pt x="178" y="302"/>
                      <a:pt x="178" y="303"/>
                    </a:cubicBezTo>
                    <a:cubicBezTo>
                      <a:pt x="179" y="303"/>
                      <a:pt x="180" y="303"/>
                      <a:pt x="180" y="303"/>
                    </a:cubicBezTo>
                    <a:cubicBezTo>
                      <a:pt x="182" y="303"/>
                      <a:pt x="182" y="301"/>
                      <a:pt x="182" y="300"/>
                    </a:cubicBezTo>
                    <a:cubicBezTo>
                      <a:pt x="181" y="299"/>
                      <a:pt x="185" y="299"/>
                      <a:pt x="185" y="298"/>
                    </a:cubicBezTo>
                    <a:cubicBezTo>
                      <a:pt x="185" y="297"/>
                      <a:pt x="189" y="298"/>
                      <a:pt x="189" y="298"/>
                    </a:cubicBezTo>
                    <a:cubicBezTo>
                      <a:pt x="191" y="298"/>
                      <a:pt x="190" y="301"/>
                      <a:pt x="191" y="301"/>
                    </a:cubicBezTo>
                    <a:cubicBezTo>
                      <a:pt x="189" y="300"/>
                      <a:pt x="187" y="303"/>
                      <a:pt x="187" y="303"/>
                    </a:cubicBezTo>
                    <a:cubicBezTo>
                      <a:pt x="186" y="303"/>
                      <a:pt x="186" y="305"/>
                      <a:pt x="186" y="305"/>
                    </a:cubicBezTo>
                    <a:cubicBezTo>
                      <a:pt x="186" y="307"/>
                      <a:pt x="181" y="305"/>
                      <a:pt x="180" y="305"/>
                    </a:cubicBezTo>
                    <a:cubicBezTo>
                      <a:pt x="178" y="303"/>
                      <a:pt x="178" y="307"/>
                      <a:pt x="178" y="307"/>
                    </a:cubicBezTo>
                    <a:cubicBezTo>
                      <a:pt x="176" y="307"/>
                      <a:pt x="176" y="307"/>
                      <a:pt x="176" y="307"/>
                    </a:cubicBezTo>
                    <a:cubicBezTo>
                      <a:pt x="176" y="307"/>
                      <a:pt x="175" y="312"/>
                      <a:pt x="175" y="311"/>
                    </a:cubicBezTo>
                    <a:cubicBezTo>
                      <a:pt x="180" y="313"/>
                      <a:pt x="176" y="315"/>
                      <a:pt x="175" y="315"/>
                    </a:cubicBezTo>
                    <a:cubicBezTo>
                      <a:pt x="176" y="317"/>
                      <a:pt x="172" y="320"/>
                      <a:pt x="172" y="320"/>
                    </a:cubicBezTo>
                    <a:cubicBezTo>
                      <a:pt x="172" y="322"/>
                      <a:pt x="168" y="322"/>
                      <a:pt x="168" y="322"/>
                    </a:cubicBezTo>
                    <a:cubicBezTo>
                      <a:pt x="164" y="326"/>
                      <a:pt x="170" y="325"/>
                      <a:pt x="170" y="325"/>
                    </a:cubicBezTo>
                    <a:cubicBezTo>
                      <a:pt x="170" y="325"/>
                      <a:pt x="176" y="322"/>
                      <a:pt x="176" y="323"/>
                    </a:cubicBezTo>
                    <a:cubicBezTo>
                      <a:pt x="179" y="321"/>
                      <a:pt x="183" y="326"/>
                      <a:pt x="183" y="325"/>
                    </a:cubicBezTo>
                    <a:cubicBezTo>
                      <a:pt x="185" y="321"/>
                      <a:pt x="188" y="325"/>
                      <a:pt x="188" y="325"/>
                    </a:cubicBezTo>
                    <a:cubicBezTo>
                      <a:pt x="188" y="327"/>
                      <a:pt x="194" y="327"/>
                      <a:pt x="195" y="327"/>
                    </a:cubicBezTo>
                    <a:cubicBezTo>
                      <a:pt x="198" y="321"/>
                      <a:pt x="199" y="327"/>
                      <a:pt x="200" y="327"/>
                    </a:cubicBezTo>
                    <a:cubicBezTo>
                      <a:pt x="203" y="325"/>
                      <a:pt x="205" y="330"/>
                      <a:pt x="204" y="330"/>
                    </a:cubicBezTo>
                    <a:cubicBezTo>
                      <a:pt x="209" y="328"/>
                      <a:pt x="210" y="333"/>
                      <a:pt x="210" y="333"/>
                    </a:cubicBezTo>
                    <a:cubicBezTo>
                      <a:pt x="214" y="336"/>
                      <a:pt x="215" y="331"/>
                      <a:pt x="215" y="331"/>
                    </a:cubicBezTo>
                    <a:cubicBezTo>
                      <a:pt x="220" y="326"/>
                      <a:pt x="224" y="333"/>
                      <a:pt x="224" y="332"/>
                    </a:cubicBezTo>
                    <a:cubicBezTo>
                      <a:pt x="230" y="330"/>
                      <a:pt x="241" y="334"/>
                      <a:pt x="241" y="334"/>
                    </a:cubicBezTo>
                    <a:cubicBezTo>
                      <a:pt x="244" y="333"/>
                      <a:pt x="248" y="337"/>
                      <a:pt x="248" y="336"/>
                    </a:cubicBezTo>
                    <a:cubicBezTo>
                      <a:pt x="250" y="336"/>
                      <a:pt x="252" y="355"/>
                      <a:pt x="252" y="355"/>
                    </a:cubicBezTo>
                    <a:cubicBezTo>
                      <a:pt x="258" y="357"/>
                      <a:pt x="249" y="361"/>
                      <a:pt x="249" y="360"/>
                    </a:cubicBezTo>
                    <a:cubicBezTo>
                      <a:pt x="252" y="363"/>
                      <a:pt x="243" y="364"/>
                      <a:pt x="243" y="364"/>
                    </a:cubicBezTo>
                    <a:cubicBezTo>
                      <a:pt x="238" y="368"/>
                      <a:pt x="237" y="364"/>
                      <a:pt x="237" y="364"/>
                    </a:cubicBezTo>
                    <a:cubicBezTo>
                      <a:pt x="234" y="364"/>
                      <a:pt x="231" y="359"/>
                      <a:pt x="231" y="359"/>
                    </a:cubicBezTo>
                    <a:cubicBezTo>
                      <a:pt x="228" y="351"/>
                      <a:pt x="226" y="361"/>
                      <a:pt x="226" y="361"/>
                    </a:cubicBezTo>
                    <a:cubicBezTo>
                      <a:pt x="222" y="364"/>
                      <a:pt x="226" y="370"/>
                      <a:pt x="226" y="370"/>
                    </a:cubicBezTo>
                    <a:cubicBezTo>
                      <a:pt x="228" y="370"/>
                      <a:pt x="232" y="373"/>
                      <a:pt x="231" y="372"/>
                    </a:cubicBezTo>
                    <a:cubicBezTo>
                      <a:pt x="237" y="372"/>
                      <a:pt x="236" y="376"/>
                      <a:pt x="235" y="376"/>
                    </a:cubicBezTo>
                    <a:cubicBezTo>
                      <a:pt x="237" y="378"/>
                      <a:pt x="235" y="383"/>
                      <a:pt x="234" y="382"/>
                    </a:cubicBezTo>
                    <a:cubicBezTo>
                      <a:pt x="232" y="382"/>
                      <a:pt x="231" y="391"/>
                      <a:pt x="231" y="391"/>
                    </a:cubicBezTo>
                    <a:cubicBezTo>
                      <a:pt x="231" y="391"/>
                      <a:pt x="227" y="399"/>
                      <a:pt x="227" y="398"/>
                    </a:cubicBezTo>
                    <a:cubicBezTo>
                      <a:pt x="227" y="400"/>
                      <a:pt x="222" y="406"/>
                      <a:pt x="222" y="406"/>
                    </a:cubicBezTo>
                    <a:cubicBezTo>
                      <a:pt x="223" y="406"/>
                      <a:pt x="222" y="414"/>
                      <a:pt x="222" y="414"/>
                    </a:cubicBezTo>
                    <a:cubicBezTo>
                      <a:pt x="220" y="414"/>
                      <a:pt x="218" y="421"/>
                      <a:pt x="218" y="421"/>
                    </a:cubicBezTo>
                    <a:cubicBezTo>
                      <a:pt x="210" y="423"/>
                      <a:pt x="219" y="430"/>
                      <a:pt x="219" y="430"/>
                    </a:cubicBezTo>
                    <a:cubicBezTo>
                      <a:pt x="227" y="445"/>
                      <a:pt x="218" y="441"/>
                      <a:pt x="218" y="441"/>
                    </a:cubicBezTo>
                    <a:cubicBezTo>
                      <a:pt x="218" y="458"/>
                      <a:pt x="218" y="458"/>
                      <a:pt x="218" y="458"/>
                    </a:cubicBezTo>
                    <a:cubicBezTo>
                      <a:pt x="222" y="463"/>
                      <a:pt x="222" y="463"/>
                      <a:pt x="222" y="463"/>
                    </a:cubicBezTo>
                    <a:cubicBezTo>
                      <a:pt x="229" y="462"/>
                      <a:pt x="231" y="465"/>
                      <a:pt x="231" y="465"/>
                    </a:cubicBezTo>
                    <a:cubicBezTo>
                      <a:pt x="239" y="464"/>
                      <a:pt x="240" y="468"/>
                      <a:pt x="240" y="467"/>
                    </a:cubicBezTo>
                    <a:cubicBezTo>
                      <a:pt x="248" y="465"/>
                      <a:pt x="241" y="475"/>
                      <a:pt x="241" y="475"/>
                    </a:cubicBezTo>
                    <a:cubicBezTo>
                      <a:pt x="241" y="476"/>
                      <a:pt x="245" y="480"/>
                      <a:pt x="245" y="479"/>
                    </a:cubicBezTo>
                    <a:cubicBezTo>
                      <a:pt x="248" y="478"/>
                      <a:pt x="252" y="484"/>
                      <a:pt x="252" y="484"/>
                    </a:cubicBezTo>
                    <a:cubicBezTo>
                      <a:pt x="260" y="482"/>
                      <a:pt x="258" y="490"/>
                      <a:pt x="258" y="490"/>
                    </a:cubicBezTo>
                    <a:cubicBezTo>
                      <a:pt x="255" y="490"/>
                      <a:pt x="256" y="497"/>
                      <a:pt x="256" y="497"/>
                    </a:cubicBezTo>
                    <a:cubicBezTo>
                      <a:pt x="252" y="496"/>
                      <a:pt x="254" y="506"/>
                      <a:pt x="253" y="506"/>
                    </a:cubicBezTo>
                    <a:cubicBezTo>
                      <a:pt x="251" y="506"/>
                      <a:pt x="252" y="510"/>
                      <a:pt x="252" y="510"/>
                    </a:cubicBezTo>
                    <a:cubicBezTo>
                      <a:pt x="260" y="510"/>
                      <a:pt x="251" y="512"/>
                      <a:pt x="251" y="512"/>
                    </a:cubicBezTo>
                    <a:cubicBezTo>
                      <a:pt x="250" y="515"/>
                      <a:pt x="250" y="515"/>
                      <a:pt x="250" y="515"/>
                    </a:cubicBezTo>
                    <a:cubicBezTo>
                      <a:pt x="252" y="518"/>
                      <a:pt x="247" y="519"/>
                      <a:pt x="247" y="519"/>
                    </a:cubicBezTo>
                    <a:cubicBezTo>
                      <a:pt x="244" y="530"/>
                      <a:pt x="241" y="517"/>
                      <a:pt x="241" y="516"/>
                    </a:cubicBezTo>
                    <a:cubicBezTo>
                      <a:pt x="243" y="507"/>
                      <a:pt x="230" y="511"/>
                      <a:pt x="230" y="511"/>
                    </a:cubicBezTo>
                    <a:cubicBezTo>
                      <a:pt x="226" y="511"/>
                      <a:pt x="229" y="515"/>
                      <a:pt x="228" y="515"/>
                    </a:cubicBezTo>
                    <a:cubicBezTo>
                      <a:pt x="231" y="515"/>
                      <a:pt x="229" y="523"/>
                      <a:pt x="229" y="523"/>
                    </a:cubicBezTo>
                    <a:cubicBezTo>
                      <a:pt x="226" y="522"/>
                      <a:pt x="223" y="526"/>
                      <a:pt x="223" y="525"/>
                    </a:cubicBezTo>
                    <a:cubicBezTo>
                      <a:pt x="221" y="525"/>
                      <a:pt x="223" y="536"/>
                      <a:pt x="223" y="536"/>
                    </a:cubicBezTo>
                    <a:cubicBezTo>
                      <a:pt x="227" y="540"/>
                      <a:pt x="223" y="544"/>
                      <a:pt x="223" y="544"/>
                    </a:cubicBezTo>
                    <a:cubicBezTo>
                      <a:pt x="222" y="544"/>
                      <a:pt x="222" y="555"/>
                      <a:pt x="222" y="555"/>
                    </a:cubicBezTo>
                    <a:cubicBezTo>
                      <a:pt x="227" y="556"/>
                      <a:pt x="222" y="556"/>
                      <a:pt x="222" y="557"/>
                    </a:cubicBezTo>
                    <a:cubicBezTo>
                      <a:pt x="223" y="560"/>
                      <a:pt x="220" y="560"/>
                      <a:pt x="220" y="560"/>
                    </a:cubicBezTo>
                    <a:cubicBezTo>
                      <a:pt x="222" y="567"/>
                      <a:pt x="214" y="566"/>
                      <a:pt x="214" y="566"/>
                    </a:cubicBezTo>
                    <a:cubicBezTo>
                      <a:pt x="213" y="570"/>
                      <a:pt x="211" y="567"/>
                      <a:pt x="211" y="566"/>
                    </a:cubicBezTo>
                    <a:cubicBezTo>
                      <a:pt x="211" y="563"/>
                      <a:pt x="206" y="563"/>
                      <a:pt x="206" y="563"/>
                    </a:cubicBezTo>
                    <a:cubicBezTo>
                      <a:pt x="204" y="563"/>
                      <a:pt x="202" y="568"/>
                      <a:pt x="202" y="568"/>
                    </a:cubicBezTo>
                    <a:cubicBezTo>
                      <a:pt x="199" y="567"/>
                      <a:pt x="196" y="572"/>
                      <a:pt x="196" y="572"/>
                    </a:cubicBezTo>
                    <a:cubicBezTo>
                      <a:pt x="195" y="572"/>
                      <a:pt x="194" y="577"/>
                      <a:pt x="194" y="577"/>
                    </a:cubicBezTo>
                    <a:cubicBezTo>
                      <a:pt x="194" y="578"/>
                      <a:pt x="189" y="582"/>
                      <a:pt x="189" y="582"/>
                    </a:cubicBezTo>
                    <a:cubicBezTo>
                      <a:pt x="189" y="583"/>
                      <a:pt x="181" y="585"/>
                      <a:pt x="181" y="584"/>
                    </a:cubicBezTo>
                    <a:cubicBezTo>
                      <a:pt x="180" y="585"/>
                      <a:pt x="180" y="586"/>
                      <a:pt x="178" y="587"/>
                    </a:cubicBezTo>
                    <a:cubicBezTo>
                      <a:pt x="179" y="587"/>
                      <a:pt x="179" y="587"/>
                      <a:pt x="179" y="587"/>
                    </a:cubicBezTo>
                    <a:cubicBezTo>
                      <a:pt x="180" y="589"/>
                      <a:pt x="181" y="594"/>
                      <a:pt x="182" y="594"/>
                    </a:cubicBezTo>
                    <a:cubicBezTo>
                      <a:pt x="185" y="594"/>
                      <a:pt x="186" y="597"/>
                      <a:pt x="186" y="597"/>
                    </a:cubicBezTo>
                    <a:cubicBezTo>
                      <a:pt x="184" y="597"/>
                      <a:pt x="184" y="607"/>
                      <a:pt x="185" y="606"/>
                    </a:cubicBezTo>
                    <a:cubicBezTo>
                      <a:pt x="187" y="609"/>
                      <a:pt x="184" y="614"/>
                      <a:pt x="184" y="614"/>
                    </a:cubicBezTo>
                    <a:cubicBezTo>
                      <a:pt x="184" y="614"/>
                      <a:pt x="184" y="617"/>
                      <a:pt x="184" y="617"/>
                    </a:cubicBezTo>
                    <a:cubicBezTo>
                      <a:pt x="188" y="617"/>
                      <a:pt x="184" y="624"/>
                      <a:pt x="184" y="624"/>
                    </a:cubicBezTo>
                    <a:cubicBezTo>
                      <a:pt x="184" y="626"/>
                      <a:pt x="180" y="629"/>
                      <a:pt x="180" y="629"/>
                    </a:cubicBezTo>
                    <a:cubicBezTo>
                      <a:pt x="172" y="628"/>
                      <a:pt x="180" y="632"/>
                      <a:pt x="180" y="632"/>
                    </a:cubicBezTo>
                    <a:cubicBezTo>
                      <a:pt x="180" y="635"/>
                      <a:pt x="175" y="635"/>
                      <a:pt x="175" y="635"/>
                    </a:cubicBezTo>
                    <a:cubicBezTo>
                      <a:pt x="170" y="632"/>
                      <a:pt x="172" y="644"/>
                      <a:pt x="172" y="644"/>
                    </a:cubicBezTo>
                    <a:cubicBezTo>
                      <a:pt x="176" y="644"/>
                      <a:pt x="173" y="655"/>
                      <a:pt x="173" y="655"/>
                    </a:cubicBezTo>
                    <a:cubicBezTo>
                      <a:pt x="170" y="657"/>
                      <a:pt x="173" y="657"/>
                      <a:pt x="173" y="657"/>
                    </a:cubicBezTo>
                    <a:cubicBezTo>
                      <a:pt x="173" y="659"/>
                      <a:pt x="173" y="659"/>
                      <a:pt x="173" y="659"/>
                    </a:cubicBezTo>
                    <a:cubicBezTo>
                      <a:pt x="173" y="659"/>
                      <a:pt x="172" y="665"/>
                      <a:pt x="172" y="664"/>
                    </a:cubicBezTo>
                    <a:cubicBezTo>
                      <a:pt x="172" y="668"/>
                      <a:pt x="164" y="668"/>
                      <a:pt x="164" y="668"/>
                    </a:cubicBezTo>
                    <a:cubicBezTo>
                      <a:pt x="160" y="671"/>
                      <a:pt x="159" y="668"/>
                      <a:pt x="158" y="668"/>
                    </a:cubicBezTo>
                    <a:cubicBezTo>
                      <a:pt x="153" y="669"/>
                      <a:pt x="157" y="674"/>
                      <a:pt x="157" y="674"/>
                    </a:cubicBezTo>
                    <a:cubicBezTo>
                      <a:pt x="156" y="675"/>
                      <a:pt x="160" y="682"/>
                      <a:pt x="160" y="682"/>
                    </a:cubicBezTo>
                    <a:cubicBezTo>
                      <a:pt x="164" y="686"/>
                      <a:pt x="162" y="688"/>
                      <a:pt x="162" y="687"/>
                    </a:cubicBezTo>
                    <a:cubicBezTo>
                      <a:pt x="157" y="692"/>
                      <a:pt x="158" y="704"/>
                      <a:pt x="158" y="704"/>
                    </a:cubicBezTo>
                    <a:cubicBezTo>
                      <a:pt x="153" y="706"/>
                      <a:pt x="153" y="711"/>
                      <a:pt x="154" y="710"/>
                    </a:cubicBezTo>
                    <a:cubicBezTo>
                      <a:pt x="152" y="714"/>
                      <a:pt x="156" y="714"/>
                      <a:pt x="156" y="714"/>
                    </a:cubicBezTo>
                    <a:cubicBezTo>
                      <a:pt x="159" y="715"/>
                      <a:pt x="159" y="715"/>
                      <a:pt x="159" y="715"/>
                    </a:cubicBezTo>
                    <a:cubicBezTo>
                      <a:pt x="161" y="709"/>
                      <a:pt x="160" y="718"/>
                      <a:pt x="160" y="718"/>
                    </a:cubicBezTo>
                    <a:cubicBezTo>
                      <a:pt x="163" y="717"/>
                      <a:pt x="163" y="725"/>
                      <a:pt x="163" y="725"/>
                    </a:cubicBezTo>
                    <a:cubicBezTo>
                      <a:pt x="161" y="728"/>
                      <a:pt x="167" y="727"/>
                      <a:pt x="168" y="727"/>
                    </a:cubicBezTo>
                    <a:cubicBezTo>
                      <a:pt x="172" y="723"/>
                      <a:pt x="168" y="728"/>
                      <a:pt x="168" y="728"/>
                    </a:cubicBezTo>
                    <a:cubicBezTo>
                      <a:pt x="174" y="729"/>
                      <a:pt x="167" y="731"/>
                      <a:pt x="167" y="731"/>
                    </a:cubicBezTo>
                    <a:cubicBezTo>
                      <a:pt x="168" y="737"/>
                      <a:pt x="168" y="745"/>
                      <a:pt x="167" y="750"/>
                    </a:cubicBezTo>
                    <a:cubicBezTo>
                      <a:pt x="168" y="751"/>
                      <a:pt x="175" y="755"/>
                      <a:pt x="179" y="751"/>
                    </a:cubicBezTo>
                    <a:cubicBezTo>
                      <a:pt x="186" y="749"/>
                      <a:pt x="186" y="749"/>
                      <a:pt x="186" y="749"/>
                    </a:cubicBezTo>
                    <a:cubicBezTo>
                      <a:pt x="186" y="749"/>
                      <a:pt x="189" y="745"/>
                      <a:pt x="187" y="745"/>
                    </a:cubicBezTo>
                    <a:cubicBezTo>
                      <a:pt x="186" y="745"/>
                      <a:pt x="186" y="733"/>
                      <a:pt x="187" y="734"/>
                    </a:cubicBezTo>
                    <a:cubicBezTo>
                      <a:pt x="187" y="734"/>
                      <a:pt x="187" y="728"/>
                      <a:pt x="191" y="729"/>
                    </a:cubicBezTo>
                    <a:cubicBezTo>
                      <a:pt x="191" y="729"/>
                      <a:pt x="195" y="726"/>
                      <a:pt x="199" y="727"/>
                    </a:cubicBezTo>
                    <a:cubicBezTo>
                      <a:pt x="199" y="727"/>
                      <a:pt x="201" y="722"/>
                      <a:pt x="205" y="727"/>
                    </a:cubicBezTo>
                    <a:cubicBezTo>
                      <a:pt x="210" y="722"/>
                      <a:pt x="210" y="722"/>
                      <a:pt x="210" y="722"/>
                    </a:cubicBezTo>
                    <a:cubicBezTo>
                      <a:pt x="210" y="722"/>
                      <a:pt x="213" y="716"/>
                      <a:pt x="214" y="722"/>
                    </a:cubicBezTo>
                    <a:cubicBezTo>
                      <a:pt x="214" y="722"/>
                      <a:pt x="217" y="725"/>
                      <a:pt x="214" y="730"/>
                    </a:cubicBezTo>
                    <a:cubicBezTo>
                      <a:pt x="214" y="731"/>
                      <a:pt x="210" y="739"/>
                      <a:pt x="214" y="741"/>
                    </a:cubicBezTo>
                    <a:cubicBezTo>
                      <a:pt x="214" y="741"/>
                      <a:pt x="227" y="743"/>
                      <a:pt x="229" y="740"/>
                    </a:cubicBezTo>
                    <a:cubicBezTo>
                      <a:pt x="229" y="740"/>
                      <a:pt x="238" y="740"/>
                      <a:pt x="238" y="736"/>
                    </a:cubicBezTo>
                    <a:cubicBezTo>
                      <a:pt x="238" y="737"/>
                      <a:pt x="242" y="732"/>
                      <a:pt x="244" y="732"/>
                    </a:cubicBezTo>
                    <a:cubicBezTo>
                      <a:pt x="244" y="732"/>
                      <a:pt x="248" y="727"/>
                      <a:pt x="254" y="725"/>
                    </a:cubicBezTo>
                    <a:cubicBezTo>
                      <a:pt x="253" y="725"/>
                      <a:pt x="260" y="720"/>
                      <a:pt x="264" y="720"/>
                    </a:cubicBezTo>
                    <a:cubicBezTo>
                      <a:pt x="264" y="720"/>
                      <a:pt x="268" y="716"/>
                      <a:pt x="275" y="717"/>
                    </a:cubicBezTo>
                    <a:cubicBezTo>
                      <a:pt x="275" y="717"/>
                      <a:pt x="280" y="711"/>
                      <a:pt x="280" y="715"/>
                    </a:cubicBezTo>
                    <a:cubicBezTo>
                      <a:pt x="281" y="715"/>
                      <a:pt x="289" y="716"/>
                      <a:pt x="290" y="717"/>
                    </a:cubicBezTo>
                    <a:cubicBezTo>
                      <a:pt x="291" y="717"/>
                      <a:pt x="295" y="721"/>
                      <a:pt x="298" y="717"/>
                    </a:cubicBezTo>
                    <a:cubicBezTo>
                      <a:pt x="298" y="717"/>
                      <a:pt x="302" y="707"/>
                      <a:pt x="304" y="724"/>
                    </a:cubicBezTo>
                    <a:cubicBezTo>
                      <a:pt x="303" y="724"/>
                      <a:pt x="309" y="725"/>
                      <a:pt x="309" y="725"/>
                    </a:cubicBezTo>
                    <a:cubicBezTo>
                      <a:pt x="309" y="725"/>
                      <a:pt x="310" y="728"/>
                      <a:pt x="313" y="725"/>
                    </a:cubicBezTo>
                    <a:cubicBezTo>
                      <a:pt x="313" y="725"/>
                      <a:pt x="318" y="722"/>
                      <a:pt x="326" y="722"/>
                    </a:cubicBezTo>
                    <a:cubicBezTo>
                      <a:pt x="326" y="722"/>
                      <a:pt x="330" y="721"/>
                      <a:pt x="332" y="718"/>
                    </a:cubicBezTo>
                    <a:cubicBezTo>
                      <a:pt x="331" y="718"/>
                      <a:pt x="344" y="709"/>
                      <a:pt x="333" y="711"/>
                    </a:cubicBezTo>
                    <a:cubicBezTo>
                      <a:pt x="333" y="711"/>
                      <a:pt x="324" y="705"/>
                      <a:pt x="327" y="703"/>
                    </a:cubicBezTo>
                    <a:cubicBezTo>
                      <a:pt x="327" y="704"/>
                      <a:pt x="328" y="698"/>
                      <a:pt x="333" y="696"/>
                    </a:cubicBezTo>
                    <a:cubicBezTo>
                      <a:pt x="333" y="696"/>
                      <a:pt x="340" y="696"/>
                      <a:pt x="341" y="694"/>
                    </a:cubicBezTo>
                    <a:cubicBezTo>
                      <a:pt x="341" y="694"/>
                      <a:pt x="356" y="692"/>
                      <a:pt x="359" y="695"/>
                    </a:cubicBezTo>
                    <a:cubicBezTo>
                      <a:pt x="358" y="695"/>
                      <a:pt x="362" y="697"/>
                      <a:pt x="362" y="694"/>
                    </a:cubicBezTo>
                    <a:cubicBezTo>
                      <a:pt x="362" y="694"/>
                      <a:pt x="361" y="689"/>
                      <a:pt x="365" y="689"/>
                    </a:cubicBezTo>
                    <a:cubicBezTo>
                      <a:pt x="365" y="689"/>
                      <a:pt x="372" y="686"/>
                      <a:pt x="367" y="682"/>
                    </a:cubicBezTo>
                    <a:cubicBezTo>
                      <a:pt x="370" y="679"/>
                      <a:pt x="370" y="679"/>
                      <a:pt x="370" y="679"/>
                    </a:cubicBezTo>
                    <a:cubicBezTo>
                      <a:pt x="370" y="679"/>
                      <a:pt x="374" y="677"/>
                      <a:pt x="375" y="677"/>
                    </a:cubicBezTo>
                    <a:cubicBezTo>
                      <a:pt x="376" y="677"/>
                      <a:pt x="376" y="670"/>
                      <a:pt x="378" y="674"/>
                    </a:cubicBezTo>
                    <a:cubicBezTo>
                      <a:pt x="379" y="675"/>
                      <a:pt x="381" y="674"/>
                      <a:pt x="378" y="676"/>
                    </a:cubicBezTo>
                    <a:cubicBezTo>
                      <a:pt x="381" y="677"/>
                      <a:pt x="381" y="677"/>
                      <a:pt x="381" y="677"/>
                    </a:cubicBezTo>
                    <a:cubicBezTo>
                      <a:pt x="381" y="677"/>
                      <a:pt x="385" y="678"/>
                      <a:pt x="387" y="678"/>
                    </a:cubicBezTo>
                    <a:cubicBezTo>
                      <a:pt x="388" y="679"/>
                      <a:pt x="390" y="682"/>
                      <a:pt x="395" y="682"/>
                    </a:cubicBezTo>
                    <a:cubicBezTo>
                      <a:pt x="395" y="681"/>
                      <a:pt x="397" y="683"/>
                      <a:pt x="400" y="683"/>
                    </a:cubicBezTo>
                    <a:cubicBezTo>
                      <a:pt x="399" y="683"/>
                      <a:pt x="402" y="686"/>
                      <a:pt x="405" y="686"/>
                    </a:cubicBezTo>
                    <a:cubicBezTo>
                      <a:pt x="405" y="686"/>
                      <a:pt x="406" y="689"/>
                      <a:pt x="412" y="688"/>
                    </a:cubicBezTo>
                    <a:cubicBezTo>
                      <a:pt x="412" y="689"/>
                      <a:pt x="418" y="693"/>
                      <a:pt x="418" y="694"/>
                    </a:cubicBezTo>
                    <a:cubicBezTo>
                      <a:pt x="417" y="695"/>
                      <a:pt x="418" y="699"/>
                      <a:pt x="424" y="696"/>
                    </a:cubicBezTo>
                    <a:cubicBezTo>
                      <a:pt x="423" y="696"/>
                      <a:pt x="426" y="693"/>
                      <a:pt x="428" y="693"/>
                    </a:cubicBezTo>
                    <a:cubicBezTo>
                      <a:pt x="433" y="690"/>
                      <a:pt x="433" y="690"/>
                      <a:pt x="433" y="690"/>
                    </a:cubicBezTo>
                    <a:cubicBezTo>
                      <a:pt x="436" y="689"/>
                      <a:pt x="436" y="689"/>
                      <a:pt x="436" y="689"/>
                    </a:cubicBezTo>
                    <a:cubicBezTo>
                      <a:pt x="440" y="686"/>
                      <a:pt x="440" y="686"/>
                      <a:pt x="440" y="686"/>
                    </a:cubicBezTo>
                    <a:cubicBezTo>
                      <a:pt x="440" y="686"/>
                      <a:pt x="440" y="683"/>
                      <a:pt x="444" y="683"/>
                    </a:cubicBezTo>
                    <a:cubicBezTo>
                      <a:pt x="444" y="683"/>
                      <a:pt x="444" y="681"/>
                      <a:pt x="448" y="681"/>
                    </a:cubicBezTo>
                    <a:cubicBezTo>
                      <a:pt x="448" y="681"/>
                      <a:pt x="452" y="678"/>
                      <a:pt x="455" y="678"/>
                    </a:cubicBezTo>
                    <a:cubicBezTo>
                      <a:pt x="455" y="678"/>
                      <a:pt x="458" y="673"/>
                      <a:pt x="460" y="674"/>
                    </a:cubicBezTo>
                    <a:cubicBezTo>
                      <a:pt x="460" y="674"/>
                      <a:pt x="460" y="667"/>
                      <a:pt x="463" y="668"/>
                    </a:cubicBezTo>
                    <a:cubicBezTo>
                      <a:pt x="463" y="669"/>
                      <a:pt x="465" y="666"/>
                      <a:pt x="467" y="666"/>
                    </a:cubicBezTo>
                    <a:cubicBezTo>
                      <a:pt x="467" y="666"/>
                      <a:pt x="471" y="663"/>
                      <a:pt x="473" y="663"/>
                    </a:cubicBezTo>
                    <a:cubicBezTo>
                      <a:pt x="473" y="663"/>
                      <a:pt x="476" y="661"/>
                      <a:pt x="478" y="661"/>
                    </a:cubicBezTo>
                    <a:cubicBezTo>
                      <a:pt x="478" y="661"/>
                      <a:pt x="485" y="656"/>
                      <a:pt x="484" y="656"/>
                    </a:cubicBezTo>
                    <a:cubicBezTo>
                      <a:pt x="484" y="656"/>
                      <a:pt x="487" y="654"/>
                      <a:pt x="489" y="654"/>
                    </a:cubicBezTo>
                    <a:cubicBezTo>
                      <a:pt x="489" y="654"/>
                      <a:pt x="492" y="651"/>
                      <a:pt x="493" y="655"/>
                    </a:cubicBezTo>
                    <a:cubicBezTo>
                      <a:pt x="492" y="655"/>
                      <a:pt x="496" y="656"/>
                      <a:pt x="496" y="652"/>
                    </a:cubicBezTo>
                    <a:cubicBezTo>
                      <a:pt x="497" y="652"/>
                      <a:pt x="498" y="651"/>
                      <a:pt x="512" y="651"/>
                    </a:cubicBezTo>
                    <a:cubicBezTo>
                      <a:pt x="512" y="651"/>
                      <a:pt x="512" y="648"/>
                      <a:pt x="517" y="649"/>
                    </a:cubicBezTo>
                    <a:cubicBezTo>
                      <a:pt x="517" y="649"/>
                      <a:pt x="517" y="646"/>
                      <a:pt x="526" y="646"/>
                    </a:cubicBezTo>
                    <a:cubicBezTo>
                      <a:pt x="526" y="647"/>
                      <a:pt x="529" y="644"/>
                      <a:pt x="532" y="644"/>
                    </a:cubicBezTo>
                    <a:cubicBezTo>
                      <a:pt x="531" y="644"/>
                      <a:pt x="532" y="639"/>
                      <a:pt x="536" y="640"/>
                    </a:cubicBezTo>
                    <a:cubicBezTo>
                      <a:pt x="536" y="640"/>
                      <a:pt x="538" y="633"/>
                      <a:pt x="538" y="634"/>
                    </a:cubicBezTo>
                    <a:cubicBezTo>
                      <a:pt x="538" y="634"/>
                      <a:pt x="540" y="632"/>
                      <a:pt x="548" y="633"/>
                    </a:cubicBezTo>
                    <a:cubicBezTo>
                      <a:pt x="548" y="633"/>
                      <a:pt x="551" y="629"/>
                      <a:pt x="553" y="629"/>
                    </a:cubicBezTo>
                    <a:cubicBezTo>
                      <a:pt x="554" y="629"/>
                      <a:pt x="555" y="624"/>
                      <a:pt x="558" y="625"/>
                    </a:cubicBezTo>
                    <a:cubicBezTo>
                      <a:pt x="557" y="625"/>
                      <a:pt x="560" y="619"/>
                      <a:pt x="555" y="615"/>
                    </a:cubicBezTo>
                    <a:cubicBezTo>
                      <a:pt x="555" y="616"/>
                      <a:pt x="551" y="611"/>
                      <a:pt x="555" y="607"/>
                    </a:cubicBezTo>
                    <a:cubicBezTo>
                      <a:pt x="555" y="608"/>
                      <a:pt x="557" y="602"/>
                      <a:pt x="561" y="603"/>
                    </a:cubicBezTo>
                    <a:cubicBezTo>
                      <a:pt x="560" y="604"/>
                      <a:pt x="563" y="601"/>
                      <a:pt x="568" y="601"/>
                    </a:cubicBezTo>
                    <a:cubicBezTo>
                      <a:pt x="568" y="601"/>
                      <a:pt x="569" y="597"/>
                      <a:pt x="573" y="594"/>
                    </a:cubicBezTo>
                    <a:cubicBezTo>
                      <a:pt x="573" y="594"/>
                      <a:pt x="576" y="590"/>
                      <a:pt x="590" y="592"/>
                    </a:cubicBezTo>
                    <a:cubicBezTo>
                      <a:pt x="593" y="594"/>
                      <a:pt x="593" y="594"/>
                      <a:pt x="593" y="594"/>
                    </a:cubicBezTo>
                    <a:cubicBezTo>
                      <a:pt x="593" y="594"/>
                      <a:pt x="597" y="597"/>
                      <a:pt x="603" y="597"/>
                    </a:cubicBezTo>
                    <a:cubicBezTo>
                      <a:pt x="603" y="597"/>
                      <a:pt x="607" y="599"/>
                      <a:pt x="610" y="599"/>
                    </a:cubicBezTo>
                    <a:cubicBezTo>
                      <a:pt x="610" y="599"/>
                      <a:pt x="612" y="594"/>
                      <a:pt x="614" y="598"/>
                    </a:cubicBezTo>
                    <a:cubicBezTo>
                      <a:pt x="615" y="598"/>
                      <a:pt x="616" y="602"/>
                      <a:pt x="622" y="602"/>
                    </a:cubicBezTo>
                    <a:cubicBezTo>
                      <a:pt x="624" y="604"/>
                      <a:pt x="624" y="604"/>
                      <a:pt x="624" y="604"/>
                    </a:cubicBezTo>
                    <a:cubicBezTo>
                      <a:pt x="624" y="604"/>
                      <a:pt x="630" y="602"/>
                      <a:pt x="632" y="605"/>
                    </a:cubicBezTo>
                    <a:cubicBezTo>
                      <a:pt x="632" y="604"/>
                      <a:pt x="636" y="607"/>
                      <a:pt x="635" y="609"/>
                    </a:cubicBezTo>
                    <a:cubicBezTo>
                      <a:pt x="635" y="609"/>
                      <a:pt x="639" y="611"/>
                      <a:pt x="642" y="611"/>
                    </a:cubicBezTo>
                    <a:cubicBezTo>
                      <a:pt x="641" y="611"/>
                      <a:pt x="643" y="614"/>
                      <a:pt x="646" y="614"/>
                    </a:cubicBezTo>
                    <a:cubicBezTo>
                      <a:pt x="646" y="614"/>
                      <a:pt x="649" y="616"/>
                      <a:pt x="653" y="616"/>
                    </a:cubicBezTo>
                    <a:cubicBezTo>
                      <a:pt x="653" y="617"/>
                      <a:pt x="656" y="618"/>
                      <a:pt x="661" y="618"/>
                    </a:cubicBezTo>
                    <a:cubicBezTo>
                      <a:pt x="662" y="623"/>
                      <a:pt x="662" y="623"/>
                      <a:pt x="662" y="623"/>
                    </a:cubicBezTo>
                    <a:cubicBezTo>
                      <a:pt x="662" y="623"/>
                      <a:pt x="664" y="623"/>
                      <a:pt x="664" y="625"/>
                    </a:cubicBezTo>
                    <a:cubicBezTo>
                      <a:pt x="664" y="625"/>
                      <a:pt x="668" y="625"/>
                      <a:pt x="667" y="624"/>
                    </a:cubicBezTo>
                    <a:cubicBezTo>
                      <a:pt x="667" y="625"/>
                      <a:pt x="671" y="621"/>
                      <a:pt x="682" y="623"/>
                    </a:cubicBezTo>
                    <a:cubicBezTo>
                      <a:pt x="681" y="623"/>
                      <a:pt x="678" y="619"/>
                      <a:pt x="705" y="621"/>
                    </a:cubicBezTo>
                    <a:cubicBezTo>
                      <a:pt x="706" y="621"/>
                      <a:pt x="704" y="618"/>
                      <a:pt x="708" y="617"/>
                    </a:cubicBezTo>
                    <a:cubicBezTo>
                      <a:pt x="708" y="618"/>
                      <a:pt x="706" y="616"/>
                      <a:pt x="710" y="616"/>
                    </a:cubicBezTo>
                    <a:cubicBezTo>
                      <a:pt x="710" y="616"/>
                      <a:pt x="714" y="616"/>
                      <a:pt x="717" y="613"/>
                    </a:cubicBezTo>
                    <a:cubicBezTo>
                      <a:pt x="717" y="613"/>
                      <a:pt x="720" y="609"/>
                      <a:pt x="722" y="609"/>
                    </a:cubicBezTo>
                    <a:cubicBezTo>
                      <a:pt x="722" y="609"/>
                      <a:pt x="730" y="608"/>
                      <a:pt x="729" y="606"/>
                    </a:cubicBezTo>
                    <a:cubicBezTo>
                      <a:pt x="730" y="606"/>
                      <a:pt x="733" y="603"/>
                      <a:pt x="733" y="602"/>
                    </a:cubicBezTo>
                    <a:cubicBezTo>
                      <a:pt x="734" y="602"/>
                      <a:pt x="735" y="599"/>
                      <a:pt x="738" y="598"/>
                    </a:cubicBezTo>
                    <a:cubicBezTo>
                      <a:pt x="738" y="598"/>
                      <a:pt x="740" y="596"/>
                      <a:pt x="746" y="595"/>
                    </a:cubicBezTo>
                    <a:cubicBezTo>
                      <a:pt x="747" y="596"/>
                      <a:pt x="749" y="594"/>
                      <a:pt x="751" y="594"/>
                    </a:cubicBezTo>
                    <a:cubicBezTo>
                      <a:pt x="751" y="594"/>
                      <a:pt x="752" y="587"/>
                      <a:pt x="755" y="587"/>
                    </a:cubicBezTo>
                    <a:cubicBezTo>
                      <a:pt x="756" y="587"/>
                      <a:pt x="761" y="584"/>
                      <a:pt x="760" y="565"/>
                    </a:cubicBezTo>
                    <a:cubicBezTo>
                      <a:pt x="760" y="566"/>
                      <a:pt x="765" y="560"/>
                      <a:pt x="765" y="559"/>
                    </a:cubicBezTo>
                    <a:cubicBezTo>
                      <a:pt x="765" y="559"/>
                      <a:pt x="763" y="547"/>
                      <a:pt x="767" y="544"/>
                    </a:cubicBezTo>
                    <a:cubicBezTo>
                      <a:pt x="767" y="544"/>
                      <a:pt x="769" y="540"/>
                      <a:pt x="773" y="540"/>
                    </a:cubicBezTo>
                    <a:cubicBezTo>
                      <a:pt x="773" y="540"/>
                      <a:pt x="773" y="537"/>
                      <a:pt x="774" y="537"/>
                    </a:cubicBezTo>
                    <a:cubicBezTo>
                      <a:pt x="774" y="537"/>
                      <a:pt x="776" y="534"/>
                      <a:pt x="777" y="534"/>
                    </a:cubicBezTo>
                    <a:cubicBezTo>
                      <a:pt x="777" y="534"/>
                      <a:pt x="778" y="529"/>
                      <a:pt x="779" y="529"/>
                    </a:cubicBezTo>
                    <a:cubicBezTo>
                      <a:pt x="779" y="529"/>
                      <a:pt x="781" y="528"/>
                      <a:pt x="781" y="526"/>
                    </a:cubicBezTo>
                    <a:cubicBezTo>
                      <a:pt x="781" y="526"/>
                      <a:pt x="785" y="527"/>
                      <a:pt x="787" y="528"/>
                    </a:cubicBezTo>
                    <a:cubicBezTo>
                      <a:pt x="786" y="526"/>
                      <a:pt x="786" y="525"/>
                      <a:pt x="786" y="525"/>
                    </a:cubicBezTo>
                    <a:cubicBezTo>
                      <a:pt x="785" y="523"/>
                      <a:pt x="785" y="523"/>
                      <a:pt x="785" y="523"/>
                    </a:cubicBezTo>
                    <a:cubicBezTo>
                      <a:pt x="783" y="522"/>
                      <a:pt x="780" y="514"/>
                      <a:pt x="780" y="514"/>
                    </a:cubicBezTo>
                    <a:cubicBezTo>
                      <a:pt x="776" y="514"/>
                      <a:pt x="781" y="512"/>
                      <a:pt x="780" y="512"/>
                    </a:cubicBezTo>
                    <a:cubicBezTo>
                      <a:pt x="782" y="510"/>
                      <a:pt x="781" y="507"/>
                      <a:pt x="781" y="507"/>
                    </a:cubicBezTo>
                    <a:cubicBezTo>
                      <a:pt x="777" y="506"/>
                      <a:pt x="781" y="503"/>
                      <a:pt x="781" y="503"/>
                    </a:cubicBezTo>
                    <a:cubicBezTo>
                      <a:pt x="781" y="500"/>
                      <a:pt x="783" y="500"/>
                      <a:pt x="783" y="500"/>
                    </a:cubicBezTo>
                    <a:cubicBezTo>
                      <a:pt x="783" y="502"/>
                      <a:pt x="793" y="502"/>
                      <a:pt x="793" y="502"/>
                    </a:cubicBezTo>
                    <a:cubicBezTo>
                      <a:pt x="793" y="503"/>
                      <a:pt x="804" y="503"/>
                      <a:pt x="804" y="503"/>
                    </a:cubicBezTo>
                    <a:cubicBezTo>
                      <a:pt x="808" y="506"/>
                      <a:pt x="808" y="498"/>
                      <a:pt x="808" y="498"/>
                    </a:cubicBezTo>
                    <a:cubicBezTo>
                      <a:pt x="813" y="496"/>
                      <a:pt x="808" y="492"/>
                      <a:pt x="808" y="492"/>
                    </a:cubicBezTo>
                    <a:close/>
                    <a:moveTo>
                      <a:pt x="429" y="142"/>
                    </a:moveTo>
                    <a:cubicBezTo>
                      <a:pt x="429" y="142"/>
                      <a:pt x="425" y="146"/>
                      <a:pt x="422" y="144"/>
                    </a:cubicBezTo>
                    <a:cubicBezTo>
                      <a:pt x="422" y="144"/>
                      <a:pt x="417" y="142"/>
                      <a:pt x="422" y="141"/>
                    </a:cubicBezTo>
                    <a:cubicBezTo>
                      <a:pt x="422" y="141"/>
                      <a:pt x="421" y="138"/>
                      <a:pt x="424" y="138"/>
                    </a:cubicBezTo>
                    <a:cubicBezTo>
                      <a:pt x="424" y="138"/>
                      <a:pt x="425" y="138"/>
                      <a:pt x="426" y="135"/>
                    </a:cubicBezTo>
                    <a:cubicBezTo>
                      <a:pt x="426" y="135"/>
                      <a:pt x="426" y="135"/>
                      <a:pt x="426" y="135"/>
                    </a:cubicBezTo>
                    <a:cubicBezTo>
                      <a:pt x="428" y="135"/>
                      <a:pt x="430" y="134"/>
                      <a:pt x="431" y="138"/>
                    </a:cubicBezTo>
                    <a:cubicBezTo>
                      <a:pt x="432" y="138"/>
                      <a:pt x="434" y="139"/>
                      <a:pt x="434" y="139"/>
                    </a:cubicBezTo>
                    <a:cubicBezTo>
                      <a:pt x="434" y="139"/>
                      <a:pt x="428" y="138"/>
                      <a:pt x="429" y="14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 cmpd="sng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60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48" name="Freeform 250">
                <a:extLst>
                  <a:ext uri="{FF2B5EF4-FFF2-40B4-BE49-F238E27FC236}">
                    <a16:creationId xmlns:a16="http://schemas.microsoft.com/office/drawing/2014/main" id="{66766410-9305-790F-F2AA-729EDB9D9FD6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4942257" y="2092028"/>
                <a:ext cx="1420649" cy="1569446"/>
              </a:xfrm>
              <a:custGeom>
                <a:avLst/>
                <a:gdLst>
                  <a:gd name="T0" fmla="*/ 420 w 448"/>
                  <a:gd name="T1" fmla="*/ 56 h 493"/>
                  <a:gd name="T2" fmla="*/ 401 w 448"/>
                  <a:gd name="T3" fmla="*/ 39 h 493"/>
                  <a:gd name="T4" fmla="*/ 348 w 448"/>
                  <a:gd name="T5" fmla="*/ 37 h 493"/>
                  <a:gd name="T6" fmla="*/ 310 w 448"/>
                  <a:gd name="T7" fmla="*/ 35 h 493"/>
                  <a:gd name="T8" fmla="*/ 292 w 448"/>
                  <a:gd name="T9" fmla="*/ 23 h 493"/>
                  <a:gd name="T10" fmla="*/ 268 w 448"/>
                  <a:gd name="T11" fmla="*/ 3 h 493"/>
                  <a:gd name="T12" fmla="*/ 246 w 448"/>
                  <a:gd name="T13" fmla="*/ 20 h 493"/>
                  <a:gd name="T14" fmla="*/ 261 w 448"/>
                  <a:gd name="T15" fmla="*/ 38 h 493"/>
                  <a:gd name="T16" fmla="*/ 225 w 448"/>
                  <a:gd name="T17" fmla="*/ 38 h 493"/>
                  <a:gd name="T18" fmla="*/ 194 w 448"/>
                  <a:gd name="T19" fmla="*/ 23 h 493"/>
                  <a:gd name="T20" fmla="*/ 155 w 448"/>
                  <a:gd name="T21" fmla="*/ 35 h 493"/>
                  <a:gd name="T22" fmla="*/ 119 w 448"/>
                  <a:gd name="T23" fmla="*/ 30 h 493"/>
                  <a:gd name="T24" fmla="*/ 127 w 448"/>
                  <a:gd name="T25" fmla="*/ 59 h 493"/>
                  <a:gd name="T26" fmla="*/ 103 w 448"/>
                  <a:gd name="T27" fmla="*/ 72 h 493"/>
                  <a:gd name="T28" fmla="*/ 77 w 448"/>
                  <a:gd name="T29" fmla="*/ 112 h 493"/>
                  <a:gd name="T30" fmla="*/ 94 w 448"/>
                  <a:gd name="T31" fmla="*/ 142 h 493"/>
                  <a:gd name="T32" fmla="*/ 74 w 448"/>
                  <a:gd name="T33" fmla="*/ 178 h 493"/>
                  <a:gd name="T34" fmla="*/ 44 w 448"/>
                  <a:gd name="T35" fmla="*/ 206 h 493"/>
                  <a:gd name="T36" fmla="*/ 14 w 448"/>
                  <a:gd name="T37" fmla="*/ 207 h 493"/>
                  <a:gd name="T38" fmla="*/ 5 w 448"/>
                  <a:gd name="T39" fmla="*/ 215 h 493"/>
                  <a:gd name="T40" fmla="*/ 15 w 448"/>
                  <a:gd name="T41" fmla="*/ 221 h 493"/>
                  <a:gd name="T42" fmla="*/ 19 w 448"/>
                  <a:gd name="T43" fmla="*/ 228 h 493"/>
                  <a:gd name="T44" fmla="*/ 29 w 448"/>
                  <a:gd name="T45" fmla="*/ 231 h 493"/>
                  <a:gd name="T46" fmla="*/ 41 w 448"/>
                  <a:gd name="T47" fmla="*/ 230 h 493"/>
                  <a:gd name="T48" fmla="*/ 61 w 448"/>
                  <a:gd name="T49" fmla="*/ 226 h 493"/>
                  <a:gd name="T50" fmla="*/ 79 w 448"/>
                  <a:gd name="T51" fmla="*/ 228 h 493"/>
                  <a:gd name="T52" fmla="*/ 84 w 448"/>
                  <a:gd name="T53" fmla="*/ 233 h 493"/>
                  <a:gd name="T54" fmla="*/ 107 w 448"/>
                  <a:gd name="T55" fmla="*/ 268 h 493"/>
                  <a:gd name="T56" fmla="*/ 135 w 448"/>
                  <a:gd name="T57" fmla="*/ 298 h 493"/>
                  <a:gd name="T58" fmla="*/ 199 w 448"/>
                  <a:gd name="T59" fmla="*/ 314 h 493"/>
                  <a:gd name="T60" fmla="*/ 180 w 448"/>
                  <a:gd name="T61" fmla="*/ 362 h 493"/>
                  <a:gd name="T62" fmla="*/ 218 w 448"/>
                  <a:gd name="T63" fmla="*/ 374 h 493"/>
                  <a:gd name="T64" fmla="*/ 227 w 448"/>
                  <a:gd name="T65" fmla="*/ 423 h 493"/>
                  <a:gd name="T66" fmla="*/ 233 w 448"/>
                  <a:gd name="T67" fmla="*/ 468 h 493"/>
                  <a:gd name="T68" fmla="*/ 276 w 448"/>
                  <a:gd name="T69" fmla="*/ 471 h 493"/>
                  <a:gd name="T70" fmla="*/ 337 w 448"/>
                  <a:gd name="T71" fmla="*/ 486 h 493"/>
                  <a:gd name="T72" fmla="*/ 359 w 448"/>
                  <a:gd name="T73" fmla="*/ 432 h 493"/>
                  <a:gd name="T74" fmla="*/ 366 w 448"/>
                  <a:gd name="T75" fmla="*/ 398 h 493"/>
                  <a:gd name="T76" fmla="*/ 348 w 448"/>
                  <a:gd name="T77" fmla="*/ 363 h 493"/>
                  <a:gd name="T78" fmla="*/ 366 w 448"/>
                  <a:gd name="T79" fmla="*/ 311 h 493"/>
                  <a:gd name="T80" fmla="*/ 353 w 448"/>
                  <a:gd name="T81" fmla="*/ 254 h 493"/>
                  <a:gd name="T82" fmla="*/ 373 w 448"/>
                  <a:gd name="T83" fmla="*/ 208 h 493"/>
                  <a:gd name="T84" fmla="*/ 392 w 448"/>
                  <a:gd name="T85" fmla="*/ 171 h 493"/>
                  <a:gd name="T86" fmla="*/ 434 w 448"/>
                  <a:gd name="T87" fmla="*/ 125 h 493"/>
                  <a:gd name="T88" fmla="*/ 409 w 448"/>
                  <a:gd name="T89" fmla="*/ 79 h 493"/>
                  <a:gd name="T90" fmla="*/ 390 w 448"/>
                  <a:gd name="T91" fmla="*/ 100 h 493"/>
                  <a:gd name="T92" fmla="*/ 359 w 448"/>
                  <a:gd name="T93" fmla="*/ 115 h 493"/>
                  <a:gd name="T94" fmla="*/ 351 w 448"/>
                  <a:gd name="T95" fmla="*/ 184 h 493"/>
                  <a:gd name="T96" fmla="*/ 318 w 448"/>
                  <a:gd name="T97" fmla="*/ 213 h 493"/>
                  <a:gd name="T98" fmla="*/ 285 w 448"/>
                  <a:gd name="T99" fmla="*/ 216 h 493"/>
                  <a:gd name="T100" fmla="*/ 244 w 448"/>
                  <a:gd name="T101" fmla="*/ 199 h 493"/>
                  <a:gd name="T102" fmla="*/ 218 w 448"/>
                  <a:gd name="T103" fmla="*/ 176 h 493"/>
                  <a:gd name="T104" fmla="*/ 209 w 448"/>
                  <a:gd name="T105" fmla="*/ 134 h 493"/>
                  <a:gd name="T106" fmla="*/ 249 w 448"/>
                  <a:gd name="T107" fmla="*/ 101 h 493"/>
                  <a:gd name="T108" fmla="*/ 316 w 448"/>
                  <a:gd name="T109" fmla="*/ 96 h 493"/>
                  <a:gd name="T110" fmla="*/ 344 w 448"/>
                  <a:gd name="T111" fmla="*/ 72 h 493"/>
                  <a:gd name="T112" fmla="*/ 399 w 448"/>
                  <a:gd name="T113" fmla="*/ 54 h 49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48"/>
                  <a:gd name="T172" fmla="*/ 0 h 493"/>
                  <a:gd name="T173" fmla="*/ 448 w 448"/>
                  <a:gd name="T174" fmla="*/ 493 h 493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48" h="493">
                    <a:moveTo>
                      <a:pt x="443" y="104"/>
                    </a:moveTo>
                    <a:cubicBezTo>
                      <a:pt x="443" y="104"/>
                      <a:pt x="440" y="102"/>
                      <a:pt x="436" y="100"/>
                    </a:cubicBezTo>
                    <a:cubicBezTo>
                      <a:pt x="436" y="100"/>
                      <a:pt x="437" y="94"/>
                      <a:pt x="434" y="92"/>
                    </a:cubicBezTo>
                    <a:cubicBezTo>
                      <a:pt x="434" y="92"/>
                      <a:pt x="436" y="77"/>
                      <a:pt x="431" y="77"/>
                    </a:cubicBezTo>
                    <a:cubicBezTo>
                      <a:pt x="431" y="78"/>
                      <a:pt x="430" y="73"/>
                      <a:pt x="434" y="69"/>
                    </a:cubicBezTo>
                    <a:cubicBezTo>
                      <a:pt x="434" y="69"/>
                      <a:pt x="440" y="69"/>
                      <a:pt x="438" y="62"/>
                    </a:cubicBezTo>
                    <a:cubicBezTo>
                      <a:pt x="438" y="62"/>
                      <a:pt x="433" y="62"/>
                      <a:pt x="428" y="58"/>
                    </a:cubicBezTo>
                    <a:cubicBezTo>
                      <a:pt x="428" y="58"/>
                      <a:pt x="424" y="61"/>
                      <a:pt x="420" y="56"/>
                    </a:cubicBezTo>
                    <a:cubicBezTo>
                      <a:pt x="420" y="57"/>
                      <a:pt x="420" y="54"/>
                      <a:pt x="417" y="54"/>
                    </a:cubicBezTo>
                    <a:cubicBezTo>
                      <a:pt x="416" y="54"/>
                      <a:pt x="418" y="48"/>
                      <a:pt x="414" y="50"/>
                    </a:cubicBezTo>
                    <a:cubicBezTo>
                      <a:pt x="410" y="51"/>
                      <a:pt x="413" y="50"/>
                      <a:pt x="412" y="52"/>
                    </a:cubicBezTo>
                    <a:cubicBezTo>
                      <a:pt x="411" y="53"/>
                      <a:pt x="409" y="54"/>
                      <a:pt x="409" y="54"/>
                    </a:cubicBezTo>
                    <a:cubicBezTo>
                      <a:pt x="409" y="54"/>
                      <a:pt x="408" y="53"/>
                      <a:pt x="407" y="52"/>
                    </a:cubicBezTo>
                    <a:cubicBezTo>
                      <a:pt x="405" y="51"/>
                      <a:pt x="404" y="53"/>
                      <a:pt x="405" y="49"/>
                    </a:cubicBezTo>
                    <a:cubicBezTo>
                      <a:pt x="405" y="48"/>
                      <a:pt x="404" y="47"/>
                      <a:pt x="403" y="46"/>
                    </a:cubicBezTo>
                    <a:cubicBezTo>
                      <a:pt x="403" y="46"/>
                      <a:pt x="404" y="39"/>
                      <a:pt x="401" y="39"/>
                    </a:cubicBezTo>
                    <a:cubicBezTo>
                      <a:pt x="397" y="39"/>
                      <a:pt x="402" y="36"/>
                      <a:pt x="398" y="35"/>
                    </a:cubicBezTo>
                    <a:cubicBezTo>
                      <a:pt x="394" y="35"/>
                      <a:pt x="401" y="32"/>
                      <a:pt x="394" y="33"/>
                    </a:cubicBezTo>
                    <a:cubicBezTo>
                      <a:pt x="389" y="33"/>
                      <a:pt x="398" y="30"/>
                      <a:pt x="390" y="31"/>
                    </a:cubicBezTo>
                    <a:cubicBezTo>
                      <a:pt x="390" y="31"/>
                      <a:pt x="390" y="20"/>
                      <a:pt x="386" y="30"/>
                    </a:cubicBezTo>
                    <a:cubicBezTo>
                      <a:pt x="386" y="31"/>
                      <a:pt x="381" y="29"/>
                      <a:pt x="381" y="36"/>
                    </a:cubicBezTo>
                    <a:cubicBezTo>
                      <a:pt x="381" y="37"/>
                      <a:pt x="375" y="37"/>
                      <a:pt x="374" y="39"/>
                    </a:cubicBezTo>
                    <a:cubicBezTo>
                      <a:pt x="374" y="40"/>
                      <a:pt x="352" y="39"/>
                      <a:pt x="352" y="39"/>
                    </a:cubicBezTo>
                    <a:cubicBezTo>
                      <a:pt x="348" y="37"/>
                      <a:pt x="348" y="37"/>
                      <a:pt x="348" y="37"/>
                    </a:cubicBezTo>
                    <a:cubicBezTo>
                      <a:pt x="348" y="37"/>
                      <a:pt x="347" y="27"/>
                      <a:pt x="337" y="27"/>
                    </a:cubicBezTo>
                    <a:cubicBezTo>
                      <a:pt x="337" y="28"/>
                      <a:pt x="333" y="25"/>
                      <a:pt x="333" y="25"/>
                    </a:cubicBezTo>
                    <a:cubicBezTo>
                      <a:pt x="333" y="25"/>
                      <a:pt x="332" y="20"/>
                      <a:pt x="328" y="21"/>
                    </a:cubicBezTo>
                    <a:cubicBezTo>
                      <a:pt x="325" y="23"/>
                      <a:pt x="325" y="23"/>
                      <a:pt x="325" y="23"/>
                    </a:cubicBezTo>
                    <a:cubicBezTo>
                      <a:pt x="320" y="25"/>
                      <a:pt x="320" y="25"/>
                      <a:pt x="320" y="25"/>
                    </a:cubicBezTo>
                    <a:cubicBezTo>
                      <a:pt x="320" y="28"/>
                      <a:pt x="317" y="28"/>
                      <a:pt x="317" y="28"/>
                    </a:cubicBezTo>
                    <a:cubicBezTo>
                      <a:pt x="315" y="23"/>
                      <a:pt x="313" y="27"/>
                      <a:pt x="313" y="27"/>
                    </a:cubicBezTo>
                    <a:cubicBezTo>
                      <a:pt x="313" y="27"/>
                      <a:pt x="311" y="35"/>
                      <a:pt x="310" y="35"/>
                    </a:cubicBezTo>
                    <a:cubicBezTo>
                      <a:pt x="310" y="35"/>
                      <a:pt x="308" y="41"/>
                      <a:pt x="308" y="41"/>
                    </a:cubicBezTo>
                    <a:cubicBezTo>
                      <a:pt x="308" y="45"/>
                      <a:pt x="303" y="41"/>
                      <a:pt x="303" y="40"/>
                    </a:cubicBezTo>
                    <a:cubicBezTo>
                      <a:pt x="303" y="36"/>
                      <a:pt x="299" y="38"/>
                      <a:pt x="299" y="38"/>
                    </a:cubicBezTo>
                    <a:cubicBezTo>
                      <a:pt x="299" y="35"/>
                      <a:pt x="295" y="35"/>
                      <a:pt x="295" y="36"/>
                    </a:cubicBezTo>
                    <a:cubicBezTo>
                      <a:pt x="284" y="36"/>
                      <a:pt x="295" y="34"/>
                      <a:pt x="295" y="34"/>
                    </a:cubicBezTo>
                    <a:cubicBezTo>
                      <a:pt x="296" y="34"/>
                      <a:pt x="295" y="31"/>
                      <a:pt x="295" y="31"/>
                    </a:cubicBezTo>
                    <a:cubicBezTo>
                      <a:pt x="291" y="31"/>
                      <a:pt x="295" y="27"/>
                      <a:pt x="295" y="27"/>
                    </a:cubicBezTo>
                    <a:cubicBezTo>
                      <a:pt x="295" y="22"/>
                      <a:pt x="292" y="23"/>
                      <a:pt x="292" y="23"/>
                    </a:cubicBezTo>
                    <a:cubicBezTo>
                      <a:pt x="291" y="27"/>
                      <a:pt x="290" y="23"/>
                      <a:pt x="290" y="23"/>
                    </a:cubicBezTo>
                    <a:cubicBezTo>
                      <a:pt x="280" y="23"/>
                      <a:pt x="280" y="23"/>
                      <a:pt x="280" y="23"/>
                    </a:cubicBezTo>
                    <a:cubicBezTo>
                      <a:pt x="272" y="23"/>
                      <a:pt x="280" y="18"/>
                      <a:pt x="280" y="18"/>
                    </a:cubicBezTo>
                    <a:cubicBezTo>
                      <a:pt x="285" y="12"/>
                      <a:pt x="280" y="9"/>
                      <a:pt x="280" y="9"/>
                    </a:cubicBezTo>
                    <a:cubicBezTo>
                      <a:pt x="276" y="6"/>
                      <a:pt x="276" y="6"/>
                      <a:pt x="276" y="6"/>
                    </a:cubicBezTo>
                    <a:cubicBezTo>
                      <a:pt x="276" y="0"/>
                      <a:pt x="273" y="3"/>
                      <a:pt x="273" y="3"/>
                    </a:cubicBezTo>
                    <a:cubicBezTo>
                      <a:pt x="272" y="4"/>
                      <a:pt x="271" y="4"/>
                      <a:pt x="271" y="3"/>
                    </a:cubicBezTo>
                    <a:cubicBezTo>
                      <a:pt x="271" y="1"/>
                      <a:pt x="268" y="3"/>
                      <a:pt x="268" y="3"/>
                    </a:cubicBezTo>
                    <a:cubicBezTo>
                      <a:pt x="268" y="4"/>
                      <a:pt x="266" y="5"/>
                      <a:pt x="266" y="5"/>
                    </a:cubicBezTo>
                    <a:cubicBezTo>
                      <a:pt x="264" y="8"/>
                      <a:pt x="264" y="5"/>
                      <a:pt x="264" y="5"/>
                    </a:cubicBezTo>
                    <a:cubicBezTo>
                      <a:pt x="264" y="3"/>
                      <a:pt x="261" y="6"/>
                      <a:pt x="260" y="6"/>
                    </a:cubicBezTo>
                    <a:cubicBezTo>
                      <a:pt x="256" y="5"/>
                      <a:pt x="256" y="9"/>
                      <a:pt x="256" y="9"/>
                    </a:cubicBezTo>
                    <a:cubicBezTo>
                      <a:pt x="251" y="8"/>
                      <a:pt x="250" y="12"/>
                      <a:pt x="250" y="12"/>
                    </a:cubicBezTo>
                    <a:cubicBezTo>
                      <a:pt x="253" y="15"/>
                      <a:pt x="249" y="15"/>
                      <a:pt x="249" y="15"/>
                    </a:cubicBezTo>
                    <a:cubicBezTo>
                      <a:pt x="246" y="12"/>
                      <a:pt x="245" y="16"/>
                      <a:pt x="244" y="16"/>
                    </a:cubicBezTo>
                    <a:cubicBezTo>
                      <a:pt x="241" y="17"/>
                      <a:pt x="246" y="20"/>
                      <a:pt x="246" y="20"/>
                    </a:cubicBezTo>
                    <a:cubicBezTo>
                      <a:pt x="245" y="22"/>
                      <a:pt x="253" y="21"/>
                      <a:pt x="253" y="21"/>
                    </a:cubicBezTo>
                    <a:cubicBezTo>
                      <a:pt x="251" y="17"/>
                      <a:pt x="256" y="19"/>
                      <a:pt x="256" y="19"/>
                    </a:cubicBezTo>
                    <a:cubicBezTo>
                      <a:pt x="258" y="19"/>
                      <a:pt x="259" y="16"/>
                      <a:pt x="259" y="16"/>
                    </a:cubicBezTo>
                    <a:cubicBezTo>
                      <a:pt x="260" y="12"/>
                      <a:pt x="264" y="16"/>
                      <a:pt x="264" y="16"/>
                    </a:cubicBezTo>
                    <a:cubicBezTo>
                      <a:pt x="270" y="14"/>
                      <a:pt x="266" y="20"/>
                      <a:pt x="266" y="20"/>
                    </a:cubicBezTo>
                    <a:cubicBezTo>
                      <a:pt x="258" y="26"/>
                      <a:pt x="266" y="25"/>
                      <a:pt x="267" y="25"/>
                    </a:cubicBezTo>
                    <a:cubicBezTo>
                      <a:pt x="269" y="27"/>
                      <a:pt x="266" y="34"/>
                      <a:pt x="266" y="34"/>
                    </a:cubicBezTo>
                    <a:cubicBezTo>
                      <a:pt x="261" y="38"/>
                      <a:pt x="261" y="38"/>
                      <a:pt x="261" y="38"/>
                    </a:cubicBezTo>
                    <a:cubicBezTo>
                      <a:pt x="258" y="42"/>
                      <a:pt x="251" y="38"/>
                      <a:pt x="252" y="38"/>
                    </a:cubicBezTo>
                    <a:cubicBezTo>
                      <a:pt x="248" y="36"/>
                      <a:pt x="245" y="39"/>
                      <a:pt x="245" y="39"/>
                    </a:cubicBezTo>
                    <a:cubicBezTo>
                      <a:pt x="244" y="38"/>
                      <a:pt x="240" y="44"/>
                      <a:pt x="240" y="43"/>
                    </a:cubicBezTo>
                    <a:cubicBezTo>
                      <a:pt x="239" y="46"/>
                      <a:pt x="237" y="43"/>
                      <a:pt x="237" y="43"/>
                    </a:cubicBezTo>
                    <a:cubicBezTo>
                      <a:pt x="237" y="41"/>
                      <a:pt x="235" y="43"/>
                      <a:pt x="235" y="43"/>
                    </a:cubicBezTo>
                    <a:cubicBezTo>
                      <a:pt x="234" y="45"/>
                      <a:pt x="233" y="43"/>
                      <a:pt x="233" y="43"/>
                    </a:cubicBezTo>
                    <a:cubicBezTo>
                      <a:pt x="233" y="43"/>
                      <a:pt x="232" y="40"/>
                      <a:pt x="231" y="40"/>
                    </a:cubicBezTo>
                    <a:cubicBezTo>
                      <a:pt x="228" y="40"/>
                      <a:pt x="225" y="38"/>
                      <a:pt x="225" y="38"/>
                    </a:cubicBezTo>
                    <a:cubicBezTo>
                      <a:pt x="222" y="34"/>
                      <a:pt x="218" y="36"/>
                      <a:pt x="218" y="36"/>
                    </a:cubicBezTo>
                    <a:cubicBezTo>
                      <a:pt x="217" y="33"/>
                      <a:pt x="216" y="38"/>
                      <a:pt x="216" y="38"/>
                    </a:cubicBezTo>
                    <a:cubicBezTo>
                      <a:pt x="211" y="42"/>
                      <a:pt x="214" y="36"/>
                      <a:pt x="214" y="36"/>
                    </a:cubicBezTo>
                    <a:cubicBezTo>
                      <a:pt x="214" y="32"/>
                      <a:pt x="209" y="31"/>
                      <a:pt x="209" y="31"/>
                    </a:cubicBezTo>
                    <a:cubicBezTo>
                      <a:pt x="207" y="27"/>
                      <a:pt x="207" y="31"/>
                      <a:pt x="207" y="31"/>
                    </a:cubicBezTo>
                    <a:cubicBezTo>
                      <a:pt x="206" y="33"/>
                      <a:pt x="204" y="31"/>
                      <a:pt x="204" y="31"/>
                    </a:cubicBezTo>
                    <a:cubicBezTo>
                      <a:pt x="203" y="31"/>
                      <a:pt x="199" y="29"/>
                      <a:pt x="199" y="29"/>
                    </a:cubicBezTo>
                    <a:cubicBezTo>
                      <a:pt x="195" y="29"/>
                      <a:pt x="194" y="23"/>
                      <a:pt x="194" y="23"/>
                    </a:cubicBezTo>
                    <a:cubicBezTo>
                      <a:pt x="194" y="19"/>
                      <a:pt x="191" y="22"/>
                      <a:pt x="191" y="22"/>
                    </a:cubicBezTo>
                    <a:cubicBezTo>
                      <a:pt x="189" y="22"/>
                      <a:pt x="187" y="27"/>
                      <a:pt x="187" y="27"/>
                    </a:cubicBezTo>
                    <a:cubicBezTo>
                      <a:pt x="187" y="29"/>
                      <a:pt x="185" y="32"/>
                      <a:pt x="185" y="32"/>
                    </a:cubicBezTo>
                    <a:cubicBezTo>
                      <a:pt x="182" y="32"/>
                      <a:pt x="178" y="35"/>
                      <a:pt x="177" y="35"/>
                    </a:cubicBezTo>
                    <a:cubicBezTo>
                      <a:pt x="170" y="35"/>
                      <a:pt x="170" y="35"/>
                      <a:pt x="170" y="35"/>
                    </a:cubicBezTo>
                    <a:cubicBezTo>
                      <a:pt x="169" y="35"/>
                      <a:pt x="167" y="38"/>
                      <a:pt x="167" y="38"/>
                    </a:cubicBezTo>
                    <a:cubicBezTo>
                      <a:pt x="166" y="41"/>
                      <a:pt x="163" y="38"/>
                      <a:pt x="163" y="37"/>
                    </a:cubicBezTo>
                    <a:cubicBezTo>
                      <a:pt x="163" y="32"/>
                      <a:pt x="155" y="35"/>
                      <a:pt x="155" y="35"/>
                    </a:cubicBezTo>
                    <a:cubicBezTo>
                      <a:pt x="153" y="38"/>
                      <a:pt x="153" y="35"/>
                      <a:pt x="153" y="35"/>
                    </a:cubicBezTo>
                    <a:cubicBezTo>
                      <a:pt x="150" y="35"/>
                      <a:pt x="149" y="31"/>
                      <a:pt x="149" y="31"/>
                    </a:cubicBezTo>
                    <a:cubicBezTo>
                      <a:pt x="150" y="23"/>
                      <a:pt x="142" y="29"/>
                      <a:pt x="142" y="29"/>
                    </a:cubicBezTo>
                    <a:cubicBezTo>
                      <a:pt x="138" y="30"/>
                      <a:pt x="138" y="30"/>
                      <a:pt x="138" y="30"/>
                    </a:cubicBezTo>
                    <a:cubicBezTo>
                      <a:pt x="141" y="33"/>
                      <a:pt x="135" y="31"/>
                      <a:pt x="135" y="31"/>
                    </a:cubicBezTo>
                    <a:cubicBezTo>
                      <a:pt x="135" y="29"/>
                      <a:pt x="131" y="29"/>
                      <a:pt x="130" y="29"/>
                    </a:cubicBezTo>
                    <a:cubicBezTo>
                      <a:pt x="126" y="22"/>
                      <a:pt x="126" y="29"/>
                      <a:pt x="126" y="29"/>
                    </a:cubicBezTo>
                    <a:cubicBezTo>
                      <a:pt x="119" y="30"/>
                      <a:pt x="119" y="30"/>
                      <a:pt x="119" y="30"/>
                    </a:cubicBezTo>
                    <a:cubicBezTo>
                      <a:pt x="119" y="33"/>
                      <a:pt x="116" y="31"/>
                      <a:pt x="116" y="31"/>
                    </a:cubicBezTo>
                    <a:cubicBezTo>
                      <a:pt x="112" y="27"/>
                      <a:pt x="111" y="34"/>
                      <a:pt x="111" y="34"/>
                    </a:cubicBezTo>
                    <a:cubicBezTo>
                      <a:pt x="106" y="35"/>
                      <a:pt x="112" y="38"/>
                      <a:pt x="112" y="38"/>
                    </a:cubicBezTo>
                    <a:cubicBezTo>
                      <a:pt x="109" y="46"/>
                      <a:pt x="121" y="45"/>
                      <a:pt x="121" y="45"/>
                    </a:cubicBezTo>
                    <a:cubicBezTo>
                      <a:pt x="124" y="47"/>
                      <a:pt x="121" y="53"/>
                      <a:pt x="121" y="54"/>
                    </a:cubicBezTo>
                    <a:cubicBezTo>
                      <a:pt x="117" y="54"/>
                      <a:pt x="121" y="55"/>
                      <a:pt x="121" y="55"/>
                    </a:cubicBezTo>
                    <a:cubicBezTo>
                      <a:pt x="122" y="57"/>
                      <a:pt x="122" y="57"/>
                      <a:pt x="122" y="57"/>
                    </a:cubicBezTo>
                    <a:cubicBezTo>
                      <a:pt x="127" y="57"/>
                      <a:pt x="127" y="59"/>
                      <a:pt x="127" y="59"/>
                    </a:cubicBezTo>
                    <a:cubicBezTo>
                      <a:pt x="135" y="58"/>
                      <a:pt x="134" y="62"/>
                      <a:pt x="134" y="62"/>
                    </a:cubicBezTo>
                    <a:cubicBezTo>
                      <a:pt x="141" y="61"/>
                      <a:pt x="138" y="65"/>
                      <a:pt x="138" y="65"/>
                    </a:cubicBezTo>
                    <a:cubicBezTo>
                      <a:pt x="130" y="65"/>
                      <a:pt x="130" y="68"/>
                      <a:pt x="130" y="68"/>
                    </a:cubicBezTo>
                    <a:cubicBezTo>
                      <a:pt x="126" y="73"/>
                      <a:pt x="122" y="68"/>
                      <a:pt x="122" y="68"/>
                    </a:cubicBezTo>
                    <a:cubicBezTo>
                      <a:pt x="122" y="70"/>
                      <a:pt x="119" y="69"/>
                      <a:pt x="119" y="69"/>
                    </a:cubicBezTo>
                    <a:cubicBezTo>
                      <a:pt x="119" y="65"/>
                      <a:pt x="115" y="70"/>
                      <a:pt x="115" y="70"/>
                    </a:cubicBezTo>
                    <a:cubicBezTo>
                      <a:pt x="113" y="75"/>
                      <a:pt x="111" y="70"/>
                      <a:pt x="111" y="70"/>
                    </a:cubicBezTo>
                    <a:cubicBezTo>
                      <a:pt x="105" y="69"/>
                      <a:pt x="103" y="73"/>
                      <a:pt x="103" y="72"/>
                    </a:cubicBezTo>
                    <a:cubicBezTo>
                      <a:pt x="98" y="72"/>
                      <a:pt x="100" y="78"/>
                      <a:pt x="100" y="78"/>
                    </a:cubicBezTo>
                    <a:cubicBezTo>
                      <a:pt x="104" y="77"/>
                      <a:pt x="102" y="82"/>
                      <a:pt x="102" y="81"/>
                    </a:cubicBezTo>
                    <a:cubicBezTo>
                      <a:pt x="102" y="87"/>
                      <a:pt x="99" y="89"/>
                      <a:pt x="99" y="89"/>
                    </a:cubicBezTo>
                    <a:cubicBezTo>
                      <a:pt x="88" y="88"/>
                      <a:pt x="92" y="96"/>
                      <a:pt x="92" y="96"/>
                    </a:cubicBezTo>
                    <a:cubicBezTo>
                      <a:pt x="92" y="104"/>
                      <a:pt x="89" y="104"/>
                      <a:pt x="89" y="104"/>
                    </a:cubicBezTo>
                    <a:cubicBezTo>
                      <a:pt x="88" y="104"/>
                      <a:pt x="88" y="107"/>
                      <a:pt x="88" y="107"/>
                    </a:cubicBezTo>
                    <a:cubicBezTo>
                      <a:pt x="84" y="108"/>
                      <a:pt x="82" y="111"/>
                      <a:pt x="82" y="111"/>
                    </a:cubicBezTo>
                    <a:cubicBezTo>
                      <a:pt x="79" y="115"/>
                      <a:pt x="77" y="114"/>
                      <a:pt x="77" y="112"/>
                    </a:cubicBezTo>
                    <a:cubicBezTo>
                      <a:pt x="77" y="118"/>
                      <a:pt x="79" y="116"/>
                      <a:pt x="80" y="116"/>
                    </a:cubicBezTo>
                    <a:cubicBezTo>
                      <a:pt x="81" y="116"/>
                      <a:pt x="82" y="122"/>
                      <a:pt x="82" y="122"/>
                    </a:cubicBezTo>
                    <a:cubicBezTo>
                      <a:pt x="83" y="122"/>
                      <a:pt x="84" y="128"/>
                      <a:pt x="84" y="128"/>
                    </a:cubicBezTo>
                    <a:cubicBezTo>
                      <a:pt x="85" y="128"/>
                      <a:pt x="87" y="130"/>
                      <a:pt x="87" y="130"/>
                    </a:cubicBezTo>
                    <a:cubicBezTo>
                      <a:pt x="85" y="134"/>
                      <a:pt x="88" y="133"/>
                      <a:pt x="88" y="133"/>
                    </a:cubicBezTo>
                    <a:cubicBezTo>
                      <a:pt x="92" y="132"/>
                      <a:pt x="92" y="135"/>
                      <a:pt x="92" y="135"/>
                    </a:cubicBezTo>
                    <a:cubicBezTo>
                      <a:pt x="95" y="137"/>
                      <a:pt x="92" y="139"/>
                      <a:pt x="92" y="139"/>
                    </a:cubicBezTo>
                    <a:cubicBezTo>
                      <a:pt x="88" y="143"/>
                      <a:pt x="93" y="142"/>
                      <a:pt x="94" y="142"/>
                    </a:cubicBezTo>
                    <a:cubicBezTo>
                      <a:pt x="98" y="144"/>
                      <a:pt x="92" y="149"/>
                      <a:pt x="92" y="149"/>
                    </a:cubicBezTo>
                    <a:cubicBezTo>
                      <a:pt x="92" y="149"/>
                      <a:pt x="96" y="154"/>
                      <a:pt x="96" y="154"/>
                    </a:cubicBezTo>
                    <a:cubicBezTo>
                      <a:pt x="100" y="155"/>
                      <a:pt x="96" y="160"/>
                      <a:pt x="96" y="160"/>
                    </a:cubicBezTo>
                    <a:cubicBezTo>
                      <a:pt x="96" y="161"/>
                      <a:pt x="93" y="165"/>
                      <a:pt x="93" y="164"/>
                    </a:cubicBezTo>
                    <a:cubicBezTo>
                      <a:pt x="91" y="164"/>
                      <a:pt x="87" y="168"/>
                      <a:pt x="87" y="168"/>
                    </a:cubicBezTo>
                    <a:cubicBezTo>
                      <a:pt x="83" y="168"/>
                      <a:pt x="83" y="172"/>
                      <a:pt x="83" y="172"/>
                    </a:cubicBezTo>
                    <a:cubicBezTo>
                      <a:pt x="80" y="175"/>
                      <a:pt x="80" y="175"/>
                      <a:pt x="80" y="175"/>
                    </a:cubicBezTo>
                    <a:cubicBezTo>
                      <a:pt x="80" y="177"/>
                      <a:pt x="74" y="178"/>
                      <a:pt x="74" y="178"/>
                    </a:cubicBezTo>
                    <a:cubicBezTo>
                      <a:pt x="70" y="179"/>
                      <a:pt x="75" y="184"/>
                      <a:pt x="74" y="184"/>
                    </a:cubicBezTo>
                    <a:cubicBezTo>
                      <a:pt x="79" y="184"/>
                      <a:pt x="81" y="190"/>
                      <a:pt x="81" y="191"/>
                    </a:cubicBezTo>
                    <a:cubicBezTo>
                      <a:pt x="77" y="189"/>
                      <a:pt x="74" y="192"/>
                      <a:pt x="74" y="192"/>
                    </a:cubicBezTo>
                    <a:cubicBezTo>
                      <a:pt x="80" y="195"/>
                      <a:pt x="74" y="196"/>
                      <a:pt x="74" y="196"/>
                    </a:cubicBezTo>
                    <a:cubicBezTo>
                      <a:pt x="76" y="200"/>
                      <a:pt x="72" y="202"/>
                      <a:pt x="72" y="203"/>
                    </a:cubicBezTo>
                    <a:cubicBezTo>
                      <a:pt x="68" y="201"/>
                      <a:pt x="66" y="203"/>
                      <a:pt x="65" y="203"/>
                    </a:cubicBezTo>
                    <a:cubicBezTo>
                      <a:pt x="65" y="205"/>
                      <a:pt x="54" y="204"/>
                      <a:pt x="54" y="204"/>
                    </a:cubicBezTo>
                    <a:cubicBezTo>
                      <a:pt x="54" y="205"/>
                      <a:pt x="44" y="207"/>
                      <a:pt x="44" y="206"/>
                    </a:cubicBezTo>
                    <a:cubicBezTo>
                      <a:pt x="40" y="205"/>
                      <a:pt x="41" y="210"/>
                      <a:pt x="41" y="210"/>
                    </a:cubicBezTo>
                    <a:cubicBezTo>
                      <a:pt x="42" y="212"/>
                      <a:pt x="35" y="211"/>
                      <a:pt x="35" y="211"/>
                    </a:cubicBezTo>
                    <a:cubicBezTo>
                      <a:pt x="35" y="215"/>
                      <a:pt x="33" y="212"/>
                      <a:pt x="33" y="212"/>
                    </a:cubicBezTo>
                    <a:cubicBezTo>
                      <a:pt x="31" y="212"/>
                      <a:pt x="30" y="210"/>
                      <a:pt x="30" y="210"/>
                    </a:cubicBezTo>
                    <a:cubicBezTo>
                      <a:pt x="27" y="207"/>
                      <a:pt x="23" y="210"/>
                      <a:pt x="23" y="210"/>
                    </a:cubicBezTo>
                    <a:cubicBezTo>
                      <a:pt x="23" y="213"/>
                      <a:pt x="21" y="210"/>
                      <a:pt x="21" y="210"/>
                    </a:cubicBezTo>
                    <a:cubicBezTo>
                      <a:pt x="19" y="207"/>
                      <a:pt x="19" y="207"/>
                      <a:pt x="19" y="207"/>
                    </a:cubicBezTo>
                    <a:cubicBezTo>
                      <a:pt x="17" y="205"/>
                      <a:pt x="14" y="207"/>
                      <a:pt x="14" y="207"/>
                    </a:cubicBezTo>
                    <a:cubicBezTo>
                      <a:pt x="12" y="209"/>
                      <a:pt x="8" y="208"/>
                      <a:pt x="8" y="208"/>
                    </a:cubicBezTo>
                    <a:cubicBezTo>
                      <a:pt x="5" y="208"/>
                      <a:pt x="4" y="213"/>
                      <a:pt x="4" y="213"/>
                    </a:cubicBezTo>
                    <a:cubicBezTo>
                      <a:pt x="0" y="212"/>
                      <a:pt x="0" y="216"/>
                      <a:pt x="0" y="216"/>
                    </a:cubicBezTo>
                    <a:cubicBezTo>
                      <a:pt x="1" y="216"/>
                      <a:pt x="1" y="216"/>
                      <a:pt x="1" y="216"/>
                    </a:cubicBezTo>
                    <a:cubicBezTo>
                      <a:pt x="1" y="216"/>
                      <a:pt x="1" y="216"/>
                      <a:pt x="1" y="216"/>
                    </a:cubicBezTo>
                    <a:cubicBezTo>
                      <a:pt x="1" y="216"/>
                      <a:pt x="1" y="215"/>
                      <a:pt x="2" y="215"/>
                    </a:cubicBezTo>
                    <a:cubicBezTo>
                      <a:pt x="2" y="215"/>
                      <a:pt x="2" y="215"/>
                      <a:pt x="3" y="215"/>
                    </a:cubicBezTo>
                    <a:cubicBezTo>
                      <a:pt x="4" y="215"/>
                      <a:pt x="4" y="215"/>
                      <a:pt x="5" y="215"/>
                    </a:cubicBezTo>
                    <a:cubicBezTo>
                      <a:pt x="5" y="215"/>
                      <a:pt x="6" y="215"/>
                      <a:pt x="6" y="215"/>
                    </a:cubicBezTo>
                    <a:cubicBezTo>
                      <a:pt x="7" y="215"/>
                      <a:pt x="7" y="216"/>
                      <a:pt x="7" y="216"/>
                    </a:cubicBezTo>
                    <a:cubicBezTo>
                      <a:pt x="8" y="216"/>
                      <a:pt x="8" y="216"/>
                      <a:pt x="9" y="216"/>
                    </a:cubicBezTo>
                    <a:cubicBezTo>
                      <a:pt x="10" y="216"/>
                      <a:pt x="10" y="216"/>
                      <a:pt x="11" y="216"/>
                    </a:cubicBezTo>
                    <a:cubicBezTo>
                      <a:pt x="12" y="217"/>
                      <a:pt x="12" y="217"/>
                      <a:pt x="13" y="217"/>
                    </a:cubicBezTo>
                    <a:cubicBezTo>
                      <a:pt x="13" y="217"/>
                      <a:pt x="13" y="217"/>
                      <a:pt x="14" y="218"/>
                    </a:cubicBezTo>
                    <a:cubicBezTo>
                      <a:pt x="14" y="218"/>
                      <a:pt x="14" y="218"/>
                      <a:pt x="15" y="219"/>
                    </a:cubicBezTo>
                    <a:cubicBezTo>
                      <a:pt x="15" y="220"/>
                      <a:pt x="15" y="220"/>
                      <a:pt x="15" y="221"/>
                    </a:cubicBezTo>
                    <a:cubicBezTo>
                      <a:pt x="15" y="222"/>
                      <a:pt x="15" y="222"/>
                      <a:pt x="14" y="222"/>
                    </a:cubicBezTo>
                    <a:cubicBezTo>
                      <a:pt x="14" y="223"/>
                      <a:pt x="13" y="222"/>
                      <a:pt x="13" y="223"/>
                    </a:cubicBezTo>
                    <a:cubicBezTo>
                      <a:pt x="13" y="225"/>
                      <a:pt x="13" y="225"/>
                      <a:pt x="13" y="225"/>
                    </a:cubicBezTo>
                    <a:cubicBezTo>
                      <a:pt x="13" y="226"/>
                      <a:pt x="13" y="226"/>
                      <a:pt x="14" y="226"/>
                    </a:cubicBezTo>
                    <a:cubicBezTo>
                      <a:pt x="15" y="227"/>
                      <a:pt x="14" y="227"/>
                      <a:pt x="15" y="227"/>
                    </a:cubicBezTo>
                    <a:cubicBezTo>
                      <a:pt x="15" y="227"/>
                      <a:pt x="15" y="227"/>
                      <a:pt x="15" y="227"/>
                    </a:cubicBezTo>
                    <a:cubicBezTo>
                      <a:pt x="15" y="227"/>
                      <a:pt x="16" y="227"/>
                      <a:pt x="17" y="227"/>
                    </a:cubicBezTo>
                    <a:cubicBezTo>
                      <a:pt x="19" y="228"/>
                      <a:pt x="19" y="228"/>
                      <a:pt x="19" y="228"/>
                    </a:cubicBezTo>
                    <a:cubicBezTo>
                      <a:pt x="19" y="229"/>
                      <a:pt x="19" y="229"/>
                      <a:pt x="20" y="229"/>
                    </a:cubicBezTo>
                    <a:cubicBezTo>
                      <a:pt x="20" y="230"/>
                      <a:pt x="20" y="230"/>
                      <a:pt x="20" y="230"/>
                    </a:cubicBezTo>
                    <a:cubicBezTo>
                      <a:pt x="21" y="230"/>
                      <a:pt x="21" y="230"/>
                      <a:pt x="22" y="230"/>
                    </a:cubicBezTo>
                    <a:cubicBezTo>
                      <a:pt x="22" y="231"/>
                      <a:pt x="21" y="230"/>
                      <a:pt x="23" y="231"/>
                    </a:cubicBezTo>
                    <a:cubicBezTo>
                      <a:pt x="25" y="232"/>
                      <a:pt x="25" y="232"/>
                      <a:pt x="26" y="232"/>
                    </a:cubicBezTo>
                    <a:cubicBezTo>
                      <a:pt x="27" y="232"/>
                      <a:pt x="26" y="232"/>
                      <a:pt x="27" y="232"/>
                    </a:cubicBezTo>
                    <a:cubicBezTo>
                      <a:pt x="28" y="232"/>
                      <a:pt x="28" y="233"/>
                      <a:pt x="29" y="232"/>
                    </a:cubicBezTo>
                    <a:cubicBezTo>
                      <a:pt x="29" y="232"/>
                      <a:pt x="29" y="232"/>
                      <a:pt x="29" y="231"/>
                    </a:cubicBezTo>
                    <a:cubicBezTo>
                      <a:pt x="31" y="229"/>
                      <a:pt x="30" y="229"/>
                      <a:pt x="31" y="229"/>
                    </a:cubicBezTo>
                    <a:cubicBezTo>
                      <a:pt x="31" y="228"/>
                      <a:pt x="31" y="228"/>
                      <a:pt x="31" y="228"/>
                    </a:cubicBezTo>
                    <a:cubicBezTo>
                      <a:pt x="31" y="228"/>
                      <a:pt x="31" y="228"/>
                      <a:pt x="31" y="228"/>
                    </a:cubicBezTo>
                    <a:cubicBezTo>
                      <a:pt x="31" y="228"/>
                      <a:pt x="35" y="228"/>
                      <a:pt x="35" y="228"/>
                    </a:cubicBezTo>
                    <a:cubicBezTo>
                      <a:pt x="35" y="228"/>
                      <a:pt x="37" y="229"/>
                      <a:pt x="37" y="229"/>
                    </a:cubicBezTo>
                    <a:cubicBezTo>
                      <a:pt x="37" y="229"/>
                      <a:pt x="38" y="230"/>
                      <a:pt x="38" y="230"/>
                    </a:cubicBezTo>
                    <a:cubicBezTo>
                      <a:pt x="40" y="230"/>
                      <a:pt x="40" y="230"/>
                      <a:pt x="40" y="230"/>
                    </a:cubicBezTo>
                    <a:cubicBezTo>
                      <a:pt x="41" y="230"/>
                      <a:pt x="41" y="230"/>
                      <a:pt x="41" y="230"/>
                    </a:cubicBezTo>
                    <a:cubicBezTo>
                      <a:pt x="42" y="230"/>
                      <a:pt x="42" y="230"/>
                      <a:pt x="42" y="230"/>
                    </a:cubicBezTo>
                    <a:cubicBezTo>
                      <a:pt x="42" y="230"/>
                      <a:pt x="43" y="231"/>
                      <a:pt x="43" y="231"/>
                    </a:cubicBezTo>
                    <a:cubicBezTo>
                      <a:pt x="44" y="231"/>
                      <a:pt x="45" y="232"/>
                      <a:pt x="45" y="232"/>
                    </a:cubicBezTo>
                    <a:cubicBezTo>
                      <a:pt x="45" y="232"/>
                      <a:pt x="46" y="232"/>
                      <a:pt x="47" y="231"/>
                    </a:cubicBezTo>
                    <a:cubicBezTo>
                      <a:pt x="48" y="231"/>
                      <a:pt x="50" y="230"/>
                      <a:pt x="50" y="230"/>
                    </a:cubicBezTo>
                    <a:cubicBezTo>
                      <a:pt x="53" y="230"/>
                      <a:pt x="53" y="230"/>
                      <a:pt x="53" y="230"/>
                    </a:cubicBezTo>
                    <a:cubicBezTo>
                      <a:pt x="53" y="230"/>
                      <a:pt x="55" y="228"/>
                      <a:pt x="55" y="228"/>
                    </a:cubicBezTo>
                    <a:cubicBezTo>
                      <a:pt x="56" y="228"/>
                      <a:pt x="61" y="227"/>
                      <a:pt x="61" y="226"/>
                    </a:cubicBezTo>
                    <a:cubicBezTo>
                      <a:pt x="61" y="226"/>
                      <a:pt x="63" y="225"/>
                      <a:pt x="63" y="225"/>
                    </a:cubicBezTo>
                    <a:cubicBezTo>
                      <a:pt x="64" y="225"/>
                      <a:pt x="66" y="224"/>
                      <a:pt x="66" y="224"/>
                    </a:cubicBezTo>
                    <a:cubicBezTo>
                      <a:pt x="69" y="224"/>
                      <a:pt x="69" y="224"/>
                      <a:pt x="69" y="224"/>
                    </a:cubicBezTo>
                    <a:cubicBezTo>
                      <a:pt x="69" y="224"/>
                      <a:pt x="72" y="225"/>
                      <a:pt x="73" y="225"/>
                    </a:cubicBezTo>
                    <a:cubicBezTo>
                      <a:pt x="74" y="225"/>
                      <a:pt x="75" y="225"/>
                      <a:pt x="75" y="225"/>
                    </a:cubicBezTo>
                    <a:cubicBezTo>
                      <a:pt x="76" y="225"/>
                      <a:pt x="79" y="225"/>
                      <a:pt x="79" y="226"/>
                    </a:cubicBezTo>
                    <a:cubicBezTo>
                      <a:pt x="80" y="226"/>
                      <a:pt x="80" y="227"/>
                      <a:pt x="80" y="227"/>
                    </a:cubicBezTo>
                    <a:cubicBezTo>
                      <a:pt x="79" y="228"/>
                      <a:pt x="79" y="228"/>
                      <a:pt x="79" y="228"/>
                    </a:cubicBezTo>
                    <a:cubicBezTo>
                      <a:pt x="79" y="228"/>
                      <a:pt x="78" y="228"/>
                      <a:pt x="78" y="228"/>
                    </a:cubicBezTo>
                    <a:cubicBezTo>
                      <a:pt x="77" y="229"/>
                      <a:pt x="77" y="229"/>
                      <a:pt x="77" y="229"/>
                    </a:cubicBezTo>
                    <a:cubicBezTo>
                      <a:pt x="78" y="231"/>
                      <a:pt x="78" y="231"/>
                      <a:pt x="78" y="231"/>
                    </a:cubicBezTo>
                    <a:cubicBezTo>
                      <a:pt x="78" y="231"/>
                      <a:pt x="79" y="231"/>
                      <a:pt x="78" y="231"/>
                    </a:cubicBezTo>
                    <a:cubicBezTo>
                      <a:pt x="78" y="231"/>
                      <a:pt x="76" y="233"/>
                      <a:pt x="76" y="233"/>
                    </a:cubicBezTo>
                    <a:cubicBezTo>
                      <a:pt x="76" y="233"/>
                      <a:pt x="75" y="233"/>
                      <a:pt x="75" y="233"/>
                    </a:cubicBezTo>
                    <a:cubicBezTo>
                      <a:pt x="78" y="233"/>
                      <a:pt x="80" y="233"/>
                      <a:pt x="80" y="233"/>
                    </a:cubicBezTo>
                    <a:cubicBezTo>
                      <a:pt x="83" y="236"/>
                      <a:pt x="84" y="233"/>
                      <a:pt x="84" y="233"/>
                    </a:cubicBezTo>
                    <a:cubicBezTo>
                      <a:pt x="89" y="231"/>
                      <a:pt x="92" y="234"/>
                      <a:pt x="92" y="234"/>
                    </a:cubicBezTo>
                    <a:cubicBezTo>
                      <a:pt x="92" y="236"/>
                      <a:pt x="89" y="240"/>
                      <a:pt x="89" y="240"/>
                    </a:cubicBezTo>
                    <a:cubicBezTo>
                      <a:pt x="86" y="240"/>
                      <a:pt x="87" y="246"/>
                      <a:pt x="86" y="246"/>
                    </a:cubicBezTo>
                    <a:cubicBezTo>
                      <a:pt x="82" y="246"/>
                      <a:pt x="85" y="260"/>
                      <a:pt x="85" y="259"/>
                    </a:cubicBezTo>
                    <a:cubicBezTo>
                      <a:pt x="85" y="264"/>
                      <a:pt x="92" y="260"/>
                      <a:pt x="92" y="260"/>
                    </a:cubicBezTo>
                    <a:cubicBezTo>
                      <a:pt x="94" y="257"/>
                      <a:pt x="97" y="260"/>
                      <a:pt x="98" y="260"/>
                    </a:cubicBezTo>
                    <a:cubicBezTo>
                      <a:pt x="99" y="260"/>
                      <a:pt x="103" y="265"/>
                      <a:pt x="103" y="265"/>
                    </a:cubicBezTo>
                    <a:cubicBezTo>
                      <a:pt x="105" y="265"/>
                      <a:pt x="107" y="268"/>
                      <a:pt x="107" y="268"/>
                    </a:cubicBezTo>
                    <a:cubicBezTo>
                      <a:pt x="106" y="268"/>
                      <a:pt x="106" y="268"/>
                      <a:pt x="106" y="268"/>
                    </a:cubicBezTo>
                    <a:cubicBezTo>
                      <a:pt x="107" y="268"/>
                      <a:pt x="109" y="270"/>
                      <a:pt x="109" y="270"/>
                    </a:cubicBezTo>
                    <a:cubicBezTo>
                      <a:pt x="110" y="270"/>
                      <a:pt x="112" y="272"/>
                      <a:pt x="112" y="272"/>
                    </a:cubicBezTo>
                    <a:cubicBezTo>
                      <a:pt x="112" y="272"/>
                      <a:pt x="117" y="276"/>
                      <a:pt x="117" y="276"/>
                    </a:cubicBezTo>
                    <a:cubicBezTo>
                      <a:pt x="119" y="277"/>
                      <a:pt x="122" y="282"/>
                      <a:pt x="122" y="282"/>
                    </a:cubicBezTo>
                    <a:cubicBezTo>
                      <a:pt x="123" y="281"/>
                      <a:pt x="127" y="286"/>
                      <a:pt x="126" y="286"/>
                    </a:cubicBezTo>
                    <a:cubicBezTo>
                      <a:pt x="127" y="286"/>
                      <a:pt x="130" y="291"/>
                      <a:pt x="131" y="291"/>
                    </a:cubicBezTo>
                    <a:cubicBezTo>
                      <a:pt x="131" y="295"/>
                      <a:pt x="135" y="298"/>
                      <a:pt x="135" y="298"/>
                    </a:cubicBezTo>
                    <a:cubicBezTo>
                      <a:pt x="141" y="301"/>
                      <a:pt x="149" y="298"/>
                      <a:pt x="149" y="298"/>
                    </a:cubicBezTo>
                    <a:cubicBezTo>
                      <a:pt x="151" y="297"/>
                      <a:pt x="155" y="297"/>
                      <a:pt x="155" y="297"/>
                    </a:cubicBezTo>
                    <a:cubicBezTo>
                      <a:pt x="158" y="297"/>
                      <a:pt x="164" y="295"/>
                      <a:pt x="164" y="295"/>
                    </a:cubicBezTo>
                    <a:cubicBezTo>
                      <a:pt x="165" y="295"/>
                      <a:pt x="180" y="297"/>
                      <a:pt x="180" y="297"/>
                    </a:cubicBezTo>
                    <a:cubicBezTo>
                      <a:pt x="180" y="297"/>
                      <a:pt x="188" y="299"/>
                      <a:pt x="188" y="299"/>
                    </a:cubicBezTo>
                    <a:cubicBezTo>
                      <a:pt x="195" y="299"/>
                      <a:pt x="196" y="302"/>
                      <a:pt x="196" y="302"/>
                    </a:cubicBezTo>
                    <a:cubicBezTo>
                      <a:pt x="203" y="301"/>
                      <a:pt x="199" y="306"/>
                      <a:pt x="199" y="305"/>
                    </a:cubicBezTo>
                    <a:cubicBezTo>
                      <a:pt x="197" y="308"/>
                      <a:pt x="199" y="314"/>
                      <a:pt x="199" y="314"/>
                    </a:cubicBezTo>
                    <a:cubicBezTo>
                      <a:pt x="200" y="315"/>
                      <a:pt x="199" y="317"/>
                      <a:pt x="199" y="317"/>
                    </a:cubicBezTo>
                    <a:cubicBezTo>
                      <a:pt x="195" y="321"/>
                      <a:pt x="199" y="329"/>
                      <a:pt x="199" y="329"/>
                    </a:cubicBezTo>
                    <a:cubicBezTo>
                      <a:pt x="202" y="337"/>
                      <a:pt x="199" y="345"/>
                      <a:pt x="199" y="345"/>
                    </a:cubicBezTo>
                    <a:cubicBezTo>
                      <a:pt x="197" y="347"/>
                      <a:pt x="197" y="350"/>
                      <a:pt x="197" y="350"/>
                    </a:cubicBezTo>
                    <a:cubicBezTo>
                      <a:pt x="196" y="350"/>
                      <a:pt x="194" y="354"/>
                      <a:pt x="194" y="353"/>
                    </a:cubicBezTo>
                    <a:cubicBezTo>
                      <a:pt x="194" y="354"/>
                      <a:pt x="192" y="357"/>
                      <a:pt x="192" y="357"/>
                    </a:cubicBezTo>
                    <a:cubicBezTo>
                      <a:pt x="191" y="357"/>
                      <a:pt x="189" y="359"/>
                      <a:pt x="188" y="359"/>
                    </a:cubicBezTo>
                    <a:cubicBezTo>
                      <a:pt x="187" y="359"/>
                      <a:pt x="180" y="362"/>
                      <a:pt x="180" y="362"/>
                    </a:cubicBezTo>
                    <a:cubicBezTo>
                      <a:pt x="179" y="362"/>
                      <a:pt x="176" y="364"/>
                      <a:pt x="176" y="364"/>
                    </a:cubicBezTo>
                    <a:cubicBezTo>
                      <a:pt x="172" y="367"/>
                      <a:pt x="179" y="373"/>
                      <a:pt x="179" y="373"/>
                    </a:cubicBezTo>
                    <a:cubicBezTo>
                      <a:pt x="181" y="371"/>
                      <a:pt x="186" y="375"/>
                      <a:pt x="186" y="374"/>
                    </a:cubicBezTo>
                    <a:cubicBezTo>
                      <a:pt x="189" y="381"/>
                      <a:pt x="191" y="375"/>
                      <a:pt x="191" y="374"/>
                    </a:cubicBezTo>
                    <a:cubicBezTo>
                      <a:pt x="194" y="380"/>
                      <a:pt x="197" y="374"/>
                      <a:pt x="197" y="374"/>
                    </a:cubicBezTo>
                    <a:cubicBezTo>
                      <a:pt x="199" y="374"/>
                      <a:pt x="202" y="371"/>
                      <a:pt x="202" y="371"/>
                    </a:cubicBezTo>
                    <a:cubicBezTo>
                      <a:pt x="207" y="368"/>
                      <a:pt x="210" y="372"/>
                      <a:pt x="210" y="371"/>
                    </a:cubicBezTo>
                    <a:cubicBezTo>
                      <a:pt x="210" y="373"/>
                      <a:pt x="218" y="374"/>
                      <a:pt x="218" y="374"/>
                    </a:cubicBezTo>
                    <a:cubicBezTo>
                      <a:pt x="219" y="374"/>
                      <a:pt x="221" y="379"/>
                      <a:pt x="221" y="379"/>
                    </a:cubicBezTo>
                    <a:cubicBezTo>
                      <a:pt x="222" y="379"/>
                      <a:pt x="223" y="381"/>
                      <a:pt x="223" y="381"/>
                    </a:cubicBezTo>
                    <a:cubicBezTo>
                      <a:pt x="224" y="381"/>
                      <a:pt x="226" y="386"/>
                      <a:pt x="226" y="386"/>
                    </a:cubicBezTo>
                    <a:cubicBezTo>
                      <a:pt x="226" y="386"/>
                      <a:pt x="227" y="395"/>
                      <a:pt x="227" y="394"/>
                    </a:cubicBezTo>
                    <a:cubicBezTo>
                      <a:pt x="230" y="398"/>
                      <a:pt x="228" y="403"/>
                      <a:pt x="228" y="402"/>
                    </a:cubicBezTo>
                    <a:cubicBezTo>
                      <a:pt x="226" y="404"/>
                      <a:pt x="227" y="415"/>
                      <a:pt x="227" y="415"/>
                    </a:cubicBezTo>
                    <a:cubicBezTo>
                      <a:pt x="229" y="415"/>
                      <a:pt x="227" y="417"/>
                      <a:pt x="227" y="417"/>
                    </a:cubicBezTo>
                    <a:cubicBezTo>
                      <a:pt x="227" y="417"/>
                      <a:pt x="227" y="423"/>
                      <a:pt x="227" y="423"/>
                    </a:cubicBezTo>
                    <a:cubicBezTo>
                      <a:pt x="227" y="429"/>
                      <a:pt x="224" y="429"/>
                      <a:pt x="224" y="429"/>
                    </a:cubicBezTo>
                    <a:cubicBezTo>
                      <a:pt x="222" y="430"/>
                      <a:pt x="222" y="436"/>
                      <a:pt x="222" y="436"/>
                    </a:cubicBezTo>
                    <a:cubicBezTo>
                      <a:pt x="222" y="440"/>
                      <a:pt x="225" y="442"/>
                      <a:pt x="225" y="442"/>
                    </a:cubicBezTo>
                    <a:cubicBezTo>
                      <a:pt x="223" y="443"/>
                      <a:pt x="226" y="444"/>
                      <a:pt x="227" y="444"/>
                    </a:cubicBezTo>
                    <a:cubicBezTo>
                      <a:pt x="231" y="443"/>
                      <a:pt x="229" y="450"/>
                      <a:pt x="229" y="450"/>
                    </a:cubicBezTo>
                    <a:cubicBezTo>
                      <a:pt x="232" y="451"/>
                      <a:pt x="229" y="453"/>
                      <a:pt x="229" y="452"/>
                    </a:cubicBezTo>
                    <a:cubicBezTo>
                      <a:pt x="229" y="454"/>
                      <a:pt x="229" y="459"/>
                      <a:pt x="228" y="460"/>
                    </a:cubicBezTo>
                    <a:cubicBezTo>
                      <a:pt x="230" y="461"/>
                      <a:pt x="232" y="463"/>
                      <a:pt x="233" y="468"/>
                    </a:cubicBezTo>
                    <a:cubicBezTo>
                      <a:pt x="233" y="467"/>
                      <a:pt x="235" y="469"/>
                      <a:pt x="235" y="469"/>
                    </a:cubicBezTo>
                    <a:cubicBezTo>
                      <a:pt x="235" y="469"/>
                      <a:pt x="237" y="470"/>
                      <a:pt x="240" y="467"/>
                    </a:cubicBezTo>
                    <a:cubicBezTo>
                      <a:pt x="239" y="467"/>
                      <a:pt x="243" y="465"/>
                      <a:pt x="245" y="467"/>
                    </a:cubicBezTo>
                    <a:cubicBezTo>
                      <a:pt x="245" y="467"/>
                      <a:pt x="249" y="467"/>
                      <a:pt x="250" y="466"/>
                    </a:cubicBezTo>
                    <a:cubicBezTo>
                      <a:pt x="250" y="466"/>
                      <a:pt x="255" y="467"/>
                      <a:pt x="256" y="468"/>
                    </a:cubicBezTo>
                    <a:cubicBezTo>
                      <a:pt x="256" y="468"/>
                      <a:pt x="261" y="468"/>
                      <a:pt x="262" y="470"/>
                    </a:cubicBezTo>
                    <a:cubicBezTo>
                      <a:pt x="262" y="470"/>
                      <a:pt x="264" y="474"/>
                      <a:pt x="269" y="471"/>
                    </a:cubicBezTo>
                    <a:cubicBezTo>
                      <a:pt x="268" y="471"/>
                      <a:pt x="274" y="469"/>
                      <a:pt x="276" y="471"/>
                    </a:cubicBezTo>
                    <a:cubicBezTo>
                      <a:pt x="276" y="471"/>
                      <a:pt x="283" y="472"/>
                      <a:pt x="287" y="475"/>
                    </a:cubicBezTo>
                    <a:cubicBezTo>
                      <a:pt x="287" y="475"/>
                      <a:pt x="297" y="474"/>
                      <a:pt x="304" y="477"/>
                    </a:cubicBezTo>
                    <a:cubicBezTo>
                      <a:pt x="304" y="477"/>
                      <a:pt x="311" y="477"/>
                      <a:pt x="313" y="480"/>
                    </a:cubicBezTo>
                    <a:cubicBezTo>
                      <a:pt x="313" y="480"/>
                      <a:pt x="317" y="481"/>
                      <a:pt x="319" y="482"/>
                    </a:cubicBezTo>
                    <a:cubicBezTo>
                      <a:pt x="319" y="482"/>
                      <a:pt x="324" y="486"/>
                      <a:pt x="325" y="487"/>
                    </a:cubicBezTo>
                    <a:cubicBezTo>
                      <a:pt x="325" y="487"/>
                      <a:pt x="328" y="490"/>
                      <a:pt x="328" y="490"/>
                    </a:cubicBezTo>
                    <a:cubicBezTo>
                      <a:pt x="328" y="490"/>
                      <a:pt x="330" y="493"/>
                      <a:pt x="333" y="490"/>
                    </a:cubicBezTo>
                    <a:cubicBezTo>
                      <a:pt x="333" y="490"/>
                      <a:pt x="334" y="485"/>
                      <a:pt x="337" y="486"/>
                    </a:cubicBezTo>
                    <a:cubicBezTo>
                      <a:pt x="337" y="486"/>
                      <a:pt x="340" y="484"/>
                      <a:pt x="340" y="480"/>
                    </a:cubicBezTo>
                    <a:cubicBezTo>
                      <a:pt x="340" y="481"/>
                      <a:pt x="340" y="470"/>
                      <a:pt x="344" y="470"/>
                    </a:cubicBezTo>
                    <a:cubicBezTo>
                      <a:pt x="344" y="470"/>
                      <a:pt x="346" y="467"/>
                      <a:pt x="348" y="466"/>
                    </a:cubicBezTo>
                    <a:cubicBezTo>
                      <a:pt x="348" y="466"/>
                      <a:pt x="352" y="463"/>
                      <a:pt x="348" y="461"/>
                    </a:cubicBezTo>
                    <a:cubicBezTo>
                      <a:pt x="348" y="461"/>
                      <a:pt x="343" y="457"/>
                      <a:pt x="348" y="453"/>
                    </a:cubicBezTo>
                    <a:cubicBezTo>
                      <a:pt x="348" y="453"/>
                      <a:pt x="349" y="447"/>
                      <a:pt x="350" y="447"/>
                    </a:cubicBezTo>
                    <a:cubicBezTo>
                      <a:pt x="350" y="447"/>
                      <a:pt x="355" y="443"/>
                      <a:pt x="355" y="442"/>
                    </a:cubicBezTo>
                    <a:cubicBezTo>
                      <a:pt x="355" y="442"/>
                      <a:pt x="355" y="436"/>
                      <a:pt x="359" y="432"/>
                    </a:cubicBezTo>
                    <a:cubicBezTo>
                      <a:pt x="359" y="433"/>
                      <a:pt x="366" y="434"/>
                      <a:pt x="364" y="421"/>
                    </a:cubicBezTo>
                    <a:cubicBezTo>
                      <a:pt x="365" y="421"/>
                      <a:pt x="368" y="418"/>
                      <a:pt x="371" y="418"/>
                    </a:cubicBezTo>
                    <a:cubicBezTo>
                      <a:pt x="371" y="418"/>
                      <a:pt x="384" y="420"/>
                      <a:pt x="377" y="413"/>
                    </a:cubicBezTo>
                    <a:cubicBezTo>
                      <a:pt x="375" y="411"/>
                      <a:pt x="375" y="411"/>
                      <a:pt x="375" y="411"/>
                    </a:cubicBezTo>
                    <a:cubicBezTo>
                      <a:pt x="375" y="411"/>
                      <a:pt x="375" y="405"/>
                      <a:pt x="372" y="405"/>
                    </a:cubicBezTo>
                    <a:cubicBezTo>
                      <a:pt x="370" y="404"/>
                      <a:pt x="370" y="404"/>
                      <a:pt x="370" y="404"/>
                    </a:cubicBezTo>
                    <a:cubicBezTo>
                      <a:pt x="370" y="404"/>
                      <a:pt x="371" y="397"/>
                      <a:pt x="367" y="399"/>
                    </a:cubicBezTo>
                    <a:cubicBezTo>
                      <a:pt x="366" y="398"/>
                      <a:pt x="366" y="398"/>
                      <a:pt x="366" y="398"/>
                    </a:cubicBezTo>
                    <a:cubicBezTo>
                      <a:pt x="366" y="398"/>
                      <a:pt x="366" y="388"/>
                      <a:pt x="362" y="389"/>
                    </a:cubicBezTo>
                    <a:cubicBezTo>
                      <a:pt x="362" y="389"/>
                      <a:pt x="360" y="388"/>
                      <a:pt x="360" y="387"/>
                    </a:cubicBezTo>
                    <a:cubicBezTo>
                      <a:pt x="360" y="387"/>
                      <a:pt x="362" y="379"/>
                      <a:pt x="357" y="380"/>
                    </a:cubicBezTo>
                    <a:cubicBezTo>
                      <a:pt x="355" y="378"/>
                      <a:pt x="355" y="378"/>
                      <a:pt x="355" y="378"/>
                    </a:cubicBezTo>
                    <a:cubicBezTo>
                      <a:pt x="355" y="378"/>
                      <a:pt x="355" y="372"/>
                      <a:pt x="352" y="372"/>
                    </a:cubicBezTo>
                    <a:cubicBezTo>
                      <a:pt x="352" y="371"/>
                      <a:pt x="352" y="371"/>
                      <a:pt x="352" y="371"/>
                    </a:cubicBezTo>
                    <a:cubicBezTo>
                      <a:pt x="350" y="367"/>
                      <a:pt x="350" y="367"/>
                      <a:pt x="350" y="367"/>
                    </a:cubicBezTo>
                    <a:cubicBezTo>
                      <a:pt x="350" y="367"/>
                      <a:pt x="348" y="363"/>
                      <a:pt x="348" y="363"/>
                    </a:cubicBezTo>
                    <a:cubicBezTo>
                      <a:pt x="348" y="363"/>
                      <a:pt x="346" y="362"/>
                      <a:pt x="346" y="359"/>
                    </a:cubicBezTo>
                    <a:cubicBezTo>
                      <a:pt x="346" y="359"/>
                      <a:pt x="345" y="356"/>
                      <a:pt x="343" y="356"/>
                    </a:cubicBezTo>
                    <a:cubicBezTo>
                      <a:pt x="344" y="356"/>
                      <a:pt x="340" y="350"/>
                      <a:pt x="344" y="349"/>
                    </a:cubicBezTo>
                    <a:cubicBezTo>
                      <a:pt x="344" y="349"/>
                      <a:pt x="352" y="345"/>
                      <a:pt x="352" y="346"/>
                    </a:cubicBezTo>
                    <a:cubicBezTo>
                      <a:pt x="352" y="345"/>
                      <a:pt x="357" y="341"/>
                      <a:pt x="357" y="341"/>
                    </a:cubicBezTo>
                    <a:cubicBezTo>
                      <a:pt x="365" y="337"/>
                      <a:pt x="365" y="337"/>
                      <a:pt x="365" y="337"/>
                    </a:cubicBezTo>
                    <a:cubicBezTo>
                      <a:pt x="365" y="337"/>
                      <a:pt x="367" y="335"/>
                      <a:pt x="367" y="329"/>
                    </a:cubicBezTo>
                    <a:cubicBezTo>
                      <a:pt x="366" y="324"/>
                      <a:pt x="368" y="321"/>
                      <a:pt x="366" y="311"/>
                    </a:cubicBezTo>
                    <a:cubicBezTo>
                      <a:pt x="366" y="311"/>
                      <a:pt x="365" y="306"/>
                      <a:pt x="363" y="302"/>
                    </a:cubicBezTo>
                    <a:cubicBezTo>
                      <a:pt x="363" y="302"/>
                      <a:pt x="363" y="294"/>
                      <a:pt x="362" y="292"/>
                    </a:cubicBezTo>
                    <a:cubicBezTo>
                      <a:pt x="362" y="292"/>
                      <a:pt x="361" y="290"/>
                      <a:pt x="359" y="287"/>
                    </a:cubicBezTo>
                    <a:cubicBezTo>
                      <a:pt x="359" y="287"/>
                      <a:pt x="358" y="284"/>
                      <a:pt x="356" y="282"/>
                    </a:cubicBezTo>
                    <a:cubicBezTo>
                      <a:pt x="356" y="282"/>
                      <a:pt x="355" y="279"/>
                      <a:pt x="354" y="277"/>
                    </a:cubicBezTo>
                    <a:cubicBezTo>
                      <a:pt x="353" y="275"/>
                      <a:pt x="353" y="273"/>
                      <a:pt x="352" y="272"/>
                    </a:cubicBezTo>
                    <a:cubicBezTo>
                      <a:pt x="352" y="272"/>
                      <a:pt x="349" y="271"/>
                      <a:pt x="350" y="266"/>
                    </a:cubicBezTo>
                    <a:cubicBezTo>
                      <a:pt x="351" y="266"/>
                      <a:pt x="348" y="257"/>
                      <a:pt x="353" y="254"/>
                    </a:cubicBezTo>
                    <a:cubicBezTo>
                      <a:pt x="353" y="254"/>
                      <a:pt x="353" y="246"/>
                      <a:pt x="355" y="246"/>
                    </a:cubicBezTo>
                    <a:cubicBezTo>
                      <a:pt x="355" y="246"/>
                      <a:pt x="355" y="241"/>
                      <a:pt x="359" y="241"/>
                    </a:cubicBezTo>
                    <a:cubicBezTo>
                      <a:pt x="359" y="241"/>
                      <a:pt x="359" y="236"/>
                      <a:pt x="360" y="236"/>
                    </a:cubicBezTo>
                    <a:cubicBezTo>
                      <a:pt x="360" y="236"/>
                      <a:pt x="360" y="228"/>
                      <a:pt x="363" y="228"/>
                    </a:cubicBezTo>
                    <a:cubicBezTo>
                      <a:pt x="363" y="228"/>
                      <a:pt x="362" y="226"/>
                      <a:pt x="364" y="223"/>
                    </a:cubicBezTo>
                    <a:cubicBezTo>
                      <a:pt x="364" y="224"/>
                      <a:pt x="367" y="218"/>
                      <a:pt x="368" y="218"/>
                    </a:cubicBezTo>
                    <a:cubicBezTo>
                      <a:pt x="368" y="218"/>
                      <a:pt x="368" y="215"/>
                      <a:pt x="370" y="214"/>
                    </a:cubicBezTo>
                    <a:cubicBezTo>
                      <a:pt x="371" y="213"/>
                      <a:pt x="373" y="208"/>
                      <a:pt x="373" y="208"/>
                    </a:cubicBezTo>
                    <a:cubicBezTo>
                      <a:pt x="373" y="208"/>
                      <a:pt x="374" y="204"/>
                      <a:pt x="374" y="202"/>
                    </a:cubicBezTo>
                    <a:cubicBezTo>
                      <a:pt x="374" y="199"/>
                      <a:pt x="375" y="195"/>
                      <a:pt x="375" y="195"/>
                    </a:cubicBezTo>
                    <a:cubicBezTo>
                      <a:pt x="375" y="195"/>
                      <a:pt x="376" y="191"/>
                      <a:pt x="379" y="191"/>
                    </a:cubicBezTo>
                    <a:cubicBezTo>
                      <a:pt x="379" y="191"/>
                      <a:pt x="381" y="189"/>
                      <a:pt x="382" y="189"/>
                    </a:cubicBezTo>
                    <a:cubicBezTo>
                      <a:pt x="383" y="189"/>
                      <a:pt x="383" y="186"/>
                      <a:pt x="383" y="184"/>
                    </a:cubicBezTo>
                    <a:cubicBezTo>
                      <a:pt x="383" y="183"/>
                      <a:pt x="387" y="182"/>
                      <a:pt x="386" y="180"/>
                    </a:cubicBezTo>
                    <a:cubicBezTo>
                      <a:pt x="386" y="177"/>
                      <a:pt x="390" y="176"/>
                      <a:pt x="389" y="174"/>
                    </a:cubicBezTo>
                    <a:cubicBezTo>
                      <a:pt x="388" y="173"/>
                      <a:pt x="394" y="173"/>
                      <a:pt x="392" y="171"/>
                    </a:cubicBezTo>
                    <a:cubicBezTo>
                      <a:pt x="390" y="169"/>
                      <a:pt x="395" y="172"/>
                      <a:pt x="395" y="169"/>
                    </a:cubicBezTo>
                    <a:cubicBezTo>
                      <a:pt x="395" y="168"/>
                      <a:pt x="398" y="169"/>
                      <a:pt x="398" y="164"/>
                    </a:cubicBezTo>
                    <a:cubicBezTo>
                      <a:pt x="398" y="165"/>
                      <a:pt x="401" y="156"/>
                      <a:pt x="401" y="155"/>
                    </a:cubicBezTo>
                    <a:cubicBezTo>
                      <a:pt x="400" y="155"/>
                      <a:pt x="405" y="153"/>
                      <a:pt x="405" y="150"/>
                    </a:cubicBezTo>
                    <a:cubicBezTo>
                      <a:pt x="405" y="150"/>
                      <a:pt x="408" y="146"/>
                      <a:pt x="408" y="142"/>
                    </a:cubicBezTo>
                    <a:cubicBezTo>
                      <a:pt x="408" y="142"/>
                      <a:pt x="416" y="134"/>
                      <a:pt x="415" y="132"/>
                    </a:cubicBezTo>
                    <a:cubicBezTo>
                      <a:pt x="415" y="132"/>
                      <a:pt x="420" y="126"/>
                      <a:pt x="424" y="126"/>
                    </a:cubicBezTo>
                    <a:cubicBezTo>
                      <a:pt x="424" y="126"/>
                      <a:pt x="434" y="125"/>
                      <a:pt x="434" y="125"/>
                    </a:cubicBezTo>
                    <a:cubicBezTo>
                      <a:pt x="434" y="125"/>
                      <a:pt x="438" y="124"/>
                      <a:pt x="444" y="116"/>
                    </a:cubicBezTo>
                    <a:cubicBezTo>
                      <a:pt x="444" y="116"/>
                      <a:pt x="448" y="109"/>
                      <a:pt x="443" y="104"/>
                    </a:cubicBezTo>
                    <a:close/>
                    <a:moveTo>
                      <a:pt x="418" y="72"/>
                    </a:moveTo>
                    <a:cubicBezTo>
                      <a:pt x="418" y="72"/>
                      <a:pt x="413" y="74"/>
                      <a:pt x="412" y="74"/>
                    </a:cubicBezTo>
                    <a:cubicBezTo>
                      <a:pt x="412" y="74"/>
                      <a:pt x="412" y="74"/>
                      <a:pt x="412" y="75"/>
                    </a:cubicBezTo>
                    <a:cubicBezTo>
                      <a:pt x="412" y="75"/>
                      <a:pt x="412" y="75"/>
                      <a:pt x="412" y="75"/>
                    </a:cubicBezTo>
                    <a:cubicBezTo>
                      <a:pt x="412" y="75"/>
                      <a:pt x="412" y="76"/>
                      <a:pt x="411" y="77"/>
                    </a:cubicBezTo>
                    <a:cubicBezTo>
                      <a:pt x="412" y="77"/>
                      <a:pt x="409" y="77"/>
                      <a:pt x="409" y="79"/>
                    </a:cubicBezTo>
                    <a:cubicBezTo>
                      <a:pt x="409" y="79"/>
                      <a:pt x="403" y="80"/>
                      <a:pt x="405" y="81"/>
                    </a:cubicBezTo>
                    <a:cubicBezTo>
                      <a:pt x="405" y="81"/>
                      <a:pt x="403" y="84"/>
                      <a:pt x="405" y="84"/>
                    </a:cubicBezTo>
                    <a:cubicBezTo>
                      <a:pt x="405" y="84"/>
                      <a:pt x="409" y="85"/>
                      <a:pt x="409" y="88"/>
                    </a:cubicBezTo>
                    <a:cubicBezTo>
                      <a:pt x="409" y="88"/>
                      <a:pt x="412" y="92"/>
                      <a:pt x="407" y="92"/>
                    </a:cubicBezTo>
                    <a:cubicBezTo>
                      <a:pt x="407" y="92"/>
                      <a:pt x="405" y="92"/>
                      <a:pt x="404" y="91"/>
                    </a:cubicBezTo>
                    <a:cubicBezTo>
                      <a:pt x="402" y="92"/>
                      <a:pt x="401" y="92"/>
                      <a:pt x="400" y="92"/>
                    </a:cubicBezTo>
                    <a:cubicBezTo>
                      <a:pt x="400" y="92"/>
                      <a:pt x="396" y="96"/>
                      <a:pt x="394" y="96"/>
                    </a:cubicBezTo>
                    <a:cubicBezTo>
                      <a:pt x="394" y="96"/>
                      <a:pt x="390" y="99"/>
                      <a:pt x="390" y="100"/>
                    </a:cubicBezTo>
                    <a:cubicBezTo>
                      <a:pt x="390" y="100"/>
                      <a:pt x="386" y="100"/>
                      <a:pt x="386" y="101"/>
                    </a:cubicBezTo>
                    <a:cubicBezTo>
                      <a:pt x="387" y="104"/>
                      <a:pt x="383" y="104"/>
                      <a:pt x="383" y="104"/>
                    </a:cubicBezTo>
                    <a:cubicBezTo>
                      <a:pt x="381" y="108"/>
                      <a:pt x="380" y="102"/>
                      <a:pt x="380" y="102"/>
                    </a:cubicBezTo>
                    <a:cubicBezTo>
                      <a:pt x="379" y="100"/>
                      <a:pt x="370" y="101"/>
                      <a:pt x="370" y="101"/>
                    </a:cubicBezTo>
                    <a:cubicBezTo>
                      <a:pt x="369" y="103"/>
                      <a:pt x="367" y="104"/>
                      <a:pt x="367" y="104"/>
                    </a:cubicBezTo>
                    <a:cubicBezTo>
                      <a:pt x="366" y="104"/>
                      <a:pt x="365" y="103"/>
                      <a:pt x="365" y="101"/>
                    </a:cubicBezTo>
                    <a:cubicBezTo>
                      <a:pt x="363" y="103"/>
                      <a:pt x="362" y="104"/>
                      <a:pt x="363" y="107"/>
                    </a:cubicBezTo>
                    <a:cubicBezTo>
                      <a:pt x="363" y="107"/>
                      <a:pt x="359" y="111"/>
                      <a:pt x="359" y="115"/>
                    </a:cubicBezTo>
                    <a:cubicBezTo>
                      <a:pt x="359" y="116"/>
                      <a:pt x="363" y="122"/>
                      <a:pt x="360" y="126"/>
                    </a:cubicBezTo>
                    <a:cubicBezTo>
                      <a:pt x="360" y="126"/>
                      <a:pt x="356" y="129"/>
                      <a:pt x="359" y="134"/>
                    </a:cubicBezTo>
                    <a:cubicBezTo>
                      <a:pt x="359" y="134"/>
                      <a:pt x="360" y="138"/>
                      <a:pt x="359" y="140"/>
                    </a:cubicBezTo>
                    <a:cubicBezTo>
                      <a:pt x="359" y="142"/>
                      <a:pt x="360" y="145"/>
                      <a:pt x="359" y="153"/>
                    </a:cubicBezTo>
                    <a:cubicBezTo>
                      <a:pt x="359" y="153"/>
                      <a:pt x="356" y="161"/>
                      <a:pt x="357" y="169"/>
                    </a:cubicBezTo>
                    <a:cubicBezTo>
                      <a:pt x="358" y="169"/>
                      <a:pt x="352" y="175"/>
                      <a:pt x="352" y="177"/>
                    </a:cubicBezTo>
                    <a:cubicBezTo>
                      <a:pt x="353" y="177"/>
                      <a:pt x="350" y="180"/>
                      <a:pt x="350" y="180"/>
                    </a:cubicBezTo>
                    <a:cubicBezTo>
                      <a:pt x="350" y="180"/>
                      <a:pt x="355" y="182"/>
                      <a:pt x="351" y="184"/>
                    </a:cubicBezTo>
                    <a:cubicBezTo>
                      <a:pt x="351" y="184"/>
                      <a:pt x="348" y="187"/>
                      <a:pt x="348" y="187"/>
                    </a:cubicBezTo>
                    <a:cubicBezTo>
                      <a:pt x="348" y="188"/>
                      <a:pt x="348" y="190"/>
                      <a:pt x="345" y="192"/>
                    </a:cubicBezTo>
                    <a:cubicBezTo>
                      <a:pt x="346" y="192"/>
                      <a:pt x="343" y="194"/>
                      <a:pt x="343" y="198"/>
                    </a:cubicBezTo>
                    <a:cubicBezTo>
                      <a:pt x="343" y="198"/>
                      <a:pt x="338" y="199"/>
                      <a:pt x="338" y="200"/>
                    </a:cubicBezTo>
                    <a:cubicBezTo>
                      <a:pt x="338" y="200"/>
                      <a:pt x="335" y="201"/>
                      <a:pt x="333" y="205"/>
                    </a:cubicBezTo>
                    <a:cubicBezTo>
                      <a:pt x="333" y="205"/>
                      <a:pt x="329" y="205"/>
                      <a:pt x="328" y="208"/>
                    </a:cubicBezTo>
                    <a:cubicBezTo>
                      <a:pt x="328" y="208"/>
                      <a:pt x="325" y="208"/>
                      <a:pt x="323" y="211"/>
                    </a:cubicBezTo>
                    <a:cubicBezTo>
                      <a:pt x="323" y="211"/>
                      <a:pt x="319" y="211"/>
                      <a:pt x="318" y="213"/>
                    </a:cubicBezTo>
                    <a:cubicBezTo>
                      <a:pt x="318" y="213"/>
                      <a:pt x="311" y="211"/>
                      <a:pt x="311" y="215"/>
                    </a:cubicBezTo>
                    <a:cubicBezTo>
                      <a:pt x="311" y="215"/>
                      <a:pt x="310" y="216"/>
                      <a:pt x="310" y="219"/>
                    </a:cubicBezTo>
                    <a:cubicBezTo>
                      <a:pt x="310" y="219"/>
                      <a:pt x="310" y="222"/>
                      <a:pt x="302" y="221"/>
                    </a:cubicBezTo>
                    <a:cubicBezTo>
                      <a:pt x="303" y="221"/>
                      <a:pt x="301" y="220"/>
                      <a:pt x="301" y="220"/>
                    </a:cubicBezTo>
                    <a:cubicBezTo>
                      <a:pt x="301" y="220"/>
                      <a:pt x="301" y="223"/>
                      <a:pt x="298" y="223"/>
                    </a:cubicBezTo>
                    <a:cubicBezTo>
                      <a:pt x="298" y="223"/>
                      <a:pt x="293" y="222"/>
                      <a:pt x="293" y="220"/>
                    </a:cubicBezTo>
                    <a:cubicBezTo>
                      <a:pt x="293" y="220"/>
                      <a:pt x="293" y="217"/>
                      <a:pt x="291" y="218"/>
                    </a:cubicBezTo>
                    <a:cubicBezTo>
                      <a:pt x="291" y="218"/>
                      <a:pt x="288" y="215"/>
                      <a:pt x="285" y="216"/>
                    </a:cubicBezTo>
                    <a:cubicBezTo>
                      <a:pt x="285" y="216"/>
                      <a:pt x="281" y="216"/>
                      <a:pt x="279" y="214"/>
                    </a:cubicBezTo>
                    <a:cubicBezTo>
                      <a:pt x="279" y="214"/>
                      <a:pt x="278" y="212"/>
                      <a:pt x="277" y="210"/>
                    </a:cubicBezTo>
                    <a:cubicBezTo>
                      <a:pt x="275" y="211"/>
                      <a:pt x="273" y="211"/>
                      <a:pt x="271" y="211"/>
                    </a:cubicBezTo>
                    <a:cubicBezTo>
                      <a:pt x="271" y="211"/>
                      <a:pt x="270" y="215"/>
                      <a:pt x="265" y="211"/>
                    </a:cubicBezTo>
                    <a:cubicBezTo>
                      <a:pt x="265" y="211"/>
                      <a:pt x="264" y="207"/>
                      <a:pt x="260" y="209"/>
                    </a:cubicBezTo>
                    <a:cubicBezTo>
                      <a:pt x="260" y="209"/>
                      <a:pt x="262" y="203"/>
                      <a:pt x="257" y="203"/>
                    </a:cubicBezTo>
                    <a:cubicBezTo>
                      <a:pt x="257" y="203"/>
                      <a:pt x="253" y="207"/>
                      <a:pt x="251" y="202"/>
                    </a:cubicBezTo>
                    <a:cubicBezTo>
                      <a:pt x="251" y="202"/>
                      <a:pt x="248" y="198"/>
                      <a:pt x="244" y="199"/>
                    </a:cubicBezTo>
                    <a:cubicBezTo>
                      <a:pt x="244" y="199"/>
                      <a:pt x="241" y="195"/>
                      <a:pt x="238" y="199"/>
                    </a:cubicBezTo>
                    <a:cubicBezTo>
                      <a:pt x="238" y="199"/>
                      <a:pt x="239" y="203"/>
                      <a:pt x="230" y="199"/>
                    </a:cubicBezTo>
                    <a:cubicBezTo>
                      <a:pt x="230" y="199"/>
                      <a:pt x="223" y="201"/>
                      <a:pt x="222" y="196"/>
                    </a:cubicBezTo>
                    <a:cubicBezTo>
                      <a:pt x="222" y="197"/>
                      <a:pt x="217" y="198"/>
                      <a:pt x="214" y="193"/>
                    </a:cubicBezTo>
                    <a:cubicBezTo>
                      <a:pt x="214" y="194"/>
                      <a:pt x="213" y="192"/>
                      <a:pt x="213" y="192"/>
                    </a:cubicBezTo>
                    <a:cubicBezTo>
                      <a:pt x="213" y="192"/>
                      <a:pt x="206" y="186"/>
                      <a:pt x="213" y="185"/>
                    </a:cubicBezTo>
                    <a:cubicBezTo>
                      <a:pt x="213" y="185"/>
                      <a:pt x="218" y="185"/>
                      <a:pt x="218" y="183"/>
                    </a:cubicBezTo>
                    <a:cubicBezTo>
                      <a:pt x="218" y="183"/>
                      <a:pt x="220" y="180"/>
                      <a:pt x="218" y="176"/>
                    </a:cubicBezTo>
                    <a:cubicBezTo>
                      <a:pt x="217" y="176"/>
                      <a:pt x="211" y="173"/>
                      <a:pt x="213" y="167"/>
                    </a:cubicBezTo>
                    <a:cubicBezTo>
                      <a:pt x="213" y="168"/>
                      <a:pt x="211" y="159"/>
                      <a:pt x="214" y="156"/>
                    </a:cubicBezTo>
                    <a:cubicBezTo>
                      <a:pt x="214" y="156"/>
                      <a:pt x="218" y="156"/>
                      <a:pt x="218" y="154"/>
                    </a:cubicBezTo>
                    <a:cubicBezTo>
                      <a:pt x="218" y="154"/>
                      <a:pt x="222" y="153"/>
                      <a:pt x="223" y="152"/>
                    </a:cubicBezTo>
                    <a:cubicBezTo>
                      <a:pt x="223" y="152"/>
                      <a:pt x="227" y="149"/>
                      <a:pt x="223" y="149"/>
                    </a:cubicBezTo>
                    <a:cubicBezTo>
                      <a:pt x="223" y="148"/>
                      <a:pt x="222" y="139"/>
                      <a:pt x="215" y="142"/>
                    </a:cubicBezTo>
                    <a:cubicBezTo>
                      <a:pt x="214" y="142"/>
                      <a:pt x="209" y="145"/>
                      <a:pt x="208" y="139"/>
                    </a:cubicBezTo>
                    <a:cubicBezTo>
                      <a:pt x="208" y="140"/>
                      <a:pt x="209" y="134"/>
                      <a:pt x="209" y="134"/>
                    </a:cubicBezTo>
                    <a:cubicBezTo>
                      <a:pt x="209" y="134"/>
                      <a:pt x="204" y="133"/>
                      <a:pt x="204" y="128"/>
                    </a:cubicBezTo>
                    <a:cubicBezTo>
                      <a:pt x="204" y="129"/>
                      <a:pt x="202" y="125"/>
                      <a:pt x="208" y="126"/>
                    </a:cubicBezTo>
                    <a:cubicBezTo>
                      <a:pt x="209" y="126"/>
                      <a:pt x="212" y="126"/>
                      <a:pt x="214" y="123"/>
                    </a:cubicBezTo>
                    <a:cubicBezTo>
                      <a:pt x="214" y="124"/>
                      <a:pt x="218" y="119"/>
                      <a:pt x="218" y="117"/>
                    </a:cubicBezTo>
                    <a:cubicBezTo>
                      <a:pt x="217" y="117"/>
                      <a:pt x="216" y="108"/>
                      <a:pt x="221" y="109"/>
                    </a:cubicBezTo>
                    <a:cubicBezTo>
                      <a:pt x="221" y="109"/>
                      <a:pt x="225" y="106"/>
                      <a:pt x="226" y="104"/>
                    </a:cubicBezTo>
                    <a:cubicBezTo>
                      <a:pt x="226" y="104"/>
                      <a:pt x="226" y="101"/>
                      <a:pt x="230" y="100"/>
                    </a:cubicBezTo>
                    <a:cubicBezTo>
                      <a:pt x="230" y="100"/>
                      <a:pt x="247" y="99"/>
                      <a:pt x="249" y="101"/>
                    </a:cubicBezTo>
                    <a:cubicBezTo>
                      <a:pt x="249" y="101"/>
                      <a:pt x="256" y="102"/>
                      <a:pt x="257" y="103"/>
                    </a:cubicBezTo>
                    <a:cubicBezTo>
                      <a:pt x="257" y="103"/>
                      <a:pt x="260" y="104"/>
                      <a:pt x="261" y="103"/>
                    </a:cubicBezTo>
                    <a:cubicBezTo>
                      <a:pt x="261" y="103"/>
                      <a:pt x="268" y="102"/>
                      <a:pt x="268" y="100"/>
                    </a:cubicBezTo>
                    <a:cubicBezTo>
                      <a:pt x="268" y="101"/>
                      <a:pt x="274" y="99"/>
                      <a:pt x="283" y="99"/>
                    </a:cubicBezTo>
                    <a:cubicBezTo>
                      <a:pt x="283" y="98"/>
                      <a:pt x="290" y="97"/>
                      <a:pt x="289" y="95"/>
                    </a:cubicBezTo>
                    <a:cubicBezTo>
                      <a:pt x="289" y="95"/>
                      <a:pt x="301" y="94"/>
                      <a:pt x="302" y="95"/>
                    </a:cubicBezTo>
                    <a:cubicBezTo>
                      <a:pt x="302" y="96"/>
                      <a:pt x="301" y="101"/>
                      <a:pt x="308" y="99"/>
                    </a:cubicBezTo>
                    <a:cubicBezTo>
                      <a:pt x="308" y="99"/>
                      <a:pt x="310" y="96"/>
                      <a:pt x="316" y="96"/>
                    </a:cubicBezTo>
                    <a:cubicBezTo>
                      <a:pt x="316" y="96"/>
                      <a:pt x="317" y="94"/>
                      <a:pt x="321" y="94"/>
                    </a:cubicBezTo>
                    <a:cubicBezTo>
                      <a:pt x="322" y="94"/>
                      <a:pt x="322" y="91"/>
                      <a:pt x="325" y="90"/>
                    </a:cubicBezTo>
                    <a:cubicBezTo>
                      <a:pt x="325" y="90"/>
                      <a:pt x="323" y="84"/>
                      <a:pt x="326" y="85"/>
                    </a:cubicBezTo>
                    <a:cubicBezTo>
                      <a:pt x="327" y="85"/>
                      <a:pt x="326" y="80"/>
                      <a:pt x="326" y="80"/>
                    </a:cubicBezTo>
                    <a:cubicBezTo>
                      <a:pt x="326" y="80"/>
                      <a:pt x="323" y="77"/>
                      <a:pt x="326" y="76"/>
                    </a:cubicBezTo>
                    <a:cubicBezTo>
                      <a:pt x="326" y="76"/>
                      <a:pt x="332" y="73"/>
                      <a:pt x="333" y="77"/>
                    </a:cubicBezTo>
                    <a:cubicBezTo>
                      <a:pt x="333" y="77"/>
                      <a:pt x="337" y="77"/>
                      <a:pt x="337" y="75"/>
                    </a:cubicBezTo>
                    <a:cubicBezTo>
                      <a:pt x="337" y="76"/>
                      <a:pt x="343" y="73"/>
                      <a:pt x="344" y="72"/>
                    </a:cubicBezTo>
                    <a:cubicBezTo>
                      <a:pt x="352" y="69"/>
                      <a:pt x="352" y="69"/>
                      <a:pt x="352" y="69"/>
                    </a:cubicBezTo>
                    <a:cubicBezTo>
                      <a:pt x="356" y="67"/>
                      <a:pt x="356" y="67"/>
                      <a:pt x="356" y="67"/>
                    </a:cubicBezTo>
                    <a:cubicBezTo>
                      <a:pt x="359" y="65"/>
                      <a:pt x="359" y="65"/>
                      <a:pt x="359" y="65"/>
                    </a:cubicBezTo>
                    <a:cubicBezTo>
                      <a:pt x="359" y="65"/>
                      <a:pt x="367" y="64"/>
                      <a:pt x="367" y="61"/>
                    </a:cubicBezTo>
                    <a:cubicBezTo>
                      <a:pt x="367" y="61"/>
                      <a:pt x="373" y="62"/>
                      <a:pt x="373" y="60"/>
                    </a:cubicBezTo>
                    <a:cubicBezTo>
                      <a:pt x="373" y="60"/>
                      <a:pt x="375" y="56"/>
                      <a:pt x="371" y="51"/>
                    </a:cubicBezTo>
                    <a:cubicBezTo>
                      <a:pt x="371" y="51"/>
                      <a:pt x="378" y="47"/>
                      <a:pt x="383" y="50"/>
                    </a:cubicBezTo>
                    <a:cubicBezTo>
                      <a:pt x="383" y="50"/>
                      <a:pt x="398" y="50"/>
                      <a:pt x="399" y="54"/>
                    </a:cubicBezTo>
                    <a:cubicBezTo>
                      <a:pt x="398" y="54"/>
                      <a:pt x="403" y="54"/>
                      <a:pt x="405" y="57"/>
                    </a:cubicBezTo>
                    <a:cubicBezTo>
                      <a:pt x="405" y="57"/>
                      <a:pt x="411" y="58"/>
                      <a:pt x="412" y="59"/>
                    </a:cubicBezTo>
                    <a:cubicBezTo>
                      <a:pt x="412" y="59"/>
                      <a:pt x="418" y="63"/>
                      <a:pt x="418" y="64"/>
                    </a:cubicBezTo>
                    <a:cubicBezTo>
                      <a:pt x="419" y="64"/>
                      <a:pt x="424" y="67"/>
                      <a:pt x="424" y="69"/>
                    </a:cubicBezTo>
                    <a:cubicBezTo>
                      <a:pt x="424" y="69"/>
                      <a:pt x="420" y="72"/>
                      <a:pt x="418" y="7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9" name="Freeform 228">
                <a:extLst>
                  <a:ext uri="{FF2B5EF4-FFF2-40B4-BE49-F238E27FC236}">
                    <a16:creationId xmlns:a16="http://schemas.microsoft.com/office/drawing/2014/main" id="{4FFD8717-E555-B5A0-1A77-F033143011AB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595097" y="1957413"/>
                <a:ext cx="1019954" cy="551128"/>
              </a:xfrm>
              <a:custGeom>
                <a:avLst/>
                <a:gdLst>
                  <a:gd name="T0" fmla="*/ 33 w 322"/>
                  <a:gd name="T1" fmla="*/ 92 h 173"/>
                  <a:gd name="T2" fmla="*/ 5 w 322"/>
                  <a:gd name="T3" fmla="*/ 88 h 173"/>
                  <a:gd name="T4" fmla="*/ 4 w 322"/>
                  <a:gd name="T5" fmla="*/ 93 h 173"/>
                  <a:gd name="T6" fmla="*/ 24 w 322"/>
                  <a:gd name="T7" fmla="*/ 107 h 173"/>
                  <a:gd name="T8" fmla="*/ 32 w 322"/>
                  <a:gd name="T9" fmla="*/ 95 h 173"/>
                  <a:gd name="T10" fmla="*/ 320 w 322"/>
                  <a:gd name="T11" fmla="*/ 88 h 173"/>
                  <a:gd name="T12" fmla="*/ 314 w 322"/>
                  <a:gd name="T13" fmla="*/ 69 h 173"/>
                  <a:gd name="T14" fmla="*/ 293 w 322"/>
                  <a:gd name="T15" fmla="*/ 62 h 173"/>
                  <a:gd name="T16" fmla="*/ 282 w 322"/>
                  <a:gd name="T17" fmla="*/ 46 h 173"/>
                  <a:gd name="T18" fmla="*/ 272 w 322"/>
                  <a:gd name="T19" fmla="*/ 31 h 173"/>
                  <a:gd name="T20" fmla="*/ 260 w 322"/>
                  <a:gd name="T21" fmla="*/ 29 h 173"/>
                  <a:gd name="T22" fmla="*/ 246 w 322"/>
                  <a:gd name="T23" fmla="*/ 49 h 173"/>
                  <a:gd name="T24" fmla="*/ 228 w 322"/>
                  <a:gd name="T25" fmla="*/ 34 h 173"/>
                  <a:gd name="T26" fmla="*/ 207 w 322"/>
                  <a:gd name="T27" fmla="*/ 27 h 173"/>
                  <a:gd name="T28" fmla="*/ 191 w 322"/>
                  <a:gd name="T29" fmla="*/ 23 h 173"/>
                  <a:gd name="T30" fmla="*/ 165 w 322"/>
                  <a:gd name="T31" fmla="*/ 9 h 173"/>
                  <a:gd name="T32" fmla="*/ 154 w 322"/>
                  <a:gd name="T33" fmla="*/ 8 h 173"/>
                  <a:gd name="T34" fmla="*/ 143 w 322"/>
                  <a:gd name="T35" fmla="*/ 27 h 173"/>
                  <a:gd name="T36" fmla="*/ 132 w 322"/>
                  <a:gd name="T37" fmla="*/ 24 h 173"/>
                  <a:gd name="T38" fmla="*/ 120 w 322"/>
                  <a:gd name="T39" fmla="*/ 16 h 173"/>
                  <a:gd name="T40" fmla="*/ 101 w 322"/>
                  <a:gd name="T41" fmla="*/ 8 h 173"/>
                  <a:gd name="T42" fmla="*/ 102 w 322"/>
                  <a:gd name="T43" fmla="*/ 22 h 173"/>
                  <a:gd name="T44" fmla="*/ 99 w 322"/>
                  <a:gd name="T45" fmla="*/ 34 h 173"/>
                  <a:gd name="T46" fmla="*/ 96 w 322"/>
                  <a:gd name="T47" fmla="*/ 48 h 173"/>
                  <a:gd name="T48" fmla="*/ 106 w 322"/>
                  <a:gd name="T49" fmla="*/ 61 h 173"/>
                  <a:gd name="T50" fmla="*/ 73 w 322"/>
                  <a:gd name="T51" fmla="*/ 80 h 173"/>
                  <a:gd name="T52" fmla="*/ 57 w 322"/>
                  <a:gd name="T53" fmla="*/ 74 h 173"/>
                  <a:gd name="T54" fmla="*/ 46 w 322"/>
                  <a:gd name="T55" fmla="*/ 86 h 173"/>
                  <a:gd name="T56" fmla="*/ 62 w 322"/>
                  <a:gd name="T57" fmla="*/ 95 h 173"/>
                  <a:gd name="T58" fmla="*/ 48 w 322"/>
                  <a:gd name="T59" fmla="*/ 109 h 173"/>
                  <a:gd name="T60" fmla="*/ 29 w 322"/>
                  <a:gd name="T61" fmla="*/ 110 h 173"/>
                  <a:gd name="T62" fmla="*/ 41 w 322"/>
                  <a:gd name="T63" fmla="*/ 123 h 173"/>
                  <a:gd name="T64" fmla="*/ 51 w 322"/>
                  <a:gd name="T65" fmla="*/ 134 h 173"/>
                  <a:gd name="T66" fmla="*/ 59 w 322"/>
                  <a:gd name="T67" fmla="*/ 127 h 173"/>
                  <a:gd name="T68" fmla="*/ 75 w 322"/>
                  <a:gd name="T69" fmla="*/ 120 h 173"/>
                  <a:gd name="T70" fmla="*/ 103 w 322"/>
                  <a:gd name="T71" fmla="*/ 122 h 173"/>
                  <a:gd name="T72" fmla="*/ 127 w 322"/>
                  <a:gd name="T73" fmla="*/ 106 h 173"/>
                  <a:gd name="T74" fmla="*/ 135 w 322"/>
                  <a:gd name="T75" fmla="*/ 99 h 173"/>
                  <a:gd name="T76" fmla="*/ 152 w 322"/>
                  <a:gd name="T77" fmla="*/ 77 h 173"/>
                  <a:gd name="T78" fmla="*/ 142 w 322"/>
                  <a:gd name="T79" fmla="*/ 62 h 173"/>
                  <a:gd name="T80" fmla="*/ 164 w 322"/>
                  <a:gd name="T81" fmla="*/ 60 h 173"/>
                  <a:gd name="T82" fmla="*/ 185 w 322"/>
                  <a:gd name="T83" fmla="*/ 62 h 173"/>
                  <a:gd name="T84" fmla="*/ 192 w 322"/>
                  <a:gd name="T85" fmla="*/ 77 h 173"/>
                  <a:gd name="T86" fmla="*/ 181 w 322"/>
                  <a:gd name="T87" fmla="*/ 95 h 173"/>
                  <a:gd name="T88" fmla="*/ 172 w 322"/>
                  <a:gd name="T89" fmla="*/ 114 h 173"/>
                  <a:gd name="T90" fmla="*/ 160 w 322"/>
                  <a:gd name="T91" fmla="*/ 145 h 173"/>
                  <a:gd name="T92" fmla="*/ 199 w 322"/>
                  <a:gd name="T93" fmla="*/ 145 h 173"/>
                  <a:gd name="T94" fmla="*/ 222 w 322"/>
                  <a:gd name="T95" fmla="*/ 169 h 173"/>
                  <a:gd name="T96" fmla="*/ 240 w 322"/>
                  <a:gd name="T97" fmla="*/ 153 h 173"/>
                  <a:gd name="T98" fmla="*/ 278 w 322"/>
                  <a:gd name="T99" fmla="*/ 138 h 173"/>
                  <a:gd name="T100" fmla="*/ 283 w 322"/>
                  <a:gd name="T101" fmla="*/ 122 h 173"/>
                  <a:gd name="T102" fmla="*/ 307 w 322"/>
                  <a:gd name="T103" fmla="*/ 124 h 173"/>
                  <a:gd name="T104" fmla="*/ 322 w 322"/>
                  <a:gd name="T105" fmla="*/ 111 h 17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322"/>
                  <a:gd name="T160" fmla="*/ 0 h 173"/>
                  <a:gd name="T161" fmla="*/ 322 w 322"/>
                  <a:gd name="T162" fmla="*/ 173 h 17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322" h="173">
                    <a:moveTo>
                      <a:pt x="32" y="95"/>
                    </a:moveTo>
                    <a:cubicBezTo>
                      <a:pt x="33" y="95"/>
                      <a:pt x="34" y="93"/>
                      <a:pt x="34" y="92"/>
                    </a:cubicBezTo>
                    <a:cubicBezTo>
                      <a:pt x="39" y="92"/>
                      <a:pt x="39" y="92"/>
                      <a:pt x="39" y="92"/>
                    </a:cubicBezTo>
                    <a:cubicBezTo>
                      <a:pt x="33" y="92"/>
                      <a:pt x="33" y="92"/>
                      <a:pt x="33" y="92"/>
                    </a:cubicBezTo>
                    <a:cubicBezTo>
                      <a:pt x="33" y="92"/>
                      <a:pt x="30" y="97"/>
                      <a:pt x="27" y="92"/>
                    </a:cubicBezTo>
                    <a:cubicBezTo>
                      <a:pt x="27" y="92"/>
                      <a:pt x="16" y="92"/>
                      <a:pt x="16" y="92"/>
                    </a:cubicBezTo>
                    <a:cubicBezTo>
                      <a:pt x="16" y="92"/>
                      <a:pt x="15" y="90"/>
                      <a:pt x="12" y="90"/>
                    </a:cubicBezTo>
                    <a:cubicBezTo>
                      <a:pt x="11" y="89"/>
                      <a:pt x="5" y="88"/>
                      <a:pt x="5" y="88"/>
                    </a:cubicBezTo>
                    <a:cubicBezTo>
                      <a:pt x="5" y="88"/>
                      <a:pt x="4" y="84"/>
                      <a:pt x="0" y="88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0" y="89"/>
                      <a:pt x="0" y="91"/>
                      <a:pt x="0" y="90"/>
                    </a:cubicBezTo>
                    <a:cubicBezTo>
                      <a:pt x="0" y="94"/>
                      <a:pt x="4" y="93"/>
                      <a:pt x="4" y="93"/>
                    </a:cubicBezTo>
                    <a:cubicBezTo>
                      <a:pt x="7" y="93"/>
                      <a:pt x="8" y="97"/>
                      <a:pt x="9" y="96"/>
                    </a:cubicBezTo>
                    <a:cubicBezTo>
                      <a:pt x="8" y="99"/>
                      <a:pt x="13" y="100"/>
                      <a:pt x="13" y="100"/>
                    </a:cubicBezTo>
                    <a:cubicBezTo>
                      <a:pt x="15" y="100"/>
                      <a:pt x="18" y="105"/>
                      <a:pt x="18" y="105"/>
                    </a:cubicBezTo>
                    <a:cubicBezTo>
                      <a:pt x="17" y="108"/>
                      <a:pt x="24" y="107"/>
                      <a:pt x="24" y="107"/>
                    </a:cubicBezTo>
                    <a:cubicBezTo>
                      <a:pt x="25" y="107"/>
                      <a:pt x="26" y="107"/>
                      <a:pt x="27" y="107"/>
                    </a:cubicBezTo>
                    <a:cubicBezTo>
                      <a:pt x="27" y="106"/>
                      <a:pt x="27" y="105"/>
                      <a:pt x="27" y="105"/>
                    </a:cubicBezTo>
                    <a:cubicBezTo>
                      <a:pt x="26" y="104"/>
                      <a:pt x="27" y="99"/>
                      <a:pt x="27" y="99"/>
                    </a:cubicBezTo>
                    <a:cubicBezTo>
                      <a:pt x="27" y="95"/>
                      <a:pt x="32" y="95"/>
                      <a:pt x="32" y="95"/>
                    </a:cubicBezTo>
                    <a:close/>
                    <a:moveTo>
                      <a:pt x="319" y="107"/>
                    </a:moveTo>
                    <a:cubicBezTo>
                      <a:pt x="319" y="103"/>
                      <a:pt x="316" y="102"/>
                      <a:pt x="316" y="101"/>
                    </a:cubicBezTo>
                    <a:cubicBezTo>
                      <a:pt x="315" y="90"/>
                      <a:pt x="318" y="92"/>
                      <a:pt x="318" y="92"/>
                    </a:cubicBezTo>
                    <a:cubicBezTo>
                      <a:pt x="318" y="92"/>
                      <a:pt x="320" y="88"/>
                      <a:pt x="320" y="88"/>
                    </a:cubicBezTo>
                    <a:cubicBezTo>
                      <a:pt x="320" y="86"/>
                      <a:pt x="322" y="84"/>
                      <a:pt x="322" y="84"/>
                    </a:cubicBezTo>
                    <a:cubicBezTo>
                      <a:pt x="321" y="83"/>
                      <a:pt x="318" y="81"/>
                      <a:pt x="316" y="81"/>
                    </a:cubicBezTo>
                    <a:cubicBezTo>
                      <a:pt x="315" y="81"/>
                      <a:pt x="310" y="83"/>
                      <a:pt x="313" y="76"/>
                    </a:cubicBezTo>
                    <a:cubicBezTo>
                      <a:pt x="313" y="77"/>
                      <a:pt x="315" y="76"/>
                      <a:pt x="314" y="69"/>
                    </a:cubicBezTo>
                    <a:cubicBezTo>
                      <a:pt x="314" y="69"/>
                      <a:pt x="314" y="60"/>
                      <a:pt x="310" y="68"/>
                    </a:cubicBezTo>
                    <a:cubicBezTo>
                      <a:pt x="310" y="68"/>
                      <a:pt x="299" y="69"/>
                      <a:pt x="300" y="66"/>
                    </a:cubicBezTo>
                    <a:cubicBezTo>
                      <a:pt x="300" y="66"/>
                      <a:pt x="299" y="64"/>
                      <a:pt x="295" y="65"/>
                    </a:cubicBezTo>
                    <a:cubicBezTo>
                      <a:pt x="296" y="65"/>
                      <a:pt x="295" y="62"/>
                      <a:pt x="293" y="62"/>
                    </a:cubicBezTo>
                    <a:cubicBezTo>
                      <a:pt x="293" y="62"/>
                      <a:pt x="294" y="54"/>
                      <a:pt x="291" y="55"/>
                    </a:cubicBezTo>
                    <a:cubicBezTo>
                      <a:pt x="291" y="55"/>
                      <a:pt x="291" y="52"/>
                      <a:pt x="288" y="52"/>
                    </a:cubicBezTo>
                    <a:cubicBezTo>
                      <a:pt x="288" y="52"/>
                      <a:pt x="287" y="49"/>
                      <a:pt x="285" y="50"/>
                    </a:cubicBezTo>
                    <a:cubicBezTo>
                      <a:pt x="284" y="49"/>
                      <a:pt x="284" y="46"/>
                      <a:pt x="282" y="46"/>
                    </a:cubicBezTo>
                    <a:cubicBezTo>
                      <a:pt x="282" y="46"/>
                      <a:pt x="281" y="42"/>
                      <a:pt x="280" y="42"/>
                    </a:cubicBezTo>
                    <a:cubicBezTo>
                      <a:pt x="279" y="39"/>
                      <a:pt x="279" y="39"/>
                      <a:pt x="279" y="39"/>
                    </a:cubicBezTo>
                    <a:cubicBezTo>
                      <a:pt x="279" y="39"/>
                      <a:pt x="272" y="39"/>
                      <a:pt x="275" y="35"/>
                    </a:cubicBezTo>
                    <a:cubicBezTo>
                      <a:pt x="275" y="35"/>
                      <a:pt x="275" y="31"/>
                      <a:pt x="272" y="31"/>
                    </a:cubicBezTo>
                    <a:cubicBezTo>
                      <a:pt x="272" y="31"/>
                      <a:pt x="273" y="29"/>
                      <a:pt x="270" y="29"/>
                    </a:cubicBezTo>
                    <a:cubicBezTo>
                      <a:pt x="270" y="29"/>
                      <a:pt x="269" y="26"/>
                      <a:pt x="267" y="27"/>
                    </a:cubicBezTo>
                    <a:cubicBezTo>
                      <a:pt x="267" y="27"/>
                      <a:pt x="265" y="31"/>
                      <a:pt x="263" y="27"/>
                    </a:cubicBezTo>
                    <a:cubicBezTo>
                      <a:pt x="263" y="27"/>
                      <a:pt x="260" y="27"/>
                      <a:pt x="260" y="29"/>
                    </a:cubicBezTo>
                    <a:cubicBezTo>
                      <a:pt x="259" y="30"/>
                      <a:pt x="257" y="39"/>
                      <a:pt x="257" y="39"/>
                    </a:cubicBezTo>
                    <a:cubicBezTo>
                      <a:pt x="254" y="42"/>
                      <a:pt x="254" y="42"/>
                      <a:pt x="254" y="42"/>
                    </a:cubicBezTo>
                    <a:cubicBezTo>
                      <a:pt x="251" y="45"/>
                      <a:pt x="251" y="45"/>
                      <a:pt x="251" y="45"/>
                    </a:cubicBezTo>
                    <a:cubicBezTo>
                      <a:pt x="250" y="45"/>
                      <a:pt x="248" y="50"/>
                      <a:pt x="246" y="49"/>
                    </a:cubicBezTo>
                    <a:cubicBezTo>
                      <a:pt x="245" y="49"/>
                      <a:pt x="242" y="51"/>
                      <a:pt x="241" y="50"/>
                    </a:cubicBezTo>
                    <a:cubicBezTo>
                      <a:pt x="241" y="50"/>
                      <a:pt x="237" y="50"/>
                      <a:pt x="237" y="47"/>
                    </a:cubicBezTo>
                    <a:cubicBezTo>
                      <a:pt x="237" y="47"/>
                      <a:pt x="238" y="35"/>
                      <a:pt x="234" y="36"/>
                    </a:cubicBezTo>
                    <a:cubicBezTo>
                      <a:pt x="234" y="36"/>
                      <a:pt x="230" y="34"/>
                      <a:pt x="228" y="34"/>
                    </a:cubicBezTo>
                    <a:cubicBezTo>
                      <a:pt x="229" y="34"/>
                      <a:pt x="223" y="35"/>
                      <a:pt x="224" y="32"/>
                    </a:cubicBezTo>
                    <a:cubicBezTo>
                      <a:pt x="224" y="32"/>
                      <a:pt x="215" y="30"/>
                      <a:pt x="213" y="31"/>
                    </a:cubicBezTo>
                    <a:cubicBezTo>
                      <a:pt x="213" y="31"/>
                      <a:pt x="211" y="29"/>
                      <a:pt x="210" y="29"/>
                    </a:cubicBezTo>
                    <a:cubicBezTo>
                      <a:pt x="210" y="29"/>
                      <a:pt x="209" y="27"/>
                      <a:pt x="207" y="27"/>
                    </a:cubicBezTo>
                    <a:cubicBezTo>
                      <a:pt x="207" y="27"/>
                      <a:pt x="207" y="24"/>
                      <a:pt x="205" y="24"/>
                    </a:cubicBezTo>
                    <a:cubicBezTo>
                      <a:pt x="205" y="24"/>
                      <a:pt x="204" y="23"/>
                      <a:pt x="203" y="22"/>
                    </a:cubicBezTo>
                    <a:cubicBezTo>
                      <a:pt x="202" y="22"/>
                      <a:pt x="197" y="22"/>
                      <a:pt x="196" y="22"/>
                    </a:cubicBezTo>
                    <a:cubicBezTo>
                      <a:pt x="195" y="22"/>
                      <a:pt x="194" y="25"/>
                      <a:pt x="191" y="23"/>
                    </a:cubicBezTo>
                    <a:cubicBezTo>
                      <a:pt x="191" y="23"/>
                      <a:pt x="180" y="23"/>
                      <a:pt x="180" y="23"/>
                    </a:cubicBezTo>
                    <a:cubicBezTo>
                      <a:pt x="180" y="23"/>
                      <a:pt x="176" y="19"/>
                      <a:pt x="175" y="19"/>
                    </a:cubicBezTo>
                    <a:cubicBezTo>
                      <a:pt x="175" y="19"/>
                      <a:pt x="176" y="14"/>
                      <a:pt x="170" y="14"/>
                    </a:cubicBezTo>
                    <a:cubicBezTo>
                      <a:pt x="170" y="14"/>
                      <a:pt x="168" y="11"/>
                      <a:pt x="165" y="9"/>
                    </a:cubicBezTo>
                    <a:cubicBezTo>
                      <a:pt x="164" y="8"/>
                      <a:pt x="164" y="6"/>
                      <a:pt x="165" y="5"/>
                    </a:cubicBezTo>
                    <a:cubicBezTo>
                      <a:pt x="163" y="4"/>
                      <a:pt x="160" y="2"/>
                      <a:pt x="156" y="4"/>
                    </a:cubicBezTo>
                    <a:cubicBezTo>
                      <a:pt x="157" y="4"/>
                      <a:pt x="152" y="1"/>
                      <a:pt x="152" y="4"/>
                    </a:cubicBezTo>
                    <a:cubicBezTo>
                      <a:pt x="152" y="5"/>
                      <a:pt x="150" y="9"/>
                      <a:pt x="154" y="8"/>
                    </a:cubicBezTo>
                    <a:cubicBezTo>
                      <a:pt x="154" y="8"/>
                      <a:pt x="154" y="20"/>
                      <a:pt x="151" y="20"/>
                    </a:cubicBezTo>
                    <a:cubicBezTo>
                      <a:pt x="151" y="20"/>
                      <a:pt x="149" y="19"/>
                      <a:pt x="149" y="22"/>
                    </a:cubicBezTo>
                    <a:cubicBezTo>
                      <a:pt x="149" y="22"/>
                      <a:pt x="146" y="22"/>
                      <a:pt x="146" y="24"/>
                    </a:cubicBezTo>
                    <a:cubicBezTo>
                      <a:pt x="146" y="25"/>
                      <a:pt x="143" y="24"/>
                      <a:pt x="143" y="27"/>
                    </a:cubicBezTo>
                    <a:cubicBezTo>
                      <a:pt x="143" y="27"/>
                      <a:pt x="142" y="27"/>
                      <a:pt x="142" y="30"/>
                    </a:cubicBezTo>
                    <a:cubicBezTo>
                      <a:pt x="142" y="30"/>
                      <a:pt x="135" y="33"/>
                      <a:pt x="137" y="30"/>
                    </a:cubicBezTo>
                    <a:cubicBezTo>
                      <a:pt x="137" y="30"/>
                      <a:pt x="136" y="27"/>
                      <a:pt x="134" y="27"/>
                    </a:cubicBezTo>
                    <a:cubicBezTo>
                      <a:pt x="134" y="27"/>
                      <a:pt x="133" y="24"/>
                      <a:pt x="132" y="24"/>
                    </a:cubicBezTo>
                    <a:cubicBezTo>
                      <a:pt x="132" y="24"/>
                      <a:pt x="131" y="21"/>
                      <a:pt x="134" y="20"/>
                    </a:cubicBezTo>
                    <a:cubicBezTo>
                      <a:pt x="134" y="20"/>
                      <a:pt x="135" y="15"/>
                      <a:pt x="132" y="15"/>
                    </a:cubicBezTo>
                    <a:cubicBezTo>
                      <a:pt x="131" y="16"/>
                      <a:pt x="123" y="16"/>
                      <a:pt x="124" y="13"/>
                    </a:cubicBezTo>
                    <a:cubicBezTo>
                      <a:pt x="124" y="14"/>
                      <a:pt x="121" y="12"/>
                      <a:pt x="120" y="16"/>
                    </a:cubicBezTo>
                    <a:cubicBezTo>
                      <a:pt x="120" y="16"/>
                      <a:pt x="119" y="10"/>
                      <a:pt x="119" y="2"/>
                    </a:cubicBezTo>
                    <a:cubicBezTo>
                      <a:pt x="119" y="2"/>
                      <a:pt x="118" y="1"/>
                      <a:pt x="116" y="0"/>
                    </a:cubicBezTo>
                    <a:cubicBezTo>
                      <a:pt x="115" y="0"/>
                      <a:pt x="111" y="0"/>
                      <a:pt x="110" y="1"/>
                    </a:cubicBezTo>
                    <a:cubicBezTo>
                      <a:pt x="109" y="2"/>
                      <a:pt x="103" y="8"/>
                      <a:pt x="101" y="8"/>
                    </a:cubicBezTo>
                    <a:cubicBezTo>
                      <a:pt x="101" y="8"/>
                      <a:pt x="103" y="11"/>
                      <a:pt x="93" y="12"/>
                    </a:cubicBezTo>
                    <a:cubicBezTo>
                      <a:pt x="93" y="12"/>
                      <a:pt x="92" y="13"/>
                      <a:pt x="91" y="15"/>
                    </a:cubicBezTo>
                    <a:cubicBezTo>
                      <a:pt x="92" y="16"/>
                      <a:pt x="90" y="25"/>
                      <a:pt x="96" y="23"/>
                    </a:cubicBezTo>
                    <a:cubicBezTo>
                      <a:pt x="96" y="24"/>
                      <a:pt x="102" y="23"/>
                      <a:pt x="102" y="22"/>
                    </a:cubicBezTo>
                    <a:cubicBezTo>
                      <a:pt x="101" y="21"/>
                      <a:pt x="101" y="18"/>
                      <a:pt x="103" y="21"/>
                    </a:cubicBezTo>
                    <a:cubicBezTo>
                      <a:pt x="103" y="21"/>
                      <a:pt x="112" y="24"/>
                      <a:pt x="106" y="25"/>
                    </a:cubicBezTo>
                    <a:cubicBezTo>
                      <a:pt x="106" y="26"/>
                      <a:pt x="107" y="31"/>
                      <a:pt x="103" y="31"/>
                    </a:cubicBezTo>
                    <a:cubicBezTo>
                      <a:pt x="103" y="32"/>
                      <a:pt x="103" y="40"/>
                      <a:pt x="99" y="34"/>
                    </a:cubicBezTo>
                    <a:cubicBezTo>
                      <a:pt x="99" y="35"/>
                      <a:pt x="94" y="33"/>
                      <a:pt x="94" y="33"/>
                    </a:cubicBezTo>
                    <a:cubicBezTo>
                      <a:pt x="94" y="33"/>
                      <a:pt x="93" y="34"/>
                      <a:pt x="94" y="36"/>
                    </a:cubicBezTo>
                    <a:cubicBezTo>
                      <a:pt x="94" y="37"/>
                      <a:pt x="98" y="38"/>
                      <a:pt x="97" y="44"/>
                    </a:cubicBezTo>
                    <a:cubicBezTo>
                      <a:pt x="96" y="44"/>
                      <a:pt x="99" y="47"/>
                      <a:pt x="96" y="48"/>
                    </a:cubicBezTo>
                    <a:cubicBezTo>
                      <a:pt x="96" y="48"/>
                      <a:pt x="95" y="48"/>
                      <a:pt x="93" y="49"/>
                    </a:cubicBezTo>
                    <a:cubicBezTo>
                      <a:pt x="97" y="48"/>
                      <a:pt x="100" y="48"/>
                      <a:pt x="100" y="48"/>
                    </a:cubicBezTo>
                    <a:cubicBezTo>
                      <a:pt x="102" y="47"/>
                      <a:pt x="105" y="50"/>
                      <a:pt x="105" y="50"/>
                    </a:cubicBezTo>
                    <a:cubicBezTo>
                      <a:pt x="110" y="50"/>
                      <a:pt x="106" y="61"/>
                      <a:pt x="106" y="61"/>
                    </a:cubicBezTo>
                    <a:cubicBezTo>
                      <a:pt x="101" y="61"/>
                      <a:pt x="103" y="73"/>
                      <a:pt x="103" y="73"/>
                    </a:cubicBezTo>
                    <a:cubicBezTo>
                      <a:pt x="99" y="73"/>
                      <a:pt x="97" y="76"/>
                      <a:pt x="97" y="76"/>
                    </a:cubicBezTo>
                    <a:cubicBezTo>
                      <a:pt x="84" y="75"/>
                      <a:pt x="82" y="78"/>
                      <a:pt x="82" y="78"/>
                    </a:cubicBezTo>
                    <a:cubicBezTo>
                      <a:pt x="73" y="77"/>
                      <a:pt x="73" y="81"/>
                      <a:pt x="73" y="80"/>
                    </a:cubicBezTo>
                    <a:cubicBezTo>
                      <a:pt x="69" y="85"/>
                      <a:pt x="64" y="80"/>
                      <a:pt x="64" y="80"/>
                    </a:cubicBezTo>
                    <a:cubicBezTo>
                      <a:pt x="61" y="80"/>
                      <a:pt x="62" y="74"/>
                      <a:pt x="63" y="70"/>
                    </a:cubicBezTo>
                    <a:cubicBezTo>
                      <a:pt x="62" y="71"/>
                      <a:pt x="61" y="72"/>
                      <a:pt x="61" y="72"/>
                    </a:cubicBezTo>
                    <a:cubicBezTo>
                      <a:pt x="57" y="74"/>
                      <a:pt x="57" y="74"/>
                      <a:pt x="57" y="74"/>
                    </a:cubicBezTo>
                    <a:cubicBezTo>
                      <a:pt x="53" y="79"/>
                      <a:pt x="53" y="79"/>
                      <a:pt x="53" y="79"/>
                    </a:cubicBezTo>
                    <a:cubicBezTo>
                      <a:pt x="53" y="79"/>
                      <a:pt x="50" y="80"/>
                      <a:pt x="50" y="83"/>
                    </a:cubicBezTo>
                    <a:cubicBezTo>
                      <a:pt x="51" y="84"/>
                      <a:pt x="50" y="86"/>
                      <a:pt x="46" y="85"/>
                    </a:cubicBezTo>
                    <a:cubicBezTo>
                      <a:pt x="46" y="86"/>
                      <a:pt x="46" y="86"/>
                      <a:pt x="46" y="86"/>
                    </a:cubicBezTo>
                    <a:cubicBezTo>
                      <a:pt x="47" y="86"/>
                      <a:pt x="49" y="86"/>
                      <a:pt x="49" y="86"/>
                    </a:cubicBezTo>
                    <a:cubicBezTo>
                      <a:pt x="50" y="85"/>
                      <a:pt x="53" y="86"/>
                      <a:pt x="53" y="86"/>
                    </a:cubicBezTo>
                    <a:cubicBezTo>
                      <a:pt x="61" y="84"/>
                      <a:pt x="60" y="88"/>
                      <a:pt x="60" y="88"/>
                    </a:cubicBezTo>
                    <a:cubicBezTo>
                      <a:pt x="59" y="92"/>
                      <a:pt x="62" y="95"/>
                      <a:pt x="62" y="95"/>
                    </a:cubicBezTo>
                    <a:cubicBezTo>
                      <a:pt x="67" y="96"/>
                      <a:pt x="64" y="104"/>
                      <a:pt x="63" y="104"/>
                    </a:cubicBezTo>
                    <a:cubicBezTo>
                      <a:pt x="61" y="104"/>
                      <a:pt x="62" y="107"/>
                      <a:pt x="62" y="107"/>
                    </a:cubicBezTo>
                    <a:cubicBezTo>
                      <a:pt x="62" y="110"/>
                      <a:pt x="55" y="109"/>
                      <a:pt x="55" y="109"/>
                    </a:cubicBezTo>
                    <a:cubicBezTo>
                      <a:pt x="53" y="103"/>
                      <a:pt x="48" y="109"/>
                      <a:pt x="48" y="109"/>
                    </a:cubicBezTo>
                    <a:cubicBezTo>
                      <a:pt x="44" y="114"/>
                      <a:pt x="42" y="109"/>
                      <a:pt x="42" y="109"/>
                    </a:cubicBezTo>
                    <a:cubicBezTo>
                      <a:pt x="36" y="110"/>
                      <a:pt x="35" y="108"/>
                      <a:pt x="35" y="108"/>
                    </a:cubicBezTo>
                    <a:cubicBezTo>
                      <a:pt x="34" y="105"/>
                      <a:pt x="30" y="107"/>
                      <a:pt x="28" y="107"/>
                    </a:cubicBezTo>
                    <a:cubicBezTo>
                      <a:pt x="29" y="108"/>
                      <a:pt x="29" y="110"/>
                      <a:pt x="29" y="110"/>
                    </a:cubicBezTo>
                    <a:cubicBezTo>
                      <a:pt x="30" y="111"/>
                      <a:pt x="31" y="114"/>
                      <a:pt x="31" y="114"/>
                    </a:cubicBezTo>
                    <a:cubicBezTo>
                      <a:pt x="30" y="114"/>
                      <a:pt x="34" y="117"/>
                      <a:pt x="33" y="117"/>
                    </a:cubicBezTo>
                    <a:cubicBezTo>
                      <a:pt x="34" y="117"/>
                      <a:pt x="36" y="122"/>
                      <a:pt x="36" y="121"/>
                    </a:cubicBezTo>
                    <a:cubicBezTo>
                      <a:pt x="39" y="120"/>
                      <a:pt x="41" y="124"/>
                      <a:pt x="41" y="123"/>
                    </a:cubicBezTo>
                    <a:cubicBezTo>
                      <a:pt x="43" y="122"/>
                      <a:pt x="46" y="128"/>
                      <a:pt x="45" y="127"/>
                    </a:cubicBezTo>
                    <a:cubicBezTo>
                      <a:pt x="48" y="128"/>
                      <a:pt x="45" y="130"/>
                      <a:pt x="45" y="130"/>
                    </a:cubicBezTo>
                    <a:cubicBezTo>
                      <a:pt x="42" y="134"/>
                      <a:pt x="42" y="134"/>
                      <a:pt x="42" y="134"/>
                    </a:cubicBezTo>
                    <a:cubicBezTo>
                      <a:pt x="43" y="133"/>
                      <a:pt x="51" y="134"/>
                      <a:pt x="51" y="134"/>
                    </a:cubicBezTo>
                    <a:cubicBezTo>
                      <a:pt x="55" y="133"/>
                      <a:pt x="57" y="134"/>
                      <a:pt x="58" y="134"/>
                    </a:cubicBezTo>
                    <a:cubicBezTo>
                      <a:pt x="58" y="134"/>
                      <a:pt x="59" y="132"/>
                      <a:pt x="59" y="132"/>
                    </a:cubicBezTo>
                    <a:cubicBezTo>
                      <a:pt x="45" y="132"/>
                      <a:pt x="59" y="130"/>
                      <a:pt x="59" y="130"/>
                    </a:cubicBezTo>
                    <a:cubicBezTo>
                      <a:pt x="59" y="130"/>
                      <a:pt x="59" y="128"/>
                      <a:pt x="59" y="127"/>
                    </a:cubicBezTo>
                    <a:cubicBezTo>
                      <a:pt x="64" y="126"/>
                      <a:pt x="59" y="125"/>
                      <a:pt x="59" y="124"/>
                    </a:cubicBezTo>
                    <a:cubicBezTo>
                      <a:pt x="56" y="122"/>
                      <a:pt x="60" y="118"/>
                      <a:pt x="60" y="117"/>
                    </a:cubicBezTo>
                    <a:cubicBezTo>
                      <a:pt x="72" y="115"/>
                      <a:pt x="69" y="119"/>
                      <a:pt x="69" y="119"/>
                    </a:cubicBezTo>
                    <a:cubicBezTo>
                      <a:pt x="73" y="118"/>
                      <a:pt x="75" y="121"/>
                      <a:pt x="75" y="120"/>
                    </a:cubicBezTo>
                    <a:cubicBezTo>
                      <a:pt x="73" y="129"/>
                      <a:pt x="79" y="129"/>
                      <a:pt x="79" y="129"/>
                    </a:cubicBezTo>
                    <a:cubicBezTo>
                      <a:pt x="79" y="132"/>
                      <a:pt x="87" y="131"/>
                      <a:pt x="87" y="131"/>
                    </a:cubicBezTo>
                    <a:cubicBezTo>
                      <a:pt x="88" y="127"/>
                      <a:pt x="99" y="130"/>
                      <a:pt x="99" y="129"/>
                    </a:cubicBezTo>
                    <a:cubicBezTo>
                      <a:pt x="98" y="126"/>
                      <a:pt x="103" y="122"/>
                      <a:pt x="103" y="122"/>
                    </a:cubicBezTo>
                    <a:cubicBezTo>
                      <a:pt x="107" y="122"/>
                      <a:pt x="106" y="113"/>
                      <a:pt x="106" y="113"/>
                    </a:cubicBezTo>
                    <a:cubicBezTo>
                      <a:pt x="105" y="109"/>
                      <a:pt x="111" y="111"/>
                      <a:pt x="110" y="110"/>
                    </a:cubicBezTo>
                    <a:cubicBezTo>
                      <a:pt x="118" y="110"/>
                      <a:pt x="119" y="112"/>
                      <a:pt x="119" y="112"/>
                    </a:cubicBezTo>
                    <a:cubicBezTo>
                      <a:pt x="136" y="114"/>
                      <a:pt x="127" y="106"/>
                      <a:pt x="127" y="106"/>
                    </a:cubicBezTo>
                    <a:cubicBezTo>
                      <a:pt x="124" y="107"/>
                      <a:pt x="126" y="104"/>
                      <a:pt x="126" y="103"/>
                    </a:cubicBezTo>
                    <a:cubicBezTo>
                      <a:pt x="115" y="103"/>
                      <a:pt x="125" y="101"/>
                      <a:pt x="125" y="100"/>
                    </a:cubicBezTo>
                    <a:cubicBezTo>
                      <a:pt x="123" y="92"/>
                      <a:pt x="130" y="99"/>
                      <a:pt x="130" y="99"/>
                    </a:cubicBezTo>
                    <a:cubicBezTo>
                      <a:pt x="132" y="101"/>
                      <a:pt x="135" y="99"/>
                      <a:pt x="135" y="99"/>
                    </a:cubicBezTo>
                    <a:cubicBezTo>
                      <a:pt x="153" y="99"/>
                      <a:pt x="148" y="97"/>
                      <a:pt x="148" y="96"/>
                    </a:cubicBezTo>
                    <a:cubicBezTo>
                      <a:pt x="138" y="94"/>
                      <a:pt x="149" y="92"/>
                      <a:pt x="149" y="92"/>
                    </a:cubicBezTo>
                    <a:cubicBezTo>
                      <a:pt x="148" y="85"/>
                      <a:pt x="150" y="87"/>
                      <a:pt x="150" y="87"/>
                    </a:cubicBezTo>
                    <a:cubicBezTo>
                      <a:pt x="153" y="87"/>
                      <a:pt x="152" y="77"/>
                      <a:pt x="152" y="77"/>
                    </a:cubicBezTo>
                    <a:cubicBezTo>
                      <a:pt x="157" y="76"/>
                      <a:pt x="152" y="75"/>
                      <a:pt x="152" y="75"/>
                    </a:cubicBezTo>
                    <a:cubicBezTo>
                      <a:pt x="152" y="70"/>
                      <a:pt x="149" y="71"/>
                      <a:pt x="149" y="71"/>
                    </a:cubicBezTo>
                    <a:cubicBezTo>
                      <a:pt x="144" y="69"/>
                      <a:pt x="144" y="65"/>
                      <a:pt x="144" y="65"/>
                    </a:cubicBezTo>
                    <a:cubicBezTo>
                      <a:pt x="134" y="65"/>
                      <a:pt x="142" y="62"/>
                      <a:pt x="142" y="62"/>
                    </a:cubicBezTo>
                    <a:cubicBezTo>
                      <a:pt x="146" y="63"/>
                      <a:pt x="145" y="58"/>
                      <a:pt x="145" y="58"/>
                    </a:cubicBezTo>
                    <a:cubicBezTo>
                      <a:pt x="146" y="50"/>
                      <a:pt x="150" y="58"/>
                      <a:pt x="150" y="58"/>
                    </a:cubicBezTo>
                    <a:cubicBezTo>
                      <a:pt x="149" y="60"/>
                      <a:pt x="159" y="60"/>
                      <a:pt x="159" y="59"/>
                    </a:cubicBezTo>
                    <a:cubicBezTo>
                      <a:pt x="160" y="64"/>
                      <a:pt x="164" y="60"/>
                      <a:pt x="164" y="60"/>
                    </a:cubicBezTo>
                    <a:cubicBezTo>
                      <a:pt x="166" y="60"/>
                      <a:pt x="168" y="54"/>
                      <a:pt x="168" y="54"/>
                    </a:cubicBezTo>
                    <a:cubicBezTo>
                      <a:pt x="169" y="50"/>
                      <a:pt x="175" y="55"/>
                      <a:pt x="175" y="54"/>
                    </a:cubicBezTo>
                    <a:cubicBezTo>
                      <a:pt x="173" y="58"/>
                      <a:pt x="176" y="60"/>
                      <a:pt x="176" y="60"/>
                    </a:cubicBezTo>
                    <a:cubicBezTo>
                      <a:pt x="181" y="58"/>
                      <a:pt x="185" y="63"/>
                      <a:pt x="185" y="62"/>
                    </a:cubicBezTo>
                    <a:cubicBezTo>
                      <a:pt x="191" y="61"/>
                      <a:pt x="191" y="66"/>
                      <a:pt x="191" y="66"/>
                    </a:cubicBezTo>
                    <a:cubicBezTo>
                      <a:pt x="195" y="67"/>
                      <a:pt x="195" y="70"/>
                      <a:pt x="195" y="70"/>
                    </a:cubicBezTo>
                    <a:cubicBezTo>
                      <a:pt x="202" y="69"/>
                      <a:pt x="195" y="73"/>
                      <a:pt x="195" y="73"/>
                    </a:cubicBezTo>
                    <a:cubicBezTo>
                      <a:pt x="192" y="73"/>
                      <a:pt x="192" y="78"/>
                      <a:pt x="192" y="77"/>
                    </a:cubicBezTo>
                    <a:cubicBezTo>
                      <a:pt x="187" y="77"/>
                      <a:pt x="188" y="79"/>
                      <a:pt x="188" y="79"/>
                    </a:cubicBezTo>
                    <a:cubicBezTo>
                      <a:pt x="196" y="80"/>
                      <a:pt x="188" y="83"/>
                      <a:pt x="188" y="83"/>
                    </a:cubicBezTo>
                    <a:cubicBezTo>
                      <a:pt x="186" y="83"/>
                      <a:pt x="183" y="88"/>
                      <a:pt x="183" y="88"/>
                    </a:cubicBezTo>
                    <a:cubicBezTo>
                      <a:pt x="179" y="87"/>
                      <a:pt x="181" y="95"/>
                      <a:pt x="181" y="95"/>
                    </a:cubicBezTo>
                    <a:cubicBezTo>
                      <a:pt x="187" y="96"/>
                      <a:pt x="181" y="100"/>
                      <a:pt x="181" y="100"/>
                    </a:cubicBezTo>
                    <a:cubicBezTo>
                      <a:pt x="182" y="102"/>
                      <a:pt x="180" y="107"/>
                      <a:pt x="180" y="107"/>
                    </a:cubicBezTo>
                    <a:cubicBezTo>
                      <a:pt x="179" y="107"/>
                      <a:pt x="177" y="111"/>
                      <a:pt x="177" y="111"/>
                    </a:cubicBezTo>
                    <a:cubicBezTo>
                      <a:pt x="174" y="111"/>
                      <a:pt x="172" y="114"/>
                      <a:pt x="172" y="114"/>
                    </a:cubicBezTo>
                    <a:cubicBezTo>
                      <a:pt x="172" y="117"/>
                      <a:pt x="160" y="117"/>
                      <a:pt x="160" y="116"/>
                    </a:cubicBezTo>
                    <a:cubicBezTo>
                      <a:pt x="153" y="114"/>
                      <a:pt x="155" y="136"/>
                      <a:pt x="155" y="136"/>
                    </a:cubicBezTo>
                    <a:cubicBezTo>
                      <a:pt x="159" y="134"/>
                      <a:pt x="157" y="143"/>
                      <a:pt x="157" y="143"/>
                    </a:cubicBezTo>
                    <a:cubicBezTo>
                      <a:pt x="160" y="143"/>
                      <a:pt x="160" y="145"/>
                      <a:pt x="160" y="145"/>
                    </a:cubicBezTo>
                    <a:cubicBezTo>
                      <a:pt x="157" y="150"/>
                      <a:pt x="168" y="148"/>
                      <a:pt x="168" y="148"/>
                    </a:cubicBezTo>
                    <a:cubicBezTo>
                      <a:pt x="167" y="145"/>
                      <a:pt x="176" y="146"/>
                      <a:pt x="176" y="145"/>
                    </a:cubicBezTo>
                    <a:cubicBezTo>
                      <a:pt x="176" y="142"/>
                      <a:pt x="185" y="144"/>
                      <a:pt x="185" y="143"/>
                    </a:cubicBezTo>
                    <a:cubicBezTo>
                      <a:pt x="197" y="142"/>
                      <a:pt x="199" y="146"/>
                      <a:pt x="199" y="145"/>
                    </a:cubicBezTo>
                    <a:cubicBezTo>
                      <a:pt x="204" y="143"/>
                      <a:pt x="204" y="157"/>
                      <a:pt x="204" y="157"/>
                    </a:cubicBezTo>
                    <a:cubicBezTo>
                      <a:pt x="207" y="156"/>
                      <a:pt x="209" y="164"/>
                      <a:pt x="209" y="164"/>
                    </a:cubicBezTo>
                    <a:cubicBezTo>
                      <a:pt x="211" y="164"/>
                      <a:pt x="214" y="168"/>
                      <a:pt x="214" y="167"/>
                    </a:cubicBezTo>
                    <a:cubicBezTo>
                      <a:pt x="222" y="166"/>
                      <a:pt x="222" y="169"/>
                      <a:pt x="222" y="169"/>
                    </a:cubicBezTo>
                    <a:cubicBezTo>
                      <a:pt x="221" y="173"/>
                      <a:pt x="225" y="170"/>
                      <a:pt x="225" y="171"/>
                    </a:cubicBezTo>
                    <a:cubicBezTo>
                      <a:pt x="228" y="167"/>
                      <a:pt x="233" y="172"/>
                      <a:pt x="233" y="172"/>
                    </a:cubicBezTo>
                    <a:cubicBezTo>
                      <a:pt x="233" y="166"/>
                      <a:pt x="237" y="164"/>
                      <a:pt x="236" y="164"/>
                    </a:cubicBezTo>
                    <a:cubicBezTo>
                      <a:pt x="240" y="165"/>
                      <a:pt x="240" y="153"/>
                      <a:pt x="240" y="153"/>
                    </a:cubicBezTo>
                    <a:cubicBezTo>
                      <a:pt x="245" y="153"/>
                      <a:pt x="254" y="152"/>
                      <a:pt x="254" y="151"/>
                    </a:cubicBezTo>
                    <a:cubicBezTo>
                      <a:pt x="252" y="145"/>
                      <a:pt x="259" y="145"/>
                      <a:pt x="258" y="144"/>
                    </a:cubicBezTo>
                    <a:cubicBezTo>
                      <a:pt x="257" y="139"/>
                      <a:pt x="272" y="141"/>
                      <a:pt x="272" y="141"/>
                    </a:cubicBezTo>
                    <a:cubicBezTo>
                      <a:pt x="272" y="137"/>
                      <a:pt x="278" y="138"/>
                      <a:pt x="278" y="138"/>
                    </a:cubicBezTo>
                    <a:cubicBezTo>
                      <a:pt x="284" y="138"/>
                      <a:pt x="277" y="133"/>
                      <a:pt x="277" y="133"/>
                    </a:cubicBezTo>
                    <a:cubicBezTo>
                      <a:pt x="267" y="130"/>
                      <a:pt x="277" y="130"/>
                      <a:pt x="277" y="129"/>
                    </a:cubicBezTo>
                    <a:cubicBezTo>
                      <a:pt x="276" y="122"/>
                      <a:pt x="280" y="124"/>
                      <a:pt x="280" y="124"/>
                    </a:cubicBezTo>
                    <a:cubicBezTo>
                      <a:pt x="281" y="129"/>
                      <a:pt x="284" y="122"/>
                      <a:pt x="283" y="122"/>
                    </a:cubicBezTo>
                    <a:cubicBezTo>
                      <a:pt x="285" y="120"/>
                      <a:pt x="287" y="125"/>
                      <a:pt x="287" y="125"/>
                    </a:cubicBezTo>
                    <a:cubicBezTo>
                      <a:pt x="287" y="127"/>
                      <a:pt x="291" y="126"/>
                      <a:pt x="291" y="126"/>
                    </a:cubicBezTo>
                    <a:cubicBezTo>
                      <a:pt x="293" y="130"/>
                      <a:pt x="300" y="126"/>
                      <a:pt x="299" y="126"/>
                    </a:cubicBezTo>
                    <a:cubicBezTo>
                      <a:pt x="304" y="126"/>
                      <a:pt x="307" y="124"/>
                      <a:pt x="307" y="124"/>
                    </a:cubicBezTo>
                    <a:cubicBezTo>
                      <a:pt x="309" y="123"/>
                      <a:pt x="310" y="118"/>
                      <a:pt x="310" y="118"/>
                    </a:cubicBezTo>
                    <a:cubicBezTo>
                      <a:pt x="313" y="118"/>
                      <a:pt x="315" y="114"/>
                      <a:pt x="315" y="114"/>
                    </a:cubicBezTo>
                    <a:cubicBezTo>
                      <a:pt x="319" y="119"/>
                      <a:pt x="318" y="114"/>
                      <a:pt x="318" y="113"/>
                    </a:cubicBezTo>
                    <a:cubicBezTo>
                      <a:pt x="319" y="112"/>
                      <a:pt x="320" y="111"/>
                      <a:pt x="322" y="111"/>
                    </a:cubicBezTo>
                    <a:cubicBezTo>
                      <a:pt x="320" y="110"/>
                      <a:pt x="319" y="107"/>
                      <a:pt x="319" y="107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0" name="Freeform 229">
                <a:extLst>
                  <a:ext uri="{FF2B5EF4-FFF2-40B4-BE49-F238E27FC236}">
                    <a16:creationId xmlns:a16="http://schemas.microsoft.com/office/drawing/2014/main" id="{CCD29255-70B5-72F2-2243-F5246E93F189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27348" y="4708300"/>
                <a:ext cx="609755" cy="541626"/>
              </a:xfrm>
              <a:custGeom>
                <a:avLst/>
                <a:gdLst>
                  <a:gd name="T0" fmla="*/ 185 w 192"/>
                  <a:gd name="T1" fmla="*/ 87 h 170"/>
                  <a:gd name="T2" fmla="*/ 178 w 192"/>
                  <a:gd name="T3" fmla="*/ 85 h 170"/>
                  <a:gd name="T4" fmla="*/ 165 w 192"/>
                  <a:gd name="T5" fmla="*/ 88 h 170"/>
                  <a:gd name="T6" fmla="*/ 158 w 192"/>
                  <a:gd name="T7" fmla="*/ 79 h 170"/>
                  <a:gd name="T8" fmla="*/ 157 w 192"/>
                  <a:gd name="T9" fmla="*/ 61 h 170"/>
                  <a:gd name="T10" fmla="*/ 158 w 192"/>
                  <a:gd name="T11" fmla="*/ 51 h 170"/>
                  <a:gd name="T12" fmla="*/ 147 w 192"/>
                  <a:gd name="T13" fmla="*/ 62 h 170"/>
                  <a:gd name="T14" fmla="*/ 139 w 192"/>
                  <a:gd name="T15" fmla="*/ 73 h 170"/>
                  <a:gd name="T16" fmla="*/ 127 w 192"/>
                  <a:gd name="T17" fmla="*/ 83 h 170"/>
                  <a:gd name="T18" fmla="*/ 125 w 192"/>
                  <a:gd name="T19" fmla="*/ 101 h 170"/>
                  <a:gd name="T20" fmla="*/ 118 w 192"/>
                  <a:gd name="T21" fmla="*/ 110 h 170"/>
                  <a:gd name="T22" fmla="*/ 109 w 192"/>
                  <a:gd name="T23" fmla="*/ 118 h 170"/>
                  <a:gd name="T24" fmla="*/ 105 w 192"/>
                  <a:gd name="T25" fmla="*/ 104 h 170"/>
                  <a:gd name="T26" fmla="*/ 107 w 192"/>
                  <a:gd name="T27" fmla="*/ 92 h 170"/>
                  <a:gd name="T28" fmla="*/ 109 w 192"/>
                  <a:gd name="T29" fmla="*/ 84 h 170"/>
                  <a:gd name="T30" fmla="*/ 116 w 192"/>
                  <a:gd name="T31" fmla="*/ 73 h 170"/>
                  <a:gd name="T32" fmla="*/ 118 w 192"/>
                  <a:gd name="T33" fmla="*/ 61 h 170"/>
                  <a:gd name="T34" fmla="*/ 110 w 192"/>
                  <a:gd name="T35" fmla="*/ 46 h 170"/>
                  <a:gd name="T36" fmla="*/ 95 w 192"/>
                  <a:gd name="T37" fmla="*/ 45 h 170"/>
                  <a:gd name="T38" fmla="*/ 85 w 192"/>
                  <a:gd name="T39" fmla="*/ 61 h 170"/>
                  <a:gd name="T40" fmla="*/ 93 w 192"/>
                  <a:gd name="T41" fmla="*/ 82 h 170"/>
                  <a:gd name="T42" fmla="*/ 85 w 192"/>
                  <a:gd name="T43" fmla="*/ 91 h 170"/>
                  <a:gd name="T44" fmla="*/ 75 w 192"/>
                  <a:gd name="T45" fmla="*/ 86 h 170"/>
                  <a:gd name="T46" fmla="*/ 59 w 192"/>
                  <a:gd name="T47" fmla="*/ 89 h 170"/>
                  <a:gd name="T48" fmla="*/ 50 w 192"/>
                  <a:gd name="T49" fmla="*/ 93 h 170"/>
                  <a:gd name="T50" fmla="*/ 30 w 192"/>
                  <a:gd name="T51" fmla="*/ 100 h 170"/>
                  <a:gd name="T52" fmla="*/ 24 w 192"/>
                  <a:gd name="T53" fmla="*/ 103 h 170"/>
                  <a:gd name="T54" fmla="*/ 17 w 192"/>
                  <a:gd name="T55" fmla="*/ 108 h 170"/>
                  <a:gd name="T56" fmla="*/ 13 w 192"/>
                  <a:gd name="T57" fmla="*/ 118 h 170"/>
                  <a:gd name="T58" fmla="*/ 21 w 192"/>
                  <a:gd name="T59" fmla="*/ 127 h 170"/>
                  <a:gd name="T60" fmla="*/ 18 w 192"/>
                  <a:gd name="T61" fmla="*/ 138 h 170"/>
                  <a:gd name="T62" fmla="*/ 11 w 192"/>
                  <a:gd name="T63" fmla="*/ 150 h 170"/>
                  <a:gd name="T64" fmla="*/ 7 w 192"/>
                  <a:gd name="T65" fmla="*/ 169 h 170"/>
                  <a:gd name="T66" fmla="*/ 21 w 192"/>
                  <a:gd name="T67" fmla="*/ 159 h 170"/>
                  <a:gd name="T68" fmla="*/ 41 w 192"/>
                  <a:gd name="T69" fmla="*/ 165 h 170"/>
                  <a:gd name="T70" fmla="*/ 49 w 192"/>
                  <a:gd name="T71" fmla="*/ 160 h 170"/>
                  <a:gd name="T72" fmla="*/ 73 w 192"/>
                  <a:gd name="T73" fmla="*/ 157 h 170"/>
                  <a:gd name="T74" fmla="*/ 102 w 192"/>
                  <a:gd name="T75" fmla="*/ 161 h 170"/>
                  <a:gd name="T76" fmla="*/ 117 w 192"/>
                  <a:gd name="T77" fmla="*/ 152 h 170"/>
                  <a:gd name="T78" fmla="*/ 129 w 192"/>
                  <a:gd name="T79" fmla="*/ 135 h 170"/>
                  <a:gd name="T80" fmla="*/ 141 w 192"/>
                  <a:gd name="T81" fmla="*/ 126 h 170"/>
                  <a:gd name="T82" fmla="*/ 150 w 192"/>
                  <a:gd name="T83" fmla="*/ 121 h 170"/>
                  <a:gd name="T84" fmla="*/ 166 w 192"/>
                  <a:gd name="T85" fmla="*/ 115 h 170"/>
                  <a:gd name="T86" fmla="*/ 181 w 192"/>
                  <a:gd name="T87" fmla="*/ 107 h 170"/>
                  <a:gd name="T88" fmla="*/ 188 w 192"/>
                  <a:gd name="T89" fmla="*/ 96 h 170"/>
                  <a:gd name="T90" fmla="*/ 123 w 192"/>
                  <a:gd name="T91" fmla="*/ 15 h 170"/>
                  <a:gd name="T92" fmla="*/ 135 w 192"/>
                  <a:gd name="T93" fmla="*/ 19 h 170"/>
                  <a:gd name="T94" fmla="*/ 143 w 192"/>
                  <a:gd name="T95" fmla="*/ 12 h 170"/>
                  <a:gd name="T96" fmla="*/ 143 w 192"/>
                  <a:gd name="T97" fmla="*/ 7 h 170"/>
                  <a:gd name="T98" fmla="*/ 131 w 192"/>
                  <a:gd name="T99" fmla="*/ 3 h 170"/>
                  <a:gd name="T100" fmla="*/ 122 w 192"/>
                  <a:gd name="T101" fmla="*/ 8 h 17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92"/>
                  <a:gd name="T154" fmla="*/ 0 h 170"/>
                  <a:gd name="T155" fmla="*/ 192 w 192"/>
                  <a:gd name="T156" fmla="*/ 170 h 170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92" h="170">
                    <a:moveTo>
                      <a:pt x="187" y="88"/>
                    </a:moveTo>
                    <a:cubicBezTo>
                      <a:pt x="187" y="88"/>
                      <a:pt x="192" y="85"/>
                      <a:pt x="188" y="84"/>
                    </a:cubicBezTo>
                    <a:cubicBezTo>
                      <a:pt x="188" y="84"/>
                      <a:pt x="185" y="84"/>
                      <a:pt x="185" y="87"/>
                    </a:cubicBezTo>
                    <a:cubicBezTo>
                      <a:pt x="185" y="87"/>
                      <a:pt x="182" y="88"/>
                      <a:pt x="182" y="86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2" y="81"/>
                      <a:pt x="177" y="75"/>
                      <a:pt x="178" y="85"/>
                    </a:cubicBezTo>
                    <a:cubicBezTo>
                      <a:pt x="178" y="86"/>
                      <a:pt x="173" y="85"/>
                      <a:pt x="173" y="88"/>
                    </a:cubicBezTo>
                    <a:cubicBezTo>
                      <a:pt x="170" y="89"/>
                      <a:pt x="170" y="89"/>
                      <a:pt x="170" y="89"/>
                    </a:cubicBezTo>
                    <a:cubicBezTo>
                      <a:pt x="170" y="89"/>
                      <a:pt x="166" y="93"/>
                      <a:pt x="165" y="88"/>
                    </a:cubicBezTo>
                    <a:cubicBezTo>
                      <a:pt x="163" y="83"/>
                      <a:pt x="163" y="83"/>
                      <a:pt x="163" y="83"/>
                    </a:cubicBezTo>
                    <a:cubicBezTo>
                      <a:pt x="160" y="80"/>
                      <a:pt x="160" y="80"/>
                      <a:pt x="160" y="80"/>
                    </a:cubicBezTo>
                    <a:cubicBezTo>
                      <a:pt x="158" y="79"/>
                      <a:pt x="158" y="79"/>
                      <a:pt x="158" y="79"/>
                    </a:cubicBezTo>
                    <a:cubicBezTo>
                      <a:pt x="158" y="79"/>
                      <a:pt x="156" y="75"/>
                      <a:pt x="156" y="72"/>
                    </a:cubicBezTo>
                    <a:cubicBezTo>
                      <a:pt x="156" y="72"/>
                      <a:pt x="156" y="69"/>
                      <a:pt x="154" y="69"/>
                    </a:cubicBezTo>
                    <a:cubicBezTo>
                      <a:pt x="154" y="69"/>
                      <a:pt x="151" y="60"/>
                      <a:pt x="157" y="61"/>
                    </a:cubicBezTo>
                    <a:cubicBezTo>
                      <a:pt x="159" y="60"/>
                      <a:pt x="159" y="60"/>
                      <a:pt x="159" y="60"/>
                    </a:cubicBezTo>
                    <a:cubicBezTo>
                      <a:pt x="161" y="58"/>
                      <a:pt x="161" y="58"/>
                      <a:pt x="161" y="58"/>
                    </a:cubicBezTo>
                    <a:cubicBezTo>
                      <a:pt x="161" y="58"/>
                      <a:pt x="158" y="52"/>
                      <a:pt x="158" y="51"/>
                    </a:cubicBezTo>
                    <a:cubicBezTo>
                      <a:pt x="158" y="51"/>
                      <a:pt x="154" y="54"/>
                      <a:pt x="154" y="57"/>
                    </a:cubicBezTo>
                    <a:cubicBezTo>
                      <a:pt x="154" y="57"/>
                      <a:pt x="151" y="58"/>
                      <a:pt x="152" y="60"/>
                    </a:cubicBezTo>
                    <a:cubicBezTo>
                      <a:pt x="151" y="60"/>
                      <a:pt x="147" y="59"/>
                      <a:pt x="147" y="62"/>
                    </a:cubicBezTo>
                    <a:cubicBezTo>
                      <a:pt x="147" y="62"/>
                      <a:pt x="144" y="65"/>
                      <a:pt x="145" y="66"/>
                    </a:cubicBezTo>
                    <a:cubicBezTo>
                      <a:pt x="145" y="67"/>
                      <a:pt x="142" y="69"/>
                      <a:pt x="142" y="69"/>
                    </a:cubicBezTo>
                    <a:cubicBezTo>
                      <a:pt x="142" y="69"/>
                      <a:pt x="140" y="73"/>
                      <a:pt x="139" y="73"/>
                    </a:cubicBezTo>
                    <a:cubicBezTo>
                      <a:pt x="139" y="73"/>
                      <a:pt x="135" y="77"/>
                      <a:pt x="131" y="77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27" y="83"/>
                      <a:pt x="127" y="83"/>
                      <a:pt x="127" y="83"/>
                    </a:cubicBezTo>
                    <a:cubicBezTo>
                      <a:pt x="127" y="83"/>
                      <a:pt x="125" y="86"/>
                      <a:pt x="127" y="88"/>
                    </a:cubicBezTo>
                    <a:cubicBezTo>
                      <a:pt x="127" y="88"/>
                      <a:pt x="129" y="95"/>
                      <a:pt x="128" y="96"/>
                    </a:cubicBezTo>
                    <a:cubicBezTo>
                      <a:pt x="127" y="96"/>
                      <a:pt x="125" y="101"/>
                      <a:pt x="125" y="101"/>
                    </a:cubicBezTo>
                    <a:cubicBezTo>
                      <a:pt x="125" y="101"/>
                      <a:pt x="122" y="102"/>
                      <a:pt x="123" y="105"/>
                    </a:cubicBezTo>
                    <a:cubicBezTo>
                      <a:pt x="123" y="106"/>
                      <a:pt x="120" y="107"/>
                      <a:pt x="120" y="107"/>
                    </a:cubicBezTo>
                    <a:cubicBezTo>
                      <a:pt x="118" y="110"/>
                      <a:pt x="118" y="110"/>
                      <a:pt x="118" y="110"/>
                    </a:cubicBezTo>
                    <a:cubicBezTo>
                      <a:pt x="117" y="115"/>
                      <a:pt x="117" y="115"/>
                      <a:pt x="117" y="115"/>
                    </a:cubicBezTo>
                    <a:cubicBezTo>
                      <a:pt x="112" y="117"/>
                      <a:pt x="112" y="117"/>
                      <a:pt x="112" y="117"/>
                    </a:cubicBezTo>
                    <a:cubicBezTo>
                      <a:pt x="109" y="118"/>
                      <a:pt x="109" y="118"/>
                      <a:pt x="109" y="118"/>
                    </a:cubicBezTo>
                    <a:cubicBezTo>
                      <a:pt x="106" y="115"/>
                      <a:pt x="106" y="115"/>
                      <a:pt x="106" y="115"/>
                    </a:cubicBezTo>
                    <a:cubicBezTo>
                      <a:pt x="106" y="115"/>
                      <a:pt x="108" y="110"/>
                      <a:pt x="106" y="107"/>
                    </a:cubicBezTo>
                    <a:cubicBezTo>
                      <a:pt x="106" y="107"/>
                      <a:pt x="105" y="104"/>
                      <a:pt x="105" y="104"/>
                    </a:cubicBezTo>
                    <a:cubicBezTo>
                      <a:pt x="105" y="104"/>
                      <a:pt x="104" y="100"/>
                      <a:pt x="105" y="100"/>
                    </a:cubicBezTo>
                    <a:cubicBezTo>
                      <a:pt x="105" y="100"/>
                      <a:pt x="109" y="99"/>
                      <a:pt x="108" y="97"/>
                    </a:cubicBezTo>
                    <a:cubicBezTo>
                      <a:pt x="108" y="97"/>
                      <a:pt x="107" y="92"/>
                      <a:pt x="107" y="92"/>
                    </a:cubicBezTo>
                    <a:cubicBezTo>
                      <a:pt x="107" y="92"/>
                      <a:pt x="112" y="91"/>
                      <a:pt x="107" y="89"/>
                    </a:cubicBezTo>
                    <a:cubicBezTo>
                      <a:pt x="107" y="86"/>
                      <a:pt x="107" y="86"/>
                      <a:pt x="107" y="86"/>
                    </a:cubicBezTo>
                    <a:cubicBezTo>
                      <a:pt x="107" y="86"/>
                      <a:pt x="110" y="88"/>
                      <a:pt x="109" y="84"/>
                    </a:cubicBezTo>
                    <a:cubicBezTo>
                      <a:pt x="112" y="80"/>
                      <a:pt x="112" y="80"/>
                      <a:pt x="112" y="80"/>
                    </a:cubicBezTo>
                    <a:cubicBezTo>
                      <a:pt x="113" y="77"/>
                      <a:pt x="113" y="77"/>
                      <a:pt x="113" y="77"/>
                    </a:cubicBezTo>
                    <a:cubicBezTo>
                      <a:pt x="113" y="77"/>
                      <a:pt x="117" y="77"/>
                      <a:pt x="116" y="73"/>
                    </a:cubicBezTo>
                    <a:cubicBezTo>
                      <a:pt x="116" y="73"/>
                      <a:pt x="116" y="68"/>
                      <a:pt x="119" y="69"/>
                    </a:cubicBezTo>
                    <a:cubicBezTo>
                      <a:pt x="119" y="69"/>
                      <a:pt x="120" y="63"/>
                      <a:pt x="118" y="64"/>
                    </a:cubicBezTo>
                    <a:cubicBezTo>
                      <a:pt x="117" y="65"/>
                      <a:pt x="116" y="61"/>
                      <a:pt x="118" y="61"/>
                    </a:cubicBezTo>
                    <a:cubicBezTo>
                      <a:pt x="118" y="61"/>
                      <a:pt x="117" y="56"/>
                      <a:pt x="119" y="53"/>
                    </a:cubicBezTo>
                    <a:cubicBezTo>
                      <a:pt x="117" y="54"/>
                      <a:pt x="116" y="54"/>
                      <a:pt x="116" y="54"/>
                    </a:cubicBezTo>
                    <a:cubicBezTo>
                      <a:pt x="116" y="51"/>
                      <a:pt x="110" y="46"/>
                      <a:pt x="110" y="46"/>
                    </a:cubicBezTo>
                    <a:cubicBezTo>
                      <a:pt x="105" y="46"/>
                      <a:pt x="101" y="42"/>
                      <a:pt x="102" y="41"/>
                    </a:cubicBezTo>
                    <a:cubicBezTo>
                      <a:pt x="102" y="38"/>
                      <a:pt x="97" y="34"/>
                      <a:pt x="97" y="34"/>
                    </a:cubicBezTo>
                    <a:cubicBezTo>
                      <a:pt x="97" y="34"/>
                      <a:pt x="94" y="39"/>
                      <a:pt x="95" y="45"/>
                    </a:cubicBezTo>
                    <a:cubicBezTo>
                      <a:pt x="94" y="46"/>
                      <a:pt x="92" y="46"/>
                      <a:pt x="92" y="50"/>
                    </a:cubicBezTo>
                    <a:cubicBezTo>
                      <a:pt x="92" y="50"/>
                      <a:pt x="86" y="51"/>
                      <a:pt x="87" y="53"/>
                    </a:cubicBezTo>
                    <a:cubicBezTo>
                      <a:pt x="87" y="54"/>
                      <a:pt x="85" y="54"/>
                      <a:pt x="85" y="61"/>
                    </a:cubicBezTo>
                    <a:cubicBezTo>
                      <a:pt x="85" y="61"/>
                      <a:pt x="88" y="69"/>
                      <a:pt x="88" y="69"/>
                    </a:cubicBezTo>
                    <a:cubicBezTo>
                      <a:pt x="88" y="69"/>
                      <a:pt x="94" y="73"/>
                      <a:pt x="93" y="75"/>
                    </a:cubicBezTo>
                    <a:cubicBezTo>
                      <a:pt x="93" y="75"/>
                      <a:pt x="96" y="85"/>
                      <a:pt x="93" y="82"/>
                    </a:cubicBezTo>
                    <a:cubicBezTo>
                      <a:pt x="93" y="83"/>
                      <a:pt x="90" y="87"/>
                      <a:pt x="90" y="87"/>
                    </a:cubicBezTo>
                    <a:cubicBezTo>
                      <a:pt x="87" y="88"/>
                      <a:pt x="87" y="88"/>
                      <a:pt x="87" y="88"/>
                    </a:cubicBezTo>
                    <a:cubicBezTo>
                      <a:pt x="85" y="91"/>
                      <a:pt x="85" y="91"/>
                      <a:pt x="85" y="91"/>
                    </a:cubicBezTo>
                    <a:cubicBezTo>
                      <a:pt x="85" y="91"/>
                      <a:pt x="83" y="95"/>
                      <a:pt x="81" y="91"/>
                    </a:cubicBezTo>
                    <a:cubicBezTo>
                      <a:pt x="81" y="91"/>
                      <a:pt x="80" y="89"/>
                      <a:pt x="78" y="89"/>
                    </a:cubicBezTo>
                    <a:cubicBezTo>
                      <a:pt x="78" y="89"/>
                      <a:pt x="78" y="86"/>
                      <a:pt x="75" y="86"/>
                    </a:cubicBezTo>
                    <a:cubicBezTo>
                      <a:pt x="75" y="86"/>
                      <a:pt x="74" y="81"/>
                      <a:pt x="71" y="86"/>
                    </a:cubicBezTo>
                    <a:cubicBezTo>
                      <a:pt x="71" y="87"/>
                      <a:pt x="65" y="85"/>
                      <a:pt x="67" y="88"/>
                    </a:cubicBezTo>
                    <a:cubicBezTo>
                      <a:pt x="59" y="89"/>
                      <a:pt x="59" y="89"/>
                      <a:pt x="59" y="89"/>
                    </a:cubicBezTo>
                    <a:cubicBezTo>
                      <a:pt x="59" y="89"/>
                      <a:pt x="56" y="89"/>
                      <a:pt x="56" y="91"/>
                    </a:cubicBezTo>
                    <a:cubicBezTo>
                      <a:pt x="54" y="93"/>
                      <a:pt x="54" y="93"/>
                      <a:pt x="54" y="93"/>
                    </a:cubicBezTo>
                    <a:cubicBezTo>
                      <a:pt x="54" y="93"/>
                      <a:pt x="52" y="97"/>
                      <a:pt x="50" y="93"/>
                    </a:cubicBezTo>
                    <a:cubicBezTo>
                      <a:pt x="49" y="93"/>
                      <a:pt x="49" y="90"/>
                      <a:pt x="42" y="91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3" y="102"/>
                      <a:pt x="30" y="100"/>
                    </a:cubicBezTo>
                    <a:cubicBezTo>
                      <a:pt x="28" y="102"/>
                      <a:pt x="28" y="102"/>
                      <a:pt x="28" y="102"/>
                    </a:cubicBezTo>
                    <a:cubicBezTo>
                      <a:pt x="28" y="102"/>
                      <a:pt x="25" y="99"/>
                      <a:pt x="25" y="101"/>
                    </a:cubicBezTo>
                    <a:cubicBezTo>
                      <a:pt x="24" y="102"/>
                      <a:pt x="22" y="103"/>
                      <a:pt x="24" y="103"/>
                    </a:cubicBezTo>
                    <a:cubicBezTo>
                      <a:pt x="25" y="104"/>
                      <a:pt x="27" y="104"/>
                      <a:pt x="25" y="105"/>
                    </a:cubicBezTo>
                    <a:cubicBezTo>
                      <a:pt x="25" y="105"/>
                      <a:pt x="22" y="111"/>
                      <a:pt x="21" y="106"/>
                    </a:cubicBezTo>
                    <a:cubicBezTo>
                      <a:pt x="21" y="106"/>
                      <a:pt x="16" y="103"/>
                      <a:pt x="17" y="108"/>
                    </a:cubicBezTo>
                    <a:cubicBezTo>
                      <a:pt x="13" y="110"/>
                      <a:pt x="13" y="110"/>
                      <a:pt x="13" y="110"/>
                    </a:cubicBezTo>
                    <a:cubicBezTo>
                      <a:pt x="13" y="110"/>
                      <a:pt x="12" y="113"/>
                      <a:pt x="15" y="114"/>
                    </a:cubicBezTo>
                    <a:cubicBezTo>
                      <a:pt x="15" y="114"/>
                      <a:pt x="17" y="118"/>
                      <a:pt x="13" y="118"/>
                    </a:cubicBezTo>
                    <a:cubicBezTo>
                      <a:pt x="13" y="118"/>
                      <a:pt x="10" y="120"/>
                      <a:pt x="14" y="121"/>
                    </a:cubicBezTo>
                    <a:cubicBezTo>
                      <a:pt x="14" y="122"/>
                      <a:pt x="20" y="120"/>
                      <a:pt x="19" y="123"/>
                    </a:cubicBezTo>
                    <a:cubicBezTo>
                      <a:pt x="19" y="123"/>
                      <a:pt x="23" y="124"/>
                      <a:pt x="21" y="127"/>
                    </a:cubicBezTo>
                    <a:cubicBezTo>
                      <a:pt x="21" y="127"/>
                      <a:pt x="25" y="130"/>
                      <a:pt x="23" y="131"/>
                    </a:cubicBezTo>
                    <a:cubicBezTo>
                      <a:pt x="22" y="132"/>
                      <a:pt x="22" y="135"/>
                      <a:pt x="21" y="135"/>
                    </a:cubicBezTo>
                    <a:cubicBezTo>
                      <a:pt x="20" y="136"/>
                      <a:pt x="18" y="138"/>
                      <a:pt x="18" y="138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41"/>
                      <a:pt x="13" y="142"/>
                      <a:pt x="14" y="148"/>
                    </a:cubicBezTo>
                    <a:cubicBezTo>
                      <a:pt x="14" y="149"/>
                      <a:pt x="11" y="150"/>
                      <a:pt x="11" y="150"/>
                    </a:cubicBezTo>
                    <a:cubicBezTo>
                      <a:pt x="11" y="150"/>
                      <a:pt x="9" y="152"/>
                      <a:pt x="9" y="155"/>
                    </a:cubicBezTo>
                    <a:cubicBezTo>
                      <a:pt x="9" y="155"/>
                      <a:pt x="6" y="154"/>
                      <a:pt x="7" y="162"/>
                    </a:cubicBezTo>
                    <a:cubicBezTo>
                      <a:pt x="7" y="162"/>
                      <a:pt x="0" y="170"/>
                      <a:pt x="7" y="169"/>
                    </a:cubicBezTo>
                    <a:cubicBezTo>
                      <a:pt x="8" y="169"/>
                      <a:pt x="8" y="166"/>
                      <a:pt x="13" y="166"/>
                    </a:cubicBezTo>
                    <a:cubicBezTo>
                      <a:pt x="13" y="166"/>
                      <a:pt x="14" y="163"/>
                      <a:pt x="17" y="164"/>
                    </a:cubicBezTo>
                    <a:cubicBezTo>
                      <a:pt x="16" y="164"/>
                      <a:pt x="14" y="157"/>
                      <a:pt x="21" y="159"/>
                    </a:cubicBezTo>
                    <a:cubicBezTo>
                      <a:pt x="21" y="159"/>
                      <a:pt x="26" y="159"/>
                      <a:pt x="29" y="161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1" y="165"/>
                      <a:pt x="41" y="165"/>
                      <a:pt x="41" y="165"/>
                    </a:cubicBezTo>
                    <a:cubicBezTo>
                      <a:pt x="41" y="165"/>
                      <a:pt x="42" y="169"/>
                      <a:pt x="44" y="165"/>
                    </a:cubicBezTo>
                    <a:cubicBezTo>
                      <a:pt x="45" y="165"/>
                      <a:pt x="48" y="162"/>
                      <a:pt x="48" y="162"/>
                    </a:cubicBezTo>
                    <a:cubicBezTo>
                      <a:pt x="49" y="160"/>
                      <a:pt x="49" y="160"/>
                      <a:pt x="49" y="160"/>
                    </a:cubicBezTo>
                    <a:cubicBezTo>
                      <a:pt x="52" y="158"/>
                      <a:pt x="52" y="158"/>
                      <a:pt x="52" y="158"/>
                    </a:cubicBezTo>
                    <a:cubicBezTo>
                      <a:pt x="52" y="158"/>
                      <a:pt x="48" y="152"/>
                      <a:pt x="57" y="155"/>
                    </a:cubicBezTo>
                    <a:cubicBezTo>
                      <a:pt x="57" y="155"/>
                      <a:pt x="57" y="158"/>
                      <a:pt x="73" y="157"/>
                    </a:cubicBezTo>
                    <a:cubicBezTo>
                      <a:pt x="73" y="158"/>
                      <a:pt x="74" y="161"/>
                      <a:pt x="84" y="163"/>
                    </a:cubicBezTo>
                    <a:cubicBezTo>
                      <a:pt x="84" y="163"/>
                      <a:pt x="86" y="165"/>
                      <a:pt x="97" y="165"/>
                    </a:cubicBezTo>
                    <a:cubicBezTo>
                      <a:pt x="97" y="165"/>
                      <a:pt x="99" y="161"/>
                      <a:pt x="102" y="161"/>
                    </a:cubicBezTo>
                    <a:cubicBezTo>
                      <a:pt x="102" y="161"/>
                      <a:pt x="103" y="157"/>
                      <a:pt x="107" y="157"/>
                    </a:cubicBezTo>
                    <a:cubicBezTo>
                      <a:pt x="107" y="158"/>
                      <a:pt x="108" y="153"/>
                      <a:pt x="113" y="155"/>
                    </a:cubicBezTo>
                    <a:cubicBezTo>
                      <a:pt x="113" y="155"/>
                      <a:pt x="116" y="152"/>
                      <a:pt x="117" y="152"/>
                    </a:cubicBezTo>
                    <a:cubicBezTo>
                      <a:pt x="117" y="152"/>
                      <a:pt x="119" y="149"/>
                      <a:pt x="122" y="150"/>
                    </a:cubicBezTo>
                    <a:cubicBezTo>
                      <a:pt x="121" y="150"/>
                      <a:pt x="124" y="148"/>
                      <a:pt x="124" y="138"/>
                    </a:cubicBezTo>
                    <a:cubicBezTo>
                      <a:pt x="124" y="138"/>
                      <a:pt x="126" y="135"/>
                      <a:pt x="129" y="135"/>
                    </a:cubicBezTo>
                    <a:cubicBezTo>
                      <a:pt x="129" y="135"/>
                      <a:pt x="130" y="130"/>
                      <a:pt x="131" y="131"/>
                    </a:cubicBezTo>
                    <a:cubicBezTo>
                      <a:pt x="131" y="131"/>
                      <a:pt x="131" y="127"/>
                      <a:pt x="138" y="128"/>
                    </a:cubicBezTo>
                    <a:cubicBezTo>
                      <a:pt x="141" y="126"/>
                      <a:pt x="141" y="126"/>
                      <a:pt x="141" y="126"/>
                    </a:cubicBezTo>
                    <a:cubicBezTo>
                      <a:pt x="141" y="126"/>
                      <a:pt x="142" y="123"/>
                      <a:pt x="145" y="123"/>
                    </a:cubicBezTo>
                    <a:cubicBezTo>
                      <a:pt x="147" y="121"/>
                      <a:pt x="147" y="121"/>
                      <a:pt x="147" y="121"/>
                    </a:cubicBezTo>
                    <a:cubicBezTo>
                      <a:pt x="147" y="121"/>
                      <a:pt x="150" y="117"/>
                      <a:pt x="150" y="121"/>
                    </a:cubicBezTo>
                    <a:cubicBezTo>
                      <a:pt x="150" y="121"/>
                      <a:pt x="154" y="122"/>
                      <a:pt x="156" y="120"/>
                    </a:cubicBezTo>
                    <a:cubicBezTo>
                      <a:pt x="156" y="120"/>
                      <a:pt x="160" y="119"/>
                      <a:pt x="162" y="117"/>
                    </a:cubicBezTo>
                    <a:cubicBezTo>
                      <a:pt x="162" y="117"/>
                      <a:pt x="166" y="116"/>
                      <a:pt x="166" y="115"/>
                    </a:cubicBezTo>
                    <a:cubicBezTo>
                      <a:pt x="167" y="115"/>
                      <a:pt x="173" y="115"/>
                      <a:pt x="173" y="112"/>
                    </a:cubicBezTo>
                    <a:cubicBezTo>
                      <a:pt x="175" y="109"/>
                      <a:pt x="175" y="109"/>
                      <a:pt x="175" y="109"/>
                    </a:cubicBezTo>
                    <a:cubicBezTo>
                      <a:pt x="175" y="109"/>
                      <a:pt x="177" y="106"/>
                      <a:pt x="181" y="107"/>
                    </a:cubicBezTo>
                    <a:cubicBezTo>
                      <a:pt x="181" y="107"/>
                      <a:pt x="183" y="105"/>
                      <a:pt x="182" y="103"/>
                    </a:cubicBezTo>
                    <a:cubicBezTo>
                      <a:pt x="182" y="103"/>
                      <a:pt x="185" y="101"/>
                      <a:pt x="185" y="100"/>
                    </a:cubicBezTo>
                    <a:cubicBezTo>
                      <a:pt x="185" y="100"/>
                      <a:pt x="189" y="97"/>
                      <a:pt x="188" y="96"/>
                    </a:cubicBezTo>
                    <a:cubicBezTo>
                      <a:pt x="188" y="96"/>
                      <a:pt x="192" y="90"/>
                      <a:pt x="187" y="88"/>
                    </a:cubicBezTo>
                    <a:close/>
                    <a:moveTo>
                      <a:pt x="123" y="12"/>
                    </a:moveTo>
                    <a:cubicBezTo>
                      <a:pt x="116" y="14"/>
                      <a:pt x="123" y="15"/>
                      <a:pt x="123" y="15"/>
                    </a:cubicBezTo>
                    <a:cubicBezTo>
                      <a:pt x="125" y="10"/>
                      <a:pt x="127" y="15"/>
                      <a:pt x="127" y="15"/>
                    </a:cubicBezTo>
                    <a:cubicBezTo>
                      <a:pt x="127" y="13"/>
                      <a:pt x="131" y="13"/>
                      <a:pt x="131" y="12"/>
                    </a:cubicBezTo>
                    <a:cubicBezTo>
                      <a:pt x="133" y="15"/>
                      <a:pt x="135" y="19"/>
                      <a:pt x="135" y="19"/>
                    </a:cubicBezTo>
                    <a:cubicBezTo>
                      <a:pt x="139" y="20"/>
                      <a:pt x="139" y="20"/>
                      <a:pt x="139" y="20"/>
                    </a:cubicBezTo>
                    <a:cubicBezTo>
                      <a:pt x="139" y="19"/>
                      <a:pt x="140" y="19"/>
                      <a:pt x="141" y="19"/>
                    </a:cubicBezTo>
                    <a:cubicBezTo>
                      <a:pt x="140" y="19"/>
                      <a:pt x="140" y="12"/>
                      <a:pt x="143" y="12"/>
                    </a:cubicBezTo>
                    <a:cubicBezTo>
                      <a:pt x="143" y="12"/>
                      <a:pt x="143" y="8"/>
                      <a:pt x="145" y="8"/>
                    </a:cubicBezTo>
                    <a:cubicBezTo>
                      <a:pt x="145" y="8"/>
                      <a:pt x="145" y="8"/>
                      <a:pt x="145" y="8"/>
                    </a:cubicBezTo>
                    <a:cubicBezTo>
                      <a:pt x="143" y="7"/>
                      <a:pt x="143" y="7"/>
                      <a:pt x="143" y="7"/>
                    </a:cubicBezTo>
                    <a:cubicBezTo>
                      <a:pt x="143" y="7"/>
                      <a:pt x="136" y="7"/>
                      <a:pt x="135" y="6"/>
                    </a:cubicBezTo>
                    <a:cubicBezTo>
                      <a:pt x="137" y="4"/>
                      <a:pt x="133" y="4"/>
                      <a:pt x="133" y="4"/>
                    </a:cubicBezTo>
                    <a:cubicBezTo>
                      <a:pt x="134" y="0"/>
                      <a:pt x="132" y="2"/>
                      <a:pt x="131" y="3"/>
                    </a:cubicBezTo>
                    <a:cubicBezTo>
                      <a:pt x="132" y="6"/>
                      <a:pt x="127" y="3"/>
                      <a:pt x="127" y="2"/>
                    </a:cubicBezTo>
                    <a:cubicBezTo>
                      <a:pt x="124" y="0"/>
                      <a:pt x="123" y="4"/>
                      <a:pt x="124" y="4"/>
                    </a:cubicBezTo>
                    <a:cubicBezTo>
                      <a:pt x="117" y="3"/>
                      <a:pt x="122" y="8"/>
                      <a:pt x="122" y="8"/>
                    </a:cubicBezTo>
                    <a:cubicBezTo>
                      <a:pt x="129" y="8"/>
                      <a:pt x="123" y="12"/>
                      <a:pt x="123" y="12"/>
                    </a:cubicBezTo>
                    <a:close/>
                  </a:path>
                </a:pathLst>
              </a:custGeom>
              <a:solidFill>
                <a:schemeClr val="bg2"/>
              </a:solidFill>
              <a:ln w="6350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solidFill>
                      <a:sysClr val="windowText" lastClr="000000"/>
                    </a:solidFill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1" name="Freeform 230">
                <a:extLst>
                  <a:ext uri="{FF2B5EF4-FFF2-40B4-BE49-F238E27FC236}">
                    <a16:creationId xmlns:a16="http://schemas.microsoft.com/office/drawing/2014/main" id="{EA6D8E0F-5F9A-B028-D0C9-DDA8541EBEB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962534" y="1867142"/>
                <a:ext cx="253405" cy="194795"/>
              </a:xfrm>
              <a:custGeom>
                <a:avLst/>
                <a:gdLst>
                  <a:gd name="T0" fmla="*/ 74 w 80"/>
                  <a:gd name="T1" fmla="*/ 0 h 61"/>
                  <a:gd name="T2" fmla="*/ 65 w 80"/>
                  <a:gd name="T3" fmla="*/ 5 h 61"/>
                  <a:gd name="T4" fmla="*/ 58 w 80"/>
                  <a:gd name="T5" fmla="*/ 3 h 61"/>
                  <a:gd name="T6" fmla="*/ 47 w 80"/>
                  <a:gd name="T7" fmla="*/ 6 h 61"/>
                  <a:gd name="T8" fmla="*/ 42 w 80"/>
                  <a:gd name="T9" fmla="*/ 11 h 61"/>
                  <a:gd name="T10" fmla="*/ 32 w 80"/>
                  <a:gd name="T11" fmla="*/ 10 h 61"/>
                  <a:gd name="T12" fmla="*/ 20 w 80"/>
                  <a:gd name="T13" fmla="*/ 9 h 61"/>
                  <a:gd name="T14" fmla="*/ 12 w 80"/>
                  <a:gd name="T15" fmla="*/ 13 h 61"/>
                  <a:gd name="T16" fmla="*/ 6 w 80"/>
                  <a:gd name="T17" fmla="*/ 17 h 61"/>
                  <a:gd name="T18" fmla="*/ 3 w 80"/>
                  <a:gd name="T19" fmla="*/ 22 h 61"/>
                  <a:gd name="T20" fmla="*/ 2 w 80"/>
                  <a:gd name="T21" fmla="*/ 27 h 61"/>
                  <a:gd name="T22" fmla="*/ 0 w 80"/>
                  <a:gd name="T23" fmla="*/ 28 h 61"/>
                  <a:gd name="T24" fmla="*/ 3 w 80"/>
                  <a:gd name="T25" fmla="*/ 30 h 61"/>
                  <a:gd name="T26" fmla="*/ 4 w 80"/>
                  <a:gd name="T27" fmla="*/ 44 h 61"/>
                  <a:gd name="T28" fmla="*/ 8 w 80"/>
                  <a:gd name="T29" fmla="*/ 41 h 61"/>
                  <a:gd name="T30" fmla="*/ 16 w 80"/>
                  <a:gd name="T31" fmla="*/ 43 h 61"/>
                  <a:gd name="T32" fmla="*/ 18 w 80"/>
                  <a:gd name="T33" fmla="*/ 48 h 61"/>
                  <a:gd name="T34" fmla="*/ 16 w 80"/>
                  <a:gd name="T35" fmla="*/ 52 h 61"/>
                  <a:gd name="T36" fmla="*/ 18 w 80"/>
                  <a:gd name="T37" fmla="*/ 55 h 61"/>
                  <a:gd name="T38" fmla="*/ 21 w 80"/>
                  <a:gd name="T39" fmla="*/ 58 h 61"/>
                  <a:gd name="T40" fmla="*/ 25 w 80"/>
                  <a:gd name="T41" fmla="*/ 58 h 61"/>
                  <a:gd name="T42" fmla="*/ 27 w 80"/>
                  <a:gd name="T43" fmla="*/ 55 h 61"/>
                  <a:gd name="T44" fmla="*/ 30 w 80"/>
                  <a:gd name="T45" fmla="*/ 52 h 61"/>
                  <a:gd name="T46" fmla="*/ 33 w 80"/>
                  <a:gd name="T47" fmla="*/ 50 h 61"/>
                  <a:gd name="T48" fmla="*/ 35 w 80"/>
                  <a:gd name="T49" fmla="*/ 48 h 61"/>
                  <a:gd name="T50" fmla="*/ 38 w 80"/>
                  <a:gd name="T51" fmla="*/ 37 h 61"/>
                  <a:gd name="T52" fmla="*/ 36 w 80"/>
                  <a:gd name="T53" fmla="*/ 33 h 61"/>
                  <a:gd name="T54" fmla="*/ 40 w 80"/>
                  <a:gd name="T55" fmla="*/ 32 h 61"/>
                  <a:gd name="T56" fmla="*/ 48 w 80"/>
                  <a:gd name="T57" fmla="*/ 33 h 61"/>
                  <a:gd name="T58" fmla="*/ 50 w 80"/>
                  <a:gd name="T59" fmla="*/ 31 h 61"/>
                  <a:gd name="T60" fmla="*/ 56 w 80"/>
                  <a:gd name="T61" fmla="*/ 29 h 61"/>
                  <a:gd name="T62" fmla="*/ 63 w 80"/>
                  <a:gd name="T63" fmla="*/ 27 h 61"/>
                  <a:gd name="T64" fmla="*/ 64 w 80"/>
                  <a:gd name="T65" fmla="*/ 22 h 61"/>
                  <a:gd name="T66" fmla="*/ 67 w 80"/>
                  <a:gd name="T67" fmla="*/ 18 h 61"/>
                  <a:gd name="T68" fmla="*/ 66 w 80"/>
                  <a:gd name="T69" fmla="*/ 14 h 61"/>
                  <a:gd name="T70" fmla="*/ 66 w 80"/>
                  <a:gd name="T71" fmla="*/ 10 h 61"/>
                  <a:gd name="T72" fmla="*/ 73 w 80"/>
                  <a:gd name="T73" fmla="*/ 6 h 61"/>
                  <a:gd name="T74" fmla="*/ 76 w 80"/>
                  <a:gd name="T75" fmla="*/ 3 h 61"/>
                  <a:gd name="T76" fmla="*/ 74 w 80"/>
                  <a:gd name="T77" fmla="*/ 0 h 61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80"/>
                  <a:gd name="T118" fmla="*/ 0 h 61"/>
                  <a:gd name="T119" fmla="*/ 80 w 80"/>
                  <a:gd name="T120" fmla="*/ 61 h 61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80" h="61">
                    <a:moveTo>
                      <a:pt x="74" y="0"/>
                    </a:moveTo>
                    <a:cubicBezTo>
                      <a:pt x="73" y="0"/>
                      <a:pt x="65" y="0"/>
                      <a:pt x="65" y="5"/>
                    </a:cubicBezTo>
                    <a:cubicBezTo>
                      <a:pt x="65" y="6"/>
                      <a:pt x="59" y="6"/>
                      <a:pt x="58" y="3"/>
                    </a:cubicBezTo>
                    <a:cubicBezTo>
                      <a:pt x="59" y="3"/>
                      <a:pt x="46" y="0"/>
                      <a:pt x="47" y="6"/>
                    </a:cubicBezTo>
                    <a:cubicBezTo>
                      <a:pt x="47" y="6"/>
                      <a:pt x="42" y="11"/>
                      <a:pt x="42" y="11"/>
                    </a:cubicBezTo>
                    <a:cubicBezTo>
                      <a:pt x="42" y="11"/>
                      <a:pt x="41" y="8"/>
                      <a:pt x="32" y="10"/>
                    </a:cubicBezTo>
                    <a:cubicBezTo>
                      <a:pt x="32" y="10"/>
                      <a:pt x="25" y="6"/>
                      <a:pt x="20" y="9"/>
                    </a:cubicBezTo>
                    <a:cubicBezTo>
                      <a:pt x="21" y="9"/>
                      <a:pt x="12" y="10"/>
                      <a:pt x="12" y="13"/>
                    </a:cubicBezTo>
                    <a:cubicBezTo>
                      <a:pt x="12" y="14"/>
                      <a:pt x="7" y="16"/>
                      <a:pt x="6" y="17"/>
                    </a:cubicBezTo>
                    <a:cubicBezTo>
                      <a:pt x="5" y="18"/>
                      <a:pt x="4" y="22"/>
                      <a:pt x="3" y="22"/>
                    </a:cubicBezTo>
                    <a:cubicBezTo>
                      <a:pt x="2" y="24"/>
                      <a:pt x="4" y="27"/>
                      <a:pt x="2" y="27"/>
                    </a:cubicBezTo>
                    <a:cubicBezTo>
                      <a:pt x="2" y="28"/>
                      <a:pt x="2" y="28"/>
                      <a:pt x="0" y="28"/>
                    </a:cubicBezTo>
                    <a:cubicBezTo>
                      <a:pt x="2" y="29"/>
                      <a:pt x="3" y="30"/>
                      <a:pt x="3" y="30"/>
                    </a:cubicBezTo>
                    <a:cubicBezTo>
                      <a:pt x="2" y="38"/>
                      <a:pt x="4" y="44"/>
                      <a:pt x="4" y="44"/>
                    </a:cubicBezTo>
                    <a:cubicBezTo>
                      <a:pt x="5" y="40"/>
                      <a:pt x="8" y="42"/>
                      <a:pt x="8" y="41"/>
                    </a:cubicBezTo>
                    <a:cubicBezTo>
                      <a:pt x="7" y="44"/>
                      <a:pt x="15" y="44"/>
                      <a:pt x="16" y="43"/>
                    </a:cubicBezTo>
                    <a:cubicBezTo>
                      <a:pt x="19" y="43"/>
                      <a:pt x="18" y="48"/>
                      <a:pt x="18" y="48"/>
                    </a:cubicBezTo>
                    <a:cubicBezTo>
                      <a:pt x="15" y="49"/>
                      <a:pt x="16" y="52"/>
                      <a:pt x="16" y="52"/>
                    </a:cubicBezTo>
                    <a:cubicBezTo>
                      <a:pt x="17" y="52"/>
                      <a:pt x="18" y="55"/>
                      <a:pt x="18" y="55"/>
                    </a:cubicBezTo>
                    <a:cubicBezTo>
                      <a:pt x="20" y="55"/>
                      <a:pt x="21" y="58"/>
                      <a:pt x="21" y="58"/>
                    </a:cubicBezTo>
                    <a:cubicBezTo>
                      <a:pt x="19" y="61"/>
                      <a:pt x="25" y="58"/>
                      <a:pt x="25" y="58"/>
                    </a:cubicBezTo>
                    <a:cubicBezTo>
                      <a:pt x="25" y="56"/>
                      <a:pt x="27" y="56"/>
                      <a:pt x="27" y="55"/>
                    </a:cubicBezTo>
                    <a:cubicBezTo>
                      <a:pt x="27" y="52"/>
                      <a:pt x="30" y="53"/>
                      <a:pt x="30" y="52"/>
                    </a:cubicBezTo>
                    <a:cubicBezTo>
                      <a:pt x="30" y="50"/>
                      <a:pt x="33" y="50"/>
                      <a:pt x="33" y="50"/>
                    </a:cubicBezTo>
                    <a:cubicBezTo>
                      <a:pt x="33" y="48"/>
                      <a:pt x="35" y="48"/>
                      <a:pt x="35" y="48"/>
                    </a:cubicBezTo>
                    <a:cubicBezTo>
                      <a:pt x="38" y="48"/>
                      <a:pt x="38" y="37"/>
                      <a:pt x="38" y="37"/>
                    </a:cubicBezTo>
                    <a:cubicBezTo>
                      <a:pt x="34" y="37"/>
                      <a:pt x="36" y="33"/>
                      <a:pt x="36" y="33"/>
                    </a:cubicBezTo>
                    <a:cubicBezTo>
                      <a:pt x="36" y="29"/>
                      <a:pt x="40" y="33"/>
                      <a:pt x="40" y="32"/>
                    </a:cubicBezTo>
                    <a:cubicBezTo>
                      <a:pt x="44" y="30"/>
                      <a:pt x="47" y="32"/>
                      <a:pt x="48" y="33"/>
                    </a:cubicBezTo>
                    <a:cubicBezTo>
                      <a:pt x="48" y="32"/>
                      <a:pt x="49" y="31"/>
                      <a:pt x="50" y="31"/>
                    </a:cubicBezTo>
                    <a:cubicBezTo>
                      <a:pt x="50" y="31"/>
                      <a:pt x="52" y="29"/>
                      <a:pt x="56" y="29"/>
                    </a:cubicBezTo>
                    <a:cubicBezTo>
                      <a:pt x="56" y="29"/>
                      <a:pt x="62" y="29"/>
                      <a:pt x="63" y="27"/>
                    </a:cubicBezTo>
                    <a:cubicBezTo>
                      <a:pt x="63" y="27"/>
                      <a:pt x="63" y="22"/>
                      <a:pt x="64" y="22"/>
                    </a:cubicBezTo>
                    <a:cubicBezTo>
                      <a:pt x="64" y="22"/>
                      <a:pt x="65" y="19"/>
                      <a:pt x="67" y="18"/>
                    </a:cubicBezTo>
                    <a:cubicBezTo>
                      <a:pt x="67" y="18"/>
                      <a:pt x="67" y="15"/>
                      <a:pt x="66" y="14"/>
                    </a:cubicBezTo>
                    <a:cubicBezTo>
                      <a:pt x="65" y="14"/>
                      <a:pt x="63" y="11"/>
                      <a:pt x="66" y="10"/>
                    </a:cubicBezTo>
                    <a:cubicBezTo>
                      <a:pt x="66" y="10"/>
                      <a:pt x="71" y="6"/>
                      <a:pt x="73" y="6"/>
                    </a:cubicBezTo>
                    <a:cubicBezTo>
                      <a:pt x="73" y="6"/>
                      <a:pt x="74" y="3"/>
                      <a:pt x="76" y="3"/>
                    </a:cubicBezTo>
                    <a:cubicBezTo>
                      <a:pt x="76" y="3"/>
                      <a:pt x="80" y="1"/>
                      <a:pt x="74" y="0"/>
                    </a:cubicBez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2" name="Freeform 231">
                <a:extLst>
                  <a:ext uri="{FF2B5EF4-FFF2-40B4-BE49-F238E27FC236}">
                    <a16:creationId xmlns:a16="http://schemas.microsoft.com/office/drawing/2014/main" id="{E7AF2738-EB78-BA5E-C72A-58A469A93877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604599" y="2096779"/>
                <a:ext cx="1119732" cy="1015152"/>
              </a:xfrm>
              <a:custGeom>
                <a:avLst/>
                <a:gdLst>
                  <a:gd name="T0" fmla="*/ 70 w 353"/>
                  <a:gd name="T1" fmla="*/ 37 h 318"/>
                  <a:gd name="T2" fmla="*/ 97 w 353"/>
                  <a:gd name="T3" fmla="*/ 4 h 318"/>
                  <a:gd name="T4" fmla="*/ 63 w 353"/>
                  <a:gd name="T5" fmla="*/ 8 h 318"/>
                  <a:gd name="T6" fmla="*/ 24 w 353"/>
                  <a:gd name="T7" fmla="*/ 61 h 318"/>
                  <a:gd name="T8" fmla="*/ 59 w 353"/>
                  <a:gd name="T9" fmla="*/ 64 h 318"/>
                  <a:gd name="T10" fmla="*/ 42 w 353"/>
                  <a:gd name="T11" fmla="*/ 42 h 318"/>
                  <a:gd name="T12" fmla="*/ 349 w 353"/>
                  <a:gd name="T13" fmla="*/ 91 h 318"/>
                  <a:gd name="T14" fmla="*/ 321 w 353"/>
                  <a:gd name="T15" fmla="*/ 68 h 318"/>
                  <a:gd name="T16" fmla="*/ 323 w 353"/>
                  <a:gd name="T17" fmla="*/ 38 h 318"/>
                  <a:gd name="T18" fmla="*/ 318 w 353"/>
                  <a:gd name="T19" fmla="*/ 68 h 318"/>
                  <a:gd name="T20" fmla="*/ 288 w 353"/>
                  <a:gd name="T21" fmla="*/ 83 h 318"/>
                  <a:gd name="T22" fmla="*/ 275 w 353"/>
                  <a:gd name="T23" fmla="*/ 95 h 318"/>
                  <a:gd name="T24" fmla="*/ 230 w 353"/>
                  <a:gd name="T25" fmla="*/ 128 h 318"/>
                  <a:gd name="T26" fmla="*/ 196 w 353"/>
                  <a:gd name="T27" fmla="*/ 102 h 318"/>
                  <a:gd name="T28" fmla="*/ 152 w 353"/>
                  <a:gd name="T29" fmla="*/ 92 h 318"/>
                  <a:gd name="T30" fmla="*/ 178 w 353"/>
                  <a:gd name="T31" fmla="*/ 52 h 318"/>
                  <a:gd name="T32" fmla="*/ 192 w 353"/>
                  <a:gd name="T33" fmla="*/ 27 h 318"/>
                  <a:gd name="T34" fmla="*/ 161 w 353"/>
                  <a:gd name="T35" fmla="*/ 16 h 318"/>
                  <a:gd name="T36" fmla="*/ 146 w 353"/>
                  <a:gd name="T37" fmla="*/ 27 h 318"/>
                  <a:gd name="T38" fmla="*/ 132 w 353"/>
                  <a:gd name="T39" fmla="*/ 55 h 318"/>
                  <a:gd name="T40" fmla="*/ 107 w 353"/>
                  <a:gd name="T41" fmla="*/ 66 h 318"/>
                  <a:gd name="T42" fmla="*/ 72 w 353"/>
                  <a:gd name="T43" fmla="*/ 77 h 318"/>
                  <a:gd name="T44" fmla="*/ 56 w 353"/>
                  <a:gd name="T45" fmla="*/ 88 h 318"/>
                  <a:gd name="T46" fmla="*/ 77 w 353"/>
                  <a:gd name="T47" fmla="*/ 99 h 318"/>
                  <a:gd name="T48" fmla="*/ 103 w 353"/>
                  <a:gd name="T49" fmla="*/ 107 h 318"/>
                  <a:gd name="T50" fmla="*/ 112 w 353"/>
                  <a:gd name="T51" fmla="*/ 120 h 318"/>
                  <a:gd name="T52" fmla="*/ 103 w 353"/>
                  <a:gd name="T53" fmla="*/ 147 h 318"/>
                  <a:gd name="T54" fmla="*/ 68 w 353"/>
                  <a:gd name="T55" fmla="*/ 172 h 318"/>
                  <a:gd name="T56" fmla="*/ 39 w 353"/>
                  <a:gd name="T57" fmla="*/ 191 h 318"/>
                  <a:gd name="T58" fmla="*/ 11 w 353"/>
                  <a:gd name="T59" fmla="*/ 207 h 318"/>
                  <a:gd name="T60" fmla="*/ 6 w 353"/>
                  <a:gd name="T61" fmla="*/ 229 h 318"/>
                  <a:gd name="T62" fmla="*/ 21 w 353"/>
                  <a:gd name="T63" fmla="*/ 253 h 318"/>
                  <a:gd name="T64" fmla="*/ 51 w 353"/>
                  <a:gd name="T65" fmla="*/ 236 h 318"/>
                  <a:gd name="T66" fmla="*/ 74 w 353"/>
                  <a:gd name="T67" fmla="*/ 250 h 318"/>
                  <a:gd name="T68" fmla="*/ 46 w 353"/>
                  <a:gd name="T69" fmla="*/ 266 h 318"/>
                  <a:gd name="T70" fmla="*/ 32 w 353"/>
                  <a:gd name="T71" fmla="*/ 284 h 318"/>
                  <a:gd name="T72" fmla="*/ 19 w 353"/>
                  <a:gd name="T73" fmla="*/ 301 h 318"/>
                  <a:gd name="T74" fmla="*/ 44 w 353"/>
                  <a:gd name="T75" fmla="*/ 305 h 318"/>
                  <a:gd name="T76" fmla="*/ 59 w 353"/>
                  <a:gd name="T77" fmla="*/ 304 h 318"/>
                  <a:gd name="T78" fmla="*/ 76 w 353"/>
                  <a:gd name="T79" fmla="*/ 284 h 318"/>
                  <a:gd name="T80" fmla="*/ 89 w 353"/>
                  <a:gd name="T81" fmla="*/ 258 h 318"/>
                  <a:gd name="T82" fmla="*/ 112 w 353"/>
                  <a:gd name="T83" fmla="*/ 253 h 318"/>
                  <a:gd name="T84" fmla="*/ 137 w 353"/>
                  <a:gd name="T85" fmla="*/ 261 h 318"/>
                  <a:gd name="T86" fmla="*/ 157 w 353"/>
                  <a:gd name="T87" fmla="*/ 256 h 318"/>
                  <a:gd name="T88" fmla="*/ 155 w 353"/>
                  <a:gd name="T89" fmla="*/ 225 h 318"/>
                  <a:gd name="T90" fmla="*/ 133 w 353"/>
                  <a:gd name="T91" fmla="*/ 196 h 318"/>
                  <a:gd name="T92" fmla="*/ 123 w 353"/>
                  <a:gd name="T93" fmla="*/ 169 h 318"/>
                  <a:gd name="T94" fmla="*/ 184 w 353"/>
                  <a:gd name="T95" fmla="*/ 165 h 318"/>
                  <a:gd name="T96" fmla="*/ 214 w 353"/>
                  <a:gd name="T97" fmla="*/ 182 h 318"/>
                  <a:gd name="T98" fmla="*/ 246 w 353"/>
                  <a:gd name="T99" fmla="*/ 183 h 318"/>
                  <a:gd name="T100" fmla="*/ 263 w 353"/>
                  <a:gd name="T101" fmla="*/ 158 h 318"/>
                  <a:gd name="T102" fmla="*/ 292 w 353"/>
                  <a:gd name="T103" fmla="*/ 129 h 318"/>
                  <a:gd name="T104" fmla="*/ 334 w 353"/>
                  <a:gd name="T105" fmla="*/ 135 h 318"/>
                  <a:gd name="T106" fmla="*/ 353 w 353"/>
                  <a:gd name="T107" fmla="*/ 99 h 318"/>
                  <a:gd name="T108" fmla="*/ 169 w 353"/>
                  <a:gd name="T109" fmla="*/ 263 h 31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53"/>
                  <a:gd name="T166" fmla="*/ 0 h 318"/>
                  <a:gd name="T167" fmla="*/ 353 w 353"/>
                  <a:gd name="T168" fmla="*/ 318 h 31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53" h="318">
                    <a:moveTo>
                      <a:pt x="53" y="16"/>
                    </a:moveTo>
                    <a:cubicBezTo>
                      <a:pt x="53" y="15"/>
                      <a:pt x="61" y="18"/>
                      <a:pt x="61" y="18"/>
                    </a:cubicBezTo>
                    <a:cubicBezTo>
                      <a:pt x="61" y="18"/>
                      <a:pt x="64" y="21"/>
                      <a:pt x="64" y="23"/>
                    </a:cubicBezTo>
                    <a:cubicBezTo>
                      <a:pt x="64" y="23"/>
                      <a:pt x="61" y="25"/>
                      <a:pt x="60" y="27"/>
                    </a:cubicBezTo>
                    <a:cubicBezTo>
                      <a:pt x="59" y="31"/>
                      <a:pt x="58" y="36"/>
                      <a:pt x="61" y="36"/>
                    </a:cubicBezTo>
                    <a:cubicBezTo>
                      <a:pt x="61" y="36"/>
                      <a:pt x="65" y="42"/>
                      <a:pt x="70" y="37"/>
                    </a:cubicBezTo>
                    <a:cubicBezTo>
                      <a:pt x="69" y="38"/>
                      <a:pt x="70" y="33"/>
                      <a:pt x="79" y="35"/>
                    </a:cubicBezTo>
                    <a:cubicBezTo>
                      <a:pt x="79" y="35"/>
                      <a:pt x="81" y="31"/>
                      <a:pt x="94" y="32"/>
                    </a:cubicBezTo>
                    <a:cubicBezTo>
                      <a:pt x="94" y="32"/>
                      <a:pt x="96" y="30"/>
                      <a:pt x="99" y="30"/>
                    </a:cubicBezTo>
                    <a:cubicBezTo>
                      <a:pt x="99" y="30"/>
                      <a:pt x="98" y="18"/>
                      <a:pt x="103" y="18"/>
                    </a:cubicBezTo>
                    <a:cubicBezTo>
                      <a:pt x="103" y="18"/>
                      <a:pt x="107" y="7"/>
                      <a:pt x="102" y="7"/>
                    </a:cubicBezTo>
                    <a:cubicBezTo>
                      <a:pt x="102" y="7"/>
                      <a:pt x="99" y="4"/>
                      <a:pt x="97" y="4"/>
                    </a:cubicBezTo>
                    <a:cubicBezTo>
                      <a:pt x="97" y="4"/>
                      <a:pt x="94" y="4"/>
                      <a:pt x="90" y="5"/>
                    </a:cubicBezTo>
                    <a:cubicBezTo>
                      <a:pt x="88" y="6"/>
                      <a:pt x="87" y="7"/>
                      <a:pt x="88" y="8"/>
                    </a:cubicBezTo>
                    <a:cubicBezTo>
                      <a:pt x="88" y="9"/>
                      <a:pt x="84" y="12"/>
                      <a:pt x="84" y="15"/>
                    </a:cubicBezTo>
                    <a:cubicBezTo>
                      <a:pt x="84" y="15"/>
                      <a:pt x="72" y="15"/>
                      <a:pt x="72" y="15"/>
                    </a:cubicBezTo>
                    <a:cubicBezTo>
                      <a:pt x="72" y="15"/>
                      <a:pt x="73" y="13"/>
                      <a:pt x="70" y="13"/>
                    </a:cubicBezTo>
                    <a:cubicBezTo>
                      <a:pt x="68" y="13"/>
                      <a:pt x="67" y="8"/>
                      <a:pt x="63" y="8"/>
                    </a:cubicBezTo>
                    <a:cubicBezTo>
                      <a:pt x="63" y="8"/>
                      <a:pt x="61" y="4"/>
                      <a:pt x="58" y="3"/>
                    </a:cubicBezTo>
                    <a:cubicBezTo>
                      <a:pt x="58" y="3"/>
                      <a:pt x="52" y="0"/>
                      <a:pt x="52" y="4"/>
                    </a:cubicBezTo>
                    <a:cubicBezTo>
                      <a:pt x="52" y="5"/>
                      <a:pt x="48" y="8"/>
                      <a:pt x="50" y="9"/>
                    </a:cubicBezTo>
                    <a:cubicBezTo>
                      <a:pt x="50" y="10"/>
                      <a:pt x="46" y="10"/>
                      <a:pt x="48" y="15"/>
                    </a:cubicBezTo>
                    <a:cubicBezTo>
                      <a:pt x="48" y="15"/>
                      <a:pt x="53" y="11"/>
                      <a:pt x="53" y="16"/>
                    </a:cubicBezTo>
                    <a:close/>
                    <a:moveTo>
                      <a:pt x="24" y="61"/>
                    </a:moveTo>
                    <a:cubicBezTo>
                      <a:pt x="24" y="61"/>
                      <a:pt x="23" y="64"/>
                      <a:pt x="24" y="64"/>
                    </a:cubicBezTo>
                    <a:cubicBezTo>
                      <a:pt x="24" y="64"/>
                      <a:pt x="30" y="61"/>
                      <a:pt x="32" y="65"/>
                    </a:cubicBezTo>
                    <a:cubicBezTo>
                      <a:pt x="32" y="65"/>
                      <a:pt x="33" y="66"/>
                      <a:pt x="39" y="65"/>
                    </a:cubicBezTo>
                    <a:cubicBezTo>
                      <a:pt x="39" y="65"/>
                      <a:pt x="41" y="71"/>
                      <a:pt x="45" y="65"/>
                    </a:cubicBezTo>
                    <a:cubicBezTo>
                      <a:pt x="45" y="65"/>
                      <a:pt x="50" y="60"/>
                      <a:pt x="52" y="65"/>
                    </a:cubicBezTo>
                    <a:cubicBezTo>
                      <a:pt x="52" y="65"/>
                      <a:pt x="59" y="66"/>
                      <a:pt x="59" y="64"/>
                    </a:cubicBezTo>
                    <a:cubicBezTo>
                      <a:pt x="59" y="64"/>
                      <a:pt x="57" y="61"/>
                      <a:pt x="60" y="61"/>
                    </a:cubicBezTo>
                    <a:cubicBezTo>
                      <a:pt x="61" y="61"/>
                      <a:pt x="64" y="53"/>
                      <a:pt x="59" y="52"/>
                    </a:cubicBezTo>
                    <a:cubicBezTo>
                      <a:pt x="59" y="52"/>
                      <a:pt x="56" y="48"/>
                      <a:pt x="57" y="45"/>
                    </a:cubicBezTo>
                    <a:cubicBezTo>
                      <a:pt x="57" y="45"/>
                      <a:pt x="57" y="41"/>
                      <a:pt x="50" y="42"/>
                    </a:cubicBezTo>
                    <a:cubicBezTo>
                      <a:pt x="50" y="42"/>
                      <a:pt x="46" y="42"/>
                      <a:pt x="46" y="42"/>
                    </a:cubicBezTo>
                    <a:cubicBezTo>
                      <a:pt x="46" y="42"/>
                      <a:pt x="44" y="42"/>
                      <a:pt x="42" y="42"/>
                    </a:cubicBezTo>
                    <a:cubicBezTo>
                      <a:pt x="36" y="48"/>
                      <a:pt x="36" y="48"/>
                      <a:pt x="36" y="48"/>
                    </a:cubicBezTo>
                    <a:cubicBezTo>
                      <a:pt x="31" y="49"/>
                      <a:pt x="31" y="49"/>
                      <a:pt x="31" y="49"/>
                    </a:cubicBezTo>
                    <a:cubicBezTo>
                      <a:pt x="30" y="50"/>
                      <a:pt x="30" y="52"/>
                      <a:pt x="29" y="51"/>
                    </a:cubicBezTo>
                    <a:cubicBezTo>
                      <a:pt x="29" y="51"/>
                      <a:pt x="24" y="51"/>
                      <a:pt x="24" y="55"/>
                    </a:cubicBezTo>
                    <a:cubicBezTo>
                      <a:pt x="23" y="55"/>
                      <a:pt x="23" y="61"/>
                      <a:pt x="24" y="61"/>
                    </a:cubicBezTo>
                    <a:close/>
                    <a:moveTo>
                      <a:pt x="349" y="91"/>
                    </a:moveTo>
                    <a:cubicBezTo>
                      <a:pt x="349" y="92"/>
                      <a:pt x="341" y="91"/>
                      <a:pt x="343" y="87"/>
                    </a:cubicBezTo>
                    <a:cubicBezTo>
                      <a:pt x="343" y="88"/>
                      <a:pt x="342" y="79"/>
                      <a:pt x="340" y="80"/>
                    </a:cubicBezTo>
                    <a:cubicBezTo>
                      <a:pt x="340" y="80"/>
                      <a:pt x="338" y="77"/>
                      <a:pt x="334" y="78"/>
                    </a:cubicBezTo>
                    <a:cubicBezTo>
                      <a:pt x="334" y="78"/>
                      <a:pt x="333" y="73"/>
                      <a:pt x="330" y="73"/>
                    </a:cubicBezTo>
                    <a:cubicBezTo>
                      <a:pt x="330" y="73"/>
                      <a:pt x="325" y="70"/>
                      <a:pt x="324" y="70"/>
                    </a:cubicBezTo>
                    <a:cubicBezTo>
                      <a:pt x="323" y="71"/>
                      <a:pt x="322" y="69"/>
                      <a:pt x="321" y="68"/>
                    </a:cubicBezTo>
                    <a:cubicBezTo>
                      <a:pt x="321" y="68"/>
                      <a:pt x="321" y="68"/>
                      <a:pt x="321" y="68"/>
                    </a:cubicBezTo>
                    <a:cubicBezTo>
                      <a:pt x="322" y="66"/>
                      <a:pt x="323" y="63"/>
                      <a:pt x="327" y="63"/>
                    </a:cubicBezTo>
                    <a:cubicBezTo>
                      <a:pt x="327" y="63"/>
                      <a:pt x="331" y="66"/>
                      <a:pt x="330" y="59"/>
                    </a:cubicBezTo>
                    <a:cubicBezTo>
                      <a:pt x="330" y="59"/>
                      <a:pt x="331" y="52"/>
                      <a:pt x="328" y="52"/>
                    </a:cubicBezTo>
                    <a:cubicBezTo>
                      <a:pt x="328" y="52"/>
                      <a:pt x="329" y="47"/>
                      <a:pt x="326" y="47"/>
                    </a:cubicBezTo>
                    <a:cubicBezTo>
                      <a:pt x="326" y="47"/>
                      <a:pt x="326" y="35"/>
                      <a:pt x="323" y="38"/>
                    </a:cubicBezTo>
                    <a:cubicBezTo>
                      <a:pt x="323" y="39"/>
                      <a:pt x="322" y="40"/>
                      <a:pt x="319" y="40"/>
                    </a:cubicBezTo>
                    <a:cubicBezTo>
                      <a:pt x="319" y="40"/>
                      <a:pt x="317" y="42"/>
                      <a:pt x="317" y="44"/>
                    </a:cubicBezTo>
                    <a:cubicBezTo>
                      <a:pt x="317" y="45"/>
                      <a:pt x="315" y="48"/>
                      <a:pt x="315" y="48"/>
                    </a:cubicBezTo>
                    <a:cubicBezTo>
                      <a:pt x="315" y="48"/>
                      <a:pt x="312" y="46"/>
                      <a:pt x="313" y="58"/>
                    </a:cubicBezTo>
                    <a:cubicBezTo>
                      <a:pt x="313" y="58"/>
                      <a:pt x="316" y="59"/>
                      <a:pt x="316" y="63"/>
                    </a:cubicBezTo>
                    <a:cubicBezTo>
                      <a:pt x="316" y="63"/>
                      <a:pt x="317" y="66"/>
                      <a:pt x="318" y="68"/>
                    </a:cubicBezTo>
                    <a:cubicBezTo>
                      <a:pt x="317" y="68"/>
                      <a:pt x="316" y="69"/>
                      <a:pt x="315" y="69"/>
                    </a:cubicBezTo>
                    <a:cubicBezTo>
                      <a:pt x="315" y="70"/>
                      <a:pt x="316" y="76"/>
                      <a:pt x="312" y="70"/>
                    </a:cubicBezTo>
                    <a:cubicBezTo>
                      <a:pt x="312" y="70"/>
                      <a:pt x="310" y="74"/>
                      <a:pt x="307" y="74"/>
                    </a:cubicBezTo>
                    <a:cubicBezTo>
                      <a:pt x="307" y="74"/>
                      <a:pt x="306" y="80"/>
                      <a:pt x="303" y="81"/>
                    </a:cubicBezTo>
                    <a:cubicBezTo>
                      <a:pt x="303" y="81"/>
                      <a:pt x="301" y="83"/>
                      <a:pt x="296" y="83"/>
                    </a:cubicBezTo>
                    <a:cubicBezTo>
                      <a:pt x="297" y="83"/>
                      <a:pt x="290" y="87"/>
                      <a:pt x="288" y="83"/>
                    </a:cubicBezTo>
                    <a:cubicBezTo>
                      <a:pt x="288" y="83"/>
                      <a:pt x="284" y="84"/>
                      <a:pt x="284" y="81"/>
                    </a:cubicBezTo>
                    <a:cubicBezTo>
                      <a:pt x="284" y="81"/>
                      <a:pt x="282" y="77"/>
                      <a:pt x="280" y="79"/>
                    </a:cubicBezTo>
                    <a:cubicBezTo>
                      <a:pt x="280" y="79"/>
                      <a:pt x="278" y="85"/>
                      <a:pt x="277" y="81"/>
                    </a:cubicBezTo>
                    <a:cubicBezTo>
                      <a:pt x="277" y="81"/>
                      <a:pt x="272" y="79"/>
                      <a:pt x="274" y="85"/>
                    </a:cubicBezTo>
                    <a:cubicBezTo>
                      <a:pt x="274" y="86"/>
                      <a:pt x="264" y="86"/>
                      <a:pt x="274" y="89"/>
                    </a:cubicBezTo>
                    <a:cubicBezTo>
                      <a:pt x="274" y="89"/>
                      <a:pt x="281" y="95"/>
                      <a:pt x="275" y="95"/>
                    </a:cubicBezTo>
                    <a:cubicBezTo>
                      <a:pt x="275" y="95"/>
                      <a:pt x="269" y="94"/>
                      <a:pt x="269" y="98"/>
                    </a:cubicBezTo>
                    <a:cubicBezTo>
                      <a:pt x="269" y="98"/>
                      <a:pt x="253" y="96"/>
                      <a:pt x="255" y="100"/>
                    </a:cubicBezTo>
                    <a:cubicBezTo>
                      <a:pt x="256" y="101"/>
                      <a:pt x="249" y="102"/>
                      <a:pt x="251" y="108"/>
                    </a:cubicBezTo>
                    <a:cubicBezTo>
                      <a:pt x="251" y="108"/>
                      <a:pt x="242" y="110"/>
                      <a:pt x="237" y="109"/>
                    </a:cubicBezTo>
                    <a:cubicBezTo>
                      <a:pt x="237" y="109"/>
                      <a:pt x="237" y="122"/>
                      <a:pt x="233" y="121"/>
                    </a:cubicBezTo>
                    <a:cubicBezTo>
                      <a:pt x="234" y="121"/>
                      <a:pt x="230" y="123"/>
                      <a:pt x="230" y="128"/>
                    </a:cubicBezTo>
                    <a:cubicBezTo>
                      <a:pt x="230" y="129"/>
                      <a:pt x="225" y="123"/>
                      <a:pt x="222" y="127"/>
                    </a:cubicBezTo>
                    <a:cubicBezTo>
                      <a:pt x="222" y="127"/>
                      <a:pt x="218" y="130"/>
                      <a:pt x="219" y="126"/>
                    </a:cubicBezTo>
                    <a:cubicBezTo>
                      <a:pt x="219" y="126"/>
                      <a:pt x="218" y="123"/>
                      <a:pt x="211" y="123"/>
                    </a:cubicBezTo>
                    <a:cubicBezTo>
                      <a:pt x="211" y="124"/>
                      <a:pt x="207" y="120"/>
                      <a:pt x="206" y="120"/>
                    </a:cubicBezTo>
                    <a:cubicBezTo>
                      <a:pt x="206" y="120"/>
                      <a:pt x="204" y="112"/>
                      <a:pt x="201" y="114"/>
                    </a:cubicBezTo>
                    <a:cubicBezTo>
                      <a:pt x="201" y="114"/>
                      <a:pt x="201" y="100"/>
                      <a:pt x="196" y="102"/>
                    </a:cubicBezTo>
                    <a:cubicBezTo>
                      <a:pt x="196" y="103"/>
                      <a:pt x="194" y="99"/>
                      <a:pt x="182" y="100"/>
                    </a:cubicBezTo>
                    <a:cubicBezTo>
                      <a:pt x="182" y="100"/>
                      <a:pt x="173" y="99"/>
                      <a:pt x="173" y="102"/>
                    </a:cubicBezTo>
                    <a:cubicBezTo>
                      <a:pt x="173" y="103"/>
                      <a:pt x="164" y="101"/>
                      <a:pt x="165" y="104"/>
                    </a:cubicBezTo>
                    <a:cubicBezTo>
                      <a:pt x="165" y="104"/>
                      <a:pt x="154" y="107"/>
                      <a:pt x="157" y="101"/>
                    </a:cubicBezTo>
                    <a:cubicBezTo>
                      <a:pt x="157" y="101"/>
                      <a:pt x="157" y="100"/>
                      <a:pt x="154" y="100"/>
                    </a:cubicBezTo>
                    <a:cubicBezTo>
                      <a:pt x="154" y="100"/>
                      <a:pt x="156" y="90"/>
                      <a:pt x="152" y="92"/>
                    </a:cubicBezTo>
                    <a:cubicBezTo>
                      <a:pt x="152" y="92"/>
                      <a:pt x="149" y="71"/>
                      <a:pt x="157" y="73"/>
                    </a:cubicBezTo>
                    <a:cubicBezTo>
                      <a:pt x="157" y="73"/>
                      <a:pt x="169" y="73"/>
                      <a:pt x="169" y="70"/>
                    </a:cubicBezTo>
                    <a:cubicBezTo>
                      <a:pt x="169" y="70"/>
                      <a:pt x="171" y="67"/>
                      <a:pt x="174" y="67"/>
                    </a:cubicBezTo>
                    <a:cubicBezTo>
                      <a:pt x="174" y="67"/>
                      <a:pt x="176" y="63"/>
                      <a:pt x="176" y="63"/>
                    </a:cubicBezTo>
                    <a:cubicBezTo>
                      <a:pt x="176" y="63"/>
                      <a:pt x="179" y="58"/>
                      <a:pt x="178" y="57"/>
                    </a:cubicBezTo>
                    <a:cubicBezTo>
                      <a:pt x="178" y="57"/>
                      <a:pt x="184" y="53"/>
                      <a:pt x="178" y="52"/>
                    </a:cubicBezTo>
                    <a:cubicBezTo>
                      <a:pt x="178" y="52"/>
                      <a:pt x="176" y="43"/>
                      <a:pt x="180" y="44"/>
                    </a:cubicBezTo>
                    <a:cubicBezTo>
                      <a:pt x="180" y="44"/>
                      <a:pt x="183" y="39"/>
                      <a:pt x="184" y="39"/>
                    </a:cubicBezTo>
                    <a:cubicBezTo>
                      <a:pt x="184" y="39"/>
                      <a:pt x="193" y="37"/>
                      <a:pt x="185" y="35"/>
                    </a:cubicBezTo>
                    <a:cubicBezTo>
                      <a:pt x="184" y="35"/>
                      <a:pt x="184" y="34"/>
                      <a:pt x="189" y="34"/>
                    </a:cubicBezTo>
                    <a:cubicBezTo>
                      <a:pt x="189" y="35"/>
                      <a:pt x="189" y="29"/>
                      <a:pt x="192" y="29"/>
                    </a:cubicBezTo>
                    <a:cubicBezTo>
                      <a:pt x="192" y="29"/>
                      <a:pt x="199" y="26"/>
                      <a:pt x="192" y="27"/>
                    </a:cubicBezTo>
                    <a:cubicBezTo>
                      <a:pt x="192" y="27"/>
                      <a:pt x="192" y="23"/>
                      <a:pt x="188" y="23"/>
                    </a:cubicBezTo>
                    <a:cubicBezTo>
                      <a:pt x="188" y="23"/>
                      <a:pt x="188" y="17"/>
                      <a:pt x="182" y="19"/>
                    </a:cubicBezTo>
                    <a:cubicBezTo>
                      <a:pt x="182" y="19"/>
                      <a:pt x="178" y="15"/>
                      <a:pt x="173" y="16"/>
                    </a:cubicBezTo>
                    <a:cubicBezTo>
                      <a:pt x="173" y="16"/>
                      <a:pt x="170" y="14"/>
                      <a:pt x="172" y="11"/>
                    </a:cubicBezTo>
                    <a:cubicBezTo>
                      <a:pt x="172" y="12"/>
                      <a:pt x="166" y="6"/>
                      <a:pt x="165" y="11"/>
                    </a:cubicBezTo>
                    <a:cubicBezTo>
                      <a:pt x="165" y="11"/>
                      <a:pt x="163" y="16"/>
                      <a:pt x="161" y="16"/>
                    </a:cubicBezTo>
                    <a:cubicBezTo>
                      <a:pt x="161" y="16"/>
                      <a:pt x="157" y="20"/>
                      <a:pt x="156" y="15"/>
                    </a:cubicBezTo>
                    <a:cubicBezTo>
                      <a:pt x="156" y="16"/>
                      <a:pt x="146" y="16"/>
                      <a:pt x="147" y="14"/>
                    </a:cubicBezTo>
                    <a:cubicBezTo>
                      <a:pt x="147" y="14"/>
                      <a:pt x="143" y="7"/>
                      <a:pt x="142" y="14"/>
                    </a:cubicBezTo>
                    <a:cubicBezTo>
                      <a:pt x="142" y="14"/>
                      <a:pt x="143" y="19"/>
                      <a:pt x="139" y="19"/>
                    </a:cubicBezTo>
                    <a:cubicBezTo>
                      <a:pt x="139" y="19"/>
                      <a:pt x="131" y="22"/>
                      <a:pt x="141" y="22"/>
                    </a:cubicBezTo>
                    <a:cubicBezTo>
                      <a:pt x="141" y="22"/>
                      <a:pt x="141" y="26"/>
                      <a:pt x="146" y="27"/>
                    </a:cubicBezTo>
                    <a:cubicBezTo>
                      <a:pt x="146" y="27"/>
                      <a:pt x="149" y="27"/>
                      <a:pt x="149" y="31"/>
                    </a:cubicBezTo>
                    <a:cubicBezTo>
                      <a:pt x="149" y="31"/>
                      <a:pt x="154" y="32"/>
                      <a:pt x="149" y="34"/>
                    </a:cubicBezTo>
                    <a:cubicBezTo>
                      <a:pt x="149" y="34"/>
                      <a:pt x="149" y="43"/>
                      <a:pt x="147" y="43"/>
                    </a:cubicBezTo>
                    <a:cubicBezTo>
                      <a:pt x="147" y="43"/>
                      <a:pt x="145" y="42"/>
                      <a:pt x="146" y="48"/>
                    </a:cubicBezTo>
                    <a:cubicBezTo>
                      <a:pt x="146" y="48"/>
                      <a:pt x="135" y="50"/>
                      <a:pt x="145" y="53"/>
                    </a:cubicBezTo>
                    <a:cubicBezTo>
                      <a:pt x="145" y="54"/>
                      <a:pt x="149" y="55"/>
                      <a:pt x="132" y="55"/>
                    </a:cubicBezTo>
                    <a:cubicBezTo>
                      <a:pt x="132" y="55"/>
                      <a:pt x="129" y="58"/>
                      <a:pt x="127" y="55"/>
                    </a:cubicBezTo>
                    <a:cubicBezTo>
                      <a:pt x="127" y="55"/>
                      <a:pt x="120" y="49"/>
                      <a:pt x="122" y="57"/>
                    </a:cubicBezTo>
                    <a:cubicBezTo>
                      <a:pt x="122" y="58"/>
                      <a:pt x="111" y="59"/>
                      <a:pt x="123" y="60"/>
                    </a:cubicBezTo>
                    <a:cubicBezTo>
                      <a:pt x="123" y="61"/>
                      <a:pt x="121" y="63"/>
                      <a:pt x="124" y="62"/>
                    </a:cubicBezTo>
                    <a:cubicBezTo>
                      <a:pt x="124" y="62"/>
                      <a:pt x="133" y="70"/>
                      <a:pt x="116" y="69"/>
                    </a:cubicBezTo>
                    <a:cubicBezTo>
                      <a:pt x="116" y="69"/>
                      <a:pt x="115" y="66"/>
                      <a:pt x="107" y="66"/>
                    </a:cubicBezTo>
                    <a:cubicBezTo>
                      <a:pt x="107" y="67"/>
                      <a:pt x="102" y="65"/>
                      <a:pt x="103" y="69"/>
                    </a:cubicBezTo>
                    <a:cubicBezTo>
                      <a:pt x="103" y="69"/>
                      <a:pt x="103" y="78"/>
                      <a:pt x="99" y="78"/>
                    </a:cubicBezTo>
                    <a:cubicBezTo>
                      <a:pt x="99" y="78"/>
                      <a:pt x="95" y="83"/>
                      <a:pt x="96" y="85"/>
                    </a:cubicBezTo>
                    <a:cubicBezTo>
                      <a:pt x="96" y="86"/>
                      <a:pt x="84" y="84"/>
                      <a:pt x="84" y="88"/>
                    </a:cubicBezTo>
                    <a:cubicBezTo>
                      <a:pt x="84" y="88"/>
                      <a:pt x="76" y="88"/>
                      <a:pt x="76" y="85"/>
                    </a:cubicBezTo>
                    <a:cubicBezTo>
                      <a:pt x="76" y="85"/>
                      <a:pt x="70" y="85"/>
                      <a:pt x="72" y="77"/>
                    </a:cubicBezTo>
                    <a:cubicBezTo>
                      <a:pt x="72" y="77"/>
                      <a:pt x="69" y="75"/>
                      <a:pt x="66" y="76"/>
                    </a:cubicBezTo>
                    <a:cubicBezTo>
                      <a:pt x="66" y="76"/>
                      <a:pt x="69" y="72"/>
                      <a:pt x="57" y="73"/>
                    </a:cubicBezTo>
                    <a:cubicBezTo>
                      <a:pt x="57" y="74"/>
                      <a:pt x="53" y="78"/>
                      <a:pt x="56" y="81"/>
                    </a:cubicBezTo>
                    <a:cubicBezTo>
                      <a:pt x="56" y="81"/>
                      <a:pt x="61" y="82"/>
                      <a:pt x="56" y="84"/>
                    </a:cubicBezTo>
                    <a:cubicBezTo>
                      <a:pt x="56" y="84"/>
                      <a:pt x="56" y="86"/>
                      <a:pt x="56" y="86"/>
                    </a:cubicBezTo>
                    <a:cubicBezTo>
                      <a:pt x="56" y="86"/>
                      <a:pt x="42" y="88"/>
                      <a:pt x="56" y="88"/>
                    </a:cubicBezTo>
                    <a:cubicBezTo>
                      <a:pt x="56" y="88"/>
                      <a:pt x="55" y="90"/>
                      <a:pt x="55" y="91"/>
                    </a:cubicBezTo>
                    <a:cubicBezTo>
                      <a:pt x="56" y="92"/>
                      <a:pt x="56" y="92"/>
                      <a:pt x="56" y="92"/>
                    </a:cubicBezTo>
                    <a:cubicBezTo>
                      <a:pt x="56" y="92"/>
                      <a:pt x="60" y="96"/>
                      <a:pt x="60" y="95"/>
                    </a:cubicBezTo>
                    <a:cubicBezTo>
                      <a:pt x="61" y="97"/>
                      <a:pt x="64" y="97"/>
                      <a:pt x="65" y="96"/>
                    </a:cubicBezTo>
                    <a:cubicBezTo>
                      <a:pt x="66" y="99"/>
                      <a:pt x="69" y="99"/>
                      <a:pt x="69" y="99"/>
                    </a:cubicBezTo>
                    <a:cubicBezTo>
                      <a:pt x="73" y="96"/>
                      <a:pt x="77" y="99"/>
                      <a:pt x="77" y="99"/>
                    </a:cubicBezTo>
                    <a:cubicBezTo>
                      <a:pt x="78" y="100"/>
                      <a:pt x="84" y="97"/>
                      <a:pt x="85" y="98"/>
                    </a:cubicBezTo>
                    <a:cubicBezTo>
                      <a:pt x="88" y="96"/>
                      <a:pt x="96" y="98"/>
                      <a:pt x="96" y="98"/>
                    </a:cubicBezTo>
                    <a:cubicBezTo>
                      <a:pt x="100" y="99"/>
                      <a:pt x="96" y="100"/>
                      <a:pt x="96" y="100"/>
                    </a:cubicBezTo>
                    <a:cubicBezTo>
                      <a:pt x="96" y="103"/>
                      <a:pt x="96" y="103"/>
                      <a:pt x="96" y="103"/>
                    </a:cubicBezTo>
                    <a:cubicBezTo>
                      <a:pt x="97" y="104"/>
                      <a:pt x="97" y="104"/>
                      <a:pt x="97" y="104"/>
                    </a:cubicBezTo>
                    <a:cubicBezTo>
                      <a:pt x="100" y="103"/>
                      <a:pt x="103" y="108"/>
                      <a:pt x="103" y="107"/>
                    </a:cubicBezTo>
                    <a:cubicBezTo>
                      <a:pt x="107" y="105"/>
                      <a:pt x="103" y="111"/>
                      <a:pt x="103" y="111"/>
                    </a:cubicBezTo>
                    <a:cubicBezTo>
                      <a:pt x="101" y="112"/>
                      <a:pt x="103" y="116"/>
                      <a:pt x="103" y="115"/>
                    </a:cubicBezTo>
                    <a:cubicBezTo>
                      <a:pt x="107" y="115"/>
                      <a:pt x="110" y="117"/>
                      <a:pt x="110" y="117"/>
                    </a:cubicBezTo>
                    <a:cubicBezTo>
                      <a:pt x="107" y="119"/>
                      <a:pt x="107" y="119"/>
                      <a:pt x="107" y="119"/>
                    </a:cubicBezTo>
                    <a:cubicBezTo>
                      <a:pt x="109" y="119"/>
                      <a:pt x="109" y="119"/>
                      <a:pt x="109" y="119"/>
                    </a:cubicBezTo>
                    <a:cubicBezTo>
                      <a:pt x="111" y="119"/>
                      <a:pt x="111" y="119"/>
                      <a:pt x="112" y="120"/>
                    </a:cubicBezTo>
                    <a:cubicBezTo>
                      <a:pt x="112" y="120"/>
                      <a:pt x="116" y="120"/>
                      <a:pt x="116" y="125"/>
                    </a:cubicBezTo>
                    <a:cubicBezTo>
                      <a:pt x="117" y="126"/>
                      <a:pt x="122" y="130"/>
                      <a:pt x="119" y="132"/>
                    </a:cubicBezTo>
                    <a:cubicBezTo>
                      <a:pt x="119" y="132"/>
                      <a:pt x="114" y="135"/>
                      <a:pt x="114" y="137"/>
                    </a:cubicBezTo>
                    <a:cubicBezTo>
                      <a:pt x="114" y="138"/>
                      <a:pt x="108" y="135"/>
                      <a:pt x="109" y="138"/>
                    </a:cubicBezTo>
                    <a:cubicBezTo>
                      <a:pt x="109" y="138"/>
                      <a:pt x="107" y="143"/>
                      <a:pt x="107" y="145"/>
                    </a:cubicBezTo>
                    <a:cubicBezTo>
                      <a:pt x="107" y="145"/>
                      <a:pt x="107" y="147"/>
                      <a:pt x="103" y="147"/>
                    </a:cubicBezTo>
                    <a:cubicBezTo>
                      <a:pt x="104" y="147"/>
                      <a:pt x="102" y="156"/>
                      <a:pt x="99" y="154"/>
                    </a:cubicBezTo>
                    <a:cubicBezTo>
                      <a:pt x="99" y="154"/>
                      <a:pt x="91" y="157"/>
                      <a:pt x="88" y="157"/>
                    </a:cubicBezTo>
                    <a:cubicBezTo>
                      <a:pt x="89" y="157"/>
                      <a:pt x="84" y="160"/>
                      <a:pt x="80" y="159"/>
                    </a:cubicBezTo>
                    <a:cubicBezTo>
                      <a:pt x="81" y="160"/>
                      <a:pt x="77" y="162"/>
                      <a:pt x="75" y="162"/>
                    </a:cubicBezTo>
                    <a:cubicBezTo>
                      <a:pt x="76" y="163"/>
                      <a:pt x="73" y="166"/>
                      <a:pt x="71" y="166"/>
                    </a:cubicBezTo>
                    <a:cubicBezTo>
                      <a:pt x="71" y="166"/>
                      <a:pt x="69" y="172"/>
                      <a:pt x="68" y="172"/>
                    </a:cubicBezTo>
                    <a:cubicBezTo>
                      <a:pt x="68" y="172"/>
                      <a:pt x="69" y="174"/>
                      <a:pt x="66" y="176"/>
                    </a:cubicBezTo>
                    <a:cubicBezTo>
                      <a:pt x="66" y="177"/>
                      <a:pt x="58" y="176"/>
                      <a:pt x="53" y="178"/>
                    </a:cubicBezTo>
                    <a:cubicBezTo>
                      <a:pt x="53" y="179"/>
                      <a:pt x="49" y="180"/>
                      <a:pt x="47" y="180"/>
                    </a:cubicBezTo>
                    <a:cubicBezTo>
                      <a:pt x="48" y="180"/>
                      <a:pt x="45" y="183"/>
                      <a:pt x="42" y="184"/>
                    </a:cubicBezTo>
                    <a:cubicBezTo>
                      <a:pt x="42" y="184"/>
                      <a:pt x="39" y="185"/>
                      <a:pt x="38" y="185"/>
                    </a:cubicBezTo>
                    <a:cubicBezTo>
                      <a:pt x="37" y="186"/>
                      <a:pt x="38" y="191"/>
                      <a:pt x="39" y="191"/>
                    </a:cubicBezTo>
                    <a:cubicBezTo>
                      <a:pt x="39" y="191"/>
                      <a:pt x="43" y="192"/>
                      <a:pt x="39" y="193"/>
                    </a:cubicBezTo>
                    <a:cubicBezTo>
                      <a:pt x="40" y="194"/>
                      <a:pt x="34" y="196"/>
                      <a:pt x="33" y="196"/>
                    </a:cubicBezTo>
                    <a:cubicBezTo>
                      <a:pt x="33" y="196"/>
                      <a:pt x="28" y="199"/>
                      <a:pt x="24" y="199"/>
                    </a:cubicBezTo>
                    <a:cubicBezTo>
                      <a:pt x="24" y="200"/>
                      <a:pt x="20" y="202"/>
                      <a:pt x="19" y="202"/>
                    </a:cubicBezTo>
                    <a:cubicBezTo>
                      <a:pt x="19" y="203"/>
                      <a:pt x="15" y="205"/>
                      <a:pt x="15" y="205"/>
                    </a:cubicBezTo>
                    <a:cubicBezTo>
                      <a:pt x="15" y="205"/>
                      <a:pt x="14" y="207"/>
                      <a:pt x="11" y="207"/>
                    </a:cubicBezTo>
                    <a:cubicBezTo>
                      <a:pt x="11" y="207"/>
                      <a:pt x="11" y="211"/>
                      <a:pt x="9" y="209"/>
                    </a:cubicBezTo>
                    <a:cubicBezTo>
                      <a:pt x="9" y="209"/>
                      <a:pt x="7" y="203"/>
                      <a:pt x="6" y="207"/>
                    </a:cubicBezTo>
                    <a:cubicBezTo>
                      <a:pt x="6" y="208"/>
                      <a:pt x="0" y="209"/>
                      <a:pt x="0" y="210"/>
                    </a:cubicBezTo>
                    <a:cubicBezTo>
                      <a:pt x="0" y="210"/>
                      <a:pt x="0" y="222"/>
                      <a:pt x="1" y="222"/>
                    </a:cubicBezTo>
                    <a:cubicBezTo>
                      <a:pt x="2" y="222"/>
                      <a:pt x="3" y="223"/>
                      <a:pt x="3" y="226"/>
                    </a:cubicBezTo>
                    <a:cubicBezTo>
                      <a:pt x="3" y="226"/>
                      <a:pt x="4" y="230"/>
                      <a:pt x="6" y="229"/>
                    </a:cubicBezTo>
                    <a:cubicBezTo>
                      <a:pt x="6" y="230"/>
                      <a:pt x="8" y="230"/>
                      <a:pt x="8" y="227"/>
                    </a:cubicBezTo>
                    <a:cubicBezTo>
                      <a:pt x="8" y="227"/>
                      <a:pt x="12" y="226"/>
                      <a:pt x="12" y="230"/>
                    </a:cubicBezTo>
                    <a:cubicBezTo>
                      <a:pt x="12" y="230"/>
                      <a:pt x="17" y="229"/>
                      <a:pt x="18" y="234"/>
                    </a:cubicBezTo>
                    <a:cubicBezTo>
                      <a:pt x="18" y="234"/>
                      <a:pt x="23" y="234"/>
                      <a:pt x="21" y="238"/>
                    </a:cubicBezTo>
                    <a:cubicBezTo>
                      <a:pt x="21" y="238"/>
                      <a:pt x="24" y="247"/>
                      <a:pt x="21" y="249"/>
                    </a:cubicBezTo>
                    <a:cubicBezTo>
                      <a:pt x="21" y="249"/>
                      <a:pt x="14" y="253"/>
                      <a:pt x="21" y="253"/>
                    </a:cubicBezTo>
                    <a:cubicBezTo>
                      <a:pt x="21" y="253"/>
                      <a:pt x="28" y="253"/>
                      <a:pt x="28" y="251"/>
                    </a:cubicBezTo>
                    <a:cubicBezTo>
                      <a:pt x="28" y="251"/>
                      <a:pt x="36" y="250"/>
                      <a:pt x="36" y="249"/>
                    </a:cubicBezTo>
                    <a:cubicBezTo>
                      <a:pt x="36" y="249"/>
                      <a:pt x="37" y="243"/>
                      <a:pt x="40" y="243"/>
                    </a:cubicBezTo>
                    <a:cubicBezTo>
                      <a:pt x="41" y="243"/>
                      <a:pt x="46" y="242"/>
                      <a:pt x="43" y="241"/>
                    </a:cubicBezTo>
                    <a:cubicBezTo>
                      <a:pt x="43" y="241"/>
                      <a:pt x="43" y="235"/>
                      <a:pt x="46" y="236"/>
                    </a:cubicBezTo>
                    <a:cubicBezTo>
                      <a:pt x="46" y="237"/>
                      <a:pt x="51" y="238"/>
                      <a:pt x="51" y="236"/>
                    </a:cubicBezTo>
                    <a:cubicBezTo>
                      <a:pt x="51" y="236"/>
                      <a:pt x="56" y="234"/>
                      <a:pt x="56" y="232"/>
                    </a:cubicBezTo>
                    <a:cubicBezTo>
                      <a:pt x="55" y="232"/>
                      <a:pt x="72" y="230"/>
                      <a:pt x="68" y="235"/>
                    </a:cubicBezTo>
                    <a:cubicBezTo>
                      <a:pt x="68" y="235"/>
                      <a:pt x="62" y="234"/>
                      <a:pt x="65" y="240"/>
                    </a:cubicBezTo>
                    <a:cubicBezTo>
                      <a:pt x="65" y="240"/>
                      <a:pt x="66" y="244"/>
                      <a:pt x="69" y="243"/>
                    </a:cubicBezTo>
                    <a:cubicBezTo>
                      <a:pt x="69" y="243"/>
                      <a:pt x="74" y="243"/>
                      <a:pt x="73" y="245"/>
                    </a:cubicBezTo>
                    <a:cubicBezTo>
                      <a:pt x="74" y="245"/>
                      <a:pt x="79" y="248"/>
                      <a:pt x="74" y="250"/>
                    </a:cubicBezTo>
                    <a:cubicBezTo>
                      <a:pt x="74" y="251"/>
                      <a:pt x="74" y="257"/>
                      <a:pt x="70" y="257"/>
                    </a:cubicBezTo>
                    <a:cubicBezTo>
                      <a:pt x="70" y="257"/>
                      <a:pt x="69" y="260"/>
                      <a:pt x="66" y="260"/>
                    </a:cubicBezTo>
                    <a:cubicBezTo>
                      <a:pt x="66" y="260"/>
                      <a:pt x="62" y="263"/>
                      <a:pt x="61" y="259"/>
                    </a:cubicBezTo>
                    <a:cubicBezTo>
                      <a:pt x="61" y="259"/>
                      <a:pt x="57" y="260"/>
                      <a:pt x="56" y="257"/>
                    </a:cubicBezTo>
                    <a:cubicBezTo>
                      <a:pt x="56" y="257"/>
                      <a:pt x="50" y="256"/>
                      <a:pt x="50" y="259"/>
                    </a:cubicBezTo>
                    <a:cubicBezTo>
                      <a:pt x="50" y="259"/>
                      <a:pt x="50" y="265"/>
                      <a:pt x="46" y="266"/>
                    </a:cubicBezTo>
                    <a:cubicBezTo>
                      <a:pt x="46" y="266"/>
                      <a:pt x="42" y="267"/>
                      <a:pt x="42" y="268"/>
                    </a:cubicBezTo>
                    <a:cubicBezTo>
                      <a:pt x="42" y="269"/>
                      <a:pt x="41" y="272"/>
                      <a:pt x="38" y="272"/>
                    </a:cubicBezTo>
                    <a:cubicBezTo>
                      <a:pt x="38" y="272"/>
                      <a:pt x="32" y="274"/>
                      <a:pt x="40" y="274"/>
                    </a:cubicBezTo>
                    <a:cubicBezTo>
                      <a:pt x="41" y="274"/>
                      <a:pt x="47" y="275"/>
                      <a:pt x="46" y="280"/>
                    </a:cubicBezTo>
                    <a:cubicBezTo>
                      <a:pt x="46" y="280"/>
                      <a:pt x="46" y="282"/>
                      <a:pt x="40" y="280"/>
                    </a:cubicBezTo>
                    <a:cubicBezTo>
                      <a:pt x="40" y="280"/>
                      <a:pt x="33" y="284"/>
                      <a:pt x="32" y="284"/>
                    </a:cubicBezTo>
                    <a:cubicBezTo>
                      <a:pt x="32" y="284"/>
                      <a:pt x="30" y="286"/>
                      <a:pt x="28" y="284"/>
                    </a:cubicBezTo>
                    <a:cubicBezTo>
                      <a:pt x="28" y="284"/>
                      <a:pt x="22" y="282"/>
                      <a:pt x="23" y="281"/>
                    </a:cubicBezTo>
                    <a:cubicBezTo>
                      <a:pt x="23" y="281"/>
                      <a:pt x="19" y="276"/>
                      <a:pt x="19" y="281"/>
                    </a:cubicBezTo>
                    <a:cubicBezTo>
                      <a:pt x="19" y="280"/>
                      <a:pt x="8" y="279"/>
                      <a:pt x="13" y="285"/>
                    </a:cubicBezTo>
                    <a:cubicBezTo>
                      <a:pt x="13" y="285"/>
                      <a:pt x="16" y="291"/>
                      <a:pt x="15" y="295"/>
                    </a:cubicBezTo>
                    <a:cubicBezTo>
                      <a:pt x="15" y="295"/>
                      <a:pt x="17" y="301"/>
                      <a:pt x="19" y="301"/>
                    </a:cubicBezTo>
                    <a:cubicBezTo>
                      <a:pt x="19" y="301"/>
                      <a:pt x="22" y="304"/>
                      <a:pt x="23" y="303"/>
                    </a:cubicBezTo>
                    <a:cubicBezTo>
                      <a:pt x="23" y="303"/>
                      <a:pt x="29" y="304"/>
                      <a:pt x="30" y="303"/>
                    </a:cubicBezTo>
                    <a:cubicBezTo>
                      <a:pt x="30" y="303"/>
                      <a:pt x="32" y="301"/>
                      <a:pt x="34" y="301"/>
                    </a:cubicBezTo>
                    <a:cubicBezTo>
                      <a:pt x="34" y="301"/>
                      <a:pt x="38" y="299"/>
                      <a:pt x="41" y="299"/>
                    </a:cubicBezTo>
                    <a:cubicBezTo>
                      <a:pt x="41" y="299"/>
                      <a:pt x="45" y="299"/>
                      <a:pt x="44" y="303"/>
                    </a:cubicBezTo>
                    <a:cubicBezTo>
                      <a:pt x="44" y="303"/>
                      <a:pt x="47" y="303"/>
                      <a:pt x="44" y="305"/>
                    </a:cubicBezTo>
                    <a:cubicBezTo>
                      <a:pt x="44" y="305"/>
                      <a:pt x="42" y="316"/>
                      <a:pt x="45" y="317"/>
                    </a:cubicBezTo>
                    <a:cubicBezTo>
                      <a:pt x="45" y="318"/>
                      <a:pt x="51" y="318"/>
                      <a:pt x="53" y="317"/>
                    </a:cubicBezTo>
                    <a:cubicBezTo>
                      <a:pt x="53" y="317"/>
                      <a:pt x="57" y="314"/>
                      <a:pt x="59" y="314"/>
                    </a:cubicBezTo>
                    <a:cubicBezTo>
                      <a:pt x="59" y="314"/>
                      <a:pt x="61" y="312"/>
                      <a:pt x="61" y="310"/>
                    </a:cubicBezTo>
                    <a:cubicBezTo>
                      <a:pt x="61" y="310"/>
                      <a:pt x="67" y="308"/>
                      <a:pt x="62" y="307"/>
                    </a:cubicBezTo>
                    <a:cubicBezTo>
                      <a:pt x="61" y="307"/>
                      <a:pt x="61" y="303"/>
                      <a:pt x="59" y="304"/>
                    </a:cubicBezTo>
                    <a:cubicBezTo>
                      <a:pt x="59" y="304"/>
                      <a:pt x="59" y="296"/>
                      <a:pt x="57" y="296"/>
                    </a:cubicBezTo>
                    <a:cubicBezTo>
                      <a:pt x="57" y="296"/>
                      <a:pt x="55" y="293"/>
                      <a:pt x="60" y="294"/>
                    </a:cubicBezTo>
                    <a:cubicBezTo>
                      <a:pt x="60" y="294"/>
                      <a:pt x="62" y="293"/>
                      <a:pt x="61" y="291"/>
                    </a:cubicBezTo>
                    <a:cubicBezTo>
                      <a:pt x="61" y="292"/>
                      <a:pt x="66" y="291"/>
                      <a:pt x="66" y="290"/>
                    </a:cubicBezTo>
                    <a:cubicBezTo>
                      <a:pt x="66" y="290"/>
                      <a:pt x="71" y="289"/>
                      <a:pt x="71" y="288"/>
                    </a:cubicBezTo>
                    <a:cubicBezTo>
                      <a:pt x="71" y="288"/>
                      <a:pt x="76" y="287"/>
                      <a:pt x="76" y="284"/>
                    </a:cubicBezTo>
                    <a:cubicBezTo>
                      <a:pt x="76" y="284"/>
                      <a:pt x="81" y="284"/>
                      <a:pt x="80" y="283"/>
                    </a:cubicBezTo>
                    <a:cubicBezTo>
                      <a:pt x="80" y="283"/>
                      <a:pt x="84" y="277"/>
                      <a:pt x="84" y="276"/>
                    </a:cubicBezTo>
                    <a:cubicBezTo>
                      <a:pt x="84" y="276"/>
                      <a:pt x="86" y="270"/>
                      <a:pt x="88" y="270"/>
                    </a:cubicBezTo>
                    <a:cubicBezTo>
                      <a:pt x="88" y="271"/>
                      <a:pt x="91" y="268"/>
                      <a:pt x="91" y="265"/>
                    </a:cubicBezTo>
                    <a:cubicBezTo>
                      <a:pt x="90" y="265"/>
                      <a:pt x="94" y="263"/>
                      <a:pt x="91" y="261"/>
                    </a:cubicBezTo>
                    <a:cubicBezTo>
                      <a:pt x="89" y="258"/>
                      <a:pt x="89" y="258"/>
                      <a:pt x="89" y="258"/>
                    </a:cubicBezTo>
                    <a:cubicBezTo>
                      <a:pt x="89" y="258"/>
                      <a:pt x="86" y="255"/>
                      <a:pt x="90" y="255"/>
                    </a:cubicBezTo>
                    <a:cubicBezTo>
                      <a:pt x="90" y="255"/>
                      <a:pt x="91" y="253"/>
                      <a:pt x="95" y="253"/>
                    </a:cubicBezTo>
                    <a:cubicBezTo>
                      <a:pt x="101" y="254"/>
                      <a:pt x="101" y="254"/>
                      <a:pt x="101" y="254"/>
                    </a:cubicBezTo>
                    <a:cubicBezTo>
                      <a:pt x="101" y="254"/>
                      <a:pt x="103" y="257"/>
                      <a:pt x="103" y="253"/>
                    </a:cubicBezTo>
                    <a:cubicBezTo>
                      <a:pt x="103" y="253"/>
                      <a:pt x="103" y="250"/>
                      <a:pt x="106" y="250"/>
                    </a:cubicBezTo>
                    <a:cubicBezTo>
                      <a:pt x="106" y="251"/>
                      <a:pt x="114" y="245"/>
                      <a:pt x="112" y="253"/>
                    </a:cubicBezTo>
                    <a:cubicBezTo>
                      <a:pt x="112" y="253"/>
                      <a:pt x="117" y="252"/>
                      <a:pt x="117" y="257"/>
                    </a:cubicBezTo>
                    <a:cubicBezTo>
                      <a:pt x="117" y="257"/>
                      <a:pt x="120" y="261"/>
                      <a:pt x="120" y="262"/>
                    </a:cubicBezTo>
                    <a:cubicBezTo>
                      <a:pt x="121" y="262"/>
                      <a:pt x="123" y="266"/>
                      <a:pt x="123" y="264"/>
                    </a:cubicBezTo>
                    <a:cubicBezTo>
                      <a:pt x="123" y="264"/>
                      <a:pt x="123" y="258"/>
                      <a:pt x="124" y="262"/>
                    </a:cubicBezTo>
                    <a:cubicBezTo>
                      <a:pt x="125" y="263"/>
                      <a:pt x="132" y="265"/>
                      <a:pt x="133" y="261"/>
                    </a:cubicBezTo>
                    <a:cubicBezTo>
                      <a:pt x="137" y="261"/>
                      <a:pt x="137" y="261"/>
                      <a:pt x="137" y="261"/>
                    </a:cubicBezTo>
                    <a:cubicBezTo>
                      <a:pt x="137" y="261"/>
                      <a:pt x="141" y="253"/>
                      <a:pt x="139" y="261"/>
                    </a:cubicBezTo>
                    <a:cubicBezTo>
                      <a:pt x="139" y="261"/>
                      <a:pt x="143" y="264"/>
                      <a:pt x="144" y="262"/>
                    </a:cubicBezTo>
                    <a:cubicBezTo>
                      <a:pt x="145" y="262"/>
                      <a:pt x="145" y="258"/>
                      <a:pt x="146" y="262"/>
                    </a:cubicBezTo>
                    <a:cubicBezTo>
                      <a:pt x="146" y="262"/>
                      <a:pt x="150" y="262"/>
                      <a:pt x="151" y="265"/>
                    </a:cubicBezTo>
                    <a:cubicBezTo>
                      <a:pt x="151" y="265"/>
                      <a:pt x="155" y="266"/>
                      <a:pt x="155" y="263"/>
                    </a:cubicBezTo>
                    <a:cubicBezTo>
                      <a:pt x="154" y="263"/>
                      <a:pt x="154" y="255"/>
                      <a:pt x="157" y="256"/>
                    </a:cubicBezTo>
                    <a:cubicBezTo>
                      <a:pt x="157" y="256"/>
                      <a:pt x="158" y="250"/>
                      <a:pt x="163" y="252"/>
                    </a:cubicBezTo>
                    <a:cubicBezTo>
                      <a:pt x="163" y="252"/>
                      <a:pt x="167" y="251"/>
                      <a:pt x="166" y="248"/>
                    </a:cubicBezTo>
                    <a:cubicBezTo>
                      <a:pt x="166" y="248"/>
                      <a:pt x="172" y="243"/>
                      <a:pt x="167" y="240"/>
                    </a:cubicBezTo>
                    <a:cubicBezTo>
                      <a:pt x="167" y="240"/>
                      <a:pt x="168" y="230"/>
                      <a:pt x="165" y="233"/>
                    </a:cubicBezTo>
                    <a:cubicBezTo>
                      <a:pt x="165" y="233"/>
                      <a:pt x="163" y="227"/>
                      <a:pt x="158" y="228"/>
                    </a:cubicBezTo>
                    <a:cubicBezTo>
                      <a:pt x="157" y="228"/>
                      <a:pt x="153" y="226"/>
                      <a:pt x="155" y="225"/>
                    </a:cubicBezTo>
                    <a:cubicBezTo>
                      <a:pt x="156" y="225"/>
                      <a:pt x="158" y="223"/>
                      <a:pt x="155" y="221"/>
                    </a:cubicBezTo>
                    <a:cubicBezTo>
                      <a:pt x="154" y="221"/>
                      <a:pt x="151" y="214"/>
                      <a:pt x="153" y="212"/>
                    </a:cubicBezTo>
                    <a:cubicBezTo>
                      <a:pt x="153" y="212"/>
                      <a:pt x="151" y="206"/>
                      <a:pt x="144" y="207"/>
                    </a:cubicBezTo>
                    <a:cubicBezTo>
                      <a:pt x="144" y="207"/>
                      <a:pt x="138" y="205"/>
                      <a:pt x="139" y="203"/>
                    </a:cubicBezTo>
                    <a:cubicBezTo>
                      <a:pt x="139" y="203"/>
                      <a:pt x="138" y="199"/>
                      <a:pt x="136" y="199"/>
                    </a:cubicBezTo>
                    <a:cubicBezTo>
                      <a:pt x="136" y="199"/>
                      <a:pt x="133" y="199"/>
                      <a:pt x="133" y="196"/>
                    </a:cubicBezTo>
                    <a:cubicBezTo>
                      <a:pt x="133" y="196"/>
                      <a:pt x="129" y="192"/>
                      <a:pt x="128" y="192"/>
                    </a:cubicBezTo>
                    <a:cubicBezTo>
                      <a:pt x="128" y="192"/>
                      <a:pt x="129" y="187"/>
                      <a:pt x="130" y="187"/>
                    </a:cubicBezTo>
                    <a:cubicBezTo>
                      <a:pt x="130" y="187"/>
                      <a:pt x="131" y="183"/>
                      <a:pt x="129" y="183"/>
                    </a:cubicBezTo>
                    <a:cubicBezTo>
                      <a:pt x="129" y="183"/>
                      <a:pt x="127" y="178"/>
                      <a:pt x="128" y="177"/>
                    </a:cubicBezTo>
                    <a:cubicBezTo>
                      <a:pt x="128" y="177"/>
                      <a:pt x="123" y="175"/>
                      <a:pt x="124" y="172"/>
                    </a:cubicBezTo>
                    <a:cubicBezTo>
                      <a:pt x="124" y="172"/>
                      <a:pt x="119" y="171"/>
                      <a:pt x="123" y="169"/>
                    </a:cubicBezTo>
                    <a:cubicBezTo>
                      <a:pt x="123" y="170"/>
                      <a:pt x="134" y="167"/>
                      <a:pt x="155" y="168"/>
                    </a:cubicBezTo>
                    <a:cubicBezTo>
                      <a:pt x="155" y="168"/>
                      <a:pt x="157" y="165"/>
                      <a:pt x="162" y="165"/>
                    </a:cubicBezTo>
                    <a:cubicBezTo>
                      <a:pt x="162" y="165"/>
                      <a:pt x="164" y="162"/>
                      <a:pt x="169" y="162"/>
                    </a:cubicBezTo>
                    <a:cubicBezTo>
                      <a:pt x="169" y="162"/>
                      <a:pt x="172" y="161"/>
                      <a:pt x="175" y="161"/>
                    </a:cubicBezTo>
                    <a:cubicBezTo>
                      <a:pt x="175" y="160"/>
                      <a:pt x="178" y="157"/>
                      <a:pt x="179" y="161"/>
                    </a:cubicBezTo>
                    <a:cubicBezTo>
                      <a:pt x="180" y="161"/>
                      <a:pt x="184" y="164"/>
                      <a:pt x="184" y="165"/>
                    </a:cubicBezTo>
                    <a:cubicBezTo>
                      <a:pt x="184" y="164"/>
                      <a:pt x="188" y="166"/>
                      <a:pt x="188" y="171"/>
                    </a:cubicBezTo>
                    <a:cubicBezTo>
                      <a:pt x="188" y="171"/>
                      <a:pt x="194" y="176"/>
                      <a:pt x="194" y="177"/>
                    </a:cubicBezTo>
                    <a:cubicBezTo>
                      <a:pt x="193" y="177"/>
                      <a:pt x="197" y="179"/>
                      <a:pt x="199" y="184"/>
                    </a:cubicBezTo>
                    <a:cubicBezTo>
                      <a:pt x="199" y="184"/>
                      <a:pt x="203" y="184"/>
                      <a:pt x="203" y="186"/>
                    </a:cubicBezTo>
                    <a:cubicBezTo>
                      <a:pt x="203" y="186"/>
                      <a:pt x="206" y="188"/>
                      <a:pt x="208" y="185"/>
                    </a:cubicBezTo>
                    <a:cubicBezTo>
                      <a:pt x="208" y="185"/>
                      <a:pt x="214" y="184"/>
                      <a:pt x="214" y="182"/>
                    </a:cubicBezTo>
                    <a:cubicBezTo>
                      <a:pt x="214" y="183"/>
                      <a:pt x="223" y="177"/>
                      <a:pt x="222" y="183"/>
                    </a:cubicBezTo>
                    <a:cubicBezTo>
                      <a:pt x="222" y="183"/>
                      <a:pt x="226" y="190"/>
                      <a:pt x="228" y="184"/>
                    </a:cubicBezTo>
                    <a:cubicBezTo>
                      <a:pt x="227" y="184"/>
                      <a:pt x="232" y="182"/>
                      <a:pt x="233" y="180"/>
                    </a:cubicBezTo>
                    <a:cubicBezTo>
                      <a:pt x="233" y="180"/>
                      <a:pt x="236" y="179"/>
                      <a:pt x="236" y="182"/>
                    </a:cubicBezTo>
                    <a:cubicBezTo>
                      <a:pt x="236" y="182"/>
                      <a:pt x="242" y="185"/>
                      <a:pt x="245" y="183"/>
                    </a:cubicBezTo>
                    <a:cubicBezTo>
                      <a:pt x="245" y="183"/>
                      <a:pt x="245" y="182"/>
                      <a:pt x="246" y="183"/>
                    </a:cubicBezTo>
                    <a:cubicBezTo>
                      <a:pt x="247" y="183"/>
                      <a:pt x="247" y="183"/>
                      <a:pt x="247" y="183"/>
                    </a:cubicBezTo>
                    <a:cubicBezTo>
                      <a:pt x="247" y="183"/>
                      <a:pt x="247" y="180"/>
                      <a:pt x="252" y="179"/>
                    </a:cubicBezTo>
                    <a:cubicBezTo>
                      <a:pt x="252" y="180"/>
                      <a:pt x="252" y="176"/>
                      <a:pt x="255" y="176"/>
                    </a:cubicBezTo>
                    <a:cubicBezTo>
                      <a:pt x="255" y="177"/>
                      <a:pt x="257" y="173"/>
                      <a:pt x="257" y="169"/>
                    </a:cubicBezTo>
                    <a:cubicBezTo>
                      <a:pt x="257" y="169"/>
                      <a:pt x="257" y="165"/>
                      <a:pt x="260" y="163"/>
                    </a:cubicBezTo>
                    <a:cubicBezTo>
                      <a:pt x="260" y="163"/>
                      <a:pt x="263" y="160"/>
                      <a:pt x="263" y="158"/>
                    </a:cubicBezTo>
                    <a:cubicBezTo>
                      <a:pt x="263" y="158"/>
                      <a:pt x="263" y="153"/>
                      <a:pt x="267" y="152"/>
                    </a:cubicBezTo>
                    <a:cubicBezTo>
                      <a:pt x="267" y="152"/>
                      <a:pt x="268" y="151"/>
                      <a:pt x="272" y="150"/>
                    </a:cubicBezTo>
                    <a:cubicBezTo>
                      <a:pt x="272" y="150"/>
                      <a:pt x="284" y="152"/>
                      <a:pt x="281" y="146"/>
                    </a:cubicBezTo>
                    <a:cubicBezTo>
                      <a:pt x="281" y="138"/>
                      <a:pt x="281" y="138"/>
                      <a:pt x="281" y="138"/>
                    </a:cubicBezTo>
                    <a:cubicBezTo>
                      <a:pt x="281" y="138"/>
                      <a:pt x="284" y="133"/>
                      <a:pt x="286" y="133"/>
                    </a:cubicBezTo>
                    <a:cubicBezTo>
                      <a:pt x="286" y="133"/>
                      <a:pt x="286" y="126"/>
                      <a:pt x="292" y="129"/>
                    </a:cubicBezTo>
                    <a:cubicBezTo>
                      <a:pt x="292" y="129"/>
                      <a:pt x="293" y="132"/>
                      <a:pt x="297" y="132"/>
                    </a:cubicBezTo>
                    <a:cubicBezTo>
                      <a:pt x="297" y="132"/>
                      <a:pt x="307" y="130"/>
                      <a:pt x="308" y="136"/>
                    </a:cubicBezTo>
                    <a:cubicBezTo>
                      <a:pt x="308" y="136"/>
                      <a:pt x="309" y="150"/>
                      <a:pt x="313" y="142"/>
                    </a:cubicBezTo>
                    <a:cubicBezTo>
                      <a:pt x="322" y="142"/>
                      <a:pt x="322" y="142"/>
                      <a:pt x="322" y="142"/>
                    </a:cubicBezTo>
                    <a:cubicBezTo>
                      <a:pt x="322" y="142"/>
                      <a:pt x="323" y="138"/>
                      <a:pt x="328" y="138"/>
                    </a:cubicBezTo>
                    <a:cubicBezTo>
                      <a:pt x="328" y="138"/>
                      <a:pt x="330" y="135"/>
                      <a:pt x="334" y="135"/>
                    </a:cubicBezTo>
                    <a:cubicBezTo>
                      <a:pt x="334" y="135"/>
                      <a:pt x="334" y="133"/>
                      <a:pt x="338" y="133"/>
                    </a:cubicBezTo>
                    <a:cubicBezTo>
                      <a:pt x="338" y="133"/>
                      <a:pt x="343" y="130"/>
                      <a:pt x="338" y="129"/>
                    </a:cubicBezTo>
                    <a:cubicBezTo>
                      <a:pt x="338" y="129"/>
                      <a:pt x="338" y="123"/>
                      <a:pt x="340" y="123"/>
                    </a:cubicBezTo>
                    <a:cubicBezTo>
                      <a:pt x="341" y="123"/>
                      <a:pt x="344" y="121"/>
                      <a:pt x="343" y="116"/>
                    </a:cubicBezTo>
                    <a:cubicBezTo>
                      <a:pt x="343" y="116"/>
                      <a:pt x="345" y="112"/>
                      <a:pt x="348" y="111"/>
                    </a:cubicBezTo>
                    <a:cubicBezTo>
                      <a:pt x="348" y="111"/>
                      <a:pt x="349" y="100"/>
                      <a:pt x="353" y="99"/>
                    </a:cubicBezTo>
                    <a:cubicBezTo>
                      <a:pt x="353" y="99"/>
                      <a:pt x="352" y="91"/>
                      <a:pt x="349" y="91"/>
                    </a:cubicBezTo>
                    <a:close/>
                    <a:moveTo>
                      <a:pt x="173" y="254"/>
                    </a:moveTo>
                    <a:cubicBezTo>
                      <a:pt x="173" y="254"/>
                      <a:pt x="173" y="254"/>
                      <a:pt x="173" y="254"/>
                    </a:cubicBezTo>
                    <a:cubicBezTo>
                      <a:pt x="173" y="257"/>
                      <a:pt x="171" y="257"/>
                      <a:pt x="171" y="257"/>
                    </a:cubicBezTo>
                    <a:cubicBezTo>
                      <a:pt x="169" y="257"/>
                      <a:pt x="169" y="260"/>
                      <a:pt x="169" y="260"/>
                    </a:cubicBezTo>
                    <a:cubicBezTo>
                      <a:pt x="165" y="261"/>
                      <a:pt x="169" y="263"/>
                      <a:pt x="169" y="263"/>
                    </a:cubicBezTo>
                    <a:cubicBezTo>
                      <a:pt x="173" y="265"/>
                      <a:pt x="176" y="261"/>
                      <a:pt x="176" y="261"/>
                    </a:cubicBezTo>
                    <a:cubicBezTo>
                      <a:pt x="175" y="257"/>
                      <a:pt x="181" y="258"/>
                      <a:pt x="181" y="258"/>
                    </a:cubicBezTo>
                    <a:cubicBezTo>
                      <a:pt x="181" y="258"/>
                      <a:pt x="179" y="257"/>
                      <a:pt x="178" y="257"/>
                    </a:cubicBezTo>
                    <a:cubicBezTo>
                      <a:pt x="177" y="253"/>
                      <a:pt x="175" y="254"/>
                      <a:pt x="173" y="254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3" name="Freeform 232">
                <a:extLst>
                  <a:ext uri="{FF2B5EF4-FFF2-40B4-BE49-F238E27FC236}">
                    <a16:creationId xmlns:a16="http://schemas.microsoft.com/office/drawing/2014/main" id="{497000D1-E098-CE25-4624-633DB1B32F2D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590981" y="3260798"/>
                <a:ext cx="1038958" cy="1341394"/>
              </a:xfrm>
              <a:custGeom>
                <a:avLst/>
                <a:gdLst>
                  <a:gd name="T0" fmla="*/ 297 w 327"/>
                  <a:gd name="T1" fmla="*/ 219 h 421"/>
                  <a:gd name="T2" fmla="*/ 285 w 327"/>
                  <a:gd name="T3" fmla="*/ 175 h 421"/>
                  <a:gd name="T4" fmla="*/ 300 w 327"/>
                  <a:gd name="T5" fmla="*/ 136 h 421"/>
                  <a:gd name="T6" fmla="*/ 297 w 327"/>
                  <a:gd name="T7" fmla="*/ 113 h 421"/>
                  <a:gd name="T8" fmla="*/ 314 w 327"/>
                  <a:gd name="T9" fmla="*/ 90 h 421"/>
                  <a:gd name="T10" fmla="*/ 270 w 327"/>
                  <a:gd name="T11" fmla="*/ 84 h 421"/>
                  <a:gd name="T12" fmla="*/ 242 w 327"/>
                  <a:gd name="T13" fmla="*/ 77 h 421"/>
                  <a:gd name="T14" fmla="*/ 241 w 327"/>
                  <a:gd name="T15" fmla="*/ 65 h 421"/>
                  <a:gd name="T16" fmla="*/ 254 w 327"/>
                  <a:gd name="T17" fmla="*/ 57 h 421"/>
                  <a:gd name="T18" fmla="*/ 247 w 327"/>
                  <a:gd name="T19" fmla="*/ 57 h 421"/>
                  <a:gd name="T20" fmla="*/ 246 w 327"/>
                  <a:gd name="T21" fmla="*/ 38 h 421"/>
                  <a:gd name="T22" fmla="*/ 259 w 327"/>
                  <a:gd name="T23" fmla="*/ 15 h 421"/>
                  <a:gd name="T24" fmla="*/ 231 w 327"/>
                  <a:gd name="T25" fmla="*/ 7 h 421"/>
                  <a:gd name="T26" fmla="*/ 171 w 327"/>
                  <a:gd name="T27" fmla="*/ 21 h 421"/>
                  <a:gd name="T28" fmla="*/ 167 w 327"/>
                  <a:gd name="T29" fmla="*/ 35 h 421"/>
                  <a:gd name="T30" fmla="*/ 174 w 327"/>
                  <a:gd name="T31" fmla="*/ 60 h 421"/>
                  <a:gd name="T32" fmla="*/ 172 w 327"/>
                  <a:gd name="T33" fmla="*/ 84 h 421"/>
                  <a:gd name="T34" fmla="*/ 164 w 327"/>
                  <a:gd name="T35" fmla="*/ 105 h 421"/>
                  <a:gd name="T36" fmla="*/ 152 w 327"/>
                  <a:gd name="T37" fmla="*/ 103 h 421"/>
                  <a:gd name="T38" fmla="*/ 136 w 327"/>
                  <a:gd name="T39" fmla="*/ 92 h 421"/>
                  <a:gd name="T40" fmla="*/ 128 w 327"/>
                  <a:gd name="T41" fmla="*/ 60 h 421"/>
                  <a:gd name="T42" fmla="*/ 98 w 327"/>
                  <a:gd name="T43" fmla="*/ 73 h 421"/>
                  <a:gd name="T44" fmla="*/ 123 w 327"/>
                  <a:gd name="T45" fmla="*/ 84 h 421"/>
                  <a:gd name="T46" fmla="*/ 128 w 327"/>
                  <a:gd name="T47" fmla="*/ 122 h 421"/>
                  <a:gd name="T48" fmla="*/ 113 w 327"/>
                  <a:gd name="T49" fmla="*/ 151 h 421"/>
                  <a:gd name="T50" fmla="*/ 90 w 327"/>
                  <a:gd name="T51" fmla="*/ 177 h 421"/>
                  <a:gd name="T52" fmla="*/ 81 w 327"/>
                  <a:gd name="T53" fmla="*/ 213 h 421"/>
                  <a:gd name="T54" fmla="*/ 58 w 327"/>
                  <a:gd name="T55" fmla="*/ 253 h 421"/>
                  <a:gd name="T56" fmla="*/ 25 w 327"/>
                  <a:gd name="T57" fmla="*/ 265 h 421"/>
                  <a:gd name="T58" fmla="*/ 24 w 327"/>
                  <a:gd name="T59" fmla="*/ 312 h 421"/>
                  <a:gd name="T60" fmla="*/ 57 w 327"/>
                  <a:gd name="T61" fmla="*/ 317 h 421"/>
                  <a:gd name="T62" fmla="*/ 59 w 327"/>
                  <a:gd name="T63" fmla="*/ 338 h 421"/>
                  <a:gd name="T64" fmla="*/ 29 w 327"/>
                  <a:gd name="T65" fmla="*/ 348 h 421"/>
                  <a:gd name="T66" fmla="*/ 46 w 327"/>
                  <a:gd name="T67" fmla="*/ 376 h 421"/>
                  <a:gd name="T68" fmla="*/ 72 w 327"/>
                  <a:gd name="T69" fmla="*/ 362 h 421"/>
                  <a:gd name="T70" fmla="*/ 98 w 327"/>
                  <a:gd name="T71" fmla="*/ 372 h 421"/>
                  <a:gd name="T72" fmla="*/ 122 w 327"/>
                  <a:gd name="T73" fmla="*/ 419 h 421"/>
                  <a:gd name="T74" fmla="*/ 139 w 327"/>
                  <a:gd name="T75" fmla="*/ 398 h 421"/>
                  <a:gd name="T76" fmla="*/ 170 w 327"/>
                  <a:gd name="T77" fmla="*/ 384 h 421"/>
                  <a:gd name="T78" fmla="*/ 198 w 327"/>
                  <a:gd name="T79" fmla="*/ 360 h 421"/>
                  <a:gd name="T80" fmla="*/ 222 w 327"/>
                  <a:gd name="T81" fmla="*/ 344 h 421"/>
                  <a:gd name="T82" fmla="*/ 255 w 327"/>
                  <a:gd name="T83" fmla="*/ 336 h 421"/>
                  <a:gd name="T84" fmla="*/ 277 w 327"/>
                  <a:gd name="T85" fmla="*/ 320 h 421"/>
                  <a:gd name="T86" fmla="*/ 289 w 327"/>
                  <a:gd name="T87" fmla="*/ 298 h 421"/>
                  <a:gd name="T88" fmla="*/ 296 w 327"/>
                  <a:gd name="T89" fmla="*/ 265 h 421"/>
                  <a:gd name="T90" fmla="*/ 318 w 327"/>
                  <a:gd name="T91" fmla="*/ 263 h 421"/>
                  <a:gd name="T92" fmla="*/ 204 w 327"/>
                  <a:gd name="T93" fmla="*/ 72 h 421"/>
                  <a:gd name="T94" fmla="*/ 203 w 327"/>
                  <a:gd name="T95" fmla="*/ 65 h 421"/>
                  <a:gd name="T96" fmla="*/ 31 w 327"/>
                  <a:gd name="T97" fmla="*/ 156 h 421"/>
                  <a:gd name="T98" fmla="*/ 62 w 327"/>
                  <a:gd name="T99" fmla="*/ 160 h 421"/>
                  <a:gd name="T100" fmla="*/ 91 w 327"/>
                  <a:gd name="T101" fmla="*/ 153 h 421"/>
                  <a:gd name="T102" fmla="*/ 86 w 327"/>
                  <a:gd name="T103" fmla="*/ 139 h 421"/>
                  <a:gd name="T104" fmla="*/ 86 w 327"/>
                  <a:gd name="T105" fmla="*/ 101 h 421"/>
                  <a:gd name="T106" fmla="*/ 93 w 327"/>
                  <a:gd name="T107" fmla="*/ 94 h 421"/>
                  <a:gd name="T108" fmla="*/ 70 w 327"/>
                  <a:gd name="T109" fmla="*/ 94 h 421"/>
                  <a:gd name="T110" fmla="*/ 27 w 327"/>
                  <a:gd name="T111" fmla="*/ 126 h 421"/>
                  <a:gd name="T112" fmla="*/ 20 w 327"/>
                  <a:gd name="T113" fmla="*/ 148 h 421"/>
                  <a:gd name="T114" fmla="*/ 63 w 327"/>
                  <a:gd name="T115" fmla="*/ 199 h 421"/>
                  <a:gd name="T116" fmla="*/ 59 w 327"/>
                  <a:gd name="T117" fmla="*/ 173 h 421"/>
                  <a:gd name="T118" fmla="*/ 36 w 327"/>
                  <a:gd name="T119" fmla="*/ 189 h 421"/>
                  <a:gd name="T120" fmla="*/ 20 w 327"/>
                  <a:gd name="T121" fmla="*/ 189 h 421"/>
                  <a:gd name="T122" fmla="*/ 4 w 327"/>
                  <a:gd name="T123" fmla="*/ 194 h 421"/>
                  <a:gd name="T124" fmla="*/ 23 w 327"/>
                  <a:gd name="T125" fmla="*/ 198 h 421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27"/>
                  <a:gd name="T190" fmla="*/ 0 h 421"/>
                  <a:gd name="T191" fmla="*/ 327 w 327"/>
                  <a:gd name="T192" fmla="*/ 421 h 421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27" h="421">
                    <a:moveTo>
                      <a:pt x="319" y="238"/>
                    </a:moveTo>
                    <a:cubicBezTo>
                      <a:pt x="319" y="238"/>
                      <a:pt x="314" y="232"/>
                      <a:pt x="311" y="233"/>
                    </a:cubicBezTo>
                    <a:cubicBezTo>
                      <a:pt x="311" y="234"/>
                      <a:pt x="308" y="230"/>
                      <a:pt x="308" y="229"/>
                    </a:cubicBezTo>
                    <a:cubicBezTo>
                      <a:pt x="308" y="229"/>
                      <a:pt x="315" y="219"/>
                      <a:pt x="306" y="221"/>
                    </a:cubicBezTo>
                    <a:cubicBezTo>
                      <a:pt x="306" y="221"/>
                      <a:pt x="305" y="218"/>
                      <a:pt x="297" y="219"/>
                    </a:cubicBezTo>
                    <a:cubicBezTo>
                      <a:pt x="297" y="219"/>
                      <a:pt x="295" y="216"/>
                      <a:pt x="288" y="217"/>
                    </a:cubicBezTo>
                    <a:cubicBezTo>
                      <a:pt x="284" y="212"/>
                      <a:pt x="284" y="212"/>
                      <a:pt x="284" y="212"/>
                    </a:cubicBezTo>
                    <a:cubicBezTo>
                      <a:pt x="284" y="195"/>
                      <a:pt x="284" y="195"/>
                      <a:pt x="284" y="195"/>
                    </a:cubicBezTo>
                    <a:cubicBezTo>
                      <a:pt x="284" y="195"/>
                      <a:pt x="293" y="199"/>
                      <a:pt x="285" y="183"/>
                    </a:cubicBezTo>
                    <a:cubicBezTo>
                      <a:pt x="285" y="183"/>
                      <a:pt x="276" y="177"/>
                      <a:pt x="285" y="175"/>
                    </a:cubicBezTo>
                    <a:cubicBezTo>
                      <a:pt x="285" y="175"/>
                      <a:pt x="286" y="168"/>
                      <a:pt x="289" y="168"/>
                    </a:cubicBezTo>
                    <a:cubicBezTo>
                      <a:pt x="289" y="168"/>
                      <a:pt x="289" y="160"/>
                      <a:pt x="288" y="160"/>
                    </a:cubicBezTo>
                    <a:cubicBezTo>
                      <a:pt x="288" y="160"/>
                      <a:pt x="293" y="154"/>
                      <a:pt x="293" y="152"/>
                    </a:cubicBezTo>
                    <a:cubicBezTo>
                      <a:pt x="293" y="153"/>
                      <a:pt x="297" y="145"/>
                      <a:pt x="297" y="145"/>
                    </a:cubicBezTo>
                    <a:cubicBezTo>
                      <a:pt x="297" y="145"/>
                      <a:pt x="298" y="136"/>
                      <a:pt x="300" y="136"/>
                    </a:cubicBezTo>
                    <a:cubicBezTo>
                      <a:pt x="301" y="137"/>
                      <a:pt x="304" y="132"/>
                      <a:pt x="301" y="130"/>
                    </a:cubicBezTo>
                    <a:cubicBezTo>
                      <a:pt x="302" y="130"/>
                      <a:pt x="303" y="126"/>
                      <a:pt x="297" y="126"/>
                    </a:cubicBezTo>
                    <a:cubicBezTo>
                      <a:pt x="298" y="127"/>
                      <a:pt x="294" y="124"/>
                      <a:pt x="292" y="124"/>
                    </a:cubicBezTo>
                    <a:cubicBezTo>
                      <a:pt x="292" y="124"/>
                      <a:pt x="288" y="118"/>
                      <a:pt x="292" y="115"/>
                    </a:cubicBezTo>
                    <a:cubicBezTo>
                      <a:pt x="292" y="115"/>
                      <a:pt x="294" y="105"/>
                      <a:pt x="297" y="113"/>
                    </a:cubicBezTo>
                    <a:cubicBezTo>
                      <a:pt x="297" y="113"/>
                      <a:pt x="300" y="118"/>
                      <a:pt x="303" y="118"/>
                    </a:cubicBezTo>
                    <a:cubicBezTo>
                      <a:pt x="303" y="118"/>
                      <a:pt x="304" y="122"/>
                      <a:pt x="309" y="118"/>
                    </a:cubicBezTo>
                    <a:cubicBezTo>
                      <a:pt x="309" y="118"/>
                      <a:pt x="319" y="117"/>
                      <a:pt x="315" y="114"/>
                    </a:cubicBezTo>
                    <a:cubicBezTo>
                      <a:pt x="315" y="115"/>
                      <a:pt x="324" y="111"/>
                      <a:pt x="318" y="109"/>
                    </a:cubicBezTo>
                    <a:cubicBezTo>
                      <a:pt x="318" y="109"/>
                      <a:pt x="316" y="90"/>
                      <a:pt x="314" y="90"/>
                    </a:cubicBezTo>
                    <a:cubicBezTo>
                      <a:pt x="314" y="91"/>
                      <a:pt x="310" y="87"/>
                      <a:pt x="307" y="88"/>
                    </a:cubicBezTo>
                    <a:cubicBezTo>
                      <a:pt x="307" y="88"/>
                      <a:pt x="296" y="84"/>
                      <a:pt x="290" y="86"/>
                    </a:cubicBezTo>
                    <a:cubicBezTo>
                      <a:pt x="290" y="87"/>
                      <a:pt x="286" y="80"/>
                      <a:pt x="281" y="85"/>
                    </a:cubicBezTo>
                    <a:cubicBezTo>
                      <a:pt x="281" y="85"/>
                      <a:pt x="280" y="90"/>
                      <a:pt x="277" y="87"/>
                    </a:cubicBezTo>
                    <a:cubicBezTo>
                      <a:pt x="277" y="87"/>
                      <a:pt x="275" y="82"/>
                      <a:pt x="270" y="84"/>
                    </a:cubicBezTo>
                    <a:cubicBezTo>
                      <a:pt x="271" y="84"/>
                      <a:pt x="269" y="79"/>
                      <a:pt x="266" y="81"/>
                    </a:cubicBezTo>
                    <a:cubicBezTo>
                      <a:pt x="266" y="81"/>
                      <a:pt x="264" y="75"/>
                      <a:pt x="261" y="81"/>
                    </a:cubicBezTo>
                    <a:cubicBezTo>
                      <a:pt x="260" y="81"/>
                      <a:pt x="254" y="81"/>
                      <a:pt x="254" y="79"/>
                    </a:cubicBezTo>
                    <a:cubicBezTo>
                      <a:pt x="254" y="79"/>
                      <a:pt x="251" y="75"/>
                      <a:pt x="249" y="79"/>
                    </a:cubicBezTo>
                    <a:cubicBezTo>
                      <a:pt x="249" y="80"/>
                      <a:pt x="245" y="75"/>
                      <a:pt x="242" y="77"/>
                    </a:cubicBezTo>
                    <a:cubicBezTo>
                      <a:pt x="243" y="76"/>
                      <a:pt x="236" y="79"/>
                      <a:pt x="236" y="79"/>
                    </a:cubicBezTo>
                    <a:cubicBezTo>
                      <a:pt x="236" y="79"/>
                      <a:pt x="231" y="80"/>
                      <a:pt x="235" y="76"/>
                    </a:cubicBezTo>
                    <a:cubicBezTo>
                      <a:pt x="235" y="76"/>
                      <a:pt x="238" y="76"/>
                      <a:pt x="239" y="74"/>
                    </a:cubicBezTo>
                    <a:cubicBezTo>
                      <a:pt x="239" y="74"/>
                      <a:pt x="243" y="71"/>
                      <a:pt x="241" y="69"/>
                    </a:cubicBezTo>
                    <a:cubicBezTo>
                      <a:pt x="242" y="69"/>
                      <a:pt x="246" y="67"/>
                      <a:pt x="241" y="65"/>
                    </a:cubicBezTo>
                    <a:cubicBezTo>
                      <a:pt x="241" y="66"/>
                      <a:pt x="242" y="61"/>
                      <a:pt x="242" y="61"/>
                    </a:cubicBezTo>
                    <a:cubicBezTo>
                      <a:pt x="244" y="61"/>
                      <a:pt x="244" y="61"/>
                      <a:pt x="244" y="61"/>
                    </a:cubicBezTo>
                    <a:cubicBezTo>
                      <a:pt x="244" y="61"/>
                      <a:pt x="244" y="57"/>
                      <a:pt x="247" y="59"/>
                    </a:cubicBezTo>
                    <a:cubicBezTo>
                      <a:pt x="247" y="59"/>
                      <a:pt x="252" y="61"/>
                      <a:pt x="252" y="59"/>
                    </a:cubicBezTo>
                    <a:cubicBezTo>
                      <a:pt x="252" y="59"/>
                      <a:pt x="252" y="57"/>
                      <a:pt x="254" y="57"/>
                    </a:cubicBezTo>
                    <a:cubicBezTo>
                      <a:pt x="254" y="57"/>
                      <a:pt x="255" y="54"/>
                      <a:pt x="257" y="55"/>
                    </a:cubicBezTo>
                    <a:cubicBezTo>
                      <a:pt x="256" y="55"/>
                      <a:pt x="258" y="52"/>
                      <a:pt x="255" y="52"/>
                    </a:cubicBezTo>
                    <a:cubicBezTo>
                      <a:pt x="255" y="52"/>
                      <a:pt x="251" y="51"/>
                      <a:pt x="251" y="52"/>
                    </a:cubicBezTo>
                    <a:cubicBezTo>
                      <a:pt x="251" y="53"/>
                      <a:pt x="247" y="53"/>
                      <a:pt x="248" y="54"/>
                    </a:cubicBezTo>
                    <a:cubicBezTo>
                      <a:pt x="248" y="55"/>
                      <a:pt x="248" y="57"/>
                      <a:pt x="247" y="57"/>
                    </a:cubicBezTo>
                    <a:cubicBezTo>
                      <a:pt x="247" y="57"/>
                      <a:pt x="245" y="57"/>
                      <a:pt x="244" y="57"/>
                    </a:cubicBezTo>
                    <a:cubicBezTo>
                      <a:pt x="244" y="56"/>
                      <a:pt x="244" y="52"/>
                      <a:pt x="243" y="52"/>
                    </a:cubicBezTo>
                    <a:cubicBezTo>
                      <a:pt x="243" y="53"/>
                      <a:pt x="240" y="49"/>
                      <a:pt x="244" y="49"/>
                    </a:cubicBezTo>
                    <a:cubicBezTo>
                      <a:pt x="244" y="49"/>
                      <a:pt x="247" y="46"/>
                      <a:pt x="243" y="44"/>
                    </a:cubicBezTo>
                    <a:cubicBezTo>
                      <a:pt x="244" y="45"/>
                      <a:pt x="244" y="38"/>
                      <a:pt x="246" y="38"/>
                    </a:cubicBezTo>
                    <a:cubicBezTo>
                      <a:pt x="243" y="36"/>
                      <a:pt x="243" y="36"/>
                      <a:pt x="243" y="36"/>
                    </a:cubicBezTo>
                    <a:cubicBezTo>
                      <a:pt x="243" y="36"/>
                      <a:pt x="241" y="32"/>
                      <a:pt x="243" y="32"/>
                    </a:cubicBezTo>
                    <a:cubicBezTo>
                      <a:pt x="243" y="32"/>
                      <a:pt x="247" y="28"/>
                      <a:pt x="248" y="28"/>
                    </a:cubicBezTo>
                    <a:cubicBezTo>
                      <a:pt x="249" y="28"/>
                      <a:pt x="251" y="23"/>
                      <a:pt x="254" y="21"/>
                    </a:cubicBezTo>
                    <a:cubicBezTo>
                      <a:pt x="254" y="22"/>
                      <a:pt x="258" y="16"/>
                      <a:pt x="259" y="15"/>
                    </a:cubicBezTo>
                    <a:cubicBezTo>
                      <a:pt x="259" y="15"/>
                      <a:pt x="256" y="12"/>
                      <a:pt x="254" y="10"/>
                    </a:cubicBezTo>
                    <a:cubicBezTo>
                      <a:pt x="254" y="11"/>
                      <a:pt x="250" y="7"/>
                      <a:pt x="253" y="6"/>
                    </a:cubicBezTo>
                    <a:cubicBezTo>
                      <a:pt x="254" y="6"/>
                      <a:pt x="250" y="0"/>
                      <a:pt x="243" y="1"/>
                    </a:cubicBezTo>
                    <a:cubicBezTo>
                      <a:pt x="243" y="1"/>
                      <a:pt x="238" y="4"/>
                      <a:pt x="236" y="4"/>
                    </a:cubicBezTo>
                    <a:cubicBezTo>
                      <a:pt x="236" y="4"/>
                      <a:pt x="232" y="7"/>
                      <a:pt x="231" y="7"/>
                    </a:cubicBezTo>
                    <a:cubicBezTo>
                      <a:pt x="231" y="7"/>
                      <a:pt x="227" y="11"/>
                      <a:pt x="225" y="11"/>
                    </a:cubicBezTo>
                    <a:cubicBezTo>
                      <a:pt x="225" y="11"/>
                      <a:pt x="220" y="12"/>
                      <a:pt x="220" y="13"/>
                    </a:cubicBezTo>
                    <a:cubicBezTo>
                      <a:pt x="220" y="13"/>
                      <a:pt x="211" y="16"/>
                      <a:pt x="208" y="16"/>
                    </a:cubicBezTo>
                    <a:cubicBezTo>
                      <a:pt x="208" y="16"/>
                      <a:pt x="197" y="19"/>
                      <a:pt x="195" y="18"/>
                    </a:cubicBezTo>
                    <a:cubicBezTo>
                      <a:pt x="195" y="18"/>
                      <a:pt x="173" y="21"/>
                      <a:pt x="171" y="21"/>
                    </a:cubicBezTo>
                    <a:cubicBezTo>
                      <a:pt x="167" y="22"/>
                      <a:pt x="167" y="22"/>
                      <a:pt x="167" y="22"/>
                    </a:cubicBezTo>
                    <a:cubicBezTo>
                      <a:pt x="166" y="22"/>
                      <a:pt x="166" y="22"/>
                      <a:pt x="166" y="22"/>
                    </a:cubicBezTo>
                    <a:cubicBezTo>
                      <a:pt x="166" y="23"/>
                      <a:pt x="166" y="23"/>
                      <a:pt x="166" y="23"/>
                    </a:cubicBezTo>
                    <a:cubicBezTo>
                      <a:pt x="170" y="22"/>
                      <a:pt x="168" y="27"/>
                      <a:pt x="168" y="26"/>
                    </a:cubicBezTo>
                    <a:cubicBezTo>
                      <a:pt x="166" y="26"/>
                      <a:pt x="167" y="35"/>
                      <a:pt x="167" y="35"/>
                    </a:cubicBezTo>
                    <a:cubicBezTo>
                      <a:pt x="166" y="38"/>
                      <a:pt x="169" y="38"/>
                      <a:pt x="169" y="38"/>
                    </a:cubicBezTo>
                    <a:cubicBezTo>
                      <a:pt x="170" y="45"/>
                      <a:pt x="168" y="45"/>
                      <a:pt x="168" y="46"/>
                    </a:cubicBezTo>
                    <a:cubicBezTo>
                      <a:pt x="163" y="50"/>
                      <a:pt x="169" y="50"/>
                      <a:pt x="169" y="49"/>
                    </a:cubicBezTo>
                    <a:cubicBezTo>
                      <a:pt x="171" y="49"/>
                      <a:pt x="172" y="53"/>
                      <a:pt x="172" y="53"/>
                    </a:cubicBezTo>
                    <a:cubicBezTo>
                      <a:pt x="174" y="55"/>
                      <a:pt x="174" y="60"/>
                      <a:pt x="174" y="60"/>
                    </a:cubicBezTo>
                    <a:cubicBezTo>
                      <a:pt x="176" y="60"/>
                      <a:pt x="176" y="65"/>
                      <a:pt x="176" y="65"/>
                    </a:cubicBezTo>
                    <a:cubicBezTo>
                      <a:pt x="178" y="66"/>
                      <a:pt x="178" y="70"/>
                      <a:pt x="178" y="70"/>
                    </a:cubicBezTo>
                    <a:cubicBezTo>
                      <a:pt x="188" y="71"/>
                      <a:pt x="182" y="74"/>
                      <a:pt x="181" y="74"/>
                    </a:cubicBezTo>
                    <a:cubicBezTo>
                      <a:pt x="182" y="81"/>
                      <a:pt x="176" y="80"/>
                      <a:pt x="177" y="79"/>
                    </a:cubicBezTo>
                    <a:cubicBezTo>
                      <a:pt x="173" y="77"/>
                      <a:pt x="172" y="84"/>
                      <a:pt x="172" y="84"/>
                    </a:cubicBezTo>
                    <a:cubicBezTo>
                      <a:pt x="168" y="84"/>
                      <a:pt x="167" y="88"/>
                      <a:pt x="168" y="88"/>
                    </a:cubicBezTo>
                    <a:cubicBezTo>
                      <a:pt x="164" y="89"/>
                      <a:pt x="168" y="93"/>
                      <a:pt x="168" y="93"/>
                    </a:cubicBezTo>
                    <a:cubicBezTo>
                      <a:pt x="173" y="95"/>
                      <a:pt x="170" y="98"/>
                      <a:pt x="170" y="98"/>
                    </a:cubicBezTo>
                    <a:cubicBezTo>
                      <a:pt x="166" y="100"/>
                      <a:pt x="166" y="102"/>
                      <a:pt x="166" y="102"/>
                    </a:cubicBezTo>
                    <a:cubicBezTo>
                      <a:pt x="164" y="103"/>
                      <a:pt x="164" y="105"/>
                      <a:pt x="164" y="105"/>
                    </a:cubicBezTo>
                    <a:cubicBezTo>
                      <a:pt x="163" y="107"/>
                      <a:pt x="160" y="107"/>
                      <a:pt x="160" y="107"/>
                    </a:cubicBezTo>
                    <a:cubicBezTo>
                      <a:pt x="159" y="111"/>
                      <a:pt x="158" y="112"/>
                      <a:pt x="158" y="112"/>
                    </a:cubicBezTo>
                    <a:cubicBezTo>
                      <a:pt x="157" y="115"/>
                      <a:pt x="153" y="115"/>
                      <a:pt x="152" y="115"/>
                    </a:cubicBezTo>
                    <a:cubicBezTo>
                      <a:pt x="148" y="113"/>
                      <a:pt x="153" y="107"/>
                      <a:pt x="153" y="107"/>
                    </a:cubicBezTo>
                    <a:cubicBezTo>
                      <a:pt x="157" y="104"/>
                      <a:pt x="153" y="103"/>
                      <a:pt x="152" y="103"/>
                    </a:cubicBezTo>
                    <a:cubicBezTo>
                      <a:pt x="150" y="101"/>
                      <a:pt x="151" y="98"/>
                      <a:pt x="151" y="97"/>
                    </a:cubicBezTo>
                    <a:cubicBezTo>
                      <a:pt x="154" y="95"/>
                      <a:pt x="151" y="95"/>
                      <a:pt x="151" y="95"/>
                    </a:cubicBezTo>
                    <a:cubicBezTo>
                      <a:pt x="151" y="92"/>
                      <a:pt x="146" y="91"/>
                      <a:pt x="147" y="91"/>
                    </a:cubicBezTo>
                    <a:cubicBezTo>
                      <a:pt x="144" y="88"/>
                      <a:pt x="141" y="92"/>
                      <a:pt x="141" y="92"/>
                    </a:cubicBezTo>
                    <a:cubicBezTo>
                      <a:pt x="140" y="93"/>
                      <a:pt x="136" y="93"/>
                      <a:pt x="136" y="92"/>
                    </a:cubicBezTo>
                    <a:cubicBezTo>
                      <a:pt x="132" y="88"/>
                      <a:pt x="137" y="86"/>
                      <a:pt x="137" y="86"/>
                    </a:cubicBezTo>
                    <a:cubicBezTo>
                      <a:pt x="144" y="84"/>
                      <a:pt x="137" y="80"/>
                      <a:pt x="136" y="80"/>
                    </a:cubicBezTo>
                    <a:cubicBezTo>
                      <a:pt x="136" y="77"/>
                      <a:pt x="133" y="76"/>
                      <a:pt x="133" y="76"/>
                    </a:cubicBezTo>
                    <a:cubicBezTo>
                      <a:pt x="131" y="72"/>
                      <a:pt x="129" y="70"/>
                      <a:pt x="129" y="70"/>
                    </a:cubicBezTo>
                    <a:cubicBezTo>
                      <a:pt x="127" y="69"/>
                      <a:pt x="128" y="61"/>
                      <a:pt x="128" y="60"/>
                    </a:cubicBezTo>
                    <a:cubicBezTo>
                      <a:pt x="126" y="56"/>
                      <a:pt x="122" y="57"/>
                      <a:pt x="121" y="57"/>
                    </a:cubicBezTo>
                    <a:cubicBezTo>
                      <a:pt x="120" y="57"/>
                      <a:pt x="119" y="53"/>
                      <a:pt x="119" y="53"/>
                    </a:cubicBezTo>
                    <a:cubicBezTo>
                      <a:pt x="113" y="56"/>
                      <a:pt x="113" y="56"/>
                      <a:pt x="113" y="56"/>
                    </a:cubicBezTo>
                    <a:cubicBezTo>
                      <a:pt x="113" y="56"/>
                      <a:pt x="107" y="61"/>
                      <a:pt x="105" y="64"/>
                    </a:cubicBezTo>
                    <a:cubicBezTo>
                      <a:pt x="104" y="65"/>
                      <a:pt x="95" y="69"/>
                      <a:pt x="98" y="73"/>
                    </a:cubicBezTo>
                    <a:cubicBezTo>
                      <a:pt x="98" y="73"/>
                      <a:pt x="97" y="80"/>
                      <a:pt x="99" y="80"/>
                    </a:cubicBezTo>
                    <a:cubicBezTo>
                      <a:pt x="99" y="80"/>
                      <a:pt x="105" y="80"/>
                      <a:pt x="105" y="85"/>
                    </a:cubicBezTo>
                    <a:cubicBezTo>
                      <a:pt x="104" y="84"/>
                      <a:pt x="109" y="87"/>
                      <a:pt x="110" y="91"/>
                    </a:cubicBezTo>
                    <a:cubicBezTo>
                      <a:pt x="109" y="91"/>
                      <a:pt x="123" y="107"/>
                      <a:pt x="114" y="90"/>
                    </a:cubicBezTo>
                    <a:cubicBezTo>
                      <a:pt x="114" y="91"/>
                      <a:pt x="114" y="86"/>
                      <a:pt x="123" y="84"/>
                    </a:cubicBezTo>
                    <a:cubicBezTo>
                      <a:pt x="123" y="84"/>
                      <a:pt x="124" y="89"/>
                      <a:pt x="126" y="92"/>
                    </a:cubicBezTo>
                    <a:cubicBezTo>
                      <a:pt x="127" y="92"/>
                      <a:pt x="130" y="93"/>
                      <a:pt x="127" y="99"/>
                    </a:cubicBezTo>
                    <a:cubicBezTo>
                      <a:pt x="127" y="99"/>
                      <a:pt x="123" y="102"/>
                      <a:pt x="124" y="108"/>
                    </a:cubicBezTo>
                    <a:cubicBezTo>
                      <a:pt x="124" y="108"/>
                      <a:pt x="119" y="111"/>
                      <a:pt x="124" y="115"/>
                    </a:cubicBezTo>
                    <a:cubicBezTo>
                      <a:pt x="124" y="115"/>
                      <a:pt x="129" y="112"/>
                      <a:pt x="128" y="122"/>
                    </a:cubicBezTo>
                    <a:cubicBezTo>
                      <a:pt x="128" y="122"/>
                      <a:pt x="136" y="123"/>
                      <a:pt x="127" y="130"/>
                    </a:cubicBezTo>
                    <a:cubicBezTo>
                      <a:pt x="127" y="130"/>
                      <a:pt x="122" y="133"/>
                      <a:pt x="119" y="131"/>
                    </a:cubicBezTo>
                    <a:cubicBezTo>
                      <a:pt x="119" y="131"/>
                      <a:pt x="113" y="127"/>
                      <a:pt x="114" y="132"/>
                    </a:cubicBezTo>
                    <a:cubicBezTo>
                      <a:pt x="114" y="132"/>
                      <a:pt x="109" y="138"/>
                      <a:pt x="113" y="144"/>
                    </a:cubicBezTo>
                    <a:cubicBezTo>
                      <a:pt x="113" y="145"/>
                      <a:pt x="118" y="147"/>
                      <a:pt x="113" y="151"/>
                    </a:cubicBezTo>
                    <a:cubicBezTo>
                      <a:pt x="112" y="151"/>
                      <a:pt x="109" y="161"/>
                      <a:pt x="108" y="160"/>
                    </a:cubicBezTo>
                    <a:cubicBezTo>
                      <a:pt x="108" y="160"/>
                      <a:pt x="101" y="160"/>
                      <a:pt x="101" y="165"/>
                    </a:cubicBezTo>
                    <a:cubicBezTo>
                      <a:pt x="101" y="166"/>
                      <a:pt x="93" y="166"/>
                      <a:pt x="99" y="169"/>
                    </a:cubicBezTo>
                    <a:cubicBezTo>
                      <a:pt x="100" y="169"/>
                      <a:pt x="93" y="175"/>
                      <a:pt x="93" y="175"/>
                    </a:cubicBezTo>
                    <a:cubicBezTo>
                      <a:pt x="90" y="177"/>
                      <a:pt x="90" y="177"/>
                      <a:pt x="90" y="177"/>
                    </a:cubicBezTo>
                    <a:cubicBezTo>
                      <a:pt x="90" y="177"/>
                      <a:pt x="81" y="180"/>
                      <a:pt x="90" y="183"/>
                    </a:cubicBezTo>
                    <a:cubicBezTo>
                      <a:pt x="90" y="183"/>
                      <a:pt x="96" y="183"/>
                      <a:pt x="101" y="189"/>
                    </a:cubicBezTo>
                    <a:cubicBezTo>
                      <a:pt x="101" y="189"/>
                      <a:pt x="105" y="191"/>
                      <a:pt x="98" y="197"/>
                    </a:cubicBezTo>
                    <a:cubicBezTo>
                      <a:pt x="98" y="197"/>
                      <a:pt x="90" y="207"/>
                      <a:pt x="87" y="208"/>
                    </a:cubicBezTo>
                    <a:cubicBezTo>
                      <a:pt x="88" y="208"/>
                      <a:pt x="80" y="207"/>
                      <a:pt x="81" y="213"/>
                    </a:cubicBezTo>
                    <a:cubicBezTo>
                      <a:pt x="82" y="213"/>
                      <a:pt x="78" y="217"/>
                      <a:pt x="76" y="217"/>
                    </a:cubicBezTo>
                    <a:cubicBezTo>
                      <a:pt x="77" y="217"/>
                      <a:pt x="73" y="225"/>
                      <a:pt x="72" y="225"/>
                    </a:cubicBezTo>
                    <a:cubicBezTo>
                      <a:pt x="72" y="225"/>
                      <a:pt x="72" y="232"/>
                      <a:pt x="67" y="232"/>
                    </a:cubicBezTo>
                    <a:cubicBezTo>
                      <a:pt x="66" y="231"/>
                      <a:pt x="64" y="236"/>
                      <a:pt x="62" y="234"/>
                    </a:cubicBezTo>
                    <a:cubicBezTo>
                      <a:pt x="62" y="234"/>
                      <a:pt x="56" y="246"/>
                      <a:pt x="58" y="253"/>
                    </a:cubicBezTo>
                    <a:cubicBezTo>
                      <a:pt x="58" y="253"/>
                      <a:pt x="53" y="256"/>
                      <a:pt x="51" y="253"/>
                    </a:cubicBezTo>
                    <a:cubicBezTo>
                      <a:pt x="51" y="254"/>
                      <a:pt x="44" y="246"/>
                      <a:pt x="42" y="252"/>
                    </a:cubicBezTo>
                    <a:cubicBezTo>
                      <a:pt x="42" y="252"/>
                      <a:pt x="41" y="248"/>
                      <a:pt x="36" y="257"/>
                    </a:cubicBezTo>
                    <a:cubicBezTo>
                      <a:pt x="36" y="256"/>
                      <a:pt x="36" y="263"/>
                      <a:pt x="32" y="257"/>
                    </a:cubicBezTo>
                    <a:cubicBezTo>
                      <a:pt x="32" y="258"/>
                      <a:pt x="21" y="256"/>
                      <a:pt x="25" y="265"/>
                    </a:cubicBezTo>
                    <a:cubicBezTo>
                      <a:pt x="26" y="265"/>
                      <a:pt x="24" y="269"/>
                      <a:pt x="26" y="274"/>
                    </a:cubicBezTo>
                    <a:cubicBezTo>
                      <a:pt x="26" y="274"/>
                      <a:pt x="29" y="290"/>
                      <a:pt x="25" y="294"/>
                    </a:cubicBezTo>
                    <a:cubicBezTo>
                      <a:pt x="25" y="294"/>
                      <a:pt x="24" y="302"/>
                      <a:pt x="25" y="303"/>
                    </a:cubicBezTo>
                    <a:cubicBezTo>
                      <a:pt x="25" y="303"/>
                      <a:pt x="19" y="304"/>
                      <a:pt x="25" y="306"/>
                    </a:cubicBezTo>
                    <a:cubicBezTo>
                      <a:pt x="25" y="306"/>
                      <a:pt x="21" y="312"/>
                      <a:pt x="24" y="312"/>
                    </a:cubicBezTo>
                    <a:cubicBezTo>
                      <a:pt x="24" y="312"/>
                      <a:pt x="28" y="313"/>
                      <a:pt x="28" y="310"/>
                    </a:cubicBezTo>
                    <a:cubicBezTo>
                      <a:pt x="28" y="310"/>
                      <a:pt x="31" y="301"/>
                      <a:pt x="33" y="308"/>
                    </a:cubicBezTo>
                    <a:cubicBezTo>
                      <a:pt x="33" y="308"/>
                      <a:pt x="36" y="314"/>
                      <a:pt x="40" y="313"/>
                    </a:cubicBezTo>
                    <a:cubicBezTo>
                      <a:pt x="40" y="314"/>
                      <a:pt x="48" y="307"/>
                      <a:pt x="48" y="309"/>
                    </a:cubicBezTo>
                    <a:cubicBezTo>
                      <a:pt x="49" y="309"/>
                      <a:pt x="58" y="310"/>
                      <a:pt x="57" y="317"/>
                    </a:cubicBezTo>
                    <a:cubicBezTo>
                      <a:pt x="58" y="317"/>
                      <a:pt x="62" y="320"/>
                      <a:pt x="62" y="323"/>
                    </a:cubicBezTo>
                    <a:cubicBezTo>
                      <a:pt x="62" y="323"/>
                      <a:pt x="70" y="325"/>
                      <a:pt x="69" y="322"/>
                    </a:cubicBezTo>
                    <a:cubicBezTo>
                      <a:pt x="69" y="322"/>
                      <a:pt x="74" y="314"/>
                      <a:pt x="74" y="324"/>
                    </a:cubicBezTo>
                    <a:cubicBezTo>
                      <a:pt x="74" y="324"/>
                      <a:pt x="70" y="329"/>
                      <a:pt x="68" y="329"/>
                    </a:cubicBezTo>
                    <a:cubicBezTo>
                      <a:pt x="69" y="329"/>
                      <a:pt x="61" y="338"/>
                      <a:pt x="59" y="338"/>
                    </a:cubicBezTo>
                    <a:cubicBezTo>
                      <a:pt x="59" y="338"/>
                      <a:pt x="56" y="345"/>
                      <a:pt x="54" y="343"/>
                    </a:cubicBezTo>
                    <a:cubicBezTo>
                      <a:pt x="54" y="343"/>
                      <a:pt x="45" y="336"/>
                      <a:pt x="46" y="342"/>
                    </a:cubicBezTo>
                    <a:cubicBezTo>
                      <a:pt x="45" y="342"/>
                      <a:pt x="38" y="343"/>
                      <a:pt x="36" y="341"/>
                    </a:cubicBezTo>
                    <a:cubicBezTo>
                      <a:pt x="36" y="341"/>
                      <a:pt x="36" y="334"/>
                      <a:pt x="33" y="341"/>
                    </a:cubicBezTo>
                    <a:cubicBezTo>
                      <a:pt x="33" y="342"/>
                      <a:pt x="29" y="343"/>
                      <a:pt x="29" y="348"/>
                    </a:cubicBezTo>
                    <a:cubicBezTo>
                      <a:pt x="29" y="348"/>
                      <a:pt x="24" y="351"/>
                      <a:pt x="29" y="352"/>
                    </a:cubicBezTo>
                    <a:cubicBezTo>
                      <a:pt x="29" y="352"/>
                      <a:pt x="28" y="359"/>
                      <a:pt x="32" y="359"/>
                    </a:cubicBezTo>
                    <a:cubicBezTo>
                      <a:pt x="32" y="359"/>
                      <a:pt x="33" y="364"/>
                      <a:pt x="36" y="359"/>
                    </a:cubicBezTo>
                    <a:cubicBezTo>
                      <a:pt x="36" y="360"/>
                      <a:pt x="38" y="358"/>
                      <a:pt x="39" y="367"/>
                    </a:cubicBezTo>
                    <a:cubicBezTo>
                      <a:pt x="40" y="367"/>
                      <a:pt x="42" y="373"/>
                      <a:pt x="46" y="376"/>
                    </a:cubicBezTo>
                    <a:cubicBezTo>
                      <a:pt x="46" y="376"/>
                      <a:pt x="51" y="378"/>
                      <a:pt x="54" y="372"/>
                    </a:cubicBezTo>
                    <a:cubicBezTo>
                      <a:pt x="55" y="372"/>
                      <a:pt x="58" y="367"/>
                      <a:pt x="59" y="367"/>
                    </a:cubicBezTo>
                    <a:cubicBezTo>
                      <a:pt x="59" y="367"/>
                      <a:pt x="59" y="362"/>
                      <a:pt x="66" y="362"/>
                    </a:cubicBezTo>
                    <a:cubicBezTo>
                      <a:pt x="65" y="363"/>
                      <a:pt x="68" y="356"/>
                      <a:pt x="71" y="359"/>
                    </a:cubicBezTo>
                    <a:cubicBezTo>
                      <a:pt x="72" y="362"/>
                      <a:pt x="72" y="362"/>
                      <a:pt x="72" y="362"/>
                    </a:cubicBezTo>
                    <a:cubicBezTo>
                      <a:pt x="72" y="362"/>
                      <a:pt x="66" y="364"/>
                      <a:pt x="71" y="366"/>
                    </a:cubicBezTo>
                    <a:cubicBezTo>
                      <a:pt x="71" y="366"/>
                      <a:pt x="71" y="370"/>
                      <a:pt x="73" y="366"/>
                    </a:cubicBezTo>
                    <a:cubicBezTo>
                      <a:pt x="73" y="366"/>
                      <a:pt x="71" y="359"/>
                      <a:pt x="79" y="365"/>
                    </a:cubicBezTo>
                    <a:cubicBezTo>
                      <a:pt x="79" y="365"/>
                      <a:pt x="88" y="362"/>
                      <a:pt x="86" y="369"/>
                    </a:cubicBezTo>
                    <a:cubicBezTo>
                      <a:pt x="86" y="369"/>
                      <a:pt x="88" y="373"/>
                      <a:pt x="98" y="372"/>
                    </a:cubicBezTo>
                    <a:cubicBezTo>
                      <a:pt x="99" y="373"/>
                      <a:pt x="105" y="378"/>
                      <a:pt x="105" y="379"/>
                    </a:cubicBezTo>
                    <a:cubicBezTo>
                      <a:pt x="105" y="379"/>
                      <a:pt x="109" y="377"/>
                      <a:pt x="110" y="381"/>
                    </a:cubicBezTo>
                    <a:cubicBezTo>
                      <a:pt x="110" y="381"/>
                      <a:pt x="109" y="395"/>
                      <a:pt x="113" y="405"/>
                    </a:cubicBezTo>
                    <a:cubicBezTo>
                      <a:pt x="113" y="405"/>
                      <a:pt x="120" y="405"/>
                      <a:pt x="116" y="416"/>
                    </a:cubicBezTo>
                    <a:cubicBezTo>
                      <a:pt x="116" y="417"/>
                      <a:pt x="109" y="421"/>
                      <a:pt x="122" y="419"/>
                    </a:cubicBezTo>
                    <a:cubicBezTo>
                      <a:pt x="122" y="420"/>
                      <a:pt x="129" y="415"/>
                      <a:pt x="129" y="415"/>
                    </a:cubicBezTo>
                    <a:cubicBezTo>
                      <a:pt x="129" y="415"/>
                      <a:pt x="132" y="416"/>
                      <a:pt x="132" y="412"/>
                    </a:cubicBezTo>
                    <a:cubicBezTo>
                      <a:pt x="132" y="412"/>
                      <a:pt x="132" y="409"/>
                      <a:pt x="135" y="410"/>
                    </a:cubicBezTo>
                    <a:cubicBezTo>
                      <a:pt x="135" y="410"/>
                      <a:pt x="134" y="402"/>
                      <a:pt x="136" y="403"/>
                    </a:cubicBezTo>
                    <a:cubicBezTo>
                      <a:pt x="136" y="403"/>
                      <a:pt x="137" y="398"/>
                      <a:pt x="139" y="398"/>
                    </a:cubicBezTo>
                    <a:cubicBezTo>
                      <a:pt x="140" y="398"/>
                      <a:pt x="141" y="393"/>
                      <a:pt x="145" y="393"/>
                    </a:cubicBezTo>
                    <a:cubicBezTo>
                      <a:pt x="145" y="393"/>
                      <a:pt x="148" y="389"/>
                      <a:pt x="151" y="389"/>
                    </a:cubicBezTo>
                    <a:cubicBezTo>
                      <a:pt x="151" y="389"/>
                      <a:pt x="154" y="383"/>
                      <a:pt x="158" y="383"/>
                    </a:cubicBezTo>
                    <a:cubicBezTo>
                      <a:pt x="158" y="384"/>
                      <a:pt x="160" y="388"/>
                      <a:pt x="161" y="384"/>
                    </a:cubicBezTo>
                    <a:cubicBezTo>
                      <a:pt x="162" y="384"/>
                      <a:pt x="167" y="387"/>
                      <a:pt x="170" y="384"/>
                    </a:cubicBezTo>
                    <a:cubicBezTo>
                      <a:pt x="170" y="385"/>
                      <a:pt x="180" y="388"/>
                      <a:pt x="178" y="383"/>
                    </a:cubicBezTo>
                    <a:cubicBezTo>
                      <a:pt x="177" y="383"/>
                      <a:pt x="180" y="378"/>
                      <a:pt x="184" y="380"/>
                    </a:cubicBezTo>
                    <a:cubicBezTo>
                      <a:pt x="189" y="374"/>
                      <a:pt x="189" y="374"/>
                      <a:pt x="189" y="374"/>
                    </a:cubicBezTo>
                    <a:cubicBezTo>
                      <a:pt x="189" y="374"/>
                      <a:pt x="197" y="372"/>
                      <a:pt x="193" y="368"/>
                    </a:cubicBezTo>
                    <a:cubicBezTo>
                      <a:pt x="193" y="369"/>
                      <a:pt x="199" y="363"/>
                      <a:pt x="198" y="360"/>
                    </a:cubicBezTo>
                    <a:cubicBezTo>
                      <a:pt x="198" y="361"/>
                      <a:pt x="198" y="351"/>
                      <a:pt x="205" y="357"/>
                    </a:cubicBezTo>
                    <a:cubicBezTo>
                      <a:pt x="205" y="357"/>
                      <a:pt x="208" y="359"/>
                      <a:pt x="208" y="357"/>
                    </a:cubicBezTo>
                    <a:cubicBezTo>
                      <a:pt x="208" y="357"/>
                      <a:pt x="213" y="353"/>
                      <a:pt x="212" y="351"/>
                    </a:cubicBezTo>
                    <a:cubicBezTo>
                      <a:pt x="212" y="352"/>
                      <a:pt x="216" y="350"/>
                      <a:pt x="217" y="350"/>
                    </a:cubicBezTo>
                    <a:cubicBezTo>
                      <a:pt x="217" y="350"/>
                      <a:pt x="223" y="347"/>
                      <a:pt x="222" y="344"/>
                    </a:cubicBezTo>
                    <a:cubicBezTo>
                      <a:pt x="222" y="345"/>
                      <a:pt x="226" y="340"/>
                      <a:pt x="229" y="345"/>
                    </a:cubicBezTo>
                    <a:cubicBezTo>
                      <a:pt x="229" y="345"/>
                      <a:pt x="227" y="358"/>
                      <a:pt x="233" y="349"/>
                    </a:cubicBezTo>
                    <a:cubicBezTo>
                      <a:pt x="233" y="350"/>
                      <a:pt x="238" y="347"/>
                      <a:pt x="239" y="345"/>
                    </a:cubicBezTo>
                    <a:cubicBezTo>
                      <a:pt x="240" y="343"/>
                      <a:pt x="246" y="339"/>
                      <a:pt x="247" y="338"/>
                    </a:cubicBezTo>
                    <a:cubicBezTo>
                      <a:pt x="247" y="339"/>
                      <a:pt x="255" y="337"/>
                      <a:pt x="255" y="336"/>
                    </a:cubicBezTo>
                    <a:cubicBezTo>
                      <a:pt x="255" y="336"/>
                      <a:pt x="260" y="332"/>
                      <a:pt x="260" y="331"/>
                    </a:cubicBezTo>
                    <a:cubicBezTo>
                      <a:pt x="260" y="331"/>
                      <a:pt x="261" y="326"/>
                      <a:pt x="262" y="326"/>
                    </a:cubicBezTo>
                    <a:cubicBezTo>
                      <a:pt x="262" y="326"/>
                      <a:pt x="266" y="320"/>
                      <a:pt x="268" y="322"/>
                    </a:cubicBezTo>
                    <a:cubicBezTo>
                      <a:pt x="268" y="322"/>
                      <a:pt x="270" y="317"/>
                      <a:pt x="273" y="317"/>
                    </a:cubicBezTo>
                    <a:cubicBezTo>
                      <a:pt x="273" y="317"/>
                      <a:pt x="277" y="317"/>
                      <a:pt x="277" y="320"/>
                    </a:cubicBezTo>
                    <a:cubicBezTo>
                      <a:pt x="277" y="320"/>
                      <a:pt x="279" y="324"/>
                      <a:pt x="280" y="320"/>
                    </a:cubicBezTo>
                    <a:cubicBezTo>
                      <a:pt x="280" y="320"/>
                      <a:pt x="289" y="321"/>
                      <a:pt x="286" y="313"/>
                    </a:cubicBezTo>
                    <a:cubicBezTo>
                      <a:pt x="286" y="313"/>
                      <a:pt x="289" y="313"/>
                      <a:pt x="289" y="311"/>
                    </a:cubicBezTo>
                    <a:cubicBezTo>
                      <a:pt x="289" y="310"/>
                      <a:pt x="293" y="310"/>
                      <a:pt x="289" y="309"/>
                    </a:cubicBezTo>
                    <a:cubicBezTo>
                      <a:pt x="289" y="309"/>
                      <a:pt x="288" y="298"/>
                      <a:pt x="289" y="298"/>
                    </a:cubicBezTo>
                    <a:cubicBezTo>
                      <a:pt x="289" y="298"/>
                      <a:pt x="293" y="294"/>
                      <a:pt x="289" y="290"/>
                    </a:cubicBezTo>
                    <a:cubicBezTo>
                      <a:pt x="289" y="290"/>
                      <a:pt x="287" y="279"/>
                      <a:pt x="289" y="279"/>
                    </a:cubicBezTo>
                    <a:cubicBezTo>
                      <a:pt x="289" y="280"/>
                      <a:pt x="292" y="276"/>
                      <a:pt x="296" y="277"/>
                    </a:cubicBezTo>
                    <a:cubicBezTo>
                      <a:pt x="296" y="277"/>
                      <a:pt x="297" y="269"/>
                      <a:pt x="294" y="269"/>
                    </a:cubicBezTo>
                    <a:cubicBezTo>
                      <a:pt x="295" y="269"/>
                      <a:pt x="292" y="265"/>
                      <a:pt x="296" y="265"/>
                    </a:cubicBezTo>
                    <a:cubicBezTo>
                      <a:pt x="296" y="265"/>
                      <a:pt x="309" y="261"/>
                      <a:pt x="308" y="270"/>
                    </a:cubicBezTo>
                    <a:cubicBezTo>
                      <a:pt x="308" y="271"/>
                      <a:pt x="310" y="284"/>
                      <a:pt x="313" y="273"/>
                    </a:cubicBezTo>
                    <a:cubicBezTo>
                      <a:pt x="313" y="273"/>
                      <a:pt x="318" y="272"/>
                      <a:pt x="316" y="269"/>
                    </a:cubicBezTo>
                    <a:cubicBezTo>
                      <a:pt x="317" y="266"/>
                      <a:pt x="317" y="266"/>
                      <a:pt x="317" y="266"/>
                    </a:cubicBezTo>
                    <a:cubicBezTo>
                      <a:pt x="317" y="266"/>
                      <a:pt x="326" y="264"/>
                      <a:pt x="318" y="263"/>
                    </a:cubicBezTo>
                    <a:cubicBezTo>
                      <a:pt x="318" y="263"/>
                      <a:pt x="317" y="260"/>
                      <a:pt x="319" y="260"/>
                    </a:cubicBezTo>
                    <a:cubicBezTo>
                      <a:pt x="320" y="260"/>
                      <a:pt x="319" y="250"/>
                      <a:pt x="322" y="251"/>
                    </a:cubicBezTo>
                    <a:cubicBezTo>
                      <a:pt x="322" y="251"/>
                      <a:pt x="321" y="244"/>
                      <a:pt x="324" y="244"/>
                    </a:cubicBezTo>
                    <a:cubicBezTo>
                      <a:pt x="324" y="244"/>
                      <a:pt x="327" y="236"/>
                      <a:pt x="319" y="238"/>
                    </a:cubicBezTo>
                    <a:close/>
                    <a:moveTo>
                      <a:pt x="204" y="72"/>
                    </a:moveTo>
                    <a:cubicBezTo>
                      <a:pt x="201" y="70"/>
                      <a:pt x="202" y="73"/>
                      <a:pt x="202" y="72"/>
                    </a:cubicBezTo>
                    <a:cubicBezTo>
                      <a:pt x="201" y="75"/>
                      <a:pt x="199" y="73"/>
                      <a:pt x="199" y="73"/>
                    </a:cubicBezTo>
                    <a:cubicBezTo>
                      <a:pt x="199" y="70"/>
                      <a:pt x="197" y="72"/>
                      <a:pt x="197" y="71"/>
                    </a:cubicBezTo>
                    <a:cubicBezTo>
                      <a:pt x="196" y="71"/>
                      <a:pt x="196" y="66"/>
                      <a:pt x="196" y="66"/>
                    </a:cubicBezTo>
                    <a:cubicBezTo>
                      <a:pt x="198" y="65"/>
                      <a:pt x="203" y="65"/>
                      <a:pt x="203" y="65"/>
                    </a:cubicBezTo>
                    <a:cubicBezTo>
                      <a:pt x="205" y="65"/>
                      <a:pt x="204" y="72"/>
                      <a:pt x="204" y="72"/>
                    </a:cubicBezTo>
                    <a:close/>
                    <a:moveTo>
                      <a:pt x="20" y="148"/>
                    </a:moveTo>
                    <a:cubicBezTo>
                      <a:pt x="20" y="149"/>
                      <a:pt x="11" y="153"/>
                      <a:pt x="20" y="153"/>
                    </a:cubicBezTo>
                    <a:cubicBezTo>
                      <a:pt x="21" y="153"/>
                      <a:pt x="21" y="149"/>
                      <a:pt x="26" y="155"/>
                    </a:cubicBezTo>
                    <a:cubicBezTo>
                      <a:pt x="26" y="155"/>
                      <a:pt x="29" y="159"/>
                      <a:pt x="31" y="156"/>
                    </a:cubicBezTo>
                    <a:cubicBezTo>
                      <a:pt x="30" y="156"/>
                      <a:pt x="34" y="155"/>
                      <a:pt x="36" y="160"/>
                    </a:cubicBezTo>
                    <a:cubicBezTo>
                      <a:pt x="36" y="160"/>
                      <a:pt x="41" y="167"/>
                      <a:pt x="45" y="164"/>
                    </a:cubicBezTo>
                    <a:cubicBezTo>
                      <a:pt x="45" y="164"/>
                      <a:pt x="49" y="165"/>
                      <a:pt x="50" y="163"/>
                    </a:cubicBezTo>
                    <a:cubicBezTo>
                      <a:pt x="50" y="163"/>
                      <a:pt x="54" y="161"/>
                      <a:pt x="59" y="156"/>
                    </a:cubicBezTo>
                    <a:cubicBezTo>
                      <a:pt x="59" y="156"/>
                      <a:pt x="63" y="155"/>
                      <a:pt x="62" y="160"/>
                    </a:cubicBezTo>
                    <a:cubicBezTo>
                      <a:pt x="62" y="160"/>
                      <a:pt x="69" y="163"/>
                      <a:pt x="69" y="164"/>
                    </a:cubicBezTo>
                    <a:cubicBezTo>
                      <a:pt x="69" y="164"/>
                      <a:pt x="82" y="167"/>
                      <a:pt x="81" y="162"/>
                    </a:cubicBezTo>
                    <a:cubicBezTo>
                      <a:pt x="81" y="162"/>
                      <a:pt x="83" y="160"/>
                      <a:pt x="84" y="160"/>
                    </a:cubicBezTo>
                    <a:cubicBezTo>
                      <a:pt x="86" y="161"/>
                      <a:pt x="86" y="164"/>
                      <a:pt x="87" y="160"/>
                    </a:cubicBezTo>
                    <a:cubicBezTo>
                      <a:pt x="87" y="160"/>
                      <a:pt x="91" y="161"/>
                      <a:pt x="91" y="153"/>
                    </a:cubicBezTo>
                    <a:cubicBezTo>
                      <a:pt x="90" y="153"/>
                      <a:pt x="92" y="150"/>
                      <a:pt x="96" y="151"/>
                    </a:cubicBezTo>
                    <a:cubicBezTo>
                      <a:pt x="96" y="150"/>
                      <a:pt x="96" y="149"/>
                      <a:pt x="96" y="149"/>
                    </a:cubicBezTo>
                    <a:cubicBezTo>
                      <a:pt x="96" y="149"/>
                      <a:pt x="101" y="144"/>
                      <a:pt x="95" y="142"/>
                    </a:cubicBezTo>
                    <a:cubicBezTo>
                      <a:pt x="96" y="142"/>
                      <a:pt x="90" y="142"/>
                      <a:pt x="90" y="142"/>
                    </a:cubicBezTo>
                    <a:cubicBezTo>
                      <a:pt x="90" y="142"/>
                      <a:pt x="79" y="145"/>
                      <a:pt x="86" y="139"/>
                    </a:cubicBezTo>
                    <a:cubicBezTo>
                      <a:pt x="86" y="139"/>
                      <a:pt x="86" y="119"/>
                      <a:pt x="88" y="119"/>
                    </a:cubicBezTo>
                    <a:cubicBezTo>
                      <a:pt x="88" y="119"/>
                      <a:pt x="90" y="118"/>
                      <a:pt x="94" y="112"/>
                    </a:cubicBezTo>
                    <a:cubicBezTo>
                      <a:pt x="94" y="113"/>
                      <a:pt x="101" y="109"/>
                      <a:pt x="96" y="106"/>
                    </a:cubicBezTo>
                    <a:cubicBezTo>
                      <a:pt x="95" y="106"/>
                      <a:pt x="97" y="103"/>
                      <a:pt x="92" y="100"/>
                    </a:cubicBezTo>
                    <a:cubicBezTo>
                      <a:pt x="92" y="100"/>
                      <a:pt x="86" y="96"/>
                      <a:pt x="86" y="101"/>
                    </a:cubicBezTo>
                    <a:cubicBezTo>
                      <a:pt x="86" y="102"/>
                      <a:pt x="81" y="103"/>
                      <a:pt x="82" y="99"/>
                    </a:cubicBezTo>
                    <a:cubicBezTo>
                      <a:pt x="82" y="99"/>
                      <a:pt x="83" y="98"/>
                      <a:pt x="86" y="99"/>
                    </a:cubicBezTo>
                    <a:cubicBezTo>
                      <a:pt x="86" y="99"/>
                      <a:pt x="86" y="97"/>
                      <a:pt x="89" y="97"/>
                    </a:cubicBezTo>
                    <a:cubicBezTo>
                      <a:pt x="89" y="98"/>
                      <a:pt x="91" y="96"/>
                      <a:pt x="94" y="96"/>
                    </a:cubicBezTo>
                    <a:cubicBezTo>
                      <a:pt x="95" y="96"/>
                      <a:pt x="97" y="95"/>
                      <a:pt x="93" y="94"/>
                    </a:cubicBezTo>
                    <a:cubicBezTo>
                      <a:pt x="93" y="94"/>
                      <a:pt x="95" y="88"/>
                      <a:pt x="88" y="89"/>
                    </a:cubicBezTo>
                    <a:cubicBezTo>
                      <a:pt x="88" y="89"/>
                      <a:pt x="87" y="84"/>
                      <a:pt x="82" y="87"/>
                    </a:cubicBezTo>
                    <a:cubicBezTo>
                      <a:pt x="82" y="87"/>
                      <a:pt x="82" y="84"/>
                      <a:pt x="81" y="83"/>
                    </a:cubicBezTo>
                    <a:cubicBezTo>
                      <a:pt x="78" y="84"/>
                      <a:pt x="74" y="91"/>
                      <a:pt x="75" y="89"/>
                    </a:cubicBezTo>
                    <a:cubicBezTo>
                      <a:pt x="75" y="90"/>
                      <a:pt x="70" y="94"/>
                      <a:pt x="70" y="94"/>
                    </a:cubicBezTo>
                    <a:cubicBezTo>
                      <a:pt x="65" y="95"/>
                      <a:pt x="63" y="102"/>
                      <a:pt x="63" y="101"/>
                    </a:cubicBezTo>
                    <a:cubicBezTo>
                      <a:pt x="59" y="102"/>
                      <a:pt x="57" y="107"/>
                      <a:pt x="57" y="106"/>
                    </a:cubicBezTo>
                    <a:cubicBezTo>
                      <a:pt x="55" y="105"/>
                      <a:pt x="45" y="114"/>
                      <a:pt x="45" y="114"/>
                    </a:cubicBezTo>
                    <a:cubicBezTo>
                      <a:pt x="36" y="115"/>
                      <a:pt x="38" y="118"/>
                      <a:pt x="37" y="118"/>
                    </a:cubicBezTo>
                    <a:cubicBezTo>
                      <a:pt x="35" y="117"/>
                      <a:pt x="28" y="126"/>
                      <a:pt x="27" y="126"/>
                    </a:cubicBezTo>
                    <a:cubicBezTo>
                      <a:pt x="23" y="127"/>
                      <a:pt x="22" y="132"/>
                      <a:pt x="22" y="132"/>
                    </a:cubicBezTo>
                    <a:cubicBezTo>
                      <a:pt x="18" y="133"/>
                      <a:pt x="16" y="139"/>
                      <a:pt x="15" y="139"/>
                    </a:cubicBezTo>
                    <a:cubicBezTo>
                      <a:pt x="14" y="138"/>
                      <a:pt x="13" y="138"/>
                      <a:pt x="13" y="139"/>
                    </a:cubicBezTo>
                    <a:cubicBezTo>
                      <a:pt x="17" y="141"/>
                      <a:pt x="17" y="141"/>
                      <a:pt x="17" y="141"/>
                    </a:cubicBezTo>
                    <a:cubicBezTo>
                      <a:pt x="17" y="141"/>
                      <a:pt x="33" y="147"/>
                      <a:pt x="20" y="148"/>
                    </a:cubicBezTo>
                    <a:close/>
                    <a:moveTo>
                      <a:pt x="35" y="199"/>
                    </a:moveTo>
                    <a:cubicBezTo>
                      <a:pt x="40" y="188"/>
                      <a:pt x="48" y="196"/>
                      <a:pt x="48" y="196"/>
                    </a:cubicBezTo>
                    <a:cubicBezTo>
                      <a:pt x="49" y="199"/>
                      <a:pt x="52" y="201"/>
                      <a:pt x="53" y="201"/>
                    </a:cubicBezTo>
                    <a:cubicBezTo>
                      <a:pt x="54" y="204"/>
                      <a:pt x="58" y="202"/>
                      <a:pt x="59" y="201"/>
                    </a:cubicBezTo>
                    <a:cubicBezTo>
                      <a:pt x="60" y="203"/>
                      <a:pt x="63" y="200"/>
                      <a:pt x="63" y="199"/>
                    </a:cubicBezTo>
                    <a:cubicBezTo>
                      <a:pt x="62" y="196"/>
                      <a:pt x="64" y="194"/>
                      <a:pt x="64" y="193"/>
                    </a:cubicBezTo>
                    <a:cubicBezTo>
                      <a:pt x="64" y="191"/>
                      <a:pt x="67" y="189"/>
                      <a:pt x="67" y="189"/>
                    </a:cubicBezTo>
                    <a:cubicBezTo>
                      <a:pt x="70" y="187"/>
                      <a:pt x="69" y="183"/>
                      <a:pt x="69" y="183"/>
                    </a:cubicBezTo>
                    <a:cubicBezTo>
                      <a:pt x="70" y="178"/>
                      <a:pt x="64" y="177"/>
                      <a:pt x="64" y="177"/>
                    </a:cubicBezTo>
                    <a:cubicBezTo>
                      <a:pt x="64" y="174"/>
                      <a:pt x="59" y="174"/>
                      <a:pt x="59" y="173"/>
                    </a:cubicBezTo>
                    <a:cubicBezTo>
                      <a:pt x="60" y="168"/>
                      <a:pt x="55" y="168"/>
                      <a:pt x="55" y="168"/>
                    </a:cubicBezTo>
                    <a:cubicBezTo>
                      <a:pt x="53" y="166"/>
                      <a:pt x="51" y="175"/>
                      <a:pt x="51" y="175"/>
                    </a:cubicBezTo>
                    <a:cubicBezTo>
                      <a:pt x="48" y="174"/>
                      <a:pt x="45" y="177"/>
                      <a:pt x="45" y="177"/>
                    </a:cubicBezTo>
                    <a:cubicBezTo>
                      <a:pt x="44" y="176"/>
                      <a:pt x="41" y="184"/>
                      <a:pt x="41" y="184"/>
                    </a:cubicBezTo>
                    <a:cubicBezTo>
                      <a:pt x="39" y="184"/>
                      <a:pt x="36" y="189"/>
                      <a:pt x="36" y="189"/>
                    </a:cubicBezTo>
                    <a:cubicBezTo>
                      <a:pt x="36" y="189"/>
                      <a:pt x="33" y="191"/>
                      <a:pt x="34" y="191"/>
                    </a:cubicBezTo>
                    <a:cubicBezTo>
                      <a:pt x="29" y="190"/>
                      <a:pt x="26" y="194"/>
                      <a:pt x="26" y="194"/>
                    </a:cubicBezTo>
                    <a:cubicBezTo>
                      <a:pt x="24" y="187"/>
                      <a:pt x="24" y="195"/>
                      <a:pt x="24" y="195"/>
                    </a:cubicBezTo>
                    <a:cubicBezTo>
                      <a:pt x="23" y="195"/>
                      <a:pt x="20" y="195"/>
                      <a:pt x="20" y="195"/>
                    </a:cubicBezTo>
                    <a:cubicBezTo>
                      <a:pt x="20" y="195"/>
                      <a:pt x="20" y="190"/>
                      <a:pt x="20" y="189"/>
                    </a:cubicBezTo>
                    <a:cubicBezTo>
                      <a:pt x="21" y="183"/>
                      <a:pt x="17" y="184"/>
                      <a:pt x="17" y="183"/>
                    </a:cubicBezTo>
                    <a:cubicBezTo>
                      <a:pt x="17" y="178"/>
                      <a:pt x="13" y="184"/>
                      <a:pt x="13" y="184"/>
                    </a:cubicBezTo>
                    <a:cubicBezTo>
                      <a:pt x="11" y="184"/>
                      <a:pt x="10" y="187"/>
                      <a:pt x="10" y="187"/>
                    </a:cubicBezTo>
                    <a:cubicBezTo>
                      <a:pt x="9" y="187"/>
                      <a:pt x="7" y="189"/>
                      <a:pt x="8" y="189"/>
                    </a:cubicBezTo>
                    <a:cubicBezTo>
                      <a:pt x="6" y="190"/>
                      <a:pt x="4" y="194"/>
                      <a:pt x="4" y="194"/>
                    </a:cubicBezTo>
                    <a:cubicBezTo>
                      <a:pt x="0" y="195"/>
                      <a:pt x="5" y="198"/>
                      <a:pt x="5" y="198"/>
                    </a:cubicBezTo>
                    <a:cubicBezTo>
                      <a:pt x="8" y="198"/>
                      <a:pt x="8" y="203"/>
                      <a:pt x="9" y="203"/>
                    </a:cubicBezTo>
                    <a:cubicBezTo>
                      <a:pt x="11" y="207"/>
                      <a:pt x="12" y="202"/>
                      <a:pt x="12" y="202"/>
                    </a:cubicBezTo>
                    <a:cubicBezTo>
                      <a:pt x="13" y="202"/>
                      <a:pt x="15" y="198"/>
                      <a:pt x="15" y="197"/>
                    </a:cubicBezTo>
                    <a:cubicBezTo>
                      <a:pt x="20" y="195"/>
                      <a:pt x="22" y="199"/>
                      <a:pt x="23" y="198"/>
                    </a:cubicBezTo>
                    <a:cubicBezTo>
                      <a:pt x="27" y="202"/>
                      <a:pt x="35" y="199"/>
                      <a:pt x="35" y="199"/>
                    </a:cubicBezTo>
                    <a:close/>
                  </a:path>
                </a:pathLst>
              </a:custGeom>
              <a:solidFill>
                <a:schemeClr val="bg2">
                  <a:lumMod val="40000"/>
                  <a:lumOff val="60000"/>
                </a:schemeClr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4" name="Freeform 233">
                <a:extLst>
                  <a:ext uri="{FF2B5EF4-FFF2-40B4-BE49-F238E27FC236}">
                    <a16:creationId xmlns:a16="http://schemas.microsoft.com/office/drawing/2014/main" id="{24476FD6-395E-93E0-F1E8-F16C618554A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106345" y="2851016"/>
                <a:ext cx="1088056" cy="734837"/>
              </a:xfrm>
              <a:custGeom>
                <a:avLst/>
                <a:gdLst>
                  <a:gd name="T0" fmla="*/ 337 w 343"/>
                  <a:gd name="T1" fmla="*/ 63 h 231"/>
                  <a:gd name="T2" fmla="*/ 319 w 343"/>
                  <a:gd name="T3" fmla="*/ 50 h 231"/>
                  <a:gd name="T4" fmla="*/ 309 w 343"/>
                  <a:gd name="T5" fmla="*/ 40 h 231"/>
                  <a:gd name="T6" fmla="*/ 308 w 343"/>
                  <a:gd name="T7" fmla="*/ 35 h 231"/>
                  <a:gd name="T8" fmla="*/ 274 w 343"/>
                  <a:gd name="T9" fmla="*/ 42 h 231"/>
                  <a:gd name="T10" fmla="*/ 257 w 343"/>
                  <a:gd name="T11" fmla="*/ 47 h 231"/>
                  <a:gd name="T12" fmla="*/ 230 w 343"/>
                  <a:gd name="T13" fmla="*/ 54 h 231"/>
                  <a:gd name="T14" fmla="*/ 235 w 343"/>
                  <a:gd name="T15" fmla="*/ 23 h 231"/>
                  <a:gd name="T16" fmla="*/ 223 w 343"/>
                  <a:gd name="T17" fmla="*/ 0 h 231"/>
                  <a:gd name="T18" fmla="*/ 224 w 343"/>
                  <a:gd name="T19" fmla="*/ 1 h 231"/>
                  <a:gd name="T20" fmla="*/ 212 w 343"/>
                  <a:gd name="T21" fmla="*/ 14 h 231"/>
                  <a:gd name="T22" fmla="*/ 196 w 343"/>
                  <a:gd name="T23" fmla="*/ 27 h 231"/>
                  <a:gd name="T24" fmla="*/ 174 w 343"/>
                  <a:gd name="T25" fmla="*/ 35 h 231"/>
                  <a:gd name="T26" fmla="*/ 167 w 343"/>
                  <a:gd name="T27" fmla="*/ 46 h 231"/>
                  <a:gd name="T28" fmla="*/ 158 w 343"/>
                  <a:gd name="T29" fmla="*/ 54 h 231"/>
                  <a:gd name="T30" fmla="*/ 147 w 343"/>
                  <a:gd name="T31" fmla="*/ 65 h 231"/>
                  <a:gd name="T32" fmla="*/ 145 w 343"/>
                  <a:gd name="T33" fmla="*/ 77 h 231"/>
                  <a:gd name="T34" fmla="*/ 144 w 343"/>
                  <a:gd name="T35" fmla="*/ 88 h 231"/>
                  <a:gd name="T36" fmla="*/ 128 w 343"/>
                  <a:gd name="T37" fmla="*/ 92 h 231"/>
                  <a:gd name="T38" fmla="*/ 117 w 343"/>
                  <a:gd name="T39" fmla="*/ 103 h 231"/>
                  <a:gd name="T40" fmla="*/ 110 w 343"/>
                  <a:gd name="T41" fmla="*/ 118 h 231"/>
                  <a:gd name="T42" fmla="*/ 93 w 343"/>
                  <a:gd name="T43" fmla="*/ 123 h 231"/>
                  <a:gd name="T44" fmla="*/ 75 w 343"/>
                  <a:gd name="T45" fmla="*/ 130 h 231"/>
                  <a:gd name="T46" fmla="*/ 51 w 343"/>
                  <a:gd name="T47" fmla="*/ 137 h 231"/>
                  <a:gd name="T48" fmla="*/ 32 w 343"/>
                  <a:gd name="T49" fmla="*/ 138 h 231"/>
                  <a:gd name="T50" fmla="*/ 22 w 343"/>
                  <a:gd name="T51" fmla="*/ 146 h 231"/>
                  <a:gd name="T52" fmla="*/ 16 w 343"/>
                  <a:gd name="T53" fmla="*/ 157 h 231"/>
                  <a:gd name="T54" fmla="*/ 8 w 343"/>
                  <a:gd name="T55" fmla="*/ 164 h 231"/>
                  <a:gd name="T56" fmla="*/ 7 w 343"/>
                  <a:gd name="T57" fmla="*/ 176 h 231"/>
                  <a:gd name="T58" fmla="*/ 15 w 343"/>
                  <a:gd name="T59" fmla="*/ 192 h 231"/>
                  <a:gd name="T60" fmla="*/ 13 w 343"/>
                  <a:gd name="T61" fmla="*/ 225 h 231"/>
                  <a:gd name="T62" fmla="*/ 25 w 343"/>
                  <a:gd name="T63" fmla="*/ 230 h 231"/>
                  <a:gd name="T64" fmla="*/ 51 w 343"/>
                  <a:gd name="T65" fmla="*/ 218 h 231"/>
                  <a:gd name="T66" fmla="*/ 69 w 343"/>
                  <a:gd name="T67" fmla="*/ 208 h 231"/>
                  <a:gd name="T68" fmla="*/ 93 w 343"/>
                  <a:gd name="T69" fmla="*/ 201 h 231"/>
                  <a:gd name="T70" fmla="*/ 112 w 343"/>
                  <a:gd name="T71" fmla="*/ 184 h 231"/>
                  <a:gd name="T72" fmla="*/ 131 w 343"/>
                  <a:gd name="T73" fmla="*/ 175 h 231"/>
                  <a:gd name="T74" fmla="*/ 147 w 343"/>
                  <a:gd name="T75" fmla="*/ 171 h 231"/>
                  <a:gd name="T76" fmla="*/ 147 w 343"/>
                  <a:gd name="T77" fmla="*/ 191 h 231"/>
                  <a:gd name="T78" fmla="*/ 153 w 343"/>
                  <a:gd name="T79" fmla="*/ 215 h 231"/>
                  <a:gd name="T80" fmla="*/ 164 w 343"/>
                  <a:gd name="T81" fmla="*/ 218 h 231"/>
                  <a:gd name="T82" fmla="*/ 177 w 343"/>
                  <a:gd name="T83" fmla="*/ 200 h 231"/>
                  <a:gd name="T84" fmla="*/ 200 w 343"/>
                  <a:gd name="T85" fmla="*/ 180 h 231"/>
                  <a:gd name="T86" fmla="*/ 222 w 343"/>
                  <a:gd name="T87" fmla="*/ 166 h 231"/>
                  <a:gd name="T88" fmla="*/ 233 w 343"/>
                  <a:gd name="T89" fmla="*/ 142 h 231"/>
                  <a:gd name="T90" fmla="*/ 262 w 343"/>
                  <a:gd name="T91" fmla="*/ 130 h 231"/>
                  <a:gd name="T92" fmla="*/ 306 w 343"/>
                  <a:gd name="T93" fmla="*/ 125 h 231"/>
                  <a:gd name="T94" fmla="*/ 308 w 343"/>
                  <a:gd name="T95" fmla="*/ 118 h 231"/>
                  <a:gd name="T96" fmla="*/ 329 w 343"/>
                  <a:gd name="T97" fmla="*/ 94 h 23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343"/>
                  <a:gd name="T148" fmla="*/ 0 h 231"/>
                  <a:gd name="T149" fmla="*/ 343 w 343"/>
                  <a:gd name="T150" fmla="*/ 231 h 231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343" h="231">
                    <a:moveTo>
                      <a:pt x="335" y="81"/>
                    </a:moveTo>
                    <a:cubicBezTo>
                      <a:pt x="332" y="76"/>
                      <a:pt x="336" y="69"/>
                      <a:pt x="336" y="69"/>
                    </a:cubicBezTo>
                    <a:cubicBezTo>
                      <a:pt x="340" y="69"/>
                      <a:pt x="338" y="63"/>
                      <a:pt x="337" y="63"/>
                    </a:cubicBezTo>
                    <a:cubicBezTo>
                      <a:pt x="337" y="59"/>
                      <a:pt x="333" y="57"/>
                      <a:pt x="333" y="57"/>
                    </a:cubicBezTo>
                    <a:cubicBezTo>
                      <a:pt x="330" y="53"/>
                      <a:pt x="325" y="54"/>
                      <a:pt x="324" y="54"/>
                    </a:cubicBezTo>
                    <a:cubicBezTo>
                      <a:pt x="321" y="50"/>
                      <a:pt x="319" y="50"/>
                      <a:pt x="319" y="50"/>
                    </a:cubicBezTo>
                    <a:cubicBezTo>
                      <a:pt x="319" y="46"/>
                      <a:pt x="312" y="48"/>
                      <a:pt x="312" y="47"/>
                    </a:cubicBezTo>
                    <a:cubicBezTo>
                      <a:pt x="311" y="51"/>
                      <a:pt x="309" y="48"/>
                      <a:pt x="309" y="47"/>
                    </a:cubicBezTo>
                    <a:cubicBezTo>
                      <a:pt x="304" y="46"/>
                      <a:pt x="309" y="40"/>
                      <a:pt x="309" y="40"/>
                    </a:cubicBezTo>
                    <a:cubicBezTo>
                      <a:pt x="311" y="38"/>
                      <a:pt x="311" y="38"/>
                      <a:pt x="311" y="38"/>
                    </a:cubicBezTo>
                    <a:cubicBezTo>
                      <a:pt x="318" y="35"/>
                      <a:pt x="313" y="34"/>
                      <a:pt x="314" y="34"/>
                    </a:cubicBezTo>
                    <a:cubicBezTo>
                      <a:pt x="307" y="32"/>
                      <a:pt x="308" y="35"/>
                      <a:pt x="308" y="35"/>
                    </a:cubicBezTo>
                    <a:cubicBezTo>
                      <a:pt x="296" y="35"/>
                      <a:pt x="296" y="37"/>
                      <a:pt x="296" y="37"/>
                    </a:cubicBezTo>
                    <a:cubicBezTo>
                      <a:pt x="295" y="38"/>
                      <a:pt x="291" y="40"/>
                      <a:pt x="290" y="40"/>
                    </a:cubicBezTo>
                    <a:cubicBezTo>
                      <a:pt x="272" y="38"/>
                      <a:pt x="275" y="42"/>
                      <a:pt x="274" y="42"/>
                    </a:cubicBezTo>
                    <a:cubicBezTo>
                      <a:pt x="268" y="41"/>
                      <a:pt x="265" y="45"/>
                      <a:pt x="266" y="44"/>
                    </a:cubicBezTo>
                    <a:cubicBezTo>
                      <a:pt x="265" y="46"/>
                      <a:pt x="263" y="45"/>
                      <a:pt x="262" y="45"/>
                    </a:cubicBezTo>
                    <a:cubicBezTo>
                      <a:pt x="255" y="38"/>
                      <a:pt x="256" y="48"/>
                      <a:pt x="257" y="47"/>
                    </a:cubicBezTo>
                    <a:cubicBezTo>
                      <a:pt x="253" y="46"/>
                      <a:pt x="242" y="54"/>
                      <a:pt x="241" y="54"/>
                    </a:cubicBezTo>
                    <a:cubicBezTo>
                      <a:pt x="239" y="54"/>
                      <a:pt x="228" y="60"/>
                      <a:pt x="228" y="60"/>
                    </a:cubicBezTo>
                    <a:cubicBezTo>
                      <a:pt x="223" y="61"/>
                      <a:pt x="230" y="54"/>
                      <a:pt x="230" y="54"/>
                    </a:cubicBezTo>
                    <a:cubicBezTo>
                      <a:pt x="227" y="52"/>
                      <a:pt x="232" y="46"/>
                      <a:pt x="231" y="45"/>
                    </a:cubicBezTo>
                    <a:cubicBezTo>
                      <a:pt x="234" y="44"/>
                      <a:pt x="238" y="38"/>
                      <a:pt x="238" y="37"/>
                    </a:cubicBezTo>
                    <a:cubicBezTo>
                      <a:pt x="242" y="32"/>
                      <a:pt x="236" y="23"/>
                      <a:pt x="235" y="23"/>
                    </a:cubicBezTo>
                    <a:cubicBezTo>
                      <a:pt x="234" y="22"/>
                      <a:pt x="232" y="14"/>
                      <a:pt x="232" y="14"/>
                    </a:cubicBezTo>
                    <a:cubicBezTo>
                      <a:pt x="229" y="14"/>
                      <a:pt x="230" y="8"/>
                      <a:pt x="230" y="7"/>
                    </a:cubicBezTo>
                    <a:cubicBezTo>
                      <a:pt x="227" y="2"/>
                      <a:pt x="226" y="0"/>
                      <a:pt x="223" y="0"/>
                    </a:cubicBezTo>
                    <a:cubicBezTo>
                      <a:pt x="223" y="0"/>
                      <a:pt x="223" y="0"/>
                      <a:pt x="223" y="0"/>
                    </a:cubicBezTo>
                    <a:cubicBezTo>
                      <a:pt x="224" y="0"/>
                      <a:pt x="224" y="0"/>
                      <a:pt x="224" y="0"/>
                    </a:cubicBezTo>
                    <a:cubicBezTo>
                      <a:pt x="224" y="1"/>
                      <a:pt x="224" y="1"/>
                      <a:pt x="224" y="1"/>
                    </a:cubicBezTo>
                    <a:cubicBezTo>
                      <a:pt x="224" y="2"/>
                      <a:pt x="223" y="3"/>
                      <a:pt x="223" y="4"/>
                    </a:cubicBezTo>
                    <a:cubicBezTo>
                      <a:pt x="218" y="9"/>
                      <a:pt x="218" y="9"/>
                      <a:pt x="218" y="9"/>
                    </a:cubicBezTo>
                    <a:cubicBezTo>
                      <a:pt x="218" y="9"/>
                      <a:pt x="215" y="15"/>
                      <a:pt x="212" y="14"/>
                    </a:cubicBezTo>
                    <a:cubicBezTo>
                      <a:pt x="211" y="14"/>
                      <a:pt x="207" y="18"/>
                      <a:pt x="207" y="18"/>
                    </a:cubicBezTo>
                    <a:cubicBezTo>
                      <a:pt x="207" y="18"/>
                      <a:pt x="204" y="23"/>
                      <a:pt x="202" y="23"/>
                    </a:cubicBezTo>
                    <a:cubicBezTo>
                      <a:pt x="196" y="27"/>
                      <a:pt x="196" y="27"/>
                      <a:pt x="196" y="27"/>
                    </a:cubicBezTo>
                    <a:cubicBezTo>
                      <a:pt x="189" y="30"/>
                      <a:pt x="189" y="30"/>
                      <a:pt x="189" y="30"/>
                    </a:cubicBezTo>
                    <a:cubicBezTo>
                      <a:pt x="189" y="30"/>
                      <a:pt x="184" y="30"/>
                      <a:pt x="184" y="32"/>
                    </a:cubicBezTo>
                    <a:cubicBezTo>
                      <a:pt x="185" y="33"/>
                      <a:pt x="174" y="32"/>
                      <a:pt x="174" y="35"/>
                    </a:cubicBezTo>
                    <a:cubicBezTo>
                      <a:pt x="175" y="35"/>
                      <a:pt x="171" y="38"/>
                      <a:pt x="171" y="38"/>
                    </a:cubicBezTo>
                    <a:cubicBezTo>
                      <a:pt x="171" y="38"/>
                      <a:pt x="164" y="38"/>
                      <a:pt x="165" y="42"/>
                    </a:cubicBezTo>
                    <a:cubicBezTo>
                      <a:pt x="165" y="42"/>
                      <a:pt x="163" y="46"/>
                      <a:pt x="167" y="46"/>
                    </a:cubicBezTo>
                    <a:cubicBezTo>
                      <a:pt x="167" y="46"/>
                      <a:pt x="172" y="49"/>
                      <a:pt x="167" y="50"/>
                    </a:cubicBezTo>
                    <a:cubicBezTo>
                      <a:pt x="167" y="50"/>
                      <a:pt x="164" y="52"/>
                      <a:pt x="166" y="54"/>
                    </a:cubicBezTo>
                    <a:cubicBezTo>
                      <a:pt x="166" y="55"/>
                      <a:pt x="158" y="54"/>
                      <a:pt x="158" y="54"/>
                    </a:cubicBezTo>
                    <a:cubicBezTo>
                      <a:pt x="158" y="54"/>
                      <a:pt x="155" y="53"/>
                      <a:pt x="154" y="54"/>
                    </a:cubicBezTo>
                    <a:cubicBezTo>
                      <a:pt x="154" y="54"/>
                      <a:pt x="151" y="55"/>
                      <a:pt x="150" y="57"/>
                    </a:cubicBezTo>
                    <a:cubicBezTo>
                      <a:pt x="148" y="58"/>
                      <a:pt x="146" y="59"/>
                      <a:pt x="147" y="65"/>
                    </a:cubicBezTo>
                    <a:cubicBezTo>
                      <a:pt x="146" y="66"/>
                      <a:pt x="141" y="65"/>
                      <a:pt x="142" y="69"/>
                    </a:cubicBezTo>
                    <a:cubicBezTo>
                      <a:pt x="142" y="69"/>
                      <a:pt x="137" y="70"/>
                      <a:pt x="141" y="73"/>
                    </a:cubicBezTo>
                    <a:cubicBezTo>
                      <a:pt x="142" y="73"/>
                      <a:pt x="143" y="77"/>
                      <a:pt x="145" y="77"/>
                    </a:cubicBezTo>
                    <a:cubicBezTo>
                      <a:pt x="149" y="80"/>
                      <a:pt x="149" y="80"/>
                      <a:pt x="149" y="80"/>
                    </a:cubicBezTo>
                    <a:cubicBezTo>
                      <a:pt x="149" y="80"/>
                      <a:pt x="154" y="82"/>
                      <a:pt x="149" y="85"/>
                    </a:cubicBezTo>
                    <a:cubicBezTo>
                      <a:pt x="149" y="86"/>
                      <a:pt x="144" y="88"/>
                      <a:pt x="144" y="88"/>
                    </a:cubicBezTo>
                    <a:cubicBezTo>
                      <a:pt x="142" y="92"/>
                      <a:pt x="142" y="92"/>
                      <a:pt x="142" y="92"/>
                    </a:cubicBezTo>
                    <a:cubicBezTo>
                      <a:pt x="142" y="92"/>
                      <a:pt x="140" y="94"/>
                      <a:pt x="137" y="92"/>
                    </a:cubicBezTo>
                    <a:cubicBezTo>
                      <a:pt x="138" y="92"/>
                      <a:pt x="128" y="92"/>
                      <a:pt x="128" y="92"/>
                    </a:cubicBezTo>
                    <a:cubicBezTo>
                      <a:pt x="126" y="95"/>
                      <a:pt x="126" y="95"/>
                      <a:pt x="126" y="95"/>
                    </a:cubicBezTo>
                    <a:cubicBezTo>
                      <a:pt x="126" y="95"/>
                      <a:pt x="124" y="99"/>
                      <a:pt x="121" y="99"/>
                    </a:cubicBezTo>
                    <a:cubicBezTo>
                      <a:pt x="122" y="99"/>
                      <a:pt x="117" y="103"/>
                      <a:pt x="117" y="103"/>
                    </a:cubicBezTo>
                    <a:cubicBezTo>
                      <a:pt x="117" y="103"/>
                      <a:pt x="118" y="106"/>
                      <a:pt x="115" y="106"/>
                    </a:cubicBezTo>
                    <a:cubicBezTo>
                      <a:pt x="114" y="107"/>
                      <a:pt x="115" y="111"/>
                      <a:pt x="112" y="113"/>
                    </a:cubicBezTo>
                    <a:cubicBezTo>
                      <a:pt x="110" y="115"/>
                      <a:pt x="113" y="117"/>
                      <a:pt x="110" y="118"/>
                    </a:cubicBezTo>
                    <a:cubicBezTo>
                      <a:pt x="108" y="119"/>
                      <a:pt x="110" y="120"/>
                      <a:pt x="106" y="121"/>
                    </a:cubicBezTo>
                    <a:cubicBezTo>
                      <a:pt x="103" y="122"/>
                      <a:pt x="104" y="123"/>
                      <a:pt x="100" y="123"/>
                    </a:cubicBezTo>
                    <a:cubicBezTo>
                      <a:pt x="97" y="123"/>
                      <a:pt x="97" y="123"/>
                      <a:pt x="93" y="123"/>
                    </a:cubicBezTo>
                    <a:cubicBezTo>
                      <a:pt x="90" y="123"/>
                      <a:pt x="85" y="119"/>
                      <a:pt x="84" y="123"/>
                    </a:cubicBezTo>
                    <a:cubicBezTo>
                      <a:pt x="84" y="124"/>
                      <a:pt x="78" y="128"/>
                      <a:pt x="78" y="128"/>
                    </a:cubicBezTo>
                    <a:cubicBezTo>
                      <a:pt x="75" y="130"/>
                      <a:pt x="75" y="130"/>
                      <a:pt x="75" y="130"/>
                    </a:cubicBezTo>
                    <a:cubicBezTo>
                      <a:pt x="75" y="130"/>
                      <a:pt x="70" y="134"/>
                      <a:pt x="67" y="133"/>
                    </a:cubicBezTo>
                    <a:cubicBezTo>
                      <a:pt x="67" y="133"/>
                      <a:pt x="63" y="135"/>
                      <a:pt x="61" y="135"/>
                    </a:cubicBezTo>
                    <a:cubicBezTo>
                      <a:pt x="60" y="135"/>
                      <a:pt x="61" y="138"/>
                      <a:pt x="51" y="137"/>
                    </a:cubicBezTo>
                    <a:cubicBezTo>
                      <a:pt x="50" y="138"/>
                      <a:pt x="45" y="140"/>
                      <a:pt x="42" y="140"/>
                    </a:cubicBezTo>
                    <a:cubicBezTo>
                      <a:pt x="42" y="140"/>
                      <a:pt x="40" y="142"/>
                      <a:pt x="37" y="139"/>
                    </a:cubicBezTo>
                    <a:cubicBezTo>
                      <a:pt x="36" y="139"/>
                      <a:pt x="35" y="134"/>
                      <a:pt x="32" y="138"/>
                    </a:cubicBezTo>
                    <a:cubicBezTo>
                      <a:pt x="27" y="142"/>
                      <a:pt x="27" y="142"/>
                      <a:pt x="27" y="142"/>
                    </a:cubicBezTo>
                    <a:cubicBezTo>
                      <a:pt x="27" y="142"/>
                      <a:pt x="28" y="144"/>
                      <a:pt x="25" y="145"/>
                    </a:cubicBezTo>
                    <a:cubicBezTo>
                      <a:pt x="25" y="146"/>
                      <a:pt x="22" y="146"/>
                      <a:pt x="22" y="146"/>
                    </a:cubicBezTo>
                    <a:cubicBezTo>
                      <a:pt x="22" y="146"/>
                      <a:pt x="23" y="149"/>
                      <a:pt x="19" y="149"/>
                    </a:cubicBezTo>
                    <a:cubicBezTo>
                      <a:pt x="19" y="150"/>
                      <a:pt x="17" y="151"/>
                      <a:pt x="18" y="154"/>
                    </a:cubicBezTo>
                    <a:cubicBezTo>
                      <a:pt x="19" y="154"/>
                      <a:pt x="16" y="157"/>
                      <a:pt x="16" y="157"/>
                    </a:cubicBezTo>
                    <a:cubicBezTo>
                      <a:pt x="16" y="157"/>
                      <a:pt x="17" y="159"/>
                      <a:pt x="13" y="159"/>
                    </a:cubicBezTo>
                    <a:cubicBezTo>
                      <a:pt x="13" y="158"/>
                      <a:pt x="10" y="161"/>
                      <a:pt x="10" y="161"/>
                    </a:cubicBezTo>
                    <a:cubicBezTo>
                      <a:pt x="10" y="161"/>
                      <a:pt x="13" y="165"/>
                      <a:pt x="8" y="164"/>
                    </a:cubicBezTo>
                    <a:cubicBezTo>
                      <a:pt x="6" y="165"/>
                      <a:pt x="6" y="165"/>
                      <a:pt x="6" y="165"/>
                    </a:cubicBezTo>
                    <a:cubicBezTo>
                      <a:pt x="6" y="165"/>
                      <a:pt x="0" y="165"/>
                      <a:pt x="2" y="170"/>
                    </a:cubicBezTo>
                    <a:cubicBezTo>
                      <a:pt x="2" y="171"/>
                      <a:pt x="6" y="176"/>
                      <a:pt x="7" y="176"/>
                    </a:cubicBezTo>
                    <a:cubicBezTo>
                      <a:pt x="6" y="176"/>
                      <a:pt x="9" y="184"/>
                      <a:pt x="10" y="184"/>
                    </a:cubicBezTo>
                    <a:cubicBezTo>
                      <a:pt x="10" y="184"/>
                      <a:pt x="13" y="187"/>
                      <a:pt x="13" y="190"/>
                    </a:cubicBezTo>
                    <a:cubicBezTo>
                      <a:pt x="13" y="190"/>
                      <a:pt x="15" y="192"/>
                      <a:pt x="15" y="192"/>
                    </a:cubicBezTo>
                    <a:cubicBezTo>
                      <a:pt x="15" y="192"/>
                      <a:pt x="17" y="204"/>
                      <a:pt x="14" y="208"/>
                    </a:cubicBezTo>
                    <a:cubicBezTo>
                      <a:pt x="14" y="208"/>
                      <a:pt x="12" y="218"/>
                      <a:pt x="13" y="224"/>
                    </a:cubicBezTo>
                    <a:cubicBezTo>
                      <a:pt x="13" y="225"/>
                      <a:pt x="13" y="225"/>
                      <a:pt x="13" y="225"/>
                    </a:cubicBezTo>
                    <a:cubicBezTo>
                      <a:pt x="13" y="225"/>
                      <a:pt x="14" y="226"/>
                      <a:pt x="14" y="226"/>
                    </a:cubicBezTo>
                    <a:cubicBezTo>
                      <a:pt x="17" y="223"/>
                      <a:pt x="17" y="230"/>
                      <a:pt x="17" y="230"/>
                    </a:cubicBezTo>
                    <a:cubicBezTo>
                      <a:pt x="17" y="231"/>
                      <a:pt x="25" y="230"/>
                      <a:pt x="25" y="230"/>
                    </a:cubicBezTo>
                    <a:cubicBezTo>
                      <a:pt x="25" y="228"/>
                      <a:pt x="34" y="226"/>
                      <a:pt x="34" y="226"/>
                    </a:cubicBezTo>
                    <a:cubicBezTo>
                      <a:pt x="40" y="226"/>
                      <a:pt x="44" y="223"/>
                      <a:pt x="44" y="223"/>
                    </a:cubicBezTo>
                    <a:cubicBezTo>
                      <a:pt x="46" y="223"/>
                      <a:pt x="51" y="218"/>
                      <a:pt x="51" y="218"/>
                    </a:cubicBezTo>
                    <a:cubicBezTo>
                      <a:pt x="53" y="215"/>
                      <a:pt x="58" y="216"/>
                      <a:pt x="58" y="215"/>
                    </a:cubicBezTo>
                    <a:cubicBezTo>
                      <a:pt x="58" y="212"/>
                      <a:pt x="63" y="212"/>
                      <a:pt x="62" y="211"/>
                    </a:cubicBezTo>
                    <a:cubicBezTo>
                      <a:pt x="64" y="212"/>
                      <a:pt x="69" y="209"/>
                      <a:pt x="69" y="208"/>
                    </a:cubicBezTo>
                    <a:cubicBezTo>
                      <a:pt x="70" y="209"/>
                      <a:pt x="74" y="207"/>
                      <a:pt x="74" y="206"/>
                    </a:cubicBezTo>
                    <a:cubicBezTo>
                      <a:pt x="73" y="203"/>
                      <a:pt x="81" y="204"/>
                      <a:pt x="81" y="203"/>
                    </a:cubicBezTo>
                    <a:cubicBezTo>
                      <a:pt x="90" y="203"/>
                      <a:pt x="93" y="201"/>
                      <a:pt x="93" y="201"/>
                    </a:cubicBezTo>
                    <a:cubicBezTo>
                      <a:pt x="101" y="202"/>
                      <a:pt x="104" y="196"/>
                      <a:pt x="104" y="196"/>
                    </a:cubicBezTo>
                    <a:cubicBezTo>
                      <a:pt x="105" y="197"/>
                      <a:pt x="109" y="192"/>
                      <a:pt x="109" y="191"/>
                    </a:cubicBezTo>
                    <a:cubicBezTo>
                      <a:pt x="108" y="189"/>
                      <a:pt x="113" y="184"/>
                      <a:pt x="112" y="184"/>
                    </a:cubicBezTo>
                    <a:cubicBezTo>
                      <a:pt x="115" y="184"/>
                      <a:pt x="117" y="180"/>
                      <a:pt x="117" y="180"/>
                    </a:cubicBezTo>
                    <a:cubicBezTo>
                      <a:pt x="119" y="180"/>
                      <a:pt x="123" y="177"/>
                      <a:pt x="124" y="177"/>
                    </a:cubicBezTo>
                    <a:cubicBezTo>
                      <a:pt x="126" y="177"/>
                      <a:pt x="130" y="175"/>
                      <a:pt x="131" y="175"/>
                    </a:cubicBezTo>
                    <a:cubicBezTo>
                      <a:pt x="135" y="175"/>
                      <a:pt x="137" y="172"/>
                      <a:pt x="138" y="172"/>
                    </a:cubicBezTo>
                    <a:cubicBezTo>
                      <a:pt x="140" y="172"/>
                      <a:pt x="145" y="169"/>
                      <a:pt x="145" y="169"/>
                    </a:cubicBezTo>
                    <a:cubicBezTo>
                      <a:pt x="147" y="167"/>
                      <a:pt x="147" y="171"/>
                      <a:pt x="147" y="171"/>
                    </a:cubicBezTo>
                    <a:cubicBezTo>
                      <a:pt x="150" y="170"/>
                      <a:pt x="149" y="180"/>
                      <a:pt x="149" y="180"/>
                    </a:cubicBezTo>
                    <a:cubicBezTo>
                      <a:pt x="146" y="180"/>
                      <a:pt x="147" y="188"/>
                      <a:pt x="147" y="188"/>
                    </a:cubicBezTo>
                    <a:cubicBezTo>
                      <a:pt x="142" y="190"/>
                      <a:pt x="146" y="191"/>
                      <a:pt x="147" y="191"/>
                    </a:cubicBezTo>
                    <a:cubicBezTo>
                      <a:pt x="148" y="191"/>
                      <a:pt x="154" y="198"/>
                      <a:pt x="154" y="197"/>
                    </a:cubicBezTo>
                    <a:cubicBezTo>
                      <a:pt x="157" y="198"/>
                      <a:pt x="156" y="211"/>
                      <a:pt x="156" y="211"/>
                    </a:cubicBezTo>
                    <a:cubicBezTo>
                      <a:pt x="151" y="213"/>
                      <a:pt x="153" y="215"/>
                      <a:pt x="153" y="215"/>
                    </a:cubicBezTo>
                    <a:cubicBezTo>
                      <a:pt x="149" y="221"/>
                      <a:pt x="156" y="216"/>
                      <a:pt x="156" y="216"/>
                    </a:cubicBezTo>
                    <a:cubicBezTo>
                      <a:pt x="155" y="217"/>
                      <a:pt x="159" y="218"/>
                      <a:pt x="159" y="218"/>
                    </a:cubicBezTo>
                    <a:cubicBezTo>
                      <a:pt x="164" y="218"/>
                      <a:pt x="164" y="218"/>
                      <a:pt x="164" y="218"/>
                    </a:cubicBezTo>
                    <a:cubicBezTo>
                      <a:pt x="164" y="218"/>
                      <a:pt x="164" y="218"/>
                      <a:pt x="164" y="218"/>
                    </a:cubicBezTo>
                    <a:cubicBezTo>
                      <a:pt x="166" y="217"/>
                      <a:pt x="168" y="214"/>
                      <a:pt x="168" y="213"/>
                    </a:cubicBezTo>
                    <a:cubicBezTo>
                      <a:pt x="167" y="206"/>
                      <a:pt x="177" y="201"/>
                      <a:pt x="177" y="200"/>
                    </a:cubicBezTo>
                    <a:cubicBezTo>
                      <a:pt x="177" y="198"/>
                      <a:pt x="186" y="192"/>
                      <a:pt x="186" y="192"/>
                    </a:cubicBezTo>
                    <a:cubicBezTo>
                      <a:pt x="192" y="185"/>
                      <a:pt x="192" y="185"/>
                      <a:pt x="192" y="185"/>
                    </a:cubicBezTo>
                    <a:cubicBezTo>
                      <a:pt x="200" y="180"/>
                      <a:pt x="200" y="180"/>
                      <a:pt x="200" y="180"/>
                    </a:cubicBezTo>
                    <a:cubicBezTo>
                      <a:pt x="208" y="180"/>
                      <a:pt x="209" y="174"/>
                      <a:pt x="208" y="174"/>
                    </a:cubicBezTo>
                    <a:cubicBezTo>
                      <a:pt x="209" y="171"/>
                      <a:pt x="215" y="170"/>
                      <a:pt x="215" y="170"/>
                    </a:cubicBezTo>
                    <a:cubicBezTo>
                      <a:pt x="215" y="169"/>
                      <a:pt x="221" y="166"/>
                      <a:pt x="222" y="166"/>
                    </a:cubicBezTo>
                    <a:cubicBezTo>
                      <a:pt x="226" y="166"/>
                      <a:pt x="226" y="161"/>
                      <a:pt x="225" y="160"/>
                    </a:cubicBezTo>
                    <a:cubicBezTo>
                      <a:pt x="228" y="157"/>
                      <a:pt x="227" y="148"/>
                      <a:pt x="227" y="148"/>
                    </a:cubicBezTo>
                    <a:cubicBezTo>
                      <a:pt x="227" y="144"/>
                      <a:pt x="233" y="142"/>
                      <a:pt x="233" y="142"/>
                    </a:cubicBezTo>
                    <a:cubicBezTo>
                      <a:pt x="236" y="142"/>
                      <a:pt x="243" y="139"/>
                      <a:pt x="243" y="139"/>
                    </a:cubicBezTo>
                    <a:cubicBezTo>
                      <a:pt x="254" y="134"/>
                      <a:pt x="254" y="134"/>
                      <a:pt x="254" y="134"/>
                    </a:cubicBezTo>
                    <a:cubicBezTo>
                      <a:pt x="256" y="134"/>
                      <a:pt x="263" y="130"/>
                      <a:pt x="262" y="130"/>
                    </a:cubicBezTo>
                    <a:cubicBezTo>
                      <a:pt x="268" y="130"/>
                      <a:pt x="277" y="121"/>
                      <a:pt x="277" y="121"/>
                    </a:cubicBezTo>
                    <a:cubicBezTo>
                      <a:pt x="284" y="115"/>
                      <a:pt x="292" y="126"/>
                      <a:pt x="292" y="126"/>
                    </a:cubicBezTo>
                    <a:cubicBezTo>
                      <a:pt x="292" y="126"/>
                      <a:pt x="305" y="125"/>
                      <a:pt x="306" y="125"/>
                    </a:cubicBezTo>
                    <a:cubicBezTo>
                      <a:pt x="307" y="126"/>
                      <a:pt x="307" y="126"/>
                      <a:pt x="307" y="126"/>
                    </a:cubicBezTo>
                    <a:cubicBezTo>
                      <a:pt x="307" y="124"/>
                      <a:pt x="306" y="123"/>
                      <a:pt x="306" y="123"/>
                    </a:cubicBezTo>
                    <a:cubicBezTo>
                      <a:pt x="303" y="117"/>
                      <a:pt x="307" y="118"/>
                      <a:pt x="308" y="118"/>
                    </a:cubicBezTo>
                    <a:cubicBezTo>
                      <a:pt x="312" y="116"/>
                      <a:pt x="310" y="104"/>
                      <a:pt x="310" y="104"/>
                    </a:cubicBezTo>
                    <a:cubicBezTo>
                      <a:pt x="317" y="97"/>
                      <a:pt x="317" y="97"/>
                      <a:pt x="317" y="97"/>
                    </a:cubicBezTo>
                    <a:cubicBezTo>
                      <a:pt x="328" y="100"/>
                      <a:pt x="329" y="94"/>
                      <a:pt x="329" y="94"/>
                    </a:cubicBezTo>
                    <a:cubicBezTo>
                      <a:pt x="331" y="95"/>
                      <a:pt x="336" y="88"/>
                      <a:pt x="336" y="88"/>
                    </a:cubicBezTo>
                    <a:cubicBezTo>
                      <a:pt x="343" y="85"/>
                      <a:pt x="335" y="81"/>
                      <a:pt x="335" y="81"/>
                    </a:cubicBezTo>
                  </a:path>
                </a:pathLst>
              </a:custGeom>
              <a:solidFill>
                <a:schemeClr val="bg2"/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5" name="Freeform 234">
                <a:extLst>
                  <a:ext uri="{FF2B5EF4-FFF2-40B4-BE49-F238E27FC236}">
                    <a16:creationId xmlns:a16="http://schemas.microsoft.com/office/drawing/2014/main" id="{32F4CBFA-1E34-6541-E966-A5FCCB52F74F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450661" y="3314643"/>
                <a:ext cx="1949631" cy="1879853"/>
              </a:xfrm>
              <a:custGeom>
                <a:avLst/>
                <a:gdLst>
                  <a:gd name="T0" fmla="*/ 507 w 615"/>
                  <a:gd name="T1" fmla="*/ 74 h 590"/>
                  <a:gd name="T2" fmla="*/ 526 w 615"/>
                  <a:gd name="T3" fmla="*/ 85 h 590"/>
                  <a:gd name="T4" fmla="*/ 534 w 615"/>
                  <a:gd name="T5" fmla="*/ 43 h 590"/>
                  <a:gd name="T6" fmla="*/ 522 w 615"/>
                  <a:gd name="T7" fmla="*/ 1 h 590"/>
                  <a:gd name="T8" fmla="*/ 479 w 615"/>
                  <a:gd name="T9" fmla="*/ 35 h 590"/>
                  <a:gd name="T10" fmla="*/ 604 w 615"/>
                  <a:gd name="T11" fmla="*/ 323 h 590"/>
                  <a:gd name="T12" fmla="*/ 599 w 615"/>
                  <a:gd name="T13" fmla="*/ 327 h 590"/>
                  <a:gd name="T14" fmla="*/ 558 w 615"/>
                  <a:gd name="T15" fmla="*/ 343 h 590"/>
                  <a:gd name="T16" fmla="*/ 505 w 615"/>
                  <a:gd name="T17" fmla="*/ 376 h 590"/>
                  <a:gd name="T18" fmla="*/ 470 w 615"/>
                  <a:gd name="T19" fmla="*/ 365 h 590"/>
                  <a:gd name="T20" fmla="*/ 426 w 615"/>
                  <a:gd name="T21" fmla="*/ 346 h 590"/>
                  <a:gd name="T22" fmla="*/ 392 w 615"/>
                  <a:gd name="T23" fmla="*/ 324 h 590"/>
                  <a:gd name="T24" fmla="*/ 417 w 615"/>
                  <a:gd name="T25" fmla="*/ 300 h 590"/>
                  <a:gd name="T26" fmla="*/ 386 w 615"/>
                  <a:gd name="T27" fmla="*/ 257 h 590"/>
                  <a:gd name="T28" fmla="*/ 432 w 615"/>
                  <a:gd name="T29" fmla="*/ 209 h 590"/>
                  <a:gd name="T30" fmla="*/ 459 w 615"/>
                  <a:gd name="T31" fmla="*/ 152 h 590"/>
                  <a:gd name="T32" fmla="*/ 484 w 615"/>
                  <a:gd name="T33" fmla="*/ 98 h 590"/>
                  <a:gd name="T34" fmla="*/ 458 w 615"/>
                  <a:gd name="T35" fmla="*/ 56 h 590"/>
                  <a:gd name="T36" fmla="*/ 449 w 615"/>
                  <a:gd name="T37" fmla="*/ 57 h 590"/>
                  <a:gd name="T38" fmla="*/ 442 w 615"/>
                  <a:gd name="T39" fmla="*/ 82 h 590"/>
                  <a:gd name="T40" fmla="*/ 456 w 615"/>
                  <a:gd name="T41" fmla="*/ 132 h 590"/>
                  <a:gd name="T42" fmla="*/ 410 w 615"/>
                  <a:gd name="T43" fmla="*/ 146 h 590"/>
                  <a:gd name="T44" fmla="*/ 370 w 615"/>
                  <a:gd name="T45" fmla="*/ 125 h 590"/>
                  <a:gd name="T46" fmla="*/ 306 w 615"/>
                  <a:gd name="T47" fmla="*/ 128 h 590"/>
                  <a:gd name="T48" fmla="*/ 364 w 615"/>
                  <a:gd name="T49" fmla="*/ 83 h 590"/>
                  <a:gd name="T50" fmla="*/ 354 w 615"/>
                  <a:gd name="T51" fmla="*/ 47 h 590"/>
                  <a:gd name="T52" fmla="*/ 319 w 615"/>
                  <a:gd name="T53" fmla="*/ 40 h 590"/>
                  <a:gd name="T54" fmla="*/ 258 w 615"/>
                  <a:gd name="T55" fmla="*/ 75 h 590"/>
                  <a:gd name="T56" fmla="*/ 213 w 615"/>
                  <a:gd name="T57" fmla="*/ 90 h 590"/>
                  <a:gd name="T58" fmla="*/ 205 w 615"/>
                  <a:gd name="T59" fmla="*/ 147 h 590"/>
                  <a:gd name="T60" fmla="*/ 160 w 615"/>
                  <a:gd name="T61" fmla="*/ 178 h 590"/>
                  <a:gd name="T62" fmla="*/ 120 w 615"/>
                  <a:gd name="T63" fmla="*/ 201 h 590"/>
                  <a:gd name="T64" fmla="*/ 92 w 615"/>
                  <a:gd name="T65" fmla="*/ 227 h 590"/>
                  <a:gd name="T66" fmla="*/ 48 w 615"/>
                  <a:gd name="T67" fmla="*/ 262 h 590"/>
                  <a:gd name="T68" fmla="*/ 49 w 615"/>
                  <a:gd name="T69" fmla="*/ 308 h 590"/>
                  <a:gd name="T70" fmla="*/ 20 w 615"/>
                  <a:gd name="T71" fmla="*/ 344 h 590"/>
                  <a:gd name="T72" fmla="*/ 0 w 615"/>
                  <a:gd name="T73" fmla="*/ 391 h 590"/>
                  <a:gd name="T74" fmla="*/ 35 w 615"/>
                  <a:gd name="T75" fmla="*/ 416 h 590"/>
                  <a:gd name="T76" fmla="*/ 31 w 615"/>
                  <a:gd name="T77" fmla="*/ 464 h 590"/>
                  <a:gd name="T78" fmla="*/ 54 w 615"/>
                  <a:gd name="T79" fmla="*/ 486 h 590"/>
                  <a:gd name="T80" fmla="*/ 62 w 615"/>
                  <a:gd name="T81" fmla="*/ 450 h 590"/>
                  <a:gd name="T82" fmla="*/ 66 w 615"/>
                  <a:gd name="T83" fmla="*/ 444 h 590"/>
                  <a:gd name="T84" fmla="*/ 101 w 615"/>
                  <a:gd name="T85" fmla="*/ 418 h 590"/>
                  <a:gd name="T86" fmla="*/ 132 w 615"/>
                  <a:gd name="T87" fmla="*/ 383 h 590"/>
                  <a:gd name="T88" fmla="*/ 185 w 615"/>
                  <a:gd name="T89" fmla="*/ 367 h 590"/>
                  <a:gd name="T90" fmla="*/ 233 w 615"/>
                  <a:gd name="T91" fmla="*/ 333 h 590"/>
                  <a:gd name="T92" fmla="*/ 311 w 615"/>
                  <a:gd name="T93" fmla="*/ 346 h 590"/>
                  <a:gd name="T94" fmla="*/ 377 w 615"/>
                  <a:gd name="T95" fmla="*/ 374 h 590"/>
                  <a:gd name="T96" fmla="*/ 423 w 615"/>
                  <a:gd name="T97" fmla="*/ 400 h 590"/>
                  <a:gd name="T98" fmla="*/ 419 w 615"/>
                  <a:gd name="T99" fmla="*/ 448 h 590"/>
                  <a:gd name="T100" fmla="*/ 456 w 615"/>
                  <a:gd name="T101" fmla="*/ 519 h 590"/>
                  <a:gd name="T102" fmla="*/ 507 w 615"/>
                  <a:gd name="T103" fmla="*/ 583 h 590"/>
                  <a:gd name="T104" fmla="*/ 560 w 615"/>
                  <a:gd name="T105" fmla="*/ 544 h 590"/>
                  <a:gd name="T106" fmla="*/ 580 w 615"/>
                  <a:gd name="T107" fmla="*/ 502 h 590"/>
                  <a:gd name="T108" fmla="*/ 582 w 615"/>
                  <a:gd name="T109" fmla="*/ 451 h 590"/>
                  <a:gd name="T110" fmla="*/ 599 w 615"/>
                  <a:gd name="T111" fmla="*/ 396 h 590"/>
                  <a:gd name="T112" fmla="*/ 375 w 615"/>
                  <a:gd name="T113" fmla="*/ 180 h 590"/>
                  <a:gd name="T114" fmla="*/ 380 w 615"/>
                  <a:gd name="T115" fmla="*/ 172 h 590"/>
                  <a:gd name="T116" fmla="*/ 415 w 615"/>
                  <a:gd name="T117" fmla="*/ 151 h 590"/>
                  <a:gd name="T118" fmla="*/ 408 w 615"/>
                  <a:gd name="T119" fmla="*/ 179 h 59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615"/>
                  <a:gd name="T181" fmla="*/ 0 h 590"/>
                  <a:gd name="T182" fmla="*/ 615 w 615"/>
                  <a:gd name="T183" fmla="*/ 590 h 59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615" h="590">
                    <a:moveTo>
                      <a:pt x="481" y="40"/>
                    </a:moveTo>
                    <a:cubicBezTo>
                      <a:pt x="482" y="41"/>
                      <a:pt x="486" y="39"/>
                      <a:pt x="488" y="43"/>
                    </a:cubicBezTo>
                    <a:cubicBezTo>
                      <a:pt x="488" y="44"/>
                      <a:pt x="487" y="52"/>
                      <a:pt x="489" y="53"/>
                    </a:cubicBezTo>
                    <a:cubicBezTo>
                      <a:pt x="489" y="53"/>
                      <a:pt x="491" y="55"/>
                      <a:pt x="493" y="60"/>
                    </a:cubicBezTo>
                    <a:cubicBezTo>
                      <a:pt x="493" y="60"/>
                      <a:pt x="496" y="60"/>
                      <a:pt x="496" y="63"/>
                    </a:cubicBezTo>
                    <a:cubicBezTo>
                      <a:pt x="497" y="64"/>
                      <a:pt x="504" y="68"/>
                      <a:pt x="497" y="69"/>
                    </a:cubicBezTo>
                    <a:cubicBezTo>
                      <a:pt x="497" y="69"/>
                      <a:pt x="492" y="71"/>
                      <a:pt x="496" y="75"/>
                    </a:cubicBezTo>
                    <a:cubicBezTo>
                      <a:pt x="496" y="76"/>
                      <a:pt x="500" y="76"/>
                      <a:pt x="501" y="75"/>
                    </a:cubicBezTo>
                    <a:cubicBezTo>
                      <a:pt x="501" y="75"/>
                      <a:pt x="504" y="71"/>
                      <a:pt x="507" y="74"/>
                    </a:cubicBezTo>
                    <a:cubicBezTo>
                      <a:pt x="506" y="74"/>
                      <a:pt x="511" y="75"/>
                      <a:pt x="511" y="78"/>
                    </a:cubicBezTo>
                    <a:cubicBezTo>
                      <a:pt x="511" y="78"/>
                      <a:pt x="514" y="79"/>
                      <a:pt x="511" y="80"/>
                    </a:cubicBezTo>
                    <a:cubicBezTo>
                      <a:pt x="511" y="81"/>
                      <a:pt x="510" y="84"/>
                      <a:pt x="512" y="86"/>
                    </a:cubicBezTo>
                    <a:cubicBezTo>
                      <a:pt x="513" y="86"/>
                      <a:pt x="517" y="87"/>
                      <a:pt x="513" y="90"/>
                    </a:cubicBezTo>
                    <a:cubicBezTo>
                      <a:pt x="513" y="90"/>
                      <a:pt x="508" y="96"/>
                      <a:pt x="512" y="98"/>
                    </a:cubicBezTo>
                    <a:cubicBezTo>
                      <a:pt x="513" y="98"/>
                      <a:pt x="517" y="98"/>
                      <a:pt x="518" y="95"/>
                    </a:cubicBezTo>
                    <a:cubicBezTo>
                      <a:pt x="518" y="95"/>
                      <a:pt x="519" y="94"/>
                      <a:pt x="520" y="90"/>
                    </a:cubicBezTo>
                    <a:cubicBezTo>
                      <a:pt x="520" y="90"/>
                      <a:pt x="523" y="90"/>
                      <a:pt x="524" y="88"/>
                    </a:cubicBezTo>
                    <a:cubicBezTo>
                      <a:pt x="524" y="88"/>
                      <a:pt x="524" y="86"/>
                      <a:pt x="526" y="85"/>
                    </a:cubicBezTo>
                    <a:cubicBezTo>
                      <a:pt x="526" y="85"/>
                      <a:pt x="526" y="83"/>
                      <a:pt x="530" y="81"/>
                    </a:cubicBezTo>
                    <a:cubicBezTo>
                      <a:pt x="530" y="81"/>
                      <a:pt x="533" y="78"/>
                      <a:pt x="528" y="76"/>
                    </a:cubicBezTo>
                    <a:cubicBezTo>
                      <a:pt x="528" y="76"/>
                      <a:pt x="524" y="72"/>
                      <a:pt x="528" y="71"/>
                    </a:cubicBezTo>
                    <a:cubicBezTo>
                      <a:pt x="527" y="71"/>
                      <a:pt x="528" y="68"/>
                      <a:pt x="532" y="67"/>
                    </a:cubicBezTo>
                    <a:cubicBezTo>
                      <a:pt x="532" y="67"/>
                      <a:pt x="533" y="60"/>
                      <a:pt x="537" y="62"/>
                    </a:cubicBezTo>
                    <a:cubicBezTo>
                      <a:pt x="536" y="63"/>
                      <a:pt x="542" y="64"/>
                      <a:pt x="541" y="57"/>
                    </a:cubicBezTo>
                    <a:cubicBezTo>
                      <a:pt x="542" y="57"/>
                      <a:pt x="548" y="54"/>
                      <a:pt x="538" y="53"/>
                    </a:cubicBezTo>
                    <a:cubicBezTo>
                      <a:pt x="538" y="53"/>
                      <a:pt x="538" y="49"/>
                      <a:pt x="536" y="48"/>
                    </a:cubicBezTo>
                    <a:cubicBezTo>
                      <a:pt x="536" y="48"/>
                      <a:pt x="536" y="43"/>
                      <a:pt x="534" y="43"/>
                    </a:cubicBezTo>
                    <a:cubicBezTo>
                      <a:pt x="534" y="43"/>
                      <a:pt x="534" y="38"/>
                      <a:pt x="532" y="36"/>
                    </a:cubicBezTo>
                    <a:cubicBezTo>
                      <a:pt x="532" y="37"/>
                      <a:pt x="531" y="32"/>
                      <a:pt x="529" y="32"/>
                    </a:cubicBezTo>
                    <a:cubicBezTo>
                      <a:pt x="529" y="33"/>
                      <a:pt x="523" y="33"/>
                      <a:pt x="528" y="29"/>
                    </a:cubicBezTo>
                    <a:cubicBezTo>
                      <a:pt x="528" y="28"/>
                      <a:pt x="530" y="28"/>
                      <a:pt x="529" y="21"/>
                    </a:cubicBezTo>
                    <a:cubicBezTo>
                      <a:pt x="529" y="21"/>
                      <a:pt x="526" y="21"/>
                      <a:pt x="527" y="18"/>
                    </a:cubicBezTo>
                    <a:cubicBezTo>
                      <a:pt x="527" y="18"/>
                      <a:pt x="526" y="9"/>
                      <a:pt x="528" y="9"/>
                    </a:cubicBezTo>
                    <a:cubicBezTo>
                      <a:pt x="528" y="10"/>
                      <a:pt x="530" y="5"/>
                      <a:pt x="526" y="6"/>
                    </a:cubicBezTo>
                    <a:cubicBezTo>
                      <a:pt x="526" y="6"/>
                      <a:pt x="528" y="3"/>
                      <a:pt x="524" y="3"/>
                    </a:cubicBezTo>
                    <a:cubicBezTo>
                      <a:pt x="524" y="3"/>
                      <a:pt x="524" y="0"/>
                      <a:pt x="522" y="1"/>
                    </a:cubicBezTo>
                    <a:cubicBezTo>
                      <a:pt x="521" y="1"/>
                      <a:pt x="521" y="2"/>
                      <a:pt x="520" y="2"/>
                    </a:cubicBezTo>
                    <a:cubicBezTo>
                      <a:pt x="519" y="2"/>
                      <a:pt x="519" y="3"/>
                      <a:pt x="519" y="3"/>
                    </a:cubicBezTo>
                    <a:cubicBezTo>
                      <a:pt x="519" y="3"/>
                      <a:pt x="515" y="8"/>
                      <a:pt x="515" y="8"/>
                    </a:cubicBezTo>
                    <a:cubicBezTo>
                      <a:pt x="512" y="10"/>
                      <a:pt x="511" y="14"/>
                      <a:pt x="511" y="14"/>
                    </a:cubicBezTo>
                    <a:cubicBezTo>
                      <a:pt x="504" y="14"/>
                      <a:pt x="501" y="20"/>
                      <a:pt x="500" y="19"/>
                    </a:cubicBezTo>
                    <a:cubicBezTo>
                      <a:pt x="496" y="19"/>
                      <a:pt x="492" y="24"/>
                      <a:pt x="492" y="24"/>
                    </a:cubicBezTo>
                    <a:cubicBezTo>
                      <a:pt x="490" y="24"/>
                      <a:pt x="486" y="26"/>
                      <a:pt x="487" y="26"/>
                    </a:cubicBezTo>
                    <a:cubicBezTo>
                      <a:pt x="487" y="29"/>
                      <a:pt x="483" y="31"/>
                      <a:pt x="483" y="31"/>
                    </a:cubicBezTo>
                    <a:cubicBezTo>
                      <a:pt x="483" y="31"/>
                      <a:pt x="481" y="33"/>
                      <a:pt x="479" y="35"/>
                    </a:cubicBezTo>
                    <a:cubicBezTo>
                      <a:pt x="480" y="35"/>
                      <a:pt x="480" y="35"/>
                      <a:pt x="480" y="35"/>
                    </a:cubicBezTo>
                    <a:cubicBezTo>
                      <a:pt x="480" y="35"/>
                      <a:pt x="479" y="40"/>
                      <a:pt x="481" y="40"/>
                    </a:cubicBezTo>
                    <a:close/>
                    <a:moveTo>
                      <a:pt x="611" y="354"/>
                    </a:moveTo>
                    <a:cubicBezTo>
                      <a:pt x="611" y="354"/>
                      <a:pt x="610" y="351"/>
                      <a:pt x="611" y="351"/>
                    </a:cubicBezTo>
                    <a:cubicBezTo>
                      <a:pt x="611" y="351"/>
                      <a:pt x="614" y="346"/>
                      <a:pt x="611" y="343"/>
                    </a:cubicBezTo>
                    <a:cubicBezTo>
                      <a:pt x="611" y="344"/>
                      <a:pt x="610" y="334"/>
                      <a:pt x="612" y="334"/>
                    </a:cubicBezTo>
                    <a:cubicBezTo>
                      <a:pt x="612" y="334"/>
                      <a:pt x="611" y="331"/>
                      <a:pt x="608" y="331"/>
                    </a:cubicBezTo>
                    <a:cubicBezTo>
                      <a:pt x="607" y="331"/>
                      <a:pt x="607" y="326"/>
                      <a:pt x="605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4" y="323"/>
                      <a:pt x="603" y="324"/>
                      <a:pt x="603" y="324"/>
                    </a:cubicBezTo>
                    <a:cubicBezTo>
                      <a:pt x="603" y="324"/>
                      <a:pt x="603" y="324"/>
                      <a:pt x="603" y="324"/>
                    </a:cubicBezTo>
                    <a:cubicBezTo>
                      <a:pt x="603" y="324"/>
                      <a:pt x="603" y="324"/>
                      <a:pt x="603" y="324"/>
                    </a:cubicBezTo>
                    <a:cubicBezTo>
                      <a:pt x="603" y="325"/>
                      <a:pt x="602" y="325"/>
                      <a:pt x="601" y="326"/>
                    </a:cubicBezTo>
                    <a:cubicBezTo>
                      <a:pt x="601" y="326"/>
                      <a:pt x="601" y="326"/>
                      <a:pt x="601" y="326"/>
                    </a:cubicBezTo>
                    <a:cubicBezTo>
                      <a:pt x="600" y="327"/>
                      <a:pt x="600" y="327"/>
                      <a:pt x="600" y="327"/>
                    </a:cubicBezTo>
                    <a:cubicBezTo>
                      <a:pt x="600" y="327"/>
                      <a:pt x="600" y="327"/>
                      <a:pt x="599" y="327"/>
                    </a:cubicBezTo>
                    <a:cubicBezTo>
                      <a:pt x="599" y="327"/>
                      <a:pt x="599" y="327"/>
                      <a:pt x="599" y="327"/>
                    </a:cubicBezTo>
                    <a:cubicBezTo>
                      <a:pt x="599" y="327"/>
                      <a:pt x="599" y="328"/>
                      <a:pt x="599" y="328"/>
                    </a:cubicBezTo>
                    <a:cubicBezTo>
                      <a:pt x="598" y="331"/>
                      <a:pt x="593" y="333"/>
                      <a:pt x="593" y="332"/>
                    </a:cubicBezTo>
                    <a:cubicBezTo>
                      <a:pt x="588" y="341"/>
                      <a:pt x="589" y="328"/>
                      <a:pt x="589" y="328"/>
                    </a:cubicBezTo>
                    <a:cubicBezTo>
                      <a:pt x="586" y="323"/>
                      <a:pt x="582" y="328"/>
                      <a:pt x="582" y="327"/>
                    </a:cubicBezTo>
                    <a:cubicBezTo>
                      <a:pt x="583" y="330"/>
                      <a:pt x="577" y="333"/>
                      <a:pt x="577" y="333"/>
                    </a:cubicBezTo>
                    <a:cubicBezTo>
                      <a:pt x="576" y="333"/>
                      <a:pt x="572" y="335"/>
                      <a:pt x="572" y="334"/>
                    </a:cubicBezTo>
                    <a:cubicBezTo>
                      <a:pt x="573" y="336"/>
                      <a:pt x="569" y="340"/>
                      <a:pt x="569" y="340"/>
                    </a:cubicBezTo>
                    <a:cubicBezTo>
                      <a:pt x="569" y="342"/>
                      <a:pt x="565" y="340"/>
                      <a:pt x="565" y="340"/>
                    </a:cubicBezTo>
                    <a:cubicBezTo>
                      <a:pt x="558" y="334"/>
                      <a:pt x="558" y="344"/>
                      <a:pt x="558" y="343"/>
                    </a:cubicBezTo>
                    <a:cubicBezTo>
                      <a:pt x="559" y="346"/>
                      <a:pt x="553" y="352"/>
                      <a:pt x="553" y="351"/>
                    </a:cubicBezTo>
                    <a:cubicBezTo>
                      <a:pt x="557" y="355"/>
                      <a:pt x="550" y="357"/>
                      <a:pt x="550" y="357"/>
                    </a:cubicBezTo>
                    <a:cubicBezTo>
                      <a:pt x="544" y="363"/>
                      <a:pt x="544" y="363"/>
                      <a:pt x="544" y="363"/>
                    </a:cubicBezTo>
                    <a:cubicBezTo>
                      <a:pt x="540" y="361"/>
                      <a:pt x="537" y="366"/>
                      <a:pt x="538" y="366"/>
                    </a:cubicBezTo>
                    <a:cubicBezTo>
                      <a:pt x="540" y="371"/>
                      <a:pt x="530" y="368"/>
                      <a:pt x="530" y="367"/>
                    </a:cubicBezTo>
                    <a:cubicBezTo>
                      <a:pt x="527" y="370"/>
                      <a:pt x="522" y="367"/>
                      <a:pt x="521" y="367"/>
                    </a:cubicBezTo>
                    <a:cubicBezTo>
                      <a:pt x="520" y="371"/>
                      <a:pt x="518" y="367"/>
                      <a:pt x="518" y="366"/>
                    </a:cubicBezTo>
                    <a:cubicBezTo>
                      <a:pt x="514" y="366"/>
                      <a:pt x="511" y="373"/>
                      <a:pt x="511" y="372"/>
                    </a:cubicBezTo>
                    <a:cubicBezTo>
                      <a:pt x="508" y="372"/>
                      <a:pt x="505" y="376"/>
                      <a:pt x="505" y="376"/>
                    </a:cubicBezTo>
                    <a:cubicBezTo>
                      <a:pt x="501" y="376"/>
                      <a:pt x="500" y="381"/>
                      <a:pt x="499" y="381"/>
                    </a:cubicBezTo>
                    <a:cubicBezTo>
                      <a:pt x="497" y="381"/>
                      <a:pt x="496" y="386"/>
                      <a:pt x="496" y="386"/>
                    </a:cubicBezTo>
                    <a:cubicBezTo>
                      <a:pt x="494" y="385"/>
                      <a:pt x="495" y="393"/>
                      <a:pt x="495" y="393"/>
                    </a:cubicBezTo>
                    <a:cubicBezTo>
                      <a:pt x="492" y="392"/>
                      <a:pt x="492" y="395"/>
                      <a:pt x="492" y="396"/>
                    </a:cubicBezTo>
                    <a:cubicBezTo>
                      <a:pt x="492" y="399"/>
                      <a:pt x="489" y="398"/>
                      <a:pt x="489" y="398"/>
                    </a:cubicBezTo>
                    <a:cubicBezTo>
                      <a:pt x="489" y="398"/>
                      <a:pt x="482" y="403"/>
                      <a:pt x="482" y="402"/>
                    </a:cubicBezTo>
                    <a:cubicBezTo>
                      <a:pt x="469" y="404"/>
                      <a:pt x="476" y="400"/>
                      <a:pt x="476" y="399"/>
                    </a:cubicBezTo>
                    <a:cubicBezTo>
                      <a:pt x="480" y="388"/>
                      <a:pt x="473" y="388"/>
                      <a:pt x="473" y="388"/>
                    </a:cubicBezTo>
                    <a:cubicBezTo>
                      <a:pt x="469" y="378"/>
                      <a:pt x="470" y="365"/>
                      <a:pt x="470" y="365"/>
                    </a:cubicBezTo>
                    <a:cubicBezTo>
                      <a:pt x="469" y="360"/>
                      <a:pt x="465" y="362"/>
                      <a:pt x="465" y="362"/>
                    </a:cubicBezTo>
                    <a:cubicBezTo>
                      <a:pt x="465" y="361"/>
                      <a:pt x="459" y="356"/>
                      <a:pt x="458" y="355"/>
                    </a:cubicBezTo>
                    <a:cubicBezTo>
                      <a:pt x="448" y="356"/>
                      <a:pt x="446" y="352"/>
                      <a:pt x="446" y="352"/>
                    </a:cubicBezTo>
                    <a:cubicBezTo>
                      <a:pt x="448" y="346"/>
                      <a:pt x="439" y="348"/>
                      <a:pt x="439" y="348"/>
                    </a:cubicBezTo>
                    <a:cubicBezTo>
                      <a:pt x="431" y="342"/>
                      <a:pt x="433" y="350"/>
                      <a:pt x="433" y="349"/>
                    </a:cubicBezTo>
                    <a:cubicBezTo>
                      <a:pt x="430" y="353"/>
                      <a:pt x="431" y="349"/>
                      <a:pt x="431" y="349"/>
                    </a:cubicBezTo>
                    <a:cubicBezTo>
                      <a:pt x="426" y="347"/>
                      <a:pt x="432" y="346"/>
                      <a:pt x="432" y="346"/>
                    </a:cubicBezTo>
                    <a:cubicBezTo>
                      <a:pt x="431" y="342"/>
                      <a:pt x="431" y="342"/>
                      <a:pt x="431" y="342"/>
                    </a:cubicBezTo>
                    <a:cubicBezTo>
                      <a:pt x="428" y="339"/>
                      <a:pt x="425" y="346"/>
                      <a:pt x="426" y="346"/>
                    </a:cubicBezTo>
                    <a:cubicBezTo>
                      <a:pt x="419" y="345"/>
                      <a:pt x="419" y="350"/>
                      <a:pt x="419" y="350"/>
                    </a:cubicBezTo>
                    <a:cubicBezTo>
                      <a:pt x="418" y="350"/>
                      <a:pt x="415" y="355"/>
                      <a:pt x="414" y="355"/>
                    </a:cubicBezTo>
                    <a:cubicBezTo>
                      <a:pt x="411" y="361"/>
                      <a:pt x="406" y="359"/>
                      <a:pt x="406" y="359"/>
                    </a:cubicBezTo>
                    <a:cubicBezTo>
                      <a:pt x="402" y="356"/>
                      <a:pt x="400" y="350"/>
                      <a:pt x="399" y="350"/>
                    </a:cubicBezTo>
                    <a:cubicBezTo>
                      <a:pt x="398" y="341"/>
                      <a:pt x="396" y="343"/>
                      <a:pt x="396" y="342"/>
                    </a:cubicBezTo>
                    <a:cubicBezTo>
                      <a:pt x="392" y="347"/>
                      <a:pt x="392" y="342"/>
                      <a:pt x="392" y="342"/>
                    </a:cubicBezTo>
                    <a:cubicBezTo>
                      <a:pt x="388" y="342"/>
                      <a:pt x="388" y="335"/>
                      <a:pt x="388" y="335"/>
                    </a:cubicBezTo>
                    <a:cubicBezTo>
                      <a:pt x="384" y="334"/>
                      <a:pt x="389" y="331"/>
                      <a:pt x="389" y="331"/>
                    </a:cubicBezTo>
                    <a:cubicBezTo>
                      <a:pt x="388" y="327"/>
                      <a:pt x="392" y="325"/>
                      <a:pt x="392" y="324"/>
                    </a:cubicBezTo>
                    <a:cubicBezTo>
                      <a:pt x="396" y="317"/>
                      <a:pt x="396" y="324"/>
                      <a:pt x="396" y="324"/>
                    </a:cubicBezTo>
                    <a:cubicBezTo>
                      <a:pt x="398" y="327"/>
                      <a:pt x="405" y="325"/>
                      <a:pt x="406" y="325"/>
                    </a:cubicBezTo>
                    <a:cubicBezTo>
                      <a:pt x="405" y="319"/>
                      <a:pt x="414" y="327"/>
                      <a:pt x="414" y="327"/>
                    </a:cubicBezTo>
                    <a:cubicBezTo>
                      <a:pt x="416" y="328"/>
                      <a:pt x="419" y="321"/>
                      <a:pt x="419" y="321"/>
                    </a:cubicBezTo>
                    <a:cubicBezTo>
                      <a:pt x="421" y="321"/>
                      <a:pt x="429" y="312"/>
                      <a:pt x="428" y="312"/>
                    </a:cubicBezTo>
                    <a:cubicBezTo>
                      <a:pt x="430" y="312"/>
                      <a:pt x="434" y="308"/>
                      <a:pt x="434" y="308"/>
                    </a:cubicBezTo>
                    <a:cubicBezTo>
                      <a:pt x="434" y="297"/>
                      <a:pt x="429" y="305"/>
                      <a:pt x="429" y="305"/>
                    </a:cubicBezTo>
                    <a:cubicBezTo>
                      <a:pt x="430" y="308"/>
                      <a:pt x="422" y="306"/>
                      <a:pt x="422" y="306"/>
                    </a:cubicBezTo>
                    <a:cubicBezTo>
                      <a:pt x="422" y="304"/>
                      <a:pt x="418" y="300"/>
                      <a:pt x="417" y="300"/>
                    </a:cubicBezTo>
                    <a:cubicBezTo>
                      <a:pt x="418" y="293"/>
                      <a:pt x="409" y="292"/>
                      <a:pt x="408" y="292"/>
                    </a:cubicBezTo>
                    <a:cubicBezTo>
                      <a:pt x="408" y="290"/>
                      <a:pt x="400" y="297"/>
                      <a:pt x="400" y="296"/>
                    </a:cubicBezTo>
                    <a:cubicBezTo>
                      <a:pt x="396" y="297"/>
                      <a:pt x="393" y="291"/>
                      <a:pt x="393" y="291"/>
                    </a:cubicBezTo>
                    <a:cubicBezTo>
                      <a:pt x="391" y="284"/>
                      <a:pt x="388" y="293"/>
                      <a:pt x="388" y="293"/>
                    </a:cubicBezTo>
                    <a:cubicBezTo>
                      <a:pt x="388" y="296"/>
                      <a:pt x="384" y="295"/>
                      <a:pt x="384" y="295"/>
                    </a:cubicBezTo>
                    <a:cubicBezTo>
                      <a:pt x="381" y="295"/>
                      <a:pt x="384" y="289"/>
                      <a:pt x="384" y="289"/>
                    </a:cubicBezTo>
                    <a:cubicBezTo>
                      <a:pt x="379" y="287"/>
                      <a:pt x="384" y="286"/>
                      <a:pt x="384" y="286"/>
                    </a:cubicBezTo>
                    <a:cubicBezTo>
                      <a:pt x="384" y="285"/>
                      <a:pt x="385" y="277"/>
                      <a:pt x="384" y="277"/>
                    </a:cubicBezTo>
                    <a:cubicBezTo>
                      <a:pt x="388" y="273"/>
                      <a:pt x="386" y="257"/>
                      <a:pt x="386" y="257"/>
                    </a:cubicBezTo>
                    <a:cubicBezTo>
                      <a:pt x="384" y="252"/>
                      <a:pt x="386" y="248"/>
                      <a:pt x="385" y="248"/>
                    </a:cubicBezTo>
                    <a:cubicBezTo>
                      <a:pt x="381" y="239"/>
                      <a:pt x="392" y="241"/>
                      <a:pt x="392" y="240"/>
                    </a:cubicBezTo>
                    <a:cubicBezTo>
                      <a:pt x="396" y="246"/>
                      <a:pt x="396" y="239"/>
                      <a:pt x="396" y="240"/>
                    </a:cubicBezTo>
                    <a:cubicBezTo>
                      <a:pt x="401" y="231"/>
                      <a:pt x="402" y="235"/>
                      <a:pt x="402" y="235"/>
                    </a:cubicBezTo>
                    <a:cubicBezTo>
                      <a:pt x="404" y="229"/>
                      <a:pt x="411" y="237"/>
                      <a:pt x="411" y="236"/>
                    </a:cubicBezTo>
                    <a:cubicBezTo>
                      <a:pt x="413" y="239"/>
                      <a:pt x="418" y="236"/>
                      <a:pt x="418" y="236"/>
                    </a:cubicBezTo>
                    <a:cubicBezTo>
                      <a:pt x="416" y="229"/>
                      <a:pt x="422" y="217"/>
                      <a:pt x="422" y="217"/>
                    </a:cubicBezTo>
                    <a:cubicBezTo>
                      <a:pt x="424" y="219"/>
                      <a:pt x="426" y="214"/>
                      <a:pt x="427" y="215"/>
                    </a:cubicBezTo>
                    <a:cubicBezTo>
                      <a:pt x="432" y="215"/>
                      <a:pt x="432" y="209"/>
                      <a:pt x="432" y="209"/>
                    </a:cubicBezTo>
                    <a:cubicBezTo>
                      <a:pt x="433" y="209"/>
                      <a:pt x="437" y="200"/>
                      <a:pt x="436" y="200"/>
                    </a:cubicBezTo>
                    <a:cubicBezTo>
                      <a:pt x="438" y="200"/>
                      <a:pt x="442" y="196"/>
                      <a:pt x="441" y="196"/>
                    </a:cubicBezTo>
                    <a:cubicBezTo>
                      <a:pt x="440" y="190"/>
                      <a:pt x="448" y="191"/>
                      <a:pt x="447" y="191"/>
                    </a:cubicBezTo>
                    <a:cubicBezTo>
                      <a:pt x="450" y="190"/>
                      <a:pt x="458" y="180"/>
                      <a:pt x="457" y="180"/>
                    </a:cubicBezTo>
                    <a:cubicBezTo>
                      <a:pt x="465" y="174"/>
                      <a:pt x="461" y="172"/>
                      <a:pt x="461" y="172"/>
                    </a:cubicBezTo>
                    <a:cubicBezTo>
                      <a:pt x="456" y="166"/>
                      <a:pt x="450" y="167"/>
                      <a:pt x="450" y="167"/>
                    </a:cubicBezTo>
                    <a:cubicBezTo>
                      <a:pt x="441" y="163"/>
                      <a:pt x="450" y="160"/>
                      <a:pt x="450" y="160"/>
                    </a:cubicBezTo>
                    <a:cubicBezTo>
                      <a:pt x="453" y="158"/>
                      <a:pt x="453" y="158"/>
                      <a:pt x="453" y="158"/>
                    </a:cubicBezTo>
                    <a:cubicBezTo>
                      <a:pt x="453" y="158"/>
                      <a:pt x="460" y="152"/>
                      <a:pt x="459" y="152"/>
                    </a:cubicBezTo>
                    <a:cubicBezTo>
                      <a:pt x="453" y="149"/>
                      <a:pt x="461" y="149"/>
                      <a:pt x="461" y="148"/>
                    </a:cubicBezTo>
                    <a:cubicBezTo>
                      <a:pt x="461" y="144"/>
                      <a:pt x="468" y="144"/>
                      <a:pt x="468" y="143"/>
                    </a:cubicBezTo>
                    <a:cubicBezTo>
                      <a:pt x="469" y="144"/>
                      <a:pt x="472" y="134"/>
                      <a:pt x="473" y="134"/>
                    </a:cubicBezTo>
                    <a:cubicBezTo>
                      <a:pt x="478" y="130"/>
                      <a:pt x="473" y="128"/>
                      <a:pt x="473" y="127"/>
                    </a:cubicBezTo>
                    <a:cubicBezTo>
                      <a:pt x="469" y="121"/>
                      <a:pt x="474" y="115"/>
                      <a:pt x="474" y="115"/>
                    </a:cubicBezTo>
                    <a:cubicBezTo>
                      <a:pt x="473" y="110"/>
                      <a:pt x="479" y="114"/>
                      <a:pt x="479" y="114"/>
                    </a:cubicBezTo>
                    <a:cubicBezTo>
                      <a:pt x="482" y="116"/>
                      <a:pt x="487" y="113"/>
                      <a:pt x="487" y="113"/>
                    </a:cubicBezTo>
                    <a:cubicBezTo>
                      <a:pt x="496" y="106"/>
                      <a:pt x="488" y="105"/>
                      <a:pt x="488" y="105"/>
                    </a:cubicBezTo>
                    <a:cubicBezTo>
                      <a:pt x="489" y="95"/>
                      <a:pt x="484" y="98"/>
                      <a:pt x="484" y="98"/>
                    </a:cubicBezTo>
                    <a:cubicBezTo>
                      <a:pt x="479" y="94"/>
                      <a:pt x="484" y="91"/>
                      <a:pt x="484" y="91"/>
                    </a:cubicBezTo>
                    <a:cubicBezTo>
                      <a:pt x="483" y="85"/>
                      <a:pt x="487" y="82"/>
                      <a:pt x="487" y="82"/>
                    </a:cubicBezTo>
                    <a:cubicBezTo>
                      <a:pt x="490" y="76"/>
                      <a:pt x="487" y="75"/>
                      <a:pt x="486" y="75"/>
                    </a:cubicBezTo>
                    <a:cubicBezTo>
                      <a:pt x="484" y="72"/>
                      <a:pt x="483" y="67"/>
                      <a:pt x="483" y="68"/>
                    </a:cubicBezTo>
                    <a:cubicBezTo>
                      <a:pt x="474" y="69"/>
                      <a:pt x="474" y="74"/>
                      <a:pt x="474" y="73"/>
                    </a:cubicBezTo>
                    <a:cubicBezTo>
                      <a:pt x="483" y="90"/>
                      <a:pt x="469" y="74"/>
                      <a:pt x="470" y="74"/>
                    </a:cubicBezTo>
                    <a:cubicBezTo>
                      <a:pt x="469" y="70"/>
                      <a:pt x="464" y="68"/>
                      <a:pt x="465" y="68"/>
                    </a:cubicBezTo>
                    <a:cubicBezTo>
                      <a:pt x="465" y="64"/>
                      <a:pt x="459" y="63"/>
                      <a:pt x="459" y="63"/>
                    </a:cubicBezTo>
                    <a:cubicBezTo>
                      <a:pt x="457" y="63"/>
                      <a:pt x="458" y="56"/>
                      <a:pt x="458" y="56"/>
                    </a:cubicBezTo>
                    <a:cubicBezTo>
                      <a:pt x="457" y="56"/>
                      <a:pt x="457" y="56"/>
                      <a:pt x="457" y="55"/>
                    </a:cubicBezTo>
                    <a:cubicBezTo>
                      <a:pt x="457" y="55"/>
                      <a:pt x="457" y="55"/>
                      <a:pt x="457" y="55"/>
                    </a:cubicBezTo>
                    <a:cubicBezTo>
                      <a:pt x="457" y="55"/>
                      <a:pt x="457" y="55"/>
                      <a:pt x="457" y="55"/>
                    </a:cubicBezTo>
                    <a:cubicBezTo>
                      <a:pt x="457" y="55"/>
                      <a:pt x="457" y="55"/>
                      <a:pt x="457" y="54"/>
                    </a:cubicBezTo>
                    <a:cubicBezTo>
                      <a:pt x="457" y="54"/>
                      <a:pt x="457" y="54"/>
                      <a:pt x="457" y="54"/>
                    </a:cubicBezTo>
                    <a:cubicBezTo>
                      <a:pt x="457" y="54"/>
                      <a:pt x="457" y="54"/>
                      <a:pt x="457" y="53"/>
                    </a:cubicBezTo>
                    <a:cubicBezTo>
                      <a:pt x="457" y="53"/>
                      <a:pt x="457" y="53"/>
                      <a:pt x="457" y="53"/>
                    </a:cubicBezTo>
                    <a:cubicBezTo>
                      <a:pt x="457" y="53"/>
                      <a:pt x="457" y="53"/>
                      <a:pt x="458" y="52"/>
                    </a:cubicBezTo>
                    <a:cubicBezTo>
                      <a:pt x="453" y="53"/>
                      <a:pt x="449" y="57"/>
                      <a:pt x="449" y="57"/>
                    </a:cubicBezTo>
                    <a:cubicBezTo>
                      <a:pt x="446" y="57"/>
                      <a:pt x="442" y="65"/>
                      <a:pt x="442" y="65"/>
                    </a:cubicBezTo>
                    <a:cubicBezTo>
                      <a:pt x="441" y="65"/>
                      <a:pt x="441" y="65"/>
                      <a:pt x="441" y="66"/>
                    </a:cubicBezTo>
                    <a:cubicBezTo>
                      <a:pt x="442" y="67"/>
                      <a:pt x="442" y="70"/>
                      <a:pt x="442" y="70"/>
                    </a:cubicBezTo>
                    <a:cubicBezTo>
                      <a:pt x="447" y="68"/>
                      <a:pt x="448" y="72"/>
                      <a:pt x="448" y="72"/>
                    </a:cubicBezTo>
                    <a:cubicBezTo>
                      <a:pt x="455" y="71"/>
                      <a:pt x="453" y="77"/>
                      <a:pt x="453" y="77"/>
                    </a:cubicBezTo>
                    <a:cubicBezTo>
                      <a:pt x="457" y="79"/>
                      <a:pt x="455" y="79"/>
                      <a:pt x="454" y="79"/>
                    </a:cubicBezTo>
                    <a:cubicBezTo>
                      <a:pt x="451" y="79"/>
                      <a:pt x="449" y="81"/>
                      <a:pt x="449" y="80"/>
                    </a:cubicBezTo>
                    <a:cubicBezTo>
                      <a:pt x="446" y="80"/>
                      <a:pt x="446" y="82"/>
                      <a:pt x="446" y="82"/>
                    </a:cubicBezTo>
                    <a:cubicBezTo>
                      <a:pt x="443" y="81"/>
                      <a:pt x="442" y="83"/>
                      <a:pt x="442" y="82"/>
                    </a:cubicBezTo>
                    <a:cubicBezTo>
                      <a:pt x="441" y="87"/>
                      <a:pt x="446" y="85"/>
                      <a:pt x="446" y="84"/>
                    </a:cubicBezTo>
                    <a:cubicBezTo>
                      <a:pt x="446" y="79"/>
                      <a:pt x="452" y="83"/>
                      <a:pt x="452" y="83"/>
                    </a:cubicBezTo>
                    <a:cubicBezTo>
                      <a:pt x="457" y="86"/>
                      <a:pt x="455" y="89"/>
                      <a:pt x="456" y="89"/>
                    </a:cubicBezTo>
                    <a:cubicBezTo>
                      <a:pt x="461" y="92"/>
                      <a:pt x="453" y="96"/>
                      <a:pt x="453" y="95"/>
                    </a:cubicBezTo>
                    <a:cubicBezTo>
                      <a:pt x="450" y="101"/>
                      <a:pt x="448" y="102"/>
                      <a:pt x="448" y="102"/>
                    </a:cubicBezTo>
                    <a:cubicBezTo>
                      <a:pt x="446" y="102"/>
                      <a:pt x="446" y="122"/>
                      <a:pt x="446" y="122"/>
                    </a:cubicBezTo>
                    <a:cubicBezTo>
                      <a:pt x="439" y="128"/>
                      <a:pt x="450" y="125"/>
                      <a:pt x="450" y="125"/>
                    </a:cubicBezTo>
                    <a:cubicBezTo>
                      <a:pt x="450" y="125"/>
                      <a:pt x="456" y="125"/>
                      <a:pt x="455" y="125"/>
                    </a:cubicBezTo>
                    <a:cubicBezTo>
                      <a:pt x="461" y="127"/>
                      <a:pt x="456" y="132"/>
                      <a:pt x="456" y="132"/>
                    </a:cubicBezTo>
                    <a:cubicBezTo>
                      <a:pt x="456" y="132"/>
                      <a:pt x="456" y="133"/>
                      <a:pt x="456" y="134"/>
                    </a:cubicBezTo>
                    <a:cubicBezTo>
                      <a:pt x="452" y="133"/>
                      <a:pt x="450" y="136"/>
                      <a:pt x="451" y="136"/>
                    </a:cubicBezTo>
                    <a:cubicBezTo>
                      <a:pt x="451" y="144"/>
                      <a:pt x="447" y="144"/>
                      <a:pt x="447" y="144"/>
                    </a:cubicBezTo>
                    <a:cubicBezTo>
                      <a:pt x="446" y="147"/>
                      <a:pt x="446" y="144"/>
                      <a:pt x="444" y="144"/>
                    </a:cubicBezTo>
                    <a:cubicBezTo>
                      <a:pt x="443" y="144"/>
                      <a:pt x="441" y="145"/>
                      <a:pt x="441" y="145"/>
                    </a:cubicBezTo>
                    <a:cubicBezTo>
                      <a:pt x="442" y="150"/>
                      <a:pt x="429" y="147"/>
                      <a:pt x="429" y="147"/>
                    </a:cubicBezTo>
                    <a:cubicBezTo>
                      <a:pt x="429" y="146"/>
                      <a:pt x="422" y="144"/>
                      <a:pt x="422" y="144"/>
                    </a:cubicBezTo>
                    <a:cubicBezTo>
                      <a:pt x="423" y="138"/>
                      <a:pt x="419" y="139"/>
                      <a:pt x="419" y="139"/>
                    </a:cubicBezTo>
                    <a:cubicBezTo>
                      <a:pt x="414" y="144"/>
                      <a:pt x="410" y="146"/>
                      <a:pt x="410" y="146"/>
                    </a:cubicBezTo>
                    <a:cubicBezTo>
                      <a:pt x="409" y="148"/>
                      <a:pt x="405" y="147"/>
                      <a:pt x="405" y="147"/>
                    </a:cubicBezTo>
                    <a:cubicBezTo>
                      <a:pt x="401" y="150"/>
                      <a:pt x="396" y="144"/>
                      <a:pt x="396" y="144"/>
                    </a:cubicBezTo>
                    <a:cubicBezTo>
                      <a:pt x="394" y="138"/>
                      <a:pt x="390" y="139"/>
                      <a:pt x="391" y="139"/>
                    </a:cubicBezTo>
                    <a:cubicBezTo>
                      <a:pt x="388" y="142"/>
                      <a:pt x="386" y="138"/>
                      <a:pt x="386" y="138"/>
                    </a:cubicBezTo>
                    <a:cubicBezTo>
                      <a:pt x="381" y="132"/>
                      <a:pt x="381" y="136"/>
                      <a:pt x="380" y="136"/>
                    </a:cubicBezTo>
                    <a:cubicBezTo>
                      <a:pt x="371" y="136"/>
                      <a:pt x="380" y="132"/>
                      <a:pt x="380" y="131"/>
                    </a:cubicBezTo>
                    <a:cubicBezTo>
                      <a:pt x="393" y="130"/>
                      <a:pt x="377" y="125"/>
                      <a:pt x="377" y="125"/>
                    </a:cubicBezTo>
                    <a:cubicBezTo>
                      <a:pt x="373" y="122"/>
                      <a:pt x="373" y="122"/>
                      <a:pt x="373" y="122"/>
                    </a:cubicBezTo>
                    <a:cubicBezTo>
                      <a:pt x="371" y="123"/>
                      <a:pt x="370" y="125"/>
                      <a:pt x="370" y="125"/>
                    </a:cubicBezTo>
                    <a:cubicBezTo>
                      <a:pt x="367" y="129"/>
                      <a:pt x="365" y="124"/>
                      <a:pt x="365" y="124"/>
                    </a:cubicBezTo>
                    <a:cubicBezTo>
                      <a:pt x="361" y="119"/>
                      <a:pt x="347" y="122"/>
                      <a:pt x="347" y="122"/>
                    </a:cubicBezTo>
                    <a:cubicBezTo>
                      <a:pt x="348" y="123"/>
                      <a:pt x="342" y="124"/>
                      <a:pt x="342" y="124"/>
                    </a:cubicBezTo>
                    <a:cubicBezTo>
                      <a:pt x="342" y="124"/>
                      <a:pt x="339" y="127"/>
                      <a:pt x="339" y="126"/>
                    </a:cubicBezTo>
                    <a:cubicBezTo>
                      <a:pt x="337" y="125"/>
                      <a:pt x="334" y="129"/>
                      <a:pt x="334" y="129"/>
                    </a:cubicBezTo>
                    <a:cubicBezTo>
                      <a:pt x="334" y="128"/>
                      <a:pt x="327" y="132"/>
                      <a:pt x="327" y="132"/>
                    </a:cubicBezTo>
                    <a:cubicBezTo>
                      <a:pt x="323" y="133"/>
                      <a:pt x="319" y="135"/>
                      <a:pt x="319" y="134"/>
                    </a:cubicBezTo>
                    <a:cubicBezTo>
                      <a:pt x="316" y="138"/>
                      <a:pt x="310" y="134"/>
                      <a:pt x="310" y="134"/>
                    </a:cubicBezTo>
                    <a:cubicBezTo>
                      <a:pt x="310" y="131"/>
                      <a:pt x="306" y="128"/>
                      <a:pt x="306" y="128"/>
                    </a:cubicBezTo>
                    <a:cubicBezTo>
                      <a:pt x="304" y="121"/>
                      <a:pt x="309" y="121"/>
                      <a:pt x="310" y="121"/>
                    </a:cubicBezTo>
                    <a:cubicBezTo>
                      <a:pt x="311" y="121"/>
                      <a:pt x="316" y="117"/>
                      <a:pt x="316" y="117"/>
                    </a:cubicBezTo>
                    <a:cubicBezTo>
                      <a:pt x="318" y="116"/>
                      <a:pt x="323" y="113"/>
                      <a:pt x="322" y="113"/>
                    </a:cubicBezTo>
                    <a:cubicBezTo>
                      <a:pt x="325" y="112"/>
                      <a:pt x="331" y="108"/>
                      <a:pt x="331" y="108"/>
                    </a:cubicBezTo>
                    <a:cubicBezTo>
                      <a:pt x="333" y="107"/>
                      <a:pt x="337" y="102"/>
                      <a:pt x="337" y="102"/>
                    </a:cubicBezTo>
                    <a:cubicBezTo>
                      <a:pt x="336" y="101"/>
                      <a:pt x="341" y="101"/>
                      <a:pt x="341" y="101"/>
                    </a:cubicBezTo>
                    <a:cubicBezTo>
                      <a:pt x="342" y="101"/>
                      <a:pt x="345" y="96"/>
                      <a:pt x="345" y="96"/>
                    </a:cubicBezTo>
                    <a:cubicBezTo>
                      <a:pt x="345" y="95"/>
                      <a:pt x="354" y="89"/>
                      <a:pt x="354" y="89"/>
                    </a:cubicBezTo>
                    <a:cubicBezTo>
                      <a:pt x="357" y="88"/>
                      <a:pt x="364" y="84"/>
                      <a:pt x="364" y="83"/>
                    </a:cubicBezTo>
                    <a:cubicBezTo>
                      <a:pt x="369" y="83"/>
                      <a:pt x="370" y="76"/>
                      <a:pt x="370" y="76"/>
                    </a:cubicBezTo>
                    <a:cubicBezTo>
                      <a:pt x="369" y="75"/>
                      <a:pt x="369" y="75"/>
                      <a:pt x="369" y="75"/>
                    </a:cubicBezTo>
                    <a:cubicBezTo>
                      <a:pt x="370" y="75"/>
                      <a:pt x="371" y="75"/>
                      <a:pt x="371" y="75"/>
                    </a:cubicBezTo>
                    <a:cubicBezTo>
                      <a:pt x="366" y="74"/>
                      <a:pt x="366" y="74"/>
                      <a:pt x="366" y="74"/>
                    </a:cubicBezTo>
                    <a:cubicBezTo>
                      <a:pt x="366" y="74"/>
                      <a:pt x="362" y="73"/>
                      <a:pt x="363" y="72"/>
                    </a:cubicBezTo>
                    <a:cubicBezTo>
                      <a:pt x="363" y="72"/>
                      <a:pt x="356" y="77"/>
                      <a:pt x="360" y="71"/>
                    </a:cubicBezTo>
                    <a:cubicBezTo>
                      <a:pt x="360" y="71"/>
                      <a:pt x="357" y="69"/>
                      <a:pt x="363" y="68"/>
                    </a:cubicBezTo>
                    <a:cubicBezTo>
                      <a:pt x="363" y="68"/>
                      <a:pt x="364" y="54"/>
                      <a:pt x="361" y="53"/>
                    </a:cubicBezTo>
                    <a:cubicBezTo>
                      <a:pt x="361" y="54"/>
                      <a:pt x="355" y="47"/>
                      <a:pt x="354" y="47"/>
                    </a:cubicBezTo>
                    <a:cubicBezTo>
                      <a:pt x="353" y="47"/>
                      <a:pt x="349" y="46"/>
                      <a:pt x="354" y="44"/>
                    </a:cubicBezTo>
                    <a:cubicBezTo>
                      <a:pt x="354" y="45"/>
                      <a:pt x="353" y="37"/>
                      <a:pt x="356" y="37"/>
                    </a:cubicBezTo>
                    <a:cubicBezTo>
                      <a:pt x="356" y="37"/>
                      <a:pt x="357" y="26"/>
                      <a:pt x="354" y="27"/>
                    </a:cubicBezTo>
                    <a:cubicBezTo>
                      <a:pt x="354" y="27"/>
                      <a:pt x="354" y="23"/>
                      <a:pt x="352" y="26"/>
                    </a:cubicBezTo>
                    <a:cubicBezTo>
                      <a:pt x="352" y="26"/>
                      <a:pt x="347" y="29"/>
                      <a:pt x="345" y="29"/>
                    </a:cubicBezTo>
                    <a:cubicBezTo>
                      <a:pt x="344" y="29"/>
                      <a:pt x="342" y="31"/>
                      <a:pt x="338" y="31"/>
                    </a:cubicBezTo>
                    <a:cubicBezTo>
                      <a:pt x="337" y="31"/>
                      <a:pt x="333" y="33"/>
                      <a:pt x="331" y="33"/>
                    </a:cubicBezTo>
                    <a:cubicBezTo>
                      <a:pt x="330" y="33"/>
                      <a:pt x="326" y="37"/>
                      <a:pt x="324" y="37"/>
                    </a:cubicBezTo>
                    <a:cubicBezTo>
                      <a:pt x="324" y="37"/>
                      <a:pt x="322" y="40"/>
                      <a:pt x="319" y="40"/>
                    </a:cubicBezTo>
                    <a:cubicBezTo>
                      <a:pt x="320" y="40"/>
                      <a:pt x="315" y="45"/>
                      <a:pt x="316" y="48"/>
                    </a:cubicBezTo>
                    <a:cubicBezTo>
                      <a:pt x="316" y="48"/>
                      <a:pt x="312" y="53"/>
                      <a:pt x="311" y="52"/>
                    </a:cubicBezTo>
                    <a:cubicBezTo>
                      <a:pt x="311" y="52"/>
                      <a:pt x="307" y="58"/>
                      <a:pt x="300" y="57"/>
                    </a:cubicBezTo>
                    <a:cubicBezTo>
                      <a:pt x="300" y="57"/>
                      <a:pt x="297" y="60"/>
                      <a:pt x="288" y="60"/>
                    </a:cubicBezTo>
                    <a:cubicBezTo>
                      <a:pt x="288" y="60"/>
                      <a:pt x="280" y="60"/>
                      <a:pt x="281" y="62"/>
                    </a:cubicBezTo>
                    <a:cubicBezTo>
                      <a:pt x="281" y="63"/>
                      <a:pt x="277" y="65"/>
                      <a:pt x="276" y="64"/>
                    </a:cubicBezTo>
                    <a:cubicBezTo>
                      <a:pt x="276" y="65"/>
                      <a:pt x="271" y="68"/>
                      <a:pt x="269" y="68"/>
                    </a:cubicBezTo>
                    <a:cubicBezTo>
                      <a:pt x="269" y="68"/>
                      <a:pt x="265" y="68"/>
                      <a:pt x="265" y="71"/>
                    </a:cubicBezTo>
                    <a:cubicBezTo>
                      <a:pt x="265" y="72"/>
                      <a:pt x="260" y="71"/>
                      <a:pt x="258" y="75"/>
                    </a:cubicBezTo>
                    <a:cubicBezTo>
                      <a:pt x="258" y="75"/>
                      <a:pt x="253" y="79"/>
                      <a:pt x="251" y="79"/>
                    </a:cubicBezTo>
                    <a:cubicBezTo>
                      <a:pt x="251" y="79"/>
                      <a:pt x="247" y="82"/>
                      <a:pt x="241" y="82"/>
                    </a:cubicBezTo>
                    <a:cubicBezTo>
                      <a:pt x="241" y="82"/>
                      <a:pt x="232" y="84"/>
                      <a:pt x="231" y="86"/>
                    </a:cubicBezTo>
                    <a:cubicBezTo>
                      <a:pt x="231" y="87"/>
                      <a:pt x="223" y="87"/>
                      <a:pt x="224" y="86"/>
                    </a:cubicBezTo>
                    <a:cubicBezTo>
                      <a:pt x="224" y="86"/>
                      <a:pt x="224" y="79"/>
                      <a:pt x="221" y="82"/>
                    </a:cubicBezTo>
                    <a:cubicBezTo>
                      <a:pt x="221" y="82"/>
                      <a:pt x="220" y="81"/>
                      <a:pt x="219" y="81"/>
                    </a:cubicBezTo>
                    <a:cubicBezTo>
                      <a:pt x="219" y="82"/>
                      <a:pt x="218" y="83"/>
                      <a:pt x="218" y="85"/>
                    </a:cubicBezTo>
                    <a:cubicBezTo>
                      <a:pt x="218" y="86"/>
                      <a:pt x="215" y="85"/>
                      <a:pt x="215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90"/>
                      <a:pt x="210" y="94"/>
                      <a:pt x="210" y="95"/>
                    </a:cubicBezTo>
                    <a:cubicBezTo>
                      <a:pt x="211" y="96"/>
                      <a:pt x="207" y="96"/>
                      <a:pt x="208" y="107"/>
                    </a:cubicBezTo>
                    <a:cubicBezTo>
                      <a:pt x="208" y="108"/>
                      <a:pt x="203" y="112"/>
                      <a:pt x="203" y="117"/>
                    </a:cubicBezTo>
                    <a:cubicBezTo>
                      <a:pt x="203" y="117"/>
                      <a:pt x="208" y="121"/>
                      <a:pt x="208" y="121"/>
                    </a:cubicBezTo>
                    <a:cubicBezTo>
                      <a:pt x="212" y="126"/>
                      <a:pt x="212" y="126"/>
                      <a:pt x="212" y="126"/>
                    </a:cubicBezTo>
                    <a:cubicBezTo>
                      <a:pt x="212" y="126"/>
                      <a:pt x="218" y="132"/>
                      <a:pt x="214" y="133"/>
                    </a:cubicBezTo>
                    <a:cubicBezTo>
                      <a:pt x="214" y="134"/>
                      <a:pt x="212" y="139"/>
                      <a:pt x="212" y="139"/>
                    </a:cubicBezTo>
                    <a:cubicBezTo>
                      <a:pt x="208" y="141"/>
                      <a:pt x="208" y="141"/>
                      <a:pt x="208" y="141"/>
                    </a:cubicBezTo>
                    <a:cubicBezTo>
                      <a:pt x="205" y="147"/>
                      <a:pt x="205" y="147"/>
                      <a:pt x="205" y="147"/>
                    </a:cubicBezTo>
                    <a:cubicBezTo>
                      <a:pt x="205" y="147"/>
                      <a:pt x="204" y="151"/>
                      <a:pt x="200" y="151"/>
                    </a:cubicBezTo>
                    <a:cubicBezTo>
                      <a:pt x="199" y="153"/>
                      <a:pt x="199" y="153"/>
                      <a:pt x="199" y="153"/>
                    </a:cubicBezTo>
                    <a:cubicBezTo>
                      <a:pt x="199" y="153"/>
                      <a:pt x="192" y="156"/>
                      <a:pt x="188" y="155"/>
                    </a:cubicBezTo>
                    <a:cubicBezTo>
                      <a:pt x="187" y="155"/>
                      <a:pt x="183" y="155"/>
                      <a:pt x="184" y="157"/>
                    </a:cubicBezTo>
                    <a:cubicBezTo>
                      <a:pt x="185" y="157"/>
                      <a:pt x="179" y="157"/>
                      <a:pt x="180" y="167"/>
                    </a:cubicBezTo>
                    <a:cubicBezTo>
                      <a:pt x="180" y="167"/>
                      <a:pt x="176" y="168"/>
                      <a:pt x="176" y="170"/>
                    </a:cubicBezTo>
                    <a:cubicBezTo>
                      <a:pt x="176" y="170"/>
                      <a:pt x="169" y="169"/>
                      <a:pt x="169" y="174"/>
                    </a:cubicBezTo>
                    <a:cubicBezTo>
                      <a:pt x="169" y="174"/>
                      <a:pt x="164" y="174"/>
                      <a:pt x="165" y="176"/>
                    </a:cubicBezTo>
                    <a:cubicBezTo>
                      <a:pt x="160" y="178"/>
                      <a:pt x="160" y="178"/>
                      <a:pt x="160" y="178"/>
                    </a:cubicBezTo>
                    <a:cubicBezTo>
                      <a:pt x="160" y="178"/>
                      <a:pt x="162" y="182"/>
                      <a:pt x="156" y="182"/>
                    </a:cubicBezTo>
                    <a:cubicBezTo>
                      <a:pt x="155" y="182"/>
                      <a:pt x="151" y="186"/>
                      <a:pt x="151" y="186"/>
                    </a:cubicBezTo>
                    <a:cubicBezTo>
                      <a:pt x="142" y="186"/>
                      <a:pt x="142" y="186"/>
                      <a:pt x="142" y="186"/>
                    </a:cubicBezTo>
                    <a:cubicBezTo>
                      <a:pt x="142" y="186"/>
                      <a:pt x="142" y="189"/>
                      <a:pt x="138" y="189"/>
                    </a:cubicBezTo>
                    <a:cubicBezTo>
                      <a:pt x="137" y="189"/>
                      <a:pt x="135" y="190"/>
                      <a:pt x="135" y="190"/>
                    </a:cubicBezTo>
                    <a:cubicBezTo>
                      <a:pt x="132" y="193"/>
                      <a:pt x="132" y="193"/>
                      <a:pt x="132" y="193"/>
                    </a:cubicBezTo>
                    <a:cubicBezTo>
                      <a:pt x="132" y="193"/>
                      <a:pt x="129" y="197"/>
                      <a:pt x="123" y="195"/>
                    </a:cubicBezTo>
                    <a:cubicBezTo>
                      <a:pt x="123" y="197"/>
                      <a:pt x="123" y="197"/>
                      <a:pt x="123" y="197"/>
                    </a:cubicBezTo>
                    <a:cubicBezTo>
                      <a:pt x="120" y="201"/>
                      <a:pt x="120" y="201"/>
                      <a:pt x="120" y="201"/>
                    </a:cubicBezTo>
                    <a:cubicBezTo>
                      <a:pt x="117" y="203"/>
                      <a:pt x="117" y="203"/>
                      <a:pt x="117" y="203"/>
                    </a:cubicBezTo>
                    <a:cubicBezTo>
                      <a:pt x="116" y="203"/>
                      <a:pt x="116" y="203"/>
                      <a:pt x="116" y="203"/>
                    </a:cubicBezTo>
                    <a:cubicBezTo>
                      <a:pt x="116" y="206"/>
                      <a:pt x="116" y="206"/>
                      <a:pt x="116" y="206"/>
                    </a:cubicBezTo>
                    <a:cubicBezTo>
                      <a:pt x="116" y="206"/>
                      <a:pt x="115" y="209"/>
                      <a:pt x="111" y="209"/>
                    </a:cubicBezTo>
                    <a:cubicBezTo>
                      <a:pt x="111" y="210"/>
                      <a:pt x="110" y="212"/>
                      <a:pt x="108" y="212"/>
                    </a:cubicBezTo>
                    <a:cubicBezTo>
                      <a:pt x="106" y="212"/>
                      <a:pt x="104" y="217"/>
                      <a:pt x="104" y="217"/>
                    </a:cubicBezTo>
                    <a:cubicBezTo>
                      <a:pt x="104" y="217"/>
                      <a:pt x="100" y="220"/>
                      <a:pt x="98" y="219"/>
                    </a:cubicBezTo>
                    <a:cubicBezTo>
                      <a:pt x="96" y="218"/>
                      <a:pt x="97" y="221"/>
                      <a:pt x="95" y="222"/>
                    </a:cubicBezTo>
                    <a:cubicBezTo>
                      <a:pt x="92" y="223"/>
                      <a:pt x="94" y="227"/>
                      <a:pt x="92" y="227"/>
                    </a:cubicBezTo>
                    <a:cubicBezTo>
                      <a:pt x="89" y="228"/>
                      <a:pt x="88" y="230"/>
                      <a:pt x="86" y="231"/>
                    </a:cubicBezTo>
                    <a:cubicBezTo>
                      <a:pt x="84" y="234"/>
                      <a:pt x="80" y="235"/>
                      <a:pt x="77" y="236"/>
                    </a:cubicBezTo>
                    <a:cubicBezTo>
                      <a:pt x="74" y="237"/>
                      <a:pt x="81" y="242"/>
                      <a:pt x="75" y="242"/>
                    </a:cubicBezTo>
                    <a:cubicBezTo>
                      <a:pt x="74" y="241"/>
                      <a:pt x="72" y="243"/>
                      <a:pt x="72" y="243"/>
                    </a:cubicBezTo>
                    <a:cubicBezTo>
                      <a:pt x="72" y="243"/>
                      <a:pt x="68" y="247"/>
                      <a:pt x="65" y="247"/>
                    </a:cubicBezTo>
                    <a:cubicBezTo>
                      <a:pt x="66" y="247"/>
                      <a:pt x="66" y="253"/>
                      <a:pt x="64" y="253"/>
                    </a:cubicBezTo>
                    <a:cubicBezTo>
                      <a:pt x="64" y="253"/>
                      <a:pt x="58" y="251"/>
                      <a:pt x="58" y="254"/>
                    </a:cubicBezTo>
                    <a:cubicBezTo>
                      <a:pt x="59" y="254"/>
                      <a:pt x="50" y="254"/>
                      <a:pt x="53" y="257"/>
                    </a:cubicBezTo>
                    <a:cubicBezTo>
                      <a:pt x="54" y="257"/>
                      <a:pt x="46" y="260"/>
                      <a:pt x="48" y="262"/>
                    </a:cubicBezTo>
                    <a:cubicBezTo>
                      <a:pt x="48" y="262"/>
                      <a:pt x="39" y="262"/>
                      <a:pt x="42" y="265"/>
                    </a:cubicBezTo>
                    <a:cubicBezTo>
                      <a:pt x="42" y="265"/>
                      <a:pt x="39" y="268"/>
                      <a:pt x="39" y="270"/>
                    </a:cubicBezTo>
                    <a:cubicBezTo>
                      <a:pt x="39" y="270"/>
                      <a:pt x="35" y="271"/>
                      <a:pt x="35" y="271"/>
                    </a:cubicBezTo>
                    <a:cubicBezTo>
                      <a:pt x="35" y="271"/>
                      <a:pt x="26" y="277"/>
                      <a:pt x="34" y="284"/>
                    </a:cubicBezTo>
                    <a:cubicBezTo>
                      <a:pt x="42" y="290"/>
                      <a:pt x="42" y="290"/>
                      <a:pt x="42" y="290"/>
                    </a:cubicBezTo>
                    <a:cubicBezTo>
                      <a:pt x="47" y="296"/>
                      <a:pt x="47" y="296"/>
                      <a:pt x="47" y="296"/>
                    </a:cubicBezTo>
                    <a:cubicBezTo>
                      <a:pt x="48" y="301"/>
                      <a:pt x="48" y="301"/>
                      <a:pt x="48" y="301"/>
                    </a:cubicBezTo>
                    <a:cubicBezTo>
                      <a:pt x="48" y="301"/>
                      <a:pt x="53" y="302"/>
                      <a:pt x="49" y="304"/>
                    </a:cubicBezTo>
                    <a:cubicBezTo>
                      <a:pt x="50" y="304"/>
                      <a:pt x="53" y="307"/>
                      <a:pt x="49" y="308"/>
                    </a:cubicBezTo>
                    <a:cubicBezTo>
                      <a:pt x="49" y="309"/>
                      <a:pt x="51" y="315"/>
                      <a:pt x="47" y="312"/>
                    </a:cubicBezTo>
                    <a:cubicBezTo>
                      <a:pt x="47" y="312"/>
                      <a:pt x="43" y="317"/>
                      <a:pt x="42" y="312"/>
                    </a:cubicBezTo>
                    <a:cubicBezTo>
                      <a:pt x="37" y="315"/>
                      <a:pt x="37" y="315"/>
                      <a:pt x="37" y="315"/>
                    </a:cubicBezTo>
                    <a:cubicBezTo>
                      <a:pt x="35" y="319"/>
                      <a:pt x="35" y="319"/>
                      <a:pt x="35" y="319"/>
                    </a:cubicBezTo>
                    <a:cubicBezTo>
                      <a:pt x="35" y="319"/>
                      <a:pt x="32" y="325"/>
                      <a:pt x="30" y="323"/>
                    </a:cubicBezTo>
                    <a:cubicBezTo>
                      <a:pt x="30" y="324"/>
                      <a:pt x="27" y="326"/>
                      <a:pt x="27" y="331"/>
                    </a:cubicBezTo>
                    <a:cubicBezTo>
                      <a:pt x="27" y="332"/>
                      <a:pt x="24" y="333"/>
                      <a:pt x="25" y="337"/>
                    </a:cubicBezTo>
                    <a:cubicBezTo>
                      <a:pt x="25" y="337"/>
                      <a:pt x="23" y="336"/>
                      <a:pt x="23" y="339"/>
                    </a:cubicBezTo>
                    <a:cubicBezTo>
                      <a:pt x="23" y="340"/>
                      <a:pt x="20" y="342"/>
                      <a:pt x="20" y="344"/>
                    </a:cubicBezTo>
                    <a:cubicBezTo>
                      <a:pt x="20" y="344"/>
                      <a:pt x="17" y="347"/>
                      <a:pt x="17" y="350"/>
                    </a:cubicBezTo>
                    <a:cubicBezTo>
                      <a:pt x="17" y="349"/>
                      <a:pt x="16" y="354"/>
                      <a:pt x="12" y="353"/>
                    </a:cubicBezTo>
                    <a:cubicBezTo>
                      <a:pt x="8" y="357"/>
                      <a:pt x="8" y="357"/>
                      <a:pt x="8" y="357"/>
                    </a:cubicBezTo>
                    <a:cubicBezTo>
                      <a:pt x="8" y="357"/>
                      <a:pt x="5" y="360"/>
                      <a:pt x="6" y="365"/>
                    </a:cubicBezTo>
                    <a:cubicBezTo>
                      <a:pt x="5" y="365"/>
                      <a:pt x="5" y="370"/>
                      <a:pt x="8" y="369"/>
                    </a:cubicBezTo>
                    <a:cubicBezTo>
                      <a:pt x="8" y="368"/>
                      <a:pt x="8" y="372"/>
                      <a:pt x="12" y="372"/>
                    </a:cubicBezTo>
                    <a:cubicBezTo>
                      <a:pt x="11" y="373"/>
                      <a:pt x="13" y="377"/>
                      <a:pt x="8" y="381"/>
                    </a:cubicBezTo>
                    <a:cubicBezTo>
                      <a:pt x="8" y="381"/>
                      <a:pt x="4" y="383"/>
                      <a:pt x="5" y="385"/>
                    </a:cubicBezTo>
                    <a:cubicBezTo>
                      <a:pt x="5" y="384"/>
                      <a:pt x="0" y="391"/>
                      <a:pt x="0" y="391"/>
                    </a:cubicBezTo>
                    <a:cubicBezTo>
                      <a:pt x="0" y="395"/>
                      <a:pt x="0" y="395"/>
                      <a:pt x="0" y="395"/>
                    </a:cubicBezTo>
                    <a:cubicBezTo>
                      <a:pt x="0" y="395"/>
                      <a:pt x="0" y="397"/>
                      <a:pt x="5" y="398"/>
                    </a:cubicBezTo>
                    <a:cubicBezTo>
                      <a:pt x="5" y="398"/>
                      <a:pt x="7" y="400"/>
                      <a:pt x="11" y="400"/>
                    </a:cubicBezTo>
                    <a:cubicBezTo>
                      <a:pt x="11" y="400"/>
                      <a:pt x="12" y="403"/>
                      <a:pt x="15" y="402"/>
                    </a:cubicBezTo>
                    <a:cubicBezTo>
                      <a:pt x="15" y="402"/>
                      <a:pt x="14" y="407"/>
                      <a:pt x="18" y="407"/>
                    </a:cubicBezTo>
                    <a:cubicBezTo>
                      <a:pt x="18" y="407"/>
                      <a:pt x="17" y="410"/>
                      <a:pt x="25" y="410"/>
                    </a:cubicBezTo>
                    <a:cubicBezTo>
                      <a:pt x="25" y="410"/>
                      <a:pt x="25" y="412"/>
                      <a:pt x="27" y="412"/>
                    </a:cubicBezTo>
                    <a:cubicBezTo>
                      <a:pt x="27" y="412"/>
                      <a:pt x="27" y="415"/>
                      <a:pt x="30" y="415"/>
                    </a:cubicBezTo>
                    <a:cubicBezTo>
                      <a:pt x="29" y="415"/>
                      <a:pt x="31" y="417"/>
                      <a:pt x="35" y="416"/>
                    </a:cubicBezTo>
                    <a:cubicBezTo>
                      <a:pt x="34" y="417"/>
                      <a:pt x="39" y="422"/>
                      <a:pt x="39" y="422"/>
                    </a:cubicBezTo>
                    <a:cubicBezTo>
                      <a:pt x="39" y="422"/>
                      <a:pt x="38" y="426"/>
                      <a:pt x="42" y="426"/>
                    </a:cubicBezTo>
                    <a:cubicBezTo>
                      <a:pt x="42" y="426"/>
                      <a:pt x="52" y="423"/>
                      <a:pt x="49" y="433"/>
                    </a:cubicBezTo>
                    <a:cubicBezTo>
                      <a:pt x="49" y="433"/>
                      <a:pt x="53" y="434"/>
                      <a:pt x="49" y="438"/>
                    </a:cubicBezTo>
                    <a:cubicBezTo>
                      <a:pt x="49" y="438"/>
                      <a:pt x="45" y="444"/>
                      <a:pt x="46" y="446"/>
                    </a:cubicBezTo>
                    <a:cubicBezTo>
                      <a:pt x="45" y="447"/>
                      <a:pt x="41" y="449"/>
                      <a:pt x="41" y="452"/>
                    </a:cubicBezTo>
                    <a:cubicBezTo>
                      <a:pt x="39" y="455"/>
                      <a:pt x="39" y="455"/>
                      <a:pt x="39" y="455"/>
                    </a:cubicBezTo>
                    <a:cubicBezTo>
                      <a:pt x="39" y="455"/>
                      <a:pt x="34" y="453"/>
                      <a:pt x="34" y="460"/>
                    </a:cubicBezTo>
                    <a:cubicBezTo>
                      <a:pt x="33" y="460"/>
                      <a:pt x="32" y="463"/>
                      <a:pt x="31" y="464"/>
                    </a:cubicBezTo>
                    <a:cubicBezTo>
                      <a:pt x="31" y="464"/>
                      <a:pt x="30" y="466"/>
                      <a:pt x="30" y="466"/>
                    </a:cubicBezTo>
                    <a:cubicBezTo>
                      <a:pt x="27" y="472"/>
                      <a:pt x="27" y="472"/>
                      <a:pt x="27" y="472"/>
                    </a:cubicBezTo>
                    <a:cubicBezTo>
                      <a:pt x="27" y="472"/>
                      <a:pt x="32" y="476"/>
                      <a:pt x="32" y="479"/>
                    </a:cubicBezTo>
                    <a:cubicBezTo>
                      <a:pt x="31" y="480"/>
                      <a:pt x="35" y="483"/>
                      <a:pt x="40" y="483"/>
                    </a:cubicBezTo>
                    <a:cubicBezTo>
                      <a:pt x="40" y="483"/>
                      <a:pt x="46" y="489"/>
                      <a:pt x="46" y="491"/>
                    </a:cubicBezTo>
                    <a:cubicBezTo>
                      <a:pt x="46" y="491"/>
                      <a:pt x="47" y="491"/>
                      <a:pt x="49" y="491"/>
                    </a:cubicBezTo>
                    <a:cubicBezTo>
                      <a:pt x="49" y="491"/>
                      <a:pt x="49" y="491"/>
                      <a:pt x="49" y="491"/>
                    </a:cubicBezTo>
                    <a:cubicBezTo>
                      <a:pt x="49" y="489"/>
                      <a:pt x="50" y="488"/>
                      <a:pt x="51" y="488"/>
                    </a:cubicBezTo>
                    <a:cubicBezTo>
                      <a:pt x="54" y="486"/>
                      <a:pt x="54" y="486"/>
                      <a:pt x="54" y="486"/>
                    </a:cubicBezTo>
                    <a:cubicBezTo>
                      <a:pt x="54" y="486"/>
                      <a:pt x="56" y="483"/>
                      <a:pt x="57" y="482"/>
                    </a:cubicBezTo>
                    <a:cubicBezTo>
                      <a:pt x="57" y="482"/>
                      <a:pt x="55" y="479"/>
                      <a:pt x="59" y="479"/>
                    </a:cubicBezTo>
                    <a:cubicBezTo>
                      <a:pt x="59" y="479"/>
                      <a:pt x="61" y="473"/>
                      <a:pt x="64" y="474"/>
                    </a:cubicBezTo>
                    <a:cubicBezTo>
                      <a:pt x="63" y="474"/>
                      <a:pt x="62" y="470"/>
                      <a:pt x="66" y="469"/>
                    </a:cubicBezTo>
                    <a:cubicBezTo>
                      <a:pt x="66" y="469"/>
                      <a:pt x="66" y="464"/>
                      <a:pt x="68" y="464"/>
                    </a:cubicBezTo>
                    <a:cubicBezTo>
                      <a:pt x="68" y="464"/>
                      <a:pt x="67" y="460"/>
                      <a:pt x="70" y="458"/>
                    </a:cubicBezTo>
                    <a:cubicBezTo>
                      <a:pt x="70" y="458"/>
                      <a:pt x="70" y="458"/>
                      <a:pt x="70" y="458"/>
                    </a:cubicBezTo>
                    <a:cubicBezTo>
                      <a:pt x="66" y="457"/>
                      <a:pt x="66" y="457"/>
                      <a:pt x="66" y="457"/>
                    </a:cubicBezTo>
                    <a:cubicBezTo>
                      <a:pt x="66" y="457"/>
                      <a:pt x="63" y="453"/>
                      <a:pt x="62" y="450"/>
                    </a:cubicBezTo>
                    <a:cubicBezTo>
                      <a:pt x="61" y="451"/>
                      <a:pt x="57" y="451"/>
                      <a:pt x="57" y="453"/>
                    </a:cubicBezTo>
                    <a:cubicBezTo>
                      <a:pt x="57" y="453"/>
                      <a:pt x="55" y="448"/>
                      <a:pt x="53" y="453"/>
                    </a:cubicBezTo>
                    <a:cubicBezTo>
                      <a:pt x="53" y="453"/>
                      <a:pt x="46" y="452"/>
                      <a:pt x="53" y="449"/>
                    </a:cubicBezTo>
                    <a:cubicBezTo>
                      <a:pt x="53" y="450"/>
                      <a:pt x="59" y="445"/>
                      <a:pt x="52" y="445"/>
                    </a:cubicBezTo>
                    <a:cubicBezTo>
                      <a:pt x="52" y="446"/>
                      <a:pt x="47" y="441"/>
                      <a:pt x="54" y="442"/>
                    </a:cubicBezTo>
                    <a:cubicBezTo>
                      <a:pt x="53" y="442"/>
                      <a:pt x="54" y="438"/>
                      <a:pt x="57" y="440"/>
                    </a:cubicBezTo>
                    <a:cubicBezTo>
                      <a:pt x="57" y="441"/>
                      <a:pt x="62" y="444"/>
                      <a:pt x="62" y="441"/>
                    </a:cubicBezTo>
                    <a:cubicBezTo>
                      <a:pt x="62" y="440"/>
                      <a:pt x="64" y="438"/>
                      <a:pt x="63" y="441"/>
                    </a:cubicBezTo>
                    <a:cubicBezTo>
                      <a:pt x="63" y="441"/>
                      <a:pt x="67" y="441"/>
                      <a:pt x="66" y="444"/>
                    </a:cubicBezTo>
                    <a:cubicBezTo>
                      <a:pt x="66" y="445"/>
                      <a:pt x="73" y="445"/>
                      <a:pt x="73" y="445"/>
                    </a:cubicBezTo>
                    <a:cubicBezTo>
                      <a:pt x="75" y="445"/>
                      <a:pt x="75" y="445"/>
                      <a:pt x="75" y="445"/>
                    </a:cubicBezTo>
                    <a:cubicBezTo>
                      <a:pt x="75" y="445"/>
                      <a:pt x="75" y="445"/>
                      <a:pt x="75" y="445"/>
                    </a:cubicBezTo>
                    <a:cubicBezTo>
                      <a:pt x="75" y="445"/>
                      <a:pt x="75" y="441"/>
                      <a:pt x="77" y="441"/>
                    </a:cubicBezTo>
                    <a:cubicBezTo>
                      <a:pt x="77" y="441"/>
                      <a:pt x="81" y="436"/>
                      <a:pt x="84" y="436"/>
                    </a:cubicBezTo>
                    <a:cubicBezTo>
                      <a:pt x="84" y="436"/>
                      <a:pt x="85" y="431"/>
                      <a:pt x="87" y="430"/>
                    </a:cubicBezTo>
                    <a:cubicBezTo>
                      <a:pt x="87" y="431"/>
                      <a:pt x="86" y="426"/>
                      <a:pt x="92" y="426"/>
                    </a:cubicBezTo>
                    <a:cubicBezTo>
                      <a:pt x="92" y="426"/>
                      <a:pt x="94" y="421"/>
                      <a:pt x="94" y="421"/>
                    </a:cubicBezTo>
                    <a:cubicBezTo>
                      <a:pt x="94" y="421"/>
                      <a:pt x="93" y="418"/>
                      <a:pt x="101" y="418"/>
                    </a:cubicBezTo>
                    <a:cubicBezTo>
                      <a:pt x="101" y="418"/>
                      <a:pt x="101" y="421"/>
                      <a:pt x="106" y="421"/>
                    </a:cubicBezTo>
                    <a:cubicBezTo>
                      <a:pt x="107" y="421"/>
                      <a:pt x="108" y="415"/>
                      <a:pt x="110" y="416"/>
                    </a:cubicBezTo>
                    <a:cubicBezTo>
                      <a:pt x="111" y="410"/>
                      <a:pt x="111" y="410"/>
                      <a:pt x="111" y="410"/>
                    </a:cubicBezTo>
                    <a:cubicBezTo>
                      <a:pt x="115" y="404"/>
                      <a:pt x="115" y="404"/>
                      <a:pt x="115" y="404"/>
                    </a:cubicBezTo>
                    <a:cubicBezTo>
                      <a:pt x="115" y="404"/>
                      <a:pt x="114" y="397"/>
                      <a:pt x="118" y="398"/>
                    </a:cubicBezTo>
                    <a:cubicBezTo>
                      <a:pt x="117" y="398"/>
                      <a:pt x="120" y="395"/>
                      <a:pt x="122" y="395"/>
                    </a:cubicBezTo>
                    <a:cubicBezTo>
                      <a:pt x="122" y="396"/>
                      <a:pt x="125" y="390"/>
                      <a:pt x="127" y="390"/>
                    </a:cubicBezTo>
                    <a:cubicBezTo>
                      <a:pt x="127" y="390"/>
                      <a:pt x="127" y="388"/>
                      <a:pt x="130" y="388"/>
                    </a:cubicBezTo>
                    <a:cubicBezTo>
                      <a:pt x="130" y="388"/>
                      <a:pt x="127" y="383"/>
                      <a:pt x="132" y="383"/>
                    </a:cubicBezTo>
                    <a:cubicBezTo>
                      <a:pt x="132" y="383"/>
                      <a:pt x="135" y="380"/>
                      <a:pt x="137" y="380"/>
                    </a:cubicBezTo>
                    <a:cubicBezTo>
                      <a:pt x="137" y="380"/>
                      <a:pt x="136" y="378"/>
                      <a:pt x="139" y="378"/>
                    </a:cubicBezTo>
                    <a:cubicBezTo>
                      <a:pt x="139" y="378"/>
                      <a:pt x="140" y="373"/>
                      <a:pt x="142" y="374"/>
                    </a:cubicBezTo>
                    <a:cubicBezTo>
                      <a:pt x="142" y="374"/>
                      <a:pt x="146" y="370"/>
                      <a:pt x="150" y="372"/>
                    </a:cubicBezTo>
                    <a:cubicBezTo>
                      <a:pt x="150" y="371"/>
                      <a:pt x="151" y="366"/>
                      <a:pt x="167" y="369"/>
                    </a:cubicBezTo>
                    <a:cubicBezTo>
                      <a:pt x="166" y="369"/>
                      <a:pt x="171" y="372"/>
                      <a:pt x="169" y="374"/>
                    </a:cubicBezTo>
                    <a:cubicBezTo>
                      <a:pt x="177" y="373"/>
                      <a:pt x="177" y="373"/>
                      <a:pt x="177" y="373"/>
                    </a:cubicBezTo>
                    <a:cubicBezTo>
                      <a:pt x="181" y="369"/>
                      <a:pt x="181" y="369"/>
                      <a:pt x="181" y="369"/>
                    </a:cubicBezTo>
                    <a:cubicBezTo>
                      <a:pt x="185" y="367"/>
                      <a:pt x="185" y="367"/>
                      <a:pt x="185" y="367"/>
                    </a:cubicBezTo>
                    <a:cubicBezTo>
                      <a:pt x="196" y="366"/>
                      <a:pt x="196" y="366"/>
                      <a:pt x="196" y="366"/>
                    </a:cubicBezTo>
                    <a:cubicBezTo>
                      <a:pt x="204" y="360"/>
                      <a:pt x="204" y="360"/>
                      <a:pt x="204" y="360"/>
                    </a:cubicBezTo>
                    <a:cubicBezTo>
                      <a:pt x="204" y="360"/>
                      <a:pt x="206" y="354"/>
                      <a:pt x="208" y="355"/>
                    </a:cubicBezTo>
                    <a:cubicBezTo>
                      <a:pt x="208" y="355"/>
                      <a:pt x="211" y="352"/>
                      <a:pt x="213" y="352"/>
                    </a:cubicBezTo>
                    <a:cubicBezTo>
                      <a:pt x="214" y="352"/>
                      <a:pt x="218" y="355"/>
                      <a:pt x="217" y="347"/>
                    </a:cubicBezTo>
                    <a:cubicBezTo>
                      <a:pt x="216" y="348"/>
                      <a:pt x="219" y="342"/>
                      <a:pt x="219" y="342"/>
                    </a:cubicBezTo>
                    <a:cubicBezTo>
                      <a:pt x="224" y="342"/>
                      <a:pt x="224" y="342"/>
                      <a:pt x="224" y="342"/>
                    </a:cubicBezTo>
                    <a:cubicBezTo>
                      <a:pt x="228" y="338"/>
                      <a:pt x="228" y="338"/>
                      <a:pt x="228" y="338"/>
                    </a:cubicBezTo>
                    <a:cubicBezTo>
                      <a:pt x="233" y="333"/>
                      <a:pt x="233" y="333"/>
                      <a:pt x="233" y="333"/>
                    </a:cubicBezTo>
                    <a:cubicBezTo>
                      <a:pt x="233" y="333"/>
                      <a:pt x="239" y="331"/>
                      <a:pt x="239" y="336"/>
                    </a:cubicBezTo>
                    <a:cubicBezTo>
                      <a:pt x="238" y="336"/>
                      <a:pt x="245" y="341"/>
                      <a:pt x="245" y="341"/>
                    </a:cubicBezTo>
                    <a:cubicBezTo>
                      <a:pt x="245" y="341"/>
                      <a:pt x="258" y="340"/>
                      <a:pt x="261" y="338"/>
                    </a:cubicBezTo>
                    <a:cubicBezTo>
                      <a:pt x="261" y="338"/>
                      <a:pt x="267" y="335"/>
                      <a:pt x="269" y="334"/>
                    </a:cubicBezTo>
                    <a:cubicBezTo>
                      <a:pt x="269" y="334"/>
                      <a:pt x="274" y="338"/>
                      <a:pt x="274" y="334"/>
                    </a:cubicBezTo>
                    <a:cubicBezTo>
                      <a:pt x="279" y="338"/>
                      <a:pt x="279" y="338"/>
                      <a:pt x="279" y="338"/>
                    </a:cubicBezTo>
                    <a:cubicBezTo>
                      <a:pt x="279" y="338"/>
                      <a:pt x="286" y="338"/>
                      <a:pt x="286" y="342"/>
                    </a:cubicBezTo>
                    <a:cubicBezTo>
                      <a:pt x="286" y="342"/>
                      <a:pt x="299" y="342"/>
                      <a:pt x="295" y="345"/>
                    </a:cubicBezTo>
                    <a:cubicBezTo>
                      <a:pt x="296" y="345"/>
                      <a:pt x="316" y="343"/>
                      <a:pt x="311" y="346"/>
                    </a:cubicBezTo>
                    <a:cubicBezTo>
                      <a:pt x="310" y="346"/>
                      <a:pt x="323" y="347"/>
                      <a:pt x="323" y="347"/>
                    </a:cubicBezTo>
                    <a:cubicBezTo>
                      <a:pt x="323" y="347"/>
                      <a:pt x="323" y="351"/>
                      <a:pt x="327" y="350"/>
                    </a:cubicBezTo>
                    <a:cubicBezTo>
                      <a:pt x="327" y="350"/>
                      <a:pt x="333" y="353"/>
                      <a:pt x="332" y="357"/>
                    </a:cubicBezTo>
                    <a:cubicBezTo>
                      <a:pt x="331" y="357"/>
                      <a:pt x="337" y="361"/>
                      <a:pt x="337" y="361"/>
                    </a:cubicBezTo>
                    <a:cubicBezTo>
                      <a:pt x="344" y="361"/>
                      <a:pt x="344" y="361"/>
                      <a:pt x="344" y="361"/>
                    </a:cubicBezTo>
                    <a:cubicBezTo>
                      <a:pt x="344" y="361"/>
                      <a:pt x="350" y="357"/>
                      <a:pt x="353" y="361"/>
                    </a:cubicBezTo>
                    <a:cubicBezTo>
                      <a:pt x="354" y="361"/>
                      <a:pt x="359" y="365"/>
                      <a:pt x="359" y="366"/>
                    </a:cubicBezTo>
                    <a:cubicBezTo>
                      <a:pt x="359" y="367"/>
                      <a:pt x="366" y="372"/>
                      <a:pt x="369" y="372"/>
                    </a:cubicBezTo>
                    <a:cubicBezTo>
                      <a:pt x="368" y="371"/>
                      <a:pt x="375" y="372"/>
                      <a:pt x="377" y="374"/>
                    </a:cubicBezTo>
                    <a:cubicBezTo>
                      <a:pt x="376" y="374"/>
                      <a:pt x="383" y="373"/>
                      <a:pt x="384" y="376"/>
                    </a:cubicBezTo>
                    <a:cubicBezTo>
                      <a:pt x="392" y="376"/>
                      <a:pt x="392" y="376"/>
                      <a:pt x="392" y="376"/>
                    </a:cubicBezTo>
                    <a:cubicBezTo>
                      <a:pt x="392" y="376"/>
                      <a:pt x="400" y="377"/>
                      <a:pt x="398" y="380"/>
                    </a:cubicBezTo>
                    <a:cubicBezTo>
                      <a:pt x="397" y="380"/>
                      <a:pt x="400" y="384"/>
                      <a:pt x="401" y="384"/>
                    </a:cubicBezTo>
                    <a:cubicBezTo>
                      <a:pt x="401" y="384"/>
                      <a:pt x="407" y="384"/>
                      <a:pt x="405" y="388"/>
                    </a:cubicBezTo>
                    <a:cubicBezTo>
                      <a:pt x="408" y="391"/>
                      <a:pt x="408" y="391"/>
                      <a:pt x="408" y="391"/>
                    </a:cubicBezTo>
                    <a:cubicBezTo>
                      <a:pt x="408" y="391"/>
                      <a:pt x="417" y="392"/>
                      <a:pt x="415" y="393"/>
                    </a:cubicBezTo>
                    <a:cubicBezTo>
                      <a:pt x="416" y="393"/>
                      <a:pt x="419" y="396"/>
                      <a:pt x="419" y="396"/>
                    </a:cubicBezTo>
                    <a:cubicBezTo>
                      <a:pt x="419" y="396"/>
                      <a:pt x="424" y="396"/>
                      <a:pt x="423" y="400"/>
                    </a:cubicBezTo>
                    <a:cubicBezTo>
                      <a:pt x="423" y="400"/>
                      <a:pt x="438" y="396"/>
                      <a:pt x="434" y="407"/>
                    </a:cubicBezTo>
                    <a:cubicBezTo>
                      <a:pt x="434" y="407"/>
                      <a:pt x="450" y="409"/>
                      <a:pt x="442" y="415"/>
                    </a:cubicBezTo>
                    <a:cubicBezTo>
                      <a:pt x="444" y="422"/>
                      <a:pt x="444" y="422"/>
                      <a:pt x="444" y="422"/>
                    </a:cubicBezTo>
                    <a:cubicBezTo>
                      <a:pt x="444" y="422"/>
                      <a:pt x="450" y="423"/>
                      <a:pt x="444" y="425"/>
                    </a:cubicBezTo>
                    <a:cubicBezTo>
                      <a:pt x="444" y="426"/>
                      <a:pt x="443" y="431"/>
                      <a:pt x="442" y="430"/>
                    </a:cubicBezTo>
                    <a:cubicBezTo>
                      <a:pt x="442" y="431"/>
                      <a:pt x="438" y="433"/>
                      <a:pt x="438" y="433"/>
                    </a:cubicBezTo>
                    <a:cubicBezTo>
                      <a:pt x="438" y="433"/>
                      <a:pt x="415" y="432"/>
                      <a:pt x="411" y="434"/>
                    </a:cubicBezTo>
                    <a:cubicBezTo>
                      <a:pt x="411" y="436"/>
                      <a:pt x="413" y="438"/>
                      <a:pt x="413" y="441"/>
                    </a:cubicBezTo>
                    <a:cubicBezTo>
                      <a:pt x="413" y="441"/>
                      <a:pt x="420" y="442"/>
                      <a:pt x="419" y="448"/>
                    </a:cubicBezTo>
                    <a:cubicBezTo>
                      <a:pt x="419" y="448"/>
                      <a:pt x="425" y="451"/>
                      <a:pt x="420" y="457"/>
                    </a:cubicBezTo>
                    <a:cubicBezTo>
                      <a:pt x="420" y="457"/>
                      <a:pt x="415" y="462"/>
                      <a:pt x="421" y="464"/>
                    </a:cubicBezTo>
                    <a:cubicBezTo>
                      <a:pt x="421" y="464"/>
                      <a:pt x="425" y="466"/>
                      <a:pt x="425" y="472"/>
                    </a:cubicBezTo>
                    <a:cubicBezTo>
                      <a:pt x="425" y="472"/>
                      <a:pt x="433" y="478"/>
                      <a:pt x="436" y="474"/>
                    </a:cubicBezTo>
                    <a:cubicBezTo>
                      <a:pt x="436" y="474"/>
                      <a:pt x="440" y="473"/>
                      <a:pt x="440" y="479"/>
                    </a:cubicBezTo>
                    <a:cubicBezTo>
                      <a:pt x="440" y="479"/>
                      <a:pt x="442" y="485"/>
                      <a:pt x="444" y="485"/>
                    </a:cubicBezTo>
                    <a:cubicBezTo>
                      <a:pt x="444" y="485"/>
                      <a:pt x="442" y="506"/>
                      <a:pt x="446" y="506"/>
                    </a:cubicBezTo>
                    <a:cubicBezTo>
                      <a:pt x="446" y="506"/>
                      <a:pt x="448" y="508"/>
                      <a:pt x="450" y="511"/>
                    </a:cubicBezTo>
                    <a:cubicBezTo>
                      <a:pt x="451" y="511"/>
                      <a:pt x="454" y="514"/>
                      <a:pt x="456" y="519"/>
                    </a:cubicBezTo>
                    <a:cubicBezTo>
                      <a:pt x="456" y="519"/>
                      <a:pt x="459" y="528"/>
                      <a:pt x="457" y="530"/>
                    </a:cubicBezTo>
                    <a:cubicBezTo>
                      <a:pt x="457" y="530"/>
                      <a:pt x="469" y="540"/>
                      <a:pt x="469" y="542"/>
                    </a:cubicBezTo>
                    <a:cubicBezTo>
                      <a:pt x="469" y="542"/>
                      <a:pt x="473" y="551"/>
                      <a:pt x="473" y="552"/>
                    </a:cubicBezTo>
                    <a:cubicBezTo>
                      <a:pt x="473" y="552"/>
                      <a:pt x="478" y="552"/>
                      <a:pt x="477" y="564"/>
                    </a:cubicBezTo>
                    <a:cubicBezTo>
                      <a:pt x="477" y="565"/>
                      <a:pt x="482" y="571"/>
                      <a:pt x="482" y="578"/>
                    </a:cubicBezTo>
                    <a:cubicBezTo>
                      <a:pt x="482" y="578"/>
                      <a:pt x="487" y="579"/>
                      <a:pt x="487" y="583"/>
                    </a:cubicBezTo>
                    <a:cubicBezTo>
                      <a:pt x="487" y="583"/>
                      <a:pt x="490" y="590"/>
                      <a:pt x="493" y="590"/>
                    </a:cubicBezTo>
                    <a:cubicBezTo>
                      <a:pt x="493" y="590"/>
                      <a:pt x="500" y="586"/>
                      <a:pt x="502" y="587"/>
                    </a:cubicBezTo>
                    <a:cubicBezTo>
                      <a:pt x="502" y="587"/>
                      <a:pt x="503" y="583"/>
                      <a:pt x="507" y="583"/>
                    </a:cubicBezTo>
                    <a:cubicBezTo>
                      <a:pt x="507" y="583"/>
                      <a:pt x="513" y="579"/>
                      <a:pt x="515" y="582"/>
                    </a:cubicBezTo>
                    <a:cubicBezTo>
                      <a:pt x="515" y="582"/>
                      <a:pt x="523" y="579"/>
                      <a:pt x="523" y="578"/>
                    </a:cubicBezTo>
                    <a:cubicBezTo>
                      <a:pt x="523" y="578"/>
                      <a:pt x="530" y="575"/>
                      <a:pt x="532" y="573"/>
                    </a:cubicBezTo>
                    <a:cubicBezTo>
                      <a:pt x="532" y="574"/>
                      <a:pt x="537" y="571"/>
                      <a:pt x="536" y="566"/>
                    </a:cubicBezTo>
                    <a:cubicBezTo>
                      <a:pt x="536" y="566"/>
                      <a:pt x="539" y="563"/>
                      <a:pt x="539" y="559"/>
                    </a:cubicBezTo>
                    <a:cubicBezTo>
                      <a:pt x="539" y="559"/>
                      <a:pt x="540" y="552"/>
                      <a:pt x="544" y="556"/>
                    </a:cubicBezTo>
                    <a:cubicBezTo>
                      <a:pt x="545" y="556"/>
                      <a:pt x="547" y="553"/>
                      <a:pt x="550" y="553"/>
                    </a:cubicBezTo>
                    <a:cubicBezTo>
                      <a:pt x="550" y="554"/>
                      <a:pt x="553" y="551"/>
                      <a:pt x="553" y="550"/>
                    </a:cubicBezTo>
                    <a:cubicBezTo>
                      <a:pt x="553" y="550"/>
                      <a:pt x="557" y="544"/>
                      <a:pt x="560" y="544"/>
                    </a:cubicBezTo>
                    <a:cubicBezTo>
                      <a:pt x="561" y="545"/>
                      <a:pt x="562" y="540"/>
                      <a:pt x="563" y="540"/>
                    </a:cubicBezTo>
                    <a:cubicBezTo>
                      <a:pt x="564" y="540"/>
                      <a:pt x="565" y="534"/>
                      <a:pt x="565" y="536"/>
                    </a:cubicBezTo>
                    <a:cubicBezTo>
                      <a:pt x="566" y="536"/>
                      <a:pt x="572" y="532"/>
                      <a:pt x="574" y="532"/>
                    </a:cubicBezTo>
                    <a:cubicBezTo>
                      <a:pt x="574" y="533"/>
                      <a:pt x="575" y="526"/>
                      <a:pt x="572" y="526"/>
                    </a:cubicBezTo>
                    <a:cubicBezTo>
                      <a:pt x="572" y="526"/>
                      <a:pt x="571" y="523"/>
                      <a:pt x="572" y="523"/>
                    </a:cubicBezTo>
                    <a:cubicBezTo>
                      <a:pt x="572" y="523"/>
                      <a:pt x="576" y="520"/>
                      <a:pt x="577" y="520"/>
                    </a:cubicBezTo>
                    <a:cubicBezTo>
                      <a:pt x="577" y="520"/>
                      <a:pt x="577" y="514"/>
                      <a:pt x="575" y="514"/>
                    </a:cubicBezTo>
                    <a:cubicBezTo>
                      <a:pt x="575" y="514"/>
                      <a:pt x="573" y="506"/>
                      <a:pt x="576" y="506"/>
                    </a:cubicBezTo>
                    <a:cubicBezTo>
                      <a:pt x="580" y="502"/>
                      <a:pt x="580" y="502"/>
                      <a:pt x="580" y="502"/>
                    </a:cubicBezTo>
                    <a:cubicBezTo>
                      <a:pt x="587" y="494"/>
                      <a:pt x="587" y="494"/>
                      <a:pt x="587" y="494"/>
                    </a:cubicBezTo>
                    <a:cubicBezTo>
                      <a:pt x="592" y="490"/>
                      <a:pt x="592" y="490"/>
                      <a:pt x="592" y="490"/>
                    </a:cubicBezTo>
                    <a:cubicBezTo>
                      <a:pt x="592" y="490"/>
                      <a:pt x="595" y="477"/>
                      <a:pt x="593" y="468"/>
                    </a:cubicBezTo>
                    <a:cubicBezTo>
                      <a:pt x="593" y="468"/>
                      <a:pt x="600" y="466"/>
                      <a:pt x="595" y="465"/>
                    </a:cubicBezTo>
                    <a:cubicBezTo>
                      <a:pt x="594" y="465"/>
                      <a:pt x="599" y="460"/>
                      <a:pt x="594" y="464"/>
                    </a:cubicBezTo>
                    <a:cubicBezTo>
                      <a:pt x="593" y="464"/>
                      <a:pt x="588" y="464"/>
                      <a:pt x="589" y="461"/>
                    </a:cubicBezTo>
                    <a:cubicBezTo>
                      <a:pt x="589" y="462"/>
                      <a:pt x="589" y="454"/>
                      <a:pt x="587" y="455"/>
                    </a:cubicBezTo>
                    <a:cubicBezTo>
                      <a:pt x="586" y="455"/>
                      <a:pt x="588" y="445"/>
                      <a:pt x="585" y="452"/>
                    </a:cubicBezTo>
                    <a:cubicBezTo>
                      <a:pt x="582" y="451"/>
                      <a:pt x="582" y="451"/>
                      <a:pt x="582" y="451"/>
                    </a:cubicBezTo>
                    <a:cubicBezTo>
                      <a:pt x="582" y="451"/>
                      <a:pt x="578" y="451"/>
                      <a:pt x="580" y="447"/>
                    </a:cubicBezTo>
                    <a:cubicBezTo>
                      <a:pt x="580" y="448"/>
                      <a:pt x="580" y="443"/>
                      <a:pt x="584" y="441"/>
                    </a:cubicBezTo>
                    <a:cubicBezTo>
                      <a:pt x="584" y="441"/>
                      <a:pt x="584" y="429"/>
                      <a:pt x="588" y="424"/>
                    </a:cubicBezTo>
                    <a:cubicBezTo>
                      <a:pt x="588" y="425"/>
                      <a:pt x="591" y="422"/>
                      <a:pt x="587" y="419"/>
                    </a:cubicBezTo>
                    <a:cubicBezTo>
                      <a:pt x="587" y="419"/>
                      <a:pt x="582" y="412"/>
                      <a:pt x="583" y="411"/>
                    </a:cubicBezTo>
                    <a:cubicBezTo>
                      <a:pt x="583" y="411"/>
                      <a:pt x="580" y="406"/>
                      <a:pt x="584" y="405"/>
                    </a:cubicBezTo>
                    <a:cubicBezTo>
                      <a:pt x="585" y="405"/>
                      <a:pt x="587" y="408"/>
                      <a:pt x="591" y="405"/>
                    </a:cubicBezTo>
                    <a:cubicBezTo>
                      <a:pt x="591" y="405"/>
                      <a:pt x="598" y="405"/>
                      <a:pt x="599" y="401"/>
                    </a:cubicBezTo>
                    <a:cubicBezTo>
                      <a:pt x="598" y="402"/>
                      <a:pt x="599" y="396"/>
                      <a:pt x="599" y="396"/>
                    </a:cubicBezTo>
                    <a:cubicBezTo>
                      <a:pt x="599" y="394"/>
                      <a:pt x="599" y="394"/>
                      <a:pt x="599" y="394"/>
                    </a:cubicBezTo>
                    <a:cubicBezTo>
                      <a:pt x="599" y="394"/>
                      <a:pt x="596" y="394"/>
                      <a:pt x="599" y="392"/>
                    </a:cubicBezTo>
                    <a:cubicBezTo>
                      <a:pt x="599" y="392"/>
                      <a:pt x="602" y="381"/>
                      <a:pt x="598" y="381"/>
                    </a:cubicBezTo>
                    <a:cubicBezTo>
                      <a:pt x="598" y="381"/>
                      <a:pt x="596" y="369"/>
                      <a:pt x="601" y="372"/>
                    </a:cubicBezTo>
                    <a:cubicBezTo>
                      <a:pt x="601" y="372"/>
                      <a:pt x="606" y="372"/>
                      <a:pt x="606" y="369"/>
                    </a:cubicBezTo>
                    <a:cubicBezTo>
                      <a:pt x="606" y="369"/>
                      <a:pt x="598" y="365"/>
                      <a:pt x="606" y="365"/>
                    </a:cubicBezTo>
                    <a:cubicBezTo>
                      <a:pt x="606" y="365"/>
                      <a:pt x="611" y="363"/>
                      <a:pt x="610" y="361"/>
                    </a:cubicBezTo>
                    <a:cubicBezTo>
                      <a:pt x="610" y="361"/>
                      <a:pt x="615" y="354"/>
                      <a:pt x="611" y="354"/>
                    </a:cubicBezTo>
                    <a:close/>
                    <a:moveTo>
                      <a:pt x="375" y="180"/>
                    </a:moveTo>
                    <a:cubicBezTo>
                      <a:pt x="375" y="181"/>
                      <a:pt x="373" y="185"/>
                      <a:pt x="372" y="186"/>
                    </a:cubicBezTo>
                    <a:cubicBezTo>
                      <a:pt x="372" y="186"/>
                      <a:pt x="371" y="190"/>
                      <a:pt x="369" y="186"/>
                    </a:cubicBezTo>
                    <a:cubicBezTo>
                      <a:pt x="368" y="186"/>
                      <a:pt x="368" y="181"/>
                      <a:pt x="365" y="181"/>
                    </a:cubicBezTo>
                    <a:cubicBezTo>
                      <a:pt x="365" y="181"/>
                      <a:pt x="360" y="178"/>
                      <a:pt x="364" y="177"/>
                    </a:cubicBezTo>
                    <a:cubicBezTo>
                      <a:pt x="364" y="177"/>
                      <a:pt x="365" y="173"/>
                      <a:pt x="368" y="172"/>
                    </a:cubicBezTo>
                    <a:cubicBezTo>
                      <a:pt x="367" y="172"/>
                      <a:pt x="369" y="170"/>
                      <a:pt x="370" y="170"/>
                    </a:cubicBezTo>
                    <a:cubicBezTo>
                      <a:pt x="370" y="170"/>
                      <a:pt x="371" y="167"/>
                      <a:pt x="373" y="167"/>
                    </a:cubicBezTo>
                    <a:cubicBezTo>
                      <a:pt x="373" y="167"/>
                      <a:pt x="377" y="161"/>
                      <a:pt x="377" y="167"/>
                    </a:cubicBezTo>
                    <a:cubicBezTo>
                      <a:pt x="377" y="167"/>
                      <a:pt x="381" y="166"/>
                      <a:pt x="380" y="172"/>
                    </a:cubicBezTo>
                    <a:cubicBezTo>
                      <a:pt x="380" y="173"/>
                      <a:pt x="380" y="178"/>
                      <a:pt x="380" y="178"/>
                    </a:cubicBezTo>
                    <a:cubicBezTo>
                      <a:pt x="380" y="178"/>
                      <a:pt x="383" y="178"/>
                      <a:pt x="384" y="178"/>
                    </a:cubicBezTo>
                    <a:cubicBezTo>
                      <a:pt x="384" y="178"/>
                      <a:pt x="384" y="170"/>
                      <a:pt x="386" y="177"/>
                    </a:cubicBezTo>
                    <a:cubicBezTo>
                      <a:pt x="386" y="177"/>
                      <a:pt x="389" y="173"/>
                      <a:pt x="394" y="174"/>
                    </a:cubicBezTo>
                    <a:cubicBezTo>
                      <a:pt x="393" y="174"/>
                      <a:pt x="396" y="172"/>
                      <a:pt x="396" y="172"/>
                    </a:cubicBezTo>
                    <a:cubicBezTo>
                      <a:pt x="396" y="172"/>
                      <a:pt x="399" y="167"/>
                      <a:pt x="401" y="167"/>
                    </a:cubicBezTo>
                    <a:cubicBezTo>
                      <a:pt x="401" y="167"/>
                      <a:pt x="404" y="159"/>
                      <a:pt x="405" y="160"/>
                    </a:cubicBezTo>
                    <a:cubicBezTo>
                      <a:pt x="405" y="160"/>
                      <a:pt x="407" y="157"/>
                      <a:pt x="411" y="158"/>
                    </a:cubicBezTo>
                    <a:cubicBezTo>
                      <a:pt x="411" y="158"/>
                      <a:pt x="413" y="149"/>
                      <a:pt x="415" y="151"/>
                    </a:cubicBezTo>
                    <a:cubicBezTo>
                      <a:pt x="415" y="151"/>
                      <a:pt x="420" y="151"/>
                      <a:pt x="419" y="156"/>
                    </a:cubicBezTo>
                    <a:cubicBezTo>
                      <a:pt x="419" y="157"/>
                      <a:pt x="424" y="157"/>
                      <a:pt x="424" y="160"/>
                    </a:cubicBezTo>
                    <a:cubicBezTo>
                      <a:pt x="424" y="160"/>
                      <a:pt x="430" y="161"/>
                      <a:pt x="429" y="167"/>
                    </a:cubicBezTo>
                    <a:cubicBezTo>
                      <a:pt x="429" y="167"/>
                      <a:pt x="430" y="170"/>
                      <a:pt x="427" y="172"/>
                    </a:cubicBezTo>
                    <a:cubicBezTo>
                      <a:pt x="427" y="172"/>
                      <a:pt x="424" y="174"/>
                      <a:pt x="424" y="176"/>
                    </a:cubicBezTo>
                    <a:cubicBezTo>
                      <a:pt x="424" y="177"/>
                      <a:pt x="422" y="179"/>
                      <a:pt x="423" y="182"/>
                    </a:cubicBezTo>
                    <a:cubicBezTo>
                      <a:pt x="423" y="183"/>
                      <a:pt x="420" y="186"/>
                      <a:pt x="419" y="184"/>
                    </a:cubicBezTo>
                    <a:cubicBezTo>
                      <a:pt x="418" y="185"/>
                      <a:pt x="414" y="187"/>
                      <a:pt x="413" y="184"/>
                    </a:cubicBezTo>
                    <a:cubicBezTo>
                      <a:pt x="412" y="184"/>
                      <a:pt x="409" y="182"/>
                      <a:pt x="408" y="179"/>
                    </a:cubicBezTo>
                    <a:cubicBezTo>
                      <a:pt x="408" y="179"/>
                      <a:pt x="400" y="171"/>
                      <a:pt x="395" y="182"/>
                    </a:cubicBezTo>
                    <a:cubicBezTo>
                      <a:pt x="395" y="182"/>
                      <a:pt x="387" y="185"/>
                      <a:pt x="383" y="181"/>
                    </a:cubicBezTo>
                    <a:cubicBezTo>
                      <a:pt x="382" y="182"/>
                      <a:pt x="380" y="178"/>
                      <a:pt x="375" y="180"/>
                    </a:cubicBezTo>
                    <a:close/>
                  </a:path>
                </a:pathLst>
              </a:custGeom>
              <a:solidFill>
                <a:schemeClr val="bg2"/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6" name="Freeform 235">
                <a:extLst>
                  <a:ext uri="{FF2B5EF4-FFF2-40B4-BE49-F238E27FC236}">
                    <a16:creationId xmlns:a16="http://schemas.microsoft.com/office/drawing/2014/main" id="{AF9E4707-3F9C-E463-1ABF-3180BD46B53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231776" y="1852888"/>
                <a:ext cx="1186250" cy="1154517"/>
              </a:xfrm>
              <a:custGeom>
                <a:avLst/>
                <a:gdLst>
                  <a:gd name="T0" fmla="*/ 347 w 374"/>
                  <a:gd name="T1" fmla="*/ 218 h 363"/>
                  <a:gd name="T2" fmla="*/ 342 w 374"/>
                  <a:gd name="T3" fmla="*/ 183 h 363"/>
                  <a:gd name="T4" fmla="*/ 332 w 374"/>
                  <a:gd name="T5" fmla="*/ 156 h 363"/>
                  <a:gd name="T6" fmla="*/ 333 w 374"/>
                  <a:gd name="T7" fmla="*/ 130 h 363"/>
                  <a:gd name="T8" fmla="*/ 326 w 374"/>
                  <a:gd name="T9" fmla="*/ 104 h 363"/>
                  <a:gd name="T10" fmla="*/ 337 w 374"/>
                  <a:gd name="T11" fmla="*/ 79 h 363"/>
                  <a:gd name="T12" fmla="*/ 347 w 374"/>
                  <a:gd name="T13" fmla="*/ 60 h 363"/>
                  <a:gd name="T14" fmla="*/ 351 w 374"/>
                  <a:gd name="T15" fmla="*/ 38 h 363"/>
                  <a:gd name="T16" fmla="*/ 326 w 374"/>
                  <a:gd name="T17" fmla="*/ 41 h 363"/>
                  <a:gd name="T18" fmla="*/ 293 w 374"/>
                  <a:gd name="T19" fmla="*/ 15 h 363"/>
                  <a:gd name="T20" fmla="*/ 266 w 374"/>
                  <a:gd name="T21" fmla="*/ 7 h 363"/>
                  <a:gd name="T22" fmla="*/ 240 w 374"/>
                  <a:gd name="T23" fmla="*/ 5 h 363"/>
                  <a:gd name="T24" fmla="*/ 213 w 374"/>
                  <a:gd name="T25" fmla="*/ 26 h 363"/>
                  <a:gd name="T26" fmla="*/ 186 w 374"/>
                  <a:gd name="T27" fmla="*/ 45 h 363"/>
                  <a:gd name="T28" fmla="*/ 155 w 374"/>
                  <a:gd name="T29" fmla="*/ 49 h 363"/>
                  <a:gd name="T30" fmla="*/ 118 w 374"/>
                  <a:gd name="T31" fmla="*/ 48 h 363"/>
                  <a:gd name="T32" fmla="*/ 98 w 374"/>
                  <a:gd name="T33" fmla="*/ 31 h 363"/>
                  <a:gd name="T34" fmla="*/ 62 w 374"/>
                  <a:gd name="T35" fmla="*/ 24 h 363"/>
                  <a:gd name="T36" fmla="*/ 29 w 374"/>
                  <a:gd name="T37" fmla="*/ 45 h 363"/>
                  <a:gd name="T38" fmla="*/ 2 w 374"/>
                  <a:gd name="T39" fmla="*/ 56 h 363"/>
                  <a:gd name="T40" fmla="*/ 23 w 374"/>
                  <a:gd name="T41" fmla="*/ 66 h 363"/>
                  <a:gd name="T42" fmla="*/ 45 w 374"/>
                  <a:gd name="T43" fmla="*/ 83 h 363"/>
                  <a:gd name="T44" fmla="*/ 62 w 374"/>
                  <a:gd name="T45" fmla="*/ 60 h 363"/>
                  <a:gd name="T46" fmla="*/ 78 w 374"/>
                  <a:gd name="T47" fmla="*/ 73 h 363"/>
                  <a:gd name="T48" fmla="*/ 90 w 374"/>
                  <a:gd name="T49" fmla="*/ 89 h 363"/>
                  <a:gd name="T50" fmla="*/ 113 w 374"/>
                  <a:gd name="T51" fmla="*/ 102 h 363"/>
                  <a:gd name="T52" fmla="*/ 125 w 374"/>
                  <a:gd name="T53" fmla="*/ 115 h 363"/>
                  <a:gd name="T54" fmla="*/ 123 w 374"/>
                  <a:gd name="T55" fmla="*/ 145 h 363"/>
                  <a:gd name="T56" fmla="*/ 142 w 374"/>
                  <a:gd name="T57" fmla="*/ 157 h 363"/>
                  <a:gd name="T58" fmla="*/ 145 w 374"/>
                  <a:gd name="T59" fmla="*/ 194 h 363"/>
                  <a:gd name="T60" fmla="*/ 130 w 374"/>
                  <a:gd name="T61" fmla="*/ 215 h 363"/>
                  <a:gd name="T62" fmla="*/ 94 w 374"/>
                  <a:gd name="T63" fmla="*/ 206 h 363"/>
                  <a:gd name="T64" fmla="*/ 69 w 374"/>
                  <a:gd name="T65" fmla="*/ 229 h 363"/>
                  <a:gd name="T66" fmla="*/ 54 w 374"/>
                  <a:gd name="T67" fmla="*/ 256 h 363"/>
                  <a:gd name="T68" fmla="*/ 49 w 374"/>
                  <a:gd name="T69" fmla="*/ 270 h 363"/>
                  <a:gd name="T70" fmla="*/ 69 w 374"/>
                  <a:gd name="T71" fmla="*/ 282 h 363"/>
                  <a:gd name="T72" fmla="*/ 105 w 374"/>
                  <a:gd name="T73" fmla="*/ 282 h 363"/>
                  <a:gd name="T74" fmla="*/ 112 w 374"/>
                  <a:gd name="T75" fmla="*/ 263 h 363"/>
                  <a:gd name="T76" fmla="*/ 140 w 374"/>
                  <a:gd name="T77" fmla="*/ 261 h 363"/>
                  <a:gd name="T78" fmla="*/ 167 w 374"/>
                  <a:gd name="T79" fmla="*/ 275 h 363"/>
                  <a:gd name="T80" fmla="*/ 189 w 374"/>
                  <a:gd name="T81" fmla="*/ 271 h 363"/>
                  <a:gd name="T82" fmla="*/ 220 w 374"/>
                  <a:gd name="T83" fmla="*/ 274 h 363"/>
                  <a:gd name="T84" fmla="*/ 218 w 374"/>
                  <a:gd name="T85" fmla="*/ 291 h 363"/>
                  <a:gd name="T86" fmla="*/ 246 w 374"/>
                  <a:gd name="T87" fmla="*/ 275 h 363"/>
                  <a:gd name="T88" fmla="*/ 270 w 374"/>
                  <a:gd name="T89" fmla="*/ 252 h 363"/>
                  <a:gd name="T90" fmla="*/ 288 w 374"/>
                  <a:gd name="T91" fmla="*/ 264 h 363"/>
                  <a:gd name="T92" fmla="*/ 296 w 374"/>
                  <a:gd name="T93" fmla="*/ 289 h 363"/>
                  <a:gd name="T94" fmla="*/ 303 w 374"/>
                  <a:gd name="T95" fmla="*/ 316 h 363"/>
                  <a:gd name="T96" fmla="*/ 314 w 374"/>
                  <a:gd name="T97" fmla="*/ 344 h 363"/>
                  <a:gd name="T98" fmla="*/ 326 w 374"/>
                  <a:gd name="T99" fmla="*/ 360 h 363"/>
                  <a:gd name="T100" fmla="*/ 340 w 374"/>
                  <a:gd name="T101" fmla="*/ 331 h 363"/>
                  <a:gd name="T102" fmla="*/ 338 w 374"/>
                  <a:gd name="T103" fmla="*/ 298 h 363"/>
                  <a:gd name="T104" fmla="*/ 342 w 374"/>
                  <a:gd name="T105" fmla="*/ 267 h 363"/>
                  <a:gd name="T106" fmla="*/ 353 w 374"/>
                  <a:gd name="T107" fmla="*/ 242 h 363"/>
                  <a:gd name="T108" fmla="*/ 361 w 374"/>
                  <a:gd name="T109" fmla="*/ 228 h 36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74"/>
                  <a:gd name="T166" fmla="*/ 0 h 363"/>
                  <a:gd name="T167" fmla="*/ 374 w 374"/>
                  <a:gd name="T168" fmla="*/ 363 h 36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74" h="363">
                    <a:moveTo>
                      <a:pt x="365" y="217"/>
                    </a:moveTo>
                    <a:cubicBezTo>
                      <a:pt x="363" y="218"/>
                      <a:pt x="362" y="220"/>
                      <a:pt x="362" y="220"/>
                    </a:cubicBezTo>
                    <a:cubicBezTo>
                      <a:pt x="361" y="222"/>
                      <a:pt x="353" y="221"/>
                      <a:pt x="353" y="221"/>
                    </a:cubicBezTo>
                    <a:cubicBezTo>
                      <a:pt x="351" y="223"/>
                      <a:pt x="349" y="224"/>
                      <a:pt x="349" y="223"/>
                    </a:cubicBezTo>
                    <a:cubicBezTo>
                      <a:pt x="346" y="223"/>
                      <a:pt x="348" y="219"/>
                      <a:pt x="347" y="218"/>
                    </a:cubicBezTo>
                    <a:cubicBezTo>
                      <a:pt x="349" y="218"/>
                      <a:pt x="349" y="214"/>
                      <a:pt x="349" y="214"/>
                    </a:cubicBezTo>
                    <a:cubicBezTo>
                      <a:pt x="347" y="210"/>
                      <a:pt x="344" y="210"/>
                      <a:pt x="344" y="210"/>
                    </a:cubicBezTo>
                    <a:cubicBezTo>
                      <a:pt x="341" y="208"/>
                      <a:pt x="346" y="202"/>
                      <a:pt x="346" y="202"/>
                    </a:cubicBezTo>
                    <a:cubicBezTo>
                      <a:pt x="347" y="201"/>
                      <a:pt x="346" y="190"/>
                      <a:pt x="346" y="190"/>
                    </a:cubicBezTo>
                    <a:cubicBezTo>
                      <a:pt x="342" y="190"/>
                      <a:pt x="342" y="183"/>
                      <a:pt x="342" y="183"/>
                    </a:cubicBezTo>
                    <a:cubicBezTo>
                      <a:pt x="338" y="183"/>
                      <a:pt x="338" y="176"/>
                      <a:pt x="338" y="176"/>
                    </a:cubicBezTo>
                    <a:cubicBezTo>
                      <a:pt x="342" y="174"/>
                      <a:pt x="337" y="169"/>
                      <a:pt x="338" y="169"/>
                    </a:cubicBezTo>
                    <a:cubicBezTo>
                      <a:pt x="336" y="170"/>
                      <a:pt x="331" y="167"/>
                      <a:pt x="331" y="167"/>
                    </a:cubicBezTo>
                    <a:cubicBezTo>
                      <a:pt x="319" y="167"/>
                      <a:pt x="330" y="163"/>
                      <a:pt x="330" y="162"/>
                    </a:cubicBezTo>
                    <a:cubicBezTo>
                      <a:pt x="334" y="163"/>
                      <a:pt x="333" y="156"/>
                      <a:pt x="332" y="156"/>
                    </a:cubicBezTo>
                    <a:cubicBezTo>
                      <a:pt x="332" y="155"/>
                      <a:pt x="337" y="152"/>
                      <a:pt x="337" y="152"/>
                    </a:cubicBezTo>
                    <a:cubicBezTo>
                      <a:pt x="338" y="146"/>
                      <a:pt x="334" y="144"/>
                      <a:pt x="334" y="144"/>
                    </a:cubicBezTo>
                    <a:cubicBezTo>
                      <a:pt x="329" y="144"/>
                      <a:pt x="334" y="141"/>
                      <a:pt x="334" y="140"/>
                    </a:cubicBezTo>
                    <a:cubicBezTo>
                      <a:pt x="339" y="139"/>
                      <a:pt x="333" y="137"/>
                      <a:pt x="333" y="136"/>
                    </a:cubicBezTo>
                    <a:cubicBezTo>
                      <a:pt x="331" y="135"/>
                      <a:pt x="334" y="130"/>
                      <a:pt x="333" y="130"/>
                    </a:cubicBezTo>
                    <a:cubicBezTo>
                      <a:pt x="335" y="128"/>
                      <a:pt x="333" y="126"/>
                      <a:pt x="333" y="125"/>
                    </a:cubicBezTo>
                    <a:cubicBezTo>
                      <a:pt x="333" y="121"/>
                      <a:pt x="330" y="121"/>
                      <a:pt x="330" y="121"/>
                    </a:cubicBezTo>
                    <a:cubicBezTo>
                      <a:pt x="324" y="117"/>
                      <a:pt x="328" y="116"/>
                      <a:pt x="328" y="116"/>
                    </a:cubicBezTo>
                    <a:cubicBezTo>
                      <a:pt x="331" y="115"/>
                      <a:pt x="331" y="110"/>
                      <a:pt x="331" y="109"/>
                    </a:cubicBezTo>
                    <a:cubicBezTo>
                      <a:pt x="331" y="105"/>
                      <a:pt x="326" y="104"/>
                      <a:pt x="326" y="104"/>
                    </a:cubicBezTo>
                    <a:cubicBezTo>
                      <a:pt x="323" y="104"/>
                      <a:pt x="324" y="96"/>
                      <a:pt x="324" y="96"/>
                    </a:cubicBezTo>
                    <a:cubicBezTo>
                      <a:pt x="320" y="91"/>
                      <a:pt x="324" y="87"/>
                      <a:pt x="324" y="87"/>
                    </a:cubicBezTo>
                    <a:cubicBezTo>
                      <a:pt x="322" y="83"/>
                      <a:pt x="328" y="82"/>
                      <a:pt x="328" y="82"/>
                    </a:cubicBezTo>
                    <a:cubicBezTo>
                      <a:pt x="329" y="85"/>
                      <a:pt x="333" y="82"/>
                      <a:pt x="333" y="82"/>
                    </a:cubicBezTo>
                    <a:cubicBezTo>
                      <a:pt x="331" y="78"/>
                      <a:pt x="337" y="79"/>
                      <a:pt x="337" y="79"/>
                    </a:cubicBezTo>
                    <a:cubicBezTo>
                      <a:pt x="334" y="71"/>
                      <a:pt x="338" y="72"/>
                      <a:pt x="338" y="72"/>
                    </a:cubicBezTo>
                    <a:cubicBezTo>
                      <a:pt x="339" y="75"/>
                      <a:pt x="342" y="72"/>
                      <a:pt x="342" y="72"/>
                    </a:cubicBezTo>
                    <a:cubicBezTo>
                      <a:pt x="342" y="68"/>
                      <a:pt x="345" y="68"/>
                      <a:pt x="345" y="68"/>
                    </a:cubicBezTo>
                    <a:cubicBezTo>
                      <a:pt x="348" y="68"/>
                      <a:pt x="347" y="64"/>
                      <a:pt x="347" y="64"/>
                    </a:cubicBezTo>
                    <a:cubicBezTo>
                      <a:pt x="341" y="62"/>
                      <a:pt x="347" y="60"/>
                      <a:pt x="347" y="60"/>
                    </a:cubicBezTo>
                    <a:cubicBezTo>
                      <a:pt x="347" y="57"/>
                      <a:pt x="353" y="59"/>
                      <a:pt x="353" y="59"/>
                    </a:cubicBezTo>
                    <a:cubicBezTo>
                      <a:pt x="360" y="61"/>
                      <a:pt x="353" y="56"/>
                      <a:pt x="353" y="56"/>
                    </a:cubicBezTo>
                    <a:cubicBezTo>
                      <a:pt x="351" y="51"/>
                      <a:pt x="354" y="49"/>
                      <a:pt x="354" y="49"/>
                    </a:cubicBezTo>
                    <a:cubicBezTo>
                      <a:pt x="355" y="48"/>
                      <a:pt x="354" y="45"/>
                      <a:pt x="354" y="41"/>
                    </a:cubicBezTo>
                    <a:cubicBezTo>
                      <a:pt x="351" y="38"/>
                      <a:pt x="351" y="38"/>
                      <a:pt x="351" y="38"/>
                    </a:cubicBezTo>
                    <a:cubicBezTo>
                      <a:pt x="351" y="38"/>
                      <a:pt x="350" y="36"/>
                      <a:pt x="348" y="36"/>
                    </a:cubicBezTo>
                    <a:cubicBezTo>
                      <a:pt x="349" y="37"/>
                      <a:pt x="346" y="33"/>
                      <a:pt x="342" y="33"/>
                    </a:cubicBezTo>
                    <a:cubicBezTo>
                      <a:pt x="342" y="34"/>
                      <a:pt x="339" y="38"/>
                      <a:pt x="339" y="38"/>
                    </a:cubicBezTo>
                    <a:cubicBezTo>
                      <a:pt x="339" y="38"/>
                      <a:pt x="335" y="48"/>
                      <a:pt x="334" y="41"/>
                    </a:cubicBezTo>
                    <a:cubicBezTo>
                      <a:pt x="326" y="41"/>
                      <a:pt x="326" y="41"/>
                      <a:pt x="326" y="41"/>
                    </a:cubicBezTo>
                    <a:cubicBezTo>
                      <a:pt x="326" y="41"/>
                      <a:pt x="327" y="37"/>
                      <a:pt x="310" y="39"/>
                    </a:cubicBezTo>
                    <a:cubicBezTo>
                      <a:pt x="310" y="39"/>
                      <a:pt x="304" y="32"/>
                      <a:pt x="301" y="32"/>
                    </a:cubicBezTo>
                    <a:cubicBezTo>
                      <a:pt x="302" y="32"/>
                      <a:pt x="301" y="29"/>
                      <a:pt x="299" y="29"/>
                    </a:cubicBezTo>
                    <a:cubicBezTo>
                      <a:pt x="299" y="29"/>
                      <a:pt x="293" y="26"/>
                      <a:pt x="293" y="24"/>
                    </a:cubicBezTo>
                    <a:cubicBezTo>
                      <a:pt x="293" y="15"/>
                      <a:pt x="293" y="15"/>
                      <a:pt x="293" y="15"/>
                    </a:cubicBezTo>
                    <a:cubicBezTo>
                      <a:pt x="293" y="15"/>
                      <a:pt x="296" y="11"/>
                      <a:pt x="293" y="10"/>
                    </a:cubicBezTo>
                    <a:cubicBezTo>
                      <a:pt x="292" y="10"/>
                      <a:pt x="289" y="7"/>
                      <a:pt x="281" y="8"/>
                    </a:cubicBezTo>
                    <a:cubicBezTo>
                      <a:pt x="281" y="8"/>
                      <a:pt x="278" y="12"/>
                      <a:pt x="277" y="8"/>
                    </a:cubicBezTo>
                    <a:cubicBezTo>
                      <a:pt x="276" y="8"/>
                      <a:pt x="276" y="6"/>
                      <a:pt x="269" y="5"/>
                    </a:cubicBezTo>
                    <a:cubicBezTo>
                      <a:pt x="269" y="5"/>
                      <a:pt x="266" y="7"/>
                      <a:pt x="266" y="7"/>
                    </a:cubicBezTo>
                    <a:cubicBezTo>
                      <a:pt x="266" y="8"/>
                      <a:pt x="261" y="8"/>
                      <a:pt x="262" y="10"/>
                    </a:cubicBezTo>
                    <a:cubicBezTo>
                      <a:pt x="262" y="10"/>
                      <a:pt x="259" y="15"/>
                      <a:pt x="257" y="10"/>
                    </a:cubicBezTo>
                    <a:cubicBezTo>
                      <a:pt x="257" y="10"/>
                      <a:pt x="257" y="2"/>
                      <a:pt x="254" y="3"/>
                    </a:cubicBezTo>
                    <a:cubicBezTo>
                      <a:pt x="254" y="3"/>
                      <a:pt x="256" y="0"/>
                      <a:pt x="244" y="1"/>
                    </a:cubicBezTo>
                    <a:cubicBezTo>
                      <a:pt x="244" y="1"/>
                      <a:pt x="242" y="3"/>
                      <a:pt x="240" y="5"/>
                    </a:cubicBezTo>
                    <a:cubicBezTo>
                      <a:pt x="239" y="6"/>
                      <a:pt x="238" y="7"/>
                      <a:pt x="237" y="12"/>
                    </a:cubicBezTo>
                    <a:cubicBezTo>
                      <a:pt x="237" y="13"/>
                      <a:pt x="228" y="13"/>
                      <a:pt x="228" y="18"/>
                    </a:cubicBezTo>
                    <a:cubicBezTo>
                      <a:pt x="228" y="18"/>
                      <a:pt x="224" y="21"/>
                      <a:pt x="224" y="18"/>
                    </a:cubicBezTo>
                    <a:cubicBezTo>
                      <a:pt x="224" y="18"/>
                      <a:pt x="219" y="16"/>
                      <a:pt x="219" y="20"/>
                    </a:cubicBezTo>
                    <a:cubicBezTo>
                      <a:pt x="219" y="21"/>
                      <a:pt x="212" y="18"/>
                      <a:pt x="213" y="26"/>
                    </a:cubicBezTo>
                    <a:cubicBezTo>
                      <a:pt x="214" y="26"/>
                      <a:pt x="199" y="27"/>
                      <a:pt x="199" y="27"/>
                    </a:cubicBezTo>
                    <a:cubicBezTo>
                      <a:pt x="199" y="27"/>
                      <a:pt x="195" y="30"/>
                      <a:pt x="195" y="31"/>
                    </a:cubicBezTo>
                    <a:cubicBezTo>
                      <a:pt x="195" y="32"/>
                      <a:pt x="195" y="41"/>
                      <a:pt x="195" y="41"/>
                    </a:cubicBezTo>
                    <a:cubicBezTo>
                      <a:pt x="189" y="45"/>
                      <a:pt x="189" y="45"/>
                      <a:pt x="189" y="45"/>
                    </a:cubicBezTo>
                    <a:cubicBezTo>
                      <a:pt x="186" y="45"/>
                      <a:pt x="186" y="45"/>
                      <a:pt x="186" y="45"/>
                    </a:cubicBezTo>
                    <a:cubicBezTo>
                      <a:pt x="183" y="43"/>
                      <a:pt x="183" y="43"/>
                      <a:pt x="183" y="43"/>
                    </a:cubicBezTo>
                    <a:cubicBezTo>
                      <a:pt x="178" y="41"/>
                      <a:pt x="178" y="41"/>
                      <a:pt x="178" y="41"/>
                    </a:cubicBezTo>
                    <a:cubicBezTo>
                      <a:pt x="170" y="41"/>
                      <a:pt x="170" y="41"/>
                      <a:pt x="170" y="41"/>
                    </a:cubicBezTo>
                    <a:cubicBezTo>
                      <a:pt x="166" y="48"/>
                      <a:pt x="166" y="48"/>
                      <a:pt x="166" y="48"/>
                    </a:cubicBezTo>
                    <a:cubicBezTo>
                      <a:pt x="155" y="49"/>
                      <a:pt x="155" y="49"/>
                      <a:pt x="155" y="49"/>
                    </a:cubicBezTo>
                    <a:cubicBezTo>
                      <a:pt x="155" y="49"/>
                      <a:pt x="153" y="52"/>
                      <a:pt x="151" y="49"/>
                    </a:cubicBezTo>
                    <a:cubicBezTo>
                      <a:pt x="148" y="48"/>
                      <a:pt x="148" y="48"/>
                      <a:pt x="148" y="48"/>
                    </a:cubicBezTo>
                    <a:cubicBezTo>
                      <a:pt x="148" y="48"/>
                      <a:pt x="144" y="45"/>
                      <a:pt x="131" y="45"/>
                    </a:cubicBezTo>
                    <a:cubicBezTo>
                      <a:pt x="131" y="46"/>
                      <a:pt x="128" y="42"/>
                      <a:pt x="123" y="44"/>
                    </a:cubicBezTo>
                    <a:cubicBezTo>
                      <a:pt x="118" y="48"/>
                      <a:pt x="118" y="48"/>
                      <a:pt x="118" y="48"/>
                    </a:cubicBezTo>
                    <a:cubicBezTo>
                      <a:pt x="118" y="48"/>
                      <a:pt x="113" y="57"/>
                      <a:pt x="112" y="51"/>
                    </a:cubicBezTo>
                    <a:cubicBezTo>
                      <a:pt x="112" y="51"/>
                      <a:pt x="108" y="50"/>
                      <a:pt x="101" y="50"/>
                    </a:cubicBezTo>
                    <a:cubicBezTo>
                      <a:pt x="101" y="50"/>
                      <a:pt x="99" y="48"/>
                      <a:pt x="97" y="48"/>
                    </a:cubicBezTo>
                    <a:cubicBezTo>
                      <a:pt x="98" y="48"/>
                      <a:pt x="98" y="38"/>
                      <a:pt x="99" y="38"/>
                    </a:cubicBezTo>
                    <a:cubicBezTo>
                      <a:pt x="99" y="38"/>
                      <a:pt x="101" y="32"/>
                      <a:pt x="98" y="31"/>
                    </a:cubicBezTo>
                    <a:cubicBezTo>
                      <a:pt x="98" y="32"/>
                      <a:pt x="94" y="26"/>
                      <a:pt x="94" y="26"/>
                    </a:cubicBezTo>
                    <a:cubicBezTo>
                      <a:pt x="94" y="24"/>
                      <a:pt x="94" y="24"/>
                      <a:pt x="94" y="24"/>
                    </a:cubicBezTo>
                    <a:cubicBezTo>
                      <a:pt x="94" y="24"/>
                      <a:pt x="90" y="19"/>
                      <a:pt x="86" y="18"/>
                    </a:cubicBezTo>
                    <a:cubicBezTo>
                      <a:pt x="86" y="19"/>
                      <a:pt x="72" y="20"/>
                      <a:pt x="72" y="20"/>
                    </a:cubicBezTo>
                    <a:cubicBezTo>
                      <a:pt x="72" y="20"/>
                      <a:pt x="67" y="27"/>
                      <a:pt x="62" y="24"/>
                    </a:cubicBezTo>
                    <a:cubicBezTo>
                      <a:pt x="62" y="24"/>
                      <a:pt x="61" y="15"/>
                      <a:pt x="52" y="22"/>
                    </a:cubicBezTo>
                    <a:cubicBezTo>
                      <a:pt x="52" y="22"/>
                      <a:pt x="49" y="26"/>
                      <a:pt x="49" y="26"/>
                    </a:cubicBezTo>
                    <a:cubicBezTo>
                      <a:pt x="49" y="31"/>
                      <a:pt x="49" y="31"/>
                      <a:pt x="49" y="31"/>
                    </a:cubicBezTo>
                    <a:cubicBezTo>
                      <a:pt x="49" y="31"/>
                      <a:pt x="40" y="43"/>
                      <a:pt x="37" y="43"/>
                    </a:cubicBezTo>
                    <a:cubicBezTo>
                      <a:pt x="37" y="43"/>
                      <a:pt x="28" y="43"/>
                      <a:pt x="29" y="45"/>
                    </a:cubicBezTo>
                    <a:cubicBezTo>
                      <a:pt x="29" y="45"/>
                      <a:pt x="19" y="47"/>
                      <a:pt x="21" y="49"/>
                    </a:cubicBezTo>
                    <a:cubicBezTo>
                      <a:pt x="18" y="50"/>
                      <a:pt x="18" y="50"/>
                      <a:pt x="18" y="50"/>
                    </a:cubicBezTo>
                    <a:cubicBezTo>
                      <a:pt x="5" y="51"/>
                      <a:pt x="5" y="51"/>
                      <a:pt x="5" y="51"/>
                    </a:cubicBezTo>
                    <a:cubicBezTo>
                      <a:pt x="5" y="51"/>
                      <a:pt x="0" y="51"/>
                      <a:pt x="2" y="56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3" y="57"/>
                      <a:pt x="4" y="58"/>
                      <a:pt x="4" y="58"/>
                    </a:cubicBezTo>
                    <a:cubicBezTo>
                      <a:pt x="6" y="58"/>
                      <a:pt x="6" y="60"/>
                      <a:pt x="6" y="60"/>
                    </a:cubicBezTo>
                    <a:cubicBezTo>
                      <a:pt x="8" y="60"/>
                      <a:pt x="9" y="63"/>
                      <a:pt x="9" y="63"/>
                    </a:cubicBezTo>
                    <a:cubicBezTo>
                      <a:pt x="10" y="63"/>
                      <a:pt x="12" y="65"/>
                      <a:pt x="12" y="65"/>
                    </a:cubicBezTo>
                    <a:cubicBezTo>
                      <a:pt x="14" y="64"/>
                      <a:pt x="23" y="66"/>
                      <a:pt x="23" y="66"/>
                    </a:cubicBezTo>
                    <a:cubicBezTo>
                      <a:pt x="22" y="68"/>
                      <a:pt x="28" y="68"/>
                      <a:pt x="27" y="68"/>
                    </a:cubicBezTo>
                    <a:cubicBezTo>
                      <a:pt x="29" y="68"/>
                      <a:pt x="33" y="70"/>
                      <a:pt x="33" y="70"/>
                    </a:cubicBezTo>
                    <a:cubicBezTo>
                      <a:pt x="37" y="69"/>
                      <a:pt x="36" y="81"/>
                      <a:pt x="36" y="81"/>
                    </a:cubicBezTo>
                    <a:cubicBezTo>
                      <a:pt x="36" y="84"/>
                      <a:pt x="40" y="84"/>
                      <a:pt x="40" y="84"/>
                    </a:cubicBezTo>
                    <a:cubicBezTo>
                      <a:pt x="41" y="85"/>
                      <a:pt x="44" y="83"/>
                      <a:pt x="45" y="83"/>
                    </a:cubicBezTo>
                    <a:cubicBezTo>
                      <a:pt x="47" y="83"/>
                      <a:pt x="49" y="79"/>
                      <a:pt x="50" y="79"/>
                    </a:cubicBezTo>
                    <a:cubicBezTo>
                      <a:pt x="53" y="75"/>
                      <a:pt x="53" y="75"/>
                      <a:pt x="53" y="75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56" y="73"/>
                      <a:pt x="58" y="64"/>
                      <a:pt x="59" y="63"/>
                    </a:cubicBezTo>
                    <a:cubicBezTo>
                      <a:pt x="59" y="60"/>
                      <a:pt x="62" y="61"/>
                      <a:pt x="62" y="60"/>
                    </a:cubicBezTo>
                    <a:cubicBezTo>
                      <a:pt x="64" y="65"/>
                      <a:pt x="66" y="60"/>
                      <a:pt x="66" y="60"/>
                    </a:cubicBezTo>
                    <a:cubicBezTo>
                      <a:pt x="68" y="60"/>
                      <a:pt x="69" y="63"/>
                      <a:pt x="69" y="63"/>
                    </a:cubicBezTo>
                    <a:cubicBezTo>
                      <a:pt x="72" y="63"/>
                      <a:pt x="71" y="65"/>
                      <a:pt x="71" y="65"/>
                    </a:cubicBezTo>
                    <a:cubicBezTo>
                      <a:pt x="74" y="64"/>
                      <a:pt x="74" y="69"/>
                      <a:pt x="74" y="69"/>
                    </a:cubicBezTo>
                    <a:cubicBezTo>
                      <a:pt x="71" y="73"/>
                      <a:pt x="78" y="73"/>
                      <a:pt x="78" y="73"/>
                    </a:cubicBezTo>
                    <a:cubicBezTo>
                      <a:pt x="79" y="75"/>
                      <a:pt x="79" y="75"/>
                      <a:pt x="79" y="75"/>
                    </a:cubicBezTo>
                    <a:cubicBezTo>
                      <a:pt x="80" y="75"/>
                      <a:pt x="81" y="79"/>
                      <a:pt x="81" y="79"/>
                    </a:cubicBezTo>
                    <a:cubicBezTo>
                      <a:pt x="83" y="79"/>
                      <a:pt x="83" y="83"/>
                      <a:pt x="84" y="83"/>
                    </a:cubicBezTo>
                    <a:cubicBezTo>
                      <a:pt x="86" y="83"/>
                      <a:pt x="87" y="86"/>
                      <a:pt x="87" y="86"/>
                    </a:cubicBezTo>
                    <a:cubicBezTo>
                      <a:pt x="90" y="86"/>
                      <a:pt x="90" y="89"/>
                      <a:pt x="90" y="89"/>
                    </a:cubicBezTo>
                    <a:cubicBezTo>
                      <a:pt x="93" y="88"/>
                      <a:pt x="92" y="96"/>
                      <a:pt x="92" y="96"/>
                    </a:cubicBezTo>
                    <a:cubicBezTo>
                      <a:pt x="94" y="96"/>
                      <a:pt x="95" y="98"/>
                      <a:pt x="94" y="98"/>
                    </a:cubicBezTo>
                    <a:cubicBezTo>
                      <a:pt x="98" y="98"/>
                      <a:pt x="99" y="100"/>
                      <a:pt x="99" y="100"/>
                    </a:cubicBezTo>
                    <a:cubicBezTo>
                      <a:pt x="98" y="102"/>
                      <a:pt x="109" y="102"/>
                      <a:pt x="109" y="102"/>
                    </a:cubicBezTo>
                    <a:cubicBezTo>
                      <a:pt x="113" y="94"/>
                      <a:pt x="113" y="102"/>
                      <a:pt x="113" y="102"/>
                    </a:cubicBezTo>
                    <a:cubicBezTo>
                      <a:pt x="114" y="110"/>
                      <a:pt x="112" y="110"/>
                      <a:pt x="112" y="110"/>
                    </a:cubicBezTo>
                    <a:cubicBezTo>
                      <a:pt x="109" y="117"/>
                      <a:pt x="114" y="115"/>
                      <a:pt x="115" y="115"/>
                    </a:cubicBezTo>
                    <a:cubicBezTo>
                      <a:pt x="117" y="115"/>
                      <a:pt x="120" y="117"/>
                      <a:pt x="121" y="117"/>
                    </a:cubicBezTo>
                    <a:cubicBezTo>
                      <a:pt x="121" y="117"/>
                      <a:pt x="121" y="117"/>
                      <a:pt x="121" y="117"/>
                    </a:cubicBezTo>
                    <a:cubicBezTo>
                      <a:pt x="124" y="117"/>
                      <a:pt x="125" y="116"/>
                      <a:pt x="125" y="115"/>
                    </a:cubicBezTo>
                    <a:cubicBezTo>
                      <a:pt x="128" y="113"/>
                      <a:pt x="128" y="125"/>
                      <a:pt x="128" y="125"/>
                    </a:cubicBezTo>
                    <a:cubicBezTo>
                      <a:pt x="131" y="125"/>
                      <a:pt x="130" y="129"/>
                      <a:pt x="130" y="129"/>
                    </a:cubicBezTo>
                    <a:cubicBezTo>
                      <a:pt x="133" y="129"/>
                      <a:pt x="132" y="136"/>
                      <a:pt x="132" y="136"/>
                    </a:cubicBezTo>
                    <a:cubicBezTo>
                      <a:pt x="133" y="144"/>
                      <a:pt x="129" y="140"/>
                      <a:pt x="129" y="140"/>
                    </a:cubicBezTo>
                    <a:cubicBezTo>
                      <a:pt x="125" y="140"/>
                      <a:pt x="124" y="144"/>
                      <a:pt x="123" y="145"/>
                    </a:cubicBezTo>
                    <a:cubicBezTo>
                      <a:pt x="123" y="145"/>
                      <a:pt x="123" y="145"/>
                      <a:pt x="123" y="145"/>
                    </a:cubicBezTo>
                    <a:cubicBezTo>
                      <a:pt x="124" y="146"/>
                      <a:pt x="125" y="148"/>
                      <a:pt x="126" y="148"/>
                    </a:cubicBezTo>
                    <a:cubicBezTo>
                      <a:pt x="127" y="148"/>
                      <a:pt x="132" y="151"/>
                      <a:pt x="132" y="151"/>
                    </a:cubicBezTo>
                    <a:cubicBezTo>
                      <a:pt x="135" y="151"/>
                      <a:pt x="136" y="155"/>
                      <a:pt x="136" y="155"/>
                    </a:cubicBezTo>
                    <a:cubicBezTo>
                      <a:pt x="140" y="155"/>
                      <a:pt x="142" y="157"/>
                      <a:pt x="142" y="157"/>
                    </a:cubicBezTo>
                    <a:cubicBezTo>
                      <a:pt x="144" y="156"/>
                      <a:pt x="145" y="165"/>
                      <a:pt x="145" y="164"/>
                    </a:cubicBezTo>
                    <a:cubicBezTo>
                      <a:pt x="143" y="168"/>
                      <a:pt x="151" y="169"/>
                      <a:pt x="151" y="168"/>
                    </a:cubicBezTo>
                    <a:cubicBezTo>
                      <a:pt x="154" y="168"/>
                      <a:pt x="155" y="176"/>
                      <a:pt x="155" y="176"/>
                    </a:cubicBezTo>
                    <a:cubicBezTo>
                      <a:pt x="151" y="178"/>
                      <a:pt x="150" y="189"/>
                      <a:pt x="150" y="189"/>
                    </a:cubicBezTo>
                    <a:cubicBezTo>
                      <a:pt x="147" y="190"/>
                      <a:pt x="145" y="194"/>
                      <a:pt x="145" y="194"/>
                    </a:cubicBezTo>
                    <a:cubicBezTo>
                      <a:pt x="146" y="198"/>
                      <a:pt x="143" y="200"/>
                      <a:pt x="142" y="200"/>
                    </a:cubicBezTo>
                    <a:cubicBezTo>
                      <a:pt x="140" y="201"/>
                      <a:pt x="140" y="206"/>
                      <a:pt x="140" y="206"/>
                    </a:cubicBezTo>
                    <a:cubicBezTo>
                      <a:pt x="145" y="207"/>
                      <a:pt x="140" y="210"/>
                      <a:pt x="140" y="210"/>
                    </a:cubicBezTo>
                    <a:cubicBezTo>
                      <a:pt x="136" y="210"/>
                      <a:pt x="136" y="213"/>
                      <a:pt x="136" y="213"/>
                    </a:cubicBezTo>
                    <a:cubicBezTo>
                      <a:pt x="132" y="213"/>
                      <a:pt x="130" y="215"/>
                      <a:pt x="130" y="215"/>
                    </a:cubicBezTo>
                    <a:cubicBezTo>
                      <a:pt x="125" y="215"/>
                      <a:pt x="124" y="219"/>
                      <a:pt x="124" y="219"/>
                    </a:cubicBezTo>
                    <a:cubicBezTo>
                      <a:pt x="115" y="219"/>
                      <a:pt x="115" y="219"/>
                      <a:pt x="115" y="219"/>
                    </a:cubicBezTo>
                    <a:cubicBezTo>
                      <a:pt x="111" y="227"/>
                      <a:pt x="110" y="213"/>
                      <a:pt x="110" y="213"/>
                    </a:cubicBezTo>
                    <a:cubicBezTo>
                      <a:pt x="109" y="208"/>
                      <a:pt x="99" y="209"/>
                      <a:pt x="99" y="209"/>
                    </a:cubicBezTo>
                    <a:cubicBezTo>
                      <a:pt x="95" y="209"/>
                      <a:pt x="94" y="206"/>
                      <a:pt x="94" y="206"/>
                    </a:cubicBezTo>
                    <a:cubicBezTo>
                      <a:pt x="88" y="203"/>
                      <a:pt x="88" y="210"/>
                      <a:pt x="88" y="210"/>
                    </a:cubicBezTo>
                    <a:cubicBezTo>
                      <a:pt x="86" y="210"/>
                      <a:pt x="83" y="216"/>
                      <a:pt x="83" y="216"/>
                    </a:cubicBezTo>
                    <a:cubicBezTo>
                      <a:pt x="83" y="223"/>
                      <a:pt x="83" y="223"/>
                      <a:pt x="83" y="223"/>
                    </a:cubicBezTo>
                    <a:cubicBezTo>
                      <a:pt x="86" y="229"/>
                      <a:pt x="75" y="227"/>
                      <a:pt x="74" y="227"/>
                    </a:cubicBezTo>
                    <a:cubicBezTo>
                      <a:pt x="70" y="228"/>
                      <a:pt x="69" y="229"/>
                      <a:pt x="69" y="229"/>
                    </a:cubicBezTo>
                    <a:cubicBezTo>
                      <a:pt x="65" y="231"/>
                      <a:pt x="65" y="236"/>
                      <a:pt x="65" y="236"/>
                    </a:cubicBezTo>
                    <a:cubicBezTo>
                      <a:pt x="65" y="237"/>
                      <a:pt x="62" y="240"/>
                      <a:pt x="62" y="240"/>
                    </a:cubicBezTo>
                    <a:cubicBezTo>
                      <a:pt x="59" y="242"/>
                      <a:pt x="59" y="247"/>
                      <a:pt x="59" y="247"/>
                    </a:cubicBezTo>
                    <a:cubicBezTo>
                      <a:pt x="59" y="251"/>
                      <a:pt x="57" y="254"/>
                      <a:pt x="57" y="253"/>
                    </a:cubicBezTo>
                    <a:cubicBezTo>
                      <a:pt x="54" y="253"/>
                      <a:pt x="54" y="257"/>
                      <a:pt x="54" y="256"/>
                    </a:cubicBezTo>
                    <a:cubicBezTo>
                      <a:pt x="49" y="257"/>
                      <a:pt x="49" y="260"/>
                      <a:pt x="49" y="260"/>
                    </a:cubicBezTo>
                    <a:cubicBezTo>
                      <a:pt x="48" y="260"/>
                      <a:pt x="48" y="260"/>
                      <a:pt x="48" y="260"/>
                    </a:cubicBezTo>
                    <a:cubicBezTo>
                      <a:pt x="48" y="260"/>
                      <a:pt x="48" y="260"/>
                      <a:pt x="48" y="260"/>
                    </a:cubicBezTo>
                    <a:cubicBezTo>
                      <a:pt x="49" y="261"/>
                      <a:pt x="49" y="263"/>
                      <a:pt x="48" y="268"/>
                    </a:cubicBezTo>
                    <a:cubicBezTo>
                      <a:pt x="48" y="268"/>
                      <a:pt x="46" y="270"/>
                      <a:pt x="49" y="270"/>
                    </a:cubicBezTo>
                    <a:cubicBezTo>
                      <a:pt x="48" y="273"/>
                      <a:pt x="48" y="273"/>
                      <a:pt x="48" y="273"/>
                    </a:cubicBezTo>
                    <a:cubicBezTo>
                      <a:pt x="48" y="273"/>
                      <a:pt x="44" y="276"/>
                      <a:pt x="48" y="278"/>
                    </a:cubicBezTo>
                    <a:cubicBezTo>
                      <a:pt x="48" y="277"/>
                      <a:pt x="52" y="279"/>
                      <a:pt x="52" y="284"/>
                    </a:cubicBezTo>
                    <a:cubicBezTo>
                      <a:pt x="53" y="284"/>
                      <a:pt x="56" y="283"/>
                      <a:pt x="59" y="284"/>
                    </a:cubicBezTo>
                    <a:cubicBezTo>
                      <a:pt x="59" y="284"/>
                      <a:pt x="65" y="282"/>
                      <a:pt x="69" y="282"/>
                    </a:cubicBezTo>
                    <a:cubicBezTo>
                      <a:pt x="70" y="282"/>
                      <a:pt x="70" y="279"/>
                      <a:pt x="79" y="279"/>
                    </a:cubicBezTo>
                    <a:cubicBezTo>
                      <a:pt x="79" y="280"/>
                      <a:pt x="85" y="278"/>
                      <a:pt x="89" y="277"/>
                    </a:cubicBezTo>
                    <a:cubicBezTo>
                      <a:pt x="88" y="278"/>
                      <a:pt x="93" y="276"/>
                      <a:pt x="93" y="280"/>
                    </a:cubicBezTo>
                    <a:cubicBezTo>
                      <a:pt x="93" y="280"/>
                      <a:pt x="91" y="282"/>
                      <a:pt x="99" y="282"/>
                    </a:cubicBezTo>
                    <a:cubicBezTo>
                      <a:pt x="99" y="282"/>
                      <a:pt x="104" y="285"/>
                      <a:pt x="105" y="282"/>
                    </a:cubicBezTo>
                    <a:cubicBezTo>
                      <a:pt x="105" y="282"/>
                      <a:pt x="104" y="279"/>
                      <a:pt x="109" y="279"/>
                    </a:cubicBezTo>
                    <a:cubicBezTo>
                      <a:pt x="109" y="279"/>
                      <a:pt x="109" y="278"/>
                      <a:pt x="112" y="277"/>
                    </a:cubicBezTo>
                    <a:cubicBezTo>
                      <a:pt x="112" y="277"/>
                      <a:pt x="113" y="272"/>
                      <a:pt x="114" y="272"/>
                    </a:cubicBezTo>
                    <a:cubicBezTo>
                      <a:pt x="114" y="272"/>
                      <a:pt x="118" y="269"/>
                      <a:pt x="114" y="268"/>
                    </a:cubicBezTo>
                    <a:cubicBezTo>
                      <a:pt x="115" y="268"/>
                      <a:pt x="114" y="263"/>
                      <a:pt x="112" y="263"/>
                    </a:cubicBezTo>
                    <a:cubicBezTo>
                      <a:pt x="112" y="263"/>
                      <a:pt x="111" y="253"/>
                      <a:pt x="113" y="253"/>
                    </a:cubicBezTo>
                    <a:cubicBezTo>
                      <a:pt x="113" y="254"/>
                      <a:pt x="121" y="251"/>
                      <a:pt x="124" y="255"/>
                    </a:cubicBezTo>
                    <a:cubicBezTo>
                      <a:pt x="123" y="255"/>
                      <a:pt x="131" y="256"/>
                      <a:pt x="132" y="255"/>
                    </a:cubicBezTo>
                    <a:cubicBezTo>
                      <a:pt x="132" y="255"/>
                      <a:pt x="136" y="247"/>
                      <a:pt x="137" y="255"/>
                    </a:cubicBezTo>
                    <a:cubicBezTo>
                      <a:pt x="137" y="255"/>
                      <a:pt x="140" y="256"/>
                      <a:pt x="140" y="261"/>
                    </a:cubicBezTo>
                    <a:cubicBezTo>
                      <a:pt x="140" y="261"/>
                      <a:pt x="143" y="263"/>
                      <a:pt x="143" y="263"/>
                    </a:cubicBezTo>
                    <a:cubicBezTo>
                      <a:pt x="143" y="263"/>
                      <a:pt x="147" y="259"/>
                      <a:pt x="145" y="280"/>
                    </a:cubicBezTo>
                    <a:cubicBezTo>
                      <a:pt x="145" y="280"/>
                      <a:pt x="149" y="284"/>
                      <a:pt x="153" y="281"/>
                    </a:cubicBezTo>
                    <a:cubicBezTo>
                      <a:pt x="153" y="281"/>
                      <a:pt x="151" y="278"/>
                      <a:pt x="164" y="279"/>
                    </a:cubicBezTo>
                    <a:cubicBezTo>
                      <a:pt x="164" y="279"/>
                      <a:pt x="172" y="276"/>
                      <a:pt x="167" y="275"/>
                    </a:cubicBezTo>
                    <a:cubicBezTo>
                      <a:pt x="167" y="276"/>
                      <a:pt x="162" y="274"/>
                      <a:pt x="166" y="274"/>
                    </a:cubicBezTo>
                    <a:cubicBezTo>
                      <a:pt x="166" y="273"/>
                      <a:pt x="166" y="266"/>
                      <a:pt x="170" y="271"/>
                    </a:cubicBezTo>
                    <a:cubicBezTo>
                      <a:pt x="170" y="271"/>
                      <a:pt x="177" y="274"/>
                      <a:pt x="175" y="269"/>
                    </a:cubicBezTo>
                    <a:cubicBezTo>
                      <a:pt x="175" y="270"/>
                      <a:pt x="175" y="263"/>
                      <a:pt x="184" y="266"/>
                    </a:cubicBezTo>
                    <a:cubicBezTo>
                      <a:pt x="184" y="266"/>
                      <a:pt x="188" y="267"/>
                      <a:pt x="189" y="271"/>
                    </a:cubicBezTo>
                    <a:cubicBezTo>
                      <a:pt x="189" y="271"/>
                      <a:pt x="191" y="277"/>
                      <a:pt x="190" y="278"/>
                    </a:cubicBezTo>
                    <a:cubicBezTo>
                      <a:pt x="190" y="277"/>
                      <a:pt x="192" y="279"/>
                      <a:pt x="196" y="280"/>
                    </a:cubicBezTo>
                    <a:cubicBezTo>
                      <a:pt x="196" y="280"/>
                      <a:pt x="200" y="284"/>
                      <a:pt x="203" y="279"/>
                    </a:cubicBezTo>
                    <a:cubicBezTo>
                      <a:pt x="203" y="280"/>
                      <a:pt x="201" y="275"/>
                      <a:pt x="212" y="277"/>
                    </a:cubicBezTo>
                    <a:cubicBezTo>
                      <a:pt x="212" y="277"/>
                      <a:pt x="220" y="276"/>
                      <a:pt x="220" y="274"/>
                    </a:cubicBezTo>
                    <a:cubicBezTo>
                      <a:pt x="220" y="275"/>
                      <a:pt x="226" y="273"/>
                      <a:pt x="227" y="277"/>
                    </a:cubicBezTo>
                    <a:cubicBezTo>
                      <a:pt x="227" y="277"/>
                      <a:pt x="228" y="281"/>
                      <a:pt x="226" y="282"/>
                    </a:cubicBezTo>
                    <a:cubicBezTo>
                      <a:pt x="225" y="282"/>
                      <a:pt x="220" y="284"/>
                      <a:pt x="219" y="284"/>
                    </a:cubicBezTo>
                    <a:cubicBezTo>
                      <a:pt x="219" y="284"/>
                      <a:pt x="215" y="282"/>
                      <a:pt x="216" y="286"/>
                    </a:cubicBezTo>
                    <a:cubicBezTo>
                      <a:pt x="216" y="286"/>
                      <a:pt x="217" y="291"/>
                      <a:pt x="218" y="291"/>
                    </a:cubicBezTo>
                    <a:cubicBezTo>
                      <a:pt x="218" y="291"/>
                      <a:pt x="224" y="294"/>
                      <a:pt x="224" y="297"/>
                    </a:cubicBezTo>
                    <a:cubicBezTo>
                      <a:pt x="224" y="297"/>
                      <a:pt x="228" y="300"/>
                      <a:pt x="231" y="297"/>
                    </a:cubicBezTo>
                    <a:cubicBezTo>
                      <a:pt x="231" y="297"/>
                      <a:pt x="234" y="293"/>
                      <a:pt x="237" y="293"/>
                    </a:cubicBezTo>
                    <a:cubicBezTo>
                      <a:pt x="237" y="293"/>
                      <a:pt x="243" y="291"/>
                      <a:pt x="241" y="282"/>
                    </a:cubicBezTo>
                    <a:cubicBezTo>
                      <a:pt x="241" y="283"/>
                      <a:pt x="244" y="275"/>
                      <a:pt x="246" y="275"/>
                    </a:cubicBezTo>
                    <a:cubicBezTo>
                      <a:pt x="246" y="275"/>
                      <a:pt x="251" y="274"/>
                      <a:pt x="250" y="270"/>
                    </a:cubicBezTo>
                    <a:cubicBezTo>
                      <a:pt x="250" y="270"/>
                      <a:pt x="249" y="259"/>
                      <a:pt x="254" y="260"/>
                    </a:cubicBezTo>
                    <a:cubicBezTo>
                      <a:pt x="254" y="259"/>
                      <a:pt x="262" y="262"/>
                      <a:pt x="261" y="255"/>
                    </a:cubicBezTo>
                    <a:cubicBezTo>
                      <a:pt x="261" y="255"/>
                      <a:pt x="262" y="252"/>
                      <a:pt x="263" y="251"/>
                    </a:cubicBezTo>
                    <a:cubicBezTo>
                      <a:pt x="264" y="251"/>
                      <a:pt x="266" y="248"/>
                      <a:pt x="270" y="252"/>
                    </a:cubicBezTo>
                    <a:cubicBezTo>
                      <a:pt x="274" y="255"/>
                      <a:pt x="274" y="255"/>
                      <a:pt x="274" y="255"/>
                    </a:cubicBezTo>
                    <a:cubicBezTo>
                      <a:pt x="274" y="255"/>
                      <a:pt x="278" y="253"/>
                      <a:pt x="279" y="253"/>
                    </a:cubicBezTo>
                    <a:cubicBezTo>
                      <a:pt x="283" y="257"/>
                      <a:pt x="283" y="257"/>
                      <a:pt x="283" y="257"/>
                    </a:cubicBezTo>
                    <a:cubicBezTo>
                      <a:pt x="284" y="258"/>
                      <a:pt x="286" y="259"/>
                      <a:pt x="286" y="259"/>
                    </a:cubicBezTo>
                    <a:cubicBezTo>
                      <a:pt x="286" y="259"/>
                      <a:pt x="293" y="261"/>
                      <a:pt x="288" y="264"/>
                    </a:cubicBezTo>
                    <a:cubicBezTo>
                      <a:pt x="288" y="265"/>
                      <a:pt x="286" y="277"/>
                      <a:pt x="290" y="274"/>
                    </a:cubicBezTo>
                    <a:cubicBezTo>
                      <a:pt x="294" y="282"/>
                      <a:pt x="294" y="282"/>
                      <a:pt x="294" y="282"/>
                    </a:cubicBezTo>
                    <a:cubicBezTo>
                      <a:pt x="295" y="284"/>
                      <a:pt x="295" y="284"/>
                      <a:pt x="295" y="284"/>
                    </a:cubicBezTo>
                    <a:cubicBezTo>
                      <a:pt x="295" y="284"/>
                      <a:pt x="299" y="285"/>
                      <a:pt x="296" y="288"/>
                    </a:cubicBezTo>
                    <a:cubicBezTo>
                      <a:pt x="296" y="288"/>
                      <a:pt x="293" y="289"/>
                      <a:pt x="296" y="289"/>
                    </a:cubicBezTo>
                    <a:cubicBezTo>
                      <a:pt x="296" y="289"/>
                      <a:pt x="298" y="296"/>
                      <a:pt x="298" y="299"/>
                    </a:cubicBezTo>
                    <a:cubicBezTo>
                      <a:pt x="298" y="301"/>
                      <a:pt x="298" y="301"/>
                      <a:pt x="298" y="301"/>
                    </a:cubicBezTo>
                    <a:cubicBezTo>
                      <a:pt x="298" y="301"/>
                      <a:pt x="295" y="304"/>
                      <a:pt x="300" y="304"/>
                    </a:cubicBezTo>
                    <a:cubicBezTo>
                      <a:pt x="300" y="304"/>
                      <a:pt x="304" y="312"/>
                      <a:pt x="303" y="313"/>
                    </a:cubicBezTo>
                    <a:cubicBezTo>
                      <a:pt x="303" y="313"/>
                      <a:pt x="300" y="314"/>
                      <a:pt x="303" y="316"/>
                    </a:cubicBezTo>
                    <a:cubicBezTo>
                      <a:pt x="304" y="316"/>
                      <a:pt x="307" y="325"/>
                      <a:pt x="308" y="325"/>
                    </a:cubicBezTo>
                    <a:cubicBezTo>
                      <a:pt x="308" y="327"/>
                      <a:pt x="308" y="327"/>
                      <a:pt x="308" y="327"/>
                    </a:cubicBezTo>
                    <a:cubicBezTo>
                      <a:pt x="308" y="327"/>
                      <a:pt x="304" y="330"/>
                      <a:pt x="308" y="334"/>
                    </a:cubicBezTo>
                    <a:cubicBezTo>
                      <a:pt x="308" y="334"/>
                      <a:pt x="309" y="335"/>
                      <a:pt x="309" y="339"/>
                    </a:cubicBezTo>
                    <a:cubicBezTo>
                      <a:pt x="308" y="339"/>
                      <a:pt x="313" y="343"/>
                      <a:pt x="314" y="344"/>
                    </a:cubicBezTo>
                    <a:cubicBezTo>
                      <a:pt x="314" y="344"/>
                      <a:pt x="315" y="347"/>
                      <a:pt x="315" y="348"/>
                    </a:cubicBezTo>
                    <a:cubicBezTo>
                      <a:pt x="315" y="348"/>
                      <a:pt x="318" y="350"/>
                      <a:pt x="318" y="353"/>
                    </a:cubicBezTo>
                    <a:cubicBezTo>
                      <a:pt x="318" y="353"/>
                      <a:pt x="318" y="357"/>
                      <a:pt x="321" y="355"/>
                    </a:cubicBezTo>
                    <a:cubicBezTo>
                      <a:pt x="323" y="358"/>
                      <a:pt x="323" y="358"/>
                      <a:pt x="323" y="358"/>
                    </a:cubicBezTo>
                    <a:cubicBezTo>
                      <a:pt x="323" y="358"/>
                      <a:pt x="326" y="357"/>
                      <a:pt x="326" y="360"/>
                    </a:cubicBezTo>
                    <a:cubicBezTo>
                      <a:pt x="325" y="360"/>
                      <a:pt x="333" y="358"/>
                      <a:pt x="335" y="362"/>
                    </a:cubicBezTo>
                    <a:cubicBezTo>
                      <a:pt x="335" y="362"/>
                      <a:pt x="342" y="362"/>
                      <a:pt x="343" y="363"/>
                    </a:cubicBezTo>
                    <a:cubicBezTo>
                      <a:pt x="343" y="363"/>
                      <a:pt x="343" y="363"/>
                      <a:pt x="343" y="363"/>
                    </a:cubicBezTo>
                    <a:cubicBezTo>
                      <a:pt x="349" y="350"/>
                      <a:pt x="345" y="336"/>
                      <a:pt x="345" y="336"/>
                    </a:cubicBezTo>
                    <a:cubicBezTo>
                      <a:pt x="345" y="336"/>
                      <a:pt x="340" y="331"/>
                      <a:pt x="340" y="331"/>
                    </a:cubicBezTo>
                    <a:cubicBezTo>
                      <a:pt x="335" y="326"/>
                      <a:pt x="339" y="324"/>
                      <a:pt x="339" y="324"/>
                    </a:cubicBezTo>
                    <a:cubicBezTo>
                      <a:pt x="345" y="322"/>
                      <a:pt x="339" y="314"/>
                      <a:pt x="339" y="314"/>
                    </a:cubicBezTo>
                    <a:cubicBezTo>
                      <a:pt x="335" y="311"/>
                      <a:pt x="339" y="308"/>
                      <a:pt x="339" y="308"/>
                    </a:cubicBezTo>
                    <a:cubicBezTo>
                      <a:pt x="343" y="307"/>
                      <a:pt x="340" y="305"/>
                      <a:pt x="340" y="305"/>
                    </a:cubicBezTo>
                    <a:cubicBezTo>
                      <a:pt x="338" y="305"/>
                      <a:pt x="338" y="298"/>
                      <a:pt x="338" y="298"/>
                    </a:cubicBezTo>
                    <a:cubicBezTo>
                      <a:pt x="337" y="292"/>
                      <a:pt x="342" y="289"/>
                      <a:pt x="342" y="289"/>
                    </a:cubicBezTo>
                    <a:cubicBezTo>
                      <a:pt x="340" y="282"/>
                      <a:pt x="346" y="283"/>
                      <a:pt x="346" y="283"/>
                    </a:cubicBezTo>
                    <a:cubicBezTo>
                      <a:pt x="346" y="282"/>
                      <a:pt x="342" y="276"/>
                      <a:pt x="342" y="276"/>
                    </a:cubicBezTo>
                    <a:cubicBezTo>
                      <a:pt x="336" y="274"/>
                      <a:pt x="342" y="273"/>
                      <a:pt x="342" y="273"/>
                    </a:cubicBezTo>
                    <a:cubicBezTo>
                      <a:pt x="342" y="270"/>
                      <a:pt x="342" y="268"/>
                      <a:pt x="342" y="267"/>
                    </a:cubicBezTo>
                    <a:cubicBezTo>
                      <a:pt x="341" y="263"/>
                      <a:pt x="338" y="258"/>
                      <a:pt x="338" y="258"/>
                    </a:cubicBezTo>
                    <a:cubicBezTo>
                      <a:pt x="335" y="253"/>
                      <a:pt x="339" y="249"/>
                      <a:pt x="339" y="249"/>
                    </a:cubicBezTo>
                    <a:cubicBezTo>
                      <a:pt x="344" y="247"/>
                      <a:pt x="344" y="247"/>
                      <a:pt x="344" y="247"/>
                    </a:cubicBezTo>
                    <a:cubicBezTo>
                      <a:pt x="347" y="247"/>
                      <a:pt x="349" y="244"/>
                      <a:pt x="349" y="244"/>
                    </a:cubicBezTo>
                    <a:cubicBezTo>
                      <a:pt x="352" y="243"/>
                      <a:pt x="353" y="242"/>
                      <a:pt x="353" y="242"/>
                    </a:cubicBezTo>
                    <a:cubicBezTo>
                      <a:pt x="355" y="239"/>
                      <a:pt x="355" y="239"/>
                      <a:pt x="355" y="239"/>
                    </a:cubicBezTo>
                    <a:cubicBezTo>
                      <a:pt x="359" y="238"/>
                      <a:pt x="355" y="237"/>
                      <a:pt x="355" y="237"/>
                    </a:cubicBezTo>
                    <a:cubicBezTo>
                      <a:pt x="355" y="235"/>
                      <a:pt x="355" y="235"/>
                      <a:pt x="355" y="235"/>
                    </a:cubicBezTo>
                    <a:cubicBezTo>
                      <a:pt x="354" y="235"/>
                      <a:pt x="358" y="232"/>
                      <a:pt x="358" y="232"/>
                    </a:cubicBezTo>
                    <a:cubicBezTo>
                      <a:pt x="361" y="232"/>
                      <a:pt x="361" y="228"/>
                      <a:pt x="361" y="228"/>
                    </a:cubicBezTo>
                    <a:cubicBezTo>
                      <a:pt x="362" y="228"/>
                      <a:pt x="365" y="225"/>
                      <a:pt x="365" y="225"/>
                    </a:cubicBezTo>
                    <a:cubicBezTo>
                      <a:pt x="367" y="225"/>
                      <a:pt x="367" y="218"/>
                      <a:pt x="367" y="218"/>
                    </a:cubicBezTo>
                    <a:cubicBezTo>
                      <a:pt x="374" y="213"/>
                      <a:pt x="365" y="217"/>
                      <a:pt x="365" y="217"/>
                    </a:cubicBezTo>
                  </a:path>
                </a:pathLst>
              </a:custGeom>
              <a:solidFill>
                <a:schemeClr val="bg2"/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solidFill>
                      <a:sysClr val="windowText" lastClr="000000"/>
                    </a:solidFill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7" name="Freeform 236">
                <a:extLst>
                  <a:ext uri="{FF2B5EF4-FFF2-40B4-BE49-F238E27FC236}">
                    <a16:creationId xmlns:a16="http://schemas.microsoft.com/office/drawing/2014/main" id="{9FEACC8D-72E5-7051-6BC2-5BD3E194F4C2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4329334" y="1418955"/>
                <a:ext cx="772884" cy="612892"/>
              </a:xfrm>
              <a:custGeom>
                <a:avLst/>
                <a:gdLst>
                  <a:gd name="T0" fmla="*/ 73 w 244"/>
                  <a:gd name="T1" fmla="*/ 161 h 192"/>
                  <a:gd name="T2" fmla="*/ 70 w 244"/>
                  <a:gd name="T3" fmla="*/ 174 h 192"/>
                  <a:gd name="T4" fmla="*/ 76 w 244"/>
                  <a:gd name="T5" fmla="*/ 190 h 192"/>
                  <a:gd name="T6" fmla="*/ 82 w 244"/>
                  <a:gd name="T7" fmla="*/ 181 h 192"/>
                  <a:gd name="T8" fmla="*/ 89 w 244"/>
                  <a:gd name="T9" fmla="*/ 165 h 192"/>
                  <a:gd name="T10" fmla="*/ 85 w 244"/>
                  <a:gd name="T11" fmla="*/ 158 h 192"/>
                  <a:gd name="T12" fmla="*/ 169 w 244"/>
                  <a:gd name="T13" fmla="*/ 41 h 192"/>
                  <a:gd name="T14" fmla="*/ 155 w 244"/>
                  <a:gd name="T15" fmla="*/ 35 h 192"/>
                  <a:gd name="T16" fmla="*/ 146 w 244"/>
                  <a:gd name="T17" fmla="*/ 31 h 192"/>
                  <a:gd name="T18" fmla="*/ 139 w 244"/>
                  <a:gd name="T19" fmla="*/ 17 h 192"/>
                  <a:gd name="T20" fmla="*/ 132 w 244"/>
                  <a:gd name="T21" fmla="*/ 8 h 192"/>
                  <a:gd name="T22" fmla="*/ 127 w 244"/>
                  <a:gd name="T23" fmla="*/ 16 h 192"/>
                  <a:gd name="T24" fmla="*/ 127 w 244"/>
                  <a:gd name="T25" fmla="*/ 32 h 192"/>
                  <a:gd name="T26" fmla="*/ 116 w 244"/>
                  <a:gd name="T27" fmla="*/ 36 h 192"/>
                  <a:gd name="T28" fmla="*/ 111 w 244"/>
                  <a:gd name="T29" fmla="*/ 18 h 192"/>
                  <a:gd name="T30" fmla="*/ 105 w 244"/>
                  <a:gd name="T31" fmla="*/ 5 h 192"/>
                  <a:gd name="T32" fmla="*/ 94 w 244"/>
                  <a:gd name="T33" fmla="*/ 5 h 192"/>
                  <a:gd name="T34" fmla="*/ 84 w 244"/>
                  <a:gd name="T35" fmla="*/ 6 h 192"/>
                  <a:gd name="T36" fmla="*/ 85 w 244"/>
                  <a:gd name="T37" fmla="*/ 22 h 192"/>
                  <a:gd name="T38" fmla="*/ 68 w 244"/>
                  <a:gd name="T39" fmla="*/ 23 h 192"/>
                  <a:gd name="T40" fmla="*/ 53 w 244"/>
                  <a:gd name="T41" fmla="*/ 24 h 192"/>
                  <a:gd name="T42" fmla="*/ 44 w 244"/>
                  <a:gd name="T43" fmla="*/ 27 h 192"/>
                  <a:gd name="T44" fmla="*/ 30 w 244"/>
                  <a:gd name="T45" fmla="*/ 48 h 192"/>
                  <a:gd name="T46" fmla="*/ 23 w 244"/>
                  <a:gd name="T47" fmla="*/ 65 h 192"/>
                  <a:gd name="T48" fmla="*/ 6 w 244"/>
                  <a:gd name="T49" fmla="*/ 77 h 192"/>
                  <a:gd name="T50" fmla="*/ 6 w 244"/>
                  <a:gd name="T51" fmla="*/ 101 h 192"/>
                  <a:gd name="T52" fmla="*/ 23 w 244"/>
                  <a:gd name="T53" fmla="*/ 114 h 192"/>
                  <a:gd name="T54" fmla="*/ 35 w 244"/>
                  <a:gd name="T55" fmla="*/ 116 h 192"/>
                  <a:gd name="T56" fmla="*/ 38 w 244"/>
                  <a:gd name="T57" fmla="*/ 118 h 192"/>
                  <a:gd name="T58" fmla="*/ 65 w 244"/>
                  <a:gd name="T59" fmla="*/ 119 h 192"/>
                  <a:gd name="T60" fmla="*/ 69 w 244"/>
                  <a:gd name="T61" fmla="*/ 105 h 192"/>
                  <a:gd name="T62" fmla="*/ 93 w 244"/>
                  <a:gd name="T63" fmla="*/ 106 h 192"/>
                  <a:gd name="T64" fmla="*/ 109 w 244"/>
                  <a:gd name="T65" fmla="*/ 100 h 192"/>
                  <a:gd name="T66" fmla="*/ 115 w 244"/>
                  <a:gd name="T67" fmla="*/ 87 h 192"/>
                  <a:gd name="T68" fmla="*/ 127 w 244"/>
                  <a:gd name="T69" fmla="*/ 89 h 192"/>
                  <a:gd name="T70" fmla="*/ 139 w 244"/>
                  <a:gd name="T71" fmla="*/ 77 h 192"/>
                  <a:gd name="T72" fmla="*/ 152 w 244"/>
                  <a:gd name="T73" fmla="*/ 69 h 192"/>
                  <a:gd name="T74" fmla="*/ 161 w 244"/>
                  <a:gd name="T75" fmla="*/ 56 h 192"/>
                  <a:gd name="T76" fmla="*/ 162 w 244"/>
                  <a:gd name="T77" fmla="*/ 50 h 192"/>
                  <a:gd name="T78" fmla="*/ 172 w 244"/>
                  <a:gd name="T79" fmla="*/ 48 h 192"/>
                  <a:gd name="T80" fmla="*/ 239 w 244"/>
                  <a:gd name="T81" fmla="*/ 105 h 192"/>
                  <a:gd name="T82" fmla="*/ 230 w 244"/>
                  <a:gd name="T83" fmla="*/ 87 h 192"/>
                  <a:gd name="T84" fmla="*/ 225 w 244"/>
                  <a:gd name="T85" fmla="*/ 77 h 192"/>
                  <a:gd name="T86" fmla="*/ 207 w 244"/>
                  <a:gd name="T87" fmla="*/ 66 h 192"/>
                  <a:gd name="T88" fmla="*/ 193 w 244"/>
                  <a:gd name="T89" fmla="*/ 65 h 192"/>
                  <a:gd name="T90" fmla="*/ 199 w 244"/>
                  <a:gd name="T91" fmla="*/ 80 h 192"/>
                  <a:gd name="T92" fmla="*/ 201 w 244"/>
                  <a:gd name="T93" fmla="*/ 94 h 192"/>
                  <a:gd name="T94" fmla="*/ 201 w 244"/>
                  <a:gd name="T95" fmla="*/ 100 h 192"/>
                  <a:gd name="T96" fmla="*/ 223 w 244"/>
                  <a:gd name="T97" fmla="*/ 110 h 192"/>
                  <a:gd name="T98" fmla="*/ 231 w 244"/>
                  <a:gd name="T99" fmla="*/ 119 h 192"/>
                  <a:gd name="T100" fmla="*/ 239 w 244"/>
                  <a:gd name="T101" fmla="*/ 112 h 192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44"/>
                  <a:gd name="T154" fmla="*/ 0 h 192"/>
                  <a:gd name="T155" fmla="*/ 244 w 244"/>
                  <a:gd name="T156" fmla="*/ 192 h 192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44" h="192">
                    <a:moveTo>
                      <a:pt x="81" y="156"/>
                    </a:moveTo>
                    <a:cubicBezTo>
                      <a:pt x="80" y="157"/>
                      <a:pt x="79" y="157"/>
                      <a:pt x="78" y="157"/>
                    </a:cubicBezTo>
                    <a:cubicBezTo>
                      <a:pt x="78" y="157"/>
                      <a:pt x="77" y="161"/>
                      <a:pt x="73" y="161"/>
                    </a:cubicBezTo>
                    <a:cubicBezTo>
                      <a:pt x="73" y="161"/>
                      <a:pt x="73" y="163"/>
                      <a:pt x="69" y="163"/>
                    </a:cubicBezTo>
                    <a:cubicBezTo>
                      <a:pt x="69" y="163"/>
                      <a:pt x="67" y="164"/>
                      <a:pt x="68" y="169"/>
                    </a:cubicBezTo>
                    <a:cubicBezTo>
                      <a:pt x="68" y="169"/>
                      <a:pt x="67" y="175"/>
                      <a:pt x="70" y="174"/>
                    </a:cubicBezTo>
                    <a:cubicBezTo>
                      <a:pt x="70" y="174"/>
                      <a:pt x="73" y="173"/>
                      <a:pt x="72" y="177"/>
                    </a:cubicBezTo>
                    <a:cubicBezTo>
                      <a:pt x="72" y="177"/>
                      <a:pt x="73" y="181"/>
                      <a:pt x="73" y="181"/>
                    </a:cubicBezTo>
                    <a:cubicBezTo>
                      <a:pt x="73" y="181"/>
                      <a:pt x="75" y="184"/>
                      <a:pt x="76" y="190"/>
                    </a:cubicBezTo>
                    <a:cubicBezTo>
                      <a:pt x="76" y="190"/>
                      <a:pt x="79" y="192"/>
                      <a:pt x="79" y="189"/>
                    </a:cubicBezTo>
                    <a:cubicBezTo>
                      <a:pt x="79" y="189"/>
                      <a:pt x="78" y="188"/>
                      <a:pt x="81" y="188"/>
                    </a:cubicBezTo>
                    <a:cubicBezTo>
                      <a:pt x="82" y="181"/>
                      <a:pt x="82" y="181"/>
                      <a:pt x="82" y="181"/>
                    </a:cubicBezTo>
                    <a:cubicBezTo>
                      <a:pt x="82" y="181"/>
                      <a:pt x="85" y="181"/>
                      <a:pt x="85" y="175"/>
                    </a:cubicBezTo>
                    <a:cubicBezTo>
                      <a:pt x="85" y="175"/>
                      <a:pt x="85" y="172"/>
                      <a:pt x="88" y="172"/>
                    </a:cubicBezTo>
                    <a:cubicBezTo>
                      <a:pt x="88" y="172"/>
                      <a:pt x="89" y="166"/>
                      <a:pt x="89" y="165"/>
                    </a:cubicBezTo>
                    <a:cubicBezTo>
                      <a:pt x="89" y="165"/>
                      <a:pt x="89" y="162"/>
                      <a:pt x="90" y="162"/>
                    </a:cubicBezTo>
                    <a:cubicBezTo>
                      <a:pt x="90" y="162"/>
                      <a:pt x="91" y="160"/>
                      <a:pt x="92" y="158"/>
                    </a:cubicBezTo>
                    <a:cubicBezTo>
                      <a:pt x="91" y="158"/>
                      <a:pt x="89" y="158"/>
                      <a:pt x="85" y="158"/>
                    </a:cubicBezTo>
                    <a:cubicBezTo>
                      <a:pt x="85" y="158"/>
                      <a:pt x="82" y="157"/>
                      <a:pt x="81" y="156"/>
                    </a:cubicBezTo>
                    <a:close/>
                    <a:moveTo>
                      <a:pt x="171" y="42"/>
                    </a:moveTo>
                    <a:cubicBezTo>
                      <a:pt x="170" y="42"/>
                      <a:pt x="170" y="42"/>
                      <a:pt x="169" y="41"/>
                    </a:cubicBezTo>
                    <a:cubicBezTo>
                      <a:pt x="169" y="41"/>
                      <a:pt x="169" y="41"/>
                      <a:pt x="169" y="41"/>
                    </a:cubicBezTo>
                    <a:cubicBezTo>
                      <a:pt x="169" y="40"/>
                      <a:pt x="166" y="35"/>
                      <a:pt x="166" y="35"/>
                    </a:cubicBezTo>
                    <a:cubicBezTo>
                      <a:pt x="166" y="35"/>
                      <a:pt x="164" y="33"/>
                      <a:pt x="155" y="35"/>
                    </a:cubicBezTo>
                    <a:cubicBezTo>
                      <a:pt x="154" y="35"/>
                      <a:pt x="151" y="35"/>
                      <a:pt x="151" y="40"/>
                    </a:cubicBezTo>
                    <a:cubicBezTo>
                      <a:pt x="151" y="41"/>
                      <a:pt x="150" y="39"/>
                      <a:pt x="146" y="39"/>
                    </a:cubicBezTo>
                    <a:cubicBezTo>
                      <a:pt x="146" y="31"/>
                      <a:pt x="146" y="31"/>
                      <a:pt x="146" y="31"/>
                    </a:cubicBezTo>
                    <a:cubicBezTo>
                      <a:pt x="146" y="31"/>
                      <a:pt x="142" y="29"/>
                      <a:pt x="146" y="27"/>
                    </a:cubicBezTo>
                    <a:cubicBezTo>
                      <a:pt x="147" y="28"/>
                      <a:pt x="146" y="24"/>
                      <a:pt x="143" y="24"/>
                    </a:cubicBezTo>
                    <a:cubicBezTo>
                      <a:pt x="144" y="24"/>
                      <a:pt x="145" y="16"/>
                      <a:pt x="139" y="17"/>
                    </a:cubicBezTo>
                    <a:cubicBezTo>
                      <a:pt x="139" y="17"/>
                      <a:pt x="138" y="15"/>
                      <a:pt x="135" y="15"/>
                    </a:cubicBezTo>
                    <a:cubicBezTo>
                      <a:pt x="135" y="15"/>
                      <a:pt x="127" y="12"/>
                      <a:pt x="134" y="12"/>
                    </a:cubicBezTo>
                    <a:cubicBezTo>
                      <a:pt x="134" y="12"/>
                      <a:pt x="135" y="9"/>
                      <a:pt x="132" y="8"/>
                    </a:cubicBezTo>
                    <a:cubicBezTo>
                      <a:pt x="132" y="8"/>
                      <a:pt x="129" y="3"/>
                      <a:pt x="127" y="8"/>
                    </a:cubicBezTo>
                    <a:cubicBezTo>
                      <a:pt x="127" y="13"/>
                      <a:pt x="127" y="13"/>
                      <a:pt x="127" y="13"/>
                    </a:cubicBezTo>
                    <a:cubicBezTo>
                      <a:pt x="127" y="13"/>
                      <a:pt x="122" y="15"/>
                      <a:pt x="127" y="16"/>
                    </a:cubicBezTo>
                    <a:cubicBezTo>
                      <a:pt x="127" y="17"/>
                      <a:pt x="127" y="25"/>
                      <a:pt x="127" y="25"/>
                    </a:cubicBezTo>
                    <a:cubicBezTo>
                      <a:pt x="127" y="25"/>
                      <a:pt x="132" y="28"/>
                      <a:pt x="127" y="28"/>
                    </a:cubicBezTo>
                    <a:cubicBezTo>
                      <a:pt x="127" y="28"/>
                      <a:pt x="129" y="33"/>
                      <a:pt x="127" y="32"/>
                    </a:cubicBezTo>
                    <a:cubicBezTo>
                      <a:pt x="124" y="31"/>
                      <a:pt x="125" y="37"/>
                      <a:pt x="123" y="32"/>
                    </a:cubicBezTo>
                    <a:cubicBezTo>
                      <a:pt x="123" y="32"/>
                      <a:pt x="119" y="31"/>
                      <a:pt x="120" y="36"/>
                    </a:cubicBezTo>
                    <a:cubicBezTo>
                      <a:pt x="120" y="37"/>
                      <a:pt x="116" y="42"/>
                      <a:pt x="116" y="36"/>
                    </a:cubicBezTo>
                    <a:cubicBezTo>
                      <a:pt x="116" y="36"/>
                      <a:pt x="116" y="31"/>
                      <a:pt x="112" y="32"/>
                    </a:cubicBezTo>
                    <a:cubicBezTo>
                      <a:pt x="112" y="32"/>
                      <a:pt x="115" y="22"/>
                      <a:pt x="111" y="23"/>
                    </a:cubicBezTo>
                    <a:cubicBezTo>
                      <a:pt x="111" y="23"/>
                      <a:pt x="109" y="18"/>
                      <a:pt x="111" y="18"/>
                    </a:cubicBezTo>
                    <a:cubicBezTo>
                      <a:pt x="111" y="18"/>
                      <a:pt x="114" y="16"/>
                      <a:pt x="112" y="12"/>
                    </a:cubicBezTo>
                    <a:cubicBezTo>
                      <a:pt x="112" y="12"/>
                      <a:pt x="108" y="12"/>
                      <a:pt x="112" y="8"/>
                    </a:cubicBezTo>
                    <a:cubicBezTo>
                      <a:pt x="112" y="8"/>
                      <a:pt x="116" y="4"/>
                      <a:pt x="105" y="5"/>
                    </a:cubicBezTo>
                    <a:cubicBezTo>
                      <a:pt x="105" y="5"/>
                      <a:pt x="104" y="2"/>
                      <a:pt x="100" y="6"/>
                    </a:cubicBezTo>
                    <a:cubicBezTo>
                      <a:pt x="100" y="6"/>
                      <a:pt x="97" y="12"/>
                      <a:pt x="97" y="5"/>
                    </a:cubicBezTo>
                    <a:cubicBezTo>
                      <a:pt x="98" y="5"/>
                      <a:pt x="96" y="2"/>
                      <a:pt x="94" y="5"/>
                    </a:cubicBezTo>
                    <a:cubicBezTo>
                      <a:pt x="91" y="5"/>
                      <a:pt x="91" y="5"/>
                      <a:pt x="91" y="5"/>
                    </a:cubicBezTo>
                    <a:cubicBezTo>
                      <a:pt x="91" y="5"/>
                      <a:pt x="90" y="4"/>
                      <a:pt x="87" y="2"/>
                    </a:cubicBezTo>
                    <a:cubicBezTo>
                      <a:pt x="87" y="2"/>
                      <a:pt x="84" y="0"/>
                      <a:pt x="84" y="6"/>
                    </a:cubicBezTo>
                    <a:cubicBezTo>
                      <a:pt x="84" y="7"/>
                      <a:pt x="84" y="14"/>
                      <a:pt x="89" y="13"/>
                    </a:cubicBezTo>
                    <a:cubicBezTo>
                      <a:pt x="89" y="13"/>
                      <a:pt x="95" y="23"/>
                      <a:pt x="89" y="20"/>
                    </a:cubicBezTo>
                    <a:cubicBezTo>
                      <a:pt x="89" y="20"/>
                      <a:pt x="87" y="23"/>
                      <a:pt x="85" y="22"/>
                    </a:cubicBezTo>
                    <a:cubicBezTo>
                      <a:pt x="85" y="23"/>
                      <a:pt x="85" y="18"/>
                      <a:pt x="81" y="18"/>
                    </a:cubicBezTo>
                    <a:cubicBezTo>
                      <a:pt x="81" y="18"/>
                      <a:pt x="74" y="17"/>
                      <a:pt x="74" y="20"/>
                    </a:cubicBezTo>
                    <a:cubicBezTo>
                      <a:pt x="74" y="20"/>
                      <a:pt x="67" y="20"/>
                      <a:pt x="68" y="23"/>
                    </a:cubicBezTo>
                    <a:cubicBezTo>
                      <a:pt x="68" y="23"/>
                      <a:pt x="64" y="24"/>
                      <a:pt x="63" y="27"/>
                    </a:cubicBezTo>
                    <a:cubicBezTo>
                      <a:pt x="63" y="27"/>
                      <a:pt x="60" y="28"/>
                      <a:pt x="60" y="25"/>
                    </a:cubicBezTo>
                    <a:cubicBezTo>
                      <a:pt x="60" y="25"/>
                      <a:pt x="54" y="25"/>
                      <a:pt x="53" y="24"/>
                    </a:cubicBezTo>
                    <a:cubicBezTo>
                      <a:pt x="53" y="24"/>
                      <a:pt x="51" y="25"/>
                      <a:pt x="51" y="27"/>
                    </a:cubicBezTo>
                    <a:cubicBezTo>
                      <a:pt x="51" y="27"/>
                      <a:pt x="48" y="28"/>
                      <a:pt x="48" y="26"/>
                    </a:cubicBezTo>
                    <a:cubicBezTo>
                      <a:pt x="48" y="27"/>
                      <a:pt x="47" y="23"/>
                      <a:pt x="44" y="27"/>
                    </a:cubicBezTo>
                    <a:cubicBezTo>
                      <a:pt x="36" y="34"/>
                      <a:pt x="36" y="34"/>
                      <a:pt x="36" y="34"/>
                    </a:cubicBezTo>
                    <a:cubicBezTo>
                      <a:pt x="36" y="34"/>
                      <a:pt x="38" y="38"/>
                      <a:pt x="35" y="41"/>
                    </a:cubicBezTo>
                    <a:cubicBezTo>
                      <a:pt x="35" y="42"/>
                      <a:pt x="28" y="40"/>
                      <a:pt x="30" y="48"/>
                    </a:cubicBezTo>
                    <a:cubicBezTo>
                      <a:pt x="30" y="49"/>
                      <a:pt x="26" y="50"/>
                      <a:pt x="28" y="54"/>
                    </a:cubicBezTo>
                    <a:cubicBezTo>
                      <a:pt x="27" y="54"/>
                      <a:pt x="31" y="58"/>
                      <a:pt x="29" y="62"/>
                    </a:cubicBezTo>
                    <a:cubicBezTo>
                      <a:pt x="29" y="62"/>
                      <a:pt x="25" y="62"/>
                      <a:pt x="23" y="65"/>
                    </a:cubicBezTo>
                    <a:cubicBezTo>
                      <a:pt x="23" y="65"/>
                      <a:pt x="19" y="65"/>
                      <a:pt x="18" y="67"/>
                    </a:cubicBezTo>
                    <a:cubicBezTo>
                      <a:pt x="19" y="67"/>
                      <a:pt x="13" y="69"/>
                      <a:pt x="12" y="71"/>
                    </a:cubicBezTo>
                    <a:cubicBezTo>
                      <a:pt x="12" y="71"/>
                      <a:pt x="7" y="76"/>
                      <a:pt x="6" y="77"/>
                    </a:cubicBezTo>
                    <a:cubicBezTo>
                      <a:pt x="4" y="77"/>
                      <a:pt x="0" y="81"/>
                      <a:pt x="6" y="85"/>
                    </a:cubicBezTo>
                    <a:cubicBezTo>
                      <a:pt x="6" y="85"/>
                      <a:pt x="17" y="92"/>
                      <a:pt x="8" y="94"/>
                    </a:cubicBezTo>
                    <a:cubicBezTo>
                      <a:pt x="8" y="94"/>
                      <a:pt x="0" y="96"/>
                      <a:pt x="6" y="101"/>
                    </a:cubicBezTo>
                    <a:cubicBezTo>
                      <a:pt x="6" y="101"/>
                      <a:pt x="7" y="104"/>
                      <a:pt x="15" y="104"/>
                    </a:cubicBezTo>
                    <a:cubicBezTo>
                      <a:pt x="15" y="104"/>
                      <a:pt x="19" y="108"/>
                      <a:pt x="19" y="112"/>
                    </a:cubicBezTo>
                    <a:cubicBezTo>
                      <a:pt x="20" y="113"/>
                      <a:pt x="23" y="116"/>
                      <a:pt x="23" y="114"/>
                    </a:cubicBezTo>
                    <a:cubicBezTo>
                      <a:pt x="23" y="114"/>
                      <a:pt x="27" y="109"/>
                      <a:pt x="27" y="114"/>
                    </a:cubicBezTo>
                    <a:cubicBezTo>
                      <a:pt x="27" y="114"/>
                      <a:pt x="30" y="116"/>
                      <a:pt x="31" y="114"/>
                    </a:cubicBezTo>
                    <a:cubicBezTo>
                      <a:pt x="31" y="114"/>
                      <a:pt x="35" y="110"/>
                      <a:pt x="35" y="116"/>
                    </a:cubicBezTo>
                    <a:cubicBezTo>
                      <a:pt x="35" y="116"/>
                      <a:pt x="31" y="116"/>
                      <a:pt x="32" y="120"/>
                    </a:cubicBezTo>
                    <a:cubicBezTo>
                      <a:pt x="32" y="121"/>
                      <a:pt x="35" y="123"/>
                      <a:pt x="35" y="121"/>
                    </a:cubicBezTo>
                    <a:cubicBezTo>
                      <a:pt x="35" y="122"/>
                      <a:pt x="35" y="116"/>
                      <a:pt x="38" y="118"/>
                    </a:cubicBezTo>
                    <a:cubicBezTo>
                      <a:pt x="38" y="118"/>
                      <a:pt x="39" y="119"/>
                      <a:pt x="45" y="119"/>
                    </a:cubicBezTo>
                    <a:cubicBezTo>
                      <a:pt x="46" y="119"/>
                      <a:pt x="60" y="119"/>
                      <a:pt x="60" y="119"/>
                    </a:cubicBezTo>
                    <a:cubicBezTo>
                      <a:pt x="60" y="119"/>
                      <a:pt x="63" y="125"/>
                      <a:pt x="65" y="119"/>
                    </a:cubicBezTo>
                    <a:cubicBezTo>
                      <a:pt x="65" y="120"/>
                      <a:pt x="69" y="118"/>
                      <a:pt x="65" y="116"/>
                    </a:cubicBezTo>
                    <a:cubicBezTo>
                      <a:pt x="65" y="116"/>
                      <a:pt x="62" y="106"/>
                      <a:pt x="67" y="108"/>
                    </a:cubicBezTo>
                    <a:cubicBezTo>
                      <a:pt x="69" y="105"/>
                      <a:pt x="69" y="105"/>
                      <a:pt x="69" y="105"/>
                    </a:cubicBezTo>
                    <a:cubicBezTo>
                      <a:pt x="69" y="105"/>
                      <a:pt x="77" y="106"/>
                      <a:pt x="77" y="104"/>
                    </a:cubicBezTo>
                    <a:cubicBezTo>
                      <a:pt x="77" y="104"/>
                      <a:pt x="81" y="101"/>
                      <a:pt x="85" y="105"/>
                    </a:cubicBezTo>
                    <a:cubicBezTo>
                      <a:pt x="85" y="105"/>
                      <a:pt x="86" y="111"/>
                      <a:pt x="93" y="106"/>
                    </a:cubicBezTo>
                    <a:cubicBezTo>
                      <a:pt x="93" y="106"/>
                      <a:pt x="99" y="105"/>
                      <a:pt x="98" y="103"/>
                    </a:cubicBezTo>
                    <a:cubicBezTo>
                      <a:pt x="98" y="103"/>
                      <a:pt x="101" y="100"/>
                      <a:pt x="104" y="100"/>
                    </a:cubicBezTo>
                    <a:cubicBezTo>
                      <a:pt x="104" y="100"/>
                      <a:pt x="106" y="100"/>
                      <a:pt x="109" y="100"/>
                    </a:cubicBezTo>
                    <a:cubicBezTo>
                      <a:pt x="110" y="100"/>
                      <a:pt x="114" y="104"/>
                      <a:pt x="114" y="99"/>
                    </a:cubicBezTo>
                    <a:cubicBezTo>
                      <a:pt x="114" y="99"/>
                      <a:pt x="118" y="96"/>
                      <a:pt x="115" y="96"/>
                    </a:cubicBezTo>
                    <a:cubicBezTo>
                      <a:pt x="115" y="96"/>
                      <a:pt x="111" y="88"/>
                      <a:pt x="115" y="87"/>
                    </a:cubicBezTo>
                    <a:cubicBezTo>
                      <a:pt x="115" y="88"/>
                      <a:pt x="123" y="83"/>
                      <a:pt x="126" y="88"/>
                    </a:cubicBezTo>
                    <a:cubicBezTo>
                      <a:pt x="126" y="88"/>
                      <a:pt x="126" y="88"/>
                      <a:pt x="126" y="88"/>
                    </a:cubicBezTo>
                    <a:cubicBezTo>
                      <a:pt x="126" y="89"/>
                      <a:pt x="127" y="89"/>
                      <a:pt x="127" y="89"/>
                    </a:cubicBezTo>
                    <a:cubicBezTo>
                      <a:pt x="128" y="89"/>
                      <a:pt x="132" y="89"/>
                      <a:pt x="132" y="87"/>
                    </a:cubicBezTo>
                    <a:cubicBezTo>
                      <a:pt x="132" y="87"/>
                      <a:pt x="139" y="88"/>
                      <a:pt x="139" y="85"/>
                    </a:cubicBezTo>
                    <a:cubicBezTo>
                      <a:pt x="139" y="85"/>
                      <a:pt x="139" y="77"/>
                      <a:pt x="139" y="77"/>
                    </a:cubicBezTo>
                    <a:cubicBezTo>
                      <a:pt x="139" y="77"/>
                      <a:pt x="139" y="75"/>
                      <a:pt x="141" y="75"/>
                    </a:cubicBezTo>
                    <a:cubicBezTo>
                      <a:pt x="141" y="75"/>
                      <a:pt x="147" y="77"/>
                      <a:pt x="147" y="73"/>
                    </a:cubicBezTo>
                    <a:cubicBezTo>
                      <a:pt x="147" y="73"/>
                      <a:pt x="153" y="72"/>
                      <a:pt x="152" y="69"/>
                    </a:cubicBezTo>
                    <a:cubicBezTo>
                      <a:pt x="152" y="69"/>
                      <a:pt x="154" y="65"/>
                      <a:pt x="154" y="62"/>
                    </a:cubicBezTo>
                    <a:cubicBezTo>
                      <a:pt x="154" y="62"/>
                      <a:pt x="157" y="61"/>
                      <a:pt x="157" y="59"/>
                    </a:cubicBezTo>
                    <a:cubicBezTo>
                      <a:pt x="159" y="57"/>
                      <a:pt x="161" y="56"/>
                      <a:pt x="161" y="56"/>
                    </a:cubicBezTo>
                    <a:cubicBezTo>
                      <a:pt x="161" y="56"/>
                      <a:pt x="157" y="52"/>
                      <a:pt x="162" y="52"/>
                    </a:cubicBezTo>
                    <a:cubicBezTo>
                      <a:pt x="162" y="52"/>
                      <a:pt x="162" y="51"/>
                      <a:pt x="162" y="50"/>
                    </a:cubicBezTo>
                    <a:cubicBezTo>
                      <a:pt x="162" y="50"/>
                      <a:pt x="162" y="50"/>
                      <a:pt x="162" y="50"/>
                    </a:cubicBezTo>
                    <a:cubicBezTo>
                      <a:pt x="162" y="50"/>
                      <a:pt x="162" y="50"/>
                      <a:pt x="163" y="50"/>
                    </a:cubicBezTo>
                    <a:cubicBezTo>
                      <a:pt x="163" y="49"/>
                      <a:pt x="164" y="49"/>
                      <a:pt x="166" y="48"/>
                    </a:cubicBezTo>
                    <a:cubicBezTo>
                      <a:pt x="166" y="49"/>
                      <a:pt x="170" y="50"/>
                      <a:pt x="172" y="48"/>
                    </a:cubicBezTo>
                    <a:cubicBezTo>
                      <a:pt x="172" y="48"/>
                      <a:pt x="172" y="48"/>
                      <a:pt x="172" y="48"/>
                    </a:cubicBezTo>
                    <a:cubicBezTo>
                      <a:pt x="172" y="48"/>
                      <a:pt x="174" y="42"/>
                      <a:pt x="171" y="42"/>
                    </a:cubicBezTo>
                    <a:close/>
                    <a:moveTo>
                      <a:pt x="239" y="105"/>
                    </a:moveTo>
                    <a:cubicBezTo>
                      <a:pt x="239" y="105"/>
                      <a:pt x="235" y="100"/>
                      <a:pt x="231" y="99"/>
                    </a:cubicBezTo>
                    <a:cubicBezTo>
                      <a:pt x="231" y="99"/>
                      <a:pt x="223" y="96"/>
                      <a:pt x="229" y="93"/>
                    </a:cubicBezTo>
                    <a:cubicBezTo>
                      <a:pt x="229" y="92"/>
                      <a:pt x="231" y="89"/>
                      <a:pt x="230" y="87"/>
                    </a:cubicBezTo>
                    <a:cubicBezTo>
                      <a:pt x="230" y="87"/>
                      <a:pt x="221" y="85"/>
                      <a:pt x="231" y="84"/>
                    </a:cubicBezTo>
                    <a:cubicBezTo>
                      <a:pt x="231" y="85"/>
                      <a:pt x="244" y="82"/>
                      <a:pt x="231" y="80"/>
                    </a:cubicBezTo>
                    <a:cubicBezTo>
                      <a:pt x="231" y="80"/>
                      <a:pt x="220" y="82"/>
                      <a:pt x="225" y="77"/>
                    </a:cubicBezTo>
                    <a:cubicBezTo>
                      <a:pt x="225" y="77"/>
                      <a:pt x="219" y="68"/>
                      <a:pt x="217" y="75"/>
                    </a:cubicBezTo>
                    <a:cubicBezTo>
                      <a:pt x="217" y="76"/>
                      <a:pt x="207" y="77"/>
                      <a:pt x="211" y="71"/>
                    </a:cubicBezTo>
                    <a:cubicBezTo>
                      <a:pt x="211" y="71"/>
                      <a:pt x="208" y="67"/>
                      <a:pt x="207" y="66"/>
                    </a:cubicBezTo>
                    <a:cubicBezTo>
                      <a:pt x="207" y="66"/>
                      <a:pt x="206" y="57"/>
                      <a:pt x="203" y="56"/>
                    </a:cubicBezTo>
                    <a:cubicBezTo>
                      <a:pt x="203" y="57"/>
                      <a:pt x="200" y="56"/>
                      <a:pt x="200" y="63"/>
                    </a:cubicBezTo>
                    <a:cubicBezTo>
                      <a:pt x="200" y="64"/>
                      <a:pt x="193" y="63"/>
                      <a:pt x="193" y="65"/>
                    </a:cubicBezTo>
                    <a:cubicBezTo>
                      <a:pt x="193" y="66"/>
                      <a:pt x="188" y="68"/>
                      <a:pt x="187" y="69"/>
                    </a:cubicBezTo>
                    <a:cubicBezTo>
                      <a:pt x="187" y="77"/>
                      <a:pt x="187" y="77"/>
                      <a:pt x="187" y="77"/>
                    </a:cubicBezTo>
                    <a:cubicBezTo>
                      <a:pt x="187" y="77"/>
                      <a:pt x="186" y="80"/>
                      <a:pt x="199" y="80"/>
                    </a:cubicBezTo>
                    <a:cubicBezTo>
                      <a:pt x="199" y="80"/>
                      <a:pt x="200" y="84"/>
                      <a:pt x="201" y="85"/>
                    </a:cubicBezTo>
                    <a:cubicBezTo>
                      <a:pt x="200" y="85"/>
                      <a:pt x="211" y="89"/>
                      <a:pt x="202" y="89"/>
                    </a:cubicBezTo>
                    <a:cubicBezTo>
                      <a:pt x="202" y="90"/>
                      <a:pt x="201" y="92"/>
                      <a:pt x="201" y="94"/>
                    </a:cubicBezTo>
                    <a:cubicBezTo>
                      <a:pt x="201" y="95"/>
                      <a:pt x="198" y="93"/>
                      <a:pt x="199" y="99"/>
                    </a:cubicBezTo>
                    <a:cubicBezTo>
                      <a:pt x="199" y="99"/>
                      <a:pt x="198" y="99"/>
                      <a:pt x="198" y="100"/>
                    </a:cubicBezTo>
                    <a:cubicBezTo>
                      <a:pt x="199" y="100"/>
                      <a:pt x="200" y="100"/>
                      <a:pt x="201" y="100"/>
                    </a:cubicBezTo>
                    <a:cubicBezTo>
                      <a:pt x="201" y="101"/>
                      <a:pt x="215" y="101"/>
                      <a:pt x="215" y="101"/>
                    </a:cubicBezTo>
                    <a:cubicBezTo>
                      <a:pt x="215" y="101"/>
                      <a:pt x="220" y="104"/>
                      <a:pt x="220" y="106"/>
                    </a:cubicBezTo>
                    <a:cubicBezTo>
                      <a:pt x="221" y="107"/>
                      <a:pt x="222" y="110"/>
                      <a:pt x="223" y="110"/>
                    </a:cubicBezTo>
                    <a:cubicBezTo>
                      <a:pt x="223" y="111"/>
                      <a:pt x="227" y="109"/>
                      <a:pt x="227" y="113"/>
                    </a:cubicBezTo>
                    <a:cubicBezTo>
                      <a:pt x="227" y="113"/>
                      <a:pt x="220" y="117"/>
                      <a:pt x="225" y="118"/>
                    </a:cubicBezTo>
                    <a:cubicBezTo>
                      <a:pt x="225" y="117"/>
                      <a:pt x="229" y="122"/>
                      <a:pt x="231" y="119"/>
                    </a:cubicBezTo>
                    <a:cubicBezTo>
                      <a:pt x="231" y="119"/>
                      <a:pt x="232" y="116"/>
                      <a:pt x="237" y="115"/>
                    </a:cubicBezTo>
                    <a:cubicBezTo>
                      <a:pt x="238" y="115"/>
                      <a:pt x="238" y="114"/>
                      <a:pt x="239" y="112"/>
                    </a:cubicBezTo>
                    <a:cubicBezTo>
                      <a:pt x="239" y="112"/>
                      <a:pt x="239" y="112"/>
                      <a:pt x="239" y="112"/>
                    </a:cubicBezTo>
                    <a:cubicBezTo>
                      <a:pt x="239" y="105"/>
                      <a:pt x="239" y="105"/>
                      <a:pt x="239" y="10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8" name="Freeform 237">
                <a:extLst>
                  <a:ext uri="{FF2B5EF4-FFF2-40B4-BE49-F238E27FC236}">
                    <a16:creationId xmlns:a16="http://schemas.microsoft.com/office/drawing/2014/main" id="{FE9C40B2-00A0-8906-D271-2270BF07D03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589397" y="4150837"/>
                <a:ext cx="2822294" cy="1849762"/>
              </a:xfrm>
              <a:custGeom>
                <a:avLst/>
                <a:gdLst>
                  <a:gd name="T0" fmla="*/ 851 w 890"/>
                  <a:gd name="T1" fmla="*/ 42 h 580"/>
                  <a:gd name="T2" fmla="*/ 840 w 890"/>
                  <a:gd name="T3" fmla="*/ 14 h 580"/>
                  <a:gd name="T4" fmla="*/ 800 w 890"/>
                  <a:gd name="T5" fmla="*/ 75 h 580"/>
                  <a:gd name="T6" fmla="*/ 735 w 890"/>
                  <a:gd name="T7" fmla="*/ 98 h 580"/>
                  <a:gd name="T8" fmla="*/ 700 w 890"/>
                  <a:gd name="T9" fmla="*/ 79 h 580"/>
                  <a:gd name="T10" fmla="*/ 640 w 890"/>
                  <a:gd name="T11" fmla="*/ 68 h 580"/>
                  <a:gd name="T12" fmla="*/ 605 w 890"/>
                  <a:gd name="T13" fmla="*/ 108 h 580"/>
                  <a:gd name="T14" fmla="*/ 556 w 890"/>
                  <a:gd name="T15" fmla="*/ 128 h 580"/>
                  <a:gd name="T16" fmla="*/ 515 w 890"/>
                  <a:gd name="T17" fmla="*/ 155 h 580"/>
                  <a:gd name="T18" fmla="*/ 479 w 890"/>
                  <a:gd name="T19" fmla="*/ 162 h 580"/>
                  <a:gd name="T20" fmla="*/ 443 w 890"/>
                  <a:gd name="T21" fmla="*/ 151 h 580"/>
                  <a:gd name="T22" fmla="*/ 394 w 890"/>
                  <a:gd name="T23" fmla="*/ 177 h 580"/>
                  <a:gd name="T24" fmla="*/ 357 w 890"/>
                  <a:gd name="T25" fmla="*/ 190 h 580"/>
                  <a:gd name="T26" fmla="*/ 282 w 890"/>
                  <a:gd name="T27" fmla="*/ 215 h 580"/>
                  <a:gd name="T28" fmla="*/ 254 w 890"/>
                  <a:gd name="T29" fmla="*/ 219 h 580"/>
                  <a:gd name="T30" fmla="*/ 216 w 890"/>
                  <a:gd name="T31" fmla="*/ 251 h 580"/>
                  <a:gd name="T32" fmla="*/ 194 w 890"/>
                  <a:gd name="T33" fmla="*/ 287 h 580"/>
                  <a:gd name="T34" fmla="*/ 148 w 890"/>
                  <a:gd name="T35" fmla="*/ 320 h 580"/>
                  <a:gd name="T36" fmla="*/ 98 w 890"/>
                  <a:gd name="T37" fmla="*/ 267 h 580"/>
                  <a:gd name="T38" fmla="*/ 62 w 890"/>
                  <a:gd name="T39" fmla="*/ 201 h 580"/>
                  <a:gd name="T40" fmla="*/ 39 w 890"/>
                  <a:gd name="T41" fmla="*/ 175 h 580"/>
                  <a:gd name="T42" fmla="*/ 4 w 890"/>
                  <a:gd name="T43" fmla="*/ 194 h 580"/>
                  <a:gd name="T44" fmla="*/ 29 w 890"/>
                  <a:gd name="T45" fmla="*/ 239 h 580"/>
                  <a:gd name="T46" fmla="*/ 41 w 890"/>
                  <a:gd name="T47" fmla="*/ 274 h 580"/>
                  <a:gd name="T48" fmla="*/ 20 w 890"/>
                  <a:gd name="T49" fmla="*/ 301 h 580"/>
                  <a:gd name="T50" fmla="*/ 6 w 890"/>
                  <a:gd name="T51" fmla="*/ 342 h 580"/>
                  <a:gd name="T52" fmla="*/ 35 w 890"/>
                  <a:gd name="T53" fmla="*/ 368 h 580"/>
                  <a:gd name="T54" fmla="*/ 49 w 890"/>
                  <a:gd name="T55" fmla="*/ 414 h 580"/>
                  <a:gd name="T56" fmla="*/ 78 w 890"/>
                  <a:gd name="T57" fmla="*/ 424 h 580"/>
                  <a:gd name="T58" fmla="*/ 102 w 890"/>
                  <a:gd name="T59" fmla="*/ 463 h 580"/>
                  <a:gd name="T60" fmla="*/ 115 w 890"/>
                  <a:gd name="T61" fmla="*/ 488 h 580"/>
                  <a:gd name="T62" fmla="*/ 130 w 890"/>
                  <a:gd name="T63" fmla="*/ 527 h 580"/>
                  <a:gd name="T64" fmla="*/ 156 w 890"/>
                  <a:gd name="T65" fmla="*/ 572 h 580"/>
                  <a:gd name="T66" fmla="*/ 188 w 890"/>
                  <a:gd name="T67" fmla="*/ 561 h 580"/>
                  <a:gd name="T68" fmla="*/ 207 w 890"/>
                  <a:gd name="T69" fmla="*/ 576 h 580"/>
                  <a:gd name="T70" fmla="*/ 246 w 890"/>
                  <a:gd name="T71" fmla="*/ 549 h 580"/>
                  <a:gd name="T72" fmla="*/ 287 w 890"/>
                  <a:gd name="T73" fmla="*/ 540 h 580"/>
                  <a:gd name="T74" fmla="*/ 317 w 890"/>
                  <a:gd name="T75" fmla="*/ 542 h 580"/>
                  <a:gd name="T76" fmla="*/ 353 w 890"/>
                  <a:gd name="T77" fmla="*/ 525 h 580"/>
                  <a:gd name="T78" fmla="*/ 391 w 890"/>
                  <a:gd name="T79" fmla="*/ 499 h 580"/>
                  <a:gd name="T80" fmla="*/ 426 w 890"/>
                  <a:gd name="T81" fmla="*/ 500 h 580"/>
                  <a:gd name="T82" fmla="*/ 475 w 890"/>
                  <a:gd name="T83" fmla="*/ 519 h 580"/>
                  <a:gd name="T84" fmla="*/ 496 w 890"/>
                  <a:gd name="T85" fmla="*/ 529 h 580"/>
                  <a:gd name="T86" fmla="*/ 537 w 890"/>
                  <a:gd name="T87" fmla="*/ 537 h 580"/>
                  <a:gd name="T88" fmla="*/ 559 w 890"/>
                  <a:gd name="T89" fmla="*/ 527 h 580"/>
                  <a:gd name="T90" fmla="*/ 578 w 890"/>
                  <a:gd name="T91" fmla="*/ 494 h 580"/>
                  <a:gd name="T92" fmla="*/ 628 w 890"/>
                  <a:gd name="T93" fmla="*/ 479 h 580"/>
                  <a:gd name="T94" fmla="*/ 645 w 890"/>
                  <a:gd name="T95" fmla="*/ 455 h 580"/>
                  <a:gd name="T96" fmla="*/ 670 w 890"/>
                  <a:gd name="T97" fmla="*/ 406 h 580"/>
                  <a:gd name="T98" fmla="*/ 711 w 890"/>
                  <a:gd name="T99" fmla="*/ 380 h 580"/>
                  <a:gd name="T100" fmla="*/ 710 w 890"/>
                  <a:gd name="T101" fmla="*/ 341 h 580"/>
                  <a:gd name="T102" fmla="*/ 685 w 890"/>
                  <a:gd name="T103" fmla="*/ 299 h 580"/>
                  <a:gd name="T104" fmla="*/ 696 w 890"/>
                  <a:gd name="T105" fmla="*/ 272 h 580"/>
                  <a:gd name="T106" fmla="*/ 744 w 890"/>
                  <a:gd name="T107" fmla="*/ 256 h 580"/>
                  <a:gd name="T108" fmla="*/ 781 w 890"/>
                  <a:gd name="T109" fmla="*/ 217 h 580"/>
                  <a:gd name="T110" fmla="*/ 793 w 890"/>
                  <a:gd name="T111" fmla="*/ 190 h 580"/>
                  <a:gd name="T112" fmla="*/ 813 w 890"/>
                  <a:gd name="T113" fmla="*/ 165 h 580"/>
                  <a:gd name="T114" fmla="*/ 837 w 890"/>
                  <a:gd name="T115" fmla="*/ 151 h 580"/>
                  <a:gd name="T116" fmla="*/ 866 w 890"/>
                  <a:gd name="T117" fmla="*/ 120 h 58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890"/>
                  <a:gd name="T178" fmla="*/ 0 h 580"/>
                  <a:gd name="T179" fmla="*/ 890 w 890"/>
                  <a:gd name="T180" fmla="*/ 580 h 58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890" h="580">
                    <a:moveTo>
                      <a:pt x="882" y="94"/>
                    </a:moveTo>
                    <a:cubicBezTo>
                      <a:pt x="881" y="89"/>
                      <a:pt x="874" y="93"/>
                      <a:pt x="874" y="93"/>
                    </a:cubicBezTo>
                    <a:cubicBezTo>
                      <a:pt x="874" y="88"/>
                      <a:pt x="867" y="90"/>
                      <a:pt x="867" y="90"/>
                    </a:cubicBezTo>
                    <a:cubicBezTo>
                      <a:pt x="866" y="87"/>
                      <a:pt x="862" y="87"/>
                      <a:pt x="862" y="87"/>
                    </a:cubicBezTo>
                    <a:cubicBezTo>
                      <a:pt x="861" y="83"/>
                      <a:pt x="858" y="83"/>
                      <a:pt x="858" y="83"/>
                    </a:cubicBezTo>
                    <a:cubicBezTo>
                      <a:pt x="858" y="71"/>
                      <a:pt x="855" y="71"/>
                      <a:pt x="855" y="71"/>
                    </a:cubicBezTo>
                    <a:cubicBezTo>
                      <a:pt x="856" y="61"/>
                      <a:pt x="854" y="60"/>
                      <a:pt x="853" y="60"/>
                    </a:cubicBezTo>
                    <a:cubicBezTo>
                      <a:pt x="850" y="60"/>
                      <a:pt x="851" y="41"/>
                      <a:pt x="851" y="42"/>
                    </a:cubicBezTo>
                    <a:cubicBezTo>
                      <a:pt x="852" y="42"/>
                      <a:pt x="856" y="32"/>
                      <a:pt x="856" y="32"/>
                    </a:cubicBezTo>
                    <a:cubicBezTo>
                      <a:pt x="859" y="30"/>
                      <a:pt x="858" y="8"/>
                      <a:pt x="858" y="8"/>
                    </a:cubicBezTo>
                    <a:cubicBezTo>
                      <a:pt x="863" y="6"/>
                      <a:pt x="858" y="3"/>
                      <a:pt x="858" y="4"/>
                    </a:cubicBezTo>
                    <a:cubicBezTo>
                      <a:pt x="858" y="1"/>
                      <a:pt x="849" y="0"/>
                      <a:pt x="849" y="0"/>
                    </a:cubicBezTo>
                    <a:cubicBezTo>
                      <a:pt x="848" y="2"/>
                      <a:pt x="847" y="3"/>
                      <a:pt x="847" y="3"/>
                    </a:cubicBezTo>
                    <a:cubicBezTo>
                      <a:pt x="846" y="2"/>
                      <a:pt x="845" y="8"/>
                      <a:pt x="845" y="8"/>
                    </a:cubicBezTo>
                    <a:cubicBezTo>
                      <a:pt x="843" y="8"/>
                      <a:pt x="842" y="10"/>
                      <a:pt x="842" y="10"/>
                    </a:cubicBezTo>
                    <a:cubicBezTo>
                      <a:pt x="840" y="10"/>
                      <a:pt x="840" y="14"/>
                      <a:pt x="840" y="14"/>
                    </a:cubicBezTo>
                    <a:cubicBezTo>
                      <a:pt x="837" y="14"/>
                      <a:pt x="835" y="18"/>
                      <a:pt x="835" y="18"/>
                    </a:cubicBezTo>
                    <a:cubicBezTo>
                      <a:pt x="831" y="21"/>
                      <a:pt x="832" y="33"/>
                      <a:pt x="832" y="33"/>
                    </a:cubicBezTo>
                    <a:cubicBezTo>
                      <a:pt x="832" y="34"/>
                      <a:pt x="827" y="40"/>
                      <a:pt x="827" y="39"/>
                    </a:cubicBezTo>
                    <a:cubicBezTo>
                      <a:pt x="828" y="58"/>
                      <a:pt x="823" y="60"/>
                      <a:pt x="823" y="60"/>
                    </a:cubicBezTo>
                    <a:cubicBezTo>
                      <a:pt x="820" y="60"/>
                      <a:pt x="819" y="68"/>
                      <a:pt x="819" y="68"/>
                    </a:cubicBezTo>
                    <a:cubicBezTo>
                      <a:pt x="816" y="68"/>
                      <a:pt x="814" y="70"/>
                      <a:pt x="813" y="69"/>
                    </a:cubicBezTo>
                    <a:cubicBezTo>
                      <a:pt x="808" y="70"/>
                      <a:pt x="805" y="72"/>
                      <a:pt x="805" y="71"/>
                    </a:cubicBezTo>
                    <a:cubicBezTo>
                      <a:pt x="802" y="73"/>
                      <a:pt x="801" y="75"/>
                      <a:pt x="800" y="75"/>
                    </a:cubicBezTo>
                    <a:cubicBezTo>
                      <a:pt x="800" y="77"/>
                      <a:pt x="797" y="80"/>
                      <a:pt x="797" y="80"/>
                    </a:cubicBezTo>
                    <a:cubicBezTo>
                      <a:pt x="797" y="82"/>
                      <a:pt x="789" y="83"/>
                      <a:pt x="789" y="83"/>
                    </a:cubicBezTo>
                    <a:cubicBezTo>
                      <a:pt x="788" y="83"/>
                      <a:pt x="785" y="87"/>
                      <a:pt x="785" y="87"/>
                    </a:cubicBezTo>
                    <a:cubicBezTo>
                      <a:pt x="781" y="90"/>
                      <a:pt x="777" y="90"/>
                      <a:pt x="777" y="90"/>
                    </a:cubicBezTo>
                    <a:cubicBezTo>
                      <a:pt x="773" y="90"/>
                      <a:pt x="775" y="92"/>
                      <a:pt x="775" y="91"/>
                    </a:cubicBezTo>
                    <a:cubicBezTo>
                      <a:pt x="772" y="92"/>
                      <a:pt x="773" y="94"/>
                      <a:pt x="773" y="94"/>
                    </a:cubicBezTo>
                    <a:cubicBezTo>
                      <a:pt x="746" y="93"/>
                      <a:pt x="749" y="97"/>
                      <a:pt x="750" y="97"/>
                    </a:cubicBezTo>
                    <a:cubicBezTo>
                      <a:pt x="739" y="95"/>
                      <a:pt x="735" y="98"/>
                      <a:pt x="735" y="98"/>
                    </a:cubicBezTo>
                    <a:cubicBezTo>
                      <a:pt x="735" y="99"/>
                      <a:pt x="731" y="99"/>
                      <a:pt x="731" y="99"/>
                    </a:cubicBezTo>
                    <a:cubicBezTo>
                      <a:pt x="731" y="97"/>
                      <a:pt x="730" y="97"/>
                      <a:pt x="730" y="97"/>
                    </a:cubicBezTo>
                    <a:cubicBezTo>
                      <a:pt x="728" y="92"/>
                      <a:pt x="728" y="92"/>
                      <a:pt x="728" y="92"/>
                    </a:cubicBezTo>
                    <a:cubicBezTo>
                      <a:pt x="724" y="92"/>
                      <a:pt x="720" y="91"/>
                      <a:pt x="720" y="90"/>
                    </a:cubicBezTo>
                    <a:cubicBezTo>
                      <a:pt x="716" y="90"/>
                      <a:pt x="713" y="88"/>
                      <a:pt x="713" y="88"/>
                    </a:cubicBezTo>
                    <a:cubicBezTo>
                      <a:pt x="710" y="88"/>
                      <a:pt x="708" y="85"/>
                      <a:pt x="709" y="85"/>
                    </a:cubicBezTo>
                    <a:cubicBezTo>
                      <a:pt x="706" y="85"/>
                      <a:pt x="703" y="83"/>
                      <a:pt x="703" y="83"/>
                    </a:cubicBezTo>
                    <a:cubicBezTo>
                      <a:pt x="704" y="81"/>
                      <a:pt x="699" y="78"/>
                      <a:pt x="700" y="79"/>
                    </a:cubicBezTo>
                    <a:cubicBezTo>
                      <a:pt x="697" y="76"/>
                      <a:pt x="691" y="78"/>
                      <a:pt x="691" y="78"/>
                    </a:cubicBezTo>
                    <a:cubicBezTo>
                      <a:pt x="689" y="76"/>
                      <a:pt x="689" y="76"/>
                      <a:pt x="689" y="76"/>
                    </a:cubicBezTo>
                    <a:cubicBezTo>
                      <a:pt x="684" y="76"/>
                      <a:pt x="682" y="72"/>
                      <a:pt x="681" y="72"/>
                    </a:cubicBezTo>
                    <a:cubicBezTo>
                      <a:pt x="679" y="68"/>
                      <a:pt x="678" y="73"/>
                      <a:pt x="678" y="73"/>
                    </a:cubicBezTo>
                    <a:cubicBezTo>
                      <a:pt x="674" y="73"/>
                      <a:pt x="670" y="71"/>
                      <a:pt x="670" y="71"/>
                    </a:cubicBezTo>
                    <a:cubicBezTo>
                      <a:pt x="664" y="71"/>
                      <a:pt x="661" y="68"/>
                      <a:pt x="661" y="68"/>
                    </a:cubicBezTo>
                    <a:cubicBezTo>
                      <a:pt x="658" y="66"/>
                      <a:pt x="658" y="66"/>
                      <a:pt x="658" y="66"/>
                    </a:cubicBezTo>
                    <a:cubicBezTo>
                      <a:pt x="643" y="64"/>
                      <a:pt x="640" y="68"/>
                      <a:pt x="640" y="68"/>
                    </a:cubicBezTo>
                    <a:cubicBezTo>
                      <a:pt x="636" y="71"/>
                      <a:pt x="635" y="75"/>
                      <a:pt x="635" y="75"/>
                    </a:cubicBezTo>
                    <a:cubicBezTo>
                      <a:pt x="630" y="75"/>
                      <a:pt x="628" y="78"/>
                      <a:pt x="628" y="77"/>
                    </a:cubicBezTo>
                    <a:cubicBezTo>
                      <a:pt x="624" y="75"/>
                      <a:pt x="623" y="82"/>
                      <a:pt x="623" y="81"/>
                    </a:cubicBezTo>
                    <a:cubicBezTo>
                      <a:pt x="618" y="85"/>
                      <a:pt x="623" y="90"/>
                      <a:pt x="623" y="89"/>
                    </a:cubicBezTo>
                    <a:cubicBezTo>
                      <a:pt x="628" y="93"/>
                      <a:pt x="624" y="99"/>
                      <a:pt x="625" y="99"/>
                    </a:cubicBezTo>
                    <a:cubicBezTo>
                      <a:pt x="622" y="98"/>
                      <a:pt x="621" y="103"/>
                      <a:pt x="620" y="103"/>
                    </a:cubicBezTo>
                    <a:cubicBezTo>
                      <a:pt x="618" y="102"/>
                      <a:pt x="616" y="107"/>
                      <a:pt x="616" y="107"/>
                    </a:cubicBezTo>
                    <a:cubicBezTo>
                      <a:pt x="608" y="106"/>
                      <a:pt x="605" y="108"/>
                      <a:pt x="605" y="108"/>
                    </a:cubicBezTo>
                    <a:cubicBezTo>
                      <a:pt x="605" y="107"/>
                      <a:pt x="604" y="113"/>
                      <a:pt x="604" y="113"/>
                    </a:cubicBezTo>
                    <a:cubicBezTo>
                      <a:pt x="599" y="113"/>
                      <a:pt x="598" y="117"/>
                      <a:pt x="599" y="117"/>
                    </a:cubicBezTo>
                    <a:cubicBezTo>
                      <a:pt x="597" y="117"/>
                      <a:pt x="593" y="121"/>
                      <a:pt x="593" y="120"/>
                    </a:cubicBezTo>
                    <a:cubicBezTo>
                      <a:pt x="584" y="120"/>
                      <a:pt x="585" y="123"/>
                      <a:pt x="585" y="123"/>
                    </a:cubicBezTo>
                    <a:cubicBezTo>
                      <a:pt x="579" y="122"/>
                      <a:pt x="579" y="125"/>
                      <a:pt x="579" y="125"/>
                    </a:cubicBezTo>
                    <a:cubicBezTo>
                      <a:pt x="566" y="125"/>
                      <a:pt x="564" y="126"/>
                      <a:pt x="563" y="126"/>
                    </a:cubicBezTo>
                    <a:cubicBezTo>
                      <a:pt x="563" y="129"/>
                      <a:pt x="559" y="129"/>
                      <a:pt x="560" y="129"/>
                    </a:cubicBezTo>
                    <a:cubicBezTo>
                      <a:pt x="559" y="125"/>
                      <a:pt x="556" y="128"/>
                      <a:pt x="556" y="128"/>
                    </a:cubicBezTo>
                    <a:cubicBezTo>
                      <a:pt x="555" y="128"/>
                      <a:pt x="551" y="130"/>
                      <a:pt x="551" y="130"/>
                    </a:cubicBezTo>
                    <a:cubicBezTo>
                      <a:pt x="552" y="130"/>
                      <a:pt x="545" y="135"/>
                      <a:pt x="545" y="135"/>
                    </a:cubicBezTo>
                    <a:cubicBezTo>
                      <a:pt x="543" y="135"/>
                      <a:pt x="540" y="137"/>
                      <a:pt x="540" y="137"/>
                    </a:cubicBezTo>
                    <a:cubicBezTo>
                      <a:pt x="538" y="137"/>
                      <a:pt x="535" y="140"/>
                      <a:pt x="535" y="140"/>
                    </a:cubicBezTo>
                    <a:cubicBezTo>
                      <a:pt x="532" y="140"/>
                      <a:pt x="531" y="143"/>
                      <a:pt x="531" y="142"/>
                    </a:cubicBezTo>
                    <a:cubicBezTo>
                      <a:pt x="528" y="141"/>
                      <a:pt x="528" y="148"/>
                      <a:pt x="528" y="148"/>
                    </a:cubicBezTo>
                    <a:cubicBezTo>
                      <a:pt x="525" y="147"/>
                      <a:pt x="523" y="152"/>
                      <a:pt x="523" y="152"/>
                    </a:cubicBezTo>
                    <a:cubicBezTo>
                      <a:pt x="520" y="152"/>
                      <a:pt x="515" y="155"/>
                      <a:pt x="515" y="155"/>
                    </a:cubicBezTo>
                    <a:cubicBezTo>
                      <a:pt x="512" y="155"/>
                      <a:pt x="512" y="157"/>
                      <a:pt x="511" y="157"/>
                    </a:cubicBezTo>
                    <a:cubicBezTo>
                      <a:pt x="508" y="157"/>
                      <a:pt x="507" y="160"/>
                      <a:pt x="507" y="160"/>
                    </a:cubicBezTo>
                    <a:cubicBezTo>
                      <a:pt x="503" y="163"/>
                      <a:pt x="503" y="163"/>
                      <a:pt x="503" y="163"/>
                    </a:cubicBezTo>
                    <a:cubicBezTo>
                      <a:pt x="501" y="164"/>
                      <a:pt x="501" y="164"/>
                      <a:pt x="501" y="164"/>
                    </a:cubicBezTo>
                    <a:cubicBezTo>
                      <a:pt x="495" y="167"/>
                      <a:pt x="495" y="167"/>
                      <a:pt x="495" y="167"/>
                    </a:cubicBezTo>
                    <a:cubicBezTo>
                      <a:pt x="493" y="167"/>
                      <a:pt x="490" y="170"/>
                      <a:pt x="491" y="170"/>
                    </a:cubicBezTo>
                    <a:cubicBezTo>
                      <a:pt x="486" y="173"/>
                      <a:pt x="485" y="169"/>
                      <a:pt x="486" y="168"/>
                    </a:cubicBezTo>
                    <a:cubicBezTo>
                      <a:pt x="486" y="167"/>
                      <a:pt x="479" y="163"/>
                      <a:pt x="479" y="162"/>
                    </a:cubicBezTo>
                    <a:cubicBezTo>
                      <a:pt x="474" y="163"/>
                      <a:pt x="472" y="160"/>
                      <a:pt x="472" y="160"/>
                    </a:cubicBezTo>
                    <a:cubicBezTo>
                      <a:pt x="470" y="160"/>
                      <a:pt x="466" y="157"/>
                      <a:pt x="467" y="157"/>
                    </a:cubicBezTo>
                    <a:cubicBezTo>
                      <a:pt x="464" y="157"/>
                      <a:pt x="463" y="155"/>
                      <a:pt x="463" y="155"/>
                    </a:cubicBezTo>
                    <a:cubicBezTo>
                      <a:pt x="457" y="156"/>
                      <a:pt x="455" y="153"/>
                      <a:pt x="455" y="152"/>
                    </a:cubicBezTo>
                    <a:cubicBezTo>
                      <a:pt x="452" y="152"/>
                      <a:pt x="448" y="151"/>
                      <a:pt x="448" y="151"/>
                    </a:cubicBezTo>
                    <a:cubicBezTo>
                      <a:pt x="445" y="150"/>
                      <a:pt x="445" y="150"/>
                      <a:pt x="445" y="150"/>
                    </a:cubicBezTo>
                    <a:cubicBezTo>
                      <a:pt x="448" y="148"/>
                      <a:pt x="446" y="148"/>
                      <a:pt x="445" y="148"/>
                    </a:cubicBezTo>
                    <a:cubicBezTo>
                      <a:pt x="443" y="144"/>
                      <a:pt x="443" y="151"/>
                      <a:pt x="443" y="151"/>
                    </a:cubicBezTo>
                    <a:cubicBezTo>
                      <a:pt x="441" y="151"/>
                      <a:pt x="437" y="153"/>
                      <a:pt x="437" y="153"/>
                    </a:cubicBezTo>
                    <a:cubicBezTo>
                      <a:pt x="435" y="156"/>
                      <a:pt x="435" y="156"/>
                      <a:pt x="435" y="156"/>
                    </a:cubicBezTo>
                    <a:cubicBezTo>
                      <a:pt x="440" y="159"/>
                      <a:pt x="432" y="163"/>
                      <a:pt x="432" y="163"/>
                    </a:cubicBezTo>
                    <a:cubicBezTo>
                      <a:pt x="428" y="163"/>
                      <a:pt x="429" y="168"/>
                      <a:pt x="429" y="167"/>
                    </a:cubicBezTo>
                    <a:cubicBezTo>
                      <a:pt x="429" y="171"/>
                      <a:pt x="425" y="169"/>
                      <a:pt x="426" y="169"/>
                    </a:cubicBezTo>
                    <a:cubicBezTo>
                      <a:pt x="424" y="166"/>
                      <a:pt x="409" y="167"/>
                      <a:pt x="409" y="167"/>
                    </a:cubicBezTo>
                    <a:cubicBezTo>
                      <a:pt x="408" y="170"/>
                      <a:pt x="401" y="170"/>
                      <a:pt x="400" y="170"/>
                    </a:cubicBezTo>
                    <a:cubicBezTo>
                      <a:pt x="395" y="171"/>
                      <a:pt x="394" y="178"/>
                      <a:pt x="394" y="177"/>
                    </a:cubicBezTo>
                    <a:cubicBezTo>
                      <a:pt x="391" y="178"/>
                      <a:pt x="401" y="185"/>
                      <a:pt x="401" y="185"/>
                    </a:cubicBezTo>
                    <a:cubicBezTo>
                      <a:pt x="412" y="182"/>
                      <a:pt x="398" y="192"/>
                      <a:pt x="399" y="192"/>
                    </a:cubicBezTo>
                    <a:cubicBezTo>
                      <a:pt x="397" y="195"/>
                      <a:pt x="394" y="196"/>
                      <a:pt x="394" y="196"/>
                    </a:cubicBezTo>
                    <a:cubicBezTo>
                      <a:pt x="386" y="196"/>
                      <a:pt x="380" y="199"/>
                      <a:pt x="380" y="199"/>
                    </a:cubicBezTo>
                    <a:cubicBezTo>
                      <a:pt x="377" y="202"/>
                      <a:pt x="376" y="199"/>
                      <a:pt x="376" y="198"/>
                    </a:cubicBezTo>
                    <a:cubicBezTo>
                      <a:pt x="376" y="199"/>
                      <a:pt x="370" y="197"/>
                      <a:pt x="371" y="197"/>
                    </a:cubicBezTo>
                    <a:cubicBezTo>
                      <a:pt x="370" y="181"/>
                      <a:pt x="366" y="191"/>
                      <a:pt x="365" y="191"/>
                    </a:cubicBezTo>
                    <a:cubicBezTo>
                      <a:pt x="362" y="195"/>
                      <a:pt x="358" y="191"/>
                      <a:pt x="357" y="190"/>
                    </a:cubicBezTo>
                    <a:cubicBezTo>
                      <a:pt x="356" y="190"/>
                      <a:pt x="348" y="189"/>
                      <a:pt x="347" y="189"/>
                    </a:cubicBezTo>
                    <a:cubicBezTo>
                      <a:pt x="347" y="185"/>
                      <a:pt x="342" y="190"/>
                      <a:pt x="342" y="190"/>
                    </a:cubicBezTo>
                    <a:cubicBezTo>
                      <a:pt x="335" y="190"/>
                      <a:pt x="332" y="194"/>
                      <a:pt x="332" y="194"/>
                    </a:cubicBezTo>
                    <a:cubicBezTo>
                      <a:pt x="328" y="194"/>
                      <a:pt x="321" y="198"/>
                      <a:pt x="321" y="198"/>
                    </a:cubicBezTo>
                    <a:cubicBezTo>
                      <a:pt x="315" y="201"/>
                      <a:pt x="311" y="206"/>
                      <a:pt x="311" y="205"/>
                    </a:cubicBezTo>
                    <a:cubicBezTo>
                      <a:pt x="309" y="205"/>
                      <a:pt x="305" y="211"/>
                      <a:pt x="305" y="210"/>
                    </a:cubicBezTo>
                    <a:cubicBezTo>
                      <a:pt x="305" y="213"/>
                      <a:pt x="296" y="213"/>
                      <a:pt x="296" y="213"/>
                    </a:cubicBezTo>
                    <a:cubicBezTo>
                      <a:pt x="294" y="217"/>
                      <a:pt x="282" y="215"/>
                      <a:pt x="282" y="215"/>
                    </a:cubicBezTo>
                    <a:cubicBezTo>
                      <a:pt x="278" y="213"/>
                      <a:pt x="282" y="205"/>
                      <a:pt x="282" y="204"/>
                    </a:cubicBezTo>
                    <a:cubicBezTo>
                      <a:pt x="284" y="199"/>
                      <a:pt x="281" y="196"/>
                      <a:pt x="282" y="196"/>
                    </a:cubicBezTo>
                    <a:cubicBezTo>
                      <a:pt x="280" y="190"/>
                      <a:pt x="278" y="196"/>
                      <a:pt x="278" y="196"/>
                    </a:cubicBezTo>
                    <a:cubicBezTo>
                      <a:pt x="272" y="201"/>
                      <a:pt x="272" y="201"/>
                      <a:pt x="272" y="201"/>
                    </a:cubicBezTo>
                    <a:cubicBezTo>
                      <a:pt x="268" y="196"/>
                      <a:pt x="267" y="201"/>
                      <a:pt x="267" y="201"/>
                    </a:cubicBezTo>
                    <a:cubicBezTo>
                      <a:pt x="263" y="200"/>
                      <a:pt x="259" y="203"/>
                      <a:pt x="259" y="203"/>
                    </a:cubicBezTo>
                    <a:cubicBezTo>
                      <a:pt x="255" y="202"/>
                      <a:pt x="255" y="208"/>
                      <a:pt x="255" y="208"/>
                    </a:cubicBezTo>
                    <a:cubicBezTo>
                      <a:pt x="253" y="207"/>
                      <a:pt x="253" y="219"/>
                      <a:pt x="254" y="219"/>
                    </a:cubicBezTo>
                    <a:cubicBezTo>
                      <a:pt x="256" y="219"/>
                      <a:pt x="253" y="223"/>
                      <a:pt x="253" y="223"/>
                    </a:cubicBezTo>
                    <a:cubicBezTo>
                      <a:pt x="246" y="225"/>
                      <a:pt x="246" y="225"/>
                      <a:pt x="246" y="225"/>
                    </a:cubicBezTo>
                    <a:cubicBezTo>
                      <a:pt x="242" y="228"/>
                      <a:pt x="236" y="225"/>
                      <a:pt x="234" y="224"/>
                    </a:cubicBezTo>
                    <a:cubicBezTo>
                      <a:pt x="233" y="226"/>
                      <a:pt x="233" y="227"/>
                      <a:pt x="233" y="227"/>
                    </a:cubicBezTo>
                    <a:cubicBezTo>
                      <a:pt x="228" y="231"/>
                      <a:pt x="228" y="231"/>
                      <a:pt x="228" y="231"/>
                    </a:cubicBezTo>
                    <a:cubicBezTo>
                      <a:pt x="221" y="239"/>
                      <a:pt x="221" y="239"/>
                      <a:pt x="221" y="239"/>
                    </a:cubicBezTo>
                    <a:cubicBezTo>
                      <a:pt x="217" y="244"/>
                      <a:pt x="217" y="244"/>
                      <a:pt x="217" y="244"/>
                    </a:cubicBezTo>
                    <a:cubicBezTo>
                      <a:pt x="214" y="243"/>
                      <a:pt x="216" y="251"/>
                      <a:pt x="216" y="251"/>
                    </a:cubicBezTo>
                    <a:cubicBezTo>
                      <a:pt x="218" y="251"/>
                      <a:pt x="218" y="257"/>
                      <a:pt x="218" y="257"/>
                    </a:cubicBezTo>
                    <a:cubicBezTo>
                      <a:pt x="217" y="257"/>
                      <a:pt x="213" y="260"/>
                      <a:pt x="213" y="260"/>
                    </a:cubicBezTo>
                    <a:cubicBezTo>
                      <a:pt x="212" y="260"/>
                      <a:pt x="213" y="263"/>
                      <a:pt x="213" y="263"/>
                    </a:cubicBezTo>
                    <a:cubicBezTo>
                      <a:pt x="216" y="263"/>
                      <a:pt x="215" y="270"/>
                      <a:pt x="215" y="269"/>
                    </a:cubicBezTo>
                    <a:cubicBezTo>
                      <a:pt x="213" y="269"/>
                      <a:pt x="207" y="273"/>
                      <a:pt x="206" y="273"/>
                    </a:cubicBezTo>
                    <a:cubicBezTo>
                      <a:pt x="206" y="271"/>
                      <a:pt x="205" y="277"/>
                      <a:pt x="204" y="277"/>
                    </a:cubicBezTo>
                    <a:cubicBezTo>
                      <a:pt x="203" y="277"/>
                      <a:pt x="201" y="282"/>
                      <a:pt x="201" y="282"/>
                    </a:cubicBezTo>
                    <a:cubicBezTo>
                      <a:pt x="198" y="281"/>
                      <a:pt x="194" y="287"/>
                      <a:pt x="194" y="287"/>
                    </a:cubicBezTo>
                    <a:cubicBezTo>
                      <a:pt x="194" y="288"/>
                      <a:pt x="190" y="291"/>
                      <a:pt x="190" y="290"/>
                    </a:cubicBezTo>
                    <a:cubicBezTo>
                      <a:pt x="188" y="290"/>
                      <a:pt x="186" y="293"/>
                      <a:pt x="185" y="293"/>
                    </a:cubicBezTo>
                    <a:cubicBezTo>
                      <a:pt x="181" y="289"/>
                      <a:pt x="180" y="296"/>
                      <a:pt x="180" y="296"/>
                    </a:cubicBezTo>
                    <a:cubicBezTo>
                      <a:pt x="180" y="301"/>
                      <a:pt x="177" y="303"/>
                      <a:pt x="177" y="303"/>
                    </a:cubicBezTo>
                    <a:cubicBezTo>
                      <a:pt x="178" y="308"/>
                      <a:pt x="173" y="311"/>
                      <a:pt x="173" y="310"/>
                    </a:cubicBezTo>
                    <a:cubicBezTo>
                      <a:pt x="171" y="312"/>
                      <a:pt x="163" y="315"/>
                      <a:pt x="163" y="315"/>
                    </a:cubicBezTo>
                    <a:cubicBezTo>
                      <a:pt x="163" y="316"/>
                      <a:pt x="156" y="319"/>
                      <a:pt x="156" y="320"/>
                    </a:cubicBezTo>
                    <a:cubicBezTo>
                      <a:pt x="154" y="316"/>
                      <a:pt x="148" y="320"/>
                      <a:pt x="148" y="320"/>
                    </a:cubicBezTo>
                    <a:cubicBezTo>
                      <a:pt x="144" y="320"/>
                      <a:pt x="143" y="324"/>
                      <a:pt x="143" y="324"/>
                    </a:cubicBezTo>
                    <a:cubicBezTo>
                      <a:pt x="141" y="324"/>
                      <a:pt x="134" y="327"/>
                      <a:pt x="134" y="327"/>
                    </a:cubicBezTo>
                    <a:cubicBezTo>
                      <a:pt x="131" y="327"/>
                      <a:pt x="128" y="320"/>
                      <a:pt x="128" y="320"/>
                    </a:cubicBezTo>
                    <a:cubicBezTo>
                      <a:pt x="128" y="316"/>
                      <a:pt x="123" y="315"/>
                      <a:pt x="123" y="315"/>
                    </a:cubicBezTo>
                    <a:cubicBezTo>
                      <a:pt x="123" y="308"/>
                      <a:pt x="118" y="302"/>
                      <a:pt x="118" y="301"/>
                    </a:cubicBezTo>
                    <a:cubicBezTo>
                      <a:pt x="119" y="289"/>
                      <a:pt x="113" y="289"/>
                      <a:pt x="113" y="289"/>
                    </a:cubicBezTo>
                    <a:cubicBezTo>
                      <a:pt x="113" y="288"/>
                      <a:pt x="110" y="279"/>
                      <a:pt x="110" y="279"/>
                    </a:cubicBezTo>
                    <a:cubicBezTo>
                      <a:pt x="109" y="277"/>
                      <a:pt x="98" y="267"/>
                      <a:pt x="98" y="267"/>
                    </a:cubicBezTo>
                    <a:cubicBezTo>
                      <a:pt x="100" y="265"/>
                      <a:pt x="97" y="256"/>
                      <a:pt x="97" y="256"/>
                    </a:cubicBezTo>
                    <a:cubicBezTo>
                      <a:pt x="95" y="251"/>
                      <a:pt x="92" y="248"/>
                      <a:pt x="91" y="248"/>
                    </a:cubicBezTo>
                    <a:cubicBezTo>
                      <a:pt x="89" y="245"/>
                      <a:pt x="86" y="244"/>
                      <a:pt x="87" y="244"/>
                    </a:cubicBezTo>
                    <a:cubicBezTo>
                      <a:pt x="83" y="244"/>
                      <a:pt x="85" y="222"/>
                      <a:pt x="85" y="222"/>
                    </a:cubicBezTo>
                    <a:cubicBezTo>
                      <a:pt x="83" y="222"/>
                      <a:pt x="81" y="216"/>
                      <a:pt x="81" y="216"/>
                    </a:cubicBezTo>
                    <a:cubicBezTo>
                      <a:pt x="81" y="210"/>
                      <a:pt x="77" y="211"/>
                      <a:pt x="77" y="211"/>
                    </a:cubicBezTo>
                    <a:cubicBezTo>
                      <a:pt x="74" y="215"/>
                      <a:pt x="66" y="209"/>
                      <a:pt x="66" y="209"/>
                    </a:cubicBezTo>
                    <a:cubicBezTo>
                      <a:pt x="66" y="203"/>
                      <a:pt x="62" y="201"/>
                      <a:pt x="62" y="201"/>
                    </a:cubicBezTo>
                    <a:cubicBezTo>
                      <a:pt x="56" y="199"/>
                      <a:pt x="61" y="194"/>
                      <a:pt x="61" y="194"/>
                    </a:cubicBezTo>
                    <a:cubicBezTo>
                      <a:pt x="66" y="188"/>
                      <a:pt x="60" y="185"/>
                      <a:pt x="60" y="185"/>
                    </a:cubicBezTo>
                    <a:cubicBezTo>
                      <a:pt x="61" y="179"/>
                      <a:pt x="54" y="178"/>
                      <a:pt x="54" y="178"/>
                    </a:cubicBezTo>
                    <a:cubicBezTo>
                      <a:pt x="54" y="175"/>
                      <a:pt x="52" y="173"/>
                      <a:pt x="52" y="171"/>
                    </a:cubicBezTo>
                    <a:cubicBezTo>
                      <a:pt x="51" y="172"/>
                      <a:pt x="51" y="172"/>
                      <a:pt x="52" y="173"/>
                    </a:cubicBezTo>
                    <a:cubicBezTo>
                      <a:pt x="48" y="175"/>
                      <a:pt x="48" y="175"/>
                      <a:pt x="48" y="175"/>
                    </a:cubicBezTo>
                    <a:cubicBezTo>
                      <a:pt x="48" y="175"/>
                      <a:pt x="48" y="179"/>
                      <a:pt x="44" y="175"/>
                    </a:cubicBezTo>
                    <a:cubicBezTo>
                      <a:pt x="44" y="175"/>
                      <a:pt x="42" y="171"/>
                      <a:pt x="39" y="175"/>
                    </a:cubicBezTo>
                    <a:cubicBezTo>
                      <a:pt x="38" y="175"/>
                      <a:pt x="29" y="178"/>
                      <a:pt x="29" y="172"/>
                    </a:cubicBezTo>
                    <a:cubicBezTo>
                      <a:pt x="29" y="173"/>
                      <a:pt x="25" y="173"/>
                      <a:pt x="25" y="173"/>
                    </a:cubicBezTo>
                    <a:cubicBezTo>
                      <a:pt x="25" y="173"/>
                      <a:pt x="26" y="169"/>
                      <a:pt x="22" y="170"/>
                    </a:cubicBezTo>
                    <a:cubicBezTo>
                      <a:pt x="22" y="170"/>
                      <a:pt x="20" y="170"/>
                      <a:pt x="21" y="182"/>
                    </a:cubicBezTo>
                    <a:cubicBezTo>
                      <a:pt x="17" y="185"/>
                      <a:pt x="17" y="185"/>
                      <a:pt x="17" y="185"/>
                    </a:cubicBezTo>
                    <a:cubicBezTo>
                      <a:pt x="16" y="186"/>
                      <a:pt x="16" y="186"/>
                      <a:pt x="16" y="186"/>
                    </a:cubicBezTo>
                    <a:cubicBezTo>
                      <a:pt x="16" y="186"/>
                      <a:pt x="14" y="190"/>
                      <a:pt x="6" y="189"/>
                    </a:cubicBezTo>
                    <a:cubicBezTo>
                      <a:pt x="6" y="189"/>
                      <a:pt x="3" y="191"/>
                      <a:pt x="4" y="194"/>
                    </a:cubicBezTo>
                    <a:cubicBezTo>
                      <a:pt x="4" y="194"/>
                      <a:pt x="0" y="196"/>
                      <a:pt x="1" y="198"/>
                    </a:cubicBezTo>
                    <a:cubicBezTo>
                      <a:pt x="1" y="199"/>
                      <a:pt x="5" y="201"/>
                      <a:pt x="4" y="205"/>
                    </a:cubicBezTo>
                    <a:cubicBezTo>
                      <a:pt x="3" y="206"/>
                      <a:pt x="6" y="208"/>
                      <a:pt x="6" y="211"/>
                    </a:cubicBezTo>
                    <a:cubicBezTo>
                      <a:pt x="6" y="211"/>
                      <a:pt x="7" y="214"/>
                      <a:pt x="16" y="213"/>
                    </a:cubicBezTo>
                    <a:cubicBezTo>
                      <a:pt x="15" y="213"/>
                      <a:pt x="15" y="224"/>
                      <a:pt x="17" y="225"/>
                    </a:cubicBezTo>
                    <a:cubicBezTo>
                      <a:pt x="17" y="225"/>
                      <a:pt x="21" y="227"/>
                      <a:pt x="25" y="227"/>
                    </a:cubicBezTo>
                    <a:cubicBezTo>
                      <a:pt x="25" y="228"/>
                      <a:pt x="27" y="232"/>
                      <a:pt x="27" y="232"/>
                    </a:cubicBezTo>
                    <a:cubicBezTo>
                      <a:pt x="27" y="232"/>
                      <a:pt x="30" y="236"/>
                      <a:pt x="29" y="239"/>
                    </a:cubicBezTo>
                    <a:cubicBezTo>
                      <a:pt x="29" y="239"/>
                      <a:pt x="34" y="237"/>
                      <a:pt x="33" y="242"/>
                    </a:cubicBezTo>
                    <a:cubicBezTo>
                      <a:pt x="33" y="242"/>
                      <a:pt x="35" y="244"/>
                      <a:pt x="39" y="244"/>
                    </a:cubicBezTo>
                    <a:cubicBezTo>
                      <a:pt x="40" y="244"/>
                      <a:pt x="39" y="246"/>
                      <a:pt x="43" y="246"/>
                    </a:cubicBezTo>
                    <a:cubicBezTo>
                      <a:pt x="44" y="247"/>
                      <a:pt x="46" y="249"/>
                      <a:pt x="46" y="249"/>
                    </a:cubicBezTo>
                    <a:cubicBezTo>
                      <a:pt x="46" y="249"/>
                      <a:pt x="50" y="251"/>
                      <a:pt x="48" y="255"/>
                    </a:cubicBezTo>
                    <a:cubicBezTo>
                      <a:pt x="48" y="256"/>
                      <a:pt x="47" y="261"/>
                      <a:pt x="47" y="261"/>
                    </a:cubicBezTo>
                    <a:cubicBezTo>
                      <a:pt x="47" y="261"/>
                      <a:pt x="44" y="263"/>
                      <a:pt x="44" y="270"/>
                    </a:cubicBezTo>
                    <a:cubicBezTo>
                      <a:pt x="44" y="270"/>
                      <a:pt x="41" y="270"/>
                      <a:pt x="41" y="274"/>
                    </a:cubicBezTo>
                    <a:cubicBezTo>
                      <a:pt x="41" y="274"/>
                      <a:pt x="39" y="275"/>
                      <a:pt x="37" y="275"/>
                    </a:cubicBezTo>
                    <a:cubicBezTo>
                      <a:pt x="34" y="277"/>
                      <a:pt x="34" y="277"/>
                      <a:pt x="34" y="277"/>
                    </a:cubicBezTo>
                    <a:cubicBezTo>
                      <a:pt x="34" y="277"/>
                      <a:pt x="32" y="279"/>
                      <a:pt x="32" y="282"/>
                    </a:cubicBezTo>
                    <a:cubicBezTo>
                      <a:pt x="29" y="287"/>
                      <a:pt x="29" y="287"/>
                      <a:pt x="29" y="287"/>
                    </a:cubicBezTo>
                    <a:cubicBezTo>
                      <a:pt x="28" y="289"/>
                      <a:pt x="28" y="289"/>
                      <a:pt x="28" y="289"/>
                    </a:cubicBezTo>
                    <a:cubicBezTo>
                      <a:pt x="28" y="289"/>
                      <a:pt x="25" y="289"/>
                      <a:pt x="25" y="297"/>
                    </a:cubicBezTo>
                    <a:cubicBezTo>
                      <a:pt x="24" y="297"/>
                      <a:pt x="23" y="298"/>
                      <a:pt x="23" y="298"/>
                    </a:cubicBezTo>
                    <a:cubicBezTo>
                      <a:pt x="20" y="301"/>
                      <a:pt x="20" y="301"/>
                      <a:pt x="20" y="301"/>
                    </a:cubicBezTo>
                    <a:cubicBezTo>
                      <a:pt x="20" y="301"/>
                      <a:pt x="17" y="303"/>
                      <a:pt x="17" y="306"/>
                    </a:cubicBezTo>
                    <a:cubicBezTo>
                      <a:pt x="17" y="306"/>
                      <a:pt x="15" y="312"/>
                      <a:pt x="17" y="316"/>
                    </a:cubicBezTo>
                    <a:cubicBezTo>
                      <a:pt x="17" y="316"/>
                      <a:pt x="19" y="324"/>
                      <a:pt x="17" y="327"/>
                    </a:cubicBezTo>
                    <a:cubicBezTo>
                      <a:pt x="17" y="328"/>
                      <a:pt x="15" y="330"/>
                      <a:pt x="15" y="330"/>
                    </a:cubicBezTo>
                    <a:cubicBezTo>
                      <a:pt x="15" y="330"/>
                      <a:pt x="13" y="333"/>
                      <a:pt x="13" y="335"/>
                    </a:cubicBezTo>
                    <a:cubicBezTo>
                      <a:pt x="14" y="335"/>
                      <a:pt x="10" y="337"/>
                      <a:pt x="10" y="337"/>
                    </a:cubicBezTo>
                    <a:cubicBezTo>
                      <a:pt x="8" y="339"/>
                      <a:pt x="8" y="339"/>
                      <a:pt x="8" y="339"/>
                    </a:cubicBezTo>
                    <a:cubicBezTo>
                      <a:pt x="6" y="342"/>
                      <a:pt x="6" y="342"/>
                      <a:pt x="6" y="342"/>
                    </a:cubicBezTo>
                    <a:cubicBezTo>
                      <a:pt x="6" y="342"/>
                      <a:pt x="10" y="343"/>
                      <a:pt x="6" y="345"/>
                    </a:cubicBezTo>
                    <a:cubicBezTo>
                      <a:pt x="6" y="346"/>
                      <a:pt x="7" y="351"/>
                      <a:pt x="7" y="351"/>
                    </a:cubicBezTo>
                    <a:cubicBezTo>
                      <a:pt x="7" y="351"/>
                      <a:pt x="9" y="356"/>
                      <a:pt x="9" y="360"/>
                    </a:cubicBezTo>
                    <a:cubicBezTo>
                      <a:pt x="9" y="361"/>
                      <a:pt x="13" y="361"/>
                      <a:pt x="13" y="361"/>
                    </a:cubicBezTo>
                    <a:cubicBezTo>
                      <a:pt x="13" y="361"/>
                      <a:pt x="16" y="363"/>
                      <a:pt x="17" y="366"/>
                    </a:cubicBezTo>
                    <a:cubicBezTo>
                      <a:pt x="17" y="366"/>
                      <a:pt x="18" y="370"/>
                      <a:pt x="20" y="366"/>
                    </a:cubicBezTo>
                    <a:cubicBezTo>
                      <a:pt x="20" y="366"/>
                      <a:pt x="32" y="364"/>
                      <a:pt x="30" y="366"/>
                    </a:cubicBezTo>
                    <a:cubicBezTo>
                      <a:pt x="29" y="366"/>
                      <a:pt x="36" y="366"/>
                      <a:pt x="35" y="368"/>
                    </a:cubicBezTo>
                    <a:cubicBezTo>
                      <a:pt x="35" y="369"/>
                      <a:pt x="45" y="371"/>
                      <a:pt x="48" y="370"/>
                    </a:cubicBezTo>
                    <a:cubicBezTo>
                      <a:pt x="48" y="370"/>
                      <a:pt x="51" y="374"/>
                      <a:pt x="52" y="372"/>
                    </a:cubicBezTo>
                    <a:cubicBezTo>
                      <a:pt x="52" y="372"/>
                      <a:pt x="62" y="370"/>
                      <a:pt x="61" y="375"/>
                    </a:cubicBezTo>
                    <a:cubicBezTo>
                      <a:pt x="61" y="375"/>
                      <a:pt x="59" y="375"/>
                      <a:pt x="59" y="385"/>
                    </a:cubicBezTo>
                    <a:cubicBezTo>
                      <a:pt x="58" y="385"/>
                      <a:pt x="56" y="387"/>
                      <a:pt x="56" y="389"/>
                    </a:cubicBezTo>
                    <a:cubicBezTo>
                      <a:pt x="56" y="389"/>
                      <a:pt x="52" y="395"/>
                      <a:pt x="56" y="400"/>
                    </a:cubicBezTo>
                    <a:cubicBezTo>
                      <a:pt x="56" y="400"/>
                      <a:pt x="55" y="408"/>
                      <a:pt x="54" y="410"/>
                    </a:cubicBezTo>
                    <a:cubicBezTo>
                      <a:pt x="49" y="414"/>
                      <a:pt x="49" y="414"/>
                      <a:pt x="49" y="414"/>
                    </a:cubicBezTo>
                    <a:cubicBezTo>
                      <a:pt x="48" y="421"/>
                      <a:pt x="48" y="421"/>
                      <a:pt x="48" y="421"/>
                    </a:cubicBezTo>
                    <a:cubicBezTo>
                      <a:pt x="48" y="421"/>
                      <a:pt x="45" y="423"/>
                      <a:pt x="46" y="430"/>
                    </a:cubicBezTo>
                    <a:cubicBezTo>
                      <a:pt x="47" y="431"/>
                      <a:pt x="54" y="433"/>
                      <a:pt x="55" y="431"/>
                    </a:cubicBezTo>
                    <a:cubicBezTo>
                      <a:pt x="55" y="431"/>
                      <a:pt x="63" y="429"/>
                      <a:pt x="63" y="429"/>
                    </a:cubicBezTo>
                    <a:cubicBezTo>
                      <a:pt x="63" y="429"/>
                      <a:pt x="65" y="428"/>
                      <a:pt x="65" y="425"/>
                    </a:cubicBezTo>
                    <a:cubicBezTo>
                      <a:pt x="66" y="424"/>
                      <a:pt x="67" y="422"/>
                      <a:pt x="67" y="420"/>
                    </a:cubicBezTo>
                    <a:cubicBezTo>
                      <a:pt x="70" y="418"/>
                      <a:pt x="70" y="418"/>
                      <a:pt x="70" y="418"/>
                    </a:cubicBezTo>
                    <a:cubicBezTo>
                      <a:pt x="70" y="418"/>
                      <a:pt x="84" y="413"/>
                      <a:pt x="78" y="424"/>
                    </a:cubicBezTo>
                    <a:cubicBezTo>
                      <a:pt x="77" y="425"/>
                      <a:pt x="80" y="428"/>
                      <a:pt x="80" y="428"/>
                    </a:cubicBezTo>
                    <a:cubicBezTo>
                      <a:pt x="80" y="428"/>
                      <a:pt x="82" y="431"/>
                      <a:pt x="84" y="427"/>
                    </a:cubicBezTo>
                    <a:cubicBezTo>
                      <a:pt x="84" y="427"/>
                      <a:pt x="89" y="426"/>
                      <a:pt x="86" y="437"/>
                    </a:cubicBezTo>
                    <a:cubicBezTo>
                      <a:pt x="86" y="437"/>
                      <a:pt x="91" y="439"/>
                      <a:pt x="90" y="442"/>
                    </a:cubicBezTo>
                    <a:cubicBezTo>
                      <a:pt x="89" y="442"/>
                      <a:pt x="98" y="443"/>
                      <a:pt x="94" y="447"/>
                    </a:cubicBezTo>
                    <a:cubicBezTo>
                      <a:pt x="94" y="446"/>
                      <a:pt x="96" y="448"/>
                      <a:pt x="96" y="448"/>
                    </a:cubicBezTo>
                    <a:cubicBezTo>
                      <a:pt x="100" y="451"/>
                      <a:pt x="100" y="451"/>
                      <a:pt x="100" y="451"/>
                    </a:cubicBezTo>
                    <a:cubicBezTo>
                      <a:pt x="100" y="451"/>
                      <a:pt x="102" y="452"/>
                      <a:pt x="102" y="463"/>
                    </a:cubicBezTo>
                    <a:cubicBezTo>
                      <a:pt x="106" y="465"/>
                      <a:pt x="106" y="465"/>
                      <a:pt x="106" y="465"/>
                    </a:cubicBezTo>
                    <a:cubicBezTo>
                      <a:pt x="108" y="469"/>
                      <a:pt x="108" y="469"/>
                      <a:pt x="108" y="469"/>
                    </a:cubicBezTo>
                    <a:cubicBezTo>
                      <a:pt x="108" y="469"/>
                      <a:pt x="111" y="467"/>
                      <a:pt x="114" y="467"/>
                    </a:cubicBezTo>
                    <a:cubicBezTo>
                      <a:pt x="113" y="467"/>
                      <a:pt x="112" y="470"/>
                      <a:pt x="116" y="472"/>
                    </a:cubicBezTo>
                    <a:cubicBezTo>
                      <a:pt x="116" y="472"/>
                      <a:pt x="116" y="476"/>
                      <a:pt x="118" y="477"/>
                    </a:cubicBezTo>
                    <a:cubicBezTo>
                      <a:pt x="117" y="477"/>
                      <a:pt x="118" y="481"/>
                      <a:pt x="118" y="482"/>
                    </a:cubicBezTo>
                    <a:cubicBezTo>
                      <a:pt x="118" y="483"/>
                      <a:pt x="121" y="484"/>
                      <a:pt x="118" y="486"/>
                    </a:cubicBezTo>
                    <a:cubicBezTo>
                      <a:pt x="117" y="486"/>
                      <a:pt x="115" y="488"/>
                      <a:pt x="115" y="488"/>
                    </a:cubicBezTo>
                    <a:cubicBezTo>
                      <a:pt x="115" y="488"/>
                      <a:pt x="111" y="492"/>
                      <a:pt x="116" y="493"/>
                    </a:cubicBezTo>
                    <a:cubicBezTo>
                      <a:pt x="116" y="493"/>
                      <a:pt x="115" y="499"/>
                      <a:pt x="118" y="498"/>
                    </a:cubicBezTo>
                    <a:cubicBezTo>
                      <a:pt x="118" y="498"/>
                      <a:pt x="121" y="500"/>
                      <a:pt x="124" y="500"/>
                    </a:cubicBezTo>
                    <a:cubicBezTo>
                      <a:pt x="124" y="500"/>
                      <a:pt x="126" y="501"/>
                      <a:pt x="125" y="503"/>
                    </a:cubicBezTo>
                    <a:cubicBezTo>
                      <a:pt x="125" y="503"/>
                      <a:pt x="131" y="506"/>
                      <a:pt x="125" y="509"/>
                    </a:cubicBezTo>
                    <a:cubicBezTo>
                      <a:pt x="125" y="510"/>
                      <a:pt x="125" y="515"/>
                      <a:pt x="125" y="515"/>
                    </a:cubicBezTo>
                    <a:cubicBezTo>
                      <a:pt x="125" y="515"/>
                      <a:pt x="129" y="518"/>
                      <a:pt x="128" y="523"/>
                    </a:cubicBezTo>
                    <a:cubicBezTo>
                      <a:pt x="127" y="523"/>
                      <a:pt x="132" y="524"/>
                      <a:pt x="130" y="527"/>
                    </a:cubicBezTo>
                    <a:cubicBezTo>
                      <a:pt x="130" y="528"/>
                      <a:pt x="132" y="530"/>
                      <a:pt x="132" y="530"/>
                    </a:cubicBezTo>
                    <a:cubicBezTo>
                      <a:pt x="132" y="530"/>
                      <a:pt x="138" y="532"/>
                      <a:pt x="137" y="534"/>
                    </a:cubicBezTo>
                    <a:cubicBezTo>
                      <a:pt x="137" y="535"/>
                      <a:pt x="141" y="538"/>
                      <a:pt x="140" y="544"/>
                    </a:cubicBezTo>
                    <a:cubicBezTo>
                      <a:pt x="140" y="544"/>
                      <a:pt x="142" y="547"/>
                      <a:pt x="145" y="546"/>
                    </a:cubicBezTo>
                    <a:cubicBezTo>
                      <a:pt x="148" y="555"/>
                      <a:pt x="148" y="555"/>
                      <a:pt x="148" y="555"/>
                    </a:cubicBezTo>
                    <a:cubicBezTo>
                      <a:pt x="148" y="555"/>
                      <a:pt x="152" y="557"/>
                      <a:pt x="152" y="558"/>
                    </a:cubicBezTo>
                    <a:cubicBezTo>
                      <a:pt x="151" y="558"/>
                      <a:pt x="157" y="560"/>
                      <a:pt x="154" y="568"/>
                    </a:cubicBezTo>
                    <a:cubicBezTo>
                      <a:pt x="156" y="572"/>
                      <a:pt x="156" y="572"/>
                      <a:pt x="156" y="572"/>
                    </a:cubicBezTo>
                    <a:cubicBezTo>
                      <a:pt x="156" y="572"/>
                      <a:pt x="156" y="580"/>
                      <a:pt x="160" y="575"/>
                    </a:cubicBezTo>
                    <a:cubicBezTo>
                      <a:pt x="161" y="576"/>
                      <a:pt x="167" y="574"/>
                      <a:pt x="167" y="574"/>
                    </a:cubicBezTo>
                    <a:cubicBezTo>
                      <a:pt x="167" y="574"/>
                      <a:pt x="167" y="571"/>
                      <a:pt x="171" y="572"/>
                    </a:cubicBezTo>
                    <a:cubicBezTo>
                      <a:pt x="170" y="572"/>
                      <a:pt x="173" y="569"/>
                      <a:pt x="174" y="569"/>
                    </a:cubicBezTo>
                    <a:cubicBezTo>
                      <a:pt x="174" y="569"/>
                      <a:pt x="172" y="564"/>
                      <a:pt x="178" y="564"/>
                    </a:cubicBezTo>
                    <a:cubicBezTo>
                      <a:pt x="177" y="565"/>
                      <a:pt x="180" y="561"/>
                      <a:pt x="185" y="561"/>
                    </a:cubicBezTo>
                    <a:cubicBezTo>
                      <a:pt x="185" y="561"/>
                      <a:pt x="182" y="557"/>
                      <a:pt x="187" y="560"/>
                    </a:cubicBezTo>
                    <a:cubicBezTo>
                      <a:pt x="188" y="560"/>
                      <a:pt x="188" y="561"/>
                      <a:pt x="188" y="561"/>
                    </a:cubicBezTo>
                    <a:cubicBezTo>
                      <a:pt x="188" y="561"/>
                      <a:pt x="198" y="561"/>
                      <a:pt x="189" y="564"/>
                    </a:cubicBezTo>
                    <a:cubicBezTo>
                      <a:pt x="190" y="568"/>
                      <a:pt x="190" y="568"/>
                      <a:pt x="190" y="568"/>
                    </a:cubicBezTo>
                    <a:cubicBezTo>
                      <a:pt x="192" y="571"/>
                      <a:pt x="192" y="571"/>
                      <a:pt x="192" y="571"/>
                    </a:cubicBezTo>
                    <a:cubicBezTo>
                      <a:pt x="192" y="571"/>
                      <a:pt x="195" y="571"/>
                      <a:pt x="195" y="573"/>
                    </a:cubicBezTo>
                    <a:cubicBezTo>
                      <a:pt x="194" y="573"/>
                      <a:pt x="197" y="576"/>
                      <a:pt x="197" y="576"/>
                    </a:cubicBezTo>
                    <a:cubicBezTo>
                      <a:pt x="197" y="576"/>
                      <a:pt x="199" y="565"/>
                      <a:pt x="200" y="576"/>
                    </a:cubicBezTo>
                    <a:cubicBezTo>
                      <a:pt x="199" y="576"/>
                      <a:pt x="202" y="576"/>
                      <a:pt x="203" y="578"/>
                    </a:cubicBezTo>
                    <a:cubicBezTo>
                      <a:pt x="207" y="576"/>
                      <a:pt x="207" y="576"/>
                      <a:pt x="207" y="576"/>
                    </a:cubicBezTo>
                    <a:cubicBezTo>
                      <a:pt x="207" y="576"/>
                      <a:pt x="209" y="575"/>
                      <a:pt x="208" y="565"/>
                    </a:cubicBezTo>
                    <a:cubicBezTo>
                      <a:pt x="208" y="565"/>
                      <a:pt x="211" y="564"/>
                      <a:pt x="211" y="562"/>
                    </a:cubicBezTo>
                    <a:cubicBezTo>
                      <a:pt x="211" y="562"/>
                      <a:pt x="213" y="561"/>
                      <a:pt x="213" y="560"/>
                    </a:cubicBezTo>
                    <a:cubicBezTo>
                      <a:pt x="213" y="559"/>
                      <a:pt x="218" y="562"/>
                      <a:pt x="217" y="555"/>
                    </a:cubicBezTo>
                    <a:cubicBezTo>
                      <a:pt x="217" y="556"/>
                      <a:pt x="225" y="557"/>
                      <a:pt x="225" y="553"/>
                    </a:cubicBezTo>
                    <a:cubicBezTo>
                      <a:pt x="225" y="553"/>
                      <a:pt x="241" y="550"/>
                      <a:pt x="236" y="556"/>
                    </a:cubicBezTo>
                    <a:cubicBezTo>
                      <a:pt x="236" y="556"/>
                      <a:pt x="244" y="556"/>
                      <a:pt x="244" y="553"/>
                    </a:cubicBezTo>
                    <a:cubicBezTo>
                      <a:pt x="244" y="554"/>
                      <a:pt x="246" y="549"/>
                      <a:pt x="246" y="549"/>
                    </a:cubicBezTo>
                    <a:cubicBezTo>
                      <a:pt x="247" y="549"/>
                      <a:pt x="251" y="544"/>
                      <a:pt x="251" y="543"/>
                    </a:cubicBezTo>
                    <a:cubicBezTo>
                      <a:pt x="252" y="543"/>
                      <a:pt x="254" y="538"/>
                      <a:pt x="253" y="536"/>
                    </a:cubicBezTo>
                    <a:cubicBezTo>
                      <a:pt x="253" y="536"/>
                      <a:pt x="255" y="534"/>
                      <a:pt x="259" y="534"/>
                    </a:cubicBezTo>
                    <a:cubicBezTo>
                      <a:pt x="260" y="534"/>
                      <a:pt x="263" y="537"/>
                      <a:pt x="263" y="537"/>
                    </a:cubicBezTo>
                    <a:cubicBezTo>
                      <a:pt x="263" y="537"/>
                      <a:pt x="271" y="536"/>
                      <a:pt x="271" y="538"/>
                    </a:cubicBezTo>
                    <a:cubicBezTo>
                      <a:pt x="275" y="541"/>
                      <a:pt x="275" y="541"/>
                      <a:pt x="275" y="541"/>
                    </a:cubicBezTo>
                    <a:cubicBezTo>
                      <a:pt x="281" y="541"/>
                      <a:pt x="281" y="541"/>
                      <a:pt x="281" y="541"/>
                    </a:cubicBezTo>
                    <a:cubicBezTo>
                      <a:pt x="281" y="541"/>
                      <a:pt x="284" y="532"/>
                      <a:pt x="287" y="540"/>
                    </a:cubicBezTo>
                    <a:cubicBezTo>
                      <a:pt x="287" y="540"/>
                      <a:pt x="295" y="540"/>
                      <a:pt x="292" y="545"/>
                    </a:cubicBezTo>
                    <a:cubicBezTo>
                      <a:pt x="296" y="546"/>
                      <a:pt x="296" y="546"/>
                      <a:pt x="296" y="546"/>
                    </a:cubicBezTo>
                    <a:cubicBezTo>
                      <a:pt x="296" y="546"/>
                      <a:pt x="301" y="547"/>
                      <a:pt x="301" y="549"/>
                    </a:cubicBezTo>
                    <a:cubicBezTo>
                      <a:pt x="301" y="549"/>
                      <a:pt x="304" y="551"/>
                      <a:pt x="304" y="551"/>
                    </a:cubicBezTo>
                    <a:cubicBezTo>
                      <a:pt x="304" y="551"/>
                      <a:pt x="307" y="554"/>
                      <a:pt x="310" y="551"/>
                    </a:cubicBezTo>
                    <a:cubicBezTo>
                      <a:pt x="310" y="551"/>
                      <a:pt x="313" y="550"/>
                      <a:pt x="313" y="546"/>
                    </a:cubicBezTo>
                    <a:cubicBezTo>
                      <a:pt x="312" y="546"/>
                      <a:pt x="315" y="545"/>
                      <a:pt x="315" y="542"/>
                    </a:cubicBezTo>
                    <a:cubicBezTo>
                      <a:pt x="315" y="542"/>
                      <a:pt x="316" y="538"/>
                      <a:pt x="317" y="542"/>
                    </a:cubicBezTo>
                    <a:cubicBezTo>
                      <a:pt x="317" y="542"/>
                      <a:pt x="321" y="545"/>
                      <a:pt x="322" y="542"/>
                    </a:cubicBezTo>
                    <a:cubicBezTo>
                      <a:pt x="322" y="541"/>
                      <a:pt x="328" y="541"/>
                      <a:pt x="327" y="538"/>
                    </a:cubicBezTo>
                    <a:cubicBezTo>
                      <a:pt x="327" y="538"/>
                      <a:pt x="333" y="538"/>
                      <a:pt x="332" y="536"/>
                    </a:cubicBezTo>
                    <a:cubicBezTo>
                      <a:pt x="332" y="536"/>
                      <a:pt x="336" y="534"/>
                      <a:pt x="334" y="531"/>
                    </a:cubicBezTo>
                    <a:cubicBezTo>
                      <a:pt x="334" y="532"/>
                      <a:pt x="337" y="529"/>
                      <a:pt x="337" y="529"/>
                    </a:cubicBezTo>
                    <a:cubicBezTo>
                      <a:pt x="337" y="529"/>
                      <a:pt x="340" y="526"/>
                      <a:pt x="345" y="527"/>
                    </a:cubicBezTo>
                    <a:cubicBezTo>
                      <a:pt x="346" y="527"/>
                      <a:pt x="346" y="523"/>
                      <a:pt x="350" y="524"/>
                    </a:cubicBezTo>
                    <a:cubicBezTo>
                      <a:pt x="350" y="524"/>
                      <a:pt x="349" y="530"/>
                      <a:pt x="353" y="525"/>
                    </a:cubicBezTo>
                    <a:cubicBezTo>
                      <a:pt x="353" y="524"/>
                      <a:pt x="351" y="511"/>
                      <a:pt x="357" y="512"/>
                    </a:cubicBezTo>
                    <a:cubicBezTo>
                      <a:pt x="357" y="512"/>
                      <a:pt x="363" y="508"/>
                      <a:pt x="366" y="509"/>
                    </a:cubicBezTo>
                    <a:cubicBezTo>
                      <a:pt x="366" y="509"/>
                      <a:pt x="368" y="500"/>
                      <a:pt x="372" y="507"/>
                    </a:cubicBezTo>
                    <a:cubicBezTo>
                      <a:pt x="371" y="507"/>
                      <a:pt x="376" y="508"/>
                      <a:pt x="376" y="508"/>
                    </a:cubicBezTo>
                    <a:cubicBezTo>
                      <a:pt x="376" y="508"/>
                      <a:pt x="376" y="502"/>
                      <a:pt x="380" y="508"/>
                    </a:cubicBezTo>
                    <a:cubicBezTo>
                      <a:pt x="380" y="509"/>
                      <a:pt x="384" y="511"/>
                      <a:pt x="384" y="511"/>
                    </a:cubicBezTo>
                    <a:cubicBezTo>
                      <a:pt x="384" y="511"/>
                      <a:pt x="392" y="511"/>
                      <a:pt x="391" y="507"/>
                    </a:cubicBezTo>
                    <a:cubicBezTo>
                      <a:pt x="391" y="499"/>
                      <a:pt x="391" y="499"/>
                      <a:pt x="391" y="499"/>
                    </a:cubicBezTo>
                    <a:cubicBezTo>
                      <a:pt x="391" y="499"/>
                      <a:pt x="386" y="493"/>
                      <a:pt x="390" y="493"/>
                    </a:cubicBezTo>
                    <a:cubicBezTo>
                      <a:pt x="390" y="492"/>
                      <a:pt x="390" y="487"/>
                      <a:pt x="401" y="488"/>
                    </a:cubicBezTo>
                    <a:cubicBezTo>
                      <a:pt x="401" y="488"/>
                      <a:pt x="403" y="483"/>
                      <a:pt x="407" y="488"/>
                    </a:cubicBezTo>
                    <a:cubicBezTo>
                      <a:pt x="406" y="488"/>
                      <a:pt x="409" y="488"/>
                      <a:pt x="409" y="490"/>
                    </a:cubicBezTo>
                    <a:cubicBezTo>
                      <a:pt x="409" y="491"/>
                      <a:pt x="413" y="489"/>
                      <a:pt x="410" y="499"/>
                    </a:cubicBezTo>
                    <a:cubicBezTo>
                      <a:pt x="410" y="500"/>
                      <a:pt x="412" y="500"/>
                      <a:pt x="413" y="500"/>
                    </a:cubicBezTo>
                    <a:cubicBezTo>
                      <a:pt x="413" y="500"/>
                      <a:pt x="424" y="499"/>
                      <a:pt x="423" y="502"/>
                    </a:cubicBezTo>
                    <a:cubicBezTo>
                      <a:pt x="423" y="501"/>
                      <a:pt x="427" y="504"/>
                      <a:pt x="426" y="500"/>
                    </a:cubicBezTo>
                    <a:cubicBezTo>
                      <a:pt x="426" y="500"/>
                      <a:pt x="432" y="500"/>
                      <a:pt x="444" y="500"/>
                    </a:cubicBezTo>
                    <a:cubicBezTo>
                      <a:pt x="445" y="500"/>
                      <a:pt x="447" y="500"/>
                      <a:pt x="446" y="498"/>
                    </a:cubicBezTo>
                    <a:cubicBezTo>
                      <a:pt x="454" y="499"/>
                      <a:pt x="454" y="499"/>
                      <a:pt x="454" y="499"/>
                    </a:cubicBezTo>
                    <a:cubicBezTo>
                      <a:pt x="454" y="499"/>
                      <a:pt x="457" y="501"/>
                      <a:pt x="456" y="503"/>
                    </a:cubicBezTo>
                    <a:cubicBezTo>
                      <a:pt x="456" y="504"/>
                      <a:pt x="462" y="500"/>
                      <a:pt x="461" y="511"/>
                    </a:cubicBezTo>
                    <a:cubicBezTo>
                      <a:pt x="461" y="511"/>
                      <a:pt x="462" y="513"/>
                      <a:pt x="463" y="513"/>
                    </a:cubicBezTo>
                    <a:cubicBezTo>
                      <a:pt x="463" y="513"/>
                      <a:pt x="472" y="511"/>
                      <a:pt x="473" y="515"/>
                    </a:cubicBezTo>
                    <a:cubicBezTo>
                      <a:pt x="473" y="515"/>
                      <a:pt x="475" y="519"/>
                      <a:pt x="475" y="519"/>
                    </a:cubicBezTo>
                    <a:cubicBezTo>
                      <a:pt x="475" y="519"/>
                      <a:pt x="479" y="519"/>
                      <a:pt x="475" y="521"/>
                    </a:cubicBezTo>
                    <a:cubicBezTo>
                      <a:pt x="475" y="522"/>
                      <a:pt x="475" y="527"/>
                      <a:pt x="475" y="527"/>
                    </a:cubicBezTo>
                    <a:cubicBezTo>
                      <a:pt x="475" y="527"/>
                      <a:pt x="478" y="529"/>
                      <a:pt x="477" y="533"/>
                    </a:cubicBezTo>
                    <a:cubicBezTo>
                      <a:pt x="480" y="537"/>
                      <a:pt x="480" y="537"/>
                      <a:pt x="480" y="537"/>
                    </a:cubicBezTo>
                    <a:cubicBezTo>
                      <a:pt x="487" y="538"/>
                      <a:pt x="487" y="538"/>
                      <a:pt x="487" y="538"/>
                    </a:cubicBezTo>
                    <a:cubicBezTo>
                      <a:pt x="487" y="538"/>
                      <a:pt x="488" y="532"/>
                      <a:pt x="492" y="534"/>
                    </a:cubicBezTo>
                    <a:cubicBezTo>
                      <a:pt x="494" y="530"/>
                      <a:pt x="494" y="530"/>
                      <a:pt x="494" y="530"/>
                    </a:cubicBezTo>
                    <a:cubicBezTo>
                      <a:pt x="494" y="530"/>
                      <a:pt x="493" y="529"/>
                      <a:pt x="496" y="529"/>
                    </a:cubicBezTo>
                    <a:cubicBezTo>
                      <a:pt x="496" y="529"/>
                      <a:pt x="493" y="522"/>
                      <a:pt x="499" y="526"/>
                    </a:cubicBezTo>
                    <a:cubicBezTo>
                      <a:pt x="500" y="526"/>
                      <a:pt x="505" y="527"/>
                      <a:pt x="504" y="527"/>
                    </a:cubicBezTo>
                    <a:cubicBezTo>
                      <a:pt x="505" y="527"/>
                      <a:pt x="510" y="529"/>
                      <a:pt x="508" y="532"/>
                    </a:cubicBezTo>
                    <a:cubicBezTo>
                      <a:pt x="508" y="532"/>
                      <a:pt x="516" y="535"/>
                      <a:pt x="516" y="537"/>
                    </a:cubicBezTo>
                    <a:cubicBezTo>
                      <a:pt x="516" y="537"/>
                      <a:pt x="520" y="538"/>
                      <a:pt x="520" y="542"/>
                    </a:cubicBezTo>
                    <a:cubicBezTo>
                      <a:pt x="525" y="544"/>
                      <a:pt x="525" y="544"/>
                      <a:pt x="525" y="544"/>
                    </a:cubicBezTo>
                    <a:cubicBezTo>
                      <a:pt x="525" y="544"/>
                      <a:pt x="528" y="538"/>
                      <a:pt x="532" y="538"/>
                    </a:cubicBezTo>
                    <a:cubicBezTo>
                      <a:pt x="532" y="539"/>
                      <a:pt x="535" y="534"/>
                      <a:pt x="537" y="537"/>
                    </a:cubicBezTo>
                    <a:cubicBezTo>
                      <a:pt x="537" y="537"/>
                      <a:pt x="539" y="542"/>
                      <a:pt x="543" y="541"/>
                    </a:cubicBezTo>
                    <a:cubicBezTo>
                      <a:pt x="543" y="541"/>
                      <a:pt x="548" y="544"/>
                      <a:pt x="550" y="543"/>
                    </a:cubicBezTo>
                    <a:cubicBezTo>
                      <a:pt x="549" y="543"/>
                      <a:pt x="557" y="538"/>
                      <a:pt x="554" y="543"/>
                    </a:cubicBezTo>
                    <a:cubicBezTo>
                      <a:pt x="554" y="543"/>
                      <a:pt x="555" y="549"/>
                      <a:pt x="558" y="543"/>
                    </a:cubicBezTo>
                    <a:cubicBezTo>
                      <a:pt x="557" y="543"/>
                      <a:pt x="560" y="543"/>
                      <a:pt x="560" y="543"/>
                    </a:cubicBezTo>
                    <a:cubicBezTo>
                      <a:pt x="560" y="543"/>
                      <a:pt x="564" y="545"/>
                      <a:pt x="562" y="536"/>
                    </a:cubicBezTo>
                    <a:cubicBezTo>
                      <a:pt x="558" y="532"/>
                      <a:pt x="558" y="532"/>
                      <a:pt x="558" y="532"/>
                    </a:cubicBezTo>
                    <a:cubicBezTo>
                      <a:pt x="558" y="532"/>
                      <a:pt x="556" y="527"/>
                      <a:pt x="559" y="527"/>
                    </a:cubicBezTo>
                    <a:cubicBezTo>
                      <a:pt x="559" y="527"/>
                      <a:pt x="562" y="524"/>
                      <a:pt x="561" y="522"/>
                    </a:cubicBezTo>
                    <a:cubicBezTo>
                      <a:pt x="560" y="522"/>
                      <a:pt x="563" y="522"/>
                      <a:pt x="563" y="515"/>
                    </a:cubicBezTo>
                    <a:cubicBezTo>
                      <a:pt x="563" y="515"/>
                      <a:pt x="566" y="513"/>
                      <a:pt x="566" y="512"/>
                    </a:cubicBezTo>
                    <a:cubicBezTo>
                      <a:pt x="566" y="511"/>
                      <a:pt x="566" y="503"/>
                      <a:pt x="566" y="503"/>
                    </a:cubicBezTo>
                    <a:cubicBezTo>
                      <a:pt x="568" y="500"/>
                      <a:pt x="568" y="500"/>
                      <a:pt x="568" y="500"/>
                    </a:cubicBezTo>
                    <a:cubicBezTo>
                      <a:pt x="574" y="500"/>
                      <a:pt x="574" y="500"/>
                      <a:pt x="574" y="500"/>
                    </a:cubicBezTo>
                    <a:cubicBezTo>
                      <a:pt x="574" y="500"/>
                      <a:pt x="575" y="498"/>
                      <a:pt x="574" y="496"/>
                    </a:cubicBezTo>
                    <a:cubicBezTo>
                      <a:pt x="578" y="494"/>
                      <a:pt x="578" y="494"/>
                      <a:pt x="578" y="494"/>
                    </a:cubicBezTo>
                    <a:cubicBezTo>
                      <a:pt x="578" y="494"/>
                      <a:pt x="579" y="491"/>
                      <a:pt x="579" y="489"/>
                    </a:cubicBezTo>
                    <a:cubicBezTo>
                      <a:pt x="582" y="485"/>
                      <a:pt x="582" y="485"/>
                      <a:pt x="582" y="485"/>
                    </a:cubicBezTo>
                    <a:cubicBezTo>
                      <a:pt x="592" y="485"/>
                      <a:pt x="592" y="485"/>
                      <a:pt x="592" y="485"/>
                    </a:cubicBezTo>
                    <a:cubicBezTo>
                      <a:pt x="592" y="485"/>
                      <a:pt x="593" y="493"/>
                      <a:pt x="596" y="486"/>
                    </a:cubicBezTo>
                    <a:cubicBezTo>
                      <a:pt x="597" y="486"/>
                      <a:pt x="612" y="484"/>
                      <a:pt x="618" y="487"/>
                    </a:cubicBezTo>
                    <a:cubicBezTo>
                      <a:pt x="618" y="488"/>
                      <a:pt x="623" y="489"/>
                      <a:pt x="624" y="488"/>
                    </a:cubicBezTo>
                    <a:cubicBezTo>
                      <a:pt x="624" y="488"/>
                      <a:pt x="624" y="483"/>
                      <a:pt x="627" y="484"/>
                    </a:cubicBezTo>
                    <a:cubicBezTo>
                      <a:pt x="626" y="484"/>
                      <a:pt x="626" y="478"/>
                      <a:pt x="628" y="479"/>
                    </a:cubicBezTo>
                    <a:cubicBezTo>
                      <a:pt x="628" y="479"/>
                      <a:pt x="630" y="475"/>
                      <a:pt x="635" y="476"/>
                    </a:cubicBezTo>
                    <a:cubicBezTo>
                      <a:pt x="635" y="476"/>
                      <a:pt x="639" y="472"/>
                      <a:pt x="634" y="473"/>
                    </a:cubicBezTo>
                    <a:cubicBezTo>
                      <a:pt x="634" y="469"/>
                      <a:pt x="634" y="469"/>
                      <a:pt x="634" y="469"/>
                    </a:cubicBezTo>
                    <a:cubicBezTo>
                      <a:pt x="638" y="467"/>
                      <a:pt x="638" y="467"/>
                      <a:pt x="638" y="467"/>
                    </a:cubicBezTo>
                    <a:cubicBezTo>
                      <a:pt x="638" y="467"/>
                      <a:pt x="642" y="465"/>
                      <a:pt x="636" y="464"/>
                    </a:cubicBezTo>
                    <a:cubicBezTo>
                      <a:pt x="635" y="464"/>
                      <a:pt x="636" y="459"/>
                      <a:pt x="638" y="460"/>
                    </a:cubicBezTo>
                    <a:cubicBezTo>
                      <a:pt x="638" y="460"/>
                      <a:pt x="642" y="461"/>
                      <a:pt x="642" y="456"/>
                    </a:cubicBezTo>
                    <a:cubicBezTo>
                      <a:pt x="645" y="455"/>
                      <a:pt x="645" y="455"/>
                      <a:pt x="645" y="455"/>
                    </a:cubicBezTo>
                    <a:cubicBezTo>
                      <a:pt x="645" y="455"/>
                      <a:pt x="648" y="443"/>
                      <a:pt x="644" y="444"/>
                    </a:cubicBezTo>
                    <a:cubicBezTo>
                      <a:pt x="645" y="444"/>
                      <a:pt x="643" y="435"/>
                      <a:pt x="642" y="437"/>
                    </a:cubicBezTo>
                    <a:cubicBezTo>
                      <a:pt x="641" y="437"/>
                      <a:pt x="641" y="430"/>
                      <a:pt x="641" y="430"/>
                    </a:cubicBezTo>
                    <a:cubicBezTo>
                      <a:pt x="643" y="427"/>
                      <a:pt x="643" y="427"/>
                      <a:pt x="643" y="427"/>
                    </a:cubicBezTo>
                    <a:cubicBezTo>
                      <a:pt x="643" y="427"/>
                      <a:pt x="647" y="426"/>
                      <a:pt x="647" y="418"/>
                    </a:cubicBezTo>
                    <a:cubicBezTo>
                      <a:pt x="647" y="418"/>
                      <a:pt x="649" y="415"/>
                      <a:pt x="649" y="412"/>
                    </a:cubicBezTo>
                    <a:cubicBezTo>
                      <a:pt x="660" y="410"/>
                      <a:pt x="660" y="410"/>
                      <a:pt x="660" y="410"/>
                    </a:cubicBezTo>
                    <a:cubicBezTo>
                      <a:pt x="660" y="410"/>
                      <a:pt x="669" y="404"/>
                      <a:pt x="670" y="406"/>
                    </a:cubicBezTo>
                    <a:cubicBezTo>
                      <a:pt x="670" y="406"/>
                      <a:pt x="672" y="410"/>
                      <a:pt x="677" y="406"/>
                    </a:cubicBezTo>
                    <a:cubicBezTo>
                      <a:pt x="677" y="407"/>
                      <a:pt x="684" y="401"/>
                      <a:pt x="687" y="404"/>
                    </a:cubicBezTo>
                    <a:cubicBezTo>
                      <a:pt x="688" y="404"/>
                      <a:pt x="690" y="399"/>
                      <a:pt x="692" y="399"/>
                    </a:cubicBezTo>
                    <a:cubicBezTo>
                      <a:pt x="692" y="399"/>
                      <a:pt x="689" y="387"/>
                      <a:pt x="694" y="389"/>
                    </a:cubicBezTo>
                    <a:cubicBezTo>
                      <a:pt x="694" y="389"/>
                      <a:pt x="697" y="385"/>
                      <a:pt x="699" y="386"/>
                    </a:cubicBezTo>
                    <a:cubicBezTo>
                      <a:pt x="699" y="386"/>
                      <a:pt x="701" y="381"/>
                      <a:pt x="704" y="386"/>
                    </a:cubicBezTo>
                    <a:cubicBezTo>
                      <a:pt x="704" y="386"/>
                      <a:pt x="705" y="383"/>
                      <a:pt x="708" y="384"/>
                    </a:cubicBezTo>
                    <a:cubicBezTo>
                      <a:pt x="711" y="380"/>
                      <a:pt x="711" y="380"/>
                      <a:pt x="711" y="380"/>
                    </a:cubicBezTo>
                    <a:cubicBezTo>
                      <a:pt x="711" y="380"/>
                      <a:pt x="716" y="374"/>
                      <a:pt x="710" y="373"/>
                    </a:cubicBezTo>
                    <a:cubicBezTo>
                      <a:pt x="710" y="373"/>
                      <a:pt x="709" y="364"/>
                      <a:pt x="711" y="365"/>
                    </a:cubicBezTo>
                    <a:cubicBezTo>
                      <a:pt x="712" y="362"/>
                      <a:pt x="712" y="362"/>
                      <a:pt x="712" y="362"/>
                    </a:cubicBezTo>
                    <a:cubicBezTo>
                      <a:pt x="712" y="362"/>
                      <a:pt x="711" y="358"/>
                      <a:pt x="714" y="358"/>
                    </a:cubicBezTo>
                    <a:cubicBezTo>
                      <a:pt x="714" y="358"/>
                      <a:pt x="716" y="355"/>
                      <a:pt x="716" y="355"/>
                    </a:cubicBezTo>
                    <a:cubicBezTo>
                      <a:pt x="716" y="355"/>
                      <a:pt x="720" y="350"/>
                      <a:pt x="715" y="347"/>
                    </a:cubicBezTo>
                    <a:cubicBezTo>
                      <a:pt x="715" y="347"/>
                      <a:pt x="712" y="347"/>
                      <a:pt x="712" y="344"/>
                    </a:cubicBezTo>
                    <a:cubicBezTo>
                      <a:pt x="712" y="344"/>
                      <a:pt x="709" y="341"/>
                      <a:pt x="710" y="341"/>
                    </a:cubicBezTo>
                    <a:cubicBezTo>
                      <a:pt x="710" y="341"/>
                      <a:pt x="712" y="328"/>
                      <a:pt x="708" y="329"/>
                    </a:cubicBezTo>
                    <a:cubicBezTo>
                      <a:pt x="708" y="330"/>
                      <a:pt x="709" y="322"/>
                      <a:pt x="705" y="323"/>
                    </a:cubicBezTo>
                    <a:cubicBezTo>
                      <a:pt x="705" y="324"/>
                      <a:pt x="705" y="317"/>
                      <a:pt x="704" y="318"/>
                    </a:cubicBezTo>
                    <a:cubicBezTo>
                      <a:pt x="704" y="318"/>
                      <a:pt x="703" y="315"/>
                      <a:pt x="699" y="315"/>
                    </a:cubicBezTo>
                    <a:cubicBezTo>
                      <a:pt x="699" y="316"/>
                      <a:pt x="697" y="313"/>
                      <a:pt x="697" y="313"/>
                    </a:cubicBezTo>
                    <a:cubicBezTo>
                      <a:pt x="692" y="309"/>
                      <a:pt x="692" y="309"/>
                      <a:pt x="692" y="309"/>
                    </a:cubicBezTo>
                    <a:cubicBezTo>
                      <a:pt x="692" y="309"/>
                      <a:pt x="693" y="295"/>
                      <a:pt x="688" y="299"/>
                    </a:cubicBezTo>
                    <a:cubicBezTo>
                      <a:pt x="689" y="300"/>
                      <a:pt x="686" y="304"/>
                      <a:pt x="685" y="299"/>
                    </a:cubicBezTo>
                    <a:cubicBezTo>
                      <a:pt x="686" y="299"/>
                      <a:pt x="687" y="296"/>
                      <a:pt x="680" y="296"/>
                    </a:cubicBezTo>
                    <a:cubicBezTo>
                      <a:pt x="679" y="297"/>
                      <a:pt x="678" y="294"/>
                      <a:pt x="678" y="294"/>
                    </a:cubicBezTo>
                    <a:cubicBezTo>
                      <a:pt x="678" y="294"/>
                      <a:pt x="673" y="290"/>
                      <a:pt x="678" y="291"/>
                    </a:cubicBezTo>
                    <a:cubicBezTo>
                      <a:pt x="678" y="291"/>
                      <a:pt x="680" y="288"/>
                      <a:pt x="680" y="286"/>
                    </a:cubicBezTo>
                    <a:cubicBezTo>
                      <a:pt x="681" y="287"/>
                      <a:pt x="681" y="283"/>
                      <a:pt x="685" y="283"/>
                    </a:cubicBezTo>
                    <a:cubicBezTo>
                      <a:pt x="687" y="282"/>
                      <a:pt x="687" y="282"/>
                      <a:pt x="687" y="282"/>
                    </a:cubicBezTo>
                    <a:cubicBezTo>
                      <a:pt x="687" y="282"/>
                      <a:pt x="687" y="275"/>
                      <a:pt x="694" y="277"/>
                    </a:cubicBezTo>
                    <a:cubicBezTo>
                      <a:pt x="696" y="272"/>
                      <a:pt x="696" y="272"/>
                      <a:pt x="696" y="272"/>
                    </a:cubicBezTo>
                    <a:cubicBezTo>
                      <a:pt x="696" y="272"/>
                      <a:pt x="694" y="265"/>
                      <a:pt x="701" y="267"/>
                    </a:cubicBezTo>
                    <a:cubicBezTo>
                      <a:pt x="702" y="268"/>
                      <a:pt x="701" y="262"/>
                      <a:pt x="708" y="261"/>
                    </a:cubicBezTo>
                    <a:cubicBezTo>
                      <a:pt x="708" y="261"/>
                      <a:pt x="710" y="263"/>
                      <a:pt x="712" y="263"/>
                    </a:cubicBezTo>
                    <a:cubicBezTo>
                      <a:pt x="712" y="263"/>
                      <a:pt x="717" y="262"/>
                      <a:pt x="716" y="266"/>
                    </a:cubicBezTo>
                    <a:cubicBezTo>
                      <a:pt x="716" y="266"/>
                      <a:pt x="733" y="267"/>
                      <a:pt x="729" y="263"/>
                    </a:cubicBezTo>
                    <a:cubicBezTo>
                      <a:pt x="735" y="261"/>
                      <a:pt x="735" y="261"/>
                      <a:pt x="735" y="261"/>
                    </a:cubicBezTo>
                    <a:cubicBezTo>
                      <a:pt x="739" y="261"/>
                      <a:pt x="739" y="261"/>
                      <a:pt x="739" y="261"/>
                    </a:cubicBezTo>
                    <a:cubicBezTo>
                      <a:pt x="744" y="256"/>
                      <a:pt x="744" y="256"/>
                      <a:pt x="744" y="256"/>
                    </a:cubicBezTo>
                    <a:cubicBezTo>
                      <a:pt x="746" y="250"/>
                      <a:pt x="746" y="250"/>
                      <a:pt x="746" y="250"/>
                    </a:cubicBezTo>
                    <a:cubicBezTo>
                      <a:pt x="746" y="250"/>
                      <a:pt x="754" y="248"/>
                      <a:pt x="750" y="239"/>
                    </a:cubicBezTo>
                    <a:cubicBezTo>
                      <a:pt x="750" y="240"/>
                      <a:pt x="756" y="236"/>
                      <a:pt x="756" y="236"/>
                    </a:cubicBezTo>
                    <a:cubicBezTo>
                      <a:pt x="756" y="236"/>
                      <a:pt x="766" y="234"/>
                      <a:pt x="766" y="232"/>
                    </a:cubicBezTo>
                    <a:cubicBezTo>
                      <a:pt x="766" y="232"/>
                      <a:pt x="773" y="232"/>
                      <a:pt x="771" y="226"/>
                    </a:cubicBezTo>
                    <a:cubicBezTo>
                      <a:pt x="771" y="227"/>
                      <a:pt x="773" y="222"/>
                      <a:pt x="773" y="222"/>
                    </a:cubicBezTo>
                    <a:cubicBezTo>
                      <a:pt x="773" y="222"/>
                      <a:pt x="771" y="215"/>
                      <a:pt x="774" y="216"/>
                    </a:cubicBezTo>
                    <a:cubicBezTo>
                      <a:pt x="775" y="216"/>
                      <a:pt x="781" y="215"/>
                      <a:pt x="781" y="217"/>
                    </a:cubicBezTo>
                    <a:cubicBezTo>
                      <a:pt x="781" y="218"/>
                      <a:pt x="784" y="218"/>
                      <a:pt x="784" y="215"/>
                    </a:cubicBezTo>
                    <a:cubicBezTo>
                      <a:pt x="784" y="216"/>
                      <a:pt x="787" y="213"/>
                      <a:pt x="787" y="213"/>
                    </a:cubicBezTo>
                    <a:cubicBezTo>
                      <a:pt x="787" y="213"/>
                      <a:pt x="795" y="207"/>
                      <a:pt x="799" y="208"/>
                    </a:cubicBezTo>
                    <a:cubicBezTo>
                      <a:pt x="799" y="204"/>
                      <a:pt x="799" y="204"/>
                      <a:pt x="799" y="204"/>
                    </a:cubicBezTo>
                    <a:cubicBezTo>
                      <a:pt x="799" y="204"/>
                      <a:pt x="804" y="200"/>
                      <a:pt x="798" y="200"/>
                    </a:cubicBezTo>
                    <a:cubicBezTo>
                      <a:pt x="799" y="200"/>
                      <a:pt x="797" y="195"/>
                      <a:pt x="800" y="196"/>
                    </a:cubicBezTo>
                    <a:cubicBezTo>
                      <a:pt x="800" y="196"/>
                      <a:pt x="803" y="189"/>
                      <a:pt x="798" y="190"/>
                    </a:cubicBezTo>
                    <a:cubicBezTo>
                      <a:pt x="798" y="190"/>
                      <a:pt x="797" y="184"/>
                      <a:pt x="793" y="190"/>
                    </a:cubicBezTo>
                    <a:cubicBezTo>
                      <a:pt x="793" y="190"/>
                      <a:pt x="794" y="186"/>
                      <a:pt x="789" y="187"/>
                    </a:cubicBezTo>
                    <a:cubicBezTo>
                      <a:pt x="789" y="187"/>
                      <a:pt x="785" y="183"/>
                      <a:pt x="789" y="184"/>
                    </a:cubicBezTo>
                    <a:cubicBezTo>
                      <a:pt x="792" y="178"/>
                      <a:pt x="792" y="178"/>
                      <a:pt x="792" y="178"/>
                    </a:cubicBezTo>
                    <a:cubicBezTo>
                      <a:pt x="795" y="174"/>
                      <a:pt x="795" y="174"/>
                      <a:pt x="795" y="174"/>
                    </a:cubicBezTo>
                    <a:cubicBezTo>
                      <a:pt x="795" y="174"/>
                      <a:pt x="795" y="167"/>
                      <a:pt x="798" y="171"/>
                    </a:cubicBezTo>
                    <a:cubicBezTo>
                      <a:pt x="806" y="171"/>
                      <a:pt x="806" y="171"/>
                      <a:pt x="806" y="171"/>
                    </a:cubicBezTo>
                    <a:cubicBezTo>
                      <a:pt x="808" y="170"/>
                      <a:pt x="808" y="170"/>
                      <a:pt x="808" y="170"/>
                    </a:cubicBezTo>
                    <a:cubicBezTo>
                      <a:pt x="808" y="170"/>
                      <a:pt x="812" y="165"/>
                      <a:pt x="813" y="165"/>
                    </a:cubicBezTo>
                    <a:cubicBezTo>
                      <a:pt x="816" y="163"/>
                      <a:pt x="816" y="163"/>
                      <a:pt x="816" y="163"/>
                    </a:cubicBezTo>
                    <a:cubicBezTo>
                      <a:pt x="818" y="160"/>
                      <a:pt x="818" y="160"/>
                      <a:pt x="818" y="160"/>
                    </a:cubicBezTo>
                    <a:cubicBezTo>
                      <a:pt x="818" y="160"/>
                      <a:pt x="822" y="155"/>
                      <a:pt x="823" y="156"/>
                    </a:cubicBezTo>
                    <a:cubicBezTo>
                      <a:pt x="823" y="155"/>
                      <a:pt x="820" y="149"/>
                      <a:pt x="828" y="151"/>
                    </a:cubicBezTo>
                    <a:cubicBezTo>
                      <a:pt x="829" y="151"/>
                      <a:pt x="833" y="152"/>
                      <a:pt x="833" y="152"/>
                    </a:cubicBezTo>
                    <a:cubicBezTo>
                      <a:pt x="833" y="152"/>
                      <a:pt x="833" y="155"/>
                      <a:pt x="837" y="152"/>
                    </a:cubicBezTo>
                    <a:cubicBezTo>
                      <a:pt x="836" y="152"/>
                      <a:pt x="839" y="155"/>
                      <a:pt x="840" y="154"/>
                    </a:cubicBezTo>
                    <a:cubicBezTo>
                      <a:pt x="839" y="152"/>
                      <a:pt x="837" y="151"/>
                      <a:pt x="837" y="151"/>
                    </a:cubicBezTo>
                    <a:cubicBezTo>
                      <a:pt x="835" y="151"/>
                      <a:pt x="834" y="147"/>
                      <a:pt x="834" y="147"/>
                    </a:cubicBezTo>
                    <a:cubicBezTo>
                      <a:pt x="834" y="145"/>
                      <a:pt x="838" y="141"/>
                      <a:pt x="837" y="140"/>
                    </a:cubicBezTo>
                    <a:cubicBezTo>
                      <a:pt x="845" y="139"/>
                      <a:pt x="839" y="138"/>
                      <a:pt x="839" y="138"/>
                    </a:cubicBezTo>
                    <a:cubicBezTo>
                      <a:pt x="833" y="135"/>
                      <a:pt x="837" y="133"/>
                      <a:pt x="837" y="133"/>
                    </a:cubicBezTo>
                    <a:cubicBezTo>
                      <a:pt x="843" y="132"/>
                      <a:pt x="839" y="129"/>
                      <a:pt x="839" y="129"/>
                    </a:cubicBezTo>
                    <a:cubicBezTo>
                      <a:pt x="839" y="118"/>
                      <a:pt x="843" y="121"/>
                      <a:pt x="844" y="121"/>
                    </a:cubicBezTo>
                    <a:cubicBezTo>
                      <a:pt x="844" y="122"/>
                      <a:pt x="854" y="123"/>
                      <a:pt x="854" y="122"/>
                    </a:cubicBezTo>
                    <a:cubicBezTo>
                      <a:pt x="856" y="121"/>
                      <a:pt x="866" y="120"/>
                      <a:pt x="866" y="120"/>
                    </a:cubicBezTo>
                    <a:cubicBezTo>
                      <a:pt x="869" y="119"/>
                      <a:pt x="868" y="113"/>
                      <a:pt x="868" y="113"/>
                    </a:cubicBezTo>
                    <a:cubicBezTo>
                      <a:pt x="871" y="114"/>
                      <a:pt x="872" y="109"/>
                      <a:pt x="872" y="108"/>
                    </a:cubicBezTo>
                    <a:cubicBezTo>
                      <a:pt x="873" y="109"/>
                      <a:pt x="877" y="106"/>
                      <a:pt x="877" y="106"/>
                    </a:cubicBezTo>
                    <a:cubicBezTo>
                      <a:pt x="876" y="104"/>
                      <a:pt x="881" y="102"/>
                      <a:pt x="881" y="102"/>
                    </a:cubicBezTo>
                    <a:cubicBezTo>
                      <a:pt x="881" y="99"/>
                      <a:pt x="884" y="98"/>
                      <a:pt x="884" y="98"/>
                    </a:cubicBezTo>
                    <a:cubicBezTo>
                      <a:pt x="890" y="95"/>
                      <a:pt x="882" y="94"/>
                      <a:pt x="882" y="94"/>
                    </a:cubicBezTo>
                  </a:path>
                </a:pathLst>
              </a:custGeom>
              <a:solidFill>
                <a:schemeClr val="bg2">
                  <a:lumMod val="40000"/>
                  <a:lumOff val="60000"/>
                </a:schemeClr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9" name="Freeform 238">
                <a:extLst>
                  <a:ext uri="{FF2B5EF4-FFF2-40B4-BE49-F238E27FC236}">
                    <a16:creationId xmlns:a16="http://schemas.microsoft.com/office/drawing/2014/main" id="{283F1FAC-DA9D-8C8F-AFC5-87FF8503BA6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229557" y="4201516"/>
                <a:ext cx="1276525" cy="1963788"/>
              </a:xfrm>
              <a:custGeom>
                <a:avLst/>
                <a:gdLst>
                  <a:gd name="T0" fmla="*/ 381 w 402"/>
                  <a:gd name="T1" fmla="*/ 336 h 617"/>
                  <a:gd name="T2" fmla="*/ 359 w 402"/>
                  <a:gd name="T3" fmla="*/ 311 h 617"/>
                  <a:gd name="T4" fmla="*/ 349 w 402"/>
                  <a:gd name="T5" fmla="*/ 263 h 617"/>
                  <a:gd name="T6" fmla="*/ 356 w 402"/>
                  <a:gd name="T7" fmla="*/ 242 h 617"/>
                  <a:gd name="T8" fmla="*/ 361 w 402"/>
                  <a:gd name="T9" fmla="*/ 220 h 617"/>
                  <a:gd name="T10" fmla="*/ 368 w 402"/>
                  <a:gd name="T11" fmla="*/ 185 h 617"/>
                  <a:gd name="T12" fmla="*/ 368 w 402"/>
                  <a:gd name="T13" fmla="*/ 137 h 617"/>
                  <a:gd name="T14" fmla="*/ 340 w 402"/>
                  <a:gd name="T15" fmla="*/ 111 h 617"/>
                  <a:gd name="T16" fmla="*/ 337 w 402"/>
                  <a:gd name="T17" fmla="*/ 54 h 617"/>
                  <a:gd name="T18" fmla="*/ 329 w 402"/>
                  <a:gd name="T19" fmla="*/ 29 h 617"/>
                  <a:gd name="T20" fmla="*/ 295 w 402"/>
                  <a:gd name="T21" fmla="*/ 13 h 617"/>
                  <a:gd name="T22" fmla="*/ 271 w 402"/>
                  <a:gd name="T23" fmla="*/ 44 h 617"/>
                  <a:gd name="T24" fmla="*/ 238 w 402"/>
                  <a:gd name="T25" fmla="*/ 58 h 617"/>
                  <a:gd name="T26" fmla="*/ 202 w 402"/>
                  <a:gd name="T27" fmla="*/ 52 h 617"/>
                  <a:gd name="T28" fmla="*/ 150 w 402"/>
                  <a:gd name="T29" fmla="*/ 47 h 617"/>
                  <a:gd name="T30" fmla="*/ 107 w 402"/>
                  <a:gd name="T31" fmla="*/ 45 h 617"/>
                  <a:gd name="T32" fmla="*/ 73 w 402"/>
                  <a:gd name="T33" fmla="*/ 58 h 617"/>
                  <a:gd name="T34" fmla="*/ 48 w 402"/>
                  <a:gd name="T35" fmla="*/ 87 h 617"/>
                  <a:gd name="T36" fmla="*/ 11 w 402"/>
                  <a:gd name="T37" fmla="*/ 106 h 617"/>
                  <a:gd name="T38" fmla="*/ 4 w 402"/>
                  <a:gd name="T39" fmla="*/ 136 h 617"/>
                  <a:gd name="T40" fmla="*/ 39 w 402"/>
                  <a:gd name="T41" fmla="*/ 137 h 617"/>
                  <a:gd name="T42" fmla="*/ 44 w 402"/>
                  <a:gd name="T43" fmla="*/ 167 h 617"/>
                  <a:gd name="T44" fmla="*/ 43 w 402"/>
                  <a:gd name="T45" fmla="*/ 206 h 617"/>
                  <a:gd name="T46" fmla="*/ 30 w 402"/>
                  <a:gd name="T47" fmla="*/ 248 h 617"/>
                  <a:gd name="T48" fmla="*/ 35 w 402"/>
                  <a:gd name="T49" fmla="*/ 275 h 617"/>
                  <a:gd name="T50" fmla="*/ 50 w 402"/>
                  <a:gd name="T51" fmla="*/ 303 h 617"/>
                  <a:gd name="T52" fmla="*/ 80 w 402"/>
                  <a:gd name="T53" fmla="*/ 329 h 617"/>
                  <a:gd name="T54" fmla="*/ 104 w 402"/>
                  <a:gd name="T55" fmla="*/ 356 h 617"/>
                  <a:gd name="T56" fmla="*/ 113 w 402"/>
                  <a:gd name="T57" fmla="*/ 378 h 617"/>
                  <a:gd name="T58" fmla="*/ 144 w 402"/>
                  <a:gd name="T59" fmla="*/ 394 h 617"/>
                  <a:gd name="T60" fmla="*/ 169 w 402"/>
                  <a:gd name="T61" fmla="*/ 403 h 617"/>
                  <a:gd name="T62" fmla="*/ 187 w 402"/>
                  <a:gd name="T63" fmla="*/ 395 h 617"/>
                  <a:gd name="T64" fmla="*/ 214 w 402"/>
                  <a:gd name="T65" fmla="*/ 407 h 617"/>
                  <a:gd name="T66" fmla="*/ 234 w 402"/>
                  <a:gd name="T67" fmla="*/ 420 h 617"/>
                  <a:gd name="T68" fmla="*/ 228 w 402"/>
                  <a:gd name="T69" fmla="*/ 447 h 617"/>
                  <a:gd name="T70" fmla="*/ 208 w 402"/>
                  <a:gd name="T71" fmla="*/ 478 h 617"/>
                  <a:gd name="T72" fmla="*/ 227 w 402"/>
                  <a:gd name="T73" fmla="*/ 488 h 617"/>
                  <a:gd name="T74" fmla="*/ 258 w 402"/>
                  <a:gd name="T75" fmla="*/ 512 h 617"/>
                  <a:gd name="T76" fmla="*/ 272 w 402"/>
                  <a:gd name="T77" fmla="*/ 549 h 617"/>
                  <a:gd name="T78" fmla="*/ 285 w 402"/>
                  <a:gd name="T79" fmla="*/ 581 h 617"/>
                  <a:gd name="T80" fmla="*/ 276 w 402"/>
                  <a:gd name="T81" fmla="*/ 602 h 617"/>
                  <a:gd name="T82" fmla="*/ 301 w 402"/>
                  <a:gd name="T83" fmla="*/ 602 h 617"/>
                  <a:gd name="T84" fmla="*/ 330 w 402"/>
                  <a:gd name="T85" fmla="*/ 615 h 617"/>
                  <a:gd name="T86" fmla="*/ 337 w 402"/>
                  <a:gd name="T87" fmla="*/ 594 h 617"/>
                  <a:gd name="T88" fmla="*/ 352 w 402"/>
                  <a:gd name="T89" fmla="*/ 570 h 617"/>
                  <a:gd name="T90" fmla="*/ 354 w 402"/>
                  <a:gd name="T91" fmla="*/ 554 h 617"/>
                  <a:gd name="T92" fmla="*/ 337 w 402"/>
                  <a:gd name="T93" fmla="*/ 539 h 617"/>
                  <a:gd name="T94" fmla="*/ 322 w 402"/>
                  <a:gd name="T95" fmla="*/ 522 h 617"/>
                  <a:gd name="T96" fmla="*/ 316 w 402"/>
                  <a:gd name="T97" fmla="*/ 495 h 617"/>
                  <a:gd name="T98" fmla="*/ 323 w 402"/>
                  <a:gd name="T99" fmla="*/ 465 h 617"/>
                  <a:gd name="T100" fmla="*/ 332 w 402"/>
                  <a:gd name="T101" fmla="*/ 441 h 617"/>
                  <a:gd name="T102" fmla="*/ 361 w 402"/>
                  <a:gd name="T103" fmla="*/ 412 h 617"/>
                  <a:gd name="T104" fmla="*/ 368 w 402"/>
                  <a:gd name="T105" fmla="*/ 385 h 617"/>
                  <a:gd name="T106" fmla="*/ 391 w 402"/>
                  <a:gd name="T107" fmla="*/ 364 h 61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02"/>
                  <a:gd name="T163" fmla="*/ 0 h 617"/>
                  <a:gd name="T164" fmla="*/ 402 w 402"/>
                  <a:gd name="T165" fmla="*/ 617 h 617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02" h="617">
                    <a:moveTo>
                      <a:pt x="397" y="352"/>
                    </a:moveTo>
                    <a:cubicBezTo>
                      <a:pt x="394" y="351"/>
                      <a:pt x="394" y="351"/>
                      <a:pt x="394" y="351"/>
                    </a:cubicBezTo>
                    <a:cubicBezTo>
                      <a:pt x="394" y="351"/>
                      <a:pt x="393" y="347"/>
                      <a:pt x="390" y="347"/>
                    </a:cubicBezTo>
                    <a:cubicBezTo>
                      <a:pt x="390" y="347"/>
                      <a:pt x="389" y="340"/>
                      <a:pt x="386" y="343"/>
                    </a:cubicBezTo>
                    <a:cubicBezTo>
                      <a:pt x="386" y="344"/>
                      <a:pt x="384" y="341"/>
                      <a:pt x="384" y="341"/>
                    </a:cubicBezTo>
                    <a:cubicBezTo>
                      <a:pt x="385" y="341"/>
                      <a:pt x="383" y="336"/>
                      <a:pt x="381" y="336"/>
                    </a:cubicBezTo>
                    <a:cubicBezTo>
                      <a:pt x="381" y="336"/>
                      <a:pt x="379" y="335"/>
                      <a:pt x="379" y="335"/>
                    </a:cubicBezTo>
                    <a:cubicBezTo>
                      <a:pt x="379" y="335"/>
                      <a:pt x="379" y="326"/>
                      <a:pt x="376" y="329"/>
                    </a:cubicBezTo>
                    <a:cubicBezTo>
                      <a:pt x="376" y="329"/>
                      <a:pt x="376" y="325"/>
                      <a:pt x="372" y="327"/>
                    </a:cubicBezTo>
                    <a:cubicBezTo>
                      <a:pt x="372" y="327"/>
                      <a:pt x="370" y="322"/>
                      <a:pt x="364" y="324"/>
                    </a:cubicBezTo>
                    <a:cubicBezTo>
                      <a:pt x="364" y="324"/>
                      <a:pt x="365" y="320"/>
                      <a:pt x="362" y="319"/>
                    </a:cubicBezTo>
                    <a:cubicBezTo>
                      <a:pt x="362" y="319"/>
                      <a:pt x="359" y="314"/>
                      <a:pt x="359" y="311"/>
                    </a:cubicBezTo>
                    <a:cubicBezTo>
                      <a:pt x="359" y="311"/>
                      <a:pt x="352" y="305"/>
                      <a:pt x="358" y="305"/>
                    </a:cubicBezTo>
                    <a:cubicBezTo>
                      <a:pt x="358" y="305"/>
                      <a:pt x="360" y="287"/>
                      <a:pt x="357" y="286"/>
                    </a:cubicBezTo>
                    <a:cubicBezTo>
                      <a:pt x="357" y="286"/>
                      <a:pt x="355" y="282"/>
                      <a:pt x="354" y="281"/>
                    </a:cubicBezTo>
                    <a:cubicBezTo>
                      <a:pt x="355" y="280"/>
                      <a:pt x="353" y="275"/>
                      <a:pt x="351" y="276"/>
                    </a:cubicBezTo>
                    <a:cubicBezTo>
                      <a:pt x="351" y="277"/>
                      <a:pt x="346" y="268"/>
                      <a:pt x="349" y="266"/>
                    </a:cubicBezTo>
                    <a:cubicBezTo>
                      <a:pt x="349" y="266"/>
                      <a:pt x="345" y="263"/>
                      <a:pt x="349" y="263"/>
                    </a:cubicBezTo>
                    <a:cubicBezTo>
                      <a:pt x="349" y="261"/>
                      <a:pt x="349" y="261"/>
                      <a:pt x="349" y="261"/>
                    </a:cubicBezTo>
                    <a:cubicBezTo>
                      <a:pt x="349" y="261"/>
                      <a:pt x="352" y="258"/>
                      <a:pt x="351" y="257"/>
                    </a:cubicBezTo>
                    <a:cubicBezTo>
                      <a:pt x="354" y="254"/>
                      <a:pt x="354" y="254"/>
                      <a:pt x="354" y="254"/>
                    </a:cubicBezTo>
                    <a:cubicBezTo>
                      <a:pt x="354" y="254"/>
                      <a:pt x="357" y="250"/>
                      <a:pt x="356" y="249"/>
                    </a:cubicBezTo>
                    <a:cubicBezTo>
                      <a:pt x="356" y="249"/>
                      <a:pt x="357" y="248"/>
                      <a:pt x="359" y="249"/>
                    </a:cubicBezTo>
                    <a:cubicBezTo>
                      <a:pt x="359" y="248"/>
                      <a:pt x="359" y="244"/>
                      <a:pt x="356" y="242"/>
                    </a:cubicBezTo>
                    <a:cubicBezTo>
                      <a:pt x="357" y="243"/>
                      <a:pt x="354" y="240"/>
                      <a:pt x="354" y="240"/>
                    </a:cubicBezTo>
                    <a:cubicBezTo>
                      <a:pt x="354" y="240"/>
                      <a:pt x="352" y="235"/>
                      <a:pt x="356" y="235"/>
                    </a:cubicBezTo>
                    <a:cubicBezTo>
                      <a:pt x="356" y="235"/>
                      <a:pt x="356" y="232"/>
                      <a:pt x="355" y="232"/>
                    </a:cubicBezTo>
                    <a:cubicBezTo>
                      <a:pt x="355" y="232"/>
                      <a:pt x="352" y="229"/>
                      <a:pt x="356" y="230"/>
                    </a:cubicBezTo>
                    <a:cubicBezTo>
                      <a:pt x="356" y="229"/>
                      <a:pt x="356" y="223"/>
                      <a:pt x="357" y="223"/>
                    </a:cubicBezTo>
                    <a:cubicBezTo>
                      <a:pt x="357" y="223"/>
                      <a:pt x="359" y="219"/>
                      <a:pt x="361" y="220"/>
                    </a:cubicBezTo>
                    <a:cubicBezTo>
                      <a:pt x="361" y="220"/>
                      <a:pt x="368" y="222"/>
                      <a:pt x="365" y="214"/>
                    </a:cubicBezTo>
                    <a:cubicBezTo>
                      <a:pt x="365" y="214"/>
                      <a:pt x="369" y="213"/>
                      <a:pt x="368" y="202"/>
                    </a:cubicBezTo>
                    <a:cubicBezTo>
                      <a:pt x="368" y="202"/>
                      <a:pt x="373" y="198"/>
                      <a:pt x="368" y="200"/>
                    </a:cubicBezTo>
                    <a:cubicBezTo>
                      <a:pt x="369" y="200"/>
                      <a:pt x="369" y="196"/>
                      <a:pt x="366" y="194"/>
                    </a:cubicBezTo>
                    <a:cubicBezTo>
                      <a:pt x="366" y="194"/>
                      <a:pt x="361" y="190"/>
                      <a:pt x="366" y="187"/>
                    </a:cubicBezTo>
                    <a:cubicBezTo>
                      <a:pt x="366" y="188"/>
                      <a:pt x="368" y="185"/>
                      <a:pt x="368" y="185"/>
                    </a:cubicBezTo>
                    <a:cubicBezTo>
                      <a:pt x="368" y="185"/>
                      <a:pt x="372" y="183"/>
                      <a:pt x="368" y="183"/>
                    </a:cubicBezTo>
                    <a:cubicBezTo>
                      <a:pt x="368" y="183"/>
                      <a:pt x="366" y="175"/>
                      <a:pt x="371" y="175"/>
                    </a:cubicBezTo>
                    <a:cubicBezTo>
                      <a:pt x="371" y="175"/>
                      <a:pt x="377" y="172"/>
                      <a:pt x="371" y="168"/>
                    </a:cubicBezTo>
                    <a:cubicBezTo>
                      <a:pt x="371" y="168"/>
                      <a:pt x="368" y="159"/>
                      <a:pt x="367" y="159"/>
                    </a:cubicBezTo>
                    <a:cubicBezTo>
                      <a:pt x="367" y="160"/>
                      <a:pt x="360" y="152"/>
                      <a:pt x="366" y="147"/>
                    </a:cubicBezTo>
                    <a:cubicBezTo>
                      <a:pt x="366" y="148"/>
                      <a:pt x="369" y="141"/>
                      <a:pt x="368" y="137"/>
                    </a:cubicBezTo>
                    <a:cubicBezTo>
                      <a:pt x="368" y="138"/>
                      <a:pt x="369" y="131"/>
                      <a:pt x="366" y="130"/>
                    </a:cubicBezTo>
                    <a:cubicBezTo>
                      <a:pt x="364" y="126"/>
                      <a:pt x="364" y="126"/>
                      <a:pt x="364" y="126"/>
                    </a:cubicBezTo>
                    <a:cubicBezTo>
                      <a:pt x="364" y="126"/>
                      <a:pt x="361" y="119"/>
                      <a:pt x="354" y="123"/>
                    </a:cubicBezTo>
                    <a:cubicBezTo>
                      <a:pt x="354" y="123"/>
                      <a:pt x="349" y="126"/>
                      <a:pt x="347" y="122"/>
                    </a:cubicBezTo>
                    <a:cubicBezTo>
                      <a:pt x="347" y="122"/>
                      <a:pt x="346" y="116"/>
                      <a:pt x="343" y="116"/>
                    </a:cubicBezTo>
                    <a:cubicBezTo>
                      <a:pt x="343" y="116"/>
                      <a:pt x="340" y="113"/>
                      <a:pt x="340" y="111"/>
                    </a:cubicBezTo>
                    <a:cubicBezTo>
                      <a:pt x="341" y="112"/>
                      <a:pt x="341" y="105"/>
                      <a:pt x="337" y="105"/>
                    </a:cubicBezTo>
                    <a:cubicBezTo>
                      <a:pt x="337" y="105"/>
                      <a:pt x="332" y="102"/>
                      <a:pt x="332" y="99"/>
                    </a:cubicBezTo>
                    <a:cubicBezTo>
                      <a:pt x="332" y="100"/>
                      <a:pt x="331" y="87"/>
                      <a:pt x="331" y="87"/>
                    </a:cubicBezTo>
                    <a:cubicBezTo>
                      <a:pt x="331" y="87"/>
                      <a:pt x="328" y="84"/>
                      <a:pt x="332" y="83"/>
                    </a:cubicBezTo>
                    <a:cubicBezTo>
                      <a:pt x="331" y="83"/>
                      <a:pt x="332" y="68"/>
                      <a:pt x="333" y="68"/>
                    </a:cubicBezTo>
                    <a:cubicBezTo>
                      <a:pt x="333" y="68"/>
                      <a:pt x="336" y="55"/>
                      <a:pt x="337" y="54"/>
                    </a:cubicBezTo>
                    <a:cubicBezTo>
                      <a:pt x="337" y="55"/>
                      <a:pt x="338" y="49"/>
                      <a:pt x="338" y="49"/>
                    </a:cubicBezTo>
                    <a:cubicBezTo>
                      <a:pt x="338" y="49"/>
                      <a:pt x="343" y="48"/>
                      <a:pt x="342" y="45"/>
                    </a:cubicBezTo>
                    <a:cubicBezTo>
                      <a:pt x="342" y="45"/>
                      <a:pt x="343" y="43"/>
                      <a:pt x="343" y="41"/>
                    </a:cubicBezTo>
                    <a:cubicBezTo>
                      <a:pt x="343" y="41"/>
                      <a:pt x="341" y="38"/>
                      <a:pt x="341" y="39"/>
                    </a:cubicBezTo>
                    <a:cubicBezTo>
                      <a:pt x="341" y="39"/>
                      <a:pt x="342" y="27"/>
                      <a:pt x="336" y="34"/>
                    </a:cubicBezTo>
                    <a:cubicBezTo>
                      <a:pt x="336" y="34"/>
                      <a:pt x="331" y="28"/>
                      <a:pt x="329" y="29"/>
                    </a:cubicBezTo>
                    <a:cubicBezTo>
                      <a:pt x="329" y="29"/>
                      <a:pt x="325" y="23"/>
                      <a:pt x="321" y="25"/>
                    </a:cubicBezTo>
                    <a:cubicBezTo>
                      <a:pt x="321" y="25"/>
                      <a:pt x="311" y="24"/>
                      <a:pt x="310" y="27"/>
                    </a:cubicBezTo>
                    <a:cubicBezTo>
                      <a:pt x="310" y="27"/>
                      <a:pt x="303" y="31"/>
                      <a:pt x="301" y="29"/>
                    </a:cubicBezTo>
                    <a:cubicBezTo>
                      <a:pt x="302" y="29"/>
                      <a:pt x="299" y="24"/>
                      <a:pt x="303" y="22"/>
                    </a:cubicBezTo>
                    <a:cubicBezTo>
                      <a:pt x="303" y="22"/>
                      <a:pt x="303" y="16"/>
                      <a:pt x="300" y="15"/>
                    </a:cubicBezTo>
                    <a:cubicBezTo>
                      <a:pt x="300" y="15"/>
                      <a:pt x="299" y="0"/>
                      <a:pt x="295" y="13"/>
                    </a:cubicBezTo>
                    <a:cubicBezTo>
                      <a:pt x="295" y="13"/>
                      <a:pt x="293" y="19"/>
                      <a:pt x="286" y="17"/>
                    </a:cubicBezTo>
                    <a:cubicBezTo>
                      <a:pt x="286" y="17"/>
                      <a:pt x="281" y="12"/>
                      <a:pt x="281" y="18"/>
                    </a:cubicBezTo>
                    <a:cubicBezTo>
                      <a:pt x="281" y="18"/>
                      <a:pt x="276" y="18"/>
                      <a:pt x="276" y="21"/>
                    </a:cubicBezTo>
                    <a:cubicBezTo>
                      <a:pt x="276" y="21"/>
                      <a:pt x="272" y="27"/>
                      <a:pt x="276" y="30"/>
                    </a:cubicBezTo>
                    <a:cubicBezTo>
                      <a:pt x="276" y="30"/>
                      <a:pt x="280" y="33"/>
                      <a:pt x="279" y="39"/>
                    </a:cubicBezTo>
                    <a:cubicBezTo>
                      <a:pt x="278" y="40"/>
                      <a:pt x="274" y="45"/>
                      <a:pt x="271" y="44"/>
                    </a:cubicBezTo>
                    <a:cubicBezTo>
                      <a:pt x="272" y="44"/>
                      <a:pt x="266" y="45"/>
                      <a:pt x="264" y="46"/>
                    </a:cubicBezTo>
                    <a:cubicBezTo>
                      <a:pt x="264" y="46"/>
                      <a:pt x="260" y="49"/>
                      <a:pt x="259" y="49"/>
                    </a:cubicBezTo>
                    <a:cubicBezTo>
                      <a:pt x="260" y="49"/>
                      <a:pt x="254" y="51"/>
                      <a:pt x="253" y="51"/>
                    </a:cubicBezTo>
                    <a:cubicBezTo>
                      <a:pt x="253" y="51"/>
                      <a:pt x="248" y="53"/>
                      <a:pt x="246" y="53"/>
                    </a:cubicBezTo>
                    <a:cubicBezTo>
                      <a:pt x="246" y="53"/>
                      <a:pt x="242" y="53"/>
                      <a:pt x="242" y="57"/>
                    </a:cubicBezTo>
                    <a:cubicBezTo>
                      <a:pt x="242" y="58"/>
                      <a:pt x="238" y="58"/>
                      <a:pt x="238" y="58"/>
                    </a:cubicBezTo>
                    <a:cubicBezTo>
                      <a:pt x="238" y="58"/>
                      <a:pt x="237" y="60"/>
                      <a:pt x="235" y="57"/>
                    </a:cubicBezTo>
                    <a:cubicBezTo>
                      <a:pt x="235" y="58"/>
                      <a:pt x="233" y="49"/>
                      <a:pt x="230" y="55"/>
                    </a:cubicBezTo>
                    <a:cubicBezTo>
                      <a:pt x="230" y="56"/>
                      <a:pt x="223" y="56"/>
                      <a:pt x="223" y="56"/>
                    </a:cubicBezTo>
                    <a:cubicBezTo>
                      <a:pt x="223" y="56"/>
                      <a:pt x="218" y="60"/>
                      <a:pt x="215" y="56"/>
                    </a:cubicBezTo>
                    <a:cubicBezTo>
                      <a:pt x="215" y="56"/>
                      <a:pt x="208" y="57"/>
                      <a:pt x="207" y="53"/>
                    </a:cubicBezTo>
                    <a:cubicBezTo>
                      <a:pt x="207" y="54"/>
                      <a:pt x="201" y="52"/>
                      <a:pt x="202" y="52"/>
                    </a:cubicBezTo>
                    <a:cubicBezTo>
                      <a:pt x="202" y="52"/>
                      <a:pt x="193" y="50"/>
                      <a:pt x="194" y="49"/>
                    </a:cubicBezTo>
                    <a:cubicBezTo>
                      <a:pt x="195" y="49"/>
                      <a:pt x="191" y="49"/>
                      <a:pt x="190" y="51"/>
                    </a:cubicBezTo>
                    <a:cubicBezTo>
                      <a:pt x="190" y="51"/>
                      <a:pt x="184" y="52"/>
                      <a:pt x="186" y="49"/>
                    </a:cubicBezTo>
                    <a:cubicBezTo>
                      <a:pt x="186" y="50"/>
                      <a:pt x="180" y="45"/>
                      <a:pt x="180" y="49"/>
                    </a:cubicBezTo>
                    <a:cubicBezTo>
                      <a:pt x="180" y="49"/>
                      <a:pt x="165" y="53"/>
                      <a:pt x="169" y="46"/>
                    </a:cubicBezTo>
                    <a:cubicBezTo>
                      <a:pt x="169" y="46"/>
                      <a:pt x="159" y="43"/>
                      <a:pt x="150" y="47"/>
                    </a:cubicBezTo>
                    <a:cubicBezTo>
                      <a:pt x="150" y="47"/>
                      <a:pt x="149" y="51"/>
                      <a:pt x="147" y="52"/>
                    </a:cubicBezTo>
                    <a:cubicBezTo>
                      <a:pt x="147" y="52"/>
                      <a:pt x="142" y="51"/>
                      <a:pt x="142" y="54"/>
                    </a:cubicBezTo>
                    <a:cubicBezTo>
                      <a:pt x="143" y="54"/>
                      <a:pt x="134" y="58"/>
                      <a:pt x="132" y="54"/>
                    </a:cubicBezTo>
                    <a:cubicBezTo>
                      <a:pt x="132" y="54"/>
                      <a:pt x="133" y="45"/>
                      <a:pt x="127" y="46"/>
                    </a:cubicBezTo>
                    <a:cubicBezTo>
                      <a:pt x="127" y="46"/>
                      <a:pt x="118" y="49"/>
                      <a:pt x="116" y="49"/>
                    </a:cubicBezTo>
                    <a:cubicBezTo>
                      <a:pt x="116" y="49"/>
                      <a:pt x="107" y="48"/>
                      <a:pt x="107" y="45"/>
                    </a:cubicBezTo>
                    <a:cubicBezTo>
                      <a:pt x="107" y="45"/>
                      <a:pt x="104" y="40"/>
                      <a:pt x="96" y="41"/>
                    </a:cubicBezTo>
                    <a:cubicBezTo>
                      <a:pt x="96" y="41"/>
                      <a:pt x="88" y="41"/>
                      <a:pt x="88" y="40"/>
                    </a:cubicBezTo>
                    <a:cubicBezTo>
                      <a:pt x="88" y="40"/>
                      <a:pt x="84" y="38"/>
                      <a:pt x="83" y="39"/>
                    </a:cubicBezTo>
                    <a:cubicBezTo>
                      <a:pt x="83" y="39"/>
                      <a:pt x="77" y="39"/>
                      <a:pt x="77" y="41"/>
                    </a:cubicBezTo>
                    <a:cubicBezTo>
                      <a:pt x="77" y="41"/>
                      <a:pt x="73" y="46"/>
                      <a:pt x="75" y="49"/>
                    </a:cubicBezTo>
                    <a:cubicBezTo>
                      <a:pt x="75" y="49"/>
                      <a:pt x="73" y="56"/>
                      <a:pt x="73" y="58"/>
                    </a:cubicBezTo>
                    <a:cubicBezTo>
                      <a:pt x="73" y="59"/>
                      <a:pt x="77" y="74"/>
                      <a:pt x="69" y="75"/>
                    </a:cubicBezTo>
                    <a:cubicBezTo>
                      <a:pt x="69" y="75"/>
                      <a:pt x="65" y="77"/>
                      <a:pt x="62" y="77"/>
                    </a:cubicBezTo>
                    <a:cubicBezTo>
                      <a:pt x="62" y="77"/>
                      <a:pt x="55" y="76"/>
                      <a:pt x="54" y="78"/>
                    </a:cubicBezTo>
                    <a:cubicBezTo>
                      <a:pt x="54" y="78"/>
                      <a:pt x="54" y="79"/>
                      <a:pt x="53" y="81"/>
                    </a:cubicBezTo>
                    <a:cubicBezTo>
                      <a:pt x="53" y="81"/>
                      <a:pt x="53" y="82"/>
                      <a:pt x="50" y="83"/>
                    </a:cubicBezTo>
                    <a:cubicBezTo>
                      <a:pt x="50" y="83"/>
                      <a:pt x="48" y="84"/>
                      <a:pt x="48" y="87"/>
                    </a:cubicBezTo>
                    <a:cubicBezTo>
                      <a:pt x="48" y="87"/>
                      <a:pt x="42" y="89"/>
                      <a:pt x="43" y="91"/>
                    </a:cubicBezTo>
                    <a:cubicBezTo>
                      <a:pt x="44" y="91"/>
                      <a:pt x="40" y="94"/>
                      <a:pt x="38" y="93"/>
                    </a:cubicBezTo>
                    <a:cubicBezTo>
                      <a:pt x="38" y="94"/>
                      <a:pt x="38" y="99"/>
                      <a:pt x="35" y="98"/>
                    </a:cubicBezTo>
                    <a:cubicBezTo>
                      <a:pt x="35" y="98"/>
                      <a:pt x="36" y="104"/>
                      <a:pt x="32" y="105"/>
                    </a:cubicBezTo>
                    <a:cubicBezTo>
                      <a:pt x="32" y="105"/>
                      <a:pt x="23" y="106"/>
                      <a:pt x="21" y="107"/>
                    </a:cubicBezTo>
                    <a:cubicBezTo>
                      <a:pt x="21" y="108"/>
                      <a:pt x="11" y="107"/>
                      <a:pt x="11" y="106"/>
                    </a:cubicBezTo>
                    <a:cubicBezTo>
                      <a:pt x="10" y="106"/>
                      <a:pt x="5" y="103"/>
                      <a:pt x="5" y="114"/>
                    </a:cubicBezTo>
                    <a:cubicBezTo>
                      <a:pt x="5" y="114"/>
                      <a:pt x="10" y="117"/>
                      <a:pt x="4" y="118"/>
                    </a:cubicBezTo>
                    <a:cubicBezTo>
                      <a:pt x="4" y="118"/>
                      <a:pt x="0" y="120"/>
                      <a:pt x="5" y="123"/>
                    </a:cubicBezTo>
                    <a:cubicBezTo>
                      <a:pt x="5" y="123"/>
                      <a:pt x="12" y="124"/>
                      <a:pt x="4" y="125"/>
                    </a:cubicBezTo>
                    <a:cubicBezTo>
                      <a:pt x="4" y="126"/>
                      <a:pt x="0" y="130"/>
                      <a:pt x="0" y="132"/>
                    </a:cubicBezTo>
                    <a:cubicBezTo>
                      <a:pt x="0" y="132"/>
                      <a:pt x="2" y="136"/>
                      <a:pt x="4" y="136"/>
                    </a:cubicBezTo>
                    <a:cubicBezTo>
                      <a:pt x="4" y="136"/>
                      <a:pt x="6" y="137"/>
                      <a:pt x="7" y="139"/>
                    </a:cubicBezTo>
                    <a:cubicBezTo>
                      <a:pt x="8" y="139"/>
                      <a:pt x="8" y="138"/>
                      <a:pt x="9" y="137"/>
                    </a:cubicBezTo>
                    <a:cubicBezTo>
                      <a:pt x="9" y="137"/>
                      <a:pt x="16" y="133"/>
                      <a:pt x="20" y="134"/>
                    </a:cubicBezTo>
                    <a:cubicBezTo>
                      <a:pt x="20" y="134"/>
                      <a:pt x="22" y="131"/>
                      <a:pt x="24" y="132"/>
                    </a:cubicBezTo>
                    <a:cubicBezTo>
                      <a:pt x="25" y="132"/>
                      <a:pt x="27" y="127"/>
                      <a:pt x="35" y="129"/>
                    </a:cubicBezTo>
                    <a:cubicBezTo>
                      <a:pt x="35" y="130"/>
                      <a:pt x="40" y="134"/>
                      <a:pt x="39" y="137"/>
                    </a:cubicBezTo>
                    <a:cubicBezTo>
                      <a:pt x="39" y="137"/>
                      <a:pt x="49" y="138"/>
                      <a:pt x="42" y="140"/>
                    </a:cubicBezTo>
                    <a:cubicBezTo>
                      <a:pt x="42" y="140"/>
                      <a:pt x="42" y="142"/>
                      <a:pt x="43" y="143"/>
                    </a:cubicBezTo>
                    <a:cubicBezTo>
                      <a:pt x="44" y="143"/>
                      <a:pt x="48" y="145"/>
                      <a:pt x="44" y="148"/>
                    </a:cubicBezTo>
                    <a:cubicBezTo>
                      <a:pt x="44" y="149"/>
                      <a:pt x="41" y="146"/>
                      <a:pt x="42" y="156"/>
                    </a:cubicBezTo>
                    <a:cubicBezTo>
                      <a:pt x="42" y="156"/>
                      <a:pt x="35" y="158"/>
                      <a:pt x="42" y="162"/>
                    </a:cubicBezTo>
                    <a:cubicBezTo>
                      <a:pt x="42" y="162"/>
                      <a:pt x="41" y="167"/>
                      <a:pt x="44" y="167"/>
                    </a:cubicBezTo>
                    <a:cubicBezTo>
                      <a:pt x="44" y="167"/>
                      <a:pt x="50" y="170"/>
                      <a:pt x="44" y="171"/>
                    </a:cubicBezTo>
                    <a:cubicBezTo>
                      <a:pt x="44" y="177"/>
                      <a:pt x="44" y="177"/>
                      <a:pt x="44" y="177"/>
                    </a:cubicBezTo>
                    <a:cubicBezTo>
                      <a:pt x="44" y="177"/>
                      <a:pt x="50" y="179"/>
                      <a:pt x="44" y="181"/>
                    </a:cubicBezTo>
                    <a:cubicBezTo>
                      <a:pt x="44" y="182"/>
                      <a:pt x="39" y="188"/>
                      <a:pt x="44" y="187"/>
                    </a:cubicBezTo>
                    <a:cubicBezTo>
                      <a:pt x="44" y="203"/>
                      <a:pt x="44" y="203"/>
                      <a:pt x="44" y="203"/>
                    </a:cubicBezTo>
                    <a:cubicBezTo>
                      <a:pt x="44" y="203"/>
                      <a:pt x="48" y="206"/>
                      <a:pt x="43" y="206"/>
                    </a:cubicBezTo>
                    <a:cubicBezTo>
                      <a:pt x="44" y="206"/>
                      <a:pt x="40" y="202"/>
                      <a:pt x="42" y="224"/>
                    </a:cubicBezTo>
                    <a:cubicBezTo>
                      <a:pt x="42" y="225"/>
                      <a:pt x="46" y="226"/>
                      <a:pt x="42" y="229"/>
                    </a:cubicBezTo>
                    <a:cubicBezTo>
                      <a:pt x="42" y="229"/>
                      <a:pt x="43" y="232"/>
                      <a:pt x="38" y="231"/>
                    </a:cubicBezTo>
                    <a:cubicBezTo>
                      <a:pt x="37" y="233"/>
                      <a:pt x="37" y="233"/>
                      <a:pt x="37" y="233"/>
                    </a:cubicBezTo>
                    <a:cubicBezTo>
                      <a:pt x="37" y="233"/>
                      <a:pt x="38" y="238"/>
                      <a:pt x="31" y="236"/>
                    </a:cubicBezTo>
                    <a:cubicBezTo>
                      <a:pt x="31" y="236"/>
                      <a:pt x="29" y="236"/>
                      <a:pt x="30" y="248"/>
                    </a:cubicBezTo>
                    <a:cubicBezTo>
                      <a:pt x="27" y="251"/>
                      <a:pt x="27" y="251"/>
                      <a:pt x="27" y="251"/>
                    </a:cubicBezTo>
                    <a:cubicBezTo>
                      <a:pt x="27" y="251"/>
                      <a:pt x="20" y="249"/>
                      <a:pt x="22" y="256"/>
                    </a:cubicBezTo>
                    <a:cubicBezTo>
                      <a:pt x="22" y="256"/>
                      <a:pt x="26" y="259"/>
                      <a:pt x="27" y="259"/>
                    </a:cubicBezTo>
                    <a:cubicBezTo>
                      <a:pt x="27" y="259"/>
                      <a:pt x="27" y="263"/>
                      <a:pt x="30" y="264"/>
                    </a:cubicBezTo>
                    <a:cubicBezTo>
                      <a:pt x="30" y="264"/>
                      <a:pt x="32" y="267"/>
                      <a:pt x="31" y="269"/>
                    </a:cubicBezTo>
                    <a:cubicBezTo>
                      <a:pt x="31" y="269"/>
                      <a:pt x="35" y="274"/>
                      <a:pt x="35" y="275"/>
                    </a:cubicBezTo>
                    <a:cubicBezTo>
                      <a:pt x="35" y="275"/>
                      <a:pt x="42" y="282"/>
                      <a:pt x="34" y="279"/>
                    </a:cubicBezTo>
                    <a:cubicBezTo>
                      <a:pt x="31" y="282"/>
                      <a:pt x="31" y="282"/>
                      <a:pt x="31" y="282"/>
                    </a:cubicBezTo>
                    <a:cubicBezTo>
                      <a:pt x="31" y="282"/>
                      <a:pt x="27" y="285"/>
                      <a:pt x="31" y="290"/>
                    </a:cubicBezTo>
                    <a:cubicBezTo>
                      <a:pt x="31" y="290"/>
                      <a:pt x="35" y="292"/>
                      <a:pt x="35" y="292"/>
                    </a:cubicBezTo>
                    <a:cubicBezTo>
                      <a:pt x="35" y="292"/>
                      <a:pt x="45" y="291"/>
                      <a:pt x="42" y="301"/>
                    </a:cubicBezTo>
                    <a:cubicBezTo>
                      <a:pt x="42" y="301"/>
                      <a:pt x="40" y="303"/>
                      <a:pt x="50" y="303"/>
                    </a:cubicBezTo>
                    <a:cubicBezTo>
                      <a:pt x="50" y="303"/>
                      <a:pt x="49" y="305"/>
                      <a:pt x="59" y="306"/>
                    </a:cubicBezTo>
                    <a:cubicBezTo>
                      <a:pt x="62" y="309"/>
                      <a:pt x="62" y="309"/>
                      <a:pt x="62" y="309"/>
                    </a:cubicBezTo>
                    <a:cubicBezTo>
                      <a:pt x="62" y="309"/>
                      <a:pt x="65" y="313"/>
                      <a:pt x="69" y="310"/>
                    </a:cubicBezTo>
                    <a:cubicBezTo>
                      <a:pt x="75" y="314"/>
                      <a:pt x="75" y="314"/>
                      <a:pt x="75" y="314"/>
                    </a:cubicBezTo>
                    <a:cubicBezTo>
                      <a:pt x="75" y="314"/>
                      <a:pt x="74" y="319"/>
                      <a:pt x="77" y="319"/>
                    </a:cubicBezTo>
                    <a:cubicBezTo>
                      <a:pt x="77" y="320"/>
                      <a:pt x="76" y="330"/>
                      <a:pt x="80" y="329"/>
                    </a:cubicBezTo>
                    <a:cubicBezTo>
                      <a:pt x="87" y="334"/>
                      <a:pt x="87" y="334"/>
                      <a:pt x="87" y="334"/>
                    </a:cubicBezTo>
                    <a:cubicBezTo>
                      <a:pt x="87" y="334"/>
                      <a:pt x="86" y="338"/>
                      <a:pt x="89" y="338"/>
                    </a:cubicBezTo>
                    <a:cubicBezTo>
                      <a:pt x="89" y="339"/>
                      <a:pt x="91" y="341"/>
                      <a:pt x="94" y="340"/>
                    </a:cubicBezTo>
                    <a:cubicBezTo>
                      <a:pt x="94" y="341"/>
                      <a:pt x="93" y="350"/>
                      <a:pt x="96" y="350"/>
                    </a:cubicBezTo>
                    <a:cubicBezTo>
                      <a:pt x="96" y="350"/>
                      <a:pt x="96" y="358"/>
                      <a:pt x="99" y="357"/>
                    </a:cubicBezTo>
                    <a:cubicBezTo>
                      <a:pt x="100" y="357"/>
                      <a:pt x="104" y="356"/>
                      <a:pt x="104" y="356"/>
                    </a:cubicBezTo>
                    <a:cubicBezTo>
                      <a:pt x="104" y="356"/>
                      <a:pt x="102" y="360"/>
                      <a:pt x="108" y="360"/>
                    </a:cubicBezTo>
                    <a:cubicBezTo>
                      <a:pt x="109" y="360"/>
                      <a:pt x="115" y="360"/>
                      <a:pt x="109" y="366"/>
                    </a:cubicBezTo>
                    <a:cubicBezTo>
                      <a:pt x="107" y="368"/>
                      <a:pt x="107" y="368"/>
                      <a:pt x="107" y="368"/>
                    </a:cubicBezTo>
                    <a:cubicBezTo>
                      <a:pt x="107" y="368"/>
                      <a:pt x="104" y="370"/>
                      <a:pt x="108" y="371"/>
                    </a:cubicBezTo>
                    <a:cubicBezTo>
                      <a:pt x="111" y="374"/>
                      <a:pt x="111" y="374"/>
                      <a:pt x="111" y="374"/>
                    </a:cubicBezTo>
                    <a:cubicBezTo>
                      <a:pt x="113" y="378"/>
                      <a:pt x="113" y="378"/>
                      <a:pt x="113" y="378"/>
                    </a:cubicBezTo>
                    <a:cubicBezTo>
                      <a:pt x="113" y="378"/>
                      <a:pt x="116" y="380"/>
                      <a:pt x="115" y="386"/>
                    </a:cubicBezTo>
                    <a:cubicBezTo>
                      <a:pt x="115" y="387"/>
                      <a:pt x="119" y="389"/>
                      <a:pt x="119" y="386"/>
                    </a:cubicBezTo>
                    <a:cubicBezTo>
                      <a:pt x="119" y="386"/>
                      <a:pt x="137" y="383"/>
                      <a:pt x="134" y="387"/>
                    </a:cubicBezTo>
                    <a:cubicBezTo>
                      <a:pt x="138" y="388"/>
                      <a:pt x="138" y="388"/>
                      <a:pt x="138" y="388"/>
                    </a:cubicBezTo>
                    <a:cubicBezTo>
                      <a:pt x="138" y="388"/>
                      <a:pt x="135" y="393"/>
                      <a:pt x="139" y="393"/>
                    </a:cubicBezTo>
                    <a:cubicBezTo>
                      <a:pt x="140" y="393"/>
                      <a:pt x="139" y="396"/>
                      <a:pt x="144" y="394"/>
                    </a:cubicBezTo>
                    <a:cubicBezTo>
                      <a:pt x="144" y="395"/>
                      <a:pt x="146" y="401"/>
                      <a:pt x="148" y="395"/>
                    </a:cubicBezTo>
                    <a:cubicBezTo>
                      <a:pt x="148" y="395"/>
                      <a:pt x="153" y="393"/>
                      <a:pt x="151" y="398"/>
                    </a:cubicBezTo>
                    <a:cubicBezTo>
                      <a:pt x="151" y="399"/>
                      <a:pt x="156" y="399"/>
                      <a:pt x="153" y="401"/>
                    </a:cubicBezTo>
                    <a:cubicBezTo>
                      <a:pt x="153" y="401"/>
                      <a:pt x="162" y="401"/>
                      <a:pt x="161" y="404"/>
                    </a:cubicBezTo>
                    <a:cubicBezTo>
                      <a:pt x="161" y="404"/>
                      <a:pt x="166" y="404"/>
                      <a:pt x="165" y="406"/>
                    </a:cubicBezTo>
                    <a:cubicBezTo>
                      <a:pt x="165" y="406"/>
                      <a:pt x="169" y="409"/>
                      <a:pt x="169" y="403"/>
                    </a:cubicBezTo>
                    <a:cubicBezTo>
                      <a:pt x="169" y="403"/>
                      <a:pt x="172" y="400"/>
                      <a:pt x="172" y="400"/>
                    </a:cubicBezTo>
                    <a:cubicBezTo>
                      <a:pt x="175" y="397"/>
                      <a:pt x="175" y="397"/>
                      <a:pt x="175" y="397"/>
                    </a:cubicBezTo>
                    <a:cubicBezTo>
                      <a:pt x="175" y="397"/>
                      <a:pt x="177" y="395"/>
                      <a:pt x="177" y="393"/>
                    </a:cubicBezTo>
                    <a:cubicBezTo>
                      <a:pt x="179" y="389"/>
                      <a:pt x="179" y="389"/>
                      <a:pt x="179" y="389"/>
                    </a:cubicBezTo>
                    <a:cubicBezTo>
                      <a:pt x="179" y="389"/>
                      <a:pt x="182" y="385"/>
                      <a:pt x="184" y="390"/>
                    </a:cubicBezTo>
                    <a:cubicBezTo>
                      <a:pt x="187" y="395"/>
                      <a:pt x="187" y="395"/>
                      <a:pt x="187" y="395"/>
                    </a:cubicBezTo>
                    <a:cubicBezTo>
                      <a:pt x="190" y="398"/>
                      <a:pt x="190" y="398"/>
                      <a:pt x="190" y="398"/>
                    </a:cubicBezTo>
                    <a:cubicBezTo>
                      <a:pt x="190" y="398"/>
                      <a:pt x="193" y="401"/>
                      <a:pt x="194" y="403"/>
                    </a:cubicBezTo>
                    <a:cubicBezTo>
                      <a:pt x="193" y="403"/>
                      <a:pt x="197" y="406"/>
                      <a:pt x="199" y="405"/>
                    </a:cubicBezTo>
                    <a:cubicBezTo>
                      <a:pt x="199" y="406"/>
                      <a:pt x="201" y="408"/>
                      <a:pt x="201" y="408"/>
                    </a:cubicBezTo>
                    <a:cubicBezTo>
                      <a:pt x="201" y="408"/>
                      <a:pt x="207" y="411"/>
                      <a:pt x="211" y="409"/>
                    </a:cubicBezTo>
                    <a:cubicBezTo>
                      <a:pt x="214" y="407"/>
                      <a:pt x="214" y="407"/>
                      <a:pt x="214" y="407"/>
                    </a:cubicBezTo>
                    <a:cubicBezTo>
                      <a:pt x="214" y="407"/>
                      <a:pt x="216" y="403"/>
                      <a:pt x="218" y="406"/>
                    </a:cubicBezTo>
                    <a:cubicBezTo>
                      <a:pt x="218" y="406"/>
                      <a:pt x="223" y="407"/>
                      <a:pt x="222" y="409"/>
                    </a:cubicBezTo>
                    <a:cubicBezTo>
                      <a:pt x="225" y="411"/>
                      <a:pt x="225" y="411"/>
                      <a:pt x="225" y="411"/>
                    </a:cubicBezTo>
                    <a:cubicBezTo>
                      <a:pt x="228" y="413"/>
                      <a:pt x="228" y="413"/>
                      <a:pt x="228" y="413"/>
                    </a:cubicBezTo>
                    <a:cubicBezTo>
                      <a:pt x="228" y="413"/>
                      <a:pt x="231" y="415"/>
                      <a:pt x="230" y="417"/>
                    </a:cubicBezTo>
                    <a:cubicBezTo>
                      <a:pt x="230" y="417"/>
                      <a:pt x="231" y="420"/>
                      <a:pt x="234" y="420"/>
                    </a:cubicBezTo>
                    <a:cubicBezTo>
                      <a:pt x="234" y="420"/>
                      <a:pt x="239" y="424"/>
                      <a:pt x="239" y="424"/>
                    </a:cubicBezTo>
                    <a:cubicBezTo>
                      <a:pt x="238" y="432"/>
                      <a:pt x="238" y="432"/>
                      <a:pt x="238" y="432"/>
                    </a:cubicBezTo>
                    <a:cubicBezTo>
                      <a:pt x="238" y="432"/>
                      <a:pt x="242" y="433"/>
                      <a:pt x="239" y="436"/>
                    </a:cubicBezTo>
                    <a:cubicBezTo>
                      <a:pt x="239" y="436"/>
                      <a:pt x="235" y="437"/>
                      <a:pt x="236" y="441"/>
                    </a:cubicBezTo>
                    <a:cubicBezTo>
                      <a:pt x="236" y="442"/>
                      <a:pt x="233" y="443"/>
                      <a:pt x="234" y="443"/>
                    </a:cubicBezTo>
                    <a:cubicBezTo>
                      <a:pt x="234" y="443"/>
                      <a:pt x="225" y="443"/>
                      <a:pt x="228" y="447"/>
                    </a:cubicBezTo>
                    <a:cubicBezTo>
                      <a:pt x="228" y="447"/>
                      <a:pt x="234" y="449"/>
                      <a:pt x="228" y="451"/>
                    </a:cubicBezTo>
                    <a:cubicBezTo>
                      <a:pt x="228" y="451"/>
                      <a:pt x="226" y="455"/>
                      <a:pt x="226" y="455"/>
                    </a:cubicBezTo>
                    <a:cubicBezTo>
                      <a:pt x="226" y="455"/>
                      <a:pt x="222" y="458"/>
                      <a:pt x="222" y="458"/>
                    </a:cubicBezTo>
                    <a:cubicBezTo>
                      <a:pt x="218" y="462"/>
                      <a:pt x="218" y="462"/>
                      <a:pt x="218" y="462"/>
                    </a:cubicBezTo>
                    <a:cubicBezTo>
                      <a:pt x="218" y="462"/>
                      <a:pt x="211" y="465"/>
                      <a:pt x="212" y="466"/>
                    </a:cubicBezTo>
                    <a:cubicBezTo>
                      <a:pt x="212" y="467"/>
                      <a:pt x="206" y="477"/>
                      <a:pt x="208" y="478"/>
                    </a:cubicBezTo>
                    <a:cubicBezTo>
                      <a:pt x="205" y="484"/>
                      <a:pt x="205" y="484"/>
                      <a:pt x="205" y="484"/>
                    </a:cubicBezTo>
                    <a:cubicBezTo>
                      <a:pt x="205" y="484"/>
                      <a:pt x="201" y="492"/>
                      <a:pt x="207" y="486"/>
                    </a:cubicBezTo>
                    <a:cubicBezTo>
                      <a:pt x="207" y="485"/>
                      <a:pt x="215" y="484"/>
                      <a:pt x="215" y="487"/>
                    </a:cubicBezTo>
                    <a:cubicBezTo>
                      <a:pt x="218" y="487"/>
                      <a:pt x="218" y="487"/>
                      <a:pt x="218" y="487"/>
                    </a:cubicBezTo>
                    <a:cubicBezTo>
                      <a:pt x="218" y="487"/>
                      <a:pt x="220" y="483"/>
                      <a:pt x="221" y="487"/>
                    </a:cubicBezTo>
                    <a:cubicBezTo>
                      <a:pt x="227" y="488"/>
                      <a:pt x="227" y="488"/>
                      <a:pt x="227" y="488"/>
                    </a:cubicBezTo>
                    <a:cubicBezTo>
                      <a:pt x="227" y="488"/>
                      <a:pt x="226" y="491"/>
                      <a:pt x="232" y="490"/>
                    </a:cubicBezTo>
                    <a:cubicBezTo>
                      <a:pt x="233" y="490"/>
                      <a:pt x="232" y="497"/>
                      <a:pt x="232" y="497"/>
                    </a:cubicBezTo>
                    <a:cubicBezTo>
                      <a:pt x="238" y="500"/>
                      <a:pt x="238" y="500"/>
                      <a:pt x="238" y="500"/>
                    </a:cubicBezTo>
                    <a:cubicBezTo>
                      <a:pt x="242" y="505"/>
                      <a:pt x="242" y="505"/>
                      <a:pt x="242" y="505"/>
                    </a:cubicBezTo>
                    <a:cubicBezTo>
                      <a:pt x="242" y="505"/>
                      <a:pt x="245" y="509"/>
                      <a:pt x="249" y="510"/>
                    </a:cubicBezTo>
                    <a:cubicBezTo>
                      <a:pt x="249" y="510"/>
                      <a:pt x="249" y="512"/>
                      <a:pt x="258" y="512"/>
                    </a:cubicBezTo>
                    <a:cubicBezTo>
                      <a:pt x="258" y="512"/>
                      <a:pt x="261" y="515"/>
                      <a:pt x="260" y="520"/>
                    </a:cubicBezTo>
                    <a:cubicBezTo>
                      <a:pt x="260" y="520"/>
                      <a:pt x="264" y="520"/>
                      <a:pt x="260" y="524"/>
                    </a:cubicBezTo>
                    <a:cubicBezTo>
                      <a:pt x="260" y="524"/>
                      <a:pt x="259" y="535"/>
                      <a:pt x="263" y="535"/>
                    </a:cubicBezTo>
                    <a:cubicBezTo>
                      <a:pt x="263" y="535"/>
                      <a:pt x="264" y="541"/>
                      <a:pt x="265" y="541"/>
                    </a:cubicBezTo>
                    <a:cubicBezTo>
                      <a:pt x="265" y="541"/>
                      <a:pt x="265" y="544"/>
                      <a:pt x="271" y="543"/>
                    </a:cubicBezTo>
                    <a:cubicBezTo>
                      <a:pt x="270" y="543"/>
                      <a:pt x="272" y="549"/>
                      <a:pt x="272" y="549"/>
                    </a:cubicBezTo>
                    <a:cubicBezTo>
                      <a:pt x="275" y="560"/>
                      <a:pt x="275" y="560"/>
                      <a:pt x="275" y="560"/>
                    </a:cubicBezTo>
                    <a:cubicBezTo>
                      <a:pt x="275" y="560"/>
                      <a:pt x="275" y="562"/>
                      <a:pt x="277" y="565"/>
                    </a:cubicBezTo>
                    <a:cubicBezTo>
                      <a:pt x="277" y="565"/>
                      <a:pt x="280" y="569"/>
                      <a:pt x="280" y="579"/>
                    </a:cubicBezTo>
                    <a:cubicBezTo>
                      <a:pt x="280" y="580"/>
                      <a:pt x="283" y="580"/>
                      <a:pt x="283" y="580"/>
                    </a:cubicBezTo>
                    <a:cubicBezTo>
                      <a:pt x="283" y="580"/>
                      <a:pt x="284" y="576"/>
                      <a:pt x="285" y="580"/>
                    </a:cubicBezTo>
                    <a:cubicBezTo>
                      <a:pt x="285" y="580"/>
                      <a:pt x="290" y="581"/>
                      <a:pt x="285" y="581"/>
                    </a:cubicBezTo>
                    <a:cubicBezTo>
                      <a:pt x="285" y="581"/>
                      <a:pt x="281" y="581"/>
                      <a:pt x="283" y="583"/>
                    </a:cubicBezTo>
                    <a:cubicBezTo>
                      <a:pt x="281" y="583"/>
                      <a:pt x="276" y="589"/>
                      <a:pt x="276" y="589"/>
                    </a:cubicBezTo>
                    <a:cubicBezTo>
                      <a:pt x="272" y="594"/>
                      <a:pt x="272" y="594"/>
                      <a:pt x="272" y="594"/>
                    </a:cubicBezTo>
                    <a:cubicBezTo>
                      <a:pt x="268" y="598"/>
                      <a:pt x="268" y="598"/>
                      <a:pt x="268" y="598"/>
                    </a:cubicBezTo>
                    <a:cubicBezTo>
                      <a:pt x="268" y="598"/>
                      <a:pt x="265" y="612"/>
                      <a:pt x="272" y="604"/>
                    </a:cubicBezTo>
                    <a:cubicBezTo>
                      <a:pt x="272" y="604"/>
                      <a:pt x="276" y="602"/>
                      <a:pt x="276" y="602"/>
                    </a:cubicBezTo>
                    <a:cubicBezTo>
                      <a:pt x="280" y="600"/>
                      <a:pt x="280" y="600"/>
                      <a:pt x="280" y="600"/>
                    </a:cubicBezTo>
                    <a:cubicBezTo>
                      <a:pt x="280" y="600"/>
                      <a:pt x="287" y="600"/>
                      <a:pt x="286" y="597"/>
                    </a:cubicBezTo>
                    <a:cubicBezTo>
                      <a:pt x="291" y="597"/>
                      <a:pt x="291" y="597"/>
                      <a:pt x="291" y="597"/>
                    </a:cubicBezTo>
                    <a:cubicBezTo>
                      <a:pt x="291" y="597"/>
                      <a:pt x="294" y="600"/>
                      <a:pt x="293" y="605"/>
                    </a:cubicBezTo>
                    <a:cubicBezTo>
                      <a:pt x="293" y="606"/>
                      <a:pt x="296" y="608"/>
                      <a:pt x="299" y="607"/>
                    </a:cubicBezTo>
                    <a:cubicBezTo>
                      <a:pt x="301" y="602"/>
                      <a:pt x="301" y="602"/>
                      <a:pt x="301" y="602"/>
                    </a:cubicBezTo>
                    <a:cubicBezTo>
                      <a:pt x="301" y="602"/>
                      <a:pt x="308" y="601"/>
                      <a:pt x="308" y="603"/>
                    </a:cubicBezTo>
                    <a:cubicBezTo>
                      <a:pt x="308" y="603"/>
                      <a:pt x="317" y="604"/>
                      <a:pt x="310" y="607"/>
                    </a:cubicBezTo>
                    <a:cubicBezTo>
                      <a:pt x="310" y="607"/>
                      <a:pt x="310" y="616"/>
                      <a:pt x="314" y="614"/>
                    </a:cubicBezTo>
                    <a:cubicBezTo>
                      <a:pt x="313" y="614"/>
                      <a:pt x="311" y="617"/>
                      <a:pt x="322" y="615"/>
                    </a:cubicBezTo>
                    <a:cubicBezTo>
                      <a:pt x="322" y="615"/>
                      <a:pt x="324" y="612"/>
                      <a:pt x="326" y="616"/>
                    </a:cubicBezTo>
                    <a:cubicBezTo>
                      <a:pt x="330" y="615"/>
                      <a:pt x="330" y="615"/>
                      <a:pt x="330" y="615"/>
                    </a:cubicBezTo>
                    <a:cubicBezTo>
                      <a:pt x="330" y="615"/>
                      <a:pt x="332" y="614"/>
                      <a:pt x="330" y="613"/>
                    </a:cubicBezTo>
                    <a:cubicBezTo>
                      <a:pt x="330" y="613"/>
                      <a:pt x="325" y="612"/>
                      <a:pt x="330" y="612"/>
                    </a:cubicBezTo>
                    <a:cubicBezTo>
                      <a:pt x="330" y="612"/>
                      <a:pt x="330" y="609"/>
                      <a:pt x="333" y="609"/>
                    </a:cubicBezTo>
                    <a:cubicBezTo>
                      <a:pt x="333" y="604"/>
                      <a:pt x="333" y="604"/>
                      <a:pt x="333" y="604"/>
                    </a:cubicBezTo>
                    <a:cubicBezTo>
                      <a:pt x="333" y="604"/>
                      <a:pt x="329" y="603"/>
                      <a:pt x="333" y="601"/>
                    </a:cubicBezTo>
                    <a:cubicBezTo>
                      <a:pt x="333" y="601"/>
                      <a:pt x="330" y="594"/>
                      <a:pt x="337" y="594"/>
                    </a:cubicBezTo>
                    <a:cubicBezTo>
                      <a:pt x="338" y="595"/>
                      <a:pt x="337" y="589"/>
                      <a:pt x="339" y="589"/>
                    </a:cubicBezTo>
                    <a:cubicBezTo>
                      <a:pt x="340" y="590"/>
                      <a:pt x="340" y="585"/>
                      <a:pt x="340" y="585"/>
                    </a:cubicBezTo>
                    <a:cubicBezTo>
                      <a:pt x="340" y="585"/>
                      <a:pt x="335" y="583"/>
                      <a:pt x="340" y="583"/>
                    </a:cubicBezTo>
                    <a:cubicBezTo>
                      <a:pt x="341" y="581"/>
                      <a:pt x="341" y="581"/>
                      <a:pt x="341" y="581"/>
                    </a:cubicBezTo>
                    <a:cubicBezTo>
                      <a:pt x="341" y="581"/>
                      <a:pt x="342" y="576"/>
                      <a:pt x="345" y="575"/>
                    </a:cubicBezTo>
                    <a:cubicBezTo>
                      <a:pt x="345" y="575"/>
                      <a:pt x="345" y="573"/>
                      <a:pt x="352" y="570"/>
                    </a:cubicBezTo>
                    <a:cubicBezTo>
                      <a:pt x="352" y="571"/>
                      <a:pt x="354" y="569"/>
                      <a:pt x="354" y="569"/>
                    </a:cubicBezTo>
                    <a:cubicBezTo>
                      <a:pt x="354" y="569"/>
                      <a:pt x="354" y="561"/>
                      <a:pt x="356" y="561"/>
                    </a:cubicBezTo>
                    <a:cubicBezTo>
                      <a:pt x="357" y="562"/>
                      <a:pt x="357" y="559"/>
                      <a:pt x="358" y="559"/>
                    </a:cubicBezTo>
                    <a:cubicBezTo>
                      <a:pt x="358" y="559"/>
                      <a:pt x="362" y="554"/>
                      <a:pt x="356" y="556"/>
                    </a:cubicBezTo>
                    <a:cubicBezTo>
                      <a:pt x="356" y="556"/>
                      <a:pt x="356" y="560"/>
                      <a:pt x="354" y="556"/>
                    </a:cubicBezTo>
                    <a:cubicBezTo>
                      <a:pt x="354" y="554"/>
                      <a:pt x="354" y="554"/>
                      <a:pt x="354" y="554"/>
                    </a:cubicBezTo>
                    <a:cubicBezTo>
                      <a:pt x="354" y="554"/>
                      <a:pt x="349" y="552"/>
                      <a:pt x="354" y="551"/>
                    </a:cubicBezTo>
                    <a:cubicBezTo>
                      <a:pt x="354" y="551"/>
                      <a:pt x="356" y="547"/>
                      <a:pt x="350" y="548"/>
                    </a:cubicBezTo>
                    <a:cubicBezTo>
                      <a:pt x="350" y="549"/>
                      <a:pt x="350" y="546"/>
                      <a:pt x="347" y="546"/>
                    </a:cubicBezTo>
                    <a:cubicBezTo>
                      <a:pt x="347" y="546"/>
                      <a:pt x="349" y="543"/>
                      <a:pt x="345" y="543"/>
                    </a:cubicBezTo>
                    <a:cubicBezTo>
                      <a:pt x="345" y="543"/>
                      <a:pt x="346" y="541"/>
                      <a:pt x="341" y="541"/>
                    </a:cubicBezTo>
                    <a:cubicBezTo>
                      <a:pt x="341" y="541"/>
                      <a:pt x="341" y="539"/>
                      <a:pt x="337" y="539"/>
                    </a:cubicBezTo>
                    <a:cubicBezTo>
                      <a:pt x="337" y="539"/>
                      <a:pt x="341" y="535"/>
                      <a:pt x="329" y="536"/>
                    </a:cubicBezTo>
                    <a:cubicBezTo>
                      <a:pt x="329" y="536"/>
                      <a:pt x="326" y="531"/>
                      <a:pt x="325" y="536"/>
                    </a:cubicBezTo>
                    <a:cubicBezTo>
                      <a:pt x="325" y="536"/>
                      <a:pt x="321" y="534"/>
                      <a:pt x="326" y="533"/>
                    </a:cubicBezTo>
                    <a:cubicBezTo>
                      <a:pt x="326" y="532"/>
                      <a:pt x="327" y="528"/>
                      <a:pt x="326" y="527"/>
                    </a:cubicBezTo>
                    <a:cubicBezTo>
                      <a:pt x="322" y="524"/>
                      <a:pt x="322" y="524"/>
                      <a:pt x="322" y="524"/>
                    </a:cubicBezTo>
                    <a:cubicBezTo>
                      <a:pt x="322" y="524"/>
                      <a:pt x="320" y="522"/>
                      <a:pt x="322" y="522"/>
                    </a:cubicBezTo>
                    <a:cubicBezTo>
                      <a:pt x="322" y="522"/>
                      <a:pt x="326" y="516"/>
                      <a:pt x="322" y="515"/>
                    </a:cubicBezTo>
                    <a:cubicBezTo>
                      <a:pt x="321" y="509"/>
                      <a:pt x="321" y="509"/>
                      <a:pt x="321" y="509"/>
                    </a:cubicBezTo>
                    <a:cubicBezTo>
                      <a:pt x="321" y="509"/>
                      <a:pt x="320" y="506"/>
                      <a:pt x="312" y="508"/>
                    </a:cubicBezTo>
                    <a:cubicBezTo>
                      <a:pt x="312" y="508"/>
                      <a:pt x="305" y="502"/>
                      <a:pt x="312" y="502"/>
                    </a:cubicBezTo>
                    <a:cubicBezTo>
                      <a:pt x="312" y="502"/>
                      <a:pt x="312" y="490"/>
                      <a:pt x="314" y="497"/>
                    </a:cubicBezTo>
                    <a:cubicBezTo>
                      <a:pt x="314" y="497"/>
                      <a:pt x="317" y="497"/>
                      <a:pt x="316" y="495"/>
                    </a:cubicBezTo>
                    <a:cubicBezTo>
                      <a:pt x="317" y="495"/>
                      <a:pt x="322" y="497"/>
                      <a:pt x="322" y="490"/>
                    </a:cubicBezTo>
                    <a:cubicBezTo>
                      <a:pt x="322" y="490"/>
                      <a:pt x="328" y="492"/>
                      <a:pt x="326" y="485"/>
                    </a:cubicBezTo>
                    <a:cubicBezTo>
                      <a:pt x="326" y="485"/>
                      <a:pt x="329" y="485"/>
                      <a:pt x="329" y="481"/>
                    </a:cubicBezTo>
                    <a:cubicBezTo>
                      <a:pt x="327" y="478"/>
                      <a:pt x="327" y="478"/>
                      <a:pt x="327" y="478"/>
                    </a:cubicBezTo>
                    <a:cubicBezTo>
                      <a:pt x="326" y="466"/>
                      <a:pt x="326" y="466"/>
                      <a:pt x="326" y="466"/>
                    </a:cubicBezTo>
                    <a:cubicBezTo>
                      <a:pt x="323" y="465"/>
                      <a:pt x="323" y="465"/>
                      <a:pt x="323" y="465"/>
                    </a:cubicBezTo>
                    <a:cubicBezTo>
                      <a:pt x="323" y="465"/>
                      <a:pt x="321" y="459"/>
                      <a:pt x="319" y="460"/>
                    </a:cubicBezTo>
                    <a:cubicBezTo>
                      <a:pt x="319" y="460"/>
                      <a:pt x="317" y="454"/>
                      <a:pt x="321" y="454"/>
                    </a:cubicBezTo>
                    <a:cubicBezTo>
                      <a:pt x="320" y="455"/>
                      <a:pt x="323" y="452"/>
                      <a:pt x="323" y="452"/>
                    </a:cubicBezTo>
                    <a:cubicBezTo>
                      <a:pt x="323" y="452"/>
                      <a:pt x="323" y="444"/>
                      <a:pt x="326" y="446"/>
                    </a:cubicBezTo>
                    <a:cubicBezTo>
                      <a:pt x="327" y="443"/>
                      <a:pt x="327" y="443"/>
                      <a:pt x="327" y="443"/>
                    </a:cubicBezTo>
                    <a:cubicBezTo>
                      <a:pt x="327" y="443"/>
                      <a:pt x="327" y="439"/>
                      <a:pt x="332" y="441"/>
                    </a:cubicBezTo>
                    <a:cubicBezTo>
                      <a:pt x="333" y="441"/>
                      <a:pt x="333" y="436"/>
                      <a:pt x="340" y="439"/>
                    </a:cubicBezTo>
                    <a:cubicBezTo>
                      <a:pt x="340" y="439"/>
                      <a:pt x="339" y="434"/>
                      <a:pt x="354" y="436"/>
                    </a:cubicBezTo>
                    <a:cubicBezTo>
                      <a:pt x="357" y="433"/>
                      <a:pt x="357" y="433"/>
                      <a:pt x="357" y="433"/>
                    </a:cubicBezTo>
                    <a:cubicBezTo>
                      <a:pt x="357" y="433"/>
                      <a:pt x="356" y="423"/>
                      <a:pt x="359" y="424"/>
                    </a:cubicBezTo>
                    <a:cubicBezTo>
                      <a:pt x="360" y="424"/>
                      <a:pt x="360" y="420"/>
                      <a:pt x="361" y="421"/>
                    </a:cubicBezTo>
                    <a:cubicBezTo>
                      <a:pt x="361" y="421"/>
                      <a:pt x="363" y="416"/>
                      <a:pt x="361" y="412"/>
                    </a:cubicBezTo>
                    <a:cubicBezTo>
                      <a:pt x="361" y="412"/>
                      <a:pt x="359" y="408"/>
                      <a:pt x="360" y="405"/>
                    </a:cubicBezTo>
                    <a:cubicBezTo>
                      <a:pt x="360" y="405"/>
                      <a:pt x="357" y="401"/>
                      <a:pt x="357" y="401"/>
                    </a:cubicBezTo>
                    <a:cubicBezTo>
                      <a:pt x="358" y="400"/>
                      <a:pt x="352" y="397"/>
                      <a:pt x="355" y="393"/>
                    </a:cubicBezTo>
                    <a:cubicBezTo>
                      <a:pt x="355" y="393"/>
                      <a:pt x="357" y="390"/>
                      <a:pt x="360" y="390"/>
                    </a:cubicBezTo>
                    <a:cubicBezTo>
                      <a:pt x="363" y="388"/>
                      <a:pt x="363" y="388"/>
                      <a:pt x="363" y="388"/>
                    </a:cubicBezTo>
                    <a:cubicBezTo>
                      <a:pt x="363" y="388"/>
                      <a:pt x="364" y="386"/>
                      <a:pt x="368" y="385"/>
                    </a:cubicBezTo>
                    <a:cubicBezTo>
                      <a:pt x="372" y="383"/>
                      <a:pt x="372" y="383"/>
                      <a:pt x="372" y="383"/>
                    </a:cubicBezTo>
                    <a:cubicBezTo>
                      <a:pt x="372" y="383"/>
                      <a:pt x="373" y="380"/>
                      <a:pt x="380" y="381"/>
                    </a:cubicBezTo>
                    <a:cubicBezTo>
                      <a:pt x="380" y="381"/>
                      <a:pt x="381" y="378"/>
                      <a:pt x="381" y="376"/>
                    </a:cubicBezTo>
                    <a:cubicBezTo>
                      <a:pt x="381" y="376"/>
                      <a:pt x="384" y="375"/>
                      <a:pt x="383" y="371"/>
                    </a:cubicBezTo>
                    <a:cubicBezTo>
                      <a:pt x="383" y="372"/>
                      <a:pt x="387" y="370"/>
                      <a:pt x="386" y="367"/>
                    </a:cubicBezTo>
                    <a:cubicBezTo>
                      <a:pt x="386" y="367"/>
                      <a:pt x="388" y="363"/>
                      <a:pt x="391" y="364"/>
                    </a:cubicBezTo>
                    <a:cubicBezTo>
                      <a:pt x="391" y="364"/>
                      <a:pt x="393" y="361"/>
                      <a:pt x="396" y="362"/>
                    </a:cubicBezTo>
                    <a:cubicBezTo>
                      <a:pt x="397" y="362"/>
                      <a:pt x="399" y="359"/>
                      <a:pt x="399" y="359"/>
                    </a:cubicBezTo>
                    <a:cubicBezTo>
                      <a:pt x="402" y="357"/>
                      <a:pt x="402" y="357"/>
                      <a:pt x="402" y="357"/>
                    </a:cubicBezTo>
                    <a:cubicBezTo>
                      <a:pt x="402" y="356"/>
                      <a:pt x="402" y="356"/>
                      <a:pt x="402" y="356"/>
                    </a:cubicBezTo>
                    <a:cubicBezTo>
                      <a:pt x="399" y="356"/>
                      <a:pt x="395" y="355"/>
                      <a:pt x="397" y="352"/>
                    </a:cubicBezTo>
                  </a:path>
                </a:pathLst>
              </a:custGeom>
              <a:solidFill>
                <a:schemeClr val="bg2"/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0" name="Freeform 239">
                <a:extLst>
                  <a:ext uri="{FF2B5EF4-FFF2-40B4-BE49-F238E27FC236}">
                    <a16:creationId xmlns:a16="http://schemas.microsoft.com/office/drawing/2014/main" id="{9C2EC68B-9512-D35B-1507-EE324D76F24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744284" y="1678681"/>
                <a:ext cx="1240099" cy="779180"/>
              </a:xfrm>
              <a:custGeom>
                <a:avLst/>
                <a:gdLst>
                  <a:gd name="T0" fmla="*/ 389 w 391"/>
                  <a:gd name="T1" fmla="*/ 141 h 245"/>
                  <a:gd name="T2" fmla="*/ 365 w 391"/>
                  <a:gd name="T3" fmla="*/ 125 h 245"/>
                  <a:gd name="T4" fmla="*/ 358 w 391"/>
                  <a:gd name="T5" fmla="*/ 101 h 245"/>
                  <a:gd name="T6" fmla="*/ 336 w 391"/>
                  <a:gd name="T7" fmla="*/ 87 h 245"/>
                  <a:gd name="T8" fmla="*/ 309 w 391"/>
                  <a:gd name="T9" fmla="*/ 65 h 245"/>
                  <a:gd name="T10" fmla="*/ 283 w 391"/>
                  <a:gd name="T11" fmla="*/ 50 h 245"/>
                  <a:gd name="T12" fmla="*/ 256 w 391"/>
                  <a:gd name="T13" fmla="*/ 37 h 245"/>
                  <a:gd name="T14" fmla="*/ 234 w 391"/>
                  <a:gd name="T15" fmla="*/ 30 h 245"/>
                  <a:gd name="T16" fmla="*/ 210 w 391"/>
                  <a:gd name="T17" fmla="*/ 27 h 245"/>
                  <a:gd name="T18" fmla="*/ 195 w 391"/>
                  <a:gd name="T19" fmla="*/ 22 h 245"/>
                  <a:gd name="T20" fmla="*/ 177 w 391"/>
                  <a:gd name="T21" fmla="*/ 24 h 245"/>
                  <a:gd name="T22" fmla="*/ 148 w 391"/>
                  <a:gd name="T23" fmla="*/ 37 h 245"/>
                  <a:gd name="T24" fmla="*/ 115 w 391"/>
                  <a:gd name="T25" fmla="*/ 43 h 245"/>
                  <a:gd name="T26" fmla="*/ 106 w 391"/>
                  <a:gd name="T27" fmla="*/ 33 h 245"/>
                  <a:gd name="T28" fmla="*/ 92 w 391"/>
                  <a:gd name="T29" fmla="*/ 29 h 245"/>
                  <a:gd name="T30" fmla="*/ 67 w 391"/>
                  <a:gd name="T31" fmla="*/ 18 h 245"/>
                  <a:gd name="T32" fmla="*/ 55 w 391"/>
                  <a:gd name="T33" fmla="*/ 13 h 245"/>
                  <a:gd name="T34" fmla="*/ 30 w 391"/>
                  <a:gd name="T35" fmla="*/ 6 h 245"/>
                  <a:gd name="T36" fmla="*/ 8 w 391"/>
                  <a:gd name="T37" fmla="*/ 11 h 245"/>
                  <a:gd name="T38" fmla="*/ 7 w 391"/>
                  <a:gd name="T39" fmla="*/ 24 h 245"/>
                  <a:gd name="T40" fmla="*/ 39 w 391"/>
                  <a:gd name="T41" fmla="*/ 44 h 245"/>
                  <a:gd name="T42" fmla="*/ 63 w 391"/>
                  <a:gd name="T43" fmla="*/ 31 h 245"/>
                  <a:gd name="T44" fmla="*/ 83 w 391"/>
                  <a:gd name="T45" fmla="*/ 50 h 245"/>
                  <a:gd name="T46" fmla="*/ 62 w 391"/>
                  <a:gd name="T47" fmla="*/ 68 h 245"/>
                  <a:gd name="T48" fmla="*/ 42 w 391"/>
                  <a:gd name="T49" fmla="*/ 65 h 245"/>
                  <a:gd name="T50" fmla="*/ 58 w 391"/>
                  <a:gd name="T51" fmla="*/ 84 h 245"/>
                  <a:gd name="T52" fmla="*/ 73 w 391"/>
                  <a:gd name="T53" fmla="*/ 98 h 245"/>
                  <a:gd name="T54" fmla="*/ 89 w 391"/>
                  <a:gd name="T55" fmla="*/ 106 h 245"/>
                  <a:gd name="T56" fmla="*/ 89 w 391"/>
                  <a:gd name="T57" fmla="*/ 125 h 245"/>
                  <a:gd name="T58" fmla="*/ 118 w 391"/>
                  <a:gd name="T59" fmla="*/ 144 h 245"/>
                  <a:gd name="T60" fmla="*/ 111 w 391"/>
                  <a:gd name="T61" fmla="*/ 170 h 245"/>
                  <a:gd name="T62" fmla="*/ 118 w 391"/>
                  <a:gd name="T63" fmla="*/ 186 h 245"/>
                  <a:gd name="T64" fmla="*/ 122 w 391"/>
                  <a:gd name="T65" fmla="*/ 198 h 245"/>
                  <a:gd name="T66" fmla="*/ 128 w 391"/>
                  <a:gd name="T67" fmla="*/ 202 h 245"/>
                  <a:gd name="T68" fmla="*/ 123 w 391"/>
                  <a:gd name="T69" fmla="*/ 211 h 245"/>
                  <a:gd name="T70" fmla="*/ 126 w 391"/>
                  <a:gd name="T71" fmla="*/ 227 h 245"/>
                  <a:gd name="T72" fmla="*/ 136 w 391"/>
                  <a:gd name="T73" fmla="*/ 234 h 245"/>
                  <a:gd name="T74" fmla="*/ 150 w 391"/>
                  <a:gd name="T75" fmla="*/ 237 h 245"/>
                  <a:gd name="T76" fmla="*/ 164 w 391"/>
                  <a:gd name="T77" fmla="*/ 211 h 245"/>
                  <a:gd name="T78" fmla="*/ 176 w 391"/>
                  <a:gd name="T79" fmla="*/ 200 h 245"/>
                  <a:gd name="T80" fmla="*/ 199 w 391"/>
                  <a:gd name="T81" fmla="*/ 195 h 245"/>
                  <a:gd name="T82" fmla="*/ 183 w 391"/>
                  <a:gd name="T83" fmla="*/ 185 h 245"/>
                  <a:gd name="T84" fmla="*/ 173 w 391"/>
                  <a:gd name="T85" fmla="*/ 164 h 245"/>
                  <a:gd name="T86" fmla="*/ 192 w 391"/>
                  <a:gd name="T87" fmla="*/ 159 h 245"/>
                  <a:gd name="T88" fmla="*/ 211 w 391"/>
                  <a:gd name="T89" fmla="*/ 161 h 245"/>
                  <a:gd name="T90" fmla="*/ 229 w 391"/>
                  <a:gd name="T91" fmla="*/ 168 h 245"/>
                  <a:gd name="T92" fmla="*/ 249 w 391"/>
                  <a:gd name="T93" fmla="*/ 157 h 245"/>
                  <a:gd name="T94" fmla="*/ 266 w 391"/>
                  <a:gd name="T95" fmla="*/ 161 h 245"/>
                  <a:gd name="T96" fmla="*/ 278 w 391"/>
                  <a:gd name="T97" fmla="*/ 168 h 245"/>
                  <a:gd name="T98" fmla="*/ 294 w 391"/>
                  <a:gd name="T99" fmla="*/ 173 h 245"/>
                  <a:gd name="T100" fmla="*/ 307 w 391"/>
                  <a:gd name="T101" fmla="*/ 169 h 245"/>
                  <a:gd name="T102" fmla="*/ 329 w 391"/>
                  <a:gd name="T103" fmla="*/ 155 h 245"/>
                  <a:gd name="T104" fmla="*/ 318 w 391"/>
                  <a:gd name="T105" fmla="*/ 149 h 245"/>
                  <a:gd name="T106" fmla="*/ 310 w 391"/>
                  <a:gd name="T107" fmla="*/ 145 h 245"/>
                  <a:gd name="T108" fmla="*/ 326 w 391"/>
                  <a:gd name="T109" fmla="*/ 135 h 245"/>
                  <a:gd name="T110" fmla="*/ 335 w 391"/>
                  <a:gd name="T111" fmla="*/ 133 h 245"/>
                  <a:gd name="T112" fmla="*/ 342 w 391"/>
                  <a:gd name="T113" fmla="*/ 153 h 245"/>
                  <a:gd name="T114" fmla="*/ 356 w 391"/>
                  <a:gd name="T115" fmla="*/ 161 h 245"/>
                  <a:gd name="T116" fmla="*/ 365 w 391"/>
                  <a:gd name="T117" fmla="*/ 170 h 245"/>
                  <a:gd name="T118" fmla="*/ 378 w 391"/>
                  <a:gd name="T119" fmla="*/ 158 h 245"/>
                  <a:gd name="T120" fmla="*/ 389 w 391"/>
                  <a:gd name="T121" fmla="*/ 151 h 245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91"/>
                  <a:gd name="T184" fmla="*/ 0 h 245"/>
                  <a:gd name="T185" fmla="*/ 391 w 391"/>
                  <a:gd name="T186" fmla="*/ 245 h 245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91" h="245">
                    <a:moveTo>
                      <a:pt x="389" y="146"/>
                    </a:moveTo>
                    <a:cubicBezTo>
                      <a:pt x="389" y="146"/>
                      <a:pt x="390" y="145"/>
                      <a:pt x="391" y="143"/>
                    </a:cubicBezTo>
                    <a:cubicBezTo>
                      <a:pt x="390" y="141"/>
                      <a:pt x="390" y="141"/>
                      <a:pt x="390" y="141"/>
                    </a:cubicBezTo>
                    <a:cubicBezTo>
                      <a:pt x="390" y="141"/>
                      <a:pt x="390" y="141"/>
                      <a:pt x="389" y="141"/>
                    </a:cubicBezTo>
                    <a:cubicBezTo>
                      <a:pt x="389" y="141"/>
                      <a:pt x="384" y="135"/>
                      <a:pt x="382" y="136"/>
                    </a:cubicBezTo>
                    <a:cubicBezTo>
                      <a:pt x="382" y="136"/>
                      <a:pt x="374" y="135"/>
                      <a:pt x="376" y="131"/>
                    </a:cubicBezTo>
                    <a:cubicBezTo>
                      <a:pt x="376" y="132"/>
                      <a:pt x="373" y="126"/>
                      <a:pt x="370" y="127"/>
                    </a:cubicBezTo>
                    <a:cubicBezTo>
                      <a:pt x="371" y="127"/>
                      <a:pt x="368" y="124"/>
                      <a:pt x="365" y="125"/>
                    </a:cubicBezTo>
                    <a:cubicBezTo>
                      <a:pt x="365" y="125"/>
                      <a:pt x="361" y="124"/>
                      <a:pt x="362" y="116"/>
                    </a:cubicBezTo>
                    <a:cubicBezTo>
                      <a:pt x="361" y="116"/>
                      <a:pt x="356" y="113"/>
                      <a:pt x="362" y="109"/>
                    </a:cubicBezTo>
                    <a:cubicBezTo>
                      <a:pt x="362" y="109"/>
                      <a:pt x="357" y="105"/>
                      <a:pt x="363" y="103"/>
                    </a:cubicBezTo>
                    <a:cubicBezTo>
                      <a:pt x="362" y="103"/>
                      <a:pt x="362" y="100"/>
                      <a:pt x="358" y="101"/>
                    </a:cubicBezTo>
                    <a:cubicBezTo>
                      <a:pt x="358" y="101"/>
                      <a:pt x="360" y="95"/>
                      <a:pt x="353" y="96"/>
                    </a:cubicBezTo>
                    <a:cubicBezTo>
                      <a:pt x="353" y="97"/>
                      <a:pt x="352" y="92"/>
                      <a:pt x="347" y="93"/>
                    </a:cubicBezTo>
                    <a:cubicBezTo>
                      <a:pt x="347" y="94"/>
                      <a:pt x="345" y="90"/>
                      <a:pt x="342" y="91"/>
                    </a:cubicBezTo>
                    <a:cubicBezTo>
                      <a:pt x="342" y="91"/>
                      <a:pt x="336" y="87"/>
                      <a:pt x="336" y="87"/>
                    </a:cubicBezTo>
                    <a:cubicBezTo>
                      <a:pt x="336" y="87"/>
                      <a:pt x="332" y="89"/>
                      <a:pt x="333" y="84"/>
                    </a:cubicBezTo>
                    <a:cubicBezTo>
                      <a:pt x="328" y="79"/>
                      <a:pt x="328" y="79"/>
                      <a:pt x="328" y="79"/>
                    </a:cubicBezTo>
                    <a:cubicBezTo>
                      <a:pt x="328" y="79"/>
                      <a:pt x="320" y="71"/>
                      <a:pt x="315" y="69"/>
                    </a:cubicBezTo>
                    <a:cubicBezTo>
                      <a:pt x="315" y="69"/>
                      <a:pt x="317" y="64"/>
                      <a:pt x="309" y="65"/>
                    </a:cubicBezTo>
                    <a:cubicBezTo>
                      <a:pt x="309" y="65"/>
                      <a:pt x="309" y="62"/>
                      <a:pt x="303" y="63"/>
                    </a:cubicBezTo>
                    <a:cubicBezTo>
                      <a:pt x="303" y="63"/>
                      <a:pt x="298" y="55"/>
                      <a:pt x="290" y="53"/>
                    </a:cubicBezTo>
                    <a:cubicBezTo>
                      <a:pt x="290" y="53"/>
                      <a:pt x="289" y="58"/>
                      <a:pt x="287" y="53"/>
                    </a:cubicBezTo>
                    <a:cubicBezTo>
                      <a:pt x="287" y="53"/>
                      <a:pt x="279" y="54"/>
                      <a:pt x="283" y="50"/>
                    </a:cubicBezTo>
                    <a:cubicBezTo>
                      <a:pt x="283" y="51"/>
                      <a:pt x="277" y="47"/>
                      <a:pt x="274" y="45"/>
                    </a:cubicBezTo>
                    <a:cubicBezTo>
                      <a:pt x="270" y="43"/>
                      <a:pt x="268" y="43"/>
                      <a:pt x="266" y="43"/>
                    </a:cubicBezTo>
                    <a:cubicBezTo>
                      <a:pt x="265" y="42"/>
                      <a:pt x="262" y="41"/>
                      <a:pt x="262" y="41"/>
                    </a:cubicBezTo>
                    <a:cubicBezTo>
                      <a:pt x="262" y="41"/>
                      <a:pt x="252" y="40"/>
                      <a:pt x="256" y="37"/>
                    </a:cubicBezTo>
                    <a:cubicBezTo>
                      <a:pt x="256" y="37"/>
                      <a:pt x="252" y="32"/>
                      <a:pt x="249" y="30"/>
                    </a:cubicBezTo>
                    <a:cubicBezTo>
                      <a:pt x="247" y="29"/>
                      <a:pt x="244" y="29"/>
                      <a:pt x="243" y="31"/>
                    </a:cubicBezTo>
                    <a:cubicBezTo>
                      <a:pt x="243" y="31"/>
                      <a:pt x="239" y="33"/>
                      <a:pt x="239" y="31"/>
                    </a:cubicBezTo>
                    <a:cubicBezTo>
                      <a:pt x="238" y="30"/>
                      <a:pt x="234" y="29"/>
                      <a:pt x="234" y="30"/>
                    </a:cubicBezTo>
                    <a:cubicBezTo>
                      <a:pt x="232" y="30"/>
                      <a:pt x="232" y="35"/>
                      <a:pt x="230" y="30"/>
                    </a:cubicBezTo>
                    <a:cubicBezTo>
                      <a:pt x="230" y="30"/>
                      <a:pt x="221" y="31"/>
                      <a:pt x="220" y="28"/>
                    </a:cubicBezTo>
                    <a:cubicBezTo>
                      <a:pt x="220" y="29"/>
                      <a:pt x="218" y="25"/>
                      <a:pt x="215" y="25"/>
                    </a:cubicBezTo>
                    <a:cubicBezTo>
                      <a:pt x="215" y="26"/>
                      <a:pt x="210" y="24"/>
                      <a:pt x="210" y="27"/>
                    </a:cubicBezTo>
                    <a:cubicBezTo>
                      <a:pt x="210" y="27"/>
                      <a:pt x="207" y="28"/>
                      <a:pt x="207" y="24"/>
                    </a:cubicBezTo>
                    <a:cubicBezTo>
                      <a:pt x="208" y="25"/>
                      <a:pt x="206" y="18"/>
                      <a:pt x="203" y="25"/>
                    </a:cubicBezTo>
                    <a:cubicBezTo>
                      <a:pt x="203" y="25"/>
                      <a:pt x="199" y="25"/>
                      <a:pt x="199" y="22"/>
                    </a:cubicBezTo>
                    <a:cubicBezTo>
                      <a:pt x="195" y="22"/>
                      <a:pt x="195" y="22"/>
                      <a:pt x="195" y="22"/>
                    </a:cubicBezTo>
                    <a:cubicBezTo>
                      <a:pt x="195" y="22"/>
                      <a:pt x="195" y="27"/>
                      <a:pt x="192" y="22"/>
                    </a:cubicBezTo>
                    <a:cubicBezTo>
                      <a:pt x="192" y="22"/>
                      <a:pt x="184" y="22"/>
                      <a:pt x="184" y="24"/>
                    </a:cubicBezTo>
                    <a:cubicBezTo>
                      <a:pt x="184" y="24"/>
                      <a:pt x="181" y="26"/>
                      <a:pt x="182" y="23"/>
                    </a:cubicBezTo>
                    <a:cubicBezTo>
                      <a:pt x="182" y="23"/>
                      <a:pt x="177" y="22"/>
                      <a:pt x="177" y="24"/>
                    </a:cubicBezTo>
                    <a:cubicBezTo>
                      <a:pt x="177" y="24"/>
                      <a:pt x="165" y="24"/>
                      <a:pt x="167" y="26"/>
                    </a:cubicBezTo>
                    <a:cubicBezTo>
                      <a:pt x="167" y="26"/>
                      <a:pt x="158" y="25"/>
                      <a:pt x="160" y="29"/>
                    </a:cubicBezTo>
                    <a:cubicBezTo>
                      <a:pt x="160" y="29"/>
                      <a:pt x="154" y="28"/>
                      <a:pt x="155" y="34"/>
                    </a:cubicBezTo>
                    <a:cubicBezTo>
                      <a:pt x="155" y="34"/>
                      <a:pt x="147" y="33"/>
                      <a:pt x="148" y="37"/>
                    </a:cubicBezTo>
                    <a:cubicBezTo>
                      <a:pt x="148" y="37"/>
                      <a:pt x="139" y="36"/>
                      <a:pt x="142" y="39"/>
                    </a:cubicBezTo>
                    <a:cubicBezTo>
                      <a:pt x="142" y="39"/>
                      <a:pt x="134" y="38"/>
                      <a:pt x="134" y="41"/>
                    </a:cubicBezTo>
                    <a:cubicBezTo>
                      <a:pt x="134" y="41"/>
                      <a:pt x="124" y="41"/>
                      <a:pt x="123" y="43"/>
                    </a:cubicBezTo>
                    <a:cubicBezTo>
                      <a:pt x="123" y="44"/>
                      <a:pt x="115" y="43"/>
                      <a:pt x="115" y="43"/>
                    </a:cubicBezTo>
                    <a:cubicBezTo>
                      <a:pt x="115" y="43"/>
                      <a:pt x="111" y="38"/>
                      <a:pt x="106" y="38"/>
                    </a:cubicBezTo>
                    <a:cubicBezTo>
                      <a:pt x="106" y="38"/>
                      <a:pt x="107" y="32"/>
                      <a:pt x="108" y="31"/>
                    </a:cubicBezTo>
                    <a:cubicBezTo>
                      <a:pt x="107" y="31"/>
                      <a:pt x="107" y="31"/>
                      <a:pt x="107" y="31"/>
                    </a:cubicBezTo>
                    <a:cubicBezTo>
                      <a:pt x="107" y="33"/>
                      <a:pt x="107" y="33"/>
                      <a:pt x="106" y="33"/>
                    </a:cubicBezTo>
                    <a:cubicBezTo>
                      <a:pt x="101" y="34"/>
                      <a:pt x="100" y="38"/>
                      <a:pt x="100" y="37"/>
                    </a:cubicBezTo>
                    <a:cubicBezTo>
                      <a:pt x="98" y="41"/>
                      <a:pt x="94" y="36"/>
                      <a:pt x="94" y="37"/>
                    </a:cubicBezTo>
                    <a:cubicBezTo>
                      <a:pt x="89" y="36"/>
                      <a:pt x="96" y="32"/>
                      <a:pt x="96" y="32"/>
                    </a:cubicBezTo>
                    <a:cubicBezTo>
                      <a:pt x="96" y="28"/>
                      <a:pt x="92" y="30"/>
                      <a:pt x="92" y="29"/>
                    </a:cubicBezTo>
                    <a:cubicBezTo>
                      <a:pt x="91" y="29"/>
                      <a:pt x="90" y="26"/>
                      <a:pt x="89" y="25"/>
                    </a:cubicBezTo>
                    <a:cubicBezTo>
                      <a:pt x="88" y="22"/>
                      <a:pt x="84" y="20"/>
                      <a:pt x="84" y="20"/>
                    </a:cubicBezTo>
                    <a:cubicBezTo>
                      <a:pt x="84" y="20"/>
                      <a:pt x="70" y="20"/>
                      <a:pt x="70" y="19"/>
                    </a:cubicBezTo>
                    <a:cubicBezTo>
                      <a:pt x="69" y="19"/>
                      <a:pt x="68" y="19"/>
                      <a:pt x="67" y="18"/>
                    </a:cubicBezTo>
                    <a:cubicBezTo>
                      <a:pt x="67" y="18"/>
                      <a:pt x="68" y="18"/>
                      <a:pt x="68" y="18"/>
                    </a:cubicBezTo>
                    <a:cubicBezTo>
                      <a:pt x="67" y="18"/>
                      <a:pt x="66" y="21"/>
                      <a:pt x="63" y="18"/>
                    </a:cubicBezTo>
                    <a:cubicBezTo>
                      <a:pt x="63" y="18"/>
                      <a:pt x="59" y="16"/>
                      <a:pt x="58" y="15"/>
                    </a:cubicBezTo>
                    <a:cubicBezTo>
                      <a:pt x="56" y="15"/>
                      <a:pt x="56" y="13"/>
                      <a:pt x="55" y="13"/>
                    </a:cubicBezTo>
                    <a:cubicBezTo>
                      <a:pt x="54" y="13"/>
                      <a:pt x="54" y="10"/>
                      <a:pt x="53" y="10"/>
                    </a:cubicBezTo>
                    <a:cubicBezTo>
                      <a:pt x="50" y="10"/>
                      <a:pt x="47" y="7"/>
                      <a:pt x="38" y="7"/>
                    </a:cubicBezTo>
                    <a:cubicBezTo>
                      <a:pt x="38" y="7"/>
                      <a:pt x="37" y="5"/>
                      <a:pt x="35" y="5"/>
                    </a:cubicBezTo>
                    <a:cubicBezTo>
                      <a:pt x="33" y="6"/>
                      <a:pt x="31" y="6"/>
                      <a:pt x="30" y="6"/>
                    </a:cubicBezTo>
                    <a:cubicBezTo>
                      <a:pt x="29" y="6"/>
                      <a:pt x="26" y="10"/>
                      <a:pt x="23" y="6"/>
                    </a:cubicBezTo>
                    <a:cubicBezTo>
                      <a:pt x="23" y="6"/>
                      <a:pt x="17" y="3"/>
                      <a:pt x="16" y="6"/>
                    </a:cubicBezTo>
                    <a:cubicBezTo>
                      <a:pt x="16" y="6"/>
                      <a:pt x="15" y="0"/>
                      <a:pt x="12" y="8"/>
                    </a:cubicBezTo>
                    <a:cubicBezTo>
                      <a:pt x="12" y="8"/>
                      <a:pt x="8" y="11"/>
                      <a:pt x="8" y="11"/>
                    </a:cubicBezTo>
                    <a:cubicBezTo>
                      <a:pt x="8" y="11"/>
                      <a:pt x="7" y="11"/>
                      <a:pt x="5" y="11"/>
                    </a:cubicBezTo>
                    <a:cubicBezTo>
                      <a:pt x="5" y="13"/>
                      <a:pt x="7" y="15"/>
                      <a:pt x="7" y="15"/>
                    </a:cubicBezTo>
                    <a:cubicBezTo>
                      <a:pt x="0" y="15"/>
                      <a:pt x="7" y="21"/>
                      <a:pt x="7" y="21"/>
                    </a:cubicBezTo>
                    <a:cubicBezTo>
                      <a:pt x="7" y="21"/>
                      <a:pt x="8" y="25"/>
                      <a:pt x="7" y="24"/>
                    </a:cubicBezTo>
                    <a:cubicBezTo>
                      <a:pt x="8" y="28"/>
                      <a:pt x="12" y="30"/>
                      <a:pt x="12" y="30"/>
                    </a:cubicBezTo>
                    <a:cubicBezTo>
                      <a:pt x="12" y="39"/>
                      <a:pt x="16" y="39"/>
                      <a:pt x="16" y="38"/>
                    </a:cubicBezTo>
                    <a:cubicBezTo>
                      <a:pt x="20" y="37"/>
                      <a:pt x="24" y="41"/>
                      <a:pt x="24" y="41"/>
                    </a:cubicBezTo>
                    <a:cubicBezTo>
                      <a:pt x="24" y="44"/>
                      <a:pt x="39" y="44"/>
                      <a:pt x="39" y="44"/>
                    </a:cubicBezTo>
                    <a:cubicBezTo>
                      <a:pt x="42" y="47"/>
                      <a:pt x="46" y="44"/>
                      <a:pt x="46" y="43"/>
                    </a:cubicBezTo>
                    <a:cubicBezTo>
                      <a:pt x="48" y="41"/>
                      <a:pt x="54" y="39"/>
                      <a:pt x="54" y="38"/>
                    </a:cubicBezTo>
                    <a:cubicBezTo>
                      <a:pt x="59" y="38"/>
                      <a:pt x="60" y="36"/>
                      <a:pt x="59" y="37"/>
                    </a:cubicBezTo>
                    <a:cubicBezTo>
                      <a:pt x="62" y="36"/>
                      <a:pt x="63" y="31"/>
                      <a:pt x="63" y="31"/>
                    </a:cubicBezTo>
                    <a:cubicBezTo>
                      <a:pt x="61" y="24"/>
                      <a:pt x="71" y="28"/>
                      <a:pt x="71" y="27"/>
                    </a:cubicBezTo>
                    <a:cubicBezTo>
                      <a:pt x="77" y="23"/>
                      <a:pt x="74" y="39"/>
                      <a:pt x="74" y="39"/>
                    </a:cubicBezTo>
                    <a:cubicBezTo>
                      <a:pt x="80" y="36"/>
                      <a:pt x="81" y="41"/>
                      <a:pt x="81" y="41"/>
                    </a:cubicBezTo>
                    <a:cubicBezTo>
                      <a:pt x="87" y="38"/>
                      <a:pt x="83" y="50"/>
                      <a:pt x="83" y="50"/>
                    </a:cubicBezTo>
                    <a:cubicBezTo>
                      <a:pt x="85" y="53"/>
                      <a:pt x="78" y="55"/>
                      <a:pt x="78" y="55"/>
                    </a:cubicBezTo>
                    <a:cubicBezTo>
                      <a:pt x="79" y="60"/>
                      <a:pt x="74" y="64"/>
                      <a:pt x="74" y="64"/>
                    </a:cubicBezTo>
                    <a:cubicBezTo>
                      <a:pt x="75" y="69"/>
                      <a:pt x="71" y="75"/>
                      <a:pt x="71" y="75"/>
                    </a:cubicBezTo>
                    <a:cubicBezTo>
                      <a:pt x="62" y="76"/>
                      <a:pt x="62" y="68"/>
                      <a:pt x="62" y="68"/>
                    </a:cubicBezTo>
                    <a:cubicBezTo>
                      <a:pt x="58" y="68"/>
                      <a:pt x="56" y="66"/>
                      <a:pt x="56" y="65"/>
                    </a:cubicBezTo>
                    <a:cubicBezTo>
                      <a:pt x="52" y="65"/>
                      <a:pt x="52" y="64"/>
                      <a:pt x="52" y="64"/>
                    </a:cubicBezTo>
                    <a:cubicBezTo>
                      <a:pt x="50" y="63"/>
                      <a:pt x="50" y="63"/>
                      <a:pt x="50" y="63"/>
                    </a:cubicBezTo>
                    <a:cubicBezTo>
                      <a:pt x="43" y="62"/>
                      <a:pt x="42" y="65"/>
                      <a:pt x="42" y="65"/>
                    </a:cubicBezTo>
                    <a:cubicBezTo>
                      <a:pt x="36" y="65"/>
                      <a:pt x="40" y="70"/>
                      <a:pt x="40" y="70"/>
                    </a:cubicBezTo>
                    <a:cubicBezTo>
                      <a:pt x="42" y="75"/>
                      <a:pt x="45" y="74"/>
                      <a:pt x="45" y="74"/>
                    </a:cubicBezTo>
                    <a:cubicBezTo>
                      <a:pt x="43" y="80"/>
                      <a:pt x="48" y="82"/>
                      <a:pt x="49" y="82"/>
                    </a:cubicBezTo>
                    <a:cubicBezTo>
                      <a:pt x="54" y="80"/>
                      <a:pt x="58" y="84"/>
                      <a:pt x="58" y="84"/>
                    </a:cubicBezTo>
                    <a:cubicBezTo>
                      <a:pt x="62" y="83"/>
                      <a:pt x="66" y="87"/>
                      <a:pt x="66" y="87"/>
                    </a:cubicBezTo>
                    <a:cubicBezTo>
                      <a:pt x="69" y="84"/>
                      <a:pt x="72" y="89"/>
                      <a:pt x="72" y="89"/>
                    </a:cubicBezTo>
                    <a:cubicBezTo>
                      <a:pt x="75" y="87"/>
                      <a:pt x="74" y="93"/>
                      <a:pt x="74" y="93"/>
                    </a:cubicBezTo>
                    <a:cubicBezTo>
                      <a:pt x="77" y="94"/>
                      <a:pt x="73" y="97"/>
                      <a:pt x="73" y="98"/>
                    </a:cubicBezTo>
                    <a:cubicBezTo>
                      <a:pt x="72" y="99"/>
                      <a:pt x="80" y="96"/>
                      <a:pt x="80" y="96"/>
                    </a:cubicBezTo>
                    <a:cubicBezTo>
                      <a:pt x="81" y="95"/>
                      <a:pt x="89" y="96"/>
                      <a:pt x="89" y="95"/>
                    </a:cubicBezTo>
                    <a:cubicBezTo>
                      <a:pt x="89" y="102"/>
                      <a:pt x="91" y="103"/>
                      <a:pt x="91" y="103"/>
                    </a:cubicBezTo>
                    <a:cubicBezTo>
                      <a:pt x="100" y="104"/>
                      <a:pt x="89" y="106"/>
                      <a:pt x="89" y="106"/>
                    </a:cubicBezTo>
                    <a:cubicBezTo>
                      <a:pt x="90" y="109"/>
                      <a:pt x="84" y="108"/>
                      <a:pt x="84" y="108"/>
                    </a:cubicBezTo>
                    <a:cubicBezTo>
                      <a:pt x="77" y="110"/>
                      <a:pt x="84" y="112"/>
                      <a:pt x="84" y="112"/>
                    </a:cubicBezTo>
                    <a:cubicBezTo>
                      <a:pt x="83" y="114"/>
                      <a:pt x="86" y="118"/>
                      <a:pt x="86" y="118"/>
                    </a:cubicBezTo>
                    <a:cubicBezTo>
                      <a:pt x="90" y="115"/>
                      <a:pt x="89" y="125"/>
                      <a:pt x="89" y="125"/>
                    </a:cubicBezTo>
                    <a:cubicBezTo>
                      <a:pt x="89" y="129"/>
                      <a:pt x="103" y="126"/>
                      <a:pt x="103" y="126"/>
                    </a:cubicBezTo>
                    <a:cubicBezTo>
                      <a:pt x="102" y="127"/>
                      <a:pt x="106" y="130"/>
                      <a:pt x="106" y="130"/>
                    </a:cubicBezTo>
                    <a:cubicBezTo>
                      <a:pt x="109" y="126"/>
                      <a:pt x="114" y="131"/>
                      <a:pt x="114" y="131"/>
                    </a:cubicBezTo>
                    <a:cubicBezTo>
                      <a:pt x="120" y="130"/>
                      <a:pt x="118" y="144"/>
                      <a:pt x="118" y="144"/>
                    </a:cubicBezTo>
                    <a:cubicBezTo>
                      <a:pt x="113" y="144"/>
                      <a:pt x="115" y="160"/>
                      <a:pt x="115" y="160"/>
                    </a:cubicBezTo>
                    <a:cubicBezTo>
                      <a:pt x="119" y="158"/>
                      <a:pt x="119" y="164"/>
                      <a:pt x="119" y="164"/>
                    </a:cubicBezTo>
                    <a:cubicBezTo>
                      <a:pt x="112" y="162"/>
                      <a:pt x="113" y="166"/>
                      <a:pt x="113" y="165"/>
                    </a:cubicBezTo>
                    <a:cubicBezTo>
                      <a:pt x="110" y="165"/>
                      <a:pt x="111" y="170"/>
                      <a:pt x="111" y="170"/>
                    </a:cubicBezTo>
                    <a:cubicBezTo>
                      <a:pt x="111" y="175"/>
                      <a:pt x="114" y="174"/>
                      <a:pt x="114" y="174"/>
                    </a:cubicBezTo>
                    <a:cubicBezTo>
                      <a:pt x="114" y="174"/>
                      <a:pt x="113" y="177"/>
                      <a:pt x="113" y="176"/>
                    </a:cubicBezTo>
                    <a:cubicBezTo>
                      <a:pt x="113" y="179"/>
                      <a:pt x="115" y="179"/>
                      <a:pt x="115" y="179"/>
                    </a:cubicBezTo>
                    <a:cubicBezTo>
                      <a:pt x="120" y="178"/>
                      <a:pt x="118" y="186"/>
                      <a:pt x="118" y="186"/>
                    </a:cubicBezTo>
                    <a:cubicBezTo>
                      <a:pt x="117" y="187"/>
                      <a:pt x="119" y="188"/>
                      <a:pt x="119" y="188"/>
                    </a:cubicBezTo>
                    <a:cubicBezTo>
                      <a:pt x="123" y="188"/>
                      <a:pt x="123" y="192"/>
                      <a:pt x="123" y="192"/>
                    </a:cubicBezTo>
                    <a:cubicBezTo>
                      <a:pt x="120" y="192"/>
                      <a:pt x="121" y="195"/>
                      <a:pt x="121" y="195"/>
                    </a:cubicBezTo>
                    <a:cubicBezTo>
                      <a:pt x="119" y="197"/>
                      <a:pt x="122" y="198"/>
                      <a:pt x="122" y="198"/>
                    </a:cubicBezTo>
                    <a:cubicBezTo>
                      <a:pt x="127" y="198"/>
                      <a:pt x="127" y="198"/>
                      <a:pt x="127" y="198"/>
                    </a:cubicBezTo>
                    <a:cubicBezTo>
                      <a:pt x="126" y="199"/>
                      <a:pt x="129" y="200"/>
                      <a:pt x="128" y="199"/>
                    </a:cubicBezTo>
                    <a:cubicBezTo>
                      <a:pt x="142" y="203"/>
                      <a:pt x="129" y="203"/>
                      <a:pt x="129" y="203"/>
                    </a:cubicBezTo>
                    <a:cubicBezTo>
                      <a:pt x="129" y="203"/>
                      <a:pt x="129" y="202"/>
                      <a:pt x="128" y="202"/>
                    </a:cubicBezTo>
                    <a:cubicBezTo>
                      <a:pt x="126" y="200"/>
                      <a:pt x="123" y="202"/>
                      <a:pt x="123" y="202"/>
                    </a:cubicBezTo>
                    <a:cubicBezTo>
                      <a:pt x="123" y="204"/>
                      <a:pt x="123" y="204"/>
                      <a:pt x="123" y="204"/>
                    </a:cubicBezTo>
                    <a:cubicBezTo>
                      <a:pt x="126" y="206"/>
                      <a:pt x="124" y="209"/>
                      <a:pt x="124" y="209"/>
                    </a:cubicBezTo>
                    <a:cubicBezTo>
                      <a:pt x="120" y="211"/>
                      <a:pt x="124" y="211"/>
                      <a:pt x="123" y="211"/>
                    </a:cubicBezTo>
                    <a:cubicBezTo>
                      <a:pt x="124" y="211"/>
                      <a:pt x="125" y="218"/>
                      <a:pt x="125" y="217"/>
                    </a:cubicBezTo>
                    <a:cubicBezTo>
                      <a:pt x="124" y="218"/>
                      <a:pt x="123" y="219"/>
                      <a:pt x="123" y="219"/>
                    </a:cubicBezTo>
                    <a:cubicBezTo>
                      <a:pt x="122" y="219"/>
                      <a:pt x="120" y="222"/>
                      <a:pt x="120" y="222"/>
                    </a:cubicBezTo>
                    <a:cubicBezTo>
                      <a:pt x="119" y="228"/>
                      <a:pt x="126" y="227"/>
                      <a:pt x="126" y="227"/>
                    </a:cubicBezTo>
                    <a:cubicBezTo>
                      <a:pt x="128" y="227"/>
                      <a:pt x="130" y="230"/>
                      <a:pt x="130" y="230"/>
                    </a:cubicBezTo>
                    <a:cubicBezTo>
                      <a:pt x="130" y="228"/>
                      <a:pt x="131" y="232"/>
                      <a:pt x="131" y="232"/>
                    </a:cubicBezTo>
                    <a:cubicBezTo>
                      <a:pt x="133" y="231"/>
                      <a:pt x="134" y="234"/>
                      <a:pt x="134" y="234"/>
                    </a:cubicBezTo>
                    <a:cubicBezTo>
                      <a:pt x="136" y="234"/>
                      <a:pt x="136" y="234"/>
                      <a:pt x="136" y="234"/>
                    </a:cubicBezTo>
                    <a:cubicBezTo>
                      <a:pt x="139" y="234"/>
                      <a:pt x="138" y="242"/>
                      <a:pt x="138" y="242"/>
                    </a:cubicBezTo>
                    <a:cubicBezTo>
                      <a:pt x="138" y="242"/>
                      <a:pt x="138" y="242"/>
                      <a:pt x="138" y="242"/>
                    </a:cubicBezTo>
                    <a:cubicBezTo>
                      <a:pt x="139" y="244"/>
                      <a:pt x="141" y="245"/>
                      <a:pt x="144" y="241"/>
                    </a:cubicBezTo>
                    <a:cubicBezTo>
                      <a:pt x="144" y="241"/>
                      <a:pt x="146" y="238"/>
                      <a:pt x="150" y="237"/>
                    </a:cubicBezTo>
                    <a:cubicBezTo>
                      <a:pt x="150" y="237"/>
                      <a:pt x="150" y="234"/>
                      <a:pt x="151" y="234"/>
                    </a:cubicBezTo>
                    <a:cubicBezTo>
                      <a:pt x="151" y="234"/>
                      <a:pt x="153" y="234"/>
                      <a:pt x="153" y="226"/>
                    </a:cubicBezTo>
                    <a:cubicBezTo>
                      <a:pt x="153" y="226"/>
                      <a:pt x="150" y="218"/>
                      <a:pt x="161" y="219"/>
                    </a:cubicBezTo>
                    <a:cubicBezTo>
                      <a:pt x="161" y="219"/>
                      <a:pt x="164" y="217"/>
                      <a:pt x="164" y="211"/>
                    </a:cubicBezTo>
                    <a:cubicBezTo>
                      <a:pt x="164" y="212"/>
                      <a:pt x="166" y="207"/>
                      <a:pt x="162" y="208"/>
                    </a:cubicBezTo>
                    <a:cubicBezTo>
                      <a:pt x="162" y="208"/>
                      <a:pt x="160" y="202"/>
                      <a:pt x="165" y="202"/>
                    </a:cubicBezTo>
                    <a:cubicBezTo>
                      <a:pt x="165" y="203"/>
                      <a:pt x="167" y="199"/>
                      <a:pt x="172" y="200"/>
                    </a:cubicBezTo>
                    <a:cubicBezTo>
                      <a:pt x="172" y="200"/>
                      <a:pt x="175" y="205"/>
                      <a:pt x="176" y="200"/>
                    </a:cubicBezTo>
                    <a:cubicBezTo>
                      <a:pt x="176" y="200"/>
                      <a:pt x="181" y="195"/>
                      <a:pt x="180" y="199"/>
                    </a:cubicBezTo>
                    <a:cubicBezTo>
                      <a:pt x="181" y="199"/>
                      <a:pt x="184" y="200"/>
                      <a:pt x="184" y="198"/>
                    </a:cubicBezTo>
                    <a:cubicBezTo>
                      <a:pt x="184" y="198"/>
                      <a:pt x="188" y="203"/>
                      <a:pt x="192" y="198"/>
                    </a:cubicBezTo>
                    <a:cubicBezTo>
                      <a:pt x="192" y="198"/>
                      <a:pt x="192" y="195"/>
                      <a:pt x="199" y="195"/>
                    </a:cubicBezTo>
                    <a:cubicBezTo>
                      <a:pt x="199" y="195"/>
                      <a:pt x="203" y="191"/>
                      <a:pt x="195" y="192"/>
                    </a:cubicBezTo>
                    <a:cubicBezTo>
                      <a:pt x="195" y="192"/>
                      <a:pt x="197" y="188"/>
                      <a:pt x="188" y="189"/>
                    </a:cubicBezTo>
                    <a:cubicBezTo>
                      <a:pt x="188" y="189"/>
                      <a:pt x="189" y="187"/>
                      <a:pt x="184" y="187"/>
                    </a:cubicBezTo>
                    <a:cubicBezTo>
                      <a:pt x="183" y="185"/>
                      <a:pt x="183" y="185"/>
                      <a:pt x="183" y="185"/>
                    </a:cubicBezTo>
                    <a:cubicBezTo>
                      <a:pt x="183" y="185"/>
                      <a:pt x="179" y="184"/>
                      <a:pt x="183" y="184"/>
                    </a:cubicBezTo>
                    <a:cubicBezTo>
                      <a:pt x="183" y="183"/>
                      <a:pt x="186" y="177"/>
                      <a:pt x="183" y="175"/>
                    </a:cubicBezTo>
                    <a:cubicBezTo>
                      <a:pt x="183" y="175"/>
                      <a:pt x="171" y="176"/>
                      <a:pt x="174" y="168"/>
                    </a:cubicBezTo>
                    <a:cubicBezTo>
                      <a:pt x="174" y="168"/>
                      <a:pt x="168" y="165"/>
                      <a:pt x="173" y="164"/>
                    </a:cubicBezTo>
                    <a:cubicBezTo>
                      <a:pt x="173" y="164"/>
                      <a:pt x="174" y="157"/>
                      <a:pt x="178" y="161"/>
                    </a:cubicBezTo>
                    <a:cubicBezTo>
                      <a:pt x="178" y="161"/>
                      <a:pt x="180" y="163"/>
                      <a:pt x="181" y="160"/>
                    </a:cubicBezTo>
                    <a:cubicBezTo>
                      <a:pt x="188" y="159"/>
                      <a:pt x="188" y="159"/>
                      <a:pt x="188" y="159"/>
                    </a:cubicBezTo>
                    <a:cubicBezTo>
                      <a:pt x="188" y="159"/>
                      <a:pt x="188" y="152"/>
                      <a:pt x="192" y="159"/>
                    </a:cubicBezTo>
                    <a:cubicBezTo>
                      <a:pt x="193" y="159"/>
                      <a:pt x="197" y="159"/>
                      <a:pt x="197" y="161"/>
                    </a:cubicBezTo>
                    <a:cubicBezTo>
                      <a:pt x="197" y="161"/>
                      <a:pt x="203" y="163"/>
                      <a:pt x="199" y="160"/>
                    </a:cubicBezTo>
                    <a:cubicBezTo>
                      <a:pt x="204" y="159"/>
                      <a:pt x="204" y="159"/>
                      <a:pt x="204" y="159"/>
                    </a:cubicBezTo>
                    <a:cubicBezTo>
                      <a:pt x="204" y="159"/>
                      <a:pt x="212" y="153"/>
                      <a:pt x="211" y="161"/>
                    </a:cubicBezTo>
                    <a:cubicBezTo>
                      <a:pt x="210" y="161"/>
                      <a:pt x="212" y="165"/>
                      <a:pt x="214" y="165"/>
                    </a:cubicBezTo>
                    <a:cubicBezTo>
                      <a:pt x="214" y="165"/>
                      <a:pt x="214" y="168"/>
                      <a:pt x="217" y="165"/>
                    </a:cubicBezTo>
                    <a:cubicBezTo>
                      <a:pt x="217" y="165"/>
                      <a:pt x="225" y="162"/>
                      <a:pt x="225" y="167"/>
                    </a:cubicBezTo>
                    <a:cubicBezTo>
                      <a:pt x="225" y="168"/>
                      <a:pt x="228" y="171"/>
                      <a:pt x="229" y="168"/>
                    </a:cubicBezTo>
                    <a:cubicBezTo>
                      <a:pt x="229" y="168"/>
                      <a:pt x="231" y="165"/>
                      <a:pt x="232" y="165"/>
                    </a:cubicBezTo>
                    <a:cubicBezTo>
                      <a:pt x="239" y="165"/>
                      <a:pt x="239" y="165"/>
                      <a:pt x="239" y="165"/>
                    </a:cubicBezTo>
                    <a:cubicBezTo>
                      <a:pt x="240" y="165"/>
                      <a:pt x="244" y="162"/>
                      <a:pt x="247" y="162"/>
                    </a:cubicBezTo>
                    <a:cubicBezTo>
                      <a:pt x="247" y="162"/>
                      <a:pt x="249" y="159"/>
                      <a:pt x="249" y="157"/>
                    </a:cubicBezTo>
                    <a:cubicBezTo>
                      <a:pt x="249" y="157"/>
                      <a:pt x="251" y="152"/>
                      <a:pt x="253" y="152"/>
                    </a:cubicBezTo>
                    <a:cubicBezTo>
                      <a:pt x="253" y="152"/>
                      <a:pt x="256" y="149"/>
                      <a:pt x="256" y="153"/>
                    </a:cubicBezTo>
                    <a:cubicBezTo>
                      <a:pt x="256" y="153"/>
                      <a:pt x="257" y="159"/>
                      <a:pt x="260" y="159"/>
                    </a:cubicBezTo>
                    <a:cubicBezTo>
                      <a:pt x="260" y="159"/>
                      <a:pt x="265" y="161"/>
                      <a:pt x="266" y="161"/>
                    </a:cubicBezTo>
                    <a:cubicBezTo>
                      <a:pt x="266" y="161"/>
                      <a:pt x="268" y="163"/>
                      <a:pt x="268" y="161"/>
                    </a:cubicBezTo>
                    <a:cubicBezTo>
                      <a:pt x="268" y="161"/>
                      <a:pt x="269" y="157"/>
                      <a:pt x="271" y="161"/>
                    </a:cubicBezTo>
                    <a:cubicBezTo>
                      <a:pt x="271" y="161"/>
                      <a:pt x="276" y="162"/>
                      <a:pt x="276" y="166"/>
                    </a:cubicBezTo>
                    <a:cubicBezTo>
                      <a:pt x="276" y="166"/>
                      <a:pt x="273" y="172"/>
                      <a:pt x="278" y="168"/>
                    </a:cubicBezTo>
                    <a:cubicBezTo>
                      <a:pt x="278" y="168"/>
                      <a:pt x="279" y="163"/>
                      <a:pt x="280" y="166"/>
                    </a:cubicBezTo>
                    <a:cubicBezTo>
                      <a:pt x="280" y="166"/>
                      <a:pt x="284" y="164"/>
                      <a:pt x="287" y="168"/>
                    </a:cubicBezTo>
                    <a:cubicBezTo>
                      <a:pt x="287" y="168"/>
                      <a:pt x="290" y="170"/>
                      <a:pt x="293" y="170"/>
                    </a:cubicBezTo>
                    <a:cubicBezTo>
                      <a:pt x="294" y="170"/>
                      <a:pt x="294" y="173"/>
                      <a:pt x="294" y="173"/>
                    </a:cubicBezTo>
                    <a:cubicBezTo>
                      <a:pt x="294" y="173"/>
                      <a:pt x="296" y="175"/>
                      <a:pt x="297" y="173"/>
                    </a:cubicBezTo>
                    <a:cubicBezTo>
                      <a:pt x="297" y="173"/>
                      <a:pt x="298" y="171"/>
                      <a:pt x="299" y="173"/>
                    </a:cubicBezTo>
                    <a:cubicBezTo>
                      <a:pt x="299" y="173"/>
                      <a:pt x="301" y="176"/>
                      <a:pt x="302" y="173"/>
                    </a:cubicBezTo>
                    <a:cubicBezTo>
                      <a:pt x="302" y="174"/>
                      <a:pt x="306" y="168"/>
                      <a:pt x="307" y="169"/>
                    </a:cubicBezTo>
                    <a:cubicBezTo>
                      <a:pt x="307" y="169"/>
                      <a:pt x="310" y="166"/>
                      <a:pt x="314" y="168"/>
                    </a:cubicBezTo>
                    <a:cubicBezTo>
                      <a:pt x="313" y="168"/>
                      <a:pt x="320" y="172"/>
                      <a:pt x="323" y="168"/>
                    </a:cubicBezTo>
                    <a:cubicBezTo>
                      <a:pt x="328" y="164"/>
                      <a:pt x="328" y="164"/>
                      <a:pt x="328" y="164"/>
                    </a:cubicBezTo>
                    <a:cubicBezTo>
                      <a:pt x="328" y="164"/>
                      <a:pt x="331" y="157"/>
                      <a:pt x="329" y="155"/>
                    </a:cubicBezTo>
                    <a:cubicBezTo>
                      <a:pt x="328" y="155"/>
                      <a:pt x="320" y="156"/>
                      <a:pt x="328" y="149"/>
                    </a:cubicBezTo>
                    <a:cubicBezTo>
                      <a:pt x="328" y="150"/>
                      <a:pt x="332" y="144"/>
                      <a:pt x="325" y="145"/>
                    </a:cubicBezTo>
                    <a:cubicBezTo>
                      <a:pt x="325" y="145"/>
                      <a:pt x="322" y="142"/>
                      <a:pt x="321" y="145"/>
                    </a:cubicBezTo>
                    <a:cubicBezTo>
                      <a:pt x="321" y="146"/>
                      <a:pt x="320" y="149"/>
                      <a:pt x="318" y="149"/>
                    </a:cubicBezTo>
                    <a:cubicBezTo>
                      <a:pt x="318" y="149"/>
                      <a:pt x="313" y="147"/>
                      <a:pt x="314" y="151"/>
                    </a:cubicBezTo>
                    <a:cubicBezTo>
                      <a:pt x="314" y="151"/>
                      <a:pt x="307" y="152"/>
                      <a:pt x="308" y="149"/>
                    </a:cubicBezTo>
                    <a:cubicBezTo>
                      <a:pt x="308" y="149"/>
                      <a:pt x="303" y="147"/>
                      <a:pt x="306" y="145"/>
                    </a:cubicBezTo>
                    <a:cubicBezTo>
                      <a:pt x="306" y="145"/>
                      <a:pt x="308" y="142"/>
                      <a:pt x="310" y="145"/>
                    </a:cubicBezTo>
                    <a:cubicBezTo>
                      <a:pt x="310" y="145"/>
                      <a:pt x="315" y="145"/>
                      <a:pt x="312" y="141"/>
                    </a:cubicBezTo>
                    <a:cubicBezTo>
                      <a:pt x="312" y="142"/>
                      <a:pt x="313" y="138"/>
                      <a:pt x="318" y="139"/>
                    </a:cubicBezTo>
                    <a:cubicBezTo>
                      <a:pt x="318" y="139"/>
                      <a:pt x="318" y="135"/>
                      <a:pt x="322" y="136"/>
                    </a:cubicBezTo>
                    <a:cubicBezTo>
                      <a:pt x="323" y="136"/>
                      <a:pt x="325" y="133"/>
                      <a:pt x="326" y="135"/>
                    </a:cubicBezTo>
                    <a:cubicBezTo>
                      <a:pt x="326" y="135"/>
                      <a:pt x="326" y="138"/>
                      <a:pt x="328" y="135"/>
                    </a:cubicBezTo>
                    <a:cubicBezTo>
                      <a:pt x="328" y="135"/>
                      <a:pt x="330" y="134"/>
                      <a:pt x="330" y="133"/>
                    </a:cubicBezTo>
                    <a:cubicBezTo>
                      <a:pt x="330" y="133"/>
                      <a:pt x="333" y="131"/>
                      <a:pt x="333" y="133"/>
                    </a:cubicBezTo>
                    <a:cubicBezTo>
                      <a:pt x="333" y="134"/>
                      <a:pt x="334" y="134"/>
                      <a:pt x="335" y="133"/>
                    </a:cubicBezTo>
                    <a:cubicBezTo>
                      <a:pt x="335" y="133"/>
                      <a:pt x="338" y="130"/>
                      <a:pt x="338" y="136"/>
                    </a:cubicBezTo>
                    <a:cubicBezTo>
                      <a:pt x="342" y="139"/>
                      <a:pt x="342" y="139"/>
                      <a:pt x="342" y="139"/>
                    </a:cubicBezTo>
                    <a:cubicBezTo>
                      <a:pt x="342" y="139"/>
                      <a:pt x="347" y="142"/>
                      <a:pt x="342" y="148"/>
                    </a:cubicBezTo>
                    <a:cubicBezTo>
                      <a:pt x="342" y="148"/>
                      <a:pt x="334" y="153"/>
                      <a:pt x="342" y="153"/>
                    </a:cubicBezTo>
                    <a:cubicBezTo>
                      <a:pt x="352" y="153"/>
                      <a:pt x="352" y="153"/>
                      <a:pt x="352" y="153"/>
                    </a:cubicBezTo>
                    <a:cubicBezTo>
                      <a:pt x="352" y="153"/>
                      <a:pt x="352" y="157"/>
                      <a:pt x="354" y="153"/>
                    </a:cubicBezTo>
                    <a:cubicBezTo>
                      <a:pt x="354" y="153"/>
                      <a:pt x="356" y="152"/>
                      <a:pt x="356" y="157"/>
                    </a:cubicBezTo>
                    <a:cubicBezTo>
                      <a:pt x="356" y="157"/>
                      <a:pt x="353" y="161"/>
                      <a:pt x="356" y="161"/>
                    </a:cubicBezTo>
                    <a:cubicBezTo>
                      <a:pt x="356" y="161"/>
                      <a:pt x="358" y="164"/>
                      <a:pt x="356" y="164"/>
                    </a:cubicBezTo>
                    <a:cubicBezTo>
                      <a:pt x="357" y="164"/>
                      <a:pt x="346" y="166"/>
                      <a:pt x="356" y="166"/>
                    </a:cubicBezTo>
                    <a:cubicBezTo>
                      <a:pt x="356" y="165"/>
                      <a:pt x="361" y="165"/>
                      <a:pt x="361" y="168"/>
                    </a:cubicBezTo>
                    <a:cubicBezTo>
                      <a:pt x="361" y="168"/>
                      <a:pt x="365" y="166"/>
                      <a:pt x="365" y="170"/>
                    </a:cubicBezTo>
                    <a:cubicBezTo>
                      <a:pt x="365" y="171"/>
                      <a:pt x="370" y="175"/>
                      <a:pt x="370" y="171"/>
                    </a:cubicBezTo>
                    <a:cubicBezTo>
                      <a:pt x="370" y="171"/>
                      <a:pt x="371" y="165"/>
                      <a:pt x="372" y="165"/>
                    </a:cubicBezTo>
                    <a:cubicBezTo>
                      <a:pt x="373" y="165"/>
                      <a:pt x="375" y="157"/>
                      <a:pt x="375" y="157"/>
                    </a:cubicBezTo>
                    <a:cubicBezTo>
                      <a:pt x="375" y="157"/>
                      <a:pt x="377" y="153"/>
                      <a:pt x="378" y="158"/>
                    </a:cubicBezTo>
                    <a:cubicBezTo>
                      <a:pt x="378" y="158"/>
                      <a:pt x="382" y="158"/>
                      <a:pt x="382" y="155"/>
                    </a:cubicBezTo>
                    <a:cubicBezTo>
                      <a:pt x="387" y="153"/>
                      <a:pt x="387" y="153"/>
                      <a:pt x="387" y="153"/>
                    </a:cubicBezTo>
                    <a:cubicBezTo>
                      <a:pt x="390" y="151"/>
                      <a:pt x="390" y="151"/>
                      <a:pt x="390" y="151"/>
                    </a:cubicBezTo>
                    <a:cubicBezTo>
                      <a:pt x="389" y="151"/>
                      <a:pt x="389" y="151"/>
                      <a:pt x="389" y="151"/>
                    </a:cubicBezTo>
                    <a:cubicBezTo>
                      <a:pt x="388" y="152"/>
                      <a:pt x="389" y="146"/>
                      <a:pt x="389" y="146"/>
                    </a:cubicBezTo>
                  </a:path>
                </a:pathLst>
              </a:custGeom>
              <a:solidFill>
                <a:schemeClr val="bg2"/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1" name="Freeform 240">
                <a:extLst>
                  <a:ext uri="{FF2B5EF4-FFF2-40B4-BE49-F238E27FC236}">
                    <a16:creationId xmlns:a16="http://schemas.microsoft.com/office/drawing/2014/main" id="{BD111DE1-FA5E-6E84-65D7-54ACAC24C0A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684101" y="3195866"/>
                <a:ext cx="3032936" cy="2137995"/>
              </a:xfrm>
              <a:custGeom>
                <a:avLst/>
                <a:gdLst>
                  <a:gd name="T0" fmla="*/ 892 w 956"/>
                  <a:gd name="T1" fmla="*/ 296 h 671"/>
                  <a:gd name="T2" fmla="*/ 911 w 956"/>
                  <a:gd name="T3" fmla="*/ 211 h 671"/>
                  <a:gd name="T4" fmla="*/ 931 w 956"/>
                  <a:gd name="T5" fmla="*/ 135 h 671"/>
                  <a:gd name="T6" fmla="*/ 883 w 956"/>
                  <a:gd name="T7" fmla="*/ 58 h 671"/>
                  <a:gd name="T8" fmla="*/ 812 w 956"/>
                  <a:gd name="T9" fmla="*/ 119 h 671"/>
                  <a:gd name="T10" fmla="*/ 764 w 956"/>
                  <a:gd name="T11" fmla="*/ 166 h 671"/>
                  <a:gd name="T12" fmla="*/ 631 w 956"/>
                  <a:gd name="T13" fmla="*/ 101 h 671"/>
                  <a:gd name="T14" fmla="*/ 612 w 956"/>
                  <a:gd name="T15" fmla="*/ 42 h 671"/>
                  <a:gd name="T16" fmla="*/ 523 w 956"/>
                  <a:gd name="T17" fmla="*/ 8 h 671"/>
                  <a:gd name="T18" fmla="*/ 455 w 956"/>
                  <a:gd name="T19" fmla="*/ 4 h 671"/>
                  <a:gd name="T20" fmla="*/ 443 w 956"/>
                  <a:gd name="T21" fmla="*/ 42 h 671"/>
                  <a:gd name="T22" fmla="*/ 436 w 956"/>
                  <a:gd name="T23" fmla="*/ 95 h 671"/>
                  <a:gd name="T24" fmla="*/ 405 w 956"/>
                  <a:gd name="T25" fmla="*/ 140 h 671"/>
                  <a:gd name="T26" fmla="*/ 325 w 956"/>
                  <a:gd name="T27" fmla="*/ 120 h 671"/>
                  <a:gd name="T28" fmla="*/ 284 w 956"/>
                  <a:gd name="T29" fmla="*/ 136 h 671"/>
                  <a:gd name="T30" fmla="*/ 228 w 956"/>
                  <a:gd name="T31" fmla="*/ 145 h 671"/>
                  <a:gd name="T32" fmla="*/ 185 w 956"/>
                  <a:gd name="T33" fmla="*/ 188 h 671"/>
                  <a:gd name="T34" fmla="*/ 131 w 956"/>
                  <a:gd name="T35" fmla="*/ 189 h 671"/>
                  <a:gd name="T36" fmla="*/ 92 w 956"/>
                  <a:gd name="T37" fmla="*/ 214 h 671"/>
                  <a:gd name="T38" fmla="*/ 52 w 956"/>
                  <a:gd name="T39" fmla="*/ 243 h 671"/>
                  <a:gd name="T40" fmla="*/ 12 w 956"/>
                  <a:gd name="T41" fmla="*/ 291 h 671"/>
                  <a:gd name="T42" fmla="*/ 14 w 956"/>
                  <a:gd name="T43" fmla="*/ 351 h 671"/>
                  <a:gd name="T44" fmla="*/ 64 w 956"/>
                  <a:gd name="T45" fmla="*/ 368 h 671"/>
                  <a:gd name="T46" fmla="*/ 121 w 956"/>
                  <a:gd name="T47" fmla="*/ 361 h 671"/>
                  <a:gd name="T48" fmla="*/ 158 w 956"/>
                  <a:gd name="T49" fmla="*/ 344 h 671"/>
                  <a:gd name="T50" fmla="*/ 190 w 956"/>
                  <a:gd name="T51" fmla="*/ 383 h 671"/>
                  <a:gd name="T52" fmla="*/ 223 w 956"/>
                  <a:gd name="T53" fmla="*/ 445 h 671"/>
                  <a:gd name="T54" fmla="*/ 225 w 956"/>
                  <a:gd name="T55" fmla="*/ 515 h 671"/>
                  <a:gd name="T56" fmla="*/ 216 w 956"/>
                  <a:gd name="T57" fmla="*/ 564 h 671"/>
                  <a:gd name="T58" fmla="*/ 215 w 956"/>
                  <a:gd name="T59" fmla="*/ 620 h 671"/>
                  <a:gd name="T60" fmla="*/ 247 w 956"/>
                  <a:gd name="T61" fmla="*/ 662 h 671"/>
                  <a:gd name="T62" fmla="*/ 288 w 956"/>
                  <a:gd name="T63" fmla="*/ 632 h 671"/>
                  <a:gd name="T64" fmla="*/ 303 w 956"/>
                  <a:gd name="T65" fmla="*/ 602 h 671"/>
                  <a:gd name="T66" fmla="*/ 326 w 956"/>
                  <a:gd name="T67" fmla="*/ 560 h 671"/>
                  <a:gd name="T68" fmla="*/ 321 w 956"/>
                  <a:gd name="T69" fmla="*/ 517 h 671"/>
                  <a:gd name="T70" fmla="*/ 319 w 956"/>
                  <a:gd name="T71" fmla="*/ 455 h 671"/>
                  <a:gd name="T72" fmla="*/ 368 w 956"/>
                  <a:gd name="T73" fmla="*/ 425 h 671"/>
                  <a:gd name="T74" fmla="*/ 408 w 956"/>
                  <a:gd name="T75" fmla="*/ 421 h 671"/>
                  <a:gd name="T76" fmla="*/ 417 w 956"/>
                  <a:gd name="T77" fmla="*/ 510 h 671"/>
                  <a:gd name="T78" fmla="*/ 442 w 956"/>
                  <a:gd name="T79" fmla="*/ 551 h 671"/>
                  <a:gd name="T80" fmla="*/ 472 w 956"/>
                  <a:gd name="T81" fmla="*/ 576 h 671"/>
                  <a:gd name="T82" fmla="*/ 523 w 956"/>
                  <a:gd name="T83" fmla="*/ 574 h 671"/>
                  <a:gd name="T84" fmla="*/ 551 w 956"/>
                  <a:gd name="T85" fmla="*/ 547 h 671"/>
                  <a:gd name="T86" fmla="*/ 600 w 956"/>
                  <a:gd name="T87" fmla="*/ 536 h 671"/>
                  <a:gd name="T88" fmla="*/ 650 w 956"/>
                  <a:gd name="T89" fmla="*/ 522 h 671"/>
                  <a:gd name="T90" fmla="*/ 691 w 956"/>
                  <a:gd name="T91" fmla="*/ 544 h 671"/>
                  <a:gd name="T92" fmla="*/ 700 w 956"/>
                  <a:gd name="T93" fmla="*/ 590 h 671"/>
                  <a:gd name="T94" fmla="*/ 723 w 956"/>
                  <a:gd name="T95" fmla="*/ 632 h 671"/>
                  <a:gd name="T96" fmla="*/ 771 w 956"/>
                  <a:gd name="T97" fmla="*/ 586 h 671"/>
                  <a:gd name="T98" fmla="*/ 759 w 956"/>
                  <a:gd name="T99" fmla="*/ 521 h 671"/>
                  <a:gd name="T100" fmla="*/ 761 w 956"/>
                  <a:gd name="T101" fmla="*/ 479 h 671"/>
                  <a:gd name="T102" fmla="*/ 717 w 956"/>
                  <a:gd name="T103" fmla="*/ 444 h 671"/>
                  <a:gd name="T104" fmla="*/ 715 w 956"/>
                  <a:gd name="T105" fmla="*/ 394 h 671"/>
                  <a:gd name="T106" fmla="*/ 748 w 956"/>
                  <a:gd name="T107" fmla="*/ 344 h 671"/>
                  <a:gd name="T108" fmla="*/ 809 w 956"/>
                  <a:gd name="T109" fmla="*/ 328 h 671"/>
                  <a:gd name="T110" fmla="*/ 840 w 956"/>
                  <a:gd name="T111" fmla="*/ 381 h 671"/>
                  <a:gd name="T112" fmla="*/ 888 w 956"/>
                  <a:gd name="T113" fmla="*/ 388 h 671"/>
                  <a:gd name="T114" fmla="*/ 935 w 956"/>
                  <a:gd name="T115" fmla="*/ 380 h 671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956"/>
                  <a:gd name="T175" fmla="*/ 0 h 671"/>
                  <a:gd name="T176" fmla="*/ 956 w 956"/>
                  <a:gd name="T177" fmla="*/ 671 h 671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956" h="671">
                    <a:moveTo>
                      <a:pt x="942" y="346"/>
                    </a:moveTo>
                    <a:cubicBezTo>
                      <a:pt x="942" y="345"/>
                      <a:pt x="956" y="337"/>
                      <a:pt x="940" y="338"/>
                    </a:cubicBezTo>
                    <a:cubicBezTo>
                      <a:pt x="940" y="338"/>
                      <a:pt x="942" y="332"/>
                      <a:pt x="934" y="333"/>
                    </a:cubicBezTo>
                    <a:cubicBezTo>
                      <a:pt x="934" y="333"/>
                      <a:pt x="930" y="325"/>
                      <a:pt x="927" y="326"/>
                    </a:cubicBezTo>
                    <a:cubicBezTo>
                      <a:pt x="927" y="326"/>
                      <a:pt x="928" y="318"/>
                      <a:pt x="911" y="321"/>
                    </a:cubicBezTo>
                    <a:cubicBezTo>
                      <a:pt x="911" y="322"/>
                      <a:pt x="904" y="324"/>
                      <a:pt x="904" y="324"/>
                    </a:cubicBezTo>
                    <a:cubicBezTo>
                      <a:pt x="904" y="324"/>
                      <a:pt x="902" y="329"/>
                      <a:pt x="900" y="324"/>
                    </a:cubicBezTo>
                    <a:cubicBezTo>
                      <a:pt x="900" y="324"/>
                      <a:pt x="896" y="326"/>
                      <a:pt x="897" y="315"/>
                    </a:cubicBezTo>
                    <a:cubicBezTo>
                      <a:pt x="894" y="308"/>
                      <a:pt x="894" y="308"/>
                      <a:pt x="894" y="308"/>
                    </a:cubicBezTo>
                    <a:cubicBezTo>
                      <a:pt x="894" y="308"/>
                      <a:pt x="892" y="301"/>
                      <a:pt x="892" y="296"/>
                    </a:cubicBezTo>
                    <a:cubicBezTo>
                      <a:pt x="892" y="296"/>
                      <a:pt x="889" y="292"/>
                      <a:pt x="890" y="289"/>
                    </a:cubicBezTo>
                    <a:cubicBezTo>
                      <a:pt x="891" y="289"/>
                      <a:pt x="881" y="284"/>
                      <a:pt x="892" y="284"/>
                    </a:cubicBezTo>
                    <a:cubicBezTo>
                      <a:pt x="893" y="284"/>
                      <a:pt x="896" y="277"/>
                      <a:pt x="899" y="277"/>
                    </a:cubicBezTo>
                    <a:cubicBezTo>
                      <a:pt x="898" y="277"/>
                      <a:pt x="900" y="269"/>
                      <a:pt x="903" y="270"/>
                    </a:cubicBezTo>
                    <a:cubicBezTo>
                      <a:pt x="904" y="270"/>
                      <a:pt x="911" y="264"/>
                      <a:pt x="903" y="259"/>
                    </a:cubicBezTo>
                    <a:cubicBezTo>
                      <a:pt x="902" y="253"/>
                      <a:pt x="902" y="253"/>
                      <a:pt x="902" y="253"/>
                    </a:cubicBezTo>
                    <a:cubicBezTo>
                      <a:pt x="902" y="253"/>
                      <a:pt x="892" y="252"/>
                      <a:pt x="905" y="246"/>
                    </a:cubicBezTo>
                    <a:cubicBezTo>
                      <a:pt x="905" y="246"/>
                      <a:pt x="913" y="237"/>
                      <a:pt x="917" y="237"/>
                    </a:cubicBezTo>
                    <a:cubicBezTo>
                      <a:pt x="917" y="237"/>
                      <a:pt x="922" y="227"/>
                      <a:pt x="916" y="220"/>
                    </a:cubicBezTo>
                    <a:cubicBezTo>
                      <a:pt x="916" y="220"/>
                      <a:pt x="916" y="212"/>
                      <a:pt x="911" y="211"/>
                    </a:cubicBezTo>
                    <a:cubicBezTo>
                      <a:pt x="910" y="211"/>
                      <a:pt x="911" y="203"/>
                      <a:pt x="915" y="204"/>
                    </a:cubicBezTo>
                    <a:cubicBezTo>
                      <a:pt x="915" y="204"/>
                      <a:pt x="917" y="201"/>
                      <a:pt x="919" y="201"/>
                    </a:cubicBezTo>
                    <a:cubicBezTo>
                      <a:pt x="920" y="201"/>
                      <a:pt x="925" y="194"/>
                      <a:pt x="925" y="194"/>
                    </a:cubicBezTo>
                    <a:cubicBezTo>
                      <a:pt x="925" y="194"/>
                      <a:pt x="927" y="179"/>
                      <a:pt x="926" y="176"/>
                    </a:cubicBezTo>
                    <a:cubicBezTo>
                      <a:pt x="926" y="177"/>
                      <a:pt x="933" y="175"/>
                      <a:pt x="931" y="166"/>
                    </a:cubicBezTo>
                    <a:cubicBezTo>
                      <a:pt x="931" y="166"/>
                      <a:pt x="936" y="161"/>
                      <a:pt x="930" y="161"/>
                    </a:cubicBezTo>
                    <a:cubicBezTo>
                      <a:pt x="930" y="162"/>
                      <a:pt x="928" y="150"/>
                      <a:pt x="932" y="151"/>
                    </a:cubicBezTo>
                    <a:cubicBezTo>
                      <a:pt x="932" y="151"/>
                      <a:pt x="936" y="146"/>
                      <a:pt x="930" y="145"/>
                    </a:cubicBezTo>
                    <a:cubicBezTo>
                      <a:pt x="930" y="142"/>
                      <a:pt x="930" y="142"/>
                      <a:pt x="930" y="142"/>
                    </a:cubicBezTo>
                    <a:cubicBezTo>
                      <a:pt x="930" y="142"/>
                      <a:pt x="922" y="138"/>
                      <a:pt x="931" y="135"/>
                    </a:cubicBezTo>
                    <a:cubicBezTo>
                      <a:pt x="931" y="136"/>
                      <a:pt x="936" y="130"/>
                      <a:pt x="936" y="130"/>
                    </a:cubicBezTo>
                    <a:cubicBezTo>
                      <a:pt x="936" y="130"/>
                      <a:pt x="935" y="116"/>
                      <a:pt x="940" y="115"/>
                    </a:cubicBezTo>
                    <a:cubicBezTo>
                      <a:pt x="940" y="115"/>
                      <a:pt x="942" y="95"/>
                      <a:pt x="934" y="96"/>
                    </a:cubicBezTo>
                    <a:cubicBezTo>
                      <a:pt x="935" y="97"/>
                      <a:pt x="930" y="88"/>
                      <a:pt x="926" y="89"/>
                    </a:cubicBezTo>
                    <a:cubicBezTo>
                      <a:pt x="926" y="90"/>
                      <a:pt x="924" y="86"/>
                      <a:pt x="916" y="88"/>
                    </a:cubicBezTo>
                    <a:cubicBezTo>
                      <a:pt x="917" y="88"/>
                      <a:pt x="915" y="83"/>
                      <a:pt x="911" y="85"/>
                    </a:cubicBezTo>
                    <a:cubicBezTo>
                      <a:pt x="911" y="85"/>
                      <a:pt x="900" y="76"/>
                      <a:pt x="908" y="75"/>
                    </a:cubicBezTo>
                    <a:cubicBezTo>
                      <a:pt x="907" y="75"/>
                      <a:pt x="912" y="69"/>
                      <a:pt x="903" y="66"/>
                    </a:cubicBezTo>
                    <a:cubicBezTo>
                      <a:pt x="903" y="66"/>
                      <a:pt x="899" y="57"/>
                      <a:pt x="896" y="58"/>
                    </a:cubicBezTo>
                    <a:cubicBezTo>
                      <a:pt x="896" y="58"/>
                      <a:pt x="895" y="43"/>
                      <a:pt x="883" y="58"/>
                    </a:cubicBezTo>
                    <a:cubicBezTo>
                      <a:pt x="882" y="58"/>
                      <a:pt x="866" y="60"/>
                      <a:pt x="869" y="62"/>
                    </a:cubicBezTo>
                    <a:cubicBezTo>
                      <a:pt x="869" y="62"/>
                      <a:pt x="864" y="65"/>
                      <a:pt x="868" y="69"/>
                    </a:cubicBezTo>
                    <a:cubicBezTo>
                      <a:pt x="868" y="69"/>
                      <a:pt x="857" y="71"/>
                      <a:pt x="860" y="88"/>
                    </a:cubicBezTo>
                    <a:cubicBezTo>
                      <a:pt x="860" y="88"/>
                      <a:pt x="837" y="93"/>
                      <a:pt x="855" y="104"/>
                    </a:cubicBezTo>
                    <a:cubicBezTo>
                      <a:pt x="855" y="104"/>
                      <a:pt x="853" y="111"/>
                      <a:pt x="845" y="110"/>
                    </a:cubicBezTo>
                    <a:cubicBezTo>
                      <a:pt x="845" y="110"/>
                      <a:pt x="842" y="112"/>
                      <a:pt x="842" y="109"/>
                    </a:cubicBezTo>
                    <a:cubicBezTo>
                      <a:pt x="842" y="109"/>
                      <a:pt x="833" y="111"/>
                      <a:pt x="834" y="108"/>
                    </a:cubicBezTo>
                    <a:cubicBezTo>
                      <a:pt x="834" y="108"/>
                      <a:pt x="826" y="109"/>
                      <a:pt x="828" y="105"/>
                    </a:cubicBezTo>
                    <a:cubicBezTo>
                      <a:pt x="828" y="105"/>
                      <a:pt x="809" y="98"/>
                      <a:pt x="815" y="114"/>
                    </a:cubicBezTo>
                    <a:cubicBezTo>
                      <a:pt x="815" y="115"/>
                      <a:pt x="811" y="115"/>
                      <a:pt x="812" y="119"/>
                    </a:cubicBezTo>
                    <a:cubicBezTo>
                      <a:pt x="812" y="119"/>
                      <a:pt x="807" y="119"/>
                      <a:pt x="811" y="126"/>
                    </a:cubicBezTo>
                    <a:cubicBezTo>
                      <a:pt x="811" y="126"/>
                      <a:pt x="802" y="131"/>
                      <a:pt x="811" y="135"/>
                    </a:cubicBezTo>
                    <a:cubicBezTo>
                      <a:pt x="810" y="136"/>
                      <a:pt x="817" y="138"/>
                      <a:pt x="811" y="142"/>
                    </a:cubicBezTo>
                    <a:cubicBezTo>
                      <a:pt x="811" y="142"/>
                      <a:pt x="815" y="155"/>
                      <a:pt x="800" y="152"/>
                    </a:cubicBezTo>
                    <a:cubicBezTo>
                      <a:pt x="799" y="152"/>
                      <a:pt x="796" y="158"/>
                      <a:pt x="795" y="152"/>
                    </a:cubicBezTo>
                    <a:cubicBezTo>
                      <a:pt x="794" y="152"/>
                      <a:pt x="788" y="153"/>
                      <a:pt x="788" y="157"/>
                    </a:cubicBezTo>
                    <a:cubicBezTo>
                      <a:pt x="788" y="157"/>
                      <a:pt x="783" y="161"/>
                      <a:pt x="780" y="161"/>
                    </a:cubicBezTo>
                    <a:cubicBezTo>
                      <a:pt x="780" y="162"/>
                      <a:pt x="776" y="165"/>
                      <a:pt x="775" y="164"/>
                    </a:cubicBezTo>
                    <a:cubicBezTo>
                      <a:pt x="776" y="165"/>
                      <a:pt x="773" y="167"/>
                      <a:pt x="771" y="164"/>
                    </a:cubicBezTo>
                    <a:cubicBezTo>
                      <a:pt x="771" y="165"/>
                      <a:pt x="765" y="163"/>
                      <a:pt x="764" y="166"/>
                    </a:cubicBezTo>
                    <a:cubicBezTo>
                      <a:pt x="754" y="167"/>
                      <a:pt x="754" y="167"/>
                      <a:pt x="754" y="167"/>
                    </a:cubicBezTo>
                    <a:cubicBezTo>
                      <a:pt x="754" y="167"/>
                      <a:pt x="744" y="174"/>
                      <a:pt x="744" y="169"/>
                    </a:cubicBezTo>
                    <a:cubicBezTo>
                      <a:pt x="744" y="169"/>
                      <a:pt x="738" y="165"/>
                      <a:pt x="738" y="163"/>
                    </a:cubicBezTo>
                    <a:cubicBezTo>
                      <a:pt x="738" y="161"/>
                      <a:pt x="743" y="154"/>
                      <a:pt x="720" y="157"/>
                    </a:cubicBezTo>
                    <a:cubicBezTo>
                      <a:pt x="719" y="156"/>
                      <a:pt x="721" y="142"/>
                      <a:pt x="716" y="142"/>
                    </a:cubicBezTo>
                    <a:cubicBezTo>
                      <a:pt x="716" y="142"/>
                      <a:pt x="712" y="136"/>
                      <a:pt x="708" y="137"/>
                    </a:cubicBezTo>
                    <a:cubicBezTo>
                      <a:pt x="708" y="137"/>
                      <a:pt x="707" y="127"/>
                      <a:pt x="696" y="127"/>
                    </a:cubicBezTo>
                    <a:cubicBezTo>
                      <a:pt x="696" y="127"/>
                      <a:pt x="677" y="123"/>
                      <a:pt x="684" y="119"/>
                    </a:cubicBezTo>
                    <a:cubicBezTo>
                      <a:pt x="684" y="119"/>
                      <a:pt x="668" y="118"/>
                      <a:pt x="660" y="118"/>
                    </a:cubicBezTo>
                    <a:cubicBezTo>
                      <a:pt x="659" y="118"/>
                      <a:pt x="636" y="101"/>
                      <a:pt x="631" y="101"/>
                    </a:cubicBezTo>
                    <a:cubicBezTo>
                      <a:pt x="630" y="101"/>
                      <a:pt x="627" y="87"/>
                      <a:pt x="630" y="87"/>
                    </a:cubicBezTo>
                    <a:cubicBezTo>
                      <a:pt x="630" y="87"/>
                      <a:pt x="632" y="84"/>
                      <a:pt x="628" y="84"/>
                    </a:cubicBezTo>
                    <a:cubicBezTo>
                      <a:pt x="627" y="84"/>
                      <a:pt x="624" y="77"/>
                      <a:pt x="627" y="77"/>
                    </a:cubicBezTo>
                    <a:cubicBezTo>
                      <a:pt x="627" y="77"/>
                      <a:pt x="630" y="68"/>
                      <a:pt x="631" y="68"/>
                    </a:cubicBezTo>
                    <a:cubicBezTo>
                      <a:pt x="634" y="63"/>
                      <a:pt x="634" y="63"/>
                      <a:pt x="634" y="63"/>
                    </a:cubicBezTo>
                    <a:cubicBezTo>
                      <a:pt x="634" y="63"/>
                      <a:pt x="640" y="51"/>
                      <a:pt x="631" y="50"/>
                    </a:cubicBezTo>
                    <a:cubicBezTo>
                      <a:pt x="631" y="50"/>
                      <a:pt x="618" y="45"/>
                      <a:pt x="627" y="42"/>
                    </a:cubicBezTo>
                    <a:cubicBezTo>
                      <a:pt x="627" y="42"/>
                      <a:pt x="633" y="38"/>
                      <a:pt x="623" y="37"/>
                    </a:cubicBezTo>
                    <a:cubicBezTo>
                      <a:pt x="623" y="38"/>
                      <a:pt x="621" y="33"/>
                      <a:pt x="620" y="38"/>
                    </a:cubicBezTo>
                    <a:cubicBezTo>
                      <a:pt x="620" y="39"/>
                      <a:pt x="612" y="42"/>
                      <a:pt x="612" y="42"/>
                    </a:cubicBezTo>
                    <a:cubicBezTo>
                      <a:pt x="612" y="42"/>
                      <a:pt x="605" y="44"/>
                      <a:pt x="604" y="41"/>
                    </a:cubicBezTo>
                    <a:cubicBezTo>
                      <a:pt x="604" y="41"/>
                      <a:pt x="602" y="33"/>
                      <a:pt x="591" y="33"/>
                    </a:cubicBezTo>
                    <a:cubicBezTo>
                      <a:pt x="591" y="34"/>
                      <a:pt x="592" y="27"/>
                      <a:pt x="583" y="26"/>
                    </a:cubicBezTo>
                    <a:cubicBezTo>
                      <a:pt x="583" y="26"/>
                      <a:pt x="580" y="20"/>
                      <a:pt x="570" y="24"/>
                    </a:cubicBezTo>
                    <a:cubicBezTo>
                      <a:pt x="570" y="24"/>
                      <a:pt x="562" y="28"/>
                      <a:pt x="563" y="23"/>
                    </a:cubicBezTo>
                    <a:cubicBezTo>
                      <a:pt x="563" y="24"/>
                      <a:pt x="558" y="15"/>
                      <a:pt x="548" y="20"/>
                    </a:cubicBezTo>
                    <a:cubicBezTo>
                      <a:pt x="548" y="20"/>
                      <a:pt x="543" y="16"/>
                      <a:pt x="542" y="13"/>
                    </a:cubicBezTo>
                    <a:cubicBezTo>
                      <a:pt x="542" y="13"/>
                      <a:pt x="542" y="11"/>
                      <a:pt x="535" y="12"/>
                    </a:cubicBezTo>
                    <a:cubicBezTo>
                      <a:pt x="535" y="12"/>
                      <a:pt x="530" y="4"/>
                      <a:pt x="526" y="9"/>
                    </a:cubicBezTo>
                    <a:cubicBezTo>
                      <a:pt x="526" y="9"/>
                      <a:pt x="524" y="10"/>
                      <a:pt x="523" y="8"/>
                    </a:cubicBezTo>
                    <a:cubicBezTo>
                      <a:pt x="523" y="8"/>
                      <a:pt x="519" y="5"/>
                      <a:pt x="517" y="9"/>
                    </a:cubicBezTo>
                    <a:cubicBezTo>
                      <a:pt x="517" y="9"/>
                      <a:pt x="509" y="1"/>
                      <a:pt x="510" y="12"/>
                    </a:cubicBezTo>
                    <a:cubicBezTo>
                      <a:pt x="510" y="11"/>
                      <a:pt x="508" y="13"/>
                      <a:pt x="508" y="13"/>
                    </a:cubicBezTo>
                    <a:cubicBezTo>
                      <a:pt x="507" y="14"/>
                      <a:pt x="500" y="12"/>
                      <a:pt x="498" y="11"/>
                    </a:cubicBezTo>
                    <a:cubicBezTo>
                      <a:pt x="497" y="11"/>
                      <a:pt x="493" y="4"/>
                      <a:pt x="485" y="8"/>
                    </a:cubicBezTo>
                    <a:cubicBezTo>
                      <a:pt x="485" y="9"/>
                      <a:pt x="482" y="11"/>
                      <a:pt x="479" y="11"/>
                    </a:cubicBezTo>
                    <a:cubicBezTo>
                      <a:pt x="476" y="11"/>
                      <a:pt x="472" y="11"/>
                      <a:pt x="470" y="13"/>
                    </a:cubicBezTo>
                    <a:cubicBezTo>
                      <a:pt x="470" y="14"/>
                      <a:pt x="465" y="15"/>
                      <a:pt x="465" y="10"/>
                    </a:cubicBezTo>
                    <a:cubicBezTo>
                      <a:pt x="465" y="10"/>
                      <a:pt x="465" y="6"/>
                      <a:pt x="462" y="4"/>
                    </a:cubicBezTo>
                    <a:cubicBezTo>
                      <a:pt x="462" y="4"/>
                      <a:pt x="459" y="0"/>
                      <a:pt x="455" y="4"/>
                    </a:cubicBezTo>
                    <a:cubicBezTo>
                      <a:pt x="455" y="4"/>
                      <a:pt x="443" y="3"/>
                      <a:pt x="442" y="8"/>
                    </a:cubicBezTo>
                    <a:cubicBezTo>
                      <a:pt x="442" y="8"/>
                      <a:pt x="429" y="9"/>
                      <a:pt x="427" y="12"/>
                    </a:cubicBezTo>
                    <a:cubicBezTo>
                      <a:pt x="427" y="15"/>
                      <a:pt x="428" y="16"/>
                      <a:pt x="428" y="15"/>
                    </a:cubicBezTo>
                    <a:cubicBezTo>
                      <a:pt x="428" y="16"/>
                      <a:pt x="431" y="20"/>
                      <a:pt x="431" y="20"/>
                    </a:cubicBezTo>
                    <a:cubicBezTo>
                      <a:pt x="432" y="24"/>
                      <a:pt x="432" y="24"/>
                      <a:pt x="432" y="24"/>
                    </a:cubicBezTo>
                    <a:cubicBezTo>
                      <a:pt x="433" y="25"/>
                      <a:pt x="433" y="25"/>
                      <a:pt x="433" y="25"/>
                    </a:cubicBezTo>
                    <a:cubicBezTo>
                      <a:pt x="436" y="25"/>
                      <a:pt x="436" y="31"/>
                      <a:pt x="436" y="31"/>
                    </a:cubicBezTo>
                    <a:cubicBezTo>
                      <a:pt x="438" y="33"/>
                      <a:pt x="438" y="33"/>
                      <a:pt x="438" y="33"/>
                    </a:cubicBezTo>
                    <a:cubicBezTo>
                      <a:pt x="443" y="31"/>
                      <a:pt x="441" y="40"/>
                      <a:pt x="441" y="40"/>
                    </a:cubicBezTo>
                    <a:cubicBezTo>
                      <a:pt x="441" y="41"/>
                      <a:pt x="443" y="42"/>
                      <a:pt x="443" y="42"/>
                    </a:cubicBezTo>
                    <a:cubicBezTo>
                      <a:pt x="447" y="41"/>
                      <a:pt x="447" y="50"/>
                      <a:pt x="447" y="50"/>
                    </a:cubicBezTo>
                    <a:cubicBezTo>
                      <a:pt x="447" y="52"/>
                      <a:pt x="447" y="52"/>
                      <a:pt x="447" y="52"/>
                    </a:cubicBezTo>
                    <a:cubicBezTo>
                      <a:pt x="452" y="50"/>
                      <a:pt x="451" y="57"/>
                      <a:pt x="451" y="57"/>
                    </a:cubicBezTo>
                    <a:cubicBezTo>
                      <a:pt x="453" y="58"/>
                      <a:pt x="453" y="58"/>
                      <a:pt x="453" y="58"/>
                    </a:cubicBezTo>
                    <a:cubicBezTo>
                      <a:pt x="455" y="58"/>
                      <a:pt x="455" y="64"/>
                      <a:pt x="455" y="64"/>
                    </a:cubicBezTo>
                    <a:cubicBezTo>
                      <a:pt x="458" y="66"/>
                      <a:pt x="458" y="66"/>
                      <a:pt x="458" y="66"/>
                    </a:cubicBezTo>
                    <a:cubicBezTo>
                      <a:pt x="465" y="73"/>
                      <a:pt x="452" y="71"/>
                      <a:pt x="451" y="71"/>
                    </a:cubicBezTo>
                    <a:cubicBezTo>
                      <a:pt x="449" y="71"/>
                      <a:pt x="446" y="73"/>
                      <a:pt x="445" y="73"/>
                    </a:cubicBezTo>
                    <a:cubicBezTo>
                      <a:pt x="447" y="87"/>
                      <a:pt x="440" y="86"/>
                      <a:pt x="440" y="85"/>
                    </a:cubicBezTo>
                    <a:cubicBezTo>
                      <a:pt x="436" y="88"/>
                      <a:pt x="436" y="95"/>
                      <a:pt x="436" y="95"/>
                    </a:cubicBezTo>
                    <a:cubicBezTo>
                      <a:pt x="436" y="96"/>
                      <a:pt x="431" y="100"/>
                      <a:pt x="431" y="100"/>
                    </a:cubicBezTo>
                    <a:cubicBezTo>
                      <a:pt x="430" y="100"/>
                      <a:pt x="428" y="106"/>
                      <a:pt x="428" y="106"/>
                    </a:cubicBezTo>
                    <a:cubicBezTo>
                      <a:pt x="424" y="110"/>
                      <a:pt x="429" y="114"/>
                      <a:pt x="429" y="114"/>
                    </a:cubicBezTo>
                    <a:cubicBezTo>
                      <a:pt x="432" y="115"/>
                      <a:pt x="429" y="119"/>
                      <a:pt x="428" y="119"/>
                    </a:cubicBezTo>
                    <a:cubicBezTo>
                      <a:pt x="427" y="119"/>
                      <a:pt x="424" y="123"/>
                      <a:pt x="424" y="123"/>
                    </a:cubicBezTo>
                    <a:cubicBezTo>
                      <a:pt x="420" y="123"/>
                      <a:pt x="421" y="134"/>
                      <a:pt x="421" y="133"/>
                    </a:cubicBezTo>
                    <a:cubicBezTo>
                      <a:pt x="421" y="137"/>
                      <a:pt x="417" y="138"/>
                      <a:pt x="417" y="138"/>
                    </a:cubicBezTo>
                    <a:cubicBezTo>
                      <a:pt x="415" y="138"/>
                      <a:pt x="413" y="143"/>
                      <a:pt x="413" y="143"/>
                    </a:cubicBezTo>
                    <a:cubicBezTo>
                      <a:pt x="411" y="146"/>
                      <a:pt x="409" y="143"/>
                      <a:pt x="409" y="143"/>
                    </a:cubicBezTo>
                    <a:cubicBezTo>
                      <a:pt x="409" y="142"/>
                      <a:pt x="405" y="140"/>
                      <a:pt x="405" y="140"/>
                    </a:cubicBezTo>
                    <a:cubicBezTo>
                      <a:pt x="405" y="138"/>
                      <a:pt x="400" y="135"/>
                      <a:pt x="400" y="135"/>
                    </a:cubicBezTo>
                    <a:cubicBezTo>
                      <a:pt x="398" y="134"/>
                      <a:pt x="394" y="133"/>
                      <a:pt x="394" y="133"/>
                    </a:cubicBezTo>
                    <a:cubicBezTo>
                      <a:pt x="392" y="130"/>
                      <a:pt x="385" y="130"/>
                      <a:pt x="385" y="130"/>
                    </a:cubicBezTo>
                    <a:cubicBezTo>
                      <a:pt x="378" y="126"/>
                      <a:pt x="368" y="128"/>
                      <a:pt x="367" y="128"/>
                    </a:cubicBezTo>
                    <a:cubicBezTo>
                      <a:pt x="364" y="125"/>
                      <a:pt x="357" y="124"/>
                      <a:pt x="357" y="124"/>
                    </a:cubicBezTo>
                    <a:cubicBezTo>
                      <a:pt x="355" y="122"/>
                      <a:pt x="349" y="124"/>
                      <a:pt x="350" y="124"/>
                    </a:cubicBezTo>
                    <a:cubicBezTo>
                      <a:pt x="344" y="127"/>
                      <a:pt x="343" y="123"/>
                      <a:pt x="343" y="123"/>
                    </a:cubicBezTo>
                    <a:cubicBezTo>
                      <a:pt x="342" y="121"/>
                      <a:pt x="337" y="121"/>
                      <a:pt x="337" y="121"/>
                    </a:cubicBezTo>
                    <a:cubicBezTo>
                      <a:pt x="336" y="120"/>
                      <a:pt x="331" y="119"/>
                      <a:pt x="331" y="119"/>
                    </a:cubicBezTo>
                    <a:cubicBezTo>
                      <a:pt x="330" y="120"/>
                      <a:pt x="325" y="120"/>
                      <a:pt x="325" y="120"/>
                    </a:cubicBezTo>
                    <a:cubicBezTo>
                      <a:pt x="324" y="118"/>
                      <a:pt x="320" y="119"/>
                      <a:pt x="321" y="119"/>
                    </a:cubicBezTo>
                    <a:cubicBezTo>
                      <a:pt x="318" y="123"/>
                      <a:pt x="316" y="122"/>
                      <a:pt x="316" y="122"/>
                    </a:cubicBezTo>
                    <a:cubicBezTo>
                      <a:pt x="316" y="122"/>
                      <a:pt x="313" y="120"/>
                      <a:pt x="313" y="121"/>
                    </a:cubicBezTo>
                    <a:cubicBezTo>
                      <a:pt x="313" y="115"/>
                      <a:pt x="311" y="114"/>
                      <a:pt x="309" y="113"/>
                    </a:cubicBezTo>
                    <a:cubicBezTo>
                      <a:pt x="309" y="114"/>
                      <a:pt x="309" y="114"/>
                      <a:pt x="309" y="114"/>
                    </a:cubicBezTo>
                    <a:cubicBezTo>
                      <a:pt x="305" y="115"/>
                      <a:pt x="304" y="117"/>
                      <a:pt x="304" y="117"/>
                    </a:cubicBezTo>
                    <a:cubicBezTo>
                      <a:pt x="304" y="118"/>
                      <a:pt x="299" y="119"/>
                      <a:pt x="299" y="119"/>
                    </a:cubicBezTo>
                    <a:cubicBezTo>
                      <a:pt x="299" y="122"/>
                      <a:pt x="294" y="126"/>
                      <a:pt x="294" y="126"/>
                    </a:cubicBezTo>
                    <a:cubicBezTo>
                      <a:pt x="293" y="126"/>
                      <a:pt x="290" y="132"/>
                      <a:pt x="290" y="131"/>
                    </a:cubicBezTo>
                    <a:cubicBezTo>
                      <a:pt x="289" y="133"/>
                      <a:pt x="284" y="137"/>
                      <a:pt x="284" y="136"/>
                    </a:cubicBezTo>
                    <a:cubicBezTo>
                      <a:pt x="282" y="141"/>
                      <a:pt x="278" y="141"/>
                      <a:pt x="278" y="141"/>
                    </a:cubicBezTo>
                    <a:cubicBezTo>
                      <a:pt x="275" y="138"/>
                      <a:pt x="263" y="138"/>
                      <a:pt x="262" y="138"/>
                    </a:cubicBezTo>
                    <a:cubicBezTo>
                      <a:pt x="256" y="139"/>
                      <a:pt x="263" y="141"/>
                      <a:pt x="263" y="141"/>
                    </a:cubicBezTo>
                    <a:cubicBezTo>
                      <a:pt x="264" y="142"/>
                      <a:pt x="261" y="145"/>
                      <a:pt x="261" y="145"/>
                    </a:cubicBezTo>
                    <a:cubicBezTo>
                      <a:pt x="258" y="144"/>
                      <a:pt x="256" y="147"/>
                      <a:pt x="255" y="147"/>
                    </a:cubicBezTo>
                    <a:cubicBezTo>
                      <a:pt x="256" y="156"/>
                      <a:pt x="247" y="155"/>
                      <a:pt x="247" y="155"/>
                    </a:cubicBezTo>
                    <a:cubicBezTo>
                      <a:pt x="247" y="156"/>
                      <a:pt x="242" y="159"/>
                      <a:pt x="242" y="158"/>
                    </a:cubicBezTo>
                    <a:cubicBezTo>
                      <a:pt x="240" y="162"/>
                      <a:pt x="237" y="158"/>
                      <a:pt x="237" y="159"/>
                    </a:cubicBezTo>
                    <a:cubicBezTo>
                      <a:pt x="233" y="160"/>
                      <a:pt x="232" y="153"/>
                      <a:pt x="232" y="153"/>
                    </a:cubicBezTo>
                    <a:cubicBezTo>
                      <a:pt x="232" y="152"/>
                      <a:pt x="228" y="145"/>
                      <a:pt x="228" y="145"/>
                    </a:cubicBezTo>
                    <a:cubicBezTo>
                      <a:pt x="227" y="144"/>
                      <a:pt x="219" y="142"/>
                      <a:pt x="219" y="142"/>
                    </a:cubicBezTo>
                    <a:cubicBezTo>
                      <a:pt x="212" y="142"/>
                      <a:pt x="211" y="146"/>
                      <a:pt x="211" y="146"/>
                    </a:cubicBezTo>
                    <a:cubicBezTo>
                      <a:pt x="209" y="148"/>
                      <a:pt x="209" y="148"/>
                      <a:pt x="209" y="148"/>
                    </a:cubicBezTo>
                    <a:cubicBezTo>
                      <a:pt x="207" y="148"/>
                      <a:pt x="204" y="150"/>
                      <a:pt x="204" y="150"/>
                    </a:cubicBezTo>
                    <a:cubicBezTo>
                      <a:pt x="199" y="153"/>
                      <a:pt x="204" y="160"/>
                      <a:pt x="204" y="160"/>
                    </a:cubicBezTo>
                    <a:cubicBezTo>
                      <a:pt x="208" y="160"/>
                      <a:pt x="204" y="162"/>
                      <a:pt x="204" y="162"/>
                    </a:cubicBezTo>
                    <a:cubicBezTo>
                      <a:pt x="198" y="162"/>
                      <a:pt x="199" y="167"/>
                      <a:pt x="199" y="167"/>
                    </a:cubicBezTo>
                    <a:cubicBezTo>
                      <a:pt x="198" y="173"/>
                      <a:pt x="194" y="175"/>
                      <a:pt x="194" y="174"/>
                    </a:cubicBezTo>
                    <a:cubicBezTo>
                      <a:pt x="193" y="177"/>
                      <a:pt x="190" y="184"/>
                      <a:pt x="190" y="184"/>
                    </a:cubicBezTo>
                    <a:cubicBezTo>
                      <a:pt x="188" y="187"/>
                      <a:pt x="185" y="188"/>
                      <a:pt x="185" y="188"/>
                    </a:cubicBezTo>
                    <a:cubicBezTo>
                      <a:pt x="181" y="190"/>
                      <a:pt x="177" y="191"/>
                      <a:pt x="177" y="190"/>
                    </a:cubicBezTo>
                    <a:cubicBezTo>
                      <a:pt x="175" y="191"/>
                      <a:pt x="164" y="192"/>
                      <a:pt x="164" y="192"/>
                    </a:cubicBezTo>
                    <a:cubicBezTo>
                      <a:pt x="164" y="193"/>
                      <a:pt x="157" y="195"/>
                      <a:pt x="157" y="195"/>
                    </a:cubicBezTo>
                    <a:cubicBezTo>
                      <a:pt x="156" y="195"/>
                      <a:pt x="150" y="198"/>
                      <a:pt x="150" y="198"/>
                    </a:cubicBezTo>
                    <a:cubicBezTo>
                      <a:pt x="149" y="199"/>
                      <a:pt x="143" y="199"/>
                      <a:pt x="143" y="199"/>
                    </a:cubicBezTo>
                    <a:cubicBezTo>
                      <a:pt x="142" y="197"/>
                      <a:pt x="140" y="197"/>
                      <a:pt x="140" y="197"/>
                    </a:cubicBezTo>
                    <a:cubicBezTo>
                      <a:pt x="135" y="199"/>
                      <a:pt x="138" y="194"/>
                      <a:pt x="138" y="194"/>
                    </a:cubicBezTo>
                    <a:cubicBezTo>
                      <a:pt x="137" y="191"/>
                      <a:pt x="137" y="191"/>
                      <a:pt x="137" y="191"/>
                    </a:cubicBezTo>
                    <a:cubicBezTo>
                      <a:pt x="136" y="188"/>
                      <a:pt x="133" y="188"/>
                      <a:pt x="133" y="188"/>
                    </a:cubicBezTo>
                    <a:cubicBezTo>
                      <a:pt x="133" y="188"/>
                      <a:pt x="131" y="189"/>
                      <a:pt x="131" y="189"/>
                    </a:cubicBezTo>
                    <a:cubicBezTo>
                      <a:pt x="129" y="188"/>
                      <a:pt x="125" y="188"/>
                      <a:pt x="125" y="188"/>
                    </a:cubicBezTo>
                    <a:cubicBezTo>
                      <a:pt x="125" y="184"/>
                      <a:pt x="121" y="186"/>
                      <a:pt x="121" y="186"/>
                    </a:cubicBezTo>
                    <a:cubicBezTo>
                      <a:pt x="120" y="187"/>
                      <a:pt x="117" y="188"/>
                      <a:pt x="116" y="188"/>
                    </a:cubicBezTo>
                    <a:cubicBezTo>
                      <a:pt x="116" y="189"/>
                      <a:pt x="116" y="189"/>
                      <a:pt x="116" y="190"/>
                    </a:cubicBezTo>
                    <a:cubicBezTo>
                      <a:pt x="116" y="191"/>
                      <a:pt x="114" y="193"/>
                      <a:pt x="110" y="192"/>
                    </a:cubicBezTo>
                    <a:cubicBezTo>
                      <a:pt x="110" y="192"/>
                      <a:pt x="106" y="195"/>
                      <a:pt x="106" y="196"/>
                    </a:cubicBezTo>
                    <a:cubicBezTo>
                      <a:pt x="104" y="198"/>
                      <a:pt x="104" y="198"/>
                      <a:pt x="104" y="198"/>
                    </a:cubicBezTo>
                    <a:cubicBezTo>
                      <a:pt x="104" y="198"/>
                      <a:pt x="102" y="203"/>
                      <a:pt x="99" y="199"/>
                    </a:cubicBezTo>
                    <a:cubicBezTo>
                      <a:pt x="99" y="199"/>
                      <a:pt x="92" y="199"/>
                      <a:pt x="93" y="203"/>
                    </a:cubicBezTo>
                    <a:cubicBezTo>
                      <a:pt x="92" y="214"/>
                      <a:pt x="92" y="214"/>
                      <a:pt x="92" y="214"/>
                    </a:cubicBezTo>
                    <a:cubicBezTo>
                      <a:pt x="93" y="214"/>
                      <a:pt x="95" y="217"/>
                      <a:pt x="95" y="217"/>
                    </a:cubicBezTo>
                    <a:cubicBezTo>
                      <a:pt x="95" y="217"/>
                      <a:pt x="100" y="219"/>
                      <a:pt x="95" y="222"/>
                    </a:cubicBezTo>
                    <a:cubicBezTo>
                      <a:pt x="95" y="222"/>
                      <a:pt x="86" y="223"/>
                      <a:pt x="87" y="227"/>
                    </a:cubicBezTo>
                    <a:cubicBezTo>
                      <a:pt x="87" y="227"/>
                      <a:pt x="85" y="235"/>
                      <a:pt x="83" y="236"/>
                    </a:cubicBezTo>
                    <a:cubicBezTo>
                      <a:pt x="83" y="236"/>
                      <a:pt x="84" y="242"/>
                      <a:pt x="80" y="245"/>
                    </a:cubicBezTo>
                    <a:cubicBezTo>
                      <a:pt x="80" y="245"/>
                      <a:pt x="75" y="248"/>
                      <a:pt x="73" y="248"/>
                    </a:cubicBezTo>
                    <a:cubicBezTo>
                      <a:pt x="73" y="248"/>
                      <a:pt x="68" y="251"/>
                      <a:pt x="66" y="246"/>
                    </a:cubicBezTo>
                    <a:cubicBezTo>
                      <a:pt x="66" y="246"/>
                      <a:pt x="64" y="238"/>
                      <a:pt x="60" y="238"/>
                    </a:cubicBezTo>
                    <a:cubicBezTo>
                      <a:pt x="60" y="238"/>
                      <a:pt x="57" y="240"/>
                      <a:pt x="54" y="241"/>
                    </a:cubicBezTo>
                    <a:cubicBezTo>
                      <a:pt x="52" y="243"/>
                      <a:pt x="52" y="243"/>
                      <a:pt x="52" y="243"/>
                    </a:cubicBezTo>
                    <a:cubicBezTo>
                      <a:pt x="52" y="243"/>
                      <a:pt x="52" y="248"/>
                      <a:pt x="49" y="248"/>
                    </a:cubicBezTo>
                    <a:cubicBezTo>
                      <a:pt x="49" y="248"/>
                      <a:pt x="48" y="251"/>
                      <a:pt x="52" y="250"/>
                    </a:cubicBezTo>
                    <a:cubicBezTo>
                      <a:pt x="52" y="250"/>
                      <a:pt x="52" y="259"/>
                      <a:pt x="48" y="259"/>
                    </a:cubicBezTo>
                    <a:cubicBezTo>
                      <a:pt x="48" y="260"/>
                      <a:pt x="42" y="263"/>
                      <a:pt x="43" y="264"/>
                    </a:cubicBezTo>
                    <a:cubicBezTo>
                      <a:pt x="43" y="264"/>
                      <a:pt x="40" y="267"/>
                      <a:pt x="36" y="267"/>
                    </a:cubicBezTo>
                    <a:cubicBezTo>
                      <a:pt x="36" y="267"/>
                      <a:pt x="33" y="269"/>
                      <a:pt x="32" y="269"/>
                    </a:cubicBezTo>
                    <a:cubicBezTo>
                      <a:pt x="32" y="268"/>
                      <a:pt x="29" y="271"/>
                      <a:pt x="29" y="268"/>
                    </a:cubicBezTo>
                    <a:cubicBezTo>
                      <a:pt x="29" y="269"/>
                      <a:pt x="21" y="268"/>
                      <a:pt x="21" y="271"/>
                    </a:cubicBezTo>
                    <a:cubicBezTo>
                      <a:pt x="21" y="271"/>
                      <a:pt x="22" y="276"/>
                      <a:pt x="14" y="275"/>
                    </a:cubicBezTo>
                    <a:cubicBezTo>
                      <a:pt x="14" y="275"/>
                      <a:pt x="10" y="278"/>
                      <a:pt x="12" y="291"/>
                    </a:cubicBezTo>
                    <a:cubicBezTo>
                      <a:pt x="12" y="291"/>
                      <a:pt x="16" y="295"/>
                      <a:pt x="16" y="299"/>
                    </a:cubicBezTo>
                    <a:cubicBezTo>
                      <a:pt x="16" y="299"/>
                      <a:pt x="11" y="301"/>
                      <a:pt x="11" y="302"/>
                    </a:cubicBezTo>
                    <a:cubicBezTo>
                      <a:pt x="11" y="302"/>
                      <a:pt x="6" y="303"/>
                      <a:pt x="6" y="304"/>
                    </a:cubicBezTo>
                    <a:cubicBezTo>
                      <a:pt x="6" y="304"/>
                      <a:pt x="3" y="302"/>
                      <a:pt x="2" y="312"/>
                    </a:cubicBezTo>
                    <a:cubicBezTo>
                      <a:pt x="2" y="313"/>
                      <a:pt x="0" y="325"/>
                      <a:pt x="4" y="325"/>
                    </a:cubicBezTo>
                    <a:cubicBezTo>
                      <a:pt x="4" y="325"/>
                      <a:pt x="8" y="326"/>
                      <a:pt x="8" y="328"/>
                    </a:cubicBezTo>
                    <a:cubicBezTo>
                      <a:pt x="9" y="328"/>
                      <a:pt x="13" y="330"/>
                      <a:pt x="13" y="333"/>
                    </a:cubicBezTo>
                    <a:cubicBezTo>
                      <a:pt x="13" y="333"/>
                      <a:pt x="18" y="337"/>
                      <a:pt x="14" y="340"/>
                    </a:cubicBezTo>
                    <a:cubicBezTo>
                      <a:pt x="14" y="341"/>
                      <a:pt x="11" y="345"/>
                      <a:pt x="11" y="346"/>
                    </a:cubicBezTo>
                    <a:cubicBezTo>
                      <a:pt x="12" y="346"/>
                      <a:pt x="13" y="350"/>
                      <a:pt x="14" y="351"/>
                    </a:cubicBezTo>
                    <a:cubicBezTo>
                      <a:pt x="14" y="352"/>
                      <a:pt x="17" y="352"/>
                      <a:pt x="16" y="356"/>
                    </a:cubicBezTo>
                    <a:cubicBezTo>
                      <a:pt x="16" y="356"/>
                      <a:pt x="16" y="359"/>
                      <a:pt x="15" y="360"/>
                    </a:cubicBezTo>
                    <a:cubicBezTo>
                      <a:pt x="15" y="360"/>
                      <a:pt x="15" y="360"/>
                      <a:pt x="15" y="360"/>
                    </a:cubicBezTo>
                    <a:cubicBezTo>
                      <a:pt x="21" y="360"/>
                      <a:pt x="26" y="361"/>
                      <a:pt x="26" y="361"/>
                    </a:cubicBezTo>
                    <a:cubicBezTo>
                      <a:pt x="22" y="368"/>
                      <a:pt x="37" y="364"/>
                      <a:pt x="37" y="364"/>
                    </a:cubicBezTo>
                    <a:cubicBezTo>
                      <a:pt x="37" y="360"/>
                      <a:pt x="43" y="365"/>
                      <a:pt x="43" y="364"/>
                    </a:cubicBezTo>
                    <a:cubicBezTo>
                      <a:pt x="41" y="367"/>
                      <a:pt x="47" y="366"/>
                      <a:pt x="47" y="366"/>
                    </a:cubicBezTo>
                    <a:cubicBezTo>
                      <a:pt x="48" y="364"/>
                      <a:pt x="52" y="364"/>
                      <a:pt x="51" y="364"/>
                    </a:cubicBezTo>
                    <a:cubicBezTo>
                      <a:pt x="50" y="365"/>
                      <a:pt x="59" y="367"/>
                      <a:pt x="59" y="367"/>
                    </a:cubicBezTo>
                    <a:cubicBezTo>
                      <a:pt x="58" y="368"/>
                      <a:pt x="64" y="369"/>
                      <a:pt x="64" y="368"/>
                    </a:cubicBezTo>
                    <a:cubicBezTo>
                      <a:pt x="65" y="372"/>
                      <a:pt x="72" y="371"/>
                      <a:pt x="72" y="371"/>
                    </a:cubicBezTo>
                    <a:cubicBezTo>
                      <a:pt x="75" y="375"/>
                      <a:pt x="80" y="371"/>
                      <a:pt x="80" y="371"/>
                    </a:cubicBezTo>
                    <a:cubicBezTo>
                      <a:pt x="80" y="371"/>
                      <a:pt x="87" y="371"/>
                      <a:pt x="87" y="370"/>
                    </a:cubicBezTo>
                    <a:cubicBezTo>
                      <a:pt x="90" y="364"/>
                      <a:pt x="92" y="373"/>
                      <a:pt x="92" y="372"/>
                    </a:cubicBezTo>
                    <a:cubicBezTo>
                      <a:pt x="94" y="375"/>
                      <a:pt x="95" y="373"/>
                      <a:pt x="95" y="373"/>
                    </a:cubicBezTo>
                    <a:cubicBezTo>
                      <a:pt x="95" y="373"/>
                      <a:pt x="99" y="373"/>
                      <a:pt x="99" y="372"/>
                    </a:cubicBezTo>
                    <a:cubicBezTo>
                      <a:pt x="99" y="368"/>
                      <a:pt x="103" y="368"/>
                      <a:pt x="103" y="368"/>
                    </a:cubicBezTo>
                    <a:cubicBezTo>
                      <a:pt x="105" y="368"/>
                      <a:pt x="110" y="366"/>
                      <a:pt x="110" y="366"/>
                    </a:cubicBezTo>
                    <a:cubicBezTo>
                      <a:pt x="111" y="366"/>
                      <a:pt x="117" y="364"/>
                      <a:pt x="116" y="364"/>
                    </a:cubicBezTo>
                    <a:cubicBezTo>
                      <a:pt x="117" y="364"/>
                      <a:pt x="121" y="361"/>
                      <a:pt x="121" y="361"/>
                    </a:cubicBezTo>
                    <a:cubicBezTo>
                      <a:pt x="123" y="360"/>
                      <a:pt x="129" y="359"/>
                      <a:pt x="128" y="359"/>
                    </a:cubicBezTo>
                    <a:cubicBezTo>
                      <a:pt x="131" y="360"/>
                      <a:pt x="135" y="355"/>
                      <a:pt x="136" y="354"/>
                    </a:cubicBezTo>
                    <a:cubicBezTo>
                      <a:pt x="137" y="348"/>
                      <a:pt x="133" y="345"/>
                      <a:pt x="133" y="345"/>
                    </a:cubicBezTo>
                    <a:cubicBezTo>
                      <a:pt x="129" y="342"/>
                      <a:pt x="133" y="336"/>
                      <a:pt x="133" y="336"/>
                    </a:cubicBezTo>
                    <a:cubicBezTo>
                      <a:pt x="133" y="333"/>
                      <a:pt x="138" y="333"/>
                      <a:pt x="138" y="333"/>
                    </a:cubicBezTo>
                    <a:cubicBezTo>
                      <a:pt x="138" y="327"/>
                      <a:pt x="143" y="332"/>
                      <a:pt x="143" y="332"/>
                    </a:cubicBezTo>
                    <a:cubicBezTo>
                      <a:pt x="150" y="334"/>
                      <a:pt x="152" y="328"/>
                      <a:pt x="152" y="328"/>
                    </a:cubicBezTo>
                    <a:cubicBezTo>
                      <a:pt x="156" y="315"/>
                      <a:pt x="157" y="330"/>
                      <a:pt x="157" y="330"/>
                    </a:cubicBezTo>
                    <a:cubicBezTo>
                      <a:pt x="160" y="331"/>
                      <a:pt x="160" y="337"/>
                      <a:pt x="160" y="337"/>
                    </a:cubicBezTo>
                    <a:cubicBezTo>
                      <a:pt x="156" y="339"/>
                      <a:pt x="159" y="344"/>
                      <a:pt x="158" y="344"/>
                    </a:cubicBezTo>
                    <a:cubicBezTo>
                      <a:pt x="160" y="346"/>
                      <a:pt x="168" y="342"/>
                      <a:pt x="168" y="342"/>
                    </a:cubicBezTo>
                    <a:cubicBezTo>
                      <a:pt x="168" y="339"/>
                      <a:pt x="178" y="340"/>
                      <a:pt x="178" y="340"/>
                    </a:cubicBezTo>
                    <a:cubicBezTo>
                      <a:pt x="182" y="338"/>
                      <a:pt x="186" y="344"/>
                      <a:pt x="186" y="344"/>
                    </a:cubicBezTo>
                    <a:cubicBezTo>
                      <a:pt x="188" y="343"/>
                      <a:pt x="193" y="349"/>
                      <a:pt x="193" y="349"/>
                    </a:cubicBezTo>
                    <a:cubicBezTo>
                      <a:pt x="199" y="342"/>
                      <a:pt x="198" y="354"/>
                      <a:pt x="198" y="354"/>
                    </a:cubicBezTo>
                    <a:cubicBezTo>
                      <a:pt x="198" y="353"/>
                      <a:pt x="200" y="356"/>
                      <a:pt x="200" y="356"/>
                    </a:cubicBezTo>
                    <a:cubicBezTo>
                      <a:pt x="200" y="358"/>
                      <a:pt x="199" y="360"/>
                      <a:pt x="199" y="360"/>
                    </a:cubicBezTo>
                    <a:cubicBezTo>
                      <a:pt x="200" y="363"/>
                      <a:pt x="195" y="364"/>
                      <a:pt x="195" y="364"/>
                    </a:cubicBezTo>
                    <a:cubicBezTo>
                      <a:pt x="195" y="364"/>
                      <a:pt x="194" y="370"/>
                      <a:pt x="194" y="369"/>
                    </a:cubicBezTo>
                    <a:cubicBezTo>
                      <a:pt x="193" y="370"/>
                      <a:pt x="190" y="383"/>
                      <a:pt x="190" y="383"/>
                    </a:cubicBezTo>
                    <a:cubicBezTo>
                      <a:pt x="189" y="383"/>
                      <a:pt x="188" y="398"/>
                      <a:pt x="189" y="398"/>
                    </a:cubicBezTo>
                    <a:cubicBezTo>
                      <a:pt x="185" y="399"/>
                      <a:pt x="188" y="402"/>
                      <a:pt x="188" y="402"/>
                    </a:cubicBezTo>
                    <a:cubicBezTo>
                      <a:pt x="188" y="402"/>
                      <a:pt x="189" y="415"/>
                      <a:pt x="189" y="414"/>
                    </a:cubicBezTo>
                    <a:cubicBezTo>
                      <a:pt x="189" y="417"/>
                      <a:pt x="194" y="420"/>
                      <a:pt x="194" y="420"/>
                    </a:cubicBezTo>
                    <a:cubicBezTo>
                      <a:pt x="198" y="420"/>
                      <a:pt x="198" y="427"/>
                      <a:pt x="197" y="426"/>
                    </a:cubicBezTo>
                    <a:cubicBezTo>
                      <a:pt x="197" y="428"/>
                      <a:pt x="200" y="431"/>
                      <a:pt x="200" y="431"/>
                    </a:cubicBezTo>
                    <a:cubicBezTo>
                      <a:pt x="203" y="431"/>
                      <a:pt x="204" y="437"/>
                      <a:pt x="204" y="437"/>
                    </a:cubicBezTo>
                    <a:cubicBezTo>
                      <a:pt x="206" y="441"/>
                      <a:pt x="211" y="438"/>
                      <a:pt x="211" y="438"/>
                    </a:cubicBezTo>
                    <a:cubicBezTo>
                      <a:pt x="218" y="434"/>
                      <a:pt x="221" y="441"/>
                      <a:pt x="221" y="441"/>
                    </a:cubicBezTo>
                    <a:cubicBezTo>
                      <a:pt x="223" y="445"/>
                      <a:pt x="223" y="445"/>
                      <a:pt x="223" y="445"/>
                    </a:cubicBezTo>
                    <a:cubicBezTo>
                      <a:pt x="226" y="446"/>
                      <a:pt x="225" y="453"/>
                      <a:pt x="225" y="452"/>
                    </a:cubicBezTo>
                    <a:cubicBezTo>
                      <a:pt x="226" y="456"/>
                      <a:pt x="223" y="463"/>
                      <a:pt x="223" y="462"/>
                    </a:cubicBezTo>
                    <a:cubicBezTo>
                      <a:pt x="217" y="467"/>
                      <a:pt x="224" y="475"/>
                      <a:pt x="224" y="474"/>
                    </a:cubicBezTo>
                    <a:cubicBezTo>
                      <a:pt x="225" y="474"/>
                      <a:pt x="228" y="483"/>
                      <a:pt x="228" y="483"/>
                    </a:cubicBezTo>
                    <a:cubicBezTo>
                      <a:pt x="234" y="487"/>
                      <a:pt x="228" y="490"/>
                      <a:pt x="228" y="490"/>
                    </a:cubicBezTo>
                    <a:cubicBezTo>
                      <a:pt x="223" y="490"/>
                      <a:pt x="225" y="497"/>
                      <a:pt x="225" y="497"/>
                    </a:cubicBezTo>
                    <a:cubicBezTo>
                      <a:pt x="229" y="497"/>
                      <a:pt x="225" y="500"/>
                      <a:pt x="225" y="500"/>
                    </a:cubicBezTo>
                    <a:cubicBezTo>
                      <a:pt x="225" y="500"/>
                      <a:pt x="223" y="503"/>
                      <a:pt x="223" y="502"/>
                    </a:cubicBezTo>
                    <a:cubicBezTo>
                      <a:pt x="218" y="505"/>
                      <a:pt x="223" y="509"/>
                      <a:pt x="223" y="509"/>
                    </a:cubicBezTo>
                    <a:cubicBezTo>
                      <a:pt x="226" y="511"/>
                      <a:pt x="226" y="515"/>
                      <a:pt x="225" y="515"/>
                    </a:cubicBezTo>
                    <a:cubicBezTo>
                      <a:pt x="230" y="513"/>
                      <a:pt x="225" y="517"/>
                      <a:pt x="225" y="517"/>
                    </a:cubicBezTo>
                    <a:cubicBezTo>
                      <a:pt x="226" y="528"/>
                      <a:pt x="222" y="529"/>
                      <a:pt x="222" y="529"/>
                    </a:cubicBezTo>
                    <a:cubicBezTo>
                      <a:pt x="225" y="537"/>
                      <a:pt x="218" y="535"/>
                      <a:pt x="218" y="535"/>
                    </a:cubicBezTo>
                    <a:cubicBezTo>
                      <a:pt x="216" y="534"/>
                      <a:pt x="214" y="538"/>
                      <a:pt x="214" y="538"/>
                    </a:cubicBezTo>
                    <a:cubicBezTo>
                      <a:pt x="213" y="538"/>
                      <a:pt x="213" y="544"/>
                      <a:pt x="214" y="545"/>
                    </a:cubicBezTo>
                    <a:cubicBezTo>
                      <a:pt x="210" y="544"/>
                      <a:pt x="212" y="547"/>
                      <a:pt x="212" y="547"/>
                    </a:cubicBezTo>
                    <a:cubicBezTo>
                      <a:pt x="214" y="547"/>
                      <a:pt x="214" y="550"/>
                      <a:pt x="214" y="550"/>
                    </a:cubicBezTo>
                    <a:cubicBezTo>
                      <a:pt x="210" y="550"/>
                      <a:pt x="211" y="555"/>
                      <a:pt x="211" y="555"/>
                    </a:cubicBezTo>
                    <a:cubicBezTo>
                      <a:pt x="211" y="555"/>
                      <a:pt x="214" y="558"/>
                      <a:pt x="214" y="557"/>
                    </a:cubicBezTo>
                    <a:cubicBezTo>
                      <a:pt x="216" y="559"/>
                      <a:pt x="216" y="563"/>
                      <a:pt x="216" y="564"/>
                    </a:cubicBezTo>
                    <a:cubicBezTo>
                      <a:pt x="214" y="563"/>
                      <a:pt x="213" y="564"/>
                      <a:pt x="213" y="564"/>
                    </a:cubicBezTo>
                    <a:cubicBezTo>
                      <a:pt x="214" y="565"/>
                      <a:pt x="211" y="569"/>
                      <a:pt x="211" y="569"/>
                    </a:cubicBezTo>
                    <a:cubicBezTo>
                      <a:pt x="208" y="572"/>
                      <a:pt x="208" y="572"/>
                      <a:pt x="208" y="572"/>
                    </a:cubicBezTo>
                    <a:cubicBezTo>
                      <a:pt x="209" y="573"/>
                      <a:pt x="206" y="576"/>
                      <a:pt x="206" y="576"/>
                    </a:cubicBezTo>
                    <a:cubicBezTo>
                      <a:pt x="206" y="578"/>
                      <a:pt x="206" y="578"/>
                      <a:pt x="206" y="578"/>
                    </a:cubicBezTo>
                    <a:cubicBezTo>
                      <a:pt x="202" y="578"/>
                      <a:pt x="206" y="581"/>
                      <a:pt x="206" y="581"/>
                    </a:cubicBezTo>
                    <a:cubicBezTo>
                      <a:pt x="203" y="583"/>
                      <a:pt x="208" y="592"/>
                      <a:pt x="208" y="591"/>
                    </a:cubicBezTo>
                    <a:cubicBezTo>
                      <a:pt x="210" y="590"/>
                      <a:pt x="212" y="595"/>
                      <a:pt x="211" y="596"/>
                    </a:cubicBezTo>
                    <a:cubicBezTo>
                      <a:pt x="212" y="597"/>
                      <a:pt x="214" y="601"/>
                      <a:pt x="214" y="601"/>
                    </a:cubicBezTo>
                    <a:cubicBezTo>
                      <a:pt x="217" y="602"/>
                      <a:pt x="215" y="620"/>
                      <a:pt x="215" y="620"/>
                    </a:cubicBezTo>
                    <a:cubicBezTo>
                      <a:pt x="210" y="620"/>
                      <a:pt x="216" y="626"/>
                      <a:pt x="216" y="626"/>
                    </a:cubicBezTo>
                    <a:cubicBezTo>
                      <a:pt x="216" y="629"/>
                      <a:pt x="219" y="634"/>
                      <a:pt x="219" y="634"/>
                    </a:cubicBezTo>
                    <a:cubicBezTo>
                      <a:pt x="222" y="635"/>
                      <a:pt x="221" y="639"/>
                      <a:pt x="221" y="639"/>
                    </a:cubicBezTo>
                    <a:cubicBezTo>
                      <a:pt x="227" y="637"/>
                      <a:pt x="229" y="642"/>
                      <a:pt x="229" y="642"/>
                    </a:cubicBezTo>
                    <a:cubicBezTo>
                      <a:pt x="233" y="640"/>
                      <a:pt x="233" y="644"/>
                      <a:pt x="233" y="644"/>
                    </a:cubicBezTo>
                    <a:cubicBezTo>
                      <a:pt x="236" y="641"/>
                      <a:pt x="236" y="650"/>
                      <a:pt x="236" y="650"/>
                    </a:cubicBezTo>
                    <a:cubicBezTo>
                      <a:pt x="236" y="650"/>
                      <a:pt x="238" y="651"/>
                      <a:pt x="238" y="650"/>
                    </a:cubicBezTo>
                    <a:cubicBezTo>
                      <a:pt x="240" y="650"/>
                      <a:pt x="242" y="656"/>
                      <a:pt x="241" y="656"/>
                    </a:cubicBezTo>
                    <a:cubicBezTo>
                      <a:pt x="241" y="656"/>
                      <a:pt x="243" y="658"/>
                      <a:pt x="243" y="658"/>
                    </a:cubicBezTo>
                    <a:cubicBezTo>
                      <a:pt x="246" y="655"/>
                      <a:pt x="247" y="662"/>
                      <a:pt x="247" y="662"/>
                    </a:cubicBezTo>
                    <a:cubicBezTo>
                      <a:pt x="250" y="662"/>
                      <a:pt x="251" y="666"/>
                      <a:pt x="251" y="666"/>
                    </a:cubicBezTo>
                    <a:cubicBezTo>
                      <a:pt x="254" y="667"/>
                      <a:pt x="254" y="667"/>
                      <a:pt x="254" y="667"/>
                    </a:cubicBezTo>
                    <a:cubicBezTo>
                      <a:pt x="252" y="670"/>
                      <a:pt x="256" y="671"/>
                      <a:pt x="259" y="671"/>
                    </a:cubicBezTo>
                    <a:cubicBezTo>
                      <a:pt x="259" y="671"/>
                      <a:pt x="259" y="671"/>
                      <a:pt x="259" y="671"/>
                    </a:cubicBezTo>
                    <a:cubicBezTo>
                      <a:pt x="259" y="670"/>
                      <a:pt x="263" y="669"/>
                      <a:pt x="270" y="670"/>
                    </a:cubicBezTo>
                    <a:cubicBezTo>
                      <a:pt x="272" y="665"/>
                      <a:pt x="272" y="665"/>
                      <a:pt x="272" y="665"/>
                    </a:cubicBezTo>
                    <a:cubicBezTo>
                      <a:pt x="275" y="660"/>
                      <a:pt x="275" y="660"/>
                      <a:pt x="275" y="660"/>
                    </a:cubicBezTo>
                    <a:cubicBezTo>
                      <a:pt x="275" y="660"/>
                      <a:pt x="278" y="651"/>
                      <a:pt x="277" y="649"/>
                    </a:cubicBezTo>
                    <a:cubicBezTo>
                      <a:pt x="278" y="649"/>
                      <a:pt x="278" y="640"/>
                      <a:pt x="284" y="642"/>
                    </a:cubicBezTo>
                    <a:cubicBezTo>
                      <a:pt x="284" y="641"/>
                      <a:pt x="289" y="639"/>
                      <a:pt x="288" y="632"/>
                    </a:cubicBezTo>
                    <a:cubicBezTo>
                      <a:pt x="287" y="632"/>
                      <a:pt x="293" y="628"/>
                      <a:pt x="288" y="628"/>
                    </a:cubicBezTo>
                    <a:cubicBezTo>
                      <a:pt x="288" y="628"/>
                      <a:pt x="285" y="625"/>
                      <a:pt x="290" y="627"/>
                    </a:cubicBezTo>
                    <a:cubicBezTo>
                      <a:pt x="290" y="627"/>
                      <a:pt x="290" y="623"/>
                      <a:pt x="294" y="624"/>
                    </a:cubicBezTo>
                    <a:cubicBezTo>
                      <a:pt x="294" y="625"/>
                      <a:pt x="294" y="621"/>
                      <a:pt x="302" y="622"/>
                    </a:cubicBezTo>
                    <a:cubicBezTo>
                      <a:pt x="302" y="622"/>
                      <a:pt x="306" y="618"/>
                      <a:pt x="302" y="619"/>
                    </a:cubicBezTo>
                    <a:cubicBezTo>
                      <a:pt x="302" y="619"/>
                      <a:pt x="300" y="616"/>
                      <a:pt x="303" y="616"/>
                    </a:cubicBezTo>
                    <a:cubicBezTo>
                      <a:pt x="304" y="616"/>
                      <a:pt x="307" y="614"/>
                      <a:pt x="301" y="614"/>
                    </a:cubicBezTo>
                    <a:cubicBezTo>
                      <a:pt x="301" y="614"/>
                      <a:pt x="300" y="612"/>
                      <a:pt x="303" y="612"/>
                    </a:cubicBezTo>
                    <a:cubicBezTo>
                      <a:pt x="306" y="612"/>
                      <a:pt x="306" y="605"/>
                      <a:pt x="301" y="606"/>
                    </a:cubicBezTo>
                    <a:cubicBezTo>
                      <a:pt x="301" y="606"/>
                      <a:pt x="301" y="603"/>
                      <a:pt x="303" y="602"/>
                    </a:cubicBezTo>
                    <a:cubicBezTo>
                      <a:pt x="306" y="602"/>
                      <a:pt x="305" y="597"/>
                      <a:pt x="305" y="597"/>
                    </a:cubicBezTo>
                    <a:cubicBezTo>
                      <a:pt x="305" y="597"/>
                      <a:pt x="307" y="598"/>
                      <a:pt x="307" y="596"/>
                    </a:cubicBezTo>
                    <a:cubicBezTo>
                      <a:pt x="306" y="596"/>
                      <a:pt x="310" y="598"/>
                      <a:pt x="309" y="588"/>
                    </a:cubicBezTo>
                    <a:cubicBezTo>
                      <a:pt x="309" y="588"/>
                      <a:pt x="313" y="586"/>
                      <a:pt x="315" y="582"/>
                    </a:cubicBezTo>
                    <a:cubicBezTo>
                      <a:pt x="315" y="582"/>
                      <a:pt x="320" y="582"/>
                      <a:pt x="320" y="577"/>
                    </a:cubicBezTo>
                    <a:cubicBezTo>
                      <a:pt x="321" y="574"/>
                      <a:pt x="321" y="574"/>
                      <a:pt x="321" y="574"/>
                    </a:cubicBezTo>
                    <a:cubicBezTo>
                      <a:pt x="321" y="574"/>
                      <a:pt x="328" y="572"/>
                      <a:pt x="321" y="570"/>
                    </a:cubicBezTo>
                    <a:cubicBezTo>
                      <a:pt x="321" y="565"/>
                      <a:pt x="321" y="565"/>
                      <a:pt x="321" y="565"/>
                    </a:cubicBezTo>
                    <a:cubicBezTo>
                      <a:pt x="324" y="563"/>
                      <a:pt x="324" y="563"/>
                      <a:pt x="324" y="563"/>
                    </a:cubicBezTo>
                    <a:cubicBezTo>
                      <a:pt x="326" y="560"/>
                      <a:pt x="326" y="560"/>
                      <a:pt x="326" y="560"/>
                    </a:cubicBezTo>
                    <a:cubicBezTo>
                      <a:pt x="326" y="560"/>
                      <a:pt x="328" y="561"/>
                      <a:pt x="328" y="555"/>
                    </a:cubicBezTo>
                    <a:cubicBezTo>
                      <a:pt x="328" y="556"/>
                      <a:pt x="335" y="552"/>
                      <a:pt x="328" y="551"/>
                    </a:cubicBezTo>
                    <a:cubicBezTo>
                      <a:pt x="328" y="552"/>
                      <a:pt x="329" y="549"/>
                      <a:pt x="326" y="549"/>
                    </a:cubicBezTo>
                    <a:cubicBezTo>
                      <a:pt x="326" y="549"/>
                      <a:pt x="325" y="546"/>
                      <a:pt x="327" y="546"/>
                    </a:cubicBezTo>
                    <a:cubicBezTo>
                      <a:pt x="329" y="546"/>
                      <a:pt x="328" y="541"/>
                      <a:pt x="328" y="541"/>
                    </a:cubicBezTo>
                    <a:cubicBezTo>
                      <a:pt x="328" y="541"/>
                      <a:pt x="336" y="539"/>
                      <a:pt x="328" y="537"/>
                    </a:cubicBezTo>
                    <a:cubicBezTo>
                      <a:pt x="328" y="537"/>
                      <a:pt x="329" y="533"/>
                      <a:pt x="326" y="532"/>
                    </a:cubicBezTo>
                    <a:cubicBezTo>
                      <a:pt x="326" y="533"/>
                      <a:pt x="327" y="530"/>
                      <a:pt x="322" y="529"/>
                    </a:cubicBezTo>
                    <a:cubicBezTo>
                      <a:pt x="322" y="530"/>
                      <a:pt x="323" y="525"/>
                      <a:pt x="319" y="524"/>
                    </a:cubicBezTo>
                    <a:cubicBezTo>
                      <a:pt x="319" y="524"/>
                      <a:pt x="317" y="517"/>
                      <a:pt x="321" y="517"/>
                    </a:cubicBezTo>
                    <a:cubicBezTo>
                      <a:pt x="321" y="517"/>
                      <a:pt x="327" y="509"/>
                      <a:pt x="318" y="504"/>
                    </a:cubicBezTo>
                    <a:cubicBezTo>
                      <a:pt x="319" y="501"/>
                      <a:pt x="319" y="501"/>
                      <a:pt x="319" y="501"/>
                    </a:cubicBezTo>
                    <a:cubicBezTo>
                      <a:pt x="319" y="501"/>
                      <a:pt x="328" y="490"/>
                      <a:pt x="318" y="486"/>
                    </a:cubicBezTo>
                    <a:cubicBezTo>
                      <a:pt x="311" y="482"/>
                      <a:pt x="311" y="482"/>
                      <a:pt x="311" y="482"/>
                    </a:cubicBezTo>
                    <a:cubicBezTo>
                      <a:pt x="311" y="482"/>
                      <a:pt x="309" y="478"/>
                      <a:pt x="307" y="478"/>
                    </a:cubicBezTo>
                    <a:cubicBezTo>
                      <a:pt x="306" y="478"/>
                      <a:pt x="302" y="467"/>
                      <a:pt x="305" y="462"/>
                    </a:cubicBezTo>
                    <a:cubicBezTo>
                      <a:pt x="306" y="462"/>
                      <a:pt x="307" y="459"/>
                      <a:pt x="309" y="462"/>
                    </a:cubicBezTo>
                    <a:cubicBezTo>
                      <a:pt x="309" y="462"/>
                      <a:pt x="310" y="463"/>
                      <a:pt x="311" y="460"/>
                    </a:cubicBezTo>
                    <a:cubicBezTo>
                      <a:pt x="316" y="459"/>
                      <a:pt x="316" y="459"/>
                      <a:pt x="316" y="459"/>
                    </a:cubicBezTo>
                    <a:cubicBezTo>
                      <a:pt x="319" y="455"/>
                      <a:pt x="319" y="455"/>
                      <a:pt x="319" y="455"/>
                    </a:cubicBezTo>
                    <a:cubicBezTo>
                      <a:pt x="319" y="455"/>
                      <a:pt x="331" y="452"/>
                      <a:pt x="319" y="452"/>
                    </a:cubicBezTo>
                    <a:cubicBezTo>
                      <a:pt x="319" y="452"/>
                      <a:pt x="317" y="440"/>
                      <a:pt x="320" y="433"/>
                    </a:cubicBezTo>
                    <a:cubicBezTo>
                      <a:pt x="320" y="433"/>
                      <a:pt x="322" y="435"/>
                      <a:pt x="322" y="427"/>
                    </a:cubicBezTo>
                    <a:cubicBezTo>
                      <a:pt x="322" y="428"/>
                      <a:pt x="325" y="420"/>
                      <a:pt x="325" y="426"/>
                    </a:cubicBezTo>
                    <a:cubicBezTo>
                      <a:pt x="325" y="427"/>
                      <a:pt x="329" y="429"/>
                      <a:pt x="328" y="425"/>
                    </a:cubicBezTo>
                    <a:cubicBezTo>
                      <a:pt x="333" y="424"/>
                      <a:pt x="333" y="424"/>
                      <a:pt x="333" y="424"/>
                    </a:cubicBezTo>
                    <a:cubicBezTo>
                      <a:pt x="333" y="424"/>
                      <a:pt x="337" y="423"/>
                      <a:pt x="337" y="422"/>
                    </a:cubicBezTo>
                    <a:cubicBezTo>
                      <a:pt x="336" y="422"/>
                      <a:pt x="332" y="418"/>
                      <a:pt x="363" y="420"/>
                    </a:cubicBezTo>
                    <a:cubicBezTo>
                      <a:pt x="363" y="420"/>
                      <a:pt x="364" y="413"/>
                      <a:pt x="366" y="419"/>
                    </a:cubicBezTo>
                    <a:cubicBezTo>
                      <a:pt x="366" y="420"/>
                      <a:pt x="372" y="418"/>
                      <a:pt x="368" y="425"/>
                    </a:cubicBezTo>
                    <a:cubicBezTo>
                      <a:pt x="368" y="425"/>
                      <a:pt x="365" y="430"/>
                      <a:pt x="370" y="432"/>
                    </a:cubicBezTo>
                    <a:cubicBezTo>
                      <a:pt x="370" y="432"/>
                      <a:pt x="369" y="436"/>
                      <a:pt x="371" y="436"/>
                    </a:cubicBezTo>
                    <a:cubicBezTo>
                      <a:pt x="372" y="436"/>
                      <a:pt x="379" y="435"/>
                      <a:pt x="378" y="441"/>
                    </a:cubicBezTo>
                    <a:cubicBezTo>
                      <a:pt x="378" y="442"/>
                      <a:pt x="381" y="444"/>
                      <a:pt x="379" y="447"/>
                    </a:cubicBezTo>
                    <a:cubicBezTo>
                      <a:pt x="379" y="448"/>
                      <a:pt x="390" y="451"/>
                      <a:pt x="390" y="446"/>
                    </a:cubicBezTo>
                    <a:cubicBezTo>
                      <a:pt x="390" y="446"/>
                      <a:pt x="395" y="443"/>
                      <a:pt x="395" y="440"/>
                    </a:cubicBezTo>
                    <a:cubicBezTo>
                      <a:pt x="395" y="441"/>
                      <a:pt x="401" y="437"/>
                      <a:pt x="396" y="433"/>
                    </a:cubicBezTo>
                    <a:cubicBezTo>
                      <a:pt x="396" y="433"/>
                      <a:pt x="398" y="429"/>
                      <a:pt x="398" y="429"/>
                    </a:cubicBezTo>
                    <a:cubicBezTo>
                      <a:pt x="398" y="429"/>
                      <a:pt x="400" y="423"/>
                      <a:pt x="403" y="425"/>
                    </a:cubicBezTo>
                    <a:cubicBezTo>
                      <a:pt x="403" y="424"/>
                      <a:pt x="403" y="421"/>
                      <a:pt x="408" y="421"/>
                    </a:cubicBezTo>
                    <a:cubicBezTo>
                      <a:pt x="408" y="421"/>
                      <a:pt x="409" y="418"/>
                      <a:pt x="413" y="420"/>
                    </a:cubicBezTo>
                    <a:cubicBezTo>
                      <a:pt x="412" y="420"/>
                      <a:pt x="416" y="414"/>
                      <a:pt x="417" y="418"/>
                    </a:cubicBezTo>
                    <a:cubicBezTo>
                      <a:pt x="417" y="418"/>
                      <a:pt x="411" y="435"/>
                      <a:pt x="417" y="445"/>
                    </a:cubicBezTo>
                    <a:cubicBezTo>
                      <a:pt x="417" y="445"/>
                      <a:pt x="419" y="448"/>
                      <a:pt x="416" y="449"/>
                    </a:cubicBezTo>
                    <a:cubicBezTo>
                      <a:pt x="416" y="450"/>
                      <a:pt x="415" y="455"/>
                      <a:pt x="415" y="456"/>
                    </a:cubicBezTo>
                    <a:cubicBezTo>
                      <a:pt x="416" y="457"/>
                      <a:pt x="411" y="457"/>
                      <a:pt x="414" y="459"/>
                    </a:cubicBezTo>
                    <a:cubicBezTo>
                      <a:pt x="415" y="468"/>
                      <a:pt x="415" y="468"/>
                      <a:pt x="415" y="468"/>
                    </a:cubicBezTo>
                    <a:cubicBezTo>
                      <a:pt x="415" y="468"/>
                      <a:pt x="408" y="479"/>
                      <a:pt x="415" y="491"/>
                    </a:cubicBezTo>
                    <a:cubicBezTo>
                      <a:pt x="416" y="491"/>
                      <a:pt x="418" y="492"/>
                      <a:pt x="417" y="506"/>
                    </a:cubicBezTo>
                    <a:cubicBezTo>
                      <a:pt x="416" y="507"/>
                      <a:pt x="424" y="507"/>
                      <a:pt x="417" y="510"/>
                    </a:cubicBezTo>
                    <a:cubicBezTo>
                      <a:pt x="417" y="511"/>
                      <a:pt x="412" y="517"/>
                      <a:pt x="417" y="519"/>
                    </a:cubicBezTo>
                    <a:cubicBezTo>
                      <a:pt x="417" y="520"/>
                      <a:pt x="424" y="524"/>
                      <a:pt x="424" y="519"/>
                    </a:cubicBezTo>
                    <a:cubicBezTo>
                      <a:pt x="424" y="520"/>
                      <a:pt x="426" y="517"/>
                      <a:pt x="424" y="524"/>
                    </a:cubicBezTo>
                    <a:cubicBezTo>
                      <a:pt x="428" y="524"/>
                      <a:pt x="428" y="524"/>
                      <a:pt x="428" y="524"/>
                    </a:cubicBezTo>
                    <a:cubicBezTo>
                      <a:pt x="428" y="524"/>
                      <a:pt x="428" y="519"/>
                      <a:pt x="430" y="524"/>
                    </a:cubicBezTo>
                    <a:cubicBezTo>
                      <a:pt x="429" y="524"/>
                      <a:pt x="432" y="524"/>
                      <a:pt x="432" y="526"/>
                    </a:cubicBezTo>
                    <a:cubicBezTo>
                      <a:pt x="432" y="525"/>
                      <a:pt x="435" y="525"/>
                      <a:pt x="435" y="532"/>
                    </a:cubicBezTo>
                    <a:cubicBezTo>
                      <a:pt x="435" y="532"/>
                      <a:pt x="437" y="533"/>
                      <a:pt x="437" y="536"/>
                    </a:cubicBezTo>
                    <a:cubicBezTo>
                      <a:pt x="437" y="536"/>
                      <a:pt x="439" y="537"/>
                      <a:pt x="439" y="547"/>
                    </a:cubicBezTo>
                    <a:cubicBezTo>
                      <a:pt x="439" y="547"/>
                      <a:pt x="442" y="548"/>
                      <a:pt x="442" y="551"/>
                    </a:cubicBezTo>
                    <a:cubicBezTo>
                      <a:pt x="442" y="551"/>
                      <a:pt x="445" y="551"/>
                      <a:pt x="443" y="555"/>
                    </a:cubicBezTo>
                    <a:cubicBezTo>
                      <a:pt x="443" y="554"/>
                      <a:pt x="447" y="554"/>
                      <a:pt x="447" y="557"/>
                    </a:cubicBezTo>
                    <a:cubicBezTo>
                      <a:pt x="447" y="557"/>
                      <a:pt x="451" y="558"/>
                      <a:pt x="448" y="562"/>
                    </a:cubicBezTo>
                    <a:cubicBezTo>
                      <a:pt x="448" y="562"/>
                      <a:pt x="451" y="562"/>
                      <a:pt x="451" y="563"/>
                    </a:cubicBezTo>
                    <a:cubicBezTo>
                      <a:pt x="451" y="563"/>
                      <a:pt x="455" y="566"/>
                      <a:pt x="454" y="569"/>
                    </a:cubicBezTo>
                    <a:cubicBezTo>
                      <a:pt x="454" y="569"/>
                      <a:pt x="458" y="570"/>
                      <a:pt x="458" y="571"/>
                    </a:cubicBezTo>
                    <a:cubicBezTo>
                      <a:pt x="458" y="571"/>
                      <a:pt x="463" y="574"/>
                      <a:pt x="461" y="569"/>
                    </a:cubicBezTo>
                    <a:cubicBezTo>
                      <a:pt x="461" y="569"/>
                      <a:pt x="466" y="568"/>
                      <a:pt x="465" y="571"/>
                    </a:cubicBezTo>
                    <a:cubicBezTo>
                      <a:pt x="467" y="574"/>
                      <a:pt x="467" y="574"/>
                      <a:pt x="467" y="574"/>
                    </a:cubicBezTo>
                    <a:cubicBezTo>
                      <a:pt x="467" y="574"/>
                      <a:pt x="473" y="574"/>
                      <a:pt x="472" y="576"/>
                    </a:cubicBezTo>
                    <a:cubicBezTo>
                      <a:pt x="482" y="577"/>
                      <a:pt x="482" y="577"/>
                      <a:pt x="482" y="577"/>
                    </a:cubicBezTo>
                    <a:cubicBezTo>
                      <a:pt x="482" y="577"/>
                      <a:pt x="485" y="582"/>
                      <a:pt x="485" y="577"/>
                    </a:cubicBezTo>
                    <a:cubicBezTo>
                      <a:pt x="485" y="577"/>
                      <a:pt x="489" y="575"/>
                      <a:pt x="489" y="578"/>
                    </a:cubicBezTo>
                    <a:cubicBezTo>
                      <a:pt x="489" y="578"/>
                      <a:pt x="492" y="581"/>
                      <a:pt x="492" y="581"/>
                    </a:cubicBezTo>
                    <a:cubicBezTo>
                      <a:pt x="493" y="582"/>
                      <a:pt x="493" y="582"/>
                      <a:pt x="493" y="582"/>
                    </a:cubicBezTo>
                    <a:cubicBezTo>
                      <a:pt x="493" y="582"/>
                      <a:pt x="506" y="586"/>
                      <a:pt x="512" y="582"/>
                    </a:cubicBezTo>
                    <a:cubicBezTo>
                      <a:pt x="512" y="583"/>
                      <a:pt x="510" y="579"/>
                      <a:pt x="514" y="578"/>
                    </a:cubicBezTo>
                    <a:cubicBezTo>
                      <a:pt x="515" y="578"/>
                      <a:pt x="517" y="579"/>
                      <a:pt x="516" y="576"/>
                    </a:cubicBezTo>
                    <a:cubicBezTo>
                      <a:pt x="516" y="576"/>
                      <a:pt x="522" y="578"/>
                      <a:pt x="521" y="574"/>
                    </a:cubicBezTo>
                    <a:cubicBezTo>
                      <a:pt x="523" y="574"/>
                      <a:pt x="523" y="574"/>
                      <a:pt x="523" y="574"/>
                    </a:cubicBezTo>
                    <a:cubicBezTo>
                      <a:pt x="523" y="574"/>
                      <a:pt x="526" y="568"/>
                      <a:pt x="528" y="574"/>
                    </a:cubicBezTo>
                    <a:cubicBezTo>
                      <a:pt x="529" y="578"/>
                      <a:pt x="529" y="578"/>
                      <a:pt x="529" y="578"/>
                    </a:cubicBezTo>
                    <a:cubicBezTo>
                      <a:pt x="529" y="578"/>
                      <a:pt x="537" y="578"/>
                      <a:pt x="536" y="581"/>
                    </a:cubicBezTo>
                    <a:cubicBezTo>
                      <a:pt x="536" y="580"/>
                      <a:pt x="543" y="583"/>
                      <a:pt x="543" y="578"/>
                    </a:cubicBezTo>
                    <a:cubicBezTo>
                      <a:pt x="543" y="579"/>
                      <a:pt x="546" y="578"/>
                      <a:pt x="545" y="574"/>
                    </a:cubicBezTo>
                    <a:cubicBezTo>
                      <a:pt x="545" y="574"/>
                      <a:pt x="549" y="573"/>
                      <a:pt x="547" y="570"/>
                    </a:cubicBezTo>
                    <a:cubicBezTo>
                      <a:pt x="547" y="570"/>
                      <a:pt x="552" y="565"/>
                      <a:pt x="547" y="559"/>
                    </a:cubicBezTo>
                    <a:cubicBezTo>
                      <a:pt x="547" y="559"/>
                      <a:pt x="547" y="555"/>
                      <a:pt x="548" y="555"/>
                    </a:cubicBezTo>
                    <a:cubicBezTo>
                      <a:pt x="548" y="555"/>
                      <a:pt x="551" y="553"/>
                      <a:pt x="551" y="553"/>
                    </a:cubicBezTo>
                    <a:cubicBezTo>
                      <a:pt x="551" y="553"/>
                      <a:pt x="554" y="550"/>
                      <a:pt x="551" y="547"/>
                    </a:cubicBezTo>
                    <a:cubicBezTo>
                      <a:pt x="551" y="547"/>
                      <a:pt x="549" y="543"/>
                      <a:pt x="551" y="543"/>
                    </a:cubicBezTo>
                    <a:cubicBezTo>
                      <a:pt x="551" y="543"/>
                      <a:pt x="554" y="540"/>
                      <a:pt x="554" y="540"/>
                    </a:cubicBezTo>
                    <a:cubicBezTo>
                      <a:pt x="554" y="540"/>
                      <a:pt x="561" y="532"/>
                      <a:pt x="560" y="537"/>
                    </a:cubicBezTo>
                    <a:cubicBezTo>
                      <a:pt x="565" y="542"/>
                      <a:pt x="565" y="542"/>
                      <a:pt x="565" y="542"/>
                    </a:cubicBezTo>
                    <a:cubicBezTo>
                      <a:pt x="565" y="542"/>
                      <a:pt x="573" y="546"/>
                      <a:pt x="573" y="547"/>
                    </a:cubicBezTo>
                    <a:cubicBezTo>
                      <a:pt x="573" y="547"/>
                      <a:pt x="579" y="549"/>
                      <a:pt x="578" y="546"/>
                    </a:cubicBezTo>
                    <a:cubicBezTo>
                      <a:pt x="578" y="546"/>
                      <a:pt x="582" y="544"/>
                      <a:pt x="581" y="543"/>
                    </a:cubicBezTo>
                    <a:cubicBezTo>
                      <a:pt x="581" y="543"/>
                      <a:pt x="591" y="543"/>
                      <a:pt x="589" y="541"/>
                    </a:cubicBezTo>
                    <a:cubicBezTo>
                      <a:pt x="589" y="541"/>
                      <a:pt x="596" y="539"/>
                      <a:pt x="596" y="539"/>
                    </a:cubicBezTo>
                    <a:cubicBezTo>
                      <a:pt x="595" y="539"/>
                      <a:pt x="600" y="537"/>
                      <a:pt x="600" y="536"/>
                    </a:cubicBezTo>
                    <a:cubicBezTo>
                      <a:pt x="599" y="536"/>
                      <a:pt x="605" y="535"/>
                      <a:pt x="605" y="531"/>
                    </a:cubicBezTo>
                    <a:cubicBezTo>
                      <a:pt x="605" y="532"/>
                      <a:pt x="603" y="528"/>
                      <a:pt x="608" y="528"/>
                    </a:cubicBezTo>
                    <a:cubicBezTo>
                      <a:pt x="608" y="528"/>
                      <a:pt x="610" y="524"/>
                      <a:pt x="611" y="528"/>
                    </a:cubicBezTo>
                    <a:cubicBezTo>
                      <a:pt x="611" y="528"/>
                      <a:pt x="614" y="531"/>
                      <a:pt x="613" y="526"/>
                    </a:cubicBezTo>
                    <a:cubicBezTo>
                      <a:pt x="613" y="527"/>
                      <a:pt x="620" y="526"/>
                      <a:pt x="623" y="528"/>
                    </a:cubicBezTo>
                    <a:cubicBezTo>
                      <a:pt x="622" y="528"/>
                      <a:pt x="624" y="529"/>
                      <a:pt x="626" y="527"/>
                    </a:cubicBezTo>
                    <a:cubicBezTo>
                      <a:pt x="626" y="527"/>
                      <a:pt x="630" y="522"/>
                      <a:pt x="631" y="522"/>
                    </a:cubicBezTo>
                    <a:cubicBezTo>
                      <a:pt x="631" y="521"/>
                      <a:pt x="636" y="517"/>
                      <a:pt x="639" y="517"/>
                    </a:cubicBezTo>
                    <a:cubicBezTo>
                      <a:pt x="639" y="517"/>
                      <a:pt x="648" y="511"/>
                      <a:pt x="646" y="519"/>
                    </a:cubicBezTo>
                    <a:cubicBezTo>
                      <a:pt x="646" y="518"/>
                      <a:pt x="650" y="522"/>
                      <a:pt x="650" y="522"/>
                    </a:cubicBezTo>
                    <a:cubicBezTo>
                      <a:pt x="654" y="524"/>
                      <a:pt x="654" y="524"/>
                      <a:pt x="654" y="524"/>
                    </a:cubicBezTo>
                    <a:cubicBezTo>
                      <a:pt x="654" y="524"/>
                      <a:pt x="659" y="526"/>
                      <a:pt x="657" y="520"/>
                    </a:cubicBezTo>
                    <a:cubicBezTo>
                      <a:pt x="657" y="520"/>
                      <a:pt x="667" y="521"/>
                      <a:pt x="665" y="517"/>
                    </a:cubicBezTo>
                    <a:cubicBezTo>
                      <a:pt x="664" y="517"/>
                      <a:pt x="669" y="511"/>
                      <a:pt x="670" y="517"/>
                    </a:cubicBezTo>
                    <a:cubicBezTo>
                      <a:pt x="670" y="517"/>
                      <a:pt x="675" y="517"/>
                      <a:pt x="670" y="519"/>
                    </a:cubicBezTo>
                    <a:cubicBezTo>
                      <a:pt x="669" y="519"/>
                      <a:pt x="669" y="523"/>
                      <a:pt x="669" y="523"/>
                    </a:cubicBezTo>
                    <a:cubicBezTo>
                      <a:pt x="674" y="528"/>
                      <a:pt x="674" y="528"/>
                      <a:pt x="674" y="528"/>
                    </a:cubicBezTo>
                    <a:cubicBezTo>
                      <a:pt x="681" y="533"/>
                      <a:pt x="681" y="533"/>
                      <a:pt x="681" y="533"/>
                    </a:cubicBezTo>
                    <a:cubicBezTo>
                      <a:pt x="682" y="533"/>
                      <a:pt x="685" y="536"/>
                      <a:pt x="685" y="536"/>
                    </a:cubicBezTo>
                    <a:cubicBezTo>
                      <a:pt x="685" y="536"/>
                      <a:pt x="695" y="533"/>
                      <a:pt x="691" y="544"/>
                    </a:cubicBezTo>
                    <a:cubicBezTo>
                      <a:pt x="691" y="544"/>
                      <a:pt x="685" y="543"/>
                      <a:pt x="686" y="548"/>
                    </a:cubicBezTo>
                    <a:cubicBezTo>
                      <a:pt x="687" y="548"/>
                      <a:pt x="683" y="551"/>
                      <a:pt x="684" y="554"/>
                    </a:cubicBezTo>
                    <a:cubicBezTo>
                      <a:pt x="685" y="554"/>
                      <a:pt x="675" y="557"/>
                      <a:pt x="684" y="560"/>
                    </a:cubicBezTo>
                    <a:cubicBezTo>
                      <a:pt x="684" y="561"/>
                      <a:pt x="687" y="560"/>
                      <a:pt x="691" y="563"/>
                    </a:cubicBezTo>
                    <a:cubicBezTo>
                      <a:pt x="690" y="563"/>
                      <a:pt x="696" y="566"/>
                      <a:pt x="692" y="568"/>
                    </a:cubicBezTo>
                    <a:cubicBezTo>
                      <a:pt x="692" y="568"/>
                      <a:pt x="689" y="572"/>
                      <a:pt x="693" y="571"/>
                    </a:cubicBezTo>
                    <a:cubicBezTo>
                      <a:pt x="692" y="572"/>
                      <a:pt x="695" y="576"/>
                      <a:pt x="692" y="576"/>
                    </a:cubicBezTo>
                    <a:cubicBezTo>
                      <a:pt x="692" y="575"/>
                      <a:pt x="687" y="577"/>
                      <a:pt x="689" y="586"/>
                    </a:cubicBezTo>
                    <a:cubicBezTo>
                      <a:pt x="689" y="586"/>
                      <a:pt x="693" y="586"/>
                      <a:pt x="693" y="587"/>
                    </a:cubicBezTo>
                    <a:cubicBezTo>
                      <a:pt x="693" y="587"/>
                      <a:pt x="700" y="588"/>
                      <a:pt x="700" y="590"/>
                    </a:cubicBezTo>
                    <a:cubicBezTo>
                      <a:pt x="700" y="590"/>
                      <a:pt x="704" y="593"/>
                      <a:pt x="708" y="591"/>
                    </a:cubicBezTo>
                    <a:cubicBezTo>
                      <a:pt x="708" y="591"/>
                      <a:pt x="708" y="594"/>
                      <a:pt x="712" y="593"/>
                    </a:cubicBezTo>
                    <a:cubicBezTo>
                      <a:pt x="712" y="593"/>
                      <a:pt x="712" y="597"/>
                      <a:pt x="717" y="596"/>
                    </a:cubicBezTo>
                    <a:cubicBezTo>
                      <a:pt x="721" y="600"/>
                      <a:pt x="721" y="600"/>
                      <a:pt x="721" y="600"/>
                    </a:cubicBezTo>
                    <a:cubicBezTo>
                      <a:pt x="722" y="608"/>
                      <a:pt x="722" y="608"/>
                      <a:pt x="722" y="608"/>
                    </a:cubicBezTo>
                    <a:cubicBezTo>
                      <a:pt x="722" y="608"/>
                      <a:pt x="727" y="611"/>
                      <a:pt x="722" y="615"/>
                    </a:cubicBezTo>
                    <a:cubicBezTo>
                      <a:pt x="722" y="615"/>
                      <a:pt x="723" y="619"/>
                      <a:pt x="719" y="618"/>
                    </a:cubicBezTo>
                    <a:cubicBezTo>
                      <a:pt x="719" y="624"/>
                      <a:pt x="719" y="624"/>
                      <a:pt x="719" y="624"/>
                    </a:cubicBezTo>
                    <a:cubicBezTo>
                      <a:pt x="719" y="624"/>
                      <a:pt x="712" y="628"/>
                      <a:pt x="719" y="629"/>
                    </a:cubicBezTo>
                    <a:cubicBezTo>
                      <a:pt x="719" y="629"/>
                      <a:pt x="723" y="632"/>
                      <a:pt x="723" y="632"/>
                    </a:cubicBezTo>
                    <a:cubicBezTo>
                      <a:pt x="723" y="632"/>
                      <a:pt x="727" y="632"/>
                      <a:pt x="727" y="635"/>
                    </a:cubicBezTo>
                    <a:cubicBezTo>
                      <a:pt x="727" y="635"/>
                      <a:pt x="733" y="632"/>
                      <a:pt x="734" y="632"/>
                    </a:cubicBezTo>
                    <a:cubicBezTo>
                      <a:pt x="734" y="632"/>
                      <a:pt x="740" y="627"/>
                      <a:pt x="747" y="629"/>
                    </a:cubicBezTo>
                    <a:cubicBezTo>
                      <a:pt x="744" y="630"/>
                      <a:pt x="757" y="634"/>
                      <a:pt x="764" y="630"/>
                    </a:cubicBezTo>
                    <a:cubicBezTo>
                      <a:pt x="764" y="631"/>
                      <a:pt x="770" y="631"/>
                      <a:pt x="769" y="622"/>
                    </a:cubicBezTo>
                    <a:cubicBezTo>
                      <a:pt x="774" y="617"/>
                      <a:pt x="774" y="617"/>
                      <a:pt x="774" y="617"/>
                    </a:cubicBezTo>
                    <a:cubicBezTo>
                      <a:pt x="774" y="617"/>
                      <a:pt x="783" y="610"/>
                      <a:pt x="783" y="608"/>
                    </a:cubicBezTo>
                    <a:cubicBezTo>
                      <a:pt x="783" y="608"/>
                      <a:pt x="784" y="602"/>
                      <a:pt x="778" y="598"/>
                    </a:cubicBezTo>
                    <a:cubicBezTo>
                      <a:pt x="779" y="598"/>
                      <a:pt x="776" y="596"/>
                      <a:pt x="776" y="596"/>
                    </a:cubicBezTo>
                    <a:cubicBezTo>
                      <a:pt x="776" y="596"/>
                      <a:pt x="779" y="586"/>
                      <a:pt x="771" y="586"/>
                    </a:cubicBezTo>
                    <a:cubicBezTo>
                      <a:pt x="771" y="586"/>
                      <a:pt x="778" y="579"/>
                      <a:pt x="769" y="581"/>
                    </a:cubicBezTo>
                    <a:cubicBezTo>
                      <a:pt x="768" y="581"/>
                      <a:pt x="765" y="577"/>
                      <a:pt x="764" y="578"/>
                    </a:cubicBezTo>
                    <a:cubicBezTo>
                      <a:pt x="764" y="578"/>
                      <a:pt x="765" y="570"/>
                      <a:pt x="761" y="570"/>
                    </a:cubicBezTo>
                    <a:cubicBezTo>
                      <a:pt x="757" y="566"/>
                      <a:pt x="757" y="566"/>
                      <a:pt x="757" y="566"/>
                    </a:cubicBezTo>
                    <a:cubicBezTo>
                      <a:pt x="757" y="566"/>
                      <a:pt x="750" y="568"/>
                      <a:pt x="752" y="561"/>
                    </a:cubicBezTo>
                    <a:cubicBezTo>
                      <a:pt x="752" y="560"/>
                      <a:pt x="750" y="559"/>
                      <a:pt x="750" y="559"/>
                    </a:cubicBezTo>
                    <a:cubicBezTo>
                      <a:pt x="750" y="559"/>
                      <a:pt x="745" y="548"/>
                      <a:pt x="748" y="535"/>
                    </a:cubicBezTo>
                    <a:cubicBezTo>
                      <a:pt x="754" y="532"/>
                      <a:pt x="754" y="532"/>
                      <a:pt x="754" y="532"/>
                    </a:cubicBezTo>
                    <a:cubicBezTo>
                      <a:pt x="754" y="532"/>
                      <a:pt x="759" y="532"/>
                      <a:pt x="759" y="527"/>
                    </a:cubicBezTo>
                    <a:cubicBezTo>
                      <a:pt x="759" y="527"/>
                      <a:pt x="754" y="524"/>
                      <a:pt x="759" y="521"/>
                    </a:cubicBezTo>
                    <a:cubicBezTo>
                      <a:pt x="759" y="519"/>
                      <a:pt x="759" y="519"/>
                      <a:pt x="759" y="519"/>
                    </a:cubicBezTo>
                    <a:cubicBezTo>
                      <a:pt x="759" y="519"/>
                      <a:pt x="753" y="517"/>
                      <a:pt x="759" y="517"/>
                    </a:cubicBezTo>
                    <a:cubicBezTo>
                      <a:pt x="759" y="517"/>
                      <a:pt x="756" y="514"/>
                      <a:pt x="762" y="514"/>
                    </a:cubicBezTo>
                    <a:cubicBezTo>
                      <a:pt x="762" y="514"/>
                      <a:pt x="768" y="507"/>
                      <a:pt x="771" y="512"/>
                    </a:cubicBezTo>
                    <a:cubicBezTo>
                      <a:pt x="770" y="512"/>
                      <a:pt x="776" y="515"/>
                      <a:pt x="776" y="508"/>
                    </a:cubicBezTo>
                    <a:cubicBezTo>
                      <a:pt x="776" y="508"/>
                      <a:pt x="773" y="495"/>
                      <a:pt x="777" y="495"/>
                    </a:cubicBezTo>
                    <a:cubicBezTo>
                      <a:pt x="777" y="495"/>
                      <a:pt x="779" y="492"/>
                      <a:pt x="776" y="493"/>
                    </a:cubicBezTo>
                    <a:cubicBezTo>
                      <a:pt x="776" y="492"/>
                      <a:pt x="773" y="486"/>
                      <a:pt x="769" y="491"/>
                    </a:cubicBezTo>
                    <a:cubicBezTo>
                      <a:pt x="769" y="492"/>
                      <a:pt x="767" y="490"/>
                      <a:pt x="769" y="483"/>
                    </a:cubicBezTo>
                    <a:cubicBezTo>
                      <a:pt x="769" y="484"/>
                      <a:pt x="765" y="479"/>
                      <a:pt x="761" y="479"/>
                    </a:cubicBezTo>
                    <a:cubicBezTo>
                      <a:pt x="761" y="480"/>
                      <a:pt x="758" y="475"/>
                      <a:pt x="754" y="480"/>
                    </a:cubicBezTo>
                    <a:cubicBezTo>
                      <a:pt x="754" y="480"/>
                      <a:pt x="744" y="480"/>
                      <a:pt x="744" y="482"/>
                    </a:cubicBezTo>
                    <a:cubicBezTo>
                      <a:pt x="744" y="483"/>
                      <a:pt x="730" y="487"/>
                      <a:pt x="733" y="482"/>
                    </a:cubicBezTo>
                    <a:cubicBezTo>
                      <a:pt x="733" y="482"/>
                      <a:pt x="733" y="479"/>
                      <a:pt x="728" y="480"/>
                    </a:cubicBezTo>
                    <a:cubicBezTo>
                      <a:pt x="728" y="480"/>
                      <a:pt x="727" y="484"/>
                      <a:pt x="725" y="480"/>
                    </a:cubicBezTo>
                    <a:cubicBezTo>
                      <a:pt x="724" y="480"/>
                      <a:pt x="723" y="470"/>
                      <a:pt x="721" y="473"/>
                    </a:cubicBezTo>
                    <a:cubicBezTo>
                      <a:pt x="721" y="474"/>
                      <a:pt x="720" y="468"/>
                      <a:pt x="714" y="468"/>
                    </a:cubicBezTo>
                    <a:cubicBezTo>
                      <a:pt x="713" y="468"/>
                      <a:pt x="710" y="464"/>
                      <a:pt x="714" y="464"/>
                    </a:cubicBezTo>
                    <a:cubicBezTo>
                      <a:pt x="714" y="464"/>
                      <a:pt x="712" y="461"/>
                      <a:pt x="717" y="458"/>
                    </a:cubicBezTo>
                    <a:cubicBezTo>
                      <a:pt x="717" y="458"/>
                      <a:pt x="722" y="447"/>
                      <a:pt x="717" y="444"/>
                    </a:cubicBezTo>
                    <a:cubicBezTo>
                      <a:pt x="717" y="444"/>
                      <a:pt x="708" y="442"/>
                      <a:pt x="716" y="439"/>
                    </a:cubicBezTo>
                    <a:cubicBezTo>
                      <a:pt x="716" y="439"/>
                      <a:pt x="721" y="433"/>
                      <a:pt x="713" y="433"/>
                    </a:cubicBezTo>
                    <a:cubicBezTo>
                      <a:pt x="714" y="433"/>
                      <a:pt x="712" y="429"/>
                      <a:pt x="716" y="429"/>
                    </a:cubicBezTo>
                    <a:cubicBezTo>
                      <a:pt x="716" y="429"/>
                      <a:pt x="722" y="425"/>
                      <a:pt x="713" y="423"/>
                    </a:cubicBezTo>
                    <a:cubicBezTo>
                      <a:pt x="713" y="423"/>
                      <a:pt x="712" y="416"/>
                      <a:pt x="716" y="417"/>
                    </a:cubicBezTo>
                    <a:cubicBezTo>
                      <a:pt x="716" y="417"/>
                      <a:pt x="716" y="413"/>
                      <a:pt x="720" y="412"/>
                    </a:cubicBezTo>
                    <a:cubicBezTo>
                      <a:pt x="720" y="412"/>
                      <a:pt x="728" y="409"/>
                      <a:pt x="718" y="410"/>
                    </a:cubicBezTo>
                    <a:cubicBezTo>
                      <a:pt x="719" y="401"/>
                      <a:pt x="719" y="401"/>
                      <a:pt x="719" y="401"/>
                    </a:cubicBezTo>
                    <a:cubicBezTo>
                      <a:pt x="719" y="401"/>
                      <a:pt x="720" y="399"/>
                      <a:pt x="713" y="399"/>
                    </a:cubicBezTo>
                    <a:cubicBezTo>
                      <a:pt x="712" y="399"/>
                      <a:pt x="713" y="393"/>
                      <a:pt x="715" y="394"/>
                    </a:cubicBezTo>
                    <a:cubicBezTo>
                      <a:pt x="715" y="394"/>
                      <a:pt x="714" y="390"/>
                      <a:pt x="723" y="390"/>
                    </a:cubicBezTo>
                    <a:cubicBezTo>
                      <a:pt x="723" y="391"/>
                      <a:pt x="722" y="388"/>
                      <a:pt x="727" y="389"/>
                    </a:cubicBezTo>
                    <a:cubicBezTo>
                      <a:pt x="727" y="389"/>
                      <a:pt x="727" y="380"/>
                      <a:pt x="730" y="381"/>
                    </a:cubicBezTo>
                    <a:cubicBezTo>
                      <a:pt x="730" y="381"/>
                      <a:pt x="727" y="379"/>
                      <a:pt x="736" y="379"/>
                    </a:cubicBezTo>
                    <a:cubicBezTo>
                      <a:pt x="736" y="379"/>
                      <a:pt x="728" y="368"/>
                      <a:pt x="736" y="370"/>
                    </a:cubicBezTo>
                    <a:cubicBezTo>
                      <a:pt x="736" y="370"/>
                      <a:pt x="738" y="364"/>
                      <a:pt x="741" y="366"/>
                    </a:cubicBezTo>
                    <a:cubicBezTo>
                      <a:pt x="741" y="366"/>
                      <a:pt x="744" y="365"/>
                      <a:pt x="744" y="359"/>
                    </a:cubicBezTo>
                    <a:cubicBezTo>
                      <a:pt x="744" y="358"/>
                      <a:pt x="738" y="353"/>
                      <a:pt x="744" y="354"/>
                    </a:cubicBezTo>
                    <a:cubicBezTo>
                      <a:pt x="744" y="353"/>
                      <a:pt x="750" y="348"/>
                      <a:pt x="744" y="348"/>
                    </a:cubicBezTo>
                    <a:cubicBezTo>
                      <a:pt x="744" y="347"/>
                      <a:pt x="738" y="343"/>
                      <a:pt x="748" y="344"/>
                    </a:cubicBezTo>
                    <a:cubicBezTo>
                      <a:pt x="747" y="344"/>
                      <a:pt x="746" y="348"/>
                      <a:pt x="761" y="345"/>
                    </a:cubicBezTo>
                    <a:cubicBezTo>
                      <a:pt x="761" y="345"/>
                      <a:pt x="760" y="338"/>
                      <a:pt x="765" y="343"/>
                    </a:cubicBezTo>
                    <a:cubicBezTo>
                      <a:pt x="765" y="343"/>
                      <a:pt x="768" y="344"/>
                      <a:pt x="769" y="341"/>
                    </a:cubicBezTo>
                    <a:cubicBezTo>
                      <a:pt x="769" y="341"/>
                      <a:pt x="770" y="337"/>
                      <a:pt x="777" y="339"/>
                    </a:cubicBezTo>
                    <a:cubicBezTo>
                      <a:pt x="777" y="340"/>
                      <a:pt x="777" y="335"/>
                      <a:pt x="782" y="337"/>
                    </a:cubicBezTo>
                    <a:cubicBezTo>
                      <a:pt x="781" y="337"/>
                      <a:pt x="785" y="332"/>
                      <a:pt x="785" y="332"/>
                    </a:cubicBezTo>
                    <a:cubicBezTo>
                      <a:pt x="785" y="332"/>
                      <a:pt x="793" y="331"/>
                      <a:pt x="793" y="333"/>
                    </a:cubicBezTo>
                    <a:cubicBezTo>
                      <a:pt x="804" y="337"/>
                      <a:pt x="804" y="337"/>
                      <a:pt x="804" y="337"/>
                    </a:cubicBezTo>
                    <a:cubicBezTo>
                      <a:pt x="805" y="332"/>
                      <a:pt x="805" y="332"/>
                      <a:pt x="805" y="332"/>
                    </a:cubicBezTo>
                    <a:cubicBezTo>
                      <a:pt x="809" y="328"/>
                      <a:pt x="809" y="328"/>
                      <a:pt x="809" y="328"/>
                    </a:cubicBezTo>
                    <a:cubicBezTo>
                      <a:pt x="809" y="328"/>
                      <a:pt x="819" y="318"/>
                      <a:pt x="816" y="330"/>
                    </a:cubicBezTo>
                    <a:cubicBezTo>
                      <a:pt x="816" y="331"/>
                      <a:pt x="822" y="339"/>
                      <a:pt x="822" y="339"/>
                    </a:cubicBezTo>
                    <a:cubicBezTo>
                      <a:pt x="822" y="339"/>
                      <a:pt x="825" y="342"/>
                      <a:pt x="823" y="347"/>
                    </a:cubicBezTo>
                    <a:cubicBezTo>
                      <a:pt x="823" y="346"/>
                      <a:pt x="823" y="354"/>
                      <a:pt x="819" y="351"/>
                    </a:cubicBezTo>
                    <a:cubicBezTo>
                      <a:pt x="818" y="351"/>
                      <a:pt x="815" y="364"/>
                      <a:pt x="817" y="368"/>
                    </a:cubicBezTo>
                    <a:cubicBezTo>
                      <a:pt x="817" y="368"/>
                      <a:pt x="823" y="369"/>
                      <a:pt x="822" y="371"/>
                    </a:cubicBezTo>
                    <a:cubicBezTo>
                      <a:pt x="822" y="371"/>
                      <a:pt x="825" y="373"/>
                      <a:pt x="826" y="370"/>
                    </a:cubicBezTo>
                    <a:cubicBezTo>
                      <a:pt x="826" y="370"/>
                      <a:pt x="832" y="365"/>
                      <a:pt x="831" y="369"/>
                    </a:cubicBezTo>
                    <a:cubicBezTo>
                      <a:pt x="836" y="372"/>
                      <a:pt x="836" y="372"/>
                      <a:pt x="836" y="372"/>
                    </a:cubicBezTo>
                    <a:cubicBezTo>
                      <a:pt x="836" y="372"/>
                      <a:pt x="842" y="370"/>
                      <a:pt x="840" y="381"/>
                    </a:cubicBezTo>
                    <a:cubicBezTo>
                      <a:pt x="842" y="382"/>
                      <a:pt x="842" y="382"/>
                      <a:pt x="842" y="382"/>
                    </a:cubicBezTo>
                    <a:cubicBezTo>
                      <a:pt x="842" y="382"/>
                      <a:pt x="846" y="380"/>
                      <a:pt x="843" y="387"/>
                    </a:cubicBezTo>
                    <a:cubicBezTo>
                      <a:pt x="843" y="388"/>
                      <a:pt x="849" y="390"/>
                      <a:pt x="850" y="390"/>
                    </a:cubicBezTo>
                    <a:cubicBezTo>
                      <a:pt x="850" y="390"/>
                      <a:pt x="858" y="390"/>
                      <a:pt x="857" y="389"/>
                    </a:cubicBezTo>
                    <a:cubicBezTo>
                      <a:pt x="857" y="388"/>
                      <a:pt x="859" y="383"/>
                      <a:pt x="861" y="387"/>
                    </a:cubicBezTo>
                    <a:cubicBezTo>
                      <a:pt x="861" y="388"/>
                      <a:pt x="865" y="390"/>
                      <a:pt x="865" y="390"/>
                    </a:cubicBezTo>
                    <a:cubicBezTo>
                      <a:pt x="865" y="390"/>
                      <a:pt x="866" y="397"/>
                      <a:pt x="868" y="390"/>
                    </a:cubicBezTo>
                    <a:cubicBezTo>
                      <a:pt x="868" y="391"/>
                      <a:pt x="872" y="392"/>
                      <a:pt x="871" y="386"/>
                    </a:cubicBezTo>
                    <a:cubicBezTo>
                      <a:pt x="871" y="386"/>
                      <a:pt x="872" y="383"/>
                      <a:pt x="884" y="385"/>
                    </a:cubicBezTo>
                    <a:cubicBezTo>
                      <a:pt x="884" y="385"/>
                      <a:pt x="889" y="386"/>
                      <a:pt x="888" y="388"/>
                    </a:cubicBezTo>
                    <a:cubicBezTo>
                      <a:pt x="888" y="388"/>
                      <a:pt x="894" y="387"/>
                      <a:pt x="893" y="390"/>
                    </a:cubicBezTo>
                    <a:cubicBezTo>
                      <a:pt x="893" y="390"/>
                      <a:pt x="900" y="394"/>
                      <a:pt x="900" y="388"/>
                    </a:cubicBezTo>
                    <a:cubicBezTo>
                      <a:pt x="900" y="389"/>
                      <a:pt x="903" y="388"/>
                      <a:pt x="903" y="388"/>
                    </a:cubicBezTo>
                    <a:cubicBezTo>
                      <a:pt x="903" y="388"/>
                      <a:pt x="906" y="384"/>
                      <a:pt x="908" y="388"/>
                    </a:cubicBezTo>
                    <a:cubicBezTo>
                      <a:pt x="907" y="388"/>
                      <a:pt x="912" y="393"/>
                      <a:pt x="912" y="393"/>
                    </a:cubicBezTo>
                    <a:cubicBezTo>
                      <a:pt x="912" y="393"/>
                      <a:pt x="918" y="400"/>
                      <a:pt x="921" y="399"/>
                    </a:cubicBezTo>
                    <a:cubicBezTo>
                      <a:pt x="921" y="400"/>
                      <a:pt x="927" y="402"/>
                      <a:pt x="927" y="398"/>
                    </a:cubicBezTo>
                    <a:cubicBezTo>
                      <a:pt x="927" y="398"/>
                      <a:pt x="926" y="394"/>
                      <a:pt x="932" y="393"/>
                    </a:cubicBezTo>
                    <a:cubicBezTo>
                      <a:pt x="932" y="393"/>
                      <a:pt x="936" y="396"/>
                      <a:pt x="935" y="386"/>
                    </a:cubicBezTo>
                    <a:cubicBezTo>
                      <a:pt x="935" y="386"/>
                      <a:pt x="942" y="383"/>
                      <a:pt x="935" y="380"/>
                    </a:cubicBezTo>
                    <a:cubicBezTo>
                      <a:pt x="935" y="380"/>
                      <a:pt x="934" y="371"/>
                      <a:pt x="936" y="371"/>
                    </a:cubicBezTo>
                    <a:cubicBezTo>
                      <a:pt x="936" y="371"/>
                      <a:pt x="940" y="364"/>
                      <a:pt x="941" y="365"/>
                    </a:cubicBezTo>
                    <a:cubicBezTo>
                      <a:pt x="941" y="365"/>
                      <a:pt x="945" y="358"/>
                      <a:pt x="940" y="357"/>
                    </a:cubicBezTo>
                    <a:cubicBezTo>
                      <a:pt x="940" y="357"/>
                      <a:pt x="939" y="355"/>
                      <a:pt x="941" y="355"/>
                    </a:cubicBezTo>
                    <a:cubicBezTo>
                      <a:pt x="941" y="356"/>
                      <a:pt x="945" y="348"/>
                      <a:pt x="940" y="348"/>
                    </a:cubicBezTo>
                    <a:cubicBezTo>
                      <a:pt x="940" y="348"/>
                      <a:pt x="939" y="345"/>
                      <a:pt x="942" y="346"/>
                    </a:cubicBezTo>
                  </a:path>
                </a:pathLst>
              </a:custGeom>
              <a:solidFill>
                <a:schemeClr val="bg2"/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2" name="Freeform 241">
                <a:extLst>
                  <a:ext uri="{FF2B5EF4-FFF2-40B4-BE49-F238E27FC236}">
                    <a16:creationId xmlns:a16="http://schemas.microsoft.com/office/drawing/2014/main" id="{479CF57D-981E-3377-5735-EADE036BA2B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048369" y="2945642"/>
                <a:ext cx="628760" cy="888456"/>
              </a:xfrm>
              <a:custGeom>
                <a:avLst/>
                <a:gdLst>
                  <a:gd name="T0" fmla="*/ 191 w 198"/>
                  <a:gd name="T1" fmla="*/ 174 h 279"/>
                  <a:gd name="T2" fmla="*/ 193 w 198"/>
                  <a:gd name="T3" fmla="*/ 155 h 279"/>
                  <a:gd name="T4" fmla="*/ 194 w 198"/>
                  <a:gd name="T5" fmla="*/ 134 h 279"/>
                  <a:gd name="T6" fmla="*/ 189 w 198"/>
                  <a:gd name="T7" fmla="*/ 113 h 279"/>
                  <a:gd name="T8" fmla="*/ 175 w 198"/>
                  <a:gd name="T9" fmla="*/ 103 h 279"/>
                  <a:gd name="T10" fmla="*/ 156 w 198"/>
                  <a:gd name="T11" fmla="*/ 106 h 279"/>
                  <a:gd name="T12" fmla="*/ 141 w 198"/>
                  <a:gd name="T13" fmla="*/ 96 h 279"/>
                  <a:gd name="T14" fmla="*/ 158 w 198"/>
                  <a:gd name="T15" fmla="*/ 89 h 279"/>
                  <a:gd name="T16" fmla="*/ 165 w 198"/>
                  <a:gd name="T17" fmla="*/ 77 h 279"/>
                  <a:gd name="T18" fmla="*/ 165 w 198"/>
                  <a:gd name="T19" fmla="*/ 46 h 279"/>
                  <a:gd name="T20" fmla="*/ 154 w 198"/>
                  <a:gd name="T21" fmla="*/ 31 h 279"/>
                  <a:gd name="T22" fmla="*/ 121 w 198"/>
                  <a:gd name="T23" fmla="*/ 29 h 279"/>
                  <a:gd name="T24" fmla="*/ 97 w 198"/>
                  <a:gd name="T25" fmla="*/ 23 h 279"/>
                  <a:gd name="T26" fmla="*/ 83 w 198"/>
                  <a:gd name="T27" fmla="*/ 8 h 279"/>
                  <a:gd name="T28" fmla="*/ 72 w 198"/>
                  <a:gd name="T29" fmla="*/ 0 h 279"/>
                  <a:gd name="T30" fmla="*/ 65 w 198"/>
                  <a:gd name="T31" fmla="*/ 7 h 279"/>
                  <a:gd name="T32" fmla="*/ 55 w 198"/>
                  <a:gd name="T33" fmla="*/ 28 h 279"/>
                  <a:gd name="T34" fmla="*/ 54 w 198"/>
                  <a:gd name="T35" fmla="*/ 50 h 279"/>
                  <a:gd name="T36" fmla="*/ 52 w 198"/>
                  <a:gd name="T37" fmla="*/ 64 h 279"/>
                  <a:gd name="T38" fmla="*/ 43 w 198"/>
                  <a:gd name="T39" fmla="*/ 91 h 279"/>
                  <a:gd name="T40" fmla="*/ 26 w 198"/>
                  <a:gd name="T41" fmla="*/ 98 h 279"/>
                  <a:gd name="T42" fmla="*/ 15 w 198"/>
                  <a:gd name="T43" fmla="*/ 111 h 279"/>
                  <a:gd name="T44" fmla="*/ 33 w 198"/>
                  <a:gd name="T45" fmla="*/ 130 h 279"/>
                  <a:gd name="T46" fmla="*/ 38 w 198"/>
                  <a:gd name="T47" fmla="*/ 147 h 279"/>
                  <a:gd name="T48" fmla="*/ 46 w 198"/>
                  <a:gd name="T49" fmla="*/ 157 h 279"/>
                  <a:gd name="T50" fmla="*/ 46 w 198"/>
                  <a:gd name="T51" fmla="*/ 179 h 279"/>
                  <a:gd name="T52" fmla="*/ 35 w 198"/>
                  <a:gd name="T53" fmla="*/ 188 h 279"/>
                  <a:gd name="T54" fmla="*/ 37 w 198"/>
                  <a:gd name="T55" fmla="*/ 195 h 279"/>
                  <a:gd name="T56" fmla="*/ 41 w 198"/>
                  <a:gd name="T57" fmla="*/ 222 h 279"/>
                  <a:gd name="T58" fmla="*/ 28 w 198"/>
                  <a:gd name="T59" fmla="*/ 229 h 279"/>
                  <a:gd name="T60" fmla="*/ 11 w 198"/>
                  <a:gd name="T61" fmla="*/ 240 h 279"/>
                  <a:gd name="T62" fmla="*/ 1 w 198"/>
                  <a:gd name="T63" fmla="*/ 246 h 279"/>
                  <a:gd name="T64" fmla="*/ 1 w 198"/>
                  <a:gd name="T65" fmla="*/ 268 h 279"/>
                  <a:gd name="T66" fmla="*/ 16 w 198"/>
                  <a:gd name="T67" fmla="*/ 268 h 279"/>
                  <a:gd name="T68" fmla="*/ 23 w 198"/>
                  <a:gd name="T69" fmla="*/ 273 h 279"/>
                  <a:gd name="T70" fmla="*/ 35 w 198"/>
                  <a:gd name="T71" fmla="*/ 277 h 279"/>
                  <a:gd name="T72" fmla="*/ 62 w 198"/>
                  <a:gd name="T73" fmla="*/ 269 h 279"/>
                  <a:gd name="T74" fmla="*/ 80 w 198"/>
                  <a:gd name="T75" fmla="*/ 253 h 279"/>
                  <a:gd name="T76" fmla="*/ 89 w 198"/>
                  <a:gd name="T77" fmla="*/ 239 h 279"/>
                  <a:gd name="T78" fmla="*/ 96 w 198"/>
                  <a:gd name="T79" fmla="*/ 225 h 279"/>
                  <a:gd name="T80" fmla="*/ 118 w 198"/>
                  <a:gd name="T81" fmla="*/ 232 h 279"/>
                  <a:gd name="T82" fmla="*/ 132 w 198"/>
                  <a:gd name="T83" fmla="*/ 234 h 279"/>
                  <a:gd name="T84" fmla="*/ 148 w 198"/>
                  <a:gd name="T85" fmla="*/ 220 h 279"/>
                  <a:gd name="T86" fmla="*/ 169 w 198"/>
                  <a:gd name="T87" fmla="*/ 215 h 279"/>
                  <a:gd name="T88" fmla="*/ 184 w 198"/>
                  <a:gd name="T89" fmla="*/ 199 h 279"/>
                  <a:gd name="T90" fmla="*/ 195 w 198"/>
                  <a:gd name="T91" fmla="*/ 184 h 279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98"/>
                  <a:gd name="T139" fmla="*/ 0 h 279"/>
                  <a:gd name="T140" fmla="*/ 198 w 198"/>
                  <a:gd name="T141" fmla="*/ 279 h 279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98" h="279">
                    <a:moveTo>
                      <a:pt x="195" y="182"/>
                    </a:moveTo>
                    <a:cubicBezTo>
                      <a:pt x="195" y="182"/>
                      <a:pt x="197" y="175"/>
                      <a:pt x="193" y="176"/>
                    </a:cubicBezTo>
                    <a:cubicBezTo>
                      <a:pt x="192" y="176"/>
                      <a:pt x="189" y="176"/>
                      <a:pt x="191" y="174"/>
                    </a:cubicBezTo>
                    <a:cubicBezTo>
                      <a:pt x="191" y="174"/>
                      <a:pt x="188" y="172"/>
                      <a:pt x="187" y="168"/>
                    </a:cubicBezTo>
                    <a:cubicBezTo>
                      <a:pt x="187" y="168"/>
                      <a:pt x="187" y="162"/>
                      <a:pt x="190" y="161"/>
                    </a:cubicBezTo>
                    <a:cubicBezTo>
                      <a:pt x="190" y="161"/>
                      <a:pt x="193" y="161"/>
                      <a:pt x="193" y="155"/>
                    </a:cubicBezTo>
                    <a:cubicBezTo>
                      <a:pt x="193" y="155"/>
                      <a:pt x="193" y="149"/>
                      <a:pt x="193" y="149"/>
                    </a:cubicBezTo>
                    <a:cubicBezTo>
                      <a:pt x="193" y="149"/>
                      <a:pt x="195" y="147"/>
                      <a:pt x="193" y="147"/>
                    </a:cubicBezTo>
                    <a:cubicBezTo>
                      <a:pt x="193" y="147"/>
                      <a:pt x="192" y="136"/>
                      <a:pt x="194" y="134"/>
                    </a:cubicBezTo>
                    <a:cubicBezTo>
                      <a:pt x="194" y="135"/>
                      <a:pt x="196" y="130"/>
                      <a:pt x="193" y="126"/>
                    </a:cubicBezTo>
                    <a:cubicBezTo>
                      <a:pt x="193" y="127"/>
                      <a:pt x="192" y="118"/>
                      <a:pt x="191" y="118"/>
                    </a:cubicBezTo>
                    <a:cubicBezTo>
                      <a:pt x="191" y="118"/>
                      <a:pt x="190" y="113"/>
                      <a:pt x="189" y="113"/>
                    </a:cubicBezTo>
                    <a:cubicBezTo>
                      <a:pt x="189" y="113"/>
                      <a:pt x="187" y="111"/>
                      <a:pt x="187" y="111"/>
                    </a:cubicBezTo>
                    <a:cubicBezTo>
                      <a:pt x="187" y="111"/>
                      <a:pt x="185" y="106"/>
                      <a:pt x="184" y="106"/>
                    </a:cubicBezTo>
                    <a:cubicBezTo>
                      <a:pt x="184" y="106"/>
                      <a:pt x="175" y="105"/>
                      <a:pt x="175" y="103"/>
                    </a:cubicBezTo>
                    <a:cubicBezTo>
                      <a:pt x="175" y="104"/>
                      <a:pt x="172" y="100"/>
                      <a:pt x="168" y="103"/>
                    </a:cubicBezTo>
                    <a:cubicBezTo>
                      <a:pt x="168" y="103"/>
                      <a:pt x="164" y="106"/>
                      <a:pt x="163" y="106"/>
                    </a:cubicBezTo>
                    <a:cubicBezTo>
                      <a:pt x="163" y="106"/>
                      <a:pt x="160" y="112"/>
                      <a:pt x="156" y="106"/>
                    </a:cubicBezTo>
                    <a:cubicBezTo>
                      <a:pt x="156" y="107"/>
                      <a:pt x="155" y="113"/>
                      <a:pt x="152" y="106"/>
                    </a:cubicBezTo>
                    <a:cubicBezTo>
                      <a:pt x="152" y="107"/>
                      <a:pt x="147" y="103"/>
                      <a:pt x="145" y="105"/>
                    </a:cubicBezTo>
                    <a:cubicBezTo>
                      <a:pt x="145" y="105"/>
                      <a:pt x="138" y="99"/>
                      <a:pt x="141" y="96"/>
                    </a:cubicBezTo>
                    <a:cubicBezTo>
                      <a:pt x="141" y="96"/>
                      <a:pt x="145" y="94"/>
                      <a:pt x="146" y="94"/>
                    </a:cubicBezTo>
                    <a:cubicBezTo>
                      <a:pt x="146" y="94"/>
                      <a:pt x="153" y="92"/>
                      <a:pt x="154" y="92"/>
                    </a:cubicBezTo>
                    <a:cubicBezTo>
                      <a:pt x="155" y="92"/>
                      <a:pt x="157" y="89"/>
                      <a:pt x="158" y="89"/>
                    </a:cubicBezTo>
                    <a:cubicBezTo>
                      <a:pt x="158" y="89"/>
                      <a:pt x="160" y="86"/>
                      <a:pt x="160" y="85"/>
                    </a:cubicBezTo>
                    <a:cubicBezTo>
                      <a:pt x="160" y="86"/>
                      <a:pt x="162" y="82"/>
                      <a:pt x="163" y="82"/>
                    </a:cubicBezTo>
                    <a:cubicBezTo>
                      <a:pt x="163" y="82"/>
                      <a:pt x="163" y="79"/>
                      <a:pt x="165" y="77"/>
                    </a:cubicBezTo>
                    <a:cubicBezTo>
                      <a:pt x="165" y="77"/>
                      <a:pt x="168" y="69"/>
                      <a:pt x="165" y="61"/>
                    </a:cubicBezTo>
                    <a:cubicBezTo>
                      <a:pt x="165" y="61"/>
                      <a:pt x="161" y="54"/>
                      <a:pt x="165" y="49"/>
                    </a:cubicBezTo>
                    <a:cubicBezTo>
                      <a:pt x="165" y="49"/>
                      <a:pt x="166" y="47"/>
                      <a:pt x="165" y="46"/>
                    </a:cubicBezTo>
                    <a:cubicBezTo>
                      <a:pt x="165" y="46"/>
                      <a:pt x="163" y="40"/>
                      <a:pt x="165" y="37"/>
                    </a:cubicBezTo>
                    <a:cubicBezTo>
                      <a:pt x="165" y="38"/>
                      <a:pt x="168" y="33"/>
                      <a:pt x="162" y="34"/>
                    </a:cubicBezTo>
                    <a:cubicBezTo>
                      <a:pt x="162" y="35"/>
                      <a:pt x="160" y="31"/>
                      <a:pt x="154" y="31"/>
                    </a:cubicBezTo>
                    <a:cubicBezTo>
                      <a:pt x="154" y="31"/>
                      <a:pt x="146" y="29"/>
                      <a:pt x="145" y="29"/>
                    </a:cubicBezTo>
                    <a:cubicBezTo>
                      <a:pt x="145" y="29"/>
                      <a:pt x="131" y="27"/>
                      <a:pt x="130" y="27"/>
                    </a:cubicBezTo>
                    <a:cubicBezTo>
                      <a:pt x="130" y="27"/>
                      <a:pt x="124" y="29"/>
                      <a:pt x="121" y="29"/>
                    </a:cubicBezTo>
                    <a:cubicBezTo>
                      <a:pt x="121" y="29"/>
                      <a:pt x="117" y="29"/>
                      <a:pt x="115" y="30"/>
                    </a:cubicBezTo>
                    <a:cubicBezTo>
                      <a:pt x="115" y="30"/>
                      <a:pt x="107" y="33"/>
                      <a:pt x="101" y="30"/>
                    </a:cubicBezTo>
                    <a:cubicBezTo>
                      <a:pt x="101" y="30"/>
                      <a:pt x="97" y="27"/>
                      <a:pt x="97" y="23"/>
                    </a:cubicBezTo>
                    <a:cubicBezTo>
                      <a:pt x="96" y="23"/>
                      <a:pt x="92" y="18"/>
                      <a:pt x="92" y="18"/>
                    </a:cubicBezTo>
                    <a:cubicBezTo>
                      <a:pt x="92" y="18"/>
                      <a:pt x="88" y="13"/>
                      <a:pt x="88" y="14"/>
                    </a:cubicBezTo>
                    <a:cubicBezTo>
                      <a:pt x="88" y="14"/>
                      <a:pt x="84" y="9"/>
                      <a:pt x="83" y="8"/>
                    </a:cubicBezTo>
                    <a:cubicBezTo>
                      <a:pt x="83" y="8"/>
                      <a:pt x="78" y="4"/>
                      <a:pt x="78" y="4"/>
                    </a:cubicBezTo>
                    <a:cubicBezTo>
                      <a:pt x="78" y="4"/>
                      <a:pt x="76" y="2"/>
                      <a:pt x="75" y="2"/>
                    </a:cubicBezTo>
                    <a:cubicBezTo>
                      <a:pt x="75" y="2"/>
                      <a:pt x="73" y="0"/>
                      <a:pt x="72" y="0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69" y="2"/>
                      <a:pt x="69" y="2"/>
                      <a:pt x="69" y="2"/>
                    </a:cubicBezTo>
                    <a:cubicBezTo>
                      <a:pt x="68" y="3"/>
                      <a:pt x="65" y="7"/>
                      <a:pt x="65" y="7"/>
                    </a:cubicBezTo>
                    <a:cubicBezTo>
                      <a:pt x="64" y="7"/>
                      <a:pt x="61" y="13"/>
                      <a:pt x="61" y="14"/>
                    </a:cubicBezTo>
                    <a:cubicBezTo>
                      <a:pt x="59" y="15"/>
                      <a:pt x="55" y="23"/>
                      <a:pt x="56" y="23"/>
                    </a:cubicBezTo>
                    <a:cubicBezTo>
                      <a:pt x="50" y="25"/>
                      <a:pt x="55" y="28"/>
                      <a:pt x="55" y="28"/>
                    </a:cubicBezTo>
                    <a:cubicBezTo>
                      <a:pt x="54" y="28"/>
                      <a:pt x="51" y="34"/>
                      <a:pt x="51" y="34"/>
                    </a:cubicBezTo>
                    <a:cubicBezTo>
                      <a:pt x="49" y="36"/>
                      <a:pt x="55" y="40"/>
                      <a:pt x="55" y="40"/>
                    </a:cubicBezTo>
                    <a:cubicBezTo>
                      <a:pt x="51" y="46"/>
                      <a:pt x="54" y="50"/>
                      <a:pt x="54" y="50"/>
                    </a:cubicBezTo>
                    <a:cubicBezTo>
                      <a:pt x="51" y="52"/>
                      <a:pt x="51" y="52"/>
                      <a:pt x="51" y="52"/>
                    </a:cubicBezTo>
                    <a:cubicBezTo>
                      <a:pt x="46" y="55"/>
                      <a:pt x="46" y="60"/>
                      <a:pt x="46" y="60"/>
                    </a:cubicBezTo>
                    <a:cubicBezTo>
                      <a:pt x="46" y="61"/>
                      <a:pt x="52" y="63"/>
                      <a:pt x="52" y="64"/>
                    </a:cubicBezTo>
                    <a:cubicBezTo>
                      <a:pt x="57" y="65"/>
                      <a:pt x="50" y="71"/>
                      <a:pt x="50" y="71"/>
                    </a:cubicBezTo>
                    <a:cubicBezTo>
                      <a:pt x="50" y="72"/>
                      <a:pt x="46" y="77"/>
                      <a:pt x="46" y="77"/>
                    </a:cubicBezTo>
                    <a:cubicBezTo>
                      <a:pt x="42" y="84"/>
                      <a:pt x="43" y="91"/>
                      <a:pt x="43" y="91"/>
                    </a:cubicBezTo>
                    <a:cubicBezTo>
                      <a:pt x="38" y="90"/>
                      <a:pt x="37" y="95"/>
                      <a:pt x="37" y="95"/>
                    </a:cubicBezTo>
                    <a:cubicBezTo>
                      <a:pt x="31" y="97"/>
                      <a:pt x="31" y="97"/>
                      <a:pt x="31" y="97"/>
                    </a:cubicBezTo>
                    <a:cubicBezTo>
                      <a:pt x="27" y="102"/>
                      <a:pt x="26" y="98"/>
                      <a:pt x="26" y="98"/>
                    </a:cubicBezTo>
                    <a:cubicBezTo>
                      <a:pt x="19" y="96"/>
                      <a:pt x="19" y="100"/>
                      <a:pt x="19" y="100"/>
                    </a:cubicBezTo>
                    <a:cubicBezTo>
                      <a:pt x="19" y="107"/>
                      <a:pt x="19" y="107"/>
                      <a:pt x="19" y="107"/>
                    </a:cubicBezTo>
                    <a:cubicBezTo>
                      <a:pt x="13" y="106"/>
                      <a:pt x="15" y="111"/>
                      <a:pt x="15" y="111"/>
                    </a:cubicBezTo>
                    <a:cubicBezTo>
                      <a:pt x="17" y="110"/>
                      <a:pt x="23" y="115"/>
                      <a:pt x="23" y="115"/>
                    </a:cubicBezTo>
                    <a:cubicBezTo>
                      <a:pt x="24" y="121"/>
                      <a:pt x="28" y="126"/>
                      <a:pt x="28" y="126"/>
                    </a:cubicBezTo>
                    <a:cubicBezTo>
                      <a:pt x="29" y="126"/>
                      <a:pt x="33" y="130"/>
                      <a:pt x="33" y="130"/>
                    </a:cubicBezTo>
                    <a:cubicBezTo>
                      <a:pt x="34" y="130"/>
                      <a:pt x="36" y="138"/>
                      <a:pt x="36" y="138"/>
                    </a:cubicBezTo>
                    <a:cubicBezTo>
                      <a:pt x="32" y="140"/>
                      <a:pt x="34" y="142"/>
                      <a:pt x="34" y="142"/>
                    </a:cubicBezTo>
                    <a:cubicBezTo>
                      <a:pt x="34" y="145"/>
                      <a:pt x="38" y="147"/>
                      <a:pt x="38" y="147"/>
                    </a:cubicBezTo>
                    <a:cubicBezTo>
                      <a:pt x="37" y="149"/>
                      <a:pt x="40" y="152"/>
                      <a:pt x="40" y="152"/>
                    </a:cubicBezTo>
                    <a:cubicBezTo>
                      <a:pt x="42" y="149"/>
                      <a:pt x="44" y="154"/>
                      <a:pt x="44" y="153"/>
                    </a:cubicBezTo>
                    <a:cubicBezTo>
                      <a:pt x="43" y="156"/>
                      <a:pt x="46" y="158"/>
                      <a:pt x="46" y="157"/>
                    </a:cubicBezTo>
                    <a:cubicBezTo>
                      <a:pt x="52" y="156"/>
                      <a:pt x="50" y="161"/>
                      <a:pt x="50" y="161"/>
                    </a:cubicBezTo>
                    <a:cubicBezTo>
                      <a:pt x="48" y="161"/>
                      <a:pt x="46" y="168"/>
                      <a:pt x="46" y="168"/>
                    </a:cubicBezTo>
                    <a:cubicBezTo>
                      <a:pt x="42" y="171"/>
                      <a:pt x="46" y="179"/>
                      <a:pt x="46" y="179"/>
                    </a:cubicBezTo>
                    <a:cubicBezTo>
                      <a:pt x="55" y="180"/>
                      <a:pt x="45" y="183"/>
                      <a:pt x="45" y="183"/>
                    </a:cubicBezTo>
                    <a:cubicBezTo>
                      <a:pt x="41" y="182"/>
                      <a:pt x="38" y="185"/>
                      <a:pt x="38" y="185"/>
                    </a:cubicBezTo>
                    <a:cubicBezTo>
                      <a:pt x="38" y="186"/>
                      <a:pt x="35" y="188"/>
                      <a:pt x="35" y="188"/>
                    </a:cubicBezTo>
                    <a:cubicBezTo>
                      <a:pt x="34" y="187"/>
                      <a:pt x="32" y="189"/>
                      <a:pt x="31" y="190"/>
                    </a:cubicBezTo>
                    <a:cubicBezTo>
                      <a:pt x="32" y="190"/>
                      <a:pt x="33" y="188"/>
                      <a:pt x="34" y="188"/>
                    </a:cubicBezTo>
                    <a:cubicBezTo>
                      <a:pt x="36" y="191"/>
                      <a:pt x="37" y="195"/>
                      <a:pt x="37" y="195"/>
                    </a:cubicBezTo>
                    <a:cubicBezTo>
                      <a:pt x="37" y="195"/>
                      <a:pt x="38" y="202"/>
                      <a:pt x="42" y="199"/>
                    </a:cubicBezTo>
                    <a:cubicBezTo>
                      <a:pt x="42" y="200"/>
                      <a:pt x="46" y="211"/>
                      <a:pt x="44" y="218"/>
                    </a:cubicBezTo>
                    <a:cubicBezTo>
                      <a:pt x="44" y="218"/>
                      <a:pt x="41" y="220"/>
                      <a:pt x="41" y="222"/>
                    </a:cubicBezTo>
                    <a:cubicBezTo>
                      <a:pt x="41" y="222"/>
                      <a:pt x="38" y="221"/>
                      <a:pt x="38" y="224"/>
                    </a:cubicBezTo>
                    <a:cubicBezTo>
                      <a:pt x="38" y="224"/>
                      <a:pt x="35" y="226"/>
                      <a:pt x="33" y="226"/>
                    </a:cubicBezTo>
                    <a:cubicBezTo>
                      <a:pt x="33" y="226"/>
                      <a:pt x="31" y="229"/>
                      <a:pt x="28" y="229"/>
                    </a:cubicBezTo>
                    <a:cubicBezTo>
                      <a:pt x="28" y="229"/>
                      <a:pt x="27" y="231"/>
                      <a:pt x="19" y="230"/>
                    </a:cubicBezTo>
                    <a:cubicBezTo>
                      <a:pt x="19" y="230"/>
                      <a:pt x="16" y="233"/>
                      <a:pt x="16" y="236"/>
                    </a:cubicBezTo>
                    <a:cubicBezTo>
                      <a:pt x="16" y="237"/>
                      <a:pt x="12" y="239"/>
                      <a:pt x="11" y="240"/>
                    </a:cubicBezTo>
                    <a:cubicBezTo>
                      <a:pt x="11" y="239"/>
                      <a:pt x="8" y="243"/>
                      <a:pt x="7" y="242"/>
                    </a:cubicBezTo>
                    <a:cubicBezTo>
                      <a:pt x="7" y="243"/>
                      <a:pt x="3" y="244"/>
                      <a:pt x="3" y="245"/>
                    </a:cubicBezTo>
                    <a:cubicBezTo>
                      <a:pt x="3" y="245"/>
                      <a:pt x="0" y="244"/>
                      <a:pt x="1" y="246"/>
                    </a:cubicBezTo>
                    <a:cubicBezTo>
                      <a:pt x="1" y="246"/>
                      <a:pt x="3" y="253"/>
                      <a:pt x="4" y="253"/>
                    </a:cubicBezTo>
                    <a:cubicBezTo>
                      <a:pt x="4" y="253"/>
                      <a:pt x="7" y="258"/>
                      <a:pt x="4" y="260"/>
                    </a:cubicBezTo>
                    <a:cubicBezTo>
                      <a:pt x="4" y="260"/>
                      <a:pt x="2" y="264"/>
                      <a:pt x="1" y="268"/>
                    </a:cubicBezTo>
                    <a:cubicBezTo>
                      <a:pt x="3" y="267"/>
                      <a:pt x="5" y="266"/>
                      <a:pt x="7" y="265"/>
                    </a:cubicBezTo>
                    <a:cubicBezTo>
                      <a:pt x="7" y="265"/>
                      <a:pt x="10" y="264"/>
                      <a:pt x="10" y="267"/>
                    </a:cubicBezTo>
                    <a:cubicBezTo>
                      <a:pt x="10" y="267"/>
                      <a:pt x="15" y="267"/>
                      <a:pt x="16" y="268"/>
                    </a:cubicBezTo>
                    <a:cubicBezTo>
                      <a:pt x="16" y="268"/>
                      <a:pt x="18" y="268"/>
                      <a:pt x="19" y="267"/>
                    </a:cubicBezTo>
                    <a:cubicBezTo>
                      <a:pt x="19" y="267"/>
                      <a:pt x="21" y="267"/>
                      <a:pt x="23" y="270"/>
                    </a:cubicBezTo>
                    <a:cubicBezTo>
                      <a:pt x="23" y="273"/>
                      <a:pt x="23" y="273"/>
                      <a:pt x="23" y="273"/>
                    </a:cubicBezTo>
                    <a:cubicBezTo>
                      <a:pt x="23" y="273"/>
                      <a:pt x="20" y="279"/>
                      <a:pt x="25" y="276"/>
                    </a:cubicBezTo>
                    <a:cubicBezTo>
                      <a:pt x="25" y="276"/>
                      <a:pt x="27" y="276"/>
                      <a:pt x="28" y="279"/>
                    </a:cubicBezTo>
                    <a:cubicBezTo>
                      <a:pt x="28" y="279"/>
                      <a:pt x="34" y="278"/>
                      <a:pt x="35" y="277"/>
                    </a:cubicBezTo>
                    <a:cubicBezTo>
                      <a:pt x="35" y="277"/>
                      <a:pt x="42" y="275"/>
                      <a:pt x="42" y="274"/>
                    </a:cubicBezTo>
                    <a:cubicBezTo>
                      <a:pt x="42" y="275"/>
                      <a:pt x="50" y="272"/>
                      <a:pt x="50" y="272"/>
                    </a:cubicBezTo>
                    <a:cubicBezTo>
                      <a:pt x="50" y="272"/>
                      <a:pt x="61" y="270"/>
                      <a:pt x="62" y="269"/>
                    </a:cubicBezTo>
                    <a:cubicBezTo>
                      <a:pt x="62" y="270"/>
                      <a:pt x="66" y="269"/>
                      <a:pt x="70" y="268"/>
                    </a:cubicBezTo>
                    <a:cubicBezTo>
                      <a:pt x="70" y="268"/>
                      <a:pt x="73" y="266"/>
                      <a:pt x="75" y="263"/>
                    </a:cubicBezTo>
                    <a:cubicBezTo>
                      <a:pt x="75" y="263"/>
                      <a:pt x="78" y="256"/>
                      <a:pt x="80" y="253"/>
                    </a:cubicBezTo>
                    <a:cubicBezTo>
                      <a:pt x="80" y="254"/>
                      <a:pt x="83" y="253"/>
                      <a:pt x="84" y="246"/>
                    </a:cubicBezTo>
                    <a:cubicBezTo>
                      <a:pt x="84" y="246"/>
                      <a:pt x="84" y="241"/>
                      <a:pt x="89" y="241"/>
                    </a:cubicBezTo>
                    <a:cubicBezTo>
                      <a:pt x="89" y="241"/>
                      <a:pt x="93" y="239"/>
                      <a:pt x="89" y="239"/>
                    </a:cubicBezTo>
                    <a:cubicBezTo>
                      <a:pt x="89" y="239"/>
                      <a:pt x="84" y="232"/>
                      <a:pt x="89" y="229"/>
                    </a:cubicBezTo>
                    <a:cubicBezTo>
                      <a:pt x="89" y="229"/>
                      <a:pt x="92" y="227"/>
                      <a:pt x="94" y="227"/>
                    </a:cubicBezTo>
                    <a:cubicBezTo>
                      <a:pt x="96" y="225"/>
                      <a:pt x="96" y="225"/>
                      <a:pt x="96" y="225"/>
                    </a:cubicBezTo>
                    <a:cubicBezTo>
                      <a:pt x="96" y="225"/>
                      <a:pt x="97" y="221"/>
                      <a:pt x="104" y="222"/>
                    </a:cubicBezTo>
                    <a:cubicBezTo>
                      <a:pt x="104" y="222"/>
                      <a:pt x="112" y="223"/>
                      <a:pt x="113" y="224"/>
                    </a:cubicBezTo>
                    <a:cubicBezTo>
                      <a:pt x="113" y="224"/>
                      <a:pt x="118" y="231"/>
                      <a:pt x="118" y="232"/>
                    </a:cubicBezTo>
                    <a:cubicBezTo>
                      <a:pt x="118" y="232"/>
                      <a:pt x="118" y="239"/>
                      <a:pt x="122" y="238"/>
                    </a:cubicBezTo>
                    <a:cubicBezTo>
                      <a:pt x="122" y="237"/>
                      <a:pt x="126" y="241"/>
                      <a:pt x="127" y="237"/>
                    </a:cubicBezTo>
                    <a:cubicBezTo>
                      <a:pt x="127" y="238"/>
                      <a:pt x="132" y="235"/>
                      <a:pt x="132" y="234"/>
                    </a:cubicBezTo>
                    <a:cubicBezTo>
                      <a:pt x="132" y="234"/>
                      <a:pt x="141" y="235"/>
                      <a:pt x="140" y="226"/>
                    </a:cubicBezTo>
                    <a:cubicBezTo>
                      <a:pt x="141" y="226"/>
                      <a:pt x="143" y="223"/>
                      <a:pt x="146" y="224"/>
                    </a:cubicBezTo>
                    <a:cubicBezTo>
                      <a:pt x="146" y="224"/>
                      <a:pt x="149" y="221"/>
                      <a:pt x="148" y="220"/>
                    </a:cubicBezTo>
                    <a:cubicBezTo>
                      <a:pt x="148" y="220"/>
                      <a:pt x="141" y="218"/>
                      <a:pt x="147" y="218"/>
                    </a:cubicBezTo>
                    <a:cubicBezTo>
                      <a:pt x="148" y="218"/>
                      <a:pt x="160" y="217"/>
                      <a:pt x="163" y="220"/>
                    </a:cubicBezTo>
                    <a:cubicBezTo>
                      <a:pt x="163" y="220"/>
                      <a:pt x="167" y="220"/>
                      <a:pt x="169" y="215"/>
                    </a:cubicBezTo>
                    <a:cubicBezTo>
                      <a:pt x="169" y="216"/>
                      <a:pt x="174" y="212"/>
                      <a:pt x="175" y="210"/>
                    </a:cubicBezTo>
                    <a:cubicBezTo>
                      <a:pt x="175" y="211"/>
                      <a:pt x="178" y="206"/>
                      <a:pt x="179" y="206"/>
                    </a:cubicBezTo>
                    <a:cubicBezTo>
                      <a:pt x="179" y="206"/>
                      <a:pt x="184" y="201"/>
                      <a:pt x="184" y="199"/>
                    </a:cubicBezTo>
                    <a:cubicBezTo>
                      <a:pt x="184" y="199"/>
                      <a:pt x="189" y="197"/>
                      <a:pt x="189" y="196"/>
                    </a:cubicBezTo>
                    <a:cubicBezTo>
                      <a:pt x="189" y="196"/>
                      <a:pt x="191" y="194"/>
                      <a:pt x="194" y="193"/>
                    </a:cubicBezTo>
                    <a:cubicBezTo>
                      <a:pt x="194" y="193"/>
                      <a:pt x="196" y="187"/>
                      <a:pt x="195" y="184"/>
                    </a:cubicBezTo>
                    <a:cubicBezTo>
                      <a:pt x="195" y="185"/>
                      <a:pt x="198" y="183"/>
                      <a:pt x="195" y="182"/>
                    </a:cubicBezTo>
                  </a:path>
                </a:pathLst>
              </a:custGeom>
              <a:solidFill>
                <a:schemeClr val="bg2">
                  <a:lumMod val="40000"/>
                  <a:lumOff val="60000"/>
                </a:schemeClr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3" name="Freeform 242">
                <a:extLst>
                  <a:ext uri="{FF2B5EF4-FFF2-40B4-BE49-F238E27FC236}">
                    <a16:creationId xmlns:a16="http://schemas.microsoft.com/office/drawing/2014/main" id="{90F32D93-AB34-794F-79FB-B4DEAEF5635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294492" y="2760349"/>
                <a:ext cx="498890" cy="386423"/>
              </a:xfrm>
              <a:custGeom>
                <a:avLst/>
                <a:gdLst>
                  <a:gd name="T0" fmla="*/ 151 w 157"/>
                  <a:gd name="T1" fmla="*/ 61 h 121"/>
                  <a:gd name="T2" fmla="*/ 136 w 157"/>
                  <a:gd name="T3" fmla="*/ 61 h 121"/>
                  <a:gd name="T4" fmla="*/ 126 w 157"/>
                  <a:gd name="T5" fmla="*/ 54 h 121"/>
                  <a:gd name="T6" fmla="*/ 119 w 157"/>
                  <a:gd name="T7" fmla="*/ 49 h 121"/>
                  <a:gd name="T8" fmla="*/ 114 w 157"/>
                  <a:gd name="T9" fmla="*/ 38 h 121"/>
                  <a:gd name="T10" fmla="*/ 108 w 157"/>
                  <a:gd name="T11" fmla="*/ 30 h 121"/>
                  <a:gd name="T12" fmla="*/ 99 w 157"/>
                  <a:gd name="T13" fmla="*/ 25 h 121"/>
                  <a:gd name="T14" fmla="*/ 91 w 157"/>
                  <a:gd name="T15" fmla="*/ 19 h 121"/>
                  <a:gd name="T16" fmla="*/ 78 w 157"/>
                  <a:gd name="T17" fmla="*/ 18 h 121"/>
                  <a:gd name="T18" fmla="*/ 56 w 157"/>
                  <a:gd name="T19" fmla="*/ 21 h 121"/>
                  <a:gd name="T20" fmla="*/ 42 w 157"/>
                  <a:gd name="T21" fmla="*/ 26 h 121"/>
                  <a:gd name="T22" fmla="*/ 32 w 157"/>
                  <a:gd name="T23" fmla="*/ 19 h 121"/>
                  <a:gd name="T24" fmla="*/ 14 w 157"/>
                  <a:gd name="T25" fmla="*/ 12 h 121"/>
                  <a:gd name="T26" fmla="*/ 8 w 157"/>
                  <a:gd name="T27" fmla="*/ 4 h 121"/>
                  <a:gd name="T28" fmla="*/ 5 w 157"/>
                  <a:gd name="T29" fmla="*/ 19 h 121"/>
                  <a:gd name="T30" fmla="*/ 4 w 157"/>
                  <a:gd name="T31" fmla="*/ 29 h 121"/>
                  <a:gd name="T32" fmla="*/ 5 w 157"/>
                  <a:gd name="T33" fmla="*/ 45 h 121"/>
                  <a:gd name="T34" fmla="*/ 8 w 157"/>
                  <a:gd name="T35" fmla="*/ 78 h 121"/>
                  <a:gd name="T36" fmla="*/ 10 w 157"/>
                  <a:gd name="T37" fmla="*/ 87 h 121"/>
                  <a:gd name="T38" fmla="*/ 24 w 157"/>
                  <a:gd name="T39" fmla="*/ 84 h 121"/>
                  <a:gd name="T40" fmla="*/ 29 w 157"/>
                  <a:gd name="T41" fmla="*/ 87 h 121"/>
                  <a:gd name="T42" fmla="*/ 31 w 157"/>
                  <a:gd name="T43" fmla="*/ 97 h 121"/>
                  <a:gd name="T44" fmla="*/ 40 w 157"/>
                  <a:gd name="T45" fmla="*/ 98 h 121"/>
                  <a:gd name="T46" fmla="*/ 46 w 157"/>
                  <a:gd name="T47" fmla="*/ 103 h 121"/>
                  <a:gd name="T48" fmla="*/ 52 w 157"/>
                  <a:gd name="T49" fmla="*/ 107 h 121"/>
                  <a:gd name="T50" fmla="*/ 63 w 157"/>
                  <a:gd name="T51" fmla="*/ 112 h 121"/>
                  <a:gd name="T52" fmla="*/ 86 w 157"/>
                  <a:gd name="T53" fmla="*/ 115 h 121"/>
                  <a:gd name="T54" fmla="*/ 95 w 157"/>
                  <a:gd name="T55" fmla="*/ 117 h 121"/>
                  <a:gd name="T56" fmla="*/ 107 w 157"/>
                  <a:gd name="T57" fmla="*/ 113 h 121"/>
                  <a:gd name="T58" fmla="*/ 116 w 157"/>
                  <a:gd name="T59" fmla="*/ 112 h 121"/>
                  <a:gd name="T60" fmla="*/ 128 w 157"/>
                  <a:gd name="T61" fmla="*/ 107 h 121"/>
                  <a:gd name="T62" fmla="*/ 134 w 157"/>
                  <a:gd name="T63" fmla="*/ 101 h 121"/>
                  <a:gd name="T64" fmla="*/ 140 w 157"/>
                  <a:gd name="T65" fmla="*/ 95 h 121"/>
                  <a:gd name="T66" fmla="*/ 145 w 157"/>
                  <a:gd name="T67" fmla="*/ 89 h 121"/>
                  <a:gd name="T68" fmla="*/ 150 w 157"/>
                  <a:gd name="T69" fmla="*/ 74 h 121"/>
                  <a:gd name="T70" fmla="*/ 153 w 157"/>
                  <a:gd name="T71" fmla="*/ 66 h 121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57"/>
                  <a:gd name="T109" fmla="*/ 0 h 121"/>
                  <a:gd name="T110" fmla="*/ 157 w 157"/>
                  <a:gd name="T111" fmla="*/ 121 h 121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57" h="121">
                    <a:moveTo>
                      <a:pt x="153" y="66"/>
                    </a:moveTo>
                    <a:cubicBezTo>
                      <a:pt x="153" y="66"/>
                      <a:pt x="152" y="64"/>
                      <a:pt x="151" y="61"/>
                    </a:cubicBezTo>
                    <a:cubicBezTo>
                      <a:pt x="152" y="61"/>
                      <a:pt x="148" y="60"/>
                      <a:pt x="146" y="62"/>
                    </a:cubicBezTo>
                    <a:cubicBezTo>
                      <a:pt x="146" y="62"/>
                      <a:pt x="134" y="65"/>
                      <a:pt x="136" y="61"/>
                    </a:cubicBezTo>
                    <a:cubicBezTo>
                      <a:pt x="136" y="61"/>
                      <a:pt x="136" y="54"/>
                      <a:pt x="132" y="56"/>
                    </a:cubicBezTo>
                    <a:cubicBezTo>
                      <a:pt x="133" y="56"/>
                      <a:pt x="125" y="57"/>
                      <a:pt x="126" y="54"/>
                    </a:cubicBezTo>
                    <a:cubicBezTo>
                      <a:pt x="126" y="54"/>
                      <a:pt x="121" y="53"/>
                      <a:pt x="117" y="53"/>
                    </a:cubicBezTo>
                    <a:cubicBezTo>
                      <a:pt x="117" y="53"/>
                      <a:pt x="115" y="51"/>
                      <a:pt x="119" y="49"/>
                    </a:cubicBezTo>
                    <a:cubicBezTo>
                      <a:pt x="119" y="49"/>
                      <a:pt x="119" y="45"/>
                      <a:pt x="117" y="44"/>
                    </a:cubicBezTo>
                    <a:cubicBezTo>
                      <a:pt x="117" y="44"/>
                      <a:pt x="116" y="39"/>
                      <a:pt x="114" y="38"/>
                    </a:cubicBezTo>
                    <a:cubicBezTo>
                      <a:pt x="114" y="38"/>
                      <a:pt x="114" y="34"/>
                      <a:pt x="111" y="34"/>
                    </a:cubicBezTo>
                    <a:cubicBezTo>
                      <a:pt x="111" y="34"/>
                      <a:pt x="112" y="28"/>
                      <a:pt x="108" y="30"/>
                    </a:cubicBezTo>
                    <a:cubicBezTo>
                      <a:pt x="108" y="30"/>
                      <a:pt x="104" y="34"/>
                      <a:pt x="104" y="27"/>
                    </a:cubicBezTo>
                    <a:cubicBezTo>
                      <a:pt x="104" y="28"/>
                      <a:pt x="105" y="23"/>
                      <a:pt x="99" y="25"/>
                    </a:cubicBezTo>
                    <a:cubicBezTo>
                      <a:pt x="99" y="26"/>
                      <a:pt x="96" y="23"/>
                      <a:pt x="96" y="21"/>
                    </a:cubicBezTo>
                    <a:cubicBezTo>
                      <a:pt x="96" y="21"/>
                      <a:pt x="92" y="19"/>
                      <a:pt x="91" y="19"/>
                    </a:cubicBezTo>
                    <a:cubicBezTo>
                      <a:pt x="91" y="20"/>
                      <a:pt x="89" y="17"/>
                      <a:pt x="86" y="18"/>
                    </a:cubicBezTo>
                    <a:cubicBezTo>
                      <a:pt x="86" y="18"/>
                      <a:pt x="84" y="13"/>
                      <a:pt x="78" y="18"/>
                    </a:cubicBezTo>
                    <a:cubicBezTo>
                      <a:pt x="78" y="17"/>
                      <a:pt x="69" y="17"/>
                      <a:pt x="61" y="19"/>
                    </a:cubicBezTo>
                    <a:cubicBezTo>
                      <a:pt x="61" y="19"/>
                      <a:pt x="60" y="21"/>
                      <a:pt x="56" y="21"/>
                    </a:cubicBezTo>
                    <a:cubicBezTo>
                      <a:pt x="57" y="21"/>
                      <a:pt x="54" y="23"/>
                      <a:pt x="51" y="23"/>
                    </a:cubicBezTo>
                    <a:cubicBezTo>
                      <a:pt x="52" y="23"/>
                      <a:pt x="48" y="26"/>
                      <a:pt x="42" y="26"/>
                    </a:cubicBezTo>
                    <a:cubicBezTo>
                      <a:pt x="42" y="26"/>
                      <a:pt x="38" y="26"/>
                      <a:pt x="38" y="21"/>
                    </a:cubicBezTo>
                    <a:cubicBezTo>
                      <a:pt x="38" y="22"/>
                      <a:pt x="35" y="19"/>
                      <a:pt x="32" y="19"/>
                    </a:cubicBezTo>
                    <a:cubicBezTo>
                      <a:pt x="28" y="17"/>
                      <a:pt x="28" y="17"/>
                      <a:pt x="28" y="17"/>
                    </a:cubicBezTo>
                    <a:cubicBezTo>
                      <a:pt x="28" y="17"/>
                      <a:pt x="23" y="12"/>
                      <a:pt x="14" y="12"/>
                    </a:cubicBezTo>
                    <a:cubicBezTo>
                      <a:pt x="14" y="12"/>
                      <a:pt x="15" y="0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2" y="7"/>
                      <a:pt x="3" y="13"/>
                    </a:cubicBezTo>
                    <a:cubicBezTo>
                      <a:pt x="3" y="13"/>
                      <a:pt x="3" y="19"/>
                      <a:pt x="5" y="19"/>
                    </a:cubicBezTo>
                    <a:cubicBezTo>
                      <a:pt x="5" y="20"/>
                      <a:pt x="8" y="22"/>
                      <a:pt x="4" y="23"/>
                    </a:cubicBezTo>
                    <a:cubicBezTo>
                      <a:pt x="4" y="23"/>
                      <a:pt x="0" y="26"/>
                      <a:pt x="4" y="29"/>
                    </a:cubicBezTo>
                    <a:cubicBezTo>
                      <a:pt x="4" y="29"/>
                      <a:pt x="10" y="37"/>
                      <a:pt x="4" y="39"/>
                    </a:cubicBezTo>
                    <a:cubicBezTo>
                      <a:pt x="4" y="39"/>
                      <a:pt x="0" y="41"/>
                      <a:pt x="5" y="45"/>
                    </a:cubicBezTo>
                    <a:cubicBezTo>
                      <a:pt x="5" y="46"/>
                      <a:pt x="10" y="51"/>
                      <a:pt x="10" y="51"/>
                    </a:cubicBezTo>
                    <a:cubicBezTo>
                      <a:pt x="10" y="51"/>
                      <a:pt x="14" y="65"/>
                      <a:pt x="8" y="78"/>
                    </a:cubicBezTo>
                    <a:cubicBezTo>
                      <a:pt x="8" y="78"/>
                      <a:pt x="8" y="78"/>
                      <a:pt x="8" y="78"/>
                    </a:cubicBezTo>
                    <a:cubicBezTo>
                      <a:pt x="8" y="78"/>
                      <a:pt x="11" y="82"/>
                      <a:pt x="10" y="87"/>
                    </a:cubicBezTo>
                    <a:cubicBezTo>
                      <a:pt x="10" y="87"/>
                      <a:pt x="14" y="91"/>
                      <a:pt x="19" y="87"/>
                    </a:cubicBezTo>
                    <a:cubicBezTo>
                      <a:pt x="19" y="87"/>
                      <a:pt x="23" y="84"/>
                      <a:pt x="24" y="84"/>
                    </a:cubicBezTo>
                    <a:cubicBezTo>
                      <a:pt x="24" y="84"/>
                      <a:pt x="24" y="84"/>
                      <a:pt x="24" y="84"/>
                    </a:cubicBezTo>
                    <a:cubicBezTo>
                      <a:pt x="26" y="84"/>
                      <a:pt x="28" y="84"/>
                      <a:pt x="29" y="87"/>
                    </a:cubicBezTo>
                    <a:cubicBezTo>
                      <a:pt x="29" y="87"/>
                      <a:pt x="30" y="91"/>
                      <a:pt x="30" y="93"/>
                    </a:cubicBezTo>
                    <a:cubicBezTo>
                      <a:pt x="28" y="95"/>
                      <a:pt x="31" y="97"/>
                      <a:pt x="31" y="97"/>
                    </a:cubicBezTo>
                    <a:cubicBezTo>
                      <a:pt x="28" y="100"/>
                      <a:pt x="36" y="98"/>
                      <a:pt x="36" y="98"/>
                    </a:cubicBezTo>
                    <a:cubicBezTo>
                      <a:pt x="37" y="95"/>
                      <a:pt x="40" y="98"/>
                      <a:pt x="40" y="98"/>
                    </a:cubicBezTo>
                    <a:cubicBezTo>
                      <a:pt x="39" y="102"/>
                      <a:pt x="42" y="100"/>
                      <a:pt x="42" y="100"/>
                    </a:cubicBezTo>
                    <a:cubicBezTo>
                      <a:pt x="46" y="103"/>
                      <a:pt x="46" y="103"/>
                      <a:pt x="46" y="103"/>
                    </a:cubicBezTo>
                    <a:cubicBezTo>
                      <a:pt x="46" y="104"/>
                      <a:pt x="47" y="104"/>
                      <a:pt x="50" y="104"/>
                    </a:cubicBezTo>
                    <a:cubicBezTo>
                      <a:pt x="50" y="105"/>
                      <a:pt x="51" y="106"/>
                      <a:pt x="52" y="107"/>
                    </a:cubicBezTo>
                    <a:cubicBezTo>
                      <a:pt x="52" y="107"/>
                      <a:pt x="56" y="108"/>
                      <a:pt x="57" y="110"/>
                    </a:cubicBezTo>
                    <a:cubicBezTo>
                      <a:pt x="58" y="110"/>
                      <a:pt x="61" y="113"/>
                      <a:pt x="63" y="112"/>
                    </a:cubicBezTo>
                    <a:cubicBezTo>
                      <a:pt x="63" y="112"/>
                      <a:pt x="64" y="117"/>
                      <a:pt x="66" y="112"/>
                    </a:cubicBezTo>
                    <a:cubicBezTo>
                      <a:pt x="66" y="112"/>
                      <a:pt x="85" y="110"/>
                      <a:pt x="86" y="115"/>
                    </a:cubicBezTo>
                    <a:cubicBezTo>
                      <a:pt x="86" y="115"/>
                      <a:pt x="84" y="121"/>
                      <a:pt x="89" y="119"/>
                    </a:cubicBezTo>
                    <a:cubicBezTo>
                      <a:pt x="90" y="119"/>
                      <a:pt x="95" y="119"/>
                      <a:pt x="95" y="117"/>
                    </a:cubicBezTo>
                    <a:cubicBezTo>
                      <a:pt x="95" y="117"/>
                      <a:pt x="100" y="116"/>
                      <a:pt x="100" y="115"/>
                    </a:cubicBezTo>
                    <a:cubicBezTo>
                      <a:pt x="100" y="115"/>
                      <a:pt x="107" y="114"/>
                      <a:pt x="107" y="113"/>
                    </a:cubicBezTo>
                    <a:cubicBezTo>
                      <a:pt x="113" y="111"/>
                      <a:pt x="113" y="111"/>
                      <a:pt x="113" y="111"/>
                    </a:cubicBezTo>
                    <a:cubicBezTo>
                      <a:pt x="113" y="111"/>
                      <a:pt x="114" y="107"/>
                      <a:pt x="116" y="112"/>
                    </a:cubicBezTo>
                    <a:cubicBezTo>
                      <a:pt x="116" y="112"/>
                      <a:pt x="123" y="113"/>
                      <a:pt x="125" y="111"/>
                    </a:cubicBezTo>
                    <a:cubicBezTo>
                      <a:pt x="125" y="111"/>
                      <a:pt x="127" y="107"/>
                      <a:pt x="128" y="107"/>
                    </a:cubicBezTo>
                    <a:cubicBezTo>
                      <a:pt x="127" y="107"/>
                      <a:pt x="130" y="104"/>
                      <a:pt x="130" y="104"/>
                    </a:cubicBezTo>
                    <a:cubicBezTo>
                      <a:pt x="130" y="104"/>
                      <a:pt x="133" y="101"/>
                      <a:pt x="134" y="101"/>
                    </a:cubicBezTo>
                    <a:cubicBezTo>
                      <a:pt x="134" y="101"/>
                      <a:pt x="134" y="98"/>
                      <a:pt x="137" y="97"/>
                    </a:cubicBezTo>
                    <a:cubicBezTo>
                      <a:pt x="137" y="98"/>
                      <a:pt x="138" y="95"/>
                      <a:pt x="140" y="95"/>
                    </a:cubicBezTo>
                    <a:cubicBezTo>
                      <a:pt x="141" y="95"/>
                      <a:pt x="142" y="92"/>
                      <a:pt x="142" y="92"/>
                    </a:cubicBezTo>
                    <a:cubicBezTo>
                      <a:pt x="143" y="92"/>
                      <a:pt x="144" y="89"/>
                      <a:pt x="145" y="89"/>
                    </a:cubicBezTo>
                    <a:cubicBezTo>
                      <a:pt x="146" y="89"/>
                      <a:pt x="146" y="87"/>
                      <a:pt x="147" y="85"/>
                    </a:cubicBezTo>
                    <a:cubicBezTo>
                      <a:pt x="147" y="85"/>
                      <a:pt x="146" y="76"/>
                      <a:pt x="150" y="74"/>
                    </a:cubicBezTo>
                    <a:cubicBezTo>
                      <a:pt x="150" y="74"/>
                      <a:pt x="150" y="72"/>
                      <a:pt x="153" y="72"/>
                    </a:cubicBezTo>
                    <a:cubicBezTo>
                      <a:pt x="153" y="72"/>
                      <a:pt x="157" y="69"/>
                      <a:pt x="153" y="66"/>
                    </a:cubicBezTo>
                  </a:path>
                </a:pathLst>
              </a:custGeom>
              <a:solidFill>
                <a:schemeClr val="bg2">
                  <a:lumMod val="40000"/>
                  <a:lumOff val="60000"/>
                </a:schemeClr>
              </a:solidFill>
              <a:ln w="6350">
                <a:solidFill>
                  <a:srgbClr val="F49E00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88" name="Freeform 243">
                <a:extLst>
                  <a:ext uri="{FF2B5EF4-FFF2-40B4-BE49-F238E27FC236}">
                    <a16:creationId xmlns:a16="http://schemas.microsoft.com/office/drawing/2014/main" id="{ABA22715-6360-7FA3-7CEF-C3A9F5747A2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582103" y="2240895"/>
                <a:ext cx="703198" cy="536875"/>
              </a:xfrm>
              <a:custGeom>
                <a:avLst/>
                <a:gdLst>
                  <a:gd name="T0" fmla="*/ 210 w 222"/>
                  <a:gd name="T1" fmla="*/ 12 h 168"/>
                  <a:gd name="T2" fmla="*/ 197 w 222"/>
                  <a:gd name="T3" fmla="*/ 7 h 168"/>
                  <a:gd name="T4" fmla="*/ 169 w 222"/>
                  <a:gd name="T5" fmla="*/ 4 h 168"/>
                  <a:gd name="T6" fmla="*/ 165 w 222"/>
                  <a:gd name="T7" fmla="*/ 14 h 168"/>
                  <a:gd name="T8" fmla="*/ 154 w 222"/>
                  <a:gd name="T9" fmla="*/ 20 h 168"/>
                  <a:gd name="T10" fmla="*/ 142 w 222"/>
                  <a:gd name="T11" fmla="*/ 25 h 168"/>
                  <a:gd name="T12" fmla="*/ 131 w 222"/>
                  <a:gd name="T13" fmla="*/ 30 h 168"/>
                  <a:gd name="T14" fmla="*/ 124 w 222"/>
                  <a:gd name="T15" fmla="*/ 33 h 168"/>
                  <a:gd name="T16" fmla="*/ 123 w 222"/>
                  <a:gd name="T17" fmla="*/ 43 h 168"/>
                  <a:gd name="T18" fmla="*/ 114 w 222"/>
                  <a:gd name="T19" fmla="*/ 49 h 168"/>
                  <a:gd name="T20" fmla="*/ 100 w 222"/>
                  <a:gd name="T21" fmla="*/ 48 h 168"/>
                  <a:gd name="T22" fmla="*/ 81 w 222"/>
                  <a:gd name="T23" fmla="*/ 52 h 168"/>
                  <a:gd name="T24" fmla="*/ 59 w 222"/>
                  <a:gd name="T25" fmla="*/ 56 h 168"/>
                  <a:gd name="T26" fmla="*/ 47 w 222"/>
                  <a:gd name="T27" fmla="*/ 54 h 168"/>
                  <a:gd name="T28" fmla="*/ 24 w 222"/>
                  <a:gd name="T29" fmla="*/ 57 h 168"/>
                  <a:gd name="T30" fmla="*/ 16 w 222"/>
                  <a:gd name="T31" fmla="*/ 70 h 168"/>
                  <a:gd name="T32" fmla="*/ 6 w 222"/>
                  <a:gd name="T33" fmla="*/ 79 h 168"/>
                  <a:gd name="T34" fmla="*/ 7 w 222"/>
                  <a:gd name="T35" fmla="*/ 87 h 168"/>
                  <a:gd name="T36" fmla="*/ 13 w 222"/>
                  <a:gd name="T37" fmla="*/ 95 h 168"/>
                  <a:gd name="T38" fmla="*/ 21 w 222"/>
                  <a:gd name="T39" fmla="*/ 105 h 168"/>
                  <a:gd name="T40" fmla="*/ 12 w 222"/>
                  <a:gd name="T41" fmla="*/ 109 h 168"/>
                  <a:gd name="T42" fmla="*/ 16 w 222"/>
                  <a:gd name="T43" fmla="*/ 129 h 168"/>
                  <a:gd name="T44" fmla="*/ 11 w 222"/>
                  <a:gd name="T45" fmla="*/ 138 h 168"/>
                  <a:gd name="T46" fmla="*/ 12 w 222"/>
                  <a:gd name="T47" fmla="*/ 146 h 168"/>
                  <a:gd name="T48" fmla="*/ 28 w 222"/>
                  <a:gd name="T49" fmla="*/ 152 h 168"/>
                  <a:gd name="T50" fmla="*/ 42 w 222"/>
                  <a:gd name="T51" fmla="*/ 152 h 168"/>
                  <a:gd name="T52" fmla="*/ 55 w 222"/>
                  <a:gd name="T53" fmla="*/ 156 h 168"/>
                  <a:gd name="T54" fmla="*/ 63 w 222"/>
                  <a:gd name="T55" fmla="*/ 163 h 168"/>
                  <a:gd name="T56" fmla="*/ 75 w 222"/>
                  <a:gd name="T57" fmla="*/ 163 h 168"/>
                  <a:gd name="T58" fmla="*/ 71 w 222"/>
                  <a:gd name="T59" fmla="*/ 152 h 168"/>
                  <a:gd name="T60" fmla="*/ 66 w 222"/>
                  <a:gd name="T61" fmla="*/ 139 h 168"/>
                  <a:gd name="T62" fmla="*/ 62 w 222"/>
                  <a:gd name="T63" fmla="*/ 121 h 168"/>
                  <a:gd name="T64" fmla="*/ 62 w 222"/>
                  <a:gd name="T65" fmla="*/ 112 h 168"/>
                  <a:gd name="T66" fmla="*/ 69 w 222"/>
                  <a:gd name="T67" fmla="*/ 105 h 168"/>
                  <a:gd name="T68" fmla="*/ 77 w 222"/>
                  <a:gd name="T69" fmla="*/ 87 h 168"/>
                  <a:gd name="T70" fmla="*/ 84 w 222"/>
                  <a:gd name="T71" fmla="*/ 75 h 168"/>
                  <a:gd name="T72" fmla="*/ 84 w 222"/>
                  <a:gd name="T73" fmla="*/ 67 h 168"/>
                  <a:gd name="T74" fmla="*/ 98 w 222"/>
                  <a:gd name="T75" fmla="*/ 64 h 168"/>
                  <a:gd name="T76" fmla="*/ 112 w 222"/>
                  <a:gd name="T77" fmla="*/ 76 h 168"/>
                  <a:gd name="T78" fmla="*/ 122 w 222"/>
                  <a:gd name="T79" fmla="*/ 79 h 168"/>
                  <a:gd name="T80" fmla="*/ 133 w 222"/>
                  <a:gd name="T81" fmla="*/ 87 h 168"/>
                  <a:gd name="T82" fmla="*/ 147 w 222"/>
                  <a:gd name="T83" fmla="*/ 91 h 168"/>
                  <a:gd name="T84" fmla="*/ 157 w 222"/>
                  <a:gd name="T85" fmla="*/ 93 h 168"/>
                  <a:gd name="T86" fmla="*/ 158 w 222"/>
                  <a:gd name="T87" fmla="*/ 79 h 168"/>
                  <a:gd name="T88" fmla="*/ 161 w 222"/>
                  <a:gd name="T89" fmla="*/ 60 h 168"/>
                  <a:gd name="T90" fmla="*/ 163 w 222"/>
                  <a:gd name="T91" fmla="*/ 49 h 168"/>
                  <a:gd name="T92" fmla="*/ 171 w 222"/>
                  <a:gd name="T93" fmla="*/ 46 h 168"/>
                  <a:gd name="T94" fmla="*/ 171 w 222"/>
                  <a:gd name="T95" fmla="*/ 37 h 168"/>
                  <a:gd name="T96" fmla="*/ 178 w 222"/>
                  <a:gd name="T97" fmla="*/ 31 h 168"/>
                  <a:gd name="T98" fmla="*/ 185 w 222"/>
                  <a:gd name="T99" fmla="*/ 38 h 168"/>
                  <a:gd name="T100" fmla="*/ 192 w 222"/>
                  <a:gd name="T101" fmla="*/ 45 h 168"/>
                  <a:gd name="T102" fmla="*/ 182 w 222"/>
                  <a:gd name="T103" fmla="*/ 45 h 168"/>
                  <a:gd name="T104" fmla="*/ 182 w 222"/>
                  <a:gd name="T105" fmla="*/ 53 h 168"/>
                  <a:gd name="T106" fmla="*/ 188 w 222"/>
                  <a:gd name="T107" fmla="*/ 52 h 168"/>
                  <a:gd name="T108" fmla="*/ 198 w 222"/>
                  <a:gd name="T109" fmla="*/ 45 h 168"/>
                  <a:gd name="T110" fmla="*/ 201 w 222"/>
                  <a:gd name="T111" fmla="*/ 42 h 168"/>
                  <a:gd name="T112" fmla="*/ 196 w 222"/>
                  <a:gd name="T113" fmla="*/ 37 h 168"/>
                  <a:gd name="T114" fmla="*/ 188 w 222"/>
                  <a:gd name="T115" fmla="*/ 30 h 168"/>
                  <a:gd name="T116" fmla="*/ 195 w 222"/>
                  <a:gd name="T117" fmla="*/ 28 h 168"/>
                  <a:gd name="T118" fmla="*/ 202 w 222"/>
                  <a:gd name="T119" fmla="*/ 27 h 168"/>
                  <a:gd name="T120" fmla="*/ 209 w 222"/>
                  <a:gd name="T121" fmla="*/ 27 h 168"/>
                  <a:gd name="T122" fmla="*/ 210 w 222"/>
                  <a:gd name="T123" fmla="*/ 27 h 168"/>
                  <a:gd name="T124" fmla="*/ 222 w 222"/>
                  <a:gd name="T125" fmla="*/ 22 h 16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222"/>
                  <a:gd name="T190" fmla="*/ 0 h 168"/>
                  <a:gd name="T191" fmla="*/ 222 w 222"/>
                  <a:gd name="T192" fmla="*/ 168 h 16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222" h="168">
                    <a:moveTo>
                      <a:pt x="216" y="17"/>
                    </a:moveTo>
                    <a:cubicBezTo>
                      <a:pt x="216" y="16"/>
                      <a:pt x="210" y="12"/>
                      <a:pt x="210" y="12"/>
                    </a:cubicBezTo>
                    <a:cubicBezTo>
                      <a:pt x="209" y="10"/>
                      <a:pt x="203" y="10"/>
                      <a:pt x="203" y="10"/>
                    </a:cubicBezTo>
                    <a:cubicBezTo>
                      <a:pt x="201" y="7"/>
                      <a:pt x="196" y="7"/>
                      <a:pt x="197" y="7"/>
                    </a:cubicBezTo>
                    <a:cubicBezTo>
                      <a:pt x="196" y="3"/>
                      <a:pt x="181" y="3"/>
                      <a:pt x="181" y="3"/>
                    </a:cubicBezTo>
                    <a:cubicBezTo>
                      <a:pt x="176" y="0"/>
                      <a:pt x="169" y="4"/>
                      <a:pt x="169" y="4"/>
                    </a:cubicBezTo>
                    <a:cubicBezTo>
                      <a:pt x="173" y="9"/>
                      <a:pt x="171" y="13"/>
                      <a:pt x="171" y="13"/>
                    </a:cubicBezTo>
                    <a:cubicBezTo>
                      <a:pt x="171" y="14"/>
                      <a:pt x="165" y="14"/>
                      <a:pt x="165" y="14"/>
                    </a:cubicBezTo>
                    <a:cubicBezTo>
                      <a:pt x="165" y="17"/>
                      <a:pt x="157" y="18"/>
                      <a:pt x="157" y="18"/>
                    </a:cubicBezTo>
                    <a:cubicBezTo>
                      <a:pt x="154" y="20"/>
                      <a:pt x="154" y="20"/>
                      <a:pt x="154" y="20"/>
                    </a:cubicBezTo>
                    <a:cubicBezTo>
                      <a:pt x="150" y="22"/>
                      <a:pt x="150" y="22"/>
                      <a:pt x="150" y="22"/>
                    </a:cubicBezTo>
                    <a:cubicBezTo>
                      <a:pt x="142" y="25"/>
                      <a:pt x="142" y="25"/>
                      <a:pt x="142" y="25"/>
                    </a:cubicBezTo>
                    <a:cubicBezTo>
                      <a:pt x="141" y="26"/>
                      <a:pt x="135" y="29"/>
                      <a:pt x="135" y="28"/>
                    </a:cubicBezTo>
                    <a:cubicBezTo>
                      <a:pt x="135" y="30"/>
                      <a:pt x="131" y="30"/>
                      <a:pt x="131" y="30"/>
                    </a:cubicBezTo>
                    <a:cubicBezTo>
                      <a:pt x="130" y="26"/>
                      <a:pt x="124" y="29"/>
                      <a:pt x="124" y="29"/>
                    </a:cubicBezTo>
                    <a:cubicBezTo>
                      <a:pt x="121" y="30"/>
                      <a:pt x="124" y="33"/>
                      <a:pt x="124" y="33"/>
                    </a:cubicBezTo>
                    <a:cubicBezTo>
                      <a:pt x="124" y="33"/>
                      <a:pt x="125" y="38"/>
                      <a:pt x="124" y="38"/>
                    </a:cubicBezTo>
                    <a:cubicBezTo>
                      <a:pt x="121" y="37"/>
                      <a:pt x="123" y="43"/>
                      <a:pt x="123" y="43"/>
                    </a:cubicBezTo>
                    <a:cubicBezTo>
                      <a:pt x="120" y="44"/>
                      <a:pt x="120" y="47"/>
                      <a:pt x="119" y="47"/>
                    </a:cubicBezTo>
                    <a:cubicBezTo>
                      <a:pt x="115" y="47"/>
                      <a:pt x="114" y="49"/>
                      <a:pt x="114" y="49"/>
                    </a:cubicBezTo>
                    <a:cubicBezTo>
                      <a:pt x="108" y="49"/>
                      <a:pt x="106" y="52"/>
                      <a:pt x="106" y="52"/>
                    </a:cubicBezTo>
                    <a:cubicBezTo>
                      <a:pt x="99" y="54"/>
                      <a:pt x="100" y="48"/>
                      <a:pt x="100" y="48"/>
                    </a:cubicBezTo>
                    <a:cubicBezTo>
                      <a:pt x="99" y="47"/>
                      <a:pt x="87" y="48"/>
                      <a:pt x="87" y="48"/>
                    </a:cubicBezTo>
                    <a:cubicBezTo>
                      <a:pt x="88" y="50"/>
                      <a:pt x="81" y="51"/>
                      <a:pt x="81" y="52"/>
                    </a:cubicBezTo>
                    <a:cubicBezTo>
                      <a:pt x="72" y="52"/>
                      <a:pt x="66" y="54"/>
                      <a:pt x="66" y="53"/>
                    </a:cubicBezTo>
                    <a:cubicBezTo>
                      <a:pt x="66" y="55"/>
                      <a:pt x="59" y="56"/>
                      <a:pt x="59" y="56"/>
                    </a:cubicBezTo>
                    <a:cubicBezTo>
                      <a:pt x="58" y="56"/>
                      <a:pt x="55" y="56"/>
                      <a:pt x="55" y="56"/>
                    </a:cubicBezTo>
                    <a:cubicBezTo>
                      <a:pt x="54" y="55"/>
                      <a:pt x="47" y="54"/>
                      <a:pt x="47" y="54"/>
                    </a:cubicBezTo>
                    <a:cubicBezTo>
                      <a:pt x="45" y="52"/>
                      <a:pt x="28" y="52"/>
                      <a:pt x="28" y="52"/>
                    </a:cubicBezTo>
                    <a:cubicBezTo>
                      <a:pt x="24" y="54"/>
                      <a:pt x="24" y="57"/>
                      <a:pt x="24" y="57"/>
                    </a:cubicBezTo>
                    <a:cubicBezTo>
                      <a:pt x="23" y="59"/>
                      <a:pt x="19" y="62"/>
                      <a:pt x="19" y="62"/>
                    </a:cubicBezTo>
                    <a:cubicBezTo>
                      <a:pt x="14" y="61"/>
                      <a:pt x="15" y="70"/>
                      <a:pt x="16" y="70"/>
                    </a:cubicBezTo>
                    <a:cubicBezTo>
                      <a:pt x="16" y="72"/>
                      <a:pt x="12" y="77"/>
                      <a:pt x="12" y="76"/>
                    </a:cubicBezTo>
                    <a:cubicBezTo>
                      <a:pt x="10" y="79"/>
                      <a:pt x="7" y="79"/>
                      <a:pt x="6" y="79"/>
                    </a:cubicBezTo>
                    <a:cubicBezTo>
                      <a:pt x="0" y="78"/>
                      <a:pt x="2" y="82"/>
                      <a:pt x="2" y="81"/>
                    </a:cubicBezTo>
                    <a:cubicBezTo>
                      <a:pt x="2" y="86"/>
                      <a:pt x="7" y="87"/>
                      <a:pt x="7" y="87"/>
                    </a:cubicBezTo>
                    <a:cubicBezTo>
                      <a:pt x="7" y="87"/>
                      <a:pt x="6" y="93"/>
                      <a:pt x="6" y="92"/>
                    </a:cubicBezTo>
                    <a:cubicBezTo>
                      <a:pt x="7" y="98"/>
                      <a:pt x="12" y="95"/>
                      <a:pt x="13" y="95"/>
                    </a:cubicBezTo>
                    <a:cubicBezTo>
                      <a:pt x="20" y="92"/>
                      <a:pt x="21" y="101"/>
                      <a:pt x="21" y="102"/>
                    </a:cubicBezTo>
                    <a:cubicBezTo>
                      <a:pt x="25" y="102"/>
                      <a:pt x="21" y="105"/>
                      <a:pt x="21" y="105"/>
                    </a:cubicBezTo>
                    <a:cubicBezTo>
                      <a:pt x="20" y="106"/>
                      <a:pt x="16" y="107"/>
                      <a:pt x="16" y="107"/>
                    </a:cubicBezTo>
                    <a:cubicBezTo>
                      <a:pt x="16" y="109"/>
                      <a:pt x="12" y="109"/>
                      <a:pt x="12" y="109"/>
                    </a:cubicBezTo>
                    <a:cubicBezTo>
                      <a:pt x="8" y="112"/>
                      <a:pt x="11" y="121"/>
                      <a:pt x="11" y="120"/>
                    </a:cubicBezTo>
                    <a:cubicBezTo>
                      <a:pt x="8" y="126"/>
                      <a:pt x="15" y="129"/>
                      <a:pt x="16" y="129"/>
                    </a:cubicBezTo>
                    <a:cubicBezTo>
                      <a:pt x="18" y="132"/>
                      <a:pt x="16" y="136"/>
                      <a:pt x="16" y="136"/>
                    </a:cubicBezTo>
                    <a:cubicBezTo>
                      <a:pt x="16" y="138"/>
                      <a:pt x="11" y="138"/>
                      <a:pt x="11" y="138"/>
                    </a:cubicBezTo>
                    <a:cubicBezTo>
                      <a:pt x="4" y="139"/>
                      <a:pt x="11" y="145"/>
                      <a:pt x="11" y="145"/>
                    </a:cubicBezTo>
                    <a:cubicBezTo>
                      <a:pt x="11" y="145"/>
                      <a:pt x="12" y="147"/>
                      <a:pt x="12" y="146"/>
                    </a:cubicBezTo>
                    <a:cubicBezTo>
                      <a:pt x="15" y="151"/>
                      <a:pt x="20" y="150"/>
                      <a:pt x="20" y="149"/>
                    </a:cubicBezTo>
                    <a:cubicBezTo>
                      <a:pt x="21" y="154"/>
                      <a:pt x="28" y="152"/>
                      <a:pt x="28" y="152"/>
                    </a:cubicBezTo>
                    <a:cubicBezTo>
                      <a:pt x="37" y="156"/>
                      <a:pt x="36" y="152"/>
                      <a:pt x="36" y="152"/>
                    </a:cubicBezTo>
                    <a:cubicBezTo>
                      <a:pt x="39" y="148"/>
                      <a:pt x="42" y="152"/>
                      <a:pt x="42" y="152"/>
                    </a:cubicBezTo>
                    <a:cubicBezTo>
                      <a:pt x="46" y="151"/>
                      <a:pt x="49" y="155"/>
                      <a:pt x="49" y="155"/>
                    </a:cubicBezTo>
                    <a:cubicBezTo>
                      <a:pt x="51" y="160"/>
                      <a:pt x="55" y="156"/>
                      <a:pt x="55" y="156"/>
                    </a:cubicBezTo>
                    <a:cubicBezTo>
                      <a:pt x="60" y="156"/>
                      <a:pt x="58" y="162"/>
                      <a:pt x="58" y="162"/>
                    </a:cubicBezTo>
                    <a:cubicBezTo>
                      <a:pt x="62" y="160"/>
                      <a:pt x="63" y="164"/>
                      <a:pt x="63" y="163"/>
                    </a:cubicBezTo>
                    <a:cubicBezTo>
                      <a:pt x="68" y="168"/>
                      <a:pt x="69" y="163"/>
                      <a:pt x="69" y="163"/>
                    </a:cubicBezTo>
                    <a:cubicBezTo>
                      <a:pt x="71" y="164"/>
                      <a:pt x="73" y="163"/>
                      <a:pt x="75" y="163"/>
                    </a:cubicBezTo>
                    <a:cubicBezTo>
                      <a:pt x="75" y="162"/>
                      <a:pt x="74" y="160"/>
                      <a:pt x="74" y="159"/>
                    </a:cubicBezTo>
                    <a:cubicBezTo>
                      <a:pt x="74" y="159"/>
                      <a:pt x="70" y="155"/>
                      <a:pt x="71" y="152"/>
                    </a:cubicBezTo>
                    <a:cubicBezTo>
                      <a:pt x="71" y="153"/>
                      <a:pt x="73" y="149"/>
                      <a:pt x="70" y="148"/>
                    </a:cubicBezTo>
                    <a:cubicBezTo>
                      <a:pt x="69" y="147"/>
                      <a:pt x="66" y="141"/>
                      <a:pt x="66" y="139"/>
                    </a:cubicBezTo>
                    <a:cubicBezTo>
                      <a:pt x="66" y="140"/>
                      <a:pt x="61" y="133"/>
                      <a:pt x="62" y="132"/>
                    </a:cubicBezTo>
                    <a:cubicBezTo>
                      <a:pt x="62" y="132"/>
                      <a:pt x="59" y="124"/>
                      <a:pt x="62" y="121"/>
                    </a:cubicBezTo>
                    <a:cubicBezTo>
                      <a:pt x="62" y="122"/>
                      <a:pt x="62" y="116"/>
                      <a:pt x="64" y="116"/>
                    </a:cubicBezTo>
                    <a:cubicBezTo>
                      <a:pt x="64" y="116"/>
                      <a:pt x="68" y="114"/>
                      <a:pt x="62" y="112"/>
                    </a:cubicBezTo>
                    <a:cubicBezTo>
                      <a:pt x="63" y="112"/>
                      <a:pt x="58" y="107"/>
                      <a:pt x="64" y="107"/>
                    </a:cubicBezTo>
                    <a:cubicBezTo>
                      <a:pt x="64" y="107"/>
                      <a:pt x="66" y="104"/>
                      <a:pt x="69" y="105"/>
                    </a:cubicBezTo>
                    <a:cubicBezTo>
                      <a:pt x="70" y="105"/>
                      <a:pt x="69" y="98"/>
                      <a:pt x="73" y="95"/>
                    </a:cubicBezTo>
                    <a:cubicBezTo>
                      <a:pt x="73" y="95"/>
                      <a:pt x="75" y="87"/>
                      <a:pt x="77" y="87"/>
                    </a:cubicBezTo>
                    <a:cubicBezTo>
                      <a:pt x="77" y="87"/>
                      <a:pt x="87" y="85"/>
                      <a:pt x="86" y="82"/>
                    </a:cubicBezTo>
                    <a:cubicBezTo>
                      <a:pt x="86" y="82"/>
                      <a:pt x="86" y="75"/>
                      <a:pt x="84" y="75"/>
                    </a:cubicBezTo>
                    <a:cubicBezTo>
                      <a:pt x="84" y="75"/>
                      <a:pt x="84" y="72"/>
                      <a:pt x="86" y="72"/>
                    </a:cubicBezTo>
                    <a:cubicBezTo>
                      <a:pt x="86" y="72"/>
                      <a:pt x="85" y="68"/>
                      <a:pt x="84" y="67"/>
                    </a:cubicBezTo>
                    <a:cubicBezTo>
                      <a:pt x="84" y="67"/>
                      <a:pt x="84" y="64"/>
                      <a:pt x="89" y="64"/>
                    </a:cubicBezTo>
                    <a:cubicBezTo>
                      <a:pt x="89" y="64"/>
                      <a:pt x="95" y="58"/>
                      <a:pt x="98" y="64"/>
                    </a:cubicBezTo>
                    <a:cubicBezTo>
                      <a:pt x="97" y="64"/>
                      <a:pt x="102" y="64"/>
                      <a:pt x="106" y="70"/>
                    </a:cubicBezTo>
                    <a:cubicBezTo>
                      <a:pt x="105" y="70"/>
                      <a:pt x="111" y="75"/>
                      <a:pt x="112" y="76"/>
                    </a:cubicBezTo>
                    <a:cubicBezTo>
                      <a:pt x="112" y="75"/>
                      <a:pt x="116" y="75"/>
                      <a:pt x="117" y="76"/>
                    </a:cubicBezTo>
                    <a:cubicBezTo>
                      <a:pt x="117" y="76"/>
                      <a:pt x="122" y="78"/>
                      <a:pt x="122" y="79"/>
                    </a:cubicBezTo>
                    <a:cubicBezTo>
                      <a:pt x="123" y="80"/>
                      <a:pt x="128" y="83"/>
                      <a:pt x="128" y="83"/>
                    </a:cubicBezTo>
                    <a:cubicBezTo>
                      <a:pt x="128" y="83"/>
                      <a:pt x="131" y="87"/>
                      <a:pt x="133" y="87"/>
                    </a:cubicBezTo>
                    <a:cubicBezTo>
                      <a:pt x="133" y="87"/>
                      <a:pt x="138" y="88"/>
                      <a:pt x="139" y="90"/>
                    </a:cubicBezTo>
                    <a:cubicBezTo>
                      <a:pt x="138" y="90"/>
                      <a:pt x="144" y="93"/>
                      <a:pt x="147" y="91"/>
                    </a:cubicBezTo>
                    <a:cubicBezTo>
                      <a:pt x="147" y="91"/>
                      <a:pt x="153" y="89"/>
                      <a:pt x="155" y="92"/>
                    </a:cubicBezTo>
                    <a:cubicBezTo>
                      <a:pt x="155" y="92"/>
                      <a:pt x="156" y="92"/>
                      <a:pt x="157" y="93"/>
                    </a:cubicBezTo>
                    <a:cubicBezTo>
                      <a:pt x="158" y="90"/>
                      <a:pt x="157" y="87"/>
                      <a:pt x="157" y="87"/>
                    </a:cubicBezTo>
                    <a:cubicBezTo>
                      <a:pt x="154" y="82"/>
                      <a:pt x="158" y="79"/>
                      <a:pt x="158" y="79"/>
                    </a:cubicBezTo>
                    <a:cubicBezTo>
                      <a:pt x="161" y="75"/>
                      <a:pt x="157" y="69"/>
                      <a:pt x="157" y="68"/>
                    </a:cubicBezTo>
                    <a:cubicBezTo>
                      <a:pt x="157" y="64"/>
                      <a:pt x="161" y="60"/>
                      <a:pt x="161" y="60"/>
                    </a:cubicBezTo>
                    <a:cubicBezTo>
                      <a:pt x="160" y="57"/>
                      <a:pt x="161" y="56"/>
                      <a:pt x="163" y="54"/>
                    </a:cubicBezTo>
                    <a:cubicBezTo>
                      <a:pt x="162" y="52"/>
                      <a:pt x="163" y="49"/>
                      <a:pt x="163" y="49"/>
                    </a:cubicBezTo>
                    <a:cubicBezTo>
                      <a:pt x="163" y="48"/>
                      <a:pt x="165" y="48"/>
                      <a:pt x="165" y="48"/>
                    </a:cubicBezTo>
                    <a:cubicBezTo>
                      <a:pt x="168" y="48"/>
                      <a:pt x="171" y="46"/>
                      <a:pt x="171" y="46"/>
                    </a:cubicBezTo>
                    <a:cubicBezTo>
                      <a:pt x="172" y="46"/>
                      <a:pt x="171" y="43"/>
                      <a:pt x="171" y="43"/>
                    </a:cubicBezTo>
                    <a:cubicBezTo>
                      <a:pt x="171" y="37"/>
                      <a:pt x="171" y="37"/>
                      <a:pt x="171" y="37"/>
                    </a:cubicBezTo>
                    <a:cubicBezTo>
                      <a:pt x="170" y="35"/>
                      <a:pt x="176" y="36"/>
                      <a:pt x="176" y="35"/>
                    </a:cubicBezTo>
                    <a:cubicBezTo>
                      <a:pt x="175" y="33"/>
                      <a:pt x="178" y="31"/>
                      <a:pt x="178" y="31"/>
                    </a:cubicBezTo>
                    <a:cubicBezTo>
                      <a:pt x="180" y="29"/>
                      <a:pt x="183" y="33"/>
                      <a:pt x="183" y="33"/>
                    </a:cubicBezTo>
                    <a:cubicBezTo>
                      <a:pt x="185" y="33"/>
                      <a:pt x="185" y="38"/>
                      <a:pt x="185" y="38"/>
                    </a:cubicBezTo>
                    <a:cubicBezTo>
                      <a:pt x="187" y="37"/>
                      <a:pt x="189" y="41"/>
                      <a:pt x="189" y="41"/>
                    </a:cubicBezTo>
                    <a:cubicBezTo>
                      <a:pt x="196" y="41"/>
                      <a:pt x="192" y="45"/>
                      <a:pt x="192" y="45"/>
                    </a:cubicBezTo>
                    <a:cubicBezTo>
                      <a:pt x="191" y="47"/>
                      <a:pt x="185" y="48"/>
                      <a:pt x="185" y="48"/>
                    </a:cubicBezTo>
                    <a:cubicBezTo>
                      <a:pt x="185" y="45"/>
                      <a:pt x="181" y="45"/>
                      <a:pt x="182" y="45"/>
                    </a:cubicBezTo>
                    <a:cubicBezTo>
                      <a:pt x="176" y="45"/>
                      <a:pt x="181" y="49"/>
                      <a:pt x="181" y="48"/>
                    </a:cubicBezTo>
                    <a:cubicBezTo>
                      <a:pt x="181" y="50"/>
                      <a:pt x="182" y="53"/>
                      <a:pt x="182" y="53"/>
                    </a:cubicBezTo>
                    <a:cubicBezTo>
                      <a:pt x="183" y="53"/>
                      <a:pt x="183" y="54"/>
                      <a:pt x="184" y="54"/>
                    </a:cubicBezTo>
                    <a:cubicBezTo>
                      <a:pt x="184" y="53"/>
                      <a:pt x="188" y="53"/>
                      <a:pt x="188" y="52"/>
                    </a:cubicBezTo>
                    <a:cubicBezTo>
                      <a:pt x="188" y="52"/>
                      <a:pt x="192" y="49"/>
                      <a:pt x="192" y="49"/>
                    </a:cubicBezTo>
                    <a:cubicBezTo>
                      <a:pt x="194" y="49"/>
                      <a:pt x="198" y="45"/>
                      <a:pt x="198" y="45"/>
                    </a:cubicBezTo>
                    <a:cubicBezTo>
                      <a:pt x="199" y="45"/>
                      <a:pt x="200" y="45"/>
                      <a:pt x="202" y="44"/>
                    </a:cubicBezTo>
                    <a:cubicBezTo>
                      <a:pt x="201" y="44"/>
                      <a:pt x="201" y="43"/>
                      <a:pt x="201" y="42"/>
                    </a:cubicBezTo>
                    <a:cubicBezTo>
                      <a:pt x="201" y="43"/>
                      <a:pt x="199" y="41"/>
                      <a:pt x="199" y="41"/>
                    </a:cubicBezTo>
                    <a:cubicBezTo>
                      <a:pt x="199" y="41"/>
                      <a:pt x="198" y="37"/>
                      <a:pt x="196" y="37"/>
                    </a:cubicBezTo>
                    <a:cubicBezTo>
                      <a:pt x="196" y="38"/>
                      <a:pt x="197" y="32"/>
                      <a:pt x="192" y="33"/>
                    </a:cubicBezTo>
                    <a:cubicBezTo>
                      <a:pt x="192" y="32"/>
                      <a:pt x="188" y="32"/>
                      <a:pt x="188" y="30"/>
                    </a:cubicBezTo>
                    <a:cubicBezTo>
                      <a:pt x="188" y="30"/>
                      <a:pt x="188" y="25"/>
                      <a:pt x="191" y="26"/>
                    </a:cubicBezTo>
                    <a:cubicBezTo>
                      <a:pt x="191" y="26"/>
                      <a:pt x="194" y="28"/>
                      <a:pt x="195" y="28"/>
                    </a:cubicBezTo>
                    <a:cubicBezTo>
                      <a:pt x="195" y="28"/>
                      <a:pt x="196" y="29"/>
                      <a:pt x="198" y="27"/>
                    </a:cubicBezTo>
                    <a:cubicBezTo>
                      <a:pt x="198" y="27"/>
                      <a:pt x="201" y="26"/>
                      <a:pt x="202" y="27"/>
                    </a:cubicBezTo>
                    <a:cubicBezTo>
                      <a:pt x="202" y="27"/>
                      <a:pt x="203" y="30"/>
                      <a:pt x="204" y="27"/>
                    </a:cubicBezTo>
                    <a:cubicBezTo>
                      <a:pt x="204" y="27"/>
                      <a:pt x="208" y="26"/>
                      <a:pt x="209" y="27"/>
                    </a:cubicBezTo>
                    <a:cubicBezTo>
                      <a:pt x="209" y="27"/>
                      <a:pt x="209" y="27"/>
                      <a:pt x="210" y="28"/>
                    </a:cubicBezTo>
                    <a:cubicBezTo>
                      <a:pt x="210" y="27"/>
                      <a:pt x="210" y="27"/>
                      <a:pt x="210" y="27"/>
                    </a:cubicBezTo>
                    <a:cubicBezTo>
                      <a:pt x="211" y="27"/>
                      <a:pt x="216" y="25"/>
                      <a:pt x="216" y="25"/>
                    </a:cubicBezTo>
                    <a:cubicBezTo>
                      <a:pt x="218" y="25"/>
                      <a:pt x="222" y="22"/>
                      <a:pt x="222" y="22"/>
                    </a:cubicBezTo>
                    <a:cubicBezTo>
                      <a:pt x="222" y="20"/>
                      <a:pt x="217" y="17"/>
                      <a:pt x="216" y="17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89" name="Freeform 244">
                <a:extLst>
                  <a:ext uri="{FF2B5EF4-FFF2-40B4-BE49-F238E27FC236}">
                    <a16:creationId xmlns:a16="http://schemas.microsoft.com/office/drawing/2014/main" id="{928F9A7F-B98F-A96C-A82A-0E34B02D33D4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5765822" y="2320080"/>
                <a:ext cx="484636" cy="483028"/>
              </a:xfrm>
              <a:custGeom>
                <a:avLst/>
                <a:gdLst>
                  <a:gd name="T0" fmla="*/ 89 w 153"/>
                  <a:gd name="T1" fmla="*/ 66 h 151"/>
                  <a:gd name="T2" fmla="*/ 75 w 153"/>
                  <a:gd name="T3" fmla="*/ 62 h 151"/>
                  <a:gd name="T4" fmla="*/ 64 w 153"/>
                  <a:gd name="T5" fmla="*/ 54 h 151"/>
                  <a:gd name="T6" fmla="*/ 54 w 153"/>
                  <a:gd name="T7" fmla="*/ 51 h 151"/>
                  <a:gd name="T8" fmla="*/ 40 w 153"/>
                  <a:gd name="T9" fmla="*/ 39 h 151"/>
                  <a:gd name="T10" fmla="*/ 26 w 153"/>
                  <a:gd name="T11" fmla="*/ 42 h 151"/>
                  <a:gd name="T12" fmla="*/ 26 w 153"/>
                  <a:gd name="T13" fmla="*/ 50 h 151"/>
                  <a:gd name="T14" fmla="*/ 19 w 153"/>
                  <a:gd name="T15" fmla="*/ 62 h 151"/>
                  <a:gd name="T16" fmla="*/ 11 w 153"/>
                  <a:gd name="T17" fmla="*/ 80 h 151"/>
                  <a:gd name="T18" fmla="*/ 4 w 153"/>
                  <a:gd name="T19" fmla="*/ 87 h 151"/>
                  <a:gd name="T20" fmla="*/ 3 w 153"/>
                  <a:gd name="T21" fmla="*/ 96 h 151"/>
                  <a:gd name="T22" fmla="*/ 8 w 153"/>
                  <a:gd name="T23" fmla="*/ 114 h 151"/>
                  <a:gd name="T24" fmla="*/ 13 w 153"/>
                  <a:gd name="T25" fmla="*/ 127 h 151"/>
                  <a:gd name="T26" fmla="*/ 19 w 153"/>
                  <a:gd name="T27" fmla="*/ 142 h 151"/>
                  <a:gd name="T28" fmla="*/ 31 w 153"/>
                  <a:gd name="T29" fmla="*/ 146 h 151"/>
                  <a:gd name="T30" fmla="*/ 38 w 153"/>
                  <a:gd name="T31" fmla="*/ 151 h 151"/>
                  <a:gd name="T32" fmla="*/ 42 w 153"/>
                  <a:gd name="T33" fmla="*/ 149 h 151"/>
                  <a:gd name="T34" fmla="*/ 51 w 153"/>
                  <a:gd name="T35" fmla="*/ 143 h 151"/>
                  <a:gd name="T36" fmla="*/ 63 w 153"/>
                  <a:gd name="T37" fmla="*/ 138 h 151"/>
                  <a:gd name="T38" fmla="*/ 72 w 153"/>
                  <a:gd name="T39" fmla="*/ 133 h 151"/>
                  <a:gd name="T40" fmla="*/ 83 w 153"/>
                  <a:gd name="T41" fmla="*/ 126 h 151"/>
                  <a:gd name="T42" fmla="*/ 88 w 153"/>
                  <a:gd name="T43" fmla="*/ 115 h 151"/>
                  <a:gd name="T44" fmla="*/ 90 w 153"/>
                  <a:gd name="T45" fmla="*/ 108 h 151"/>
                  <a:gd name="T46" fmla="*/ 97 w 153"/>
                  <a:gd name="T47" fmla="*/ 96 h 151"/>
                  <a:gd name="T48" fmla="*/ 97 w 153"/>
                  <a:gd name="T49" fmla="*/ 67 h 151"/>
                  <a:gd name="T50" fmla="*/ 127 w 153"/>
                  <a:gd name="T51" fmla="*/ 13 h 151"/>
                  <a:gd name="T52" fmla="*/ 120 w 153"/>
                  <a:gd name="T53" fmla="*/ 6 h 151"/>
                  <a:gd name="T54" fmla="*/ 113 w 153"/>
                  <a:gd name="T55" fmla="*/ 12 h 151"/>
                  <a:gd name="T56" fmla="*/ 113 w 153"/>
                  <a:gd name="T57" fmla="*/ 21 h 151"/>
                  <a:gd name="T58" fmla="*/ 105 w 153"/>
                  <a:gd name="T59" fmla="*/ 24 h 151"/>
                  <a:gd name="T60" fmla="*/ 110 w 153"/>
                  <a:gd name="T61" fmla="*/ 29 h 151"/>
                  <a:gd name="T62" fmla="*/ 123 w 153"/>
                  <a:gd name="T63" fmla="*/ 31 h 151"/>
                  <a:gd name="T64" fmla="*/ 122 w 153"/>
                  <a:gd name="T65" fmla="*/ 23 h 151"/>
                  <a:gd name="T66" fmla="*/ 127 w 153"/>
                  <a:gd name="T67" fmla="*/ 23 h 151"/>
                  <a:gd name="T68" fmla="*/ 131 w 153"/>
                  <a:gd name="T69" fmla="*/ 16 h 151"/>
                  <a:gd name="T70" fmla="*/ 146 w 153"/>
                  <a:gd name="T71" fmla="*/ 2 h 151"/>
                  <a:gd name="T72" fmla="*/ 140 w 153"/>
                  <a:gd name="T73" fmla="*/ 2 h 151"/>
                  <a:gd name="T74" fmla="*/ 133 w 153"/>
                  <a:gd name="T75" fmla="*/ 1 h 151"/>
                  <a:gd name="T76" fmla="*/ 133 w 153"/>
                  <a:gd name="T77" fmla="*/ 8 h 151"/>
                  <a:gd name="T78" fmla="*/ 141 w 153"/>
                  <a:gd name="T79" fmla="*/ 16 h 151"/>
                  <a:gd name="T80" fmla="*/ 147 w 153"/>
                  <a:gd name="T81" fmla="*/ 20 h 151"/>
                  <a:gd name="T82" fmla="*/ 144 w 153"/>
                  <a:gd name="T83" fmla="*/ 12 h 151"/>
                  <a:gd name="T84" fmla="*/ 148 w 153"/>
                  <a:gd name="T85" fmla="*/ 7 h 151"/>
                  <a:gd name="T86" fmla="*/ 151 w 153"/>
                  <a:gd name="T87" fmla="*/ 2 h 151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53"/>
                  <a:gd name="T133" fmla="*/ 0 h 151"/>
                  <a:gd name="T134" fmla="*/ 153 w 153"/>
                  <a:gd name="T135" fmla="*/ 151 h 151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53" h="151">
                    <a:moveTo>
                      <a:pt x="97" y="67"/>
                    </a:moveTo>
                    <a:cubicBezTo>
                      <a:pt x="95" y="64"/>
                      <a:pt x="89" y="66"/>
                      <a:pt x="89" y="66"/>
                    </a:cubicBezTo>
                    <a:cubicBezTo>
                      <a:pt x="86" y="68"/>
                      <a:pt x="80" y="65"/>
                      <a:pt x="81" y="65"/>
                    </a:cubicBezTo>
                    <a:cubicBezTo>
                      <a:pt x="80" y="63"/>
                      <a:pt x="75" y="62"/>
                      <a:pt x="75" y="62"/>
                    </a:cubicBezTo>
                    <a:cubicBezTo>
                      <a:pt x="72" y="62"/>
                      <a:pt x="70" y="58"/>
                      <a:pt x="70" y="58"/>
                    </a:cubicBezTo>
                    <a:cubicBezTo>
                      <a:pt x="70" y="58"/>
                      <a:pt x="64" y="55"/>
                      <a:pt x="64" y="54"/>
                    </a:cubicBezTo>
                    <a:cubicBezTo>
                      <a:pt x="64" y="53"/>
                      <a:pt x="59" y="51"/>
                      <a:pt x="59" y="51"/>
                    </a:cubicBezTo>
                    <a:cubicBezTo>
                      <a:pt x="58" y="50"/>
                      <a:pt x="54" y="50"/>
                      <a:pt x="54" y="51"/>
                    </a:cubicBezTo>
                    <a:cubicBezTo>
                      <a:pt x="53" y="50"/>
                      <a:pt x="47" y="45"/>
                      <a:pt x="48" y="45"/>
                    </a:cubicBezTo>
                    <a:cubicBezTo>
                      <a:pt x="44" y="39"/>
                      <a:pt x="39" y="39"/>
                      <a:pt x="40" y="39"/>
                    </a:cubicBezTo>
                    <a:cubicBezTo>
                      <a:pt x="37" y="33"/>
                      <a:pt x="31" y="39"/>
                      <a:pt x="31" y="39"/>
                    </a:cubicBezTo>
                    <a:cubicBezTo>
                      <a:pt x="26" y="39"/>
                      <a:pt x="26" y="42"/>
                      <a:pt x="26" y="42"/>
                    </a:cubicBezTo>
                    <a:cubicBezTo>
                      <a:pt x="27" y="43"/>
                      <a:pt x="28" y="47"/>
                      <a:pt x="28" y="47"/>
                    </a:cubicBezTo>
                    <a:cubicBezTo>
                      <a:pt x="26" y="47"/>
                      <a:pt x="26" y="50"/>
                      <a:pt x="26" y="50"/>
                    </a:cubicBezTo>
                    <a:cubicBezTo>
                      <a:pt x="28" y="50"/>
                      <a:pt x="28" y="57"/>
                      <a:pt x="28" y="57"/>
                    </a:cubicBezTo>
                    <a:cubicBezTo>
                      <a:pt x="29" y="60"/>
                      <a:pt x="19" y="62"/>
                      <a:pt x="19" y="62"/>
                    </a:cubicBezTo>
                    <a:cubicBezTo>
                      <a:pt x="17" y="62"/>
                      <a:pt x="15" y="70"/>
                      <a:pt x="15" y="70"/>
                    </a:cubicBezTo>
                    <a:cubicBezTo>
                      <a:pt x="11" y="73"/>
                      <a:pt x="12" y="80"/>
                      <a:pt x="11" y="80"/>
                    </a:cubicBezTo>
                    <a:cubicBezTo>
                      <a:pt x="8" y="79"/>
                      <a:pt x="6" y="82"/>
                      <a:pt x="6" y="82"/>
                    </a:cubicBezTo>
                    <a:cubicBezTo>
                      <a:pt x="0" y="82"/>
                      <a:pt x="5" y="87"/>
                      <a:pt x="4" y="87"/>
                    </a:cubicBezTo>
                    <a:cubicBezTo>
                      <a:pt x="10" y="89"/>
                      <a:pt x="6" y="91"/>
                      <a:pt x="6" y="91"/>
                    </a:cubicBezTo>
                    <a:cubicBezTo>
                      <a:pt x="4" y="91"/>
                      <a:pt x="3" y="97"/>
                      <a:pt x="3" y="96"/>
                    </a:cubicBezTo>
                    <a:cubicBezTo>
                      <a:pt x="1" y="99"/>
                      <a:pt x="3" y="108"/>
                      <a:pt x="3" y="108"/>
                    </a:cubicBezTo>
                    <a:cubicBezTo>
                      <a:pt x="3" y="108"/>
                      <a:pt x="8" y="115"/>
                      <a:pt x="8" y="114"/>
                    </a:cubicBezTo>
                    <a:cubicBezTo>
                      <a:pt x="8" y="116"/>
                      <a:pt x="11" y="122"/>
                      <a:pt x="12" y="123"/>
                    </a:cubicBezTo>
                    <a:cubicBezTo>
                      <a:pt x="14" y="124"/>
                      <a:pt x="13" y="128"/>
                      <a:pt x="13" y="127"/>
                    </a:cubicBezTo>
                    <a:cubicBezTo>
                      <a:pt x="12" y="130"/>
                      <a:pt x="16" y="134"/>
                      <a:pt x="16" y="134"/>
                    </a:cubicBezTo>
                    <a:cubicBezTo>
                      <a:pt x="17" y="138"/>
                      <a:pt x="19" y="142"/>
                      <a:pt x="19" y="142"/>
                    </a:cubicBezTo>
                    <a:cubicBezTo>
                      <a:pt x="21" y="144"/>
                      <a:pt x="25" y="144"/>
                      <a:pt x="25" y="144"/>
                    </a:cubicBezTo>
                    <a:cubicBezTo>
                      <a:pt x="28" y="143"/>
                      <a:pt x="31" y="146"/>
                      <a:pt x="31" y="146"/>
                    </a:cubicBezTo>
                    <a:cubicBezTo>
                      <a:pt x="33" y="145"/>
                      <a:pt x="33" y="148"/>
                      <a:pt x="33" y="148"/>
                    </a:cubicBezTo>
                    <a:cubicBezTo>
                      <a:pt x="33" y="150"/>
                      <a:pt x="38" y="151"/>
                      <a:pt x="38" y="151"/>
                    </a:cubicBezTo>
                    <a:cubicBezTo>
                      <a:pt x="41" y="151"/>
                      <a:pt x="41" y="148"/>
                      <a:pt x="41" y="148"/>
                    </a:cubicBezTo>
                    <a:cubicBezTo>
                      <a:pt x="41" y="148"/>
                      <a:pt x="43" y="149"/>
                      <a:pt x="42" y="149"/>
                    </a:cubicBezTo>
                    <a:cubicBezTo>
                      <a:pt x="49" y="150"/>
                      <a:pt x="49" y="147"/>
                      <a:pt x="49" y="147"/>
                    </a:cubicBezTo>
                    <a:cubicBezTo>
                      <a:pt x="49" y="144"/>
                      <a:pt x="51" y="143"/>
                      <a:pt x="51" y="143"/>
                    </a:cubicBezTo>
                    <a:cubicBezTo>
                      <a:pt x="51" y="139"/>
                      <a:pt x="58" y="141"/>
                      <a:pt x="58" y="141"/>
                    </a:cubicBezTo>
                    <a:cubicBezTo>
                      <a:pt x="59" y="138"/>
                      <a:pt x="63" y="138"/>
                      <a:pt x="63" y="138"/>
                    </a:cubicBezTo>
                    <a:cubicBezTo>
                      <a:pt x="64" y="136"/>
                      <a:pt x="68" y="136"/>
                      <a:pt x="68" y="136"/>
                    </a:cubicBezTo>
                    <a:cubicBezTo>
                      <a:pt x="69" y="133"/>
                      <a:pt x="72" y="133"/>
                      <a:pt x="72" y="133"/>
                    </a:cubicBezTo>
                    <a:cubicBezTo>
                      <a:pt x="75" y="129"/>
                      <a:pt x="78" y="128"/>
                      <a:pt x="78" y="128"/>
                    </a:cubicBezTo>
                    <a:cubicBezTo>
                      <a:pt x="78" y="127"/>
                      <a:pt x="83" y="126"/>
                      <a:pt x="83" y="126"/>
                    </a:cubicBezTo>
                    <a:cubicBezTo>
                      <a:pt x="83" y="122"/>
                      <a:pt x="86" y="120"/>
                      <a:pt x="85" y="120"/>
                    </a:cubicBezTo>
                    <a:cubicBezTo>
                      <a:pt x="88" y="118"/>
                      <a:pt x="88" y="116"/>
                      <a:pt x="88" y="115"/>
                    </a:cubicBezTo>
                    <a:cubicBezTo>
                      <a:pt x="88" y="115"/>
                      <a:pt x="91" y="112"/>
                      <a:pt x="91" y="112"/>
                    </a:cubicBezTo>
                    <a:cubicBezTo>
                      <a:pt x="95" y="110"/>
                      <a:pt x="90" y="108"/>
                      <a:pt x="90" y="108"/>
                    </a:cubicBezTo>
                    <a:cubicBezTo>
                      <a:pt x="90" y="108"/>
                      <a:pt x="93" y="105"/>
                      <a:pt x="92" y="105"/>
                    </a:cubicBezTo>
                    <a:cubicBezTo>
                      <a:pt x="92" y="103"/>
                      <a:pt x="98" y="97"/>
                      <a:pt x="97" y="96"/>
                    </a:cubicBezTo>
                    <a:cubicBezTo>
                      <a:pt x="96" y="89"/>
                      <a:pt x="98" y="81"/>
                      <a:pt x="99" y="81"/>
                    </a:cubicBezTo>
                    <a:cubicBezTo>
                      <a:pt x="102" y="66"/>
                      <a:pt x="97" y="67"/>
                      <a:pt x="97" y="67"/>
                    </a:cubicBezTo>
                    <a:close/>
                    <a:moveTo>
                      <a:pt x="131" y="16"/>
                    </a:moveTo>
                    <a:cubicBezTo>
                      <a:pt x="131" y="16"/>
                      <a:pt x="129" y="12"/>
                      <a:pt x="127" y="13"/>
                    </a:cubicBezTo>
                    <a:cubicBezTo>
                      <a:pt x="127" y="13"/>
                      <a:pt x="127" y="8"/>
                      <a:pt x="125" y="8"/>
                    </a:cubicBezTo>
                    <a:cubicBezTo>
                      <a:pt x="125" y="8"/>
                      <a:pt x="122" y="4"/>
                      <a:pt x="120" y="6"/>
                    </a:cubicBezTo>
                    <a:cubicBezTo>
                      <a:pt x="120" y="6"/>
                      <a:pt x="117" y="8"/>
                      <a:pt x="118" y="10"/>
                    </a:cubicBezTo>
                    <a:cubicBezTo>
                      <a:pt x="118" y="11"/>
                      <a:pt x="112" y="10"/>
                      <a:pt x="113" y="12"/>
                    </a:cubicBezTo>
                    <a:cubicBezTo>
                      <a:pt x="113" y="18"/>
                      <a:pt x="113" y="18"/>
                      <a:pt x="113" y="18"/>
                    </a:cubicBezTo>
                    <a:cubicBezTo>
                      <a:pt x="113" y="18"/>
                      <a:pt x="114" y="21"/>
                      <a:pt x="113" y="21"/>
                    </a:cubicBezTo>
                    <a:cubicBezTo>
                      <a:pt x="113" y="21"/>
                      <a:pt x="110" y="23"/>
                      <a:pt x="106" y="23"/>
                    </a:cubicBezTo>
                    <a:cubicBezTo>
                      <a:pt x="106" y="23"/>
                      <a:pt x="105" y="23"/>
                      <a:pt x="105" y="24"/>
                    </a:cubicBezTo>
                    <a:cubicBezTo>
                      <a:pt x="105" y="24"/>
                      <a:pt x="104" y="32"/>
                      <a:pt x="106" y="31"/>
                    </a:cubicBezTo>
                    <a:cubicBezTo>
                      <a:pt x="106" y="31"/>
                      <a:pt x="109" y="31"/>
                      <a:pt x="110" y="29"/>
                    </a:cubicBezTo>
                    <a:cubicBezTo>
                      <a:pt x="110" y="29"/>
                      <a:pt x="119" y="28"/>
                      <a:pt x="120" y="30"/>
                    </a:cubicBezTo>
                    <a:cubicBezTo>
                      <a:pt x="120" y="30"/>
                      <a:pt x="121" y="36"/>
                      <a:pt x="123" y="31"/>
                    </a:cubicBezTo>
                    <a:cubicBezTo>
                      <a:pt x="123" y="31"/>
                      <a:pt x="128" y="31"/>
                      <a:pt x="124" y="28"/>
                    </a:cubicBezTo>
                    <a:cubicBezTo>
                      <a:pt x="124" y="28"/>
                      <a:pt x="122" y="25"/>
                      <a:pt x="122" y="23"/>
                    </a:cubicBezTo>
                    <a:cubicBezTo>
                      <a:pt x="122" y="24"/>
                      <a:pt x="118" y="20"/>
                      <a:pt x="124" y="20"/>
                    </a:cubicBezTo>
                    <a:cubicBezTo>
                      <a:pt x="123" y="20"/>
                      <a:pt x="127" y="20"/>
                      <a:pt x="127" y="23"/>
                    </a:cubicBezTo>
                    <a:cubicBezTo>
                      <a:pt x="127" y="23"/>
                      <a:pt x="133" y="22"/>
                      <a:pt x="133" y="20"/>
                    </a:cubicBezTo>
                    <a:cubicBezTo>
                      <a:pt x="133" y="20"/>
                      <a:pt x="137" y="16"/>
                      <a:pt x="131" y="16"/>
                    </a:cubicBezTo>
                    <a:close/>
                    <a:moveTo>
                      <a:pt x="151" y="2"/>
                    </a:moveTo>
                    <a:cubicBezTo>
                      <a:pt x="150" y="1"/>
                      <a:pt x="146" y="2"/>
                      <a:pt x="146" y="2"/>
                    </a:cubicBezTo>
                    <a:cubicBezTo>
                      <a:pt x="144" y="4"/>
                      <a:pt x="144" y="2"/>
                      <a:pt x="144" y="2"/>
                    </a:cubicBezTo>
                    <a:cubicBezTo>
                      <a:pt x="143" y="0"/>
                      <a:pt x="140" y="2"/>
                      <a:pt x="140" y="2"/>
                    </a:cubicBezTo>
                    <a:cubicBezTo>
                      <a:pt x="138" y="4"/>
                      <a:pt x="137" y="3"/>
                      <a:pt x="137" y="3"/>
                    </a:cubicBezTo>
                    <a:cubicBezTo>
                      <a:pt x="136" y="3"/>
                      <a:pt x="133" y="1"/>
                      <a:pt x="133" y="1"/>
                    </a:cubicBezTo>
                    <a:cubicBezTo>
                      <a:pt x="130" y="0"/>
                      <a:pt x="130" y="4"/>
                      <a:pt x="130" y="4"/>
                    </a:cubicBezTo>
                    <a:cubicBezTo>
                      <a:pt x="129" y="7"/>
                      <a:pt x="134" y="7"/>
                      <a:pt x="133" y="8"/>
                    </a:cubicBezTo>
                    <a:cubicBezTo>
                      <a:pt x="139" y="7"/>
                      <a:pt x="138" y="13"/>
                      <a:pt x="138" y="12"/>
                    </a:cubicBezTo>
                    <a:cubicBezTo>
                      <a:pt x="140" y="12"/>
                      <a:pt x="141" y="16"/>
                      <a:pt x="141" y="16"/>
                    </a:cubicBezTo>
                    <a:cubicBezTo>
                      <a:pt x="141" y="16"/>
                      <a:pt x="143" y="18"/>
                      <a:pt x="143" y="17"/>
                    </a:cubicBezTo>
                    <a:cubicBezTo>
                      <a:pt x="142" y="20"/>
                      <a:pt x="147" y="20"/>
                      <a:pt x="147" y="20"/>
                    </a:cubicBezTo>
                    <a:cubicBezTo>
                      <a:pt x="152" y="20"/>
                      <a:pt x="148" y="16"/>
                      <a:pt x="148" y="16"/>
                    </a:cubicBezTo>
                    <a:cubicBezTo>
                      <a:pt x="149" y="13"/>
                      <a:pt x="144" y="12"/>
                      <a:pt x="144" y="12"/>
                    </a:cubicBezTo>
                    <a:cubicBezTo>
                      <a:pt x="143" y="12"/>
                      <a:pt x="144" y="9"/>
                      <a:pt x="144" y="9"/>
                    </a:cubicBezTo>
                    <a:cubicBezTo>
                      <a:pt x="143" y="8"/>
                      <a:pt x="149" y="7"/>
                      <a:pt x="148" y="7"/>
                    </a:cubicBezTo>
                    <a:cubicBezTo>
                      <a:pt x="148" y="4"/>
                      <a:pt x="152" y="4"/>
                      <a:pt x="151" y="4"/>
                    </a:cubicBezTo>
                    <a:cubicBezTo>
                      <a:pt x="153" y="4"/>
                      <a:pt x="151" y="2"/>
                      <a:pt x="151" y="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90" name="Freeform 245">
                <a:extLst>
                  <a:ext uri="{FF2B5EF4-FFF2-40B4-BE49-F238E27FC236}">
                    <a16:creationId xmlns:a16="http://schemas.microsoft.com/office/drawing/2014/main" id="{C30E0C9C-6F79-65B6-3006-CC963CF587B3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792121" y="2050851"/>
                <a:ext cx="1165660" cy="842529"/>
              </a:xfrm>
              <a:custGeom>
                <a:avLst/>
                <a:gdLst>
                  <a:gd name="T0" fmla="*/ 355 w 368"/>
                  <a:gd name="T1" fmla="*/ 119 h 265"/>
                  <a:gd name="T2" fmla="*/ 343 w 368"/>
                  <a:gd name="T3" fmla="*/ 113 h 265"/>
                  <a:gd name="T4" fmla="*/ 317 w 368"/>
                  <a:gd name="T5" fmla="*/ 109 h 265"/>
                  <a:gd name="T6" fmla="*/ 296 w 368"/>
                  <a:gd name="T7" fmla="*/ 104 h 265"/>
                  <a:gd name="T8" fmla="*/ 290 w 368"/>
                  <a:gd name="T9" fmla="*/ 92 h 265"/>
                  <a:gd name="T10" fmla="*/ 282 w 368"/>
                  <a:gd name="T11" fmla="*/ 78 h 265"/>
                  <a:gd name="T12" fmla="*/ 272 w 368"/>
                  <a:gd name="T13" fmla="*/ 76 h 265"/>
                  <a:gd name="T14" fmla="*/ 254 w 368"/>
                  <a:gd name="T15" fmla="*/ 60 h 265"/>
                  <a:gd name="T16" fmla="*/ 230 w 368"/>
                  <a:gd name="T17" fmla="*/ 63 h 265"/>
                  <a:gd name="T18" fmla="*/ 213 w 368"/>
                  <a:gd name="T19" fmla="*/ 60 h 265"/>
                  <a:gd name="T20" fmla="*/ 188 w 368"/>
                  <a:gd name="T21" fmla="*/ 56 h 265"/>
                  <a:gd name="T22" fmla="*/ 180 w 368"/>
                  <a:gd name="T23" fmla="*/ 35 h 265"/>
                  <a:gd name="T24" fmla="*/ 193 w 368"/>
                  <a:gd name="T25" fmla="*/ 18 h 265"/>
                  <a:gd name="T26" fmla="*/ 171 w 368"/>
                  <a:gd name="T27" fmla="*/ 15 h 265"/>
                  <a:gd name="T28" fmla="*/ 154 w 368"/>
                  <a:gd name="T29" fmla="*/ 10 h 265"/>
                  <a:gd name="T30" fmla="*/ 140 w 368"/>
                  <a:gd name="T31" fmla="*/ 10 h 265"/>
                  <a:gd name="T32" fmla="*/ 123 w 368"/>
                  <a:gd name="T33" fmla="*/ 12 h 265"/>
                  <a:gd name="T34" fmla="*/ 96 w 368"/>
                  <a:gd name="T35" fmla="*/ 2 h 265"/>
                  <a:gd name="T36" fmla="*/ 89 w 368"/>
                  <a:gd name="T37" fmla="*/ 33 h 265"/>
                  <a:gd name="T38" fmla="*/ 88 w 368"/>
                  <a:gd name="T39" fmla="*/ 42 h 265"/>
                  <a:gd name="T40" fmla="*/ 70 w 368"/>
                  <a:gd name="T41" fmla="*/ 54 h 265"/>
                  <a:gd name="T42" fmla="*/ 55 w 368"/>
                  <a:gd name="T43" fmla="*/ 76 h 265"/>
                  <a:gd name="T44" fmla="*/ 34 w 368"/>
                  <a:gd name="T45" fmla="*/ 94 h 265"/>
                  <a:gd name="T46" fmla="*/ 27 w 368"/>
                  <a:gd name="T47" fmla="*/ 112 h 265"/>
                  <a:gd name="T48" fmla="*/ 40 w 368"/>
                  <a:gd name="T49" fmla="*/ 111 h 265"/>
                  <a:gd name="T50" fmla="*/ 64 w 368"/>
                  <a:gd name="T51" fmla="*/ 111 h 265"/>
                  <a:gd name="T52" fmla="*/ 77 w 368"/>
                  <a:gd name="T53" fmla="*/ 107 h 265"/>
                  <a:gd name="T54" fmla="*/ 104 w 368"/>
                  <a:gd name="T55" fmla="*/ 104 h 265"/>
                  <a:gd name="T56" fmla="*/ 115 w 368"/>
                  <a:gd name="T57" fmla="*/ 128 h 265"/>
                  <a:gd name="T58" fmla="*/ 92 w 368"/>
                  <a:gd name="T59" fmla="*/ 142 h 265"/>
                  <a:gd name="T60" fmla="*/ 72 w 368"/>
                  <a:gd name="T61" fmla="*/ 162 h 265"/>
                  <a:gd name="T62" fmla="*/ 60 w 368"/>
                  <a:gd name="T63" fmla="*/ 182 h 265"/>
                  <a:gd name="T64" fmla="*/ 55 w 368"/>
                  <a:gd name="T65" fmla="*/ 204 h 265"/>
                  <a:gd name="T66" fmla="*/ 40 w 368"/>
                  <a:gd name="T67" fmla="*/ 214 h 265"/>
                  <a:gd name="T68" fmla="*/ 22 w 368"/>
                  <a:gd name="T69" fmla="*/ 229 h 265"/>
                  <a:gd name="T70" fmla="*/ 9 w 368"/>
                  <a:gd name="T71" fmla="*/ 244 h 265"/>
                  <a:gd name="T72" fmla="*/ 2 w 368"/>
                  <a:gd name="T73" fmla="*/ 253 h 265"/>
                  <a:gd name="T74" fmla="*/ 26 w 368"/>
                  <a:gd name="T75" fmla="*/ 263 h 265"/>
                  <a:gd name="T76" fmla="*/ 52 w 368"/>
                  <a:gd name="T77" fmla="*/ 249 h 265"/>
                  <a:gd name="T78" fmla="*/ 78 w 368"/>
                  <a:gd name="T79" fmla="*/ 243 h 265"/>
                  <a:gd name="T80" fmla="*/ 100 w 368"/>
                  <a:gd name="T81" fmla="*/ 225 h 265"/>
                  <a:gd name="T82" fmla="*/ 111 w 368"/>
                  <a:gd name="T83" fmla="*/ 210 h 265"/>
                  <a:gd name="T84" fmla="*/ 125 w 368"/>
                  <a:gd name="T85" fmla="*/ 199 h 265"/>
                  <a:gd name="T86" fmla="*/ 152 w 368"/>
                  <a:gd name="T87" fmla="*/ 201 h 265"/>
                  <a:gd name="T88" fmla="*/ 159 w 368"/>
                  <a:gd name="T89" fmla="*/ 193 h 265"/>
                  <a:gd name="T90" fmla="*/ 160 w 368"/>
                  <a:gd name="T91" fmla="*/ 183 h 265"/>
                  <a:gd name="T92" fmla="*/ 169 w 368"/>
                  <a:gd name="T93" fmla="*/ 168 h 265"/>
                  <a:gd name="T94" fmla="*/ 194 w 368"/>
                  <a:gd name="T95" fmla="*/ 170 h 265"/>
                  <a:gd name="T96" fmla="*/ 248 w 368"/>
                  <a:gd name="T97" fmla="*/ 170 h 265"/>
                  <a:gd name="T98" fmla="*/ 266 w 368"/>
                  <a:gd name="T99" fmla="*/ 157 h 265"/>
                  <a:gd name="T100" fmla="*/ 301 w 368"/>
                  <a:gd name="T101" fmla="*/ 160 h 265"/>
                  <a:gd name="T102" fmla="*/ 351 w 368"/>
                  <a:gd name="T103" fmla="*/ 157 h 265"/>
                  <a:gd name="T104" fmla="*/ 358 w 368"/>
                  <a:gd name="T105" fmla="*/ 141 h 265"/>
                  <a:gd name="T106" fmla="*/ 362 w 368"/>
                  <a:gd name="T107" fmla="*/ 130 h 265"/>
                  <a:gd name="T108" fmla="*/ 282 w 368"/>
                  <a:gd name="T109" fmla="*/ 78 h 265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68"/>
                  <a:gd name="T166" fmla="*/ 0 h 265"/>
                  <a:gd name="T167" fmla="*/ 368 w 368"/>
                  <a:gd name="T168" fmla="*/ 265 h 265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68" h="265">
                    <a:moveTo>
                      <a:pt x="362" y="130"/>
                    </a:moveTo>
                    <a:cubicBezTo>
                      <a:pt x="362" y="131"/>
                      <a:pt x="359" y="127"/>
                      <a:pt x="362" y="126"/>
                    </a:cubicBezTo>
                    <a:cubicBezTo>
                      <a:pt x="362" y="126"/>
                      <a:pt x="366" y="120"/>
                      <a:pt x="361" y="121"/>
                    </a:cubicBezTo>
                    <a:cubicBezTo>
                      <a:pt x="361" y="122"/>
                      <a:pt x="358" y="117"/>
                      <a:pt x="355" y="119"/>
                    </a:cubicBezTo>
                    <a:cubicBezTo>
                      <a:pt x="354" y="117"/>
                      <a:pt x="354" y="117"/>
                      <a:pt x="354" y="117"/>
                    </a:cubicBezTo>
                    <a:cubicBezTo>
                      <a:pt x="354" y="115"/>
                      <a:pt x="354" y="115"/>
                      <a:pt x="354" y="115"/>
                    </a:cubicBezTo>
                    <a:cubicBezTo>
                      <a:pt x="354" y="115"/>
                      <a:pt x="358" y="113"/>
                      <a:pt x="354" y="113"/>
                    </a:cubicBezTo>
                    <a:cubicBezTo>
                      <a:pt x="354" y="113"/>
                      <a:pt x="346" y="110"/>
                      <a:pt x="343" y="113"/>
                    </a:cubicBezTo>
                    <a:cubicBezTo>
                      <a:pt x="342" y="112"/>
                      <a:pt x="336" y="115"/>
                      <a:pt x="334" y="113"/>
                    </a:cubicBezTo>
                    <a:cubicBezTo>
                      <a:pt x="334" y="113"/>
                      <a:pt x="331" y="110"/>
                      <a:pt x="327" y="113"/>
                    </a:cubicBezTo>
                    <a:cubicBezTo>
                      <a:pt x="327" y="113"/>
                      <a:pt x="324" y="113"/>
                      <a:pt x="323" y="111"/>
                    </a:cubicBezTo>
                    <a:cubicBezTo>
                      <a:pt x="321" y="112"/>
                      <a:pt x="319" y="112"/>
                      <a:pt x="317" y="109"/>
                    </a:cubicBezTo>
                    <a:cubicBezTo>
                      <a:pt x="317" y="110"/>
                      <a:pt x="313" y="106"/>
                      <a:pt x="313" y="106"/>
                    </a:cubicBezTo>
                    <a:cubicBezTo>
                      <a:pt x="313" y="106"/>
                      <a:pt x="313" y="106"/>
                      <a:pt x="313" y="105"/>
                    </a:cubicBezTo>
                    <a:cubicBezTo>
                      <a:pt x="312" y="104"/>
                      <a:pt x="309" y="104"/>
                      <a:pt x="306" y="104"/>
                    </a:cubicBezTo>
                    <a:cubicBezTo>
                      <a:pt x="306" y="104"/>
                      <a:pt x="298" y="104"/>
                      <a:pt x="296" y="104"/>
                    </a:cubicBezTo>
                    <a:cubicBezTo>
                      <a:pt x="299" y="100"/>
                      <a:pt x="299" y="100"/>
                      <a:pt x="299" y="100"/>
                    </a:cubicBezTo>
                    <a:cubicBezTo>
                      <a:pt x="299" y="100"/>
                      <a:pt x="302" y="99"/>
                      <a:pt x="299" y="98"/>
                    </a:cubicBezTo>
                    <a:cubicBezTo>
                      <a:pt x="300" y="99"/>
                      <a:pt x="298" y="93"/>
                      <a:pt x="295" y="94"/>
                    </a:cubicBezTo>
                    <a:cubicBezTo>
                      <a:pt x="295" y="95"/>
                      <a:pt x="294" y="91"/>
                      <a:pt x="290" y="92"/>
                    </a:cubicBezTo>
                    <a:cubicBezTo>
                      <a:pt x="290" y="92"/>
                      <a:pt x="288" y="88"/>
                      <a:pt x="287" y="88"/>
                    </a:cubicBezTo>
                    <a:cubicBezTo>
                      <a:pt x="288" y="88"/>
                      <a:pt x="284" y="85"/>
                      <a:pt x="286" y="84"/>
                    </a:cubicBezTo>
                    <a:cubicBezTo>
                      <a:pt x="286" y="84"/>
                      <a:pt x="284" y="82"/>
                      <a:pt x="283" y="80"/>
                    </a:cubicBezTo>
                    <a:cubicBezTo>
                      <a:pt x="283" y="80"/>
                      <a:pt x="283" y="79"/>
                      <a:pt x="282" y="78"/>
                    </a:cubicBezTo>
                    <a:cubicBezTo>
                      <a:pt x="282" y="78"/>
                      <a:pt x="282" y="78"/>
                      <a:pt x="282" y="78"/>
                    </a:cubicBezTo>
                    <a:cubicBezTo>
                      <a:pt x="282" y="78"/>
                      <a:pt x="280" y="78"/>
                      <a:pt x="280" y="77"/>
                    </a:cubicBezTo>
                    <a:cubicBezTo>
                      <a:pt x="280" y="77"/>
                      <a:pt x="279" y="77"/>
                      <a:pt x="278" y="77"/>
                    </a:cubicBezTo>
                    <a:cubicBezTo>
                      <a:pt x="278" y="77"/>
                      <a:pt x="271" y="79"/>
                      <a:pt x="272" y="76"/>
                    </a:cubicBezTo>
                    <a:cubicBezTo>
                      <a:pt x="272" y="76"/>
                      <a:pt x="268" y="71"/>
                      <a:pt x="267" y="71"/>
                    </a:cubicBezTo>
                    <a:cubicBezTo>
                      <a:pt x="267" y="71"/>
                      <a:pt x="262" y="70"/>
                      <a:pt x="263" y="67"/>
                    </a:cubicBezTo>
                    <a:cubicBezTo>
                      <a:pt x="262" y="68"/>
                      <a:pt x="261" y="64"/>
                      <a:pt x="258" y="64"/>
                    </a:cubicBezTo>
                    <a:cubicBezTo>
                      <a:pt x="258" y="64"/>
                      <a:pt x="254" y="64"/>
                      <a:pt x="254" y="60"/>
                    </a:cubicBezTo>
                    <a:cubicBezTo>
                      <a:pt x="254" y="62"/>
                      <a:pt x="254" y="60"/>
                      <a:pt x="254" y="58"/>
                    </a:cubicBezTo>
                    <a:cubicBezTo>
                      <a:pt x="252" y="59"/>
                      <a:pt x="244" y="58"/>
                      <a:pt x="243" y="59"/>
                    </a:cubicBezTo>
                    <a:cubicBezTo>
                      <a:pt x="241" y="59"/>
                      <a:pt x="239" y="62"/>
                      <a:pt x="234" y="62"/>
                    </a:cubicBezTo>
                    <a:cubicBezTo>
                      <a:pt x="233" y="62"/>
                      <a:pt x="233" y="64"/>
                      <a:pt x="230" y="63"/>
                    </a:cubicBezTo>
                    <a:cubicBezTo>
                      <a:pt x="230" y="64"/>
                      <a:pt x="231" y="66"/>
                      <a:pt x="227" y="66"/>
                    </a:cubicBezTo>
                    <a:cubicBezTo>
                      <a:pt x="227" y="66"/>
                      <a:pt x="221" y="70"/>
                      <a:pt x="218" y="68"/>
                    </a:cubicBezTo>
                    <a:cubicBezTo>
                      <a:pt x="218" y="67"/>
                      <a:pt x="211" y="76"/>
                      <a:pt x="214" y="67"/>
                    </a:cubicBezTo>
                    <a:cubicBezTo>
                      <a:pt x="215" y="67"/>
                      <a:pt x="207" y="68"/>
                      <a:pt x="213" y="60"/>
                    </a:cubicBezTo>
                    <a:cubicBezTo>
                      <a:pt x="212" y="62"/>
                      <a:pt x="212" y="58"/>
                      <a:pt x="210" y="58"/>
                    </a:cubicBezTo>
                    <a:cubicBezTo>
                      <a:pt x="210" y="58"/>
                      <a:pt x="205" y="55"/>
                      <a:pt x="200" y="58"/>
                    </a:cubicBezTo>
                    <a:cubicBezTo>
                      <a:pt x="190" y="57"/>
                      <a:pt x="190" y="57"/>
                      <a:pt x="190" y="57"/>
                    </a:cubicBezTo>
                    <a:cubicBezTo>
                      <a:pt x="188" y="56"/>
                      <a:pt x="188" y="56"/>
                      <a:pt x="188" y="56"/>
                    </a:cubicBezTo>
                    <a:cubicBezTo>
                      <a:pt x="188" y="56"/>
                      <a:pt x="188" y="52"/>
                      <a:pt x="180" y="53"/>
                    </a:cubicBezTo>
                    <a:cubicBezTo>
                      <a:pt x="180" y="53"/>
                      <a:pt x="173" y="49"/>
                      <a:pt x="180" y="48"/>
                    </a:cubicBezTo>
                    <a:cubicBezTo>
                      <a:pt x="180" y="48"/>
                      <a:pt x="180" y="38"/>
                      <a:pt x="180" y="38"/>
                    </a:cubicBezTo>
                    <a:cubicBezTo>
                      <a:pt x="182" y="38"/>
                      <a:pt x="185" y="35"/>
                      <a:pt x="180" y="35"/>
                    </a:cubicBezTo>
                    <a:cubicBezTo>
                      <a:pt x="180" y="35"/>
                      <a:pt x="181" y="30"/>
                      <a:pt x="183" y="30"/>
                    </a:cubicBezTo>
                    <a:cubicBezTo>
                      <a:pt x="182" y="30"/>
                      <a:pt x="185" y="30"/>
                      <a:pt x="185" y="23"/>
                    </a:cubicBezTo>
                    <a:cubicBezTo>
                      <a:pt x="185" y="23"/>
                      <a:pt x="188" y="21"/>
                      <a:pt x="187" y="20"/>
                    </a:cubicBezTo>
                    <a:cubicBezTo>
                      <a:pt x="186" y="20"/>
                      <a:pt x="193" y="18"/>
                      <a:pt x="193" y="18"/>
                    </a:cubicBezTo>
                    <a:cubicBezTo>
                      <a:pt x="193" y="18"/>
                      <a:pt x="198" y="13"/>
                      <a:pt x="192" y="13"/>
                    </a:cubicBezTo>
                    <a:cubicBezTo>
                      <a:pt x="192" y="13"/>
                      <a:pt x="189" y="17"/>
                      <a:pt x="184" y="15"/>
                    </a:cubicBezTo>
                    <a:cubicBezTo>
                      <a:pt x="184" y="15"/>
                      <a:pt x="180" y="22"/>
                      <a:pt x="177" y="15"/>
                    </a:cubicBezTo>
                    <a:cubicBezTo>
                      <a:pt x="177" y="15"/>
                      <a:pt x="174" y="15"/>
                      <a:pt x="171" y="15"/>
                    </a:cubicBezTo>
                    <a:cubicBezTo>
                      <a:pt x="171" y="15"/>
                      <a:pt x="167" y="11"/>
                      <a:pt x="166" y="10"/>
                    </a:cubicBezTo>
                    <a:cubicBezTo>
                      <a:pt x="166" y="10"/>
                      <a:pt x="163" y="7"/>
                      <a:pt x="160" y="8"/>
                    </a:cubicBezTo>
                    <a:cubicBezTo>
                      <a:pt x="160" y="8"/>
                      <a:pt x="158" y="5"/>
                      <a:pt x="156" y="5"/>
                    </a:cubicBezTo>
                    <a:cubicBezTo>
                      <a:pt x="155" y="6"/>
                      <a:pt x="154" y="8"/>
                      <a:pt x="154" y="10"/>
                    </a:cubicBezTo>
                    <a:cubicBezTo>
                      <a:pt x="151" y="11"/>
                      <a:pt x="151" y="11"/>
                      <a:pt x="151" y="11"/>
                    </a:cubicBezTo>
                    <a:cubicBezTo>
                      <a:pt x="151" y="11"/>
                      <a:pt x="150" y="17"/>
                      <a:pt x="147" y="10"/>
                    </a:cubicBezTo>
                    <a:cubicBezTo>
                      <a:pt x="144" y="10"/>
                      <a:pt x="144" y="10"/>
                      <a:pt x="144" y="10"/>
                    </a:cubicBezTo>
                    <a:cubicBezTo>
                      <a:pt x="144" y="10"/>
                      <a:pt x="141" y="17"/>
                      <a:pt x="140" y="10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2" y="15"/>
                      <a:pt x="132" y="15"/>
                      <a:pt x="132" y="15"/>
                    </a:cubicBezTo>
                    <a:cubicBezTo>
                      <a:pt x="132" y="15"/>
                      <a:pt x="127" y="21"/>
                      <a:pt x="129" y="15"/>
                    </a:cubicBezTo>
                    <a:cubicBezTo>
                      <a:pt x="129" y="15"/>
                      <a:pt x="123" y="12"/>
                      <a:pt x="123" y="12"/>
                    </a:cubicBezTo>
                    <a:cubicBezTo>
                      <a:pt x="123" y="12"/>
                      <a:pt x="113" y="12"/>
                      <a:pt x="115" y="9"/>
                    </a:cubicBezTo>
                    <a:cubicBezTo>
                      <a:pt x="111" y="8"/>
                      <a:pt x="111" y="8"/>
                      <a:pt x="111" y="8"/>
                    </a:cubicBezTo>
                    <a:cubicBezTo>
                      <a:pt x="105" y="5"/>
                      <a:pt x="105" y="5"/>
                      <a:pt x="105" y="5"/>
                    </a:cubicBezTo>
                    <a:cubicBezTo>
                      <a:pt x="105" y="5"/>
                      <a:pt x="99" y="0"/>
                      <a:pt x="96" y="2"/>
                    </a:cubicBezTo>
                    <a:cubicBezTo>
                      <a:pt x="96" y="3"/>
                      <a:pt x="90" y="6"/>
                      <a:pt x="90" y="6"/>
                    </a:cubicBezTo>
                    <a:cubicBezTo>
                      <a:pt x="85" y="9"/>
                      <a:pt x="85" y="9"/>
                      <a:pt x="85" y="9"/>
                    </a:cubicBezTo>
                    <a:cubicBezTo>
                      <a:pt x="85" y="25"/>
                      <a:pt x="85" y="25"/>
                      <a:pt x="85" y="25"/>
                    </a:cubicBezTo>
                    <a:cubicBezTo>
                      <a:pt x="85" y="25"/>
                      <a:pt x="90" y="30"/>
                      <a:pt x="89" y="33"/>
                    </a:cubicBezTo>
                    <a:cubicBezTo>
                      <a:pt x="89" y="33"/>
                      <a:pt x="96" y="35"/>
                      <a:pt x="89" y="35"/>
                    </a:cubicBezTo>
                    <a:cubicBezTo>
                      <a:pt x="89" y="35"/>
                      <a:pt x="89" y="37"/>
                      <a:pt x="89" y="37"/>
                    </a:cubicBezTo>
                    <a:cubicBezTo>
                      <a:pt x="89" y="37"/>
                      <a:pt x="95" y="39"/>
                      <a:pt x="89" y="39"/>
                    </a:cubicBezTo>
                    <a:cubicBezTo>
                      <a:pt x="89" y="40"/>
                      <a:pt x="89" y="42"/>
                      <a:pt x="88" y="42"/>
                    </a:cubicBezTo>
                    <a:cubicBezTo>
                      <a:pt x="88" y="43"/>
                      <a:pt x="85" y="46"/>
                      <a:pt x="77" y="45"/>
                    </a:cubicBezTo>
                    <a:cubicBezTo>
                      <a:pt x="77" y="45"/>
                      <a:pt x="74" y="44"/>
                      <a:pt x="74" y="46"/>
                    </a:cubicBezTo>
                    <a:cubicBezTo>
                      <a:pt x="74" y="47"/>
                      <a:pt x="71" y="48"/>
                      <a:pt x="72" y="52"/>
                    </a:cubicBezTo>
                    <a:cubicBezTo>
                      <a:pt x="72" y="52"/>
                      <a:pt x="68" y="52"/>
                      <a:pt x="70" y="54"/>
                    </a:cubicBezTo>
                    <a:cubicBezTo>
                      <a:pt x="71" y="56"/>
                      <a:pt x="62" y="52"/>
                      <a:pt x="60" y="54"/>
                    </a:cubicBezTo>
                    <a:cubicBezTo>
                      <a:pt x="60" y="55"/>
                      <a:pt x="60" y="66"/>
                      <a:pt x="60" y="66"/>
                    </a:cubicBezTo>
                    <a:cubicBezTo>
                      <a:pt x="60" y="66"/>
                      <a:pt x="57" y="64"/>
                      <a:pt x="57" y="72"/>
                    </a:cubicBezTo>
                    <a:cubicBezTo>
                      <a:pt x="57" y="73"/>
                      <a:pt x="54" y="73"/>
                      <a:pt x="55" y="76"/>
                    </a:cubicBezTo>
                    <a:cubicBezTo>
                      <a:pt x="55" y="75"/>
                      <a:pt x="44" y="74"/>
                      <a:pt x="45" y="80"/>
                    </a:cubicBezTo>
                    <a:cubicBezTo>
                      <a:pt x="45" y="80"/>
                      <a:pt x="43" y="81"/>
                      <a:pt x="44" y="89"/>
                    </a:cubicBezTo>
                    <a:cubicBezTo>
                      <a:pt x="44" y="89"/>
                      <a:pt x="36" y="89"/>
                      <a:pt x="38" y="92"/>
                    </a:cubicBezTo>
                    <a:cubicBezTo>
                      <a:pt x="38" y="92"/>
                      <a:pt x="32" y="92"/>
                      <a:pt x="34" y="94"/>
                    </a:cubicBezTo>
                    <a:cubicBezTo>
                      <a:pt x="34" y="93"/>
                      <a:pt x="28" y="96"/>
                      <a:pt x="28" y="96"/>
                    </a:cubicBezTo>
                    <a:cubicBezTo>
                      <a:pt x="27" y="99"/>
                      <a:pt x="27" y="99"/>
                      <a:pt x="27" y="99"/>
                    </a:cubicBezTo>
                    <a:cubicBezTo>
                      <a:pt x="27" y="99"/>
                      <a:pt x="30" y="102"/>
                      <a:pt x="29" y="104"/>
                    </a:cubicBezTo>
                    <a:cubicBezTo>
                      <a:pt x="29" y="104"/>
                      <a:pt x="24" y="109"/>
                      <a:pt x="27" y="112"/>
                    </a:cubicBezTo>
                    <a:cubicBezTo>
                      <a:pt x="27" y="112"/>
                      <a:pt x="29" y="115"/>
                      <a:pt x="32" y="112"/>
                    </a:cubicBezTo>
                    <a:cubicBezTo>
                      <a:pt x="32" y="112"/>
                      <a:pt x="33" y="105"/>
                      <a:pt x="35" y="111"/>
                    </a:cubicBezTo>
                    <a:cubicBezTo>
                      <a:pt x="36" y="111"/>
                      <a:pt x="36" y="111"/>
                      <a:pt x="36" y="111"/>
                    </a:cubicBezTo>
                    <a:cubicBezTo>
                      <a:pt x="36" y="111"/>
                      <a:pt x="38" y="104"/>
                      <a:pt x="40" y="111"/>
                    </a:cubicBezTo>
                    <a:cubicBezTo>
                      <a:pt x="51" y="111"/>
                      <a:pt x="51" y="111"/>
                      <a:pt x="51" y="111"/>
                    </a:cubicBezTo>
                    <a:cubicBezTo>
                      <a:pt x="51" y="111"/>
                      <a:pt x="52" y="106"/>
                      <a:pt x="54" y="111"/>
                    </a:cubicBezTo>
                    <a:cubicBezTo>
                      <a:pt x="60" y="111"/>
                      <a:pt x="60" y="111"/>
                      <a:pt x="60" y="111"/>
                    </a:cubicBezTo>
                    <a:cubicBezTo>
                      <a:pt x="60" y="111"/>
                      <a:pt x="63" y="106"/>
                      <a:pt x="64" y="111"/>
                    </a:cubicBezTo>
                    <a:cubicBezTo>
                      <a:pt x="64" y="112"/>
                      <a:pt x="65" y="111"/>
                      <a:pt x="65" y="111"/>
                    </a:cubicBezTo>
                    <a:cubicBezTo>
                      <a:pt x="65" y="111"/>
                      <a:pt x="67" y="102"/>
                      <a:pt x="68" y="111"/>
                    </a:cubicBezTo>
                    <a:cubicBezTo>
                      <a:pt x="68" y="111"/>
                      <a:pt x="70" y="113"/>
                      <a:pt x="72" y="109"/>
                    </a:cubicBezTo>
                    <a:cubicBezTo>
                      <a:pt x="72" y="109"/>
                      <a:pt x="77" y="109"/>
                      <a:pt x="77" y="107"/>
                    </a:cubicBezTo>
                    <a:cubicBezTo>
                      <a:pt x="77" y="108"/>
                      <a:pt x="89" y="109"/>
                      <a:pt x="89" y="104"/>
                    </a:cubicBezTo>
                    <a:cubicBezTo>
                      <a:pt x="88" y="104"/>
                      <a:pt x="94" y="104"/>
                      <a:pt x="93" y="102"/>
                    </a:cubicBezTo>
                    <a:cubicBezTo>
                      <a:pt x="97" y="102"/>
                      <a:pt x="97" y="102"/>
                      <a:pt x="97" y="102"/>
                    </a:cubicBezTo>
                    <a:cubicBezTo>
                      <a:pt x="97" y="102"/>
                      <a:pt x="94" y="105"/>
                      <a:pt x="104" y="104"/>
                    </a:cubicBezTo>
                    <a:cubicBezTo>
                      <a:pt x="104" y="104"/>
                      <a:pt x="105" y="106"/>
                      <a:pt x="105" y="106"/>
                    </a:cubicBezTo>
                    <a:cubicBezTo>
                      <a:pt x="105" y="106"/>
                      <a:pt x="105" y="110"/>
                      <a:pt x="113" y="109"/>
                    </a:cubicBezTo>
                    <a:cubicBezTo>
                      <a:pt x="113" y="111"/>
                      <a:pt x="113" y="121"/>
                      <a:pt x="113" y="121"/>
                    </a:cubicBezTo>
                    <a:cubicBezTo>
                      <a:pt x="113" y="121"/>
                      <a:pt x="122" y="124"/>
                      <a:pt x="115" y="128"/>
                    </a:cubicBezTo>
                    <a:cubicBezTo>
                      <a:pt x="114" y="128"/>
                      <a:pt x="113" y="133"/>
                      <a:pt x="113" y="133"/>
                    </a:cubicBezTo>
                    <a:cubicBezTo>
                      <a:pt x="113" y="133"/>
                      <a:pt x="110" y="139"/>
                      <a:pt x="106" y="135"/>
                    </a:cubicBezTo>
                    <a:cubicBezTo>
                      <a:pt x="106" y="135"/>
                      <a:pt x="101" y="135"/>
                      <a:pt x="101" y="137"/>
                    </a:cubicBezTo>
                    <a:cubicBezTo>
                      <a:pt x="101" y="138"/>
                      <a:pt x="89" y="135"/>
                      <a:pt x="92" y="142"/>
                    </a:cubicBezTo>
                    <a:cubicBezTo>
                      <a:pt x="92" y="143"/>
                      <a:pt x="98" y="147"/>
                      <a:pt x="91" y="149"/>
                    </a:cubicBezTo>
                    <a:cubicBezTo>
                      <a:pt x="91" y="149"/>
                      <a:pt x="89" y="153"/>
                      <a:pt x="89" y="157"/>
                    </a:cubicBezTo>
                    <a:cubicBezTo>
                      <a:pt x="89" y="157"/>
                      <a:pt x="84" y="157"/>
                      <a:pt x="85" y="159"/>
                    </a:cubicBezTo>
                    <a:cubicBezTo>
                      <a:pt x="84" y="159"/>
                      <a:pt x="72" y="159"/>
                      <a:pt x="72" y="162"/>
                    </a:cubicBezTo>
                    <a:cubicBezTo>
                      <a:pt x="72" y="162"/>
                      <a:pt x="56" y="160"/>
                      <a:pt x="56" y="164"/>
                    </a:cubicBezTo>
                    <a:cubicBezTo>
                      <a:pt x="55" y="165"/>
                      <a:pt x="59" y="168"/>
                      <a:pt x="55" y="171"/>
                    </a:cubicBezTo>
                    <a:cubicBezTo>
                      <a:pt x="55" y="172"/>
                      <a:pt x="60" y="176"/>
                      <a:pt x="60" y="176"/>
                    </a:cubicBezTo>
                    <a:cubicBezTo>
                      <a:pt x="60" y="176"/>
                      <a:pt x="62" y="180"/>
                      <a:pt x="60" y="182"/>
                    </a:cubicBezTo>
                    <a:cubicBezTo>
                      <a:pt x="60" y="182"/>
                      <a:pt x="56" y="182"/>
                      <a:pt x="57" y="187"/>
                    </a:cubicBezTo>
                    <a:cubicBezTo>
                      <a:pt x="57" y="188"/>
                      <a:pt x="57" y="193"/>
                      <a:pt x="57" y="193"/>
                    </a:cubicBezTo>
                    <a:cubicBezTo>
                      <a:pt x="57" y="193"/>
                      <a:pt x="63" y="197"/>
                      <a:pt x="59" y="200"/>
                    </a:cubicBezTo>
                    <a:cubicBezTo>
                      <a:pt x="59" y="200"/>
                      <a:pt x="54" y="201"/>
                      <a:pt x="55" y="204"/>
                    </a:cubicBezTo>
                    <a:cubicBezTo>
                      <a:pt x="55" y="204"/>
                      <a:pt x="52" y="205"/>
                      <a:pt x="52" y="207"/>
                    </a:cubicBezTo>
                    <a:cubicBezTo>
                      <a:pt x="52" y="208"/>
                      <a:pt x="48" y="208"/>
                      <a:pt x="48" y="209"/>
                    </a:cubicBezTo>
                    <a:cubicBezTo>
                      <a:pt x="48" y="210"/>
                      <a:pt x="46" y="211"/>
                      <a:pt x="46" y="213"/>
                    </a:cubicBezTo>
                    <a:cubicBezTo>
                      <a:pt x="44" y="213"/>
                      <a:pt x="40" y="214"/>
                      <a:pt x="40" y="214"/>
                    </a:cubicBezTo>
                    <a:cubicBezTo>
                      <a:pt x="40" y="214"/>
                      <a:pt x="35" y="217"/>
                      <a:pt x="36" y="220"/>
                    </a:cubicBezTo>
                    <a:cubicBezTo>
                      <a:pt x="36" y="221"/>
                      <a:pt x="33" y="221"/>
                      <a:pt x="33" y="222"/>
                    </a:cubicBezTo>
                    <a:cubicBezTo>
                      <a:pt x="33" y="222"/>
                      <a:pt x="26" y="221"/>
                      <a:pt x="27" y="224"/>
                    </a:cubicBezTo>
                    <a:cubicBezTo>
                      <a:pt x="27" y="225"/>
                      <a:pt x="22" y="229"/>
                      <a:pt x="22" y="229"/>
                    </a:cubicBezTo>
                    <a:cubicBezTo>
                      <a:pt x="22" y="229"/>
                      <a:pt x="19" y="233"/>
                      <a:pt x="19" y="235"/>
                    </a:cubicBezTo>
                    <a:cubicBezTo>
                      <a:pt x="19" y="235"/>
                      <a:pt x="16" y="237"/>
                      <a:pt x="16" y="238"/>
                    </a:cubicBezTo>
                    <a:cubicBezTo>
                      <a:pt x="17" y="239"/>
                      <a:pt x="12" y="240"/>
                      <a:pt x="12" y="241"/>
                    </a:cubicBezTo>
                    <a:cubicBezTo>
                      <a:pt x="12" y="243"/>
                      <a:pt x="9" y="244"/>
                      <a:pt x="9" y="244"/>
                    </a:cubicBezTo>
                    <a:cubicBezTo>
                      <a:pt x="5" y="245"/>
                      <a:pt x="5" y="245"/>
                      <a:pt x="5" y="245"/>
                    </a:cubicBezTo>
                    <a:cubicBezTo>
                      <a:pt x="2" y="249"/>
                      <a:pt x="2" y="249"/>
                      <a:pt x="2" y="249"/>
                    </a:cubicBezTo>
                    <a:cubicBezTo>
                      <a:pt x="0" y="250"/>
                      <a:pt x="0" y="250"/>
                      <a:pt x="0" y="250"/>
                    </a:cubicBezTo>
                    <a:cubicBezTo>
                      <a:pt x="2" y="253"/>
                      <a:pt x="2" y="253"/>
                      <a:pt x="2" y="253"/>
                    </a:cubicBezTo>
                    <a:cubicBezTo>
                      <a:pt x="1" y="252"/>
                      <a:pt x="1" y="252"/>
                      <a:pt x="1" y="252"/>
                    </a:cubicBezTo>
                    <a:cubicBezTo>
                      <a:pt x="5" y="253"/>
                      <a:pt x="11" y="254"/>
                      <a:pt x="14" y="249"/>
                    </a:cubicBezTo>
                    <a:cubicBezTo>
                      <a:pt x="15" y="250"/>
                      <a:pt x="19" y="255"/>
                      <a:pt x="19" y="258"/>
                    </a:cubicBezTo>
                    <a:cubicBezTo>
                      <a:pt x="19" y="258"/>
                      <a:pt x="19" y="265"/>
                      <a:pt x="26" y="263"/>
                    </a:cubicBezTo>
                    <a:cubicBezTo>
                      <a:pt x="26" y="262"/>
                      <a:pt x="29" y="258"/>
                      <a:pt x="34" y="260"/>
                    </a:cubicBezTo>
                    <a:cubicBezTo>
                      <a:pt x="35" y="260"/>
                      <a:pt x="35" y="254"/>
                      <a:pt x="41" y="255"/>
                    </a:cubicBezTo>
                    <a:cubicBezTo>
                      <a:pt x="41" y="255"/>
                      <a:pt x="45" y="250"/>
                      <a:pt x="48" y="250"/>
                    </a:cubicBezTo>
                    <a:cubicBezTo>
                      <a:pt x="52" y="249"/>
                      <a:pt x="52" y="249"/>
                      <a:pt x="52" y="249"/>
                    </a:cubicBezTo>
                    <a:cubicBezTo>
                      <a:pt x="52" y="249"/>
                      <a:pt x="48" y="239"/>
                      <a:pt x="57" y="241"/>
                    </a:cubicBezTo>
                    <a:cubicBezTo>
                      <a:pt x="57" y="242"/>
                      <a:pt x="68" y="242"/>
                      <a:pt x="68" y="249"/>
                    </a:cubicBezTo>
                    <a:cubicBezTo>
                      <a:pt x="68" y="249"/>
                      <a:pt x="71" y="253"/>
                      <a:pt x="74" y="249"/>
                    </a:cubicBezTo>
                    <a:cubicBezTo>
                      <a:pt x="74" y="249"/>
                      <a:pt x="72" y="241"/>
                      <a:pt x="78" y="243"/>
                    </a:cubicBezTo>
                    <a:cubicBezTo>
                      <a:pt x="78" y="243"/>
                      <a:pt x="78" y="232"/>
                      <a:pt x="82" y="237"/>
                    </a:cubicBezTo>
                    <a:cubicBezTo>
                      <a:pt x="82" y="237"/>
                      <a:pt x="93" y="235"/>
                      <a:pt x="94" y="234"/>
                    </a:cubicBezTo>
                    <a:cubicBezTo>
                      <a:pt x="94" y="234"/>
                      <a:pt x="97" y="233"/>
                      <a:pt x="97" y="231"/>
                    </a:cubicBezTo>
                    <a:cubicBezTo>
                      <a:pt x="97" y="231"/>
                      <a:pt x="98" y="225"/>
                      <a:pt x="100" y="225"/>
                    </a:cubicBezTo>
                    <a:cubicBezTo>
                      <a:pt x="99" y="226"/>
                      <a:pt x="103" y="221"/>
                      <a:pt x="101" y="221"/>
                    </a:cubicBezTo>
                    <a:cubicBezTo>
                      <a:pt x="105" y="218"/>
                      <a:pt x="105" y="218"/>
                      <a:pt x="105" y="218"/>
                    </a:cubicBezTo>
                    <a:cubicBezTo>
                      <a:pt x="105" y="218"/>
                      <a:pt x="106" y="211"/>
                      <a:pt x="109" y="211"/>
                    </a:cubicBezTo>
                    <a:cubicBezTo>
                      <a:pt x="111" y="210"/>
                      <a:pt x="111" y="210"/>
                      <a:pt x="111" y="210"/>
                    </a:cubicBezTo>
                    <a:cubicBezTo>
                      <a:pt x="111" y="210"/>
                      <a:pt x="113" y="209"/>
                      <a:pt x="111" y="209"/>
                    </a:cubicBezTo>
                    <a:cubicBezTo>
                      <a:pt x="111" y="209"/>
                      <a:pt x="109" y="203"/>
                      <a:pt x="111" y="201"/>
                    </a:cubicBezTo>
                    <a:cubicBezTo>
                      <a:pt x="111" y="201"/>
                      <a:pt x="115" y="198"/>
                      <a:pt x="121" y="200"/>
                    </a:cubicBezTo>
                    <a:cubicBezTo>
                      <a:pt x="121" y="201"/>
                      <a:pt x="121" y="196"/>
                      <a:pt x="125" y="199"/>
                    </a:cubicBezTo>
                    <a:cubicBezTo>
                      <a:pt x="125" y="200"/>
                      <a:pt x="127" y="200"/>
                      <a:pt x="127" y="204"/>
                    </a:cubicBezTo>
                    <a:cubicBezTo>
                      <a:pt x="127" y="204"/>
                      <a:pt x="131" y="206"/>
                      <a:pt x="134" y="204"/>
                    </a:cubicBezTo>
                    <a:cubicBezTo>
                      <a:pt x="145" y="202"/>
                      <a:pt x="145" y="202"/>
                      <a:pt x="145" y="202"/>
                    </a:cubicBezTo>
                    <a:cubicBezTo>
                      <a:pt x="145" y="202"/>
                      <a:pt x="150" y="199"/>
                      <a:pt x="152" y="201"/>
                    </a:cubicBezTo>
                    <a:cubicBezTo>
                      <a:pt x="154" y="201"/>
                      <a:pt x="154" y="204"/>
                      <a:pt x="155" y="200"/>
                    </a:cubicBezTo>
                    <a:cubicBezTo>
                      <a:pt x="156" y="201"/>
                      <a:pt x="162" y="200"/>
                      <a:pt x="163" y="198"/>
                    </a:cubicBezTo>
                    <a:cubicBezTo>
                      <a:pt x="163" y="199"/>
                      <a:pt x="164" y="196"/>
                      <a:pt x="162" y="194"/>
                    </a:cubicBezTo>
                    <a:cubicBezTo>
                      <a:pt x="162" y="195"/>
                      <a:pt x="162" y="196"/>
                      <a:pt x="159" y="193"/>
                    </a:cubicBezTo>
                    <a:cubicBezTo>
                      <a:pt x="159" y="194"/>
                      <a:pt x="156" y="194"/>
                      <a:pt x="158" y="192"/>
                    </a:cubicBezTo>
                    <a:cubicBezTo>
                      <a:pt x="160" y="190"/>
                      <a:pt x="160" y="190"/>
                      <a:pt x="160" y="190"/>
                    </a:cubicBezTo>
                    <a:cubicBezTo>
                      <a:pt x="160" y="190"/>
                      <a:pt x="163" y="188"/>
                      <a:pt x="160" y="187"/>
                    </a:cubicBezTo>
                    <a:cubicBezTo>
                      <a:pt x="160" y="188"/>
                      <a:pt x="156" y="183"/>
                      <a:pt x="160" y="183"/>
                    </a:cubicBezTo>
                    <a:cubicBezTo>
                      <a:pt x="160" y="183"/>
                      <a:pt x="162" y="184"/>
                      <a:pt x="162" y="180"/>
                    </a:cubicBezTo>
                    <a:cubicBezTo>
                      <a:pt x="162" y="180"/>
                      <a:pt x="172" y="184"/>
                      <a:pt x="171" y="179"/>
                    </a:cubicBezTo>
                    <a:cubicBezTo>
                      <a:pt x="171" y="179"/>
                      <a:pt x="172" y="170"/>
                      <a:pt x="169" y="171"/>
                    </a:cubicBezTo>
                    <a:cubicBezTo>
                      <a:pt x="169" y="171"/>
                      <a:pt x="163" y="170"/>
                      <a:pt x="169" y="168"/>
                    </a:cubicBezTo>
                    <a:cubicBezTo>
                      <a:pt x="169" y="168"/>
                      <a:pt x="172" y="166"/>
                      <a:pt x="170" y="165"/>
                    </a:cubicBezTo>
                    <a:cubicBezTo>
                      <a:pt x="170" y="165"/>
                      <a:pt x="166" y="165"/>
                      <a:pt x="170" y="164"/>
                    </a:cubicBezTo>
                    <a:cubicBezTo>
                      <a:pt x="170" y="163"/>
                      <a:pt x="193" y="162"/>
                      <a:pt x="193" y="166"/>
                    </a:cubicBezTo>
                    <a:cubicBezTo>
                      <a:pt x="193" y="166"/>
                      <a:pt x="189" y="170"/>
                      <a:pt x="194" y="170"/>
                    </a:cubicBezTo>
                    <a:cubicBezTo>
                      <a:pt x="194" y="170"/>
                      <a:pt x="205" y="168"/>
                      <a:pt x="208" y="172"/>
                    </a:cubicBezTo>
                    <a:cubicBezTo>
                      <a:pt x="208" y="172"/>
                      <a:pt x="227" y="170"/>
                      <a:pt x="229" y="175"/>
                    </a:cubicBezTo>
                    <a:cubicBezTo>
                      <a:pt x="229" y="175"/>
                      <a:pt x="238" y="171"/>
                      <a:pt x="241" y="172"/>
                    </a:cubicBezTo>
                    <a:cubicBezTo>
                      <a:pt x="241" y="172"/>
                      <a:pt x="245" y="168"/>
                      <a:pt x="248" y="170"/>
                    </a:cubicBezTo>
                    <a:cubicBezTo>
                      <a:pt x="248" y="170"/>
                      <a:pt x="249" y="167"/>
                      <a:pt x="250" y="164"/>
                    </a:cubicBezTo>
                    <a:cubicBezTo>
                      <a:pt x="250" y="164"/>
                      <a:pt x="254" y="162"/>
                      <a:pt x="254" y="159"/>
                    </a:cubicBezTo>
                    <a:cubicBezTo>
                      <a:pt x="254" y="159"/>
                      <a:pt x="258" y="156"/>
                      <a:pt x="261" y="158"/>
                    </a:cubicBezTo>
                    <a:cubicBezTo>
                      <a:pt x="261" y="159"/>
                      <a:pt x="264" y="160"/>
                      <a:pt x="266" y="157"/>
                    </a:cubicBezTo>
                    <a:cubicBezTo>
                      <a:pt x="266" y="158"/>
                      <a:pt x="274" y="156"/>
                      <a:pt x="274" y="155"/>
                    </a:cubicBezTo>
                    <a:cubicBezTo>
                      <a:pt x="274" y="155"/>
                      <a:pt x="282" y="149"/>
                      <a:pt x="284" y="155"/>
                    </a:cubicBezTo>
                    <a:cubicBezTo>
                      <a:pt x="284" y="155"/>
                      <a:pt x="295" y="153"/>
                      <a:pt x="296" y="157"/>
                    </a:cubicBezTo>
                    <a:cubicBezTo>
                      <a:pt x="296" y="157"/>
                      <a:pt x="300" y="157"/>
                      <a:pt x="301" y="160"/>
                    </a:cubicBezTo>
                    <a:cubicBezTo>
                      <a:pt x="301" y="160"/>
                      <a:pt x="327" y="157"/>
                      <a:pt x="331" y="162"/>
                    </a:cubicBezTo>
                    <a:cubicBezTo>
                      <a:pt x="331" y="163"/>
                      <a:pt x="337" y="165"/>
                      <a:pt x="337" y="165"/>
                    </a:cubicBezTo>
                    <a:cubicBezTo>
                      <a:pt x="337" y="165"/>
                      <a:pt x="345" y="161"/>
                      <a:pt x="345" y="159"/>
                    </a:cubicBezTo>
                    <a:cubicBezTo>
                      <a:pt x="345" y="160"/>
                      <a:pt x="349" y="156"/>
                      <a:pt x="351" y="157"/>
                    </a:cubicBezTo>
                    <a:cubicBezTo>
                      <a:pt x="351" y="157"/>
                      <a:pt x="352" y="153"/>
                      <a:pt x="351" y="153"/>
                    </a:cubicBezTo>
                    <a:cubicBezTo>
                      <a:pt x="351" y="153"/>
                      <a:pt x="354" y="149"/>
                      <a:pt x="354" y="149"/>
                    </a:cubicBezTo>
                    <a:cubicBezTo>
                      <a:pt x="354" y="149"/>
                      <a:pt x="357" y="145"/>
                      <a:pt x="356" y="145"/>
                    </a:cubicBezTo>
                    <a:cubicBezTo>
                      <a:pt x="355" y="145"/>
                      <a:pt x="359" y="141"/>
                      <a:pt x="358" y="141"/>
                    </a:cubicBezTo>
                    <a:cubicBezTo>
                      <a:pt x="358" y="141"/>
                      <a:pt x="362" y="137"/>
                      <a:pt x="363" y="137"/>
                    </a:cubicBezTo>
                    <a:cubicBezTo>
                      <a:pt x="364" y="137"/>
                      <a:pt x="366" y="134"/>
                      <a:pt x="366" y="134"/>
                    </a:cubicBezTo>
                    <a:cubicBezTo>
                      <a:pt x="368" y="132"/>
                      <a:pt x="368" y="132"/>
                      <a:pt x="368" y="132"/>
                    </a:cubicBezTo>
                    <a:cubicBezTo>
                      <a:pt x="368" y="132"/>
                      <a:pt x="365" y="129"/>
                      <a:pt x="362" y="130"/>
                    </a:cubicBezTo>
                    <a:close/>
                    <a:moveTo>
                      <a:pt x="282" y="78"/>
                    </a:moveTo>
                    <a:cubicBezTo>
                      <a:pt x="282" y="78"/>
                      <a:pt x="282" y="78"/>
                      <a:pt x="282" y="78"/>
                    </a:cubicBezTo>
                    <a:cubicBezTo>
                      <a:pt x="282" y="78"/>
                      <a:pt x="282" y="78"/>
                      <a:pt x="283" y="78"/>
                    </a:cubicBezTo>
                    <a:cubicBezTo>
                      <a:pt x="282" y="78"/>
                      <a:pt x="282" y="78"/>
                      <a:pt x="282" y="78"/>
                    </a:cubicBezTo>
                    <a:close/>
                  </a:path>
                </a:pathLst>
              </a:custGeom>
              <a:solidFill>
                <a:schemeClr val="bg2">
                  <a:lumMod val="40000"/>
                  <a:lumOff val="60000"/>
                </a:schemeClr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91" name="Freeform 246">
                <a:extLst>
                  <a:ext uri="{FF2B5EF4-FFF2-40B4-BE49-F238E27FC236}">
                    <a16:creationId xmlns:a16="http://schemas.microsoft.com/office/drawing/2014/main" id="{3BA86C0C-5A5A-8244-54F8-438215B658A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262816" y="3352653"/>
                <a:ext cx="932846" cy="1105422"/>
              </a:xfrm>
              <a:custGeom>
                <a:avLst/>
                <a:gdLst>
                  <a:gd name="T0" fmla="*/ 279 w 294"/>
                  <a:gd name="T1" fmla="*/ 62 h 347"/>
                  <a:gd name="T2" fmla="*/ 263 w 294"/>
                  <a:gd name="T3" fmla="*/ 71 h 347"/>
                  <a:gd name="T4" fmla="*/ 241 w 294"/>
                  <a:gd name="T5" fmla="*/ 81 h 347"/>
                  <a:gd name="T6" fmla="*/ 228 w 294"/>
                  <a:gd name="T7" fmla="*/ 60 h 347"/>
                  <a:gd name="T8" fmla="*/ 215 w 294"/>
                  <a:gd name="T9" fmla="*/ 43 h 347"/>
                  <a:gd name="T10" fmla="*/ 194 w 294"/>
                  <a:gd name="T11" fmla="*/ 46 h 347"/>
                  <a:gd name="T12" fmla="*/ 175 w 294"/>
                  <a:gd name="T13" fmla="*/ 52 h 347"/>
                  <a:gd name="T14" fmla="*/ 165 w 294"/>
                  <a:gd name="T15" fmla="*/ 55 h 347"/>
                  <a:gd name="T16" fmla="*/ 160 w 294"/>
                  <a:gd name="T17" fmla="*/ 41 h 347"/>
                  <a:gd name="T18" fmla="*/ 129 w 294"/>
                  <a:gd name="T19" fmla="*/ 33 h 347"/>
                  <a:gd name="T20" fmla="*/ 114 w 294"/>
                  <a:gd name="T21" fmla="*/ 60 h 347"/>
                  <a:gd name="T22" fmla="*/ 111 w 294"/>
                  <a:gd name="T23" fmla="*/ 23 h 347"/>
                  <a:gd name="T24" fmla="*/ 112 w 294"/>
                  <a:gd name="T25" fmla="*/ 9 h 347"/>
                  <a:gd name="T26" fmla="*/ 113 w 294"/>
                  <a:gd name="T27" fmla="*/ 7 h 347"/>
                  <a:gd name="T28" fmla="*/ 113 w 294"/>
                  <a:gd name="T29" fmla="*/ 5 h 347"/>
                  <a:gd name="T30" fmla="*/ 109 w 294"/>
                  <a:gd name="T31" fmla="*/ 1 h 347"/>
                  <a:gd name="T32" fmla="*/ 104 w 294"/>
                  <a:gd name="T33" fmla="*/ 0 h 347"/>
                  <a:gd name="T34" fmla="*/ 101 w 294"/>
                  <a:gd name="T35" fmla="*/ 0 h 347"/>
                  <a:gd name="T36" fmla="*/ 97 w 294"/>
                  <a:gd name="T37" fmla="*/ 3 h 347"/>
                  <a:gd name="T38" fmla="*/ 91 w 294"/>
                  <a:gd name="T39" fmla="*/ 22 h 347"/>
                  <a:gd name="T40" fmla="*/ 77 w 294"/>
                  <a:gd name="T41" fmla="*/ 54 h 347"/>
                  <a:gd name="T42" fmla="*/ 57 w 294"/>
                  <a:gd name="T43" fmla="*/ 57 h 347"/>
                  <a:gd name="T44" fmla="*/ 43 w 294"/>
                  <a:gd name="T45" fmla="*/ 71 h 347"/>
                  <a:gd name="T46" fmla="*/ 46 w 294"/>
                  <a:gd name="T47" fmla="*/ 96 h 347"/>
                  <a:gd name="T48" fmla="*/ 56 w 294"/>
                  <a:gd name="T49" fmla="*/ 116 h 347"/>
                  <a:gd name="T50" fmla="*/ 45 w 294"/>
                  <a:gd name="T51" fmla="*/ 148 h 347"/>
                  <a:gd name="T52" fmla="*/ 51 w 294"/>
                  <a:gd name="T53" fmla="*/ 166 h 347"/>
                  <a:gd name="T54" fmla="*/ 26 w 294"/>
                  <a:gd name="T55" fmla="*/ 185 h 347"/>
                  <a:gd name="T56" fmla="*/ 32 w 294"/>
                  <a:gd name="T57" fmla="*/ 214 h 347"/>
                  <a:gd name="T58" fmla="*/ 17 w 294"/>
                  <a:gd name="T59" fmla="*/ 227 h 347"/>
                  <a:gd name="T60" fmla="*/ 4 w 294"/>
                  <a:gd name="T61" fmla="*/ 237 h 347"/>
                  <a:gd name="T62" fmla="*/ 11 w 294"/>
                  <a:gd name="T63" fmla="*/ 253 h 347"/>
                  <a:gd name="T64" fmla="*/ 8 w 294"/>
                  <a:gd name="T65" fmla="*/ 293 h 347"/>
                  <a:gd name="T66" fmla="*/ 19 w 294"/>
                  <a:gd name="T67" fmla="*/ 338 h 347"/>
                  <a:gd name="T68" fmla="*/ 43 w 294"/>
                  <a:gd name="T69" fmla="*/ 347 h 347"/>
                  <a:gd name="T70" fmla="*/ 64 w 294"/>
                  <a:gd name="T71" fmla="*/ 324 h 347"/>
                  <a:gd name="T72" fmla="*/ 78 w 294"/>
                  <a:gd name="T73" fmla="*/ 306 h 347"/>
                  <a:gd name="T74" fmla="*/ 117 w 294"/>
                  <a:gd name="T75" fmla="*/ 312 h 347"/>
                  <a:gd name="T76" fmla="*/ 141 w 294"/>
                  <a:gd name="T77" fmla="*/ 313 h 347"/>
                  <a:gd name="T78" fmla="*/ 145 w 294"/>
                  <a:gd name="T79" fmla="*/ 297 h 347"/>
                  <a:gd name="T80" fmla="*/ 137 w 294"/>
                  <a:gd name="T81" fmla="*/ 276 h 347"/>
                  <a:gd name="T82" fmla="*/ 149 w 294"/>
                  <a:gd name="T83" fmla="*/ 250 h 347"/>
                  <a:gd name="T84" fmla="*/ 162 w 294"/>
                  <a:gd name="T85" fmla="*/ 219 h 347"/>
                  <a:gd name="T86" fmla="*/ 181 w 294"/>
                  <a:gd name="T87" fmla="*/ 210 h 347"/>
                  <a:gd name="T88" fmla="*/ 187 w 294"/>
                  <a:gd name="T89" fmla="*/ 192 h 347"/>
                  <a:gd name="T90" fmla="*/ 214 w 294"/>
                  <a:gd name="T91" fmla="*/ 196 h 347"/>
                  <a:gd name="T92" fmla="*/ 228 w 294"/>
                  <a:gd name="T93" fmla="*/ 168 h 347"/>
                  <a:gd name="T94" fmla="*/ 237 w 294"/>
                  <a:gd name="T95" fmla="*/ 149 h 347"/>
                  <a:gd name="T96" fmla="*/ 252 w 294"/>
                  <a:gd name="T97" fmla="*/ 132 h 347"/>
                  <a:gd name="T98" fmla="*/ 255 w 294"/>
                  <a:gd name="T99" fmla="*/ 114 h 347"/>
                  <a:gd name="T100" fmla="*/ 276 w 294"/>
                  <a:gd name="T101" fmla="*/ 100 h 347"/>
                  <a:gd name="T102" fmla="*/ 292 w 294"/>
                  <a:gd name="T103" fmla="*/ 89 h 34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94"/>
                  <a:gd name="T157" fmla="*/ 0 h 347"/>
                  <a:gd name="T158" fmla="*/ 294 w 294"/>
                  <a:gd name="T159" fmla="*/ 347 h 347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94" h="347">
                    <a:moveTo>
                      <a:pt x="290" y="71"/>
                    </a:moveTo>
                    <a:cubicBezTo>
                      <a:pt x="287" y="74"/>
                      <a:pt x="285" y="66"/>
                      <a:pt x="285" y="66"/>
                    </a:cubicBezTo>
                    <a:cubicBezTo>
                      <a:pt x="285" y="66"/>
                      <a:pt x="284" y="63"/>
                      <a:pt x="283" y="60"/>
                    </a:cubicBezTo>
                    <a:cubicBezTo>
                      <a:pt x="281" y="60"/>
                      <a:pt x="279" y="62"/>
                      <a:pt x="279" y="62"/>
                    </a:cubicBezTo>
                    <a:cubicBezTo>
                      <a:pt x="279" y="62"/>
                      <a:pt x="275" y="64"/>
                      <a:pt x="274" y="64"/>
                    </a:cubicBezTo>
                    <a:cubicBezTo>
                      <a:pt x="271" y="63"/>
                      <a:pt x="269" y="66"/>
                      <a:pt x="268" y="66"/>
                    </a:cubicBezTo>
                    <a:cubicBezTo>
                      <a:pt x="266" y="66"/>
                      <a:pt x="266" y="70"/>
                      <a:pt x="266" y="70"/>
                    </a:cubicBezTo>
                    <a:cubicBezTo>
                      <a:pt x="264" y="69"/>
                      <a:pt x="263" y="72"/>
                      <a:pt x="263" y="71"/>
                    </a:cubicBezTo>
                    <a:cubicBezTo>
                      <a:pt x="256" y="70"/>
                      <a:pt x="256" y="74"/>
                      <a:pt x="256" y="74"/>
                    </a:cubicBezTo>
                    <a:cubicBezTo>
                      <a:pt x="254" y="74"/>
                      <a:pt x="251" y="76"/>
                      <a:pt x="251" y="76"/>
                    </a:cubicBezTo>
                    <a:cubicBezTo>
                      <a:pt x="247" y="76"/>
                      <a:pt x="245" y="78"/>
                      <a:pt x="245" y="77"/>
                    </a:cubicBezTo>
                    <a:cubicBezTo>
                      <a:pt x="247" y="81"/>
                      <a:pt x="241" y="81"/>
                      <a:pt x="241" y="81"/>
                    </a:cubicBezTo>
                    <a:cubicBezTo>
                      <a:pt x="237" y="91"/>
                      <a:pt x="238" y="69"/>
                      <a:pt x="239" y="69"/>
                    </a:cubicBezTo>
                    <a:cubicBezTo>
                      <a:pt x="238" y="62"/>
                      <a:pt x="236" y="65"/>
                      <a:pt x="236" y="65"/>
                    </a:cubicBezTo>
                    <a:cubicBezTo>
                      <a:pt x="233" y="68"/>
                      <a:pt x="229" y="64"/>
                      <a:pt x="229" y="65"/>
                    </a:cubicBezTo>
                    <a:cubicBezTo>
                      <a:pt x="229" y="62"/>
                      <a:pt x="228" y="60"/>
                      <a:pt x="228" y="60"/>
                    </a:cubicBezTo>
                    <a:cubicBezTo>
                      <a:pt x="225" y="61"/>
                      <a:pt x="227" y="57"/>
                      <a:pt x="227" y="57"/>
                    </a:cubicBezTo>
                    <a:cubicBezTo>
                      <a:pt x="230" y="53"/>
                      <a:pt x="227" y="48"/>
                      <a:pt x="227" y="48"/>
                    </a:cubicBezTo>
                    <a:cubicBezTo>
                      <a:pt x="226" y="45"/>
                      <a:pt x="222" y="45"/>
                      <a:pt x="222" y="45"/>
                    </a:cubicBezTo>
                    <a:cubicBezTo>
                      <a:pt x="221" y="43"/>
                      <a:pt x="215" y="43"/>
                      <a:pt x="215" y="43"/>
                    </a:cubicBezTo>
                    <a:cubicBezTo>
                      <a:pt x="214" y="43"/>
                      <a:pt x="210" y="47"/>
                      <a:pt x="210" y="47"/>
                    </a:cubicBezTo>
                    <a:cubicBezTo>
                      <a:pt x="214" y="53"/>
                      <a:pt x="203" y="48"/>
                      <a:pt x="203" y="48"/>
                    </a:cubicBezTo>
                    <a:cubicBezTo>
                      <a:pt x="202" y="48"/>
                      <a:pt x="198" y="43"/>
                      <a:pt x="198" y="43"/>
                    </a:cubicBezTo>
                    <a:cubicBezTo>
                      <a:pt x="197" y="41"/>
                      <a:pt x="194" y="45"/>
                      <a:pt x="194" y="46"/>
                    </a:cubicBezTo>
                    <a:cubicBezTo>
                      <a:pt x="190" y="45"/>
                      <a:pt x="189" y="47"/>
                      <a:pt x="189" y="47"/>
                    </a:cubicBezTo>
                    <a:cubicBezTo>
                      <a:pt x="185" y="43"/>
                      <a:pt x="181" y="48"/>
                      <a:pt x="181" y="48"/>
                    </a:cubicBezTo>
                    <a:cubicBezTo>
                      <a:pt x="179" y="50"/>
                      <a:pt x="179" y="50"/>
                      <a:pt x="179" y="50"/>
                    </a:cubicBezTo>
                    <a:cubicBezTo>
                      <a:pt x="176" y="49"/>
                      <a:pt x="175" y="53"/>
                      <a:pt x="175" y="52"/>
                    </a:cubicBezTo>
                    <a:cubicBezTo>
                      <a:pt x="175" y="54"/>
                      <a:pt x="172" y="58"/>
                      <a:pt x="172" y="58"/>
                    </a:cubicBezTo>
                    <a:cubicBezTo>
                      <a:pt x="170" y="59"/>
                      <a:pt x="170" y="59"/>
                      <a:pt x="170" y="59"/>
                    </a:cubicBezTo>
                    <a:cubicBezTo>
                      <a:pt x="167" y="61"/>
                      <a:pt x="167" y="58"/>
                      <a:pt x="167" y="58"/>
                    </a:cubicBezTo>
                    <a:cubicBezTo>
                      <a:pt x="165" y="55"/>
                      <a:pt x="165" y="55"/>
                      <a:pt x="165" y="55"/>
                    </a:cubicBezTo>
                    <a:cubicBezTo>
                      <a:pt x="161" y="55"/>
                      <a:pt x="162" y="52"/>
                      <a:pt x="162" y="52"/>
                    </a:cubicBezTo>
                    <a:cubicBezTo>
                      <a:pt x="161" y="50"/>
                      <a:pt x="161" y="50"/>
                      <a:pt x="161" y="50"/>
                    </a:cubicBezTo>
                    <a:cubicBezTo>
                      <a:pt x="158" y="50"/>
                      <a:pt x="161" y="47"/>
                      <a:pt x="161" y="47"/>
                    </a:cubicBezTo>
                    <a:cubicBezTo>
                      <a:pt x="164" y="45"/>
                      <a:pt x="160" y="41"/>
                      <a:pt x="160" y="41"/>
                    </a:cubicBezTo>
                    <a:cubicBezTo>
                      <a:pt x="160" y="37"/>
                      <a:pt x="158" y="36"/>
                      <a:pt x="158" y="36"/>
                    </a:cubicBezTo>
                    <a:cubicBezTo>
                      <a:pt x="156" y="37"/>
                      <a:pt x="148" y="39"/>
                      <a:pt x="148" y="39"/>
                    </a:cubicBezTo>
                    <a:cubicBezTo>
                      <a:pt x="147" y="36"/>
                      <a:pt x="134" y="36"/>
                      <a:pt x="134" y="35"/>
                    </a:cubicBezTo>
                    <a:cubicBezTo>
                      <a:pt x="133" y="35"/>
                      <a:pt x="129" y="34"/>
                      <a:pt x="129" y="33"/>
                    </a:cubicBezTo>
                    <a:cubicBezTo>
                      <a:pt x="128" y="32"/>
                      <a:pt x="126" y="32"/>
                      <a:pt x="124" y="32"/>
                    </a:cubicBezTo>
                    <a:cubicBezTo>
                      <a:pt x="126" y="57"/>
                      <a:pt x="126" y="57"/>
                      <a:pt x="126" y="57"/>
                    </a:cubicBezTo>
                    <a:cubicBezTo>
                      <a:pt x="120" y="61"/>
                      <a:pt x="120" y="61"/>
                      <a:pt x="120" y="61"/>
                    </a:cubicBezTo>
                    <a:cubicBezTo>
                      <a:pt x="119" y="60"/>
                      <a:pt x="115" y="60"/>
                      <a:pt x="114" y="60"/>
                    </a:cubicBezTo>
                    <a:cubicBezTo>
                      <a:pt x="113" y="59"/>
                      <a:pt x="113" y="51"/>
                      <a:pt x="113" y="51"/>
                    </a:cubicBezTo>
                    <a:cubicBezTo>
                      <a:pt x="113" y="51"/>
                      <a:pt x="116" y="40"/>
                      <a:pt x="112" y="38"/>
                    </a:cubicBezTo>
                    <a:cubicBezTo>
                      <a:pt x="112" y="38"/>
                      <a:pt x="108" y="33"/>
                      <a:pt x="107" y="32"/>
                    </a:cubicBezTo>
                    <a:cubicBezTo>
                      <a:pt x="107" y="26"/>
                      <a:pt x="111" y="23"/>
                      <a:pt x="111" y="23"/>
                    </a:cubicBezTo>
                    <a:cubicBezTo>
                      <a:pt x="111" y="23"/>
                      <a:pt x="113" y="21"/>
                      <a:pt x="113" y="17"/>
                    </a:cubicBezTo>
                    <a:cubicBezTo>
                      <a:pt x="112" y="15"/>
                      <a:pt x="112" y="13"/>
                      <a:pt x="112" y="11"/>
                    </a:cubicBezTo>
                    <a:cubicBezTo>
                      <a:pt x="112" y="11"/>
                      <a:pt x="112" y="11"/>
                      <a:pt x="112" y="10"/>
                    </a:cubicBezTo>
                    <a:cubicBezTo>
                      <a:pt x="112" y="10"/>
                      <a:pt x="112" y="10"/>
                      <a:pt x="112" y="9"/>
                    </a:cubicBezTo>
                    <a:cubicBezTo>
                      <a:pt x="112" y="9"/>
                      <a:pt x="112" y="9"/>
                      <a:pt x="112" y="9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12" y="8"/>
                      <a:pt x="112" y="7"/>
                      <a:pt x="112" y="7"/>
                    </a:cubicBezTo>
                    <a:cubicBezTo>
                      <a:pt x="112" y="7"/>
                      <a:pt x="113" y="7"/>
                      <a:pt x="113" y="7"/>
                    </a:cubicBezTo>
                    <a:cubicBezTo>
                      <a:pt x="113" y="6"/>
                      <a:pt x="113" y="6"/>
                      <a:pt x="113" y="6"/>
                    </a:cubicBezTo>
                    <a:cubicBezTo>
                      <a:pt x="113" y="6"/>
                      <a:pt x="113" y="6"/>
                      <a:pt x="113" y="6"/>
                    </a:cubicBezTo>
                    <a:cubicBezTo>
                      <a:pt x="113" y="6"/>
                      <a:pt x="113" y="6"/>
                      <a:pt x="113" y="6"/>
                    </a:cubicBezTo>
                    <a:cubicBezTo>
                      <a:pt x="113" y="5"/>
                      <a:pt x="113" y="5"/>
                      <a:pt x="113" y="5"/>
                    </a:cubicBezTo>
                    <a:cubicBezTo>
                      <a:pt x="112" y="4"/>
                      <a:pt x="112" y="4"/>
                      <a:pt x="111" y="3"/>
                    </a:cubicBezTo>
                    <a:cubicBezTo>
                      <a:pt x="111" y="3"/>
                      <a:pt x="111" y="3"/>
                      <a:pt x="111" y="3"/>
                    </a:cubicBezTo>
                    <a:cubicBezTo>
                      <a:pt x="111" y="2"/>
                      <a:pt x="110" y="2"/>
                      <a:pt x="110" y="2"/>
                    </a:cubicBezTo>
                    <a:cubicBezTo>
                      <a:pt x="110" y="2"/>
                      <a:pt x="110" y="1"/>
                      <a:pt x="109" y="1"/>
                    </a:cubicBezTo>
                    <a:cubicBezTo>
                      <a:pt x="109" y="1"/>
                      <a:pt x="109" y="1"/>
                      <a:pt x="108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6" y="0"/>
                      <a:pt x="104" y="0"/>
                      <a:pt x="104" y="0"/>
                    </a:cubicBezTo>
                    <a:cubicBezTo>
                      <a:pt x="104" y="0"/>
                      <a:pt x="104" y="0"/>
                      <a:pt x="104" y="0"/>
                    </a:cubicBezTo>
                    <a:cubicBezTo>
                      <a:pt x="104" y="0"/>
                      <a:pt x="104" y="0"/>
                      <a:pt x="104" y="0"/>
                    </a:cubicBezTo>
                    <a:cubicBezTo>
                      <a:pt x="103" y="0"/>
                      <a:pt x="103" y="0"/>
                      <a:pt x="103" y="0"/>
                    </a:cubicBezTo>
                    <a:cubicBezTo>
                      <a:pt x="102" y="0"/>
                      <a:pt x="102" y="0"/>
                      <a:pt x="101" y="0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99" y="1"/>
                      <a:pt x="98" y="2"/>
                      <a:pt x="97" y="3"/>
                    </a:cubicBezTo>
                    <a:cubicBezTo>
                      <a:pt x="97" y="3"/>
                      <a:pt x="97" y="3"/>
                      <a:pt x="97" y="3"/>
                    </a:cubicBezTo>
                    <a:cubicBezTo>
                      <a:pt x="97" y="3"/>
                      <a:pt x="97" y="3"/>
                      <a:pt x="97" y="3"/>
                    </a:cubicBezTo>
                    <a:cubicBezTo>
                      <a:pt x="97" y="3"/>
                      <a:pt x="97" y="3"/>
                      <a:pt x="97" y="3"/>
                    </a:cubicBezTo>
                    <a:cubicBezTo>
                      <a:pt x="98" y="4"/>
                      <a:pt x="98" y="8"/>
                      <a:pt x="98" y="8"/>
                    </a:cubicBezTo>
                    <a:cubicBezTo>
                      <a:pt x="102" y="9"/>
                      <a:pt x="98" y="11"/>
                      <a:pt x="98" y="12"/>
                    </a:cubicBezTo>
                    <a:cubicBezTo>
                      <a:pt x="99" y="14"/>
                      <a:pt x="95" y="15"/>
                      <a:pt x="95" y="15"/>
                    </a:cubicBezTo>
                    <a:cubicBezTo>
                      <a:pt x="95" y="21"/>
                      <a:pt x="91" y="22"/>
                      <a:pt x="91" y="22"/>
                    </a:cubicBezTo>
                    <a:cubicBezTo>
                      <a:pt x="87" y="23"/>
                      <a:pt x="89" y="39"/>
                      <a:pt x="89" y="39"/>
                    </a:cubicBezTo>
                    <a:cubicBezTo>
                      <a:pt x="94" y="42"/>
                      <a:pt x="86" y="43"/>
                      <a:pt x="86" y="43"/>
                    </a:cubicBezTo>
                    <a:cubicBezTo>
                      <a:pt x="84" y="42"/>
                      <a:pt x="83" y="49"/>
                      <a:pt x="83" y="49"/>
                    </a:cubicBezTo>
                    <a:cubicBezTo>
                      <a:pt x="85" y="53"/>
                      <a:pt x="77" y="54"/>
                      <a:pt x="77" y="54"/>
                    </a:cubicBezTo>
                    <a:cubicBezTo>
                      <a:pt x="70" y="52"/>
                      <a:pt x="70" y="54"/>
                      <a:pt x="70" y="54"/>
                    </a:cubicBezTo>
                    <a:cubicBezTo>
                      <a:pt x="71" y="57"/>
                      <a:pt x="65" y="58"/>
                      <a:pt x="65" y="58"/>
                    </a:cubicBezTo>
                    <a:cubicBezTo>
                      <a:pt x="62" y="62"/>
                      <a:pt x="61" y="58"/>
                      <a:pt x="61" y="58"/>
                    </a:cubicBezTo>
                    <a:cubicBezTo>
                      <a:pt x="60" y="58"/>
                      <a:pt x="57" y="57"/>
                      <a:pt x="57" y="57"/>
                    </a:cubicBezTo>
                    <a:cubicBezTo>
                      <a:pt x="52" y="52"/>
                      <a:pt x="53" y="61"/>
                      <a:pt x="52" y="60"/>
                    </a:cubicBezTo>
                    <a:cubicBezTo>
                      <a:pt x="51" y="60"/>
                      <a:pt x="49" y="66"/>
                      <a:pt x="49" y="65"/>
                    </a:cubicBezTo>
                    <a:cubicBezTo>
                      <a:pt x="42" y="64"/>
                      <a:pt x="45" y="68"/>
                      <a:pt x="45" y="68"/>
                    </a:cubicBezTo>
                    <a:cubicBezTo>
                      <a:pt x="32" y="68"/>
                      <a:pt x="44" y="71"/>
                      <a:pt x="43" y="71"/>
                    </a:cubicBezTo>
                    <a:cubicBezTo>
                      <a:pt x="47" y="70"/>
                      <a:pt x="47" y="80"/>
                      <a:pt x="47" y="80"/>
                    </a:cubicBezTo>
                    <a:cubicBezTo>
                      <a:pt x="52" y="81"/>
                      <a:pt x="45" y="87"/>
                      <a:pt x="46" y="87"/>
                    </a:cubicBezTo>
                    <a:cubicBezTo>
                      <a:pt x="39" y="86"/>
                      <a:pt x="45" y="93"/>
                      <a:pt x="45" y="93"/>
                    </a:cubicBezTo>
                    <a:cubicBezTo>
                      <a:pt x="48" y="91"/>
                      <a:pt x="46" y="96"/>
                      <a:pt x="46" y="96"/>
                    </a:cubicBezTo>
                    <a:cubicBezTo>
                      <a:pt x="42" y="96"/>
                      <a:pt x="43" y="100"/>
                      <a:pt x="45" y="103"/>
                    </a:cubicBezTo>
                    <a:cubicBezTo>
                      <a:pt x="47" y="104"/>
                      <a:pt x="52" y="105"/>
                      <a:pt x="52" y="105"/>
                    </a:cubicBezTo>
                    <a:cubicBezTo>
                      <a:pt x="57" y="103"/>
                      <a:pt x="61" y="108"/>
                      <a:pt x="61" y="108"/>
                    </a:cubicBezTo>
                    <a:cubicBezTo>
                      <a:pt x="68" y="113"/>
                      <a:pt x="56" y="116"/>
                      <a:pt x="56" y="116"/>
                    </a:cubicBezTo>
                    <a:cubicBezTo>
                      <a:pt x="54" y="117"/>
                      <a:pt x="52" y="125"/>
                      <a:pt x="52" y="125"/>
                    </a:cubicBezTo>
                    <a:cubicBezTo>
                      <a:pt x="49" y="127"/>
                      <a:pt x="49" y="137"/>
                      <a:pt x="49" y="137"/>
                    </a:cubicBezTo>
                    <a:cubicBezTo>
                      <a:pt x="50" y="140"/>
                      <a:pt x="47" y="143"/>
                      <a:pt x="47" y="143"/>
                    </a:cubicBezTo>
                    <a:cubicBezTo>
                      <a:pt x="44" y="144"/>
                      <a:pt x="45" y="148"/>
                      <a:pt x="45" y="148"/>
                    </a:cubicBezTo>
                    <a:cubicBezTo>
                      <a:pt x="48" y="148"/>
                      <a:pt x="47" y="152"/>
                      <a:pt x="47" y="152"/>
                    </a:cubicBezTo>
                    <a:cubicBezTo>
                      <a:pt x="42" y="153"/>
                      <a:pt x="47" y="154"/>
                      <a:pt x="47" y="154"/>
                    </a:cubicBezTo>
                    <a:cubicBezTo>
                      <a:pt x="46" y="155"/>
                      <a:pt x="52" y="158"/>
                      <a:pt x="52" y="158"/>
                    </a:cubicBezTo>
                    <a:cubicBezTo>
                      <a:pt x="54" y="162"/>
                      <a:pt x="52" y="166"/>
                      <a:pt x="51" y="166"/>
                    </a:cubicBezTo>
                    <a:cubicBezTo>
                      <a:pt x="41" y="165"/>
                      <a:pt x="37" y="168"/>
                      <a:pt x="37" y="168"/>
                    </a:cubicBezTo>
                    <a:cubicBezTo>
                      <a:pt x="35" y="169"/>
                      <a:pt x="32" y="169"/>
                      <a:pt x="29" y="169"/>
                    </a:cubicBezTo>
                    <a:cubicBezTo>
                      <a:pt x="29" y="169"/>
                      <a:pt x="33" y="176"/>
                      <a:pt x="29" y="178"/>
                    </a:cubicBezTo>
                    <a:cubicBezTo>
                      <a:pt x="29" y="179"/>
                      <a:pt x="26" y="183"/>
                      <a:pt x="26" y="185"/>
                    </a:cubicBezTo>
                    <a:cubicBezTo>
                      <a:pt x="26" y="185"/>
                      <a:pt x="29" y="195"/>
                      <a:pt x="30" y="196"/>
                    </a:cubicBezTo>
                    <a:cubicBezTo>
                      <a:pt x="30" y="196"/>
                      <a:pt x="32" y="198"/>
                      <a:pt x="30" y="199"/>
                    </a:cubicBezTo>
                    <a:cubicBezTo>
                      <a:pt x="30" y="199"/>
                      <a:pt x="29" y="208"/>
                      <a:pt x="32" y="210"/>
                    </a:cubicBezTo>
                    <a:cubicBezTo>
                      <a:pt x="32" y="210"/>
                      <a:pt x="35" y="211"/>
                      <a:pt x="32" y="214"/>
                    </a:cubicBezTo>
                    <a:cubicBezTo>
                      <a:pt x="32" y="213"/>
                      <a:pt x="29" y="215"/>
                      <a:pt x="32" y="217"/>
                    </a:cubicBezTo>
                    <a:cubicBezTo>
                      <a:pt x="32" y="217"/>
                      <a:pt x="37" y="221"/>
                      <a:pt x="33" y="223"/>
                    </a:cubicBezTo>
                    <a:cubicBezTo>
                      <a:pt x="33" y="223"/>
                      <a:pt x="32" y="231"/>
                      <a:pt x="29" y="228"/>
                    </a:cubicBezTo>
                    <a:cubicBezTo>
                      <a:pt x="29" y="228"/>
                      <a:pt x="18" y="228"/>
                      <a:pt x="17" y="227"/>
                    </a:cubicBezTo>
                    <a:cubicBezTo>
                      <a:pt x="17" y="227"/>
                      <a:pt x="7" y="227"/>
                      <a:pt x="7" y="225"/>
                    </a:cubicBezTo>
                    <a:cubicBezTo>
                      <a:pt x="7" y="225"/>
                      <a:pt x="5" y="225"/>
                      <a:pt x="5" y="228"/>
                    </a:cubicBezTo>
                    <a:cubicBezTo>
                      <a:pt x="5" y="228"/>
                      <a:pt x="2" y="231"/>
                      <a:pt x="5" y="232"/>
                    </a:cubicBezTo>
                    <a:cubicBezTo>
                      <a:pt x="5" y="232"/>
                      <a:pt x="6" y="235"/>
                      <a:pt x="4" y="237"/>
                    </a:cubicBezTo>
                    <a:cubicBezTo>
                      <a:pt x="5" y="237"/>
                      <a:pt x="0" y="238"/>
                      <a:pt x="4" y="238"/>
                    </a:cubicBezTo>
                    <a:cubicBezTo>
                      <a:pt x="4" y="239"/>
                      <a:pt x="7" y="247"/>
                      <a:pt x="9" y="248"/>
                    </a:cubicBezTo>
                    <a:cubicBezTo>
                      <a:pt x="10" y="250"/>
                      <a:pt x="10" y="250"/>
                      <a:pt x="10" y="250"/>
                    </a:cubicBezTo>
                    <a:cubicBezTo>
                      <a:pt x="10" y="250"/>
                      <a:pt x="10" y="251"/>
                      <a:pt x="11" y="253"/>
                    </a:cubicBezTo>
                    <a:cubicBezTo>
                      <a:pt x="13" y="254"/>
                      <a:pt x="14" y="254"/>
                      <a:pt x="14" y="255"/>
                    </a:cubicBezTo>
                    <a:cubicBezTo>
                      <a:pt x="14" y="254"/>
                      <a:pt x="20" y="257"/>
                      <a:pt x="14" y="259"/>
                    </a:cubicBezTo>
                    <a:cubicBezTo>
                      <a:pt x="14" y="259"/>
                      <a:pt x="16" y="281"/>
                      <a:pt x="13" y="283"/>
                    </a:cubicBezTo>
                    <a:cubicBezTo>
                      <a:pt x="13" y="283"/>
                      <a:pt x="9" y="293"/>
                      <a:pt x="8" y="293"/>
                    </a:cubicBezTo>
                    <a:cubicBezTo>
                      <a:pt x="8" y="292"/>
                      <a:pt x="7" y="311"/>
                      <a:pt x="10" y="311"/>
                    </a:cubicBezTo>
                    <a:cubicBezTo>
                      <a:pt x="10" y="311"/>
                      <a:pt x="13" y="312"/>
                      <a:pt x="12" y="322"/>
                    </a:cubicBezTo>
                    <a:cubicBezTo>
                      <a:pt x="12" y="322"/>
                      <a:pt x="15" y="322"/>
                      <a:pt x="15" y="334"/>
                    </a:cubicBezTo>
                    <a:cubicBezTo>
                      <a:pt x="15" y="334"/>
                      <a:pt x="18" y="334"/>
                      <a:pt x="19" y="338"/>
                    </a:cubicBezTo>
                    <a:cubicBezTo>
                      <a:pt x="19" y="338"/>
                      <a:pt x="23" y="338"/>
                      <a:pt x="24" y="341"/>
                    </a:cubicBezTo>
                    <a:cubicBezTo>
                      <a:pt x="24" y="341"/>
                      <a:pt x="31" y="339"/>
                      <a:pt x="31" y="344"/>
                    </a:cubicBezTo>
                    <a:cubicBezTo>
                      <a:pt x="31" y="344"/>
                      <a:pt x="37" y="340"/>
                      <a:pt x="39" y="346"/>
                    </a:cubicBezTo>
                    <a:cubicBezTo>
                      <a:pt x="39" y="346"/>
                      <a:pt x="41" y="346"/>
                      <a:pt x="43" y="347"/>
                    </a:cubicBezTo>
                    <a:cubicBezTo>
                      <a:pt x="44" y="346"/>
                      <a:pt x="45" y="344"/>
                      <a:pt x="45" y="344"/>
                    </a:cubicBezTo>
                    <a:cubicBezTo>
                      <a:pt x="45" y="342"/>
                      <a:pt x="52" y="343"/>
                      <a:pt x="52" y="343"/>
                    </a:cubicBezTo>
                    <a:cubicBezTo>
                      <a:pt x="56" y="343"/>
                      <a:pt x="60" y="342"/>
                      <a:pt x="60" y="342"/>
                    </a:cubicBezTo>
                    <a:cubicBezTo>
                      <a:pt x="68" y="340"/>
                      <a:pt x="64" y="325"/>
                      <a:pt x="64" y="324"/>
                    </a:cubicBezTo>
                    <a:cubicBezTo>
                      <a:pt x="64" y="323"/>
                      <a:pt x="65" y="315"/>
                      <a:pt x="65" y="315"/>
                    </a:cubicBezTo>
                    <a:cubicBezTo>
                      <a:pt x="64" y="312"/>
                      <a:pt x="67" y="307"/>
                      <a:pt x="67" y="307"/>
                    </a:cubicBezTo>
                    <a:cubicBezTo>
                      <a:pt x="67" y="305"/>
                      <a:pt x="73" y="305"/>
                      <a:pt x="73" y="305"/>
                    </a:cubicBezTo>
                    <a:cubicBezTo>
                      <a:pt x="75" y="304"/>
                      <a:pt x="78" y="306"/>
                      <a:pt x="78" y="306"/>
                    </a:cubicBezTo>
                    <a:cubicBezTo>
                      <a:pt x="78" y="307"/>
                      <a:pt x="87" y="307"/>
                      <a:pt x="87" y="307"/>
                    </a:cubicBezTo>
                    <a:cubicBezTo>
                      <a:pt x="95" y="306"/>
                      <a:pt x="97" y="311"/>
                      <a:pt x="97" y="311"/>
                    </a:cubicBezTo>
                    <a:cubicBezTo>
                      <a:pt x="97" y="314"/>
                      <a:pt x="106" y="315"/>
                      <a:pt x="106" y="315"/>
                    </a:cubicBezTo>
                    <a:cubicBezTo>
                      <a:pt x="108" y="315"/>
                      <a:pt x="117" y="312"/>
                      <a:pt x="117" y="312"/>
                    </a:cubicBezTo>
                    <a:cubicBezTo>
                      <a:pt x="123" y="311"/>
                      <a:pt x="122" y="320"/>
                      <a:pt x="122" y="320"/>
                    </a:cubicBezTo>
                    <a:cubicBezTo>
                      <a:pt x="125" y="324"/>
                      <a:pt x="133" y="320"/>
                      <a:pt x="133" y="320"/>
                    </a:cubicBezTo>
                    <a:cubicBezTo>
                      <a:pt x="133" y="317"/>
                      <a:pt x="137" y="318"/>
                      <a:pt x="137" y="318"/>
                    </a:cubicBezTo>
                    <a:cubicBezTo>
                      <a:pt x="140" y="317"/>
                      <a:pt x="141" y="313"/>
                      <a:pt x="141" y="313"/>
                    </a:cubicBezTo>
                    <a:cubicBezTo>
                      <a:pt x="143" y="311"/>
                      <a:pt x="146" y="311"/>
                      <a:pt x="148" y="311"/>
                    </a:cubicBezTo>
                    <a:cubicBezTo>
                      <a:pt x="149" y="310"/>
                      <a:pt x="149" y="307"/>
                      <a:pt x="149" y="307"/>
                    </a:cubicBezTo>
                    <a:cubicBezTo>
                      <a:pt x="150" y="303"/>
                      <a:pt x="148" y="303"/>
                      <a:pt x="148" y="302"/>
                    </a:cubicBezTo>
                    <a:cubicBezTo>
                      <a:pt x="146" y="301"/>
                      <a:pt x="145" y="297"/>
                      <a:pt x="145" y="297"/>
                    </a:cubicBezTo>
                    <a:cubicBezTo>
                      <a:pt x="145" y="296"/>
                      <a:pt x="148" y="292"/>
                      <a:pt x="147" y="291"/>
                    </a:cubicBezTo>
                    <a:cubicBezTo>
                      <a:pt x="152" y="288"/>
                      <a:pt x="146" y="284"/>
                      <a:pt x="146" y="284"/>
                    </a:cubicBezTo>
                    <a:cubicBezTo>
                      <a:pt x="146" y="281"/>
                      <a:pt x="142" y="279"/>
                      <a:pt x="141" y="279"/>
                    </a:cubicBezTo>
                    <a:cubicBezTo>
                      <a:pt x="141" y="277"/>
                      <a:pt x="137" y="276"/>
                      <a:pt x="137" y="276"/>
                    </a:cubicBezTo>
                    <a:cubicBezTo>
                      <a:pt x="133" y="276"/>
                      <a:pt x="135" y="264"/>
                      <a:pt x="135" y="263"/>
                    </a:cubicBezTo>
                    <a:cubicBezTo>
                      <a:pt x="136" y="254"/>
                      <a:pt x="140" y="255"/>
                      <a:pt x="140" y="255"/>
                    </a:cubicBezTo>
                    <a:cubicBezTo>
                      <a:pt x="140" y="254"/>
                      <a:pt x="145" y="253"/>
                      <a:pt x="145" y="253"/>
                    </a:cubicBezTo>
                    <a:cubicBezTo>
                      <a:pt x="145" y="252"/>
                      <a:pt x="149" y="250"/>
                      <a:pt x="149" y="250"/>
                    </a:cubicBezTo>
                    <a:cubicBezTo>
                      <a:pt x="149" y="246"/>
                      <a:pt x="145" y="242"/>
                      <a:pt x="145" y="242"/>
                    </a:cubicBezTo>
                    <a:cubicBezTo>
                      <a:pt x="143" y="229"/>
                      <a:pt x="148" y="226"/>
                      <a:pt x="148" y="226"/>
                    </a:cubicBezTo>
                    <a:cubicBezTo>
                      <a:pt x="156" y="227"/>
                      <a:pt x="154" y="222"/>
                      <a:pt x="154" y="222"/>
                    </a:cubicBezTo>
                    <a:cubicBezTo>
                      <a:pt x="154" y="219"/>
                      <a:pt x="162" y="220"/>
                      <a:pt x="162" y="219"/>
                    </a:cubicBezTo>
                    <a:cubicBezTo>
                      <a:pt x="162" y="222"/>
                      <a:pt x="165" y="219"/>
                      <a:pt x="165" y="220"/>
                    </a:cubicBezTo>
                    <a:cubicBezTo>
                      <a:pt x="167" y="220"/>
                      <a:pt x="169" y="218"/>
                      <a:pt x="169" y="218"/>
                    </a:cubicBezTo>
                    <a:cubicBezTo>
                      <a:pt x="173" y="218"/>
                      <a:pt x="176" y="215"/>
                      <a:pt x="176" y="215"/>
                    </a:cubicBezTo>
                    <a:cubicBezTo>
                      <a:pt x="175" y="214"/>
                      <a:pt x="181" y="211"/>
                      <a:pt x="181" y="210"/>
                    </a:cubicBezTo>
                    <a:cubicBezTo>
                      <a:pt x="185" y="210"/>
                      <a:pt x="185" y="201"/>
                      <a:pt x="185" y="201"/>
                    </a:cubicBezTo>
                    <a:cubicBezTo>
                      <a:pt x="182" y="202"/>
                      <a:pt x="183" y="199"/>
                      <a:pt x="183" y="199"/>
                    </a:cubicBezTo>
                    <a:cubicBezTo>
                      <a:pt x="185" y="199"/>
                      <a:pt x="185" y="194"/>
                      <a:pt x="185" y="194"/>
                    </a:cubicBezTo>
                    <a:cubicBezTo>
                      <a:pt x="187" y="192"/>
                      <a:pt x="187" y="192"/>
                      <a:pt x="187" y="192"/>
                    </a:cubicBezTo>
                    <a:cubicBezTo>
                      <a:pt x="190" y="191"/>
                      <a:pt x="193" y="189"/>
                      <a:pt x="193" y="189"/>
                    </a:cubicBezTo>
                    <a:cubicBezTo>
                      <a:pt x="197" y="189"/>
                      <a:pt x="199" y="197"/>
                      <a:pt x="199" y="197"/>
                    </a:cubicBezTo>
                    <a:cubicBezTo>
                      <a:pt x="202" y="202"/>
                      <a:pt x="206" y="199"/>
                      <a:pt x="206" y="199"/>
                    </a:cubicBezTo>
                    <a:cubicBezTo>
                      <a:pt x="209" y="199"/>
                      <a:pt x="214" y="196"/>
                      <a:pt x="214" y="196"/>
                    </a:cubicBezTo>
                    <a:cubicBezTo>
                      <a:pt x="217" y="193"/>
                      <a:pt x="217" y="187"/>
                      <a:pt x="217" y="187"/>
                    </a:cubicBezTo>
                    <a:cubicBezTo>
                      <a:pt x="218" y="186"/>
                      <a:pt x="221" y="178"/>
                      <a:pt x="221" y="178"/>
                    </a:cubicBezTo>
                    <a:cubicBezTo>
                      <a:pt x="219" y="174"/>
                      <a:pt x="228" y="173"/>
                      <a:pt x="228" y="173"/>
                    </a:cubicBezTo>
                    <a:cubicBezTo>
                      <a:pt x="233" y="170"/>
                      <a:pt x="228" y="168"/>
                      <a:pt x="228" y="168"/>
                    </a:cubicBezTo>
                    <a:cubicBezTo>
                      <a:pt x="228" y="168"/>
                      <a:pt x="226" y="165"/>
                      <a:pt x="225" y="165"/>
                    </a:cubicBezTo>
                    <a:cubicBezTo>
                      <a:pt x="226" y="154"/>
                      <a:pt x="226" y="154"/>
                      <a:pt x="226" y="154"/>
                    </a:cubicBezTo>
                    <a:cubicBezTo>
                      <a:pt x="225" y="150"/>
                      <a:pt x="233" y="150"/>
                      <a:pt x="232" y="150"/>
                    </a:cubicBezTo>
                    <a:cubicBezTo>
                      <a:pt x="235" y="154"/>
                      <a:pt x="237" y="149"/>
                      <a:pt x="237" y="149"/>
                    </a:cubicBezTo>
                    <a:cubicBezTo>
                      <a:pt x="240" y="147"/>
                      <a:pt x="240" y="147"/>
                      <a:pt x="240" y="147"/>
                    </a:cubicBezTo>
                    <a:cubicBezTo>
                      <a:pt x="240" y="146"/>
                      <a:pt x="244" y="143"/>
                      <a:pt x="244" y="143"/>
                    </a:cubicBezTo>
                    <a:cubicBezTo>
                      <a:pt x="247" y="144"/>
                      <a:pt x="249" y="142"/>
                      <a:pt x="249" y="141"/>
                    </a:cubicBezTo>
                    <a:cubicBezTo>
                      <a:pt x="249" y="137"/>
                      <a:pt x="252" y="132"/>
                      <a:pt x="252" y="132"/>
                    </a:cubicBezTo>
                    <a:cubicBezTo>
                      <a:pt x="255" y="130"/>
                      <a:pt x="252" y="125"/>
                      <a:pt x="252" y="125"/>
                    </a:cubicBezTo>
                    <a:cubicBezTo>
                      <a:pt x="251" y="125"/>
                      <a:pt x="249" y="118"/>
                      <a:pt x="249" y="118"/>
                    </a:cubicBezTo>
                    <a:cubicBezTo>
                      <a:pt x="248" y="116"/>
                      <a:pt x="251" y="116"/>
                      <a:pt x="251" y="116"/>
                    </a:cubicBezTo>
                    <a:cubicBezTo>
                      <a:pt x="251" y="116"/>
                      <a:pt x="255" y="115"/>
                      <a:pt x="255" y="114"/>
                    </a:cubicBezTo>
                    <a:cubicBezTo>
                      <a:pt x="255" y="115"/>
                      <a:pt x="258" y="112"/>
                      <a:pt x="259" y="112"/>
                    </a:cubicBezTo>
                    <a:cubicBezTo>
                      <a:pt x="260" y="111"/>
                      <a:pt x="264" y="108"/>
                      <a:pt x="264" y="108"/>
                    </a:cubicBezTo>
                    <a:cubicBezTo>
                      <a:pt x="264" y="104"/>
                      <a:pt x="267" y="102"/>
                      <a:pt x="267" y="102"/>
                    </a:cubicBezTo>
                    <a:cubicBezTo>
                      <a:pt x="275" y="103"/>
                      <a:pt x="276" y="100"/>
                      <a:pt x="276" y="100"/>
                    </a:cubicBezTo>
                    <a:cubicBezTo>
                      <a:pt x="279" y="100"/>
                      <a:pt x="281" y="98"/>
                      <a:pt x="281" y="98"/>
                    </a:cubicBezTo>
                    <a:cubicBezTo>
                      <a:pt x="283" y="98"/>
                      <a:pt x="286" y="96"/>
                      <a:pt x="286" y="96"/>
                    </a:cubicBezTo>
                    <a:cubicBezTo>
                      <a:pt x="286" y="93"/>
                      <a:pt x="289" y="93"/>
                      <a:pt x="289" y="93"/>
                    </a:cubicBezTo>
                    <a:cubicBezTo>
                      <a:pt x="289" y="92"/>
                      <a:pt x="292" y="89"/>
                      <a:pt x="292" y="89"/>
                    </a:cubicBezTo>
                    <a:cubicBezTo>
                      <a:pt x="294" y="83"/>
                      <a:pt x="290" y="72"/>
                      <a:pt x="290" y="7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92" name="Freeform 247">
                <a:extLst>
                  <a:ext uri="{FF2B5EF4-FFF2-40B4-BE49-F238E27FC236}">
                    <a16:creationId xmlns:a16="http://schemas.microsoft.com/office/drawing/2014/main" id="{B261C78D-F2C4-BD35-9CE1-A930DF2F4B8B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3383819" y="2638403"/>
                <a:ext cx="1100726" cy="1217866"/>
              </a:xfrm>
              <a:custGeom>
                <a:avLst/>
                <a:gdLst>
                  <a:gd name="T0" fmla="*/ 330 w 347"/>
                  <a:gd name="T1" fmla="*/ 191 h 382"/>
                  <a:gd name="T2" fmla="*/ 314 w 347"/>
                  <a:gd name="T3" fmla="*/ 177 h 382"/>
                  <a:gd name="T4" fmla="*/ 293 w 347"/>
                  <a:gd name="T5" fmla="*/ 180 h 382"/>
                  <a:gd name="T6" fmla="*/ 295 w 347"/>
                  <a:gd name="T7" fmla="*/ 191 h 382"/>
                  <a:gd name="T8" fmla="*/ 320 w 347"/>
                  <a:gd name="T9" fmla="*/ 198 h 382"/>
                  <a:gd name="T10" fmla="*/ 335 w 347"/>
                  <a:gd name="T11" fmla="*/ 218 h 382"/>
                  <a:gd name="T12" fmla="*/ 345 w 347"/>
                  <a:gd name="T13" fmla="*/ 203 h 382"/>
                  <a:gd name="T14" fmla="*/ 292 w 347"/>
                  <a:gd name="T15" fmla="*/ 161 h 382"/>
                  <a:gd name="T16" fmla="*/ 301 w 347"/>
                  <a:gd name="T17" fmla="*/ 141 h 382"/>
                  <a:gd name="T18" fmla="*/ 317 w 347"/>
                  <a:gd name="T19" fmla="*/ 133 h 382"/>
                  <a:gd name="T20" fmla="*/ 297 w 347"/>
                  <a:gd name="T21" fmla="*/ 125 h 382"/>
                  <a:gd name="T22" fmla="*/ 276 w 347"/>
                  <a:gd name="T23" fmla="*/ 110 h 382"/>
                  <a:gd name="T24" fmla="*/ 266 w 347"/>
                  <a:gd name="T25" fmla="*/ 97 h 382"/>
                  <a:gd name="T26" fmla="*/ 260 w 347"/>
                  <a:gd name="T27" fmla="*/ 78 h 382"/>
                  <a:gd name="T28" fmla="*/ 250 w 347"/>
                  <a:gd name="T29" fmla="*/ 54 h 382"/>
                  <a:gd name="T30" fmla="*/ 247 w 347"/>
                  <a:gd name="T31" fmla="*/ 37 h 382"/>
                  <a:gd name="T32" fmla="*/ 238 w 347"/>
                  <a:gd name="T33" fmla="*/ 12 h 382"/>
                  <a:gd name="T34" fmla="*/ 222 w 347"/>
                  <a:gd name="T35" fmla="*/ 5 h 382"/>
                  <a:gd name="T36" fmla="*/ 203 w 347"/>
                  <a:gd name="T37" fmla="*/ 23 h 382"/>
                  <a:gd name="T38" fmla="*/ 184 w 347"/>
                  <a:gd name="T39" fmla="*/ 49 h 382"/>
                  <a:gd name="T40" fmla="*/ 171 w 347"/>
                  <a:gd name="T41" fmla="*/ 37 h 382"/>
                  <a:gd name="T42" fmla="*/ 164 w 347"/>
                  <a:gd name="T43" fmla="*/ 29 h 382"/>
                  <a:gd name="T44" fmla="*/ 141 w 347"/>
                  <a:gd name="T45" fmla="*/ 24 h 382"/>
                  <a:gd name="T46" fmla="*/ 119 w 347"/>
                  <a:gd name="T47" fmla="*/ 26 h 382"/>
                  <a:gd name="T48" fmla="*/ 97 w 347"/>
                  <a:gd name="T49" fmla="*/ 33 h 382"/>
                  <a:gd name="T50" fmla="*/ 84 w 347"/>
                  <a:gd name="T51" fmla="*/ 7 h 382"/>
                  <a:gd name="T52" fmla="*/ 66 w 347"/>
                  <a:gd name="T53" fmla="*/ 21 h 382"/>
                  <a:gd name="T54" fmla="*/ 57 w 347"/>
                  <a:gd name="T55" fmla="*/ 34 h 382"/>
                  <a:gd name="T56" fmla="*/ 31 w 347"/>
                  <a:gd name="T57" fmla="*/ 32 h 382"/>
                  <a:gd name="T58" fmla="*/ 4 w 347"/>
                  <a:gd name="T59" fmla="*/ 39 h 382"/>
                  <a:gd name="T60" fmla="*/ 23 w 347"/>
                  <a:gd name="T61" fmla="*/ 78 h 382"/>
                  <a:gd name="T62" fmla="*/ 29 w 347"/>
                  <a:gd name="T63" fmla="*/ 114 h 382"/>
                  <a:gd name="T64" fmla="*/ 24 w 347"/>
                  <a:gd name="T65" fmla="*/ 141 h 382"/>
                  <a:gd name="T66" fmla="*/ 18 w 347"/>
                  <a:gd name="T67" fmla="*/ 177 h 382"/>
                  <a:gd name="T68" fmla="*/ 33 w 347"/>
                  <a:gd name="T69" fmla="*/ 205 h 382"/>
                  <a:gd name="T70" fmla="*/ 60 w 347"/>
                  <a:gd name="T71" fmla="*/ 208 h 382"/>
                  <a:gd name="T72" fmla="*/ 54 w 347"/>
                  <a:gd name="T73" fmla="*/ 238 h 382"/>
                  <a:gd name="T74" fmla="*/ 34 w 347"/>
                  <a:gd name="T75" fmla="*/ 263 h 382"/>
                  <a:gd name="T76" fmla="*/ 15 w 347"/>
                  <a:gd name="T77" fmla="*/ 275 h 382"/>
                  <a:gd name="T78" fmla="*/ 11 w 347"/>
                  <a:gd name="T79" fmla="*/ 296 h 382"/>
                  <a:gd name="T80" fmla="*/ 12 w 347"/>
                  <a:gd name="T81" fmla="*/ 318 h 382"/>
                  <a:gd name="T82" fmla="*/ 38 w 347"/>
                  <a:gd name="T83" fmla="*/ 344 h 382"/>
                  <a:gd name="T84" fmla="*/ 61 w 347"/>
                  <a:gd name="T85" fmla="*/ 372 h 382"/>
                  <a:gd name="T86" fmla="*/ 90 w 347"/>
                  <a:gd name="T87" fmla="*/ 371 h 382"/>
                  <a:gd name="T88" fmla="*/ 109 w 347"/>
                  <a:gd name="T89" fmla="*/ 369 h 382"/>
                  <a:gd name="T90" fmla="*/ 106 w 347"/>
                  <a:gd name="T91" fmla="*/ 329 h 382"/>
                  <a:gd name="T92" fmla="*/ 116 w 347"/>
                  <a:gd name="T93" fmla="*/ 305 h 382"/>
                  <a:gd name="T94" fmla="*/ 138 w 347"/>
                  <a:gd name="T95" fmla="*/ 285 h 382"/>
                  <a:gd name="T96" fmla="*/ 150 w 347"/>
                  <a:gd name="T97" fmla="*/ 274 h 382"/>
                  <a:gd name="T98" fmla="*/ 163 w 347"/>
                  <a:gd name="T99" fmla="*/ 258 h 382"/>
                  <a:gd name="T100" fmla="*/ 172 w 347"/>
                  <a:gd name="T101" fmla="*/ 240 h 382"/>
                  <a:gd name="T102" fmla="*/ 200 w 347"/>
                  <a:gd name="T103" fmla="*/ 236 h 382"/>
                  <a:gd name="T104" fmla="*/ 201 w 347"/>
                  <a:gd name="T105" fmla="*/ 225 h 382"/>
                  <a:gd name="T106" fmla="*/ 218 w 347"/>
                  <a:gd name="T107" fmla="*/ 218 h 382"/>
                  <a:gd name="T108" fmla="*/ 242 w 347"/>
                  <a:gd name="T109" fmla="*/ 215 h 382"/>
                  <a:gd name="T110" fmla="*/ 245 w 347"/>
                  <a:gd name="T111" fmla="*/ 208 h 382"/>
                  <a:gd name="T112" fmla="*/ 256 w 347"/>
                  <a:gd name="T113" fmla="*/ 202 h 382"/>
                  <a:gd name="T114" fmla="*/ 242 w 347"/>
                  <a:gd name="T115" fmla="*/ 180 h 382"/>
                  <a:gd name="T116" fmla="*/ 245 w 347"/>
                  <a:gd name="T117" fmla="*/ 172 h 382"/>
                  <a:gd name="T118" fmla="*/ 259 w 347"/>
                  <a:gd name="T119" fmla="*/ 183 h 382"/>
                  <a:gd name="T120" fmla="*/ 274 w 347"/>
                  <a:gd name="T121" fmla="*/ 181 h 382"/>
                  <a:gd name="T122" fmla="*/ 284 w 347"/>
                  <a:gd name="T123" fmla="*/ 171 h 38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47"/>
                  <a:gd name="T187" fmla="*/ 0 h 382"/>
                  <a:gd name="T188" fmla="*/ 347 w 347"/>
                  <a:gd name="T189" fmla="*/ 382 h 38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47" h="382">
                    <a:moveTo>
                      <a:pt x="345" y="203"/>
                    </a:moveTo>
                    <a:cubicBezTo>
                      <a:pt x="345" y="202"/>
                      <a:pt x="339" y="201"/>
                      <a:pt x="339" y="201"/>
                    </a:cubicBezTo>
                    <a:cubicBezTo>
                      <a:pt x="339" y="200"/>
                      <a:pt x="334" y="196"/>
                      <a:pt x="335" y="196"/>
                    </a:cubicBezTo>
                    <a:cubicBezTo>
                      <a:pt x="334" y="196"/>
                      <a:pt x="330" y="191"/>
                      <a:pt x="330" y="191"/>
                    </a:cubicBezTo>
                    <a:cubicBezTo>
                      <a:pt x="330" y="191"/>
                      <a:pt x="326" y="187"/>
                      <a:pt x="326" y="187"/>
                    </a:cubicBezTo>
                    <a:cubicBezTo>
                      <a:pt x="326" y="185"/>
                      <a:pt x="322" y="184"/>
                      <a:pt x="322" y="183"/>
                    </a:cubicBezTo>
                    <a:cubicBezTo>
                      <a:pt x="322" y="181"/>
                      <a:pt x="317" y="179"/>
                      <a:pt x="317" y="179"/>
                    </a:cubicBezTo>
                    <a:cubicBezTo>
                      <a:pt x="314" y="177"/>
                      <a:pt x="314" y="177"/>
                      <a:pt x="314" y="177"/>
                    </a:cubicBezTo>
                    <a:cubicBezTo>
                      <a:pt x="311" y="172"/>
                      <a:pt x="307" y="172"/>
                      <a:pt x="307" y="172"/>
                    </a:cubicBezTo>
                    <a:cubicBezTo>
                      <a:pt x="307" y="172"/>
                      <a:pt x="304" y="170"/>
                      <a:pt x="303" y="170"/>
                    </a:cubicBezTo>
                    <a:cubicBezTo>
                      <a:pt x="299" y="177"/>
                      <a:pt x="299" y="177"/>
                      <a:pt x="299" y="177"/>
                    </a:cubicBezTo>
                    <a:cubicBezTo>
                      <a:pt x="293" y="180"/>
                      <a:pt x="293" y="180"/>
                      <a:pt x="293" y="180"/>
                    </a:cubicBezTo>
                    <a:cubicBezTo>
                      <a:pt x="286" y="185"/>
                      <a:pt x="286" y="185"/>
                      <a:pt x="286" y="185"/>
                    </a:cubicBezTo>
                    <a:cubicBezTo>
                      <a:pt x="285" y="188"/>
                      <a:pt x="285" y="188"/>
                      <a:pt x="285" y="188"/>
                    </a:cubicBezTo>
                    <a:cubicBezTo>
                      <a:pt x="290" y="191"/>
                      <a:pt x="290" y="191"/>
                      <a:pt x="290" y="191"/>
                    </a:cubicBezTo>
                    <a:cubicBezTo>
                      <a:pt x="295" y="191"/>
                      <a:pt x="295" y="191"/>
                      <a:pt x="295" y="191"/>
                    </a:cubicBezTo>
                    <a:cubicBezTo>
                      <a:pt x="302" y="190"/>
                      <a:pt x="302" y="190"/>
                      <a:pt x="302" y="190"/>
                    </a:cubicBezTo>
                    <a:cubicBezTo>
                      <a:pt x="308" y="191"/>
                      <a:pt x="308" y="191"/>
                      <a:pt x="308" y="191"/>
                    </a:cubicBezTo>
                    <a:cubicBezTo>
                      <a:pt x="308" y="191"/>
                      <a:pt x="312" y="193"/>
                      <a:pt x="314" y="193"/>
                    </a:cubicBezTo>
                    <a:cubicBezTo>
                      <a:pt x="315" y="194"/>
                      <a:pt x="320" y="198"/>
                      <a:pt x="320" y="198"/>
                    </a:cubicBezTo>
                    <a:cubicBezTo>
                      <a:pt x="327" y="202"/>
                      <a:pt x="327" y="202"/>
                      <a:pt x="327" y="202"/>
                    </a:cubicBezTo>
                    <a:cubicBezTo>
                      <a:pt x="330" y="209"/>
                      <a:pt x="330" y="209"/>
                      <a:pt x="330" y="209"/>
                    </a:cubicBezTo>
                    <a:cubicBezTo>
                      <a:pt x="327" y="213"/>
                      <a:pt x="327" y="213"/>
                      <a:pt x="327" y="213"/>
                    </a:cubicBezTo>
                    <a:cubicBezTo>
                      <a:pt x="335" y="218"/>
                      <a:pt x="335" y="218"/>
                      <a:pt x="335" y="218"/>
                    </a:cubicBezTo>
                    <a:cubicBezTo>
                      <a:pt x="339" y="218"/>
                      <a:pt x="339" y="218"/>
                      <a:pt x="339" y="218"/>
                    </a:cubicBezTo>
                    <a:cubicBezTo>
                      <a:pt x="340" y="217"/>
                      <a:pt x="342" y="217"/>
                      <a:pt x="342" y="217"/>
                    </a:cubicBezTo>
                    <a:cubicBezTo>
                      <a:pt x="346" y="219"/>
                      <a:pt x="344" y="207"/>
                      <a:pt x="344" y="207"/>
                    </a:cubicBezTo>
                    <a:cubicBezTo>
                      <a:pt x="347" y="206"/>
                      <a:pt x="345" y="203"/>
                      <a:pt x="345" y="203"/>
                    </a:cubicBezTo>
                    <a:close/>
                    <a:moveTo>
                      <a:pt x="284" y="171"/>
                    </a:moveTo>
                    <a:cubicBezTo>
                      <a:pt x="281" y="168"/>
                      <a:pt x="285" y="166"/>
                      <a:pt x="284" y="165"/>
                    </a:cubicBezTo>
                    <a:cubicBezTo>
                      <a:pt x="286" y="166"/>
                      <a:pt x="288" y="164"/>
                      <a:pt x="289" y="164"/>
                    </a:cubicBezTo>
                    <a:cubicBezTo>
                      <a:pt x="288" y="163"/>
                      <a:pt x="292" y="161"/>
                      <a:pt x="292" y="161"/>
                    </a:cubicBezTo>
                    <a:cubicBezTo>
                      <a:pt x="292" y="160"/>
                      <a:pt x="294" y="159"/>
                      <a:pt x="295" y="159"/>
                    </a:cubicBezTo>
                    <a:cubicBezTo>
                      <a:pt x="293" y="147"/>
                      <a:pt x="296" y="146"/>
                      <a:pt x="296" y="146"/>
                    </a:cubicBezTo>
                    <a:cubicBezTo>
                      <a:pt x="299" y="145"/>
                      <a:pt x="299" y="145"/>
                      <a:pt x="299" y="145"/>
                    </a:cubicBezTo>
                    <a:cubicBezTo>
                      <a:pt x="301" y="141"/>
                      <a:pt x="301" y="141"/>
                      <a:pt x="301" y="141"/>
                    </a:cubicBezTo>
                    <a:cubicBezTo>
                      <a:pt x="304" y="141"/>
                      <a:pt x="306" y="139"/>
                      <a:pt x="306" y="139"/>
                    </a:cubicBezTo>
                    <a:cubicBezTo>
                      <a:pt x="311" y="140"/>
                      <a:pt x="309" y="136"/>
                      <a:pt x="309" y="136"/>
                    </a:cubicBezTo>
                    <a:cubicBezTo>
                      <a:pt x="309" y="136"/>
                      <a:pt x="312" y="134"/>
                      <a:pt x="311" y="134"/>
                    </a:cubicBezTo>
                    <a:cubicBezTo>
                      <a:pt x="315" y="136"/>
                      <a:pt x="317" y="133"/>
                      <a:pt x="317" y="133"/>
                    </a:cubicBezTo>
                    <a:cubicBezTo>
                      <a:pt x="318" y="133"/>
                      <a:pt x="316" y="125"/>
                      <a:pt x="316" y="125"/>
                    </a:cubicBezTo>
                    <a:cubicBezTo>
                      <a:pt x="315" y="121"/>
                      <a:pt x="312" y="122"/>
                      <a:pt x="311" y="122"/>
                    </a:cubicBezTo>
                    <a:cubicBezTo>
                      <a:pt x="310" y="122"/>
                      <a:pt x="307" y="125"/>
                      <a:pt x="307" y="125"/>
                    </a:cubicBezTo>
                    <a:cubicBezTo>
                      <a:pt x="301" y="129"/>
                      <a:pt x="297" y="125"/>
                      <a:pt x="297" y="125"/>
                    </a:cubicBezTo>
                    <a:cubicBezTo>
                      <a:pt x="298" y="120"/>
                      <a:pt x="296" y="116"/>
                      <a:pt x="296" y="116"/>
                    </a:cubicBezTo>
                    <a:cubicBezTo>
                      <a:pt x="295" y="114"/>
                      <a:pt x="287" y="115"/>
                      <a:pt x="288" y="115"/>
                    </a:cubicBezTo>
                    <a:cubicBezTo>
                      <a:pt x="285" y="111"/>
                      <a:pt x="277" y="113"/>
                      <a:pt x="278" y="113"/>
                    </a:cubicBezTo>
                    <a:cubicBezTo>
                      <a:pt x="278" y="110"/>
                      <a:pt x="276" y="110"/>
                      <a:pt x="276" y="110"/>
                    </a:cubicBezTo>
                    <a:cubicBezTo>
                      <a:pt x="273" y="108"/>
                      <a:pt x="273" y="108"/>
                      <a:pt x="273" y="108"/>
                    </a:cubicBezTo>
                    <a:cubicBezTo>
                      <a:pt x="270" y="110"/>
                      <a:pt x="270" y="106"/>
                      <a:pt x="270" y="106"/>
                    </a:cubicBezTo>
                    <a:cubicBezTo>
                      <a:pt x="270" y="103"/>
                      <a:pt x="268" y="101"/>
                      <a:pt x="268" y="101"/>
                    </a:cubicBezTo>
                    <a:cubicBezTo>
                      <a:pt x="268" y="99"/>
                      <a:pt x="266" y="97"/>
                      <a:pt x="266" y="97"/>
                    </a:cubicBezTo>
                    <a:cubicBezTo>
                      <a:pt x="265" y="95"/>
                      <a:pt x="261" y="91"/>
                      <a:pt x="261" y="91"/>
                    </a:cubicBezTo>
                    <a:cubicBezTo>
                      <a:pt x="261" y="88"/>
                      <a:pt x="260" y="87"/>
                      <a:pt x="260" y="87"/>
                    </a:cubicBezTo>
                    <a:cubicBezTo>
                      <a:pt x="257" y="83"/>
                      <a:pt x="261" y="80"/>
                      <a:pt x="261" y="80"/>
                    </a:cubicBezTo>
                    <a:cubicBezTo>
                      <a:pt x="260" y="78"/>
                      <a:pt x="260" y="78"/>
                      <a:pt x="260" y="78"/>
                    </a:cubicBezTo>
                    <a:cubicBezTo>
                      <a:pt x="259" y="78"/>
                      <a:pt x="256" y="68"/>
                      <a:pt x="255" y="68"/>
                    </a:cubicBezTo>
                    <a:cubicBezTo>
                      <a:pt x="252" y="67"/>
                      <a:pt x="255" y="66"/>
                      <a:pt x="255" y="66"/>
                    </a:cubicBezTo>
                    <a:cubicBezTo>
                      <a:pt x="256" y="64"/>
                      <a:pt x="253" y="56"/>
                      <a:pt x="253" y="56"/>
                    </a:cubicBezTo>
                    <a:cubicBezTo>
                      <a:pt x="247" y="56"/>
                      <a:pt x="250" y="54"/>
                      <a:pt x="250" y="54"/>
                    </a:cubicBezTo>
                    <a:cubicBezTo>
                      <a:pt x="250" y="52"/>
                      <a:pt x="250" y="52"/>
                      <a:pt x="250" y="52"/>
                    </a:cubicBezTo>
                    <a:cubicBezTo>
                      <a:pt x="250" y="49"/>
                      <a:pt x="248" y="42"/>
                      <a:pt x="248" y="42"/>
                    </a:cubicBezTo>
                    <a:cubicBezTo>
                      <a:pt x="245" y="42"/>
                      <a:pt x="248" y="41"/>
                      <a:pt x="248" y="41"/>
                    </a:cubicBezTo>
                    <a:cubicBezTo>
                      <a:pt x="251" y="38"/>
                      <a:pt x="247" y="37"/>
                      <a:pt x="247" y="37"/>
                    </a:cubicBezTo>
                    <a:cubicBezTo>
                      <a:pt x="246" y="34"/>
                      <a:pt x="246" y="34"/>
                      <a:pt x="246" y="34"/>
                    </a:cubicBezTo>
                    <a:cubicBezTo>
                      <a:pt x="242" y="27"/>
                      <a:pt x="242" y="27"/>
                      <a:pt x="242" y="27"/>
                    </a:cubicBezTo>
                    <a:cubicBezTo>
                      <a:pt x="238" y="29"/>
                      <a:pt x="240" y="18"/>
                      <a:pt x="240" y="17"/>
                    </a:cubicBezTo>
                    <a:cubicBezTo>
                      <a:pt x="245" y="14"/>
                      <a:pt x="238" y="12"/>
                      <a:pt x="238" y="12"/>
                    </a:cubicBezTo>
                    <a:cubicBezTo>
                      <a:pt x="238" y="12"/>
                      <a:pt x="236" y="10"/>
                      <a:pt x="235" y="10"/>
                    </a:cubicBezTo>
                    <a:cubicBezTo>
                      <a:pt x="231" y="6"/>
                      <a:pt x="231" y="6"/>
                      <a:pt x="231" y="6"/>
                    </a:cubicBezTo>
                    <a:cubicBezTo>
                      <a:pt x="230" y="6"/>
                      <a:pt x="226" y="8"/>
                      <a:pt x="226" y="8"/>
                    </a:cubicBezTo>
                    <a:cubicBezTo>
                      <a:pt x="222" y="5"/>
                      <a:pt x="222" y="5"/>
                      <a:pt x="222" y="5"/>
                    </a:cubicBezTo>
                    <a:cubicBezTo>
                      <a:pt x="218" y="1"/>
                      <a:pt x="216" y="4"/>
                      <a:pt x="215" y="4"/>
                    </a:cubicBezTo>
                    <a:cubicBezTo>
                      <a:pt x="214" y="5"/>
                      <a:pt x="213" y="8"/>
                      <a:pt x="213" y="8"/>
                    </a:cubicBezTo>
                    <a:cubicBezTo>
                      <a:pt x="214" y="14"/>
                      <a:pt x="207" y="12"/>
                      <a:pt x="207" y="13"/>
                    </a:cubicBezTo>
                    <a:cubicBezTo>
                      <a:pt x="201" y="12"/>
                      <a:pt x="203" y="23"/>
                      <a:pt x="203" y="23"/>
                    </a:cubicBezTo>
                    <a:cubicBezTo>
                      <a:pt x="204" y="26"/>
                      <a:pt x="198" y="28"/>
                      <a:pt x="198" y="28"/>
                    </a:cubicBezTo>
                    <a:cubicBezTo>
                      <a:pt x="196" y="28"/>
                      <a:pt x="193" y="36"/>
                      <a:pt x="193" y="35"/>
                    </a:cubicBezTo>
                    <a:cubicBezTo>
                      <a:pt x="195" y="44"/>
                      <a:pt x="189" y="46"/>
                      <a:pt x="189" y="46"/>
                    </a:cubicBezTo>
                    <a:cubicBezTo>
                      <a:pt x="186" y="46"/>
                      <a:pt x="184" y="49"/>
                      <a:pt x="184" y="49"/>
                    </a:cubicBezTo>
                    <a:cubicBezTo>
                      <a:pt x="180" y="52"/>
                      <a:pt x="177" y="49"/>
                      <a:pt x="177" y="49"/>
                    </a:cubicBezTo>
                    <a:cubicBezTo>
                      <a:pt x="176" y="47"/>
                      <a:pt x="170" y="44"/>
                      <a:pt x="170" y="44"/>
                    </a:cubicBezTo>
                    <a:cubicBezTo>
                      <a:pt x="169" y="44"/>
                      <a:pt x="169" y="39"/>
                      <a:pt x="169" y="39"/>
                    </a:cubicBezTo>
                    <a:cubicBezTo>
                      <a:pt x="167" y="35"/>
                      <a:pt x="171" y="37"/>
                      <a:pt x="171" y="37"/>
                    </a:cubicBezTo>
                    <a:cubicBezTo>
                      <a:pt x="172" y="37"/>
                      <a:pt x="177" y="34"/>
                      <a:pt x="178" y="34"/>
                    </a:cubicBezTo>
                    <a:cubicBezTo>
                      <a:pt x="180" y="33"/>
                      <a:pt x="179" y="29"/>
                      <a:pt x="179" y="29"/>
                    </a:cubicBezTo>
                    <a:cubicBezTo>
                      <a:pt x="178" y="26"/>
                      <a:pt x="173" y="28"/>
                      <a:pt x="173" y="27"/>
                    </a:cubicBezTo>
                    <a:cubicBezTo>
                      <a:pt x="172" y="29"/>
                      <a:pt x="164" y="29"/>
                      <a:pt x="164" y="29"/>
                    </a:cubicBezTo>
                    <a:cubicBezTo>
                      <a:pt x="155" y="28"/>
                      <a:pt x="155" y="32"/>
                      <a:pt x="155" y="32"/>
                    </a:cubicBezTo>
                    <a:cubicBezTo>
                      <a:pt x="152" y="37"/>
                      <a:pt x="148" y="33"/>
                      <a:pt x="148" y="33"/>
                    </a:cubicBezTo>
                    <a:cubicBezTo>
                      <a:pt x="144" y="32"/>
                      <a:pt x="142" y="29"/>
                      <a:pt x="142" y="30"/>
                    </a:cubicBezTo>
                    <a:cubicBezTo>
                      <a:pt x="143" y="29"/>
                      <a:pt x="141" y="24"/>
                      <a:pt x="141" y="24"/>
                    </a:cubicBezTo>
                    <a:cubicBezTo>
                      <a:pt x="140" y="20"/>
                      <a:pt x="136" y="18"/>
                      <a:pt x="136" y="18"/>
                    </a:cubicBezTo>
                    <a:cubicBezTo>
                      <a:pt x="128" y="15"/>
                      <a:pt x="127" y="21"/>
                      <a:pt x="127" y="22"/>
                    </a:cubicBezTo>
                    <a:cubicBezTo>
                      <a:pt x="129" y="26"/>
                      <a:pt x="123" y="24"/>
                      <a:pt x="123" y="24"/>
                    </a:cubicBezTo>
                    <a:cubicBezTo>
                      <a:pt x="119" y="19"/>
                      <a:pt x="119" y="26"/>
                      <a:pt x="119" y="26"/>
                    </a:cubicBezTo>
                    <a:cubicBezTo>
                      <a:pt x="114" y="27"/>
                      <a:pt x="119" y="29"/>
                      <a:pt x="119" y="28"/>
                    </a:cubicBezTo>
                    <a:cubicBezTo>
                      <a:pt x="124" y="29"/>
                      <a:pt x="116" y="32"/>
                      <a:pt x="116" y="32"/>
                    </a:cubicBezTo>
                    <a:cubicBezTo>
                      <a:pt x="104" y="30"/>
                      <a:pt x="105" y="33"/>
                      <a:pt x="105" y="33"/>
                    </a:cubicBezTo>
                    <a:cubicBezTo>
                      <a:pt x="101" y="37"/>
                      <a:pt x="97" y="33"/>
                      <a:pt x="97" y="33"/>
                    </a:cubicBezTo>
                    <a:cubicBezTo>
                      <a:pt x="99" y="12"/>
                      <a:pt x="95" y="16"/>
                      <a:pt x="95" y="16"/>
                    </a:cubicBezTo>
                    <a:cubicBezTo>
                      <a:pt x="95" y="15"/>
                      <a:pt x="92" y="14"/>
                      <a:pt x="92" y="14"/>
                    </a:cubicBezTo>
                    <a:cubicBezTo>
                      <a:pt x="92" y="9"/>
                      <a:pt x="89" y="7"/>
                      <a:pt x="89" y="7"/>
                    </a:cubicBezTo>
                    <a:cubicBezTo>
                      <a:pt x="88" y="0"/>
                      <a:pt x="84" y="7"/>
                      <a:pt x="84" y="7"/>
                    </a:cubicBezTo>
                    <a:cubicBezTo>
                      <a:pt x="83" y="9"/>
                      <a:pt x="75" y="8"/>
                      <a:pt x="76" y="8"/>
                    </a:cubicBezTo>
                    <a:cubicBezTo>
                      <a:pt x="73" y="4"/>
                      <a:pt x="65" y="7"/>
                      <a:pt x="65" y="6"/>
                    </a:cubicBezTo>
                    <a:cubicBezTo>
                      <a:pt x="63" y="6"/>
                      <a:pt x="64" y="16"/>
                      <a:pt x="64" y="16"/>
                    </a:cubicBezTo>
                    <a:cubicBezTo>
                      <a:pt x="66" y="16"/>
                      <a:pt x="67" y="21"/>
                      <a:pt x="66" y="21"/>
                    </a:cubicBezTo>
                    <a:cubicBezTo>
                      <a:pt x="70" y="22"/>
                      <a:pt x="66" y="25"/>
                      <a:pt x="66" y="25"/>
                    </a:cubicBezTo>
                    <a:cubicBezTo>
                      <a:pt x="65" y="25"/>
                      <a:pt x="64" y="29"/>
                      <a:pt x="64" y="29"/>
                    </a:cubicBezTo>
                    <a:cubicBezTo>
                      <a:pt x="61" y="31"/>
                      <a:pt x="61" y="32"/>
                      <a:pt x="61" y="32"/>
                    </a:cubicBezTo>
                    <a:cubicBezTo>
                      <a:pt x="56" y="32"/>
                      <a:pt x="57" y="34"/>
                      <a:pt x="57" y="34"/>
                    </a:cubicBezTo>
                    <a:cubicBezTo>
                      <a:pt x="56" y="37"/>
                      <a:pt x="51" y="34"/>
                      <a:pt x="51" y="34"/>
                    </a:cubicBezTo>
                    <a:cubicBezTo>
                      <a:pt x="43" y="35"/>
                      <a:pt x="45" y="33"/>
                      <a:pt x="45" y="33"/>
                    </a:cubicBezTo>
                    <a:cubicBezTo>
                      <a:pt x="45" y="29"/>
                      <a:pt x="40" y="30"/>
                      <a:pt x="41" y="29"/>
                    </a:cubicBezTo>
                    <a:cubicBezTo>
                      <a:pt x="37" y="30"/>
                      <a:pt x="31" y="33"/>
                      <a:pt x="31" y="32"/>
                    </a:cubicBezTo>
                    <a:cubicBezTo>
                      <a:pt x="22" y="32"/>
                      <a:pt x="22" y="34"/>
                      <a:pt x="21" y="34"/>
                    </a:cubicBezTo>
                    <a:cubicBezTo>
                      <a:pt x="17" y="35"/>
                      <a:pt x="11" y="37"/>
                      <a:pt x="11" y="37"/>
                    </a:cubicBezTo>
                    <a:cubicBezTo>
                      <a:pt x="8" y="36"/>
                      <a:pt x="5" y="37"/>
                      <a:pt x="4" y="37"/>
                    </a:cubicBezTo>
                    <a:cubicBezTo>
                      <a:pt x="4" y="39"/>
                      <a:pt x="4" y="39"/>
                      <a:pt x="4" y="39"/>
                    </a:cubicBezTo>
                    <a:cubicBezTo>
                      <a:pt x="4" y="39"/>
                      <a:pt x="9" y="45"/>
                      <a:pt x="9" y="50"/>
                    </a:cubicBezTo>
                    <a:cubicBezTo>
                      <a:pt x="9" y="51"/>
                      <a:pt x="13" y="57"/>
                      <a:pt x="14" y="64"/>
                    </a:cubicBezTo>
                    <a:cubicBezTo>
                      <a:pt x="14" y="64"/>
                      <a:pt x="17" y="64"/>
                      <a:pt x="19" y="72"/>
                    </a:cubicBezTo>
                    <a:cubicBezTo>
                      <a:pt x="19" y="72"/>
                      <a:pt x="23" y="72"/>
                      <a:pt x="23" y="78"/>
                    </a:cubicBezTo>
                    <a:cubicBezTo>
                      <a:pt x="23" y="77"/>
                      <a:pt x="29" y="80"/>
                      <a:pt x="27" y="86"/>
                    </a:cubicBezTo>
                    <a:cubicBezTo>
                      <a:pt x="27" y="85"/>
                      <a:pt x="20" y="92"/>
                      <a:pt x="23" y="96"/>
                    </a:cubicBezTo>
                    <a:cubicBezTo>
                      <a:pt x="23" y="96"/>
                      <a:pt x="30" y="102"/>
                      <a:pt x="27" y="106"/>
                    </a:cubicBezTo>
                    <a:cubicBezTo>
                      <a:pt x="27" y="106"/>
                      <a:pt x="34" y="108"/>
                      <a:pt x="29" y="114"/>
                    </a:cubicBezTo>
                    <a:cubicBezTo>
                      <a:pt x="28" y="114"/>
                      <a:pt x="23" y="118"/>
                      <a:pt x="23" y="118"/>
                    </a:cubicBezTo>
                    <a:cubicBezTo>
                      <a:pt x="23" y="118"/>
                      <a:pt x="20" y="122"/>
                      <a:pt x="19" y="123"/>
                    </a:cubicBezTo>
                    <a:cubicBezTo>
                      <a:pt x="19" y="123"/>
                      <a:pt x="20" y="133"/>
                      <a:pt x="23" y="133"/>
                    </a:cubicBezTo>
                    <a:cubicBezTo>
                      <a:pt x="23" y="133"/>
                      <a:pt x="23" y="141"/>
                      <a:pt x="24" y="141"/>
                    </a:cubicBezTo>
                    <a:cubicBezTo>
                      <a:pt x="24" y="141"/>
                      <a:pt x="27" y="145"/>
                      <a:pt x="24" y="148"/>
                    </a:cubicBezTo>
                    <a:cubicBezTo>
                      <a:pt x="23" y="148"/>
                      <a:pt x="23" y="156"/>
                      <a:pt x="22" y="161"/>
                    </a:cubicBezTo>
                    <a:cubicBezTo>
                      <a:pt x="21" y="162"/>
                      <a:pt x="17" y="167"/>
                      <a:pt x="18" y="167"/>
                    </a:cubicBezTo>
                    <a:cubicBezTo>
                      <a:pt x="18" y="167"/>
                      <a:pt x="11" y="172"/>
                      <a:pt x="18" y="177"/>
                    </a:cubicBezTo>
                    <a:cubicBezTo>
                      <a:pt x="18" y="177"/>
                      <a:pt x="23" y="179"/>
                      <a:pt x="23" y="183"/>
                    </a:cubicBezTo>
                    <a:cubicBezTo>
                      <a:pt x="24" y="183"/>
                      <a:pt x="28" y="183"/>
                      <a:pt x="28" y="190"/>
                    </a:cubicBezTo>
                    <a:cubicBezTo>
                      <a:pt x="28" y="190"/>
                      <a:pt x="33" y="197"/>
                      <a:pt x="33" y="201"/>
                    </a:cubicBezTo>
                    <a:cubicBezTo>
                      <a:pt x="33" y="201"/>
                      <a:pt x="23" y="203"/>
                      <a:pt x="33" y="205"/>
                    </a:cubicBezTo>
                    <a:cubicBezTo>
                      <a:pt x="33" y="206"/>
                      <a:pt x="31" y="210"/>
                      <a:pt x="39" y="206"/>
                    </a:cubicBezTo>
                    <a:cubicBezTo>
                      <a:pt x="39" y="206"/>
                      <a:pt x="48" y="203"/>
                      <a:pt x="48" y="206"/>
                    </a:cubicBezTo>
                    <a:cubicBezTo>
                      <a:pt x="48" y="206"/>
                      <a:pt x="47" y="211"/>
                      <a:pt x="52" y="208"/>
                    </a:cubicBezTo>
                    <a:cubicBezTo>
                      <a:pt x="52" y="208"/>
                      <a:pt x="59" y="206"/>
                      <a:pt x="60" y="208"/>
                    </a:cubicBezTo>
                    <a:cubicBezTo>
                      <a:pt x="60" y="208"/>
                      <a:pt x="63" y="210"/>
                      <a:pt x="60" y="211"/>
                    </a:cubicBezTo>
                    <a:cubicBezTo>
                      <a:pt x="60" y="212"/>
                      <a:pt x="54" y="220"/>
                      <a:pt x="58" y="224"/>
                    </a:cubicBezTo>
                    <a:cubicBezTo>
                      <a:pt x="58" y="224"/>
                      <a:pt x="62" y="226"/>
                      <a:pt x="58" y="227"/>
                    </a:cubicBezTo>
                    <a:cubicBezTo>
                      <a:pt x="58" y="228"/>
                      <a:pt x="55" y="240"/>
                      <a:pt x="54" y="238"/>
                    </a:cubicBezTo>
                    <a:cubicBezTo>
                      <a:pt x="54" y="239"/>
                      <a:pt x="47" y="238"/>
                      <a:pt x="47" y="242"/>
                    </a:cubicBezTo>
                    <a:cubicBezTo>
                      <a:pt x="47" y="242"/>
                      <a:pt x="47" y="251"/>
                      <a:pt x="43" y="252"/>
                    </a:cubicBezTo>
                    <a:cubicBezTo>
                      <a:pt x="43" y="252"/>
                      <a:pt x="41" y="260"/>
                      <a:pt x="39" y="260"/>
                    </a:cubicBezTo>
                    <a:cubicBezTo>
                      <a:pt x="39" y="260"/>
                      <a:pt x="35" y="263"/>
                      <a:pt x="34" y="263"/>
                    </a:cubicBezTo>
                    <a:cubicBezTo>
                      <a:pt x="34" y="263"/>
                      <a:pt x="34" y="258"/>
                      <a:pt x="27" y="263"/>
                    </a:cubicBezTo>
                    <a:cubicBezTo>
                      <a:pt x="27" y="263"/>
                      <a:pt x="22" y="265"/>
                      <a:pt x="20" y="265"/>
                    </a:cubicBezTo>
                    <a:cubicBezTo>
                      <a:pt x="20" y="266"/>
                      <a:pt x="18" y="267"/>
                      <a:pt x="16" y="268"/>
                    </a:cubicBezTo>
                    <a:cubicBezTo>
                      <a:pt x="16" y="268"/>
                      <a:pt x="13" y="275"/>
                      <a:pt x="15" y="275"/>
                    </a:cubicBezTo>
                    <a:cubicBezTo>
                      <a:pt x="15" y="275"/>
                      <a:pt x="19" y="279"/>
                      <a:pt x="19" y="279"/>
                    </a:cubicBezTo>
                    <a:cubicBezTo>
                      <a:pt x="19" y="278"/>
                      <a:pt x="23" y="283"/>
                      <a:pt x="19" y="286"/>
                    </a:cubicBezTo>
                    <a:cubicBezTo>
                      <a:pt x="19" y="286"/>
                      <a:pt x="17" y="291"/>
                      <a:pt x="15" y="291"/>
                    </a:cubicBezTo>
                    <a:cubicBezTo>
                      <a:pt x="15" y="291"/>
                      <a:pt x="14" y="295"/>
                      <a:pt x="11" y="296"/>
                    </a:cubicBezTo>
                    <a:cubicBezTo>
                      <a:pt x="11" y="296"/>
                      <a:pt x="0" y="302"/>
                      <a:pt x="8" y="302"/>
                    </a:cubicBezTo>
                    <a:cubicBezTo>
                      <a:pt x="8" y="302"/>
                      <a:pt x="8" y="305"/>
                      <a:pt x="11" y="309"/>
                    </a:cubicBezTo>
                    <a:cubicBezTo>
                      <a:pt x="12" y="310"/>
                      <a:pt x="14" y="316"/>
                      <a:pt x="12" y="316"/>
                    </a:cubicBezTo>
                    <a:cubicBezTo>
                      <a:pt x="12" y="316"/>
                      <a:pt x="10" y="317"/>
                      <a:pt x="12" y="318"/>
                    </a:cubicBezTo>
                    <a:cubicBezTo>
                      <a:pt x="12" y="317"/>
                      <a:pt x="13" y="328"/>
                      <a:pt x="15" y="328"/>
                    </a:cubicBezTo>
                    <a:cubicBezTo>
                      <a:pt x="15" y="328"/>
                      <a:pt x="17" y="334"/>
                      <a:pt x="19" y="335"/>
                    </a:cubicBezTo>
                    <a:cubicBezTo>
                      <a:pt x="19" y="335"/>
                      <a:pt x="27" y="340"/>
                      <a:pt x="28" y="340"/>
                    </a:cubicBezTo>
                    <a:cubicBezTo>
                      <a:pt x="28" y="340"/>
                      <a:pt x="38" y="344"/>
                      <a:pt x="38" y="344"/>
                    </a:cubicBezTo>
                    <a:cubicBezTo>
                      <a:pt x="38" y="344"/>
                      <a:pt x="45" y="351"/>
                      <a:pt x="46" y="351"/>
                    </a:cubicBezTo>
                    <a:cubicBezTo>
                      <a:pt x="50" y="355"/>
                      <a:pt x="50" y="355"/>
                      <a:pt x="50" y="355"/>
                    </a:cubicBezTo>
                    <a:cubicBezTo>
                      <a:pt x="50" y="356"/>
                      <a:pt x="57" y="369"/>
                      <a:pt x="56" y="369"/>
                    </a:cubicBezTo>
                    <a:cubicBezTo>
                      <a:pt x="55" y="369"/>
                      <a:pt x="53" y="374"/>
                      <a:pt x="61" y="372"/>
                    </a:cubicBezTo>
                    <a:cubicBezTo>
                      <a:pt x="61" y="372"/>
                      <a:pt x="66" y="374"/>
                      <a:pt x="66" y="379"/>
                    </a:cubicBezTo>
                    <a:cubicBezTo>
                      <a:pt x="66" y="379"/>
                      <a:pt x="70" y="382"/>
                      <a:pt x="72" y="379"/>
                    </a:cubicBezTo>
                    <a:cubicBezTo>
                      <a:pt x="73" y="379"/>
                      <a:pt x="77" y="376"/>
                      <a:pt x="81" y="376"/>
                    </a:cubicBezTo>
                    <a:cubicBezTo>
                      <a:pt x="81" y="376"/>
                      <a:pt x="88" y="371"/>
                      <a:pt x="90" y="371"/>
                    </a:cubicBezTo>
                    <a:cubicBezTo>
                      <a:pt x="91" y="371"/>
                      <a:pt x="96" y="367"/>
                      <a:pt x="100" y="371"/>
                    </a:cubicBezTo>
                    <a:cubicBezTo>
                      <a:pt x="100" y="371"/>
                      <a:pt x="103" y="374"/>
                      <a:pt x="104" y="372"/>
                    </a:cubicBezTo>
                    <a:cubicBezTo>
                      <a:pt x="104" y="372"/>
                      <a:pt x="105" y="373"/>
                      <a:pt x="106" y="373"/>
                    </a:cubicBezTo>
                    <a:cubicBezTo>
                      <a:pt x="106" y="371"/>
                      <a:pt x="107" y="370"/>
                      <a:pt x="109" y="369"/>
                    </a:cubicBezTo>
                    <a:cubicBezTo>
                      <a:pt x="109" y="369"/>
                      <a:pt x="104" y="363"/>
                      <a:pt x="111" y="363"/>
                    </a:cubicBezTo>
                    <a:cubicBezTo>
                      <a:pt x="111" y="363"/>
                      <a:pt x="114" y="354"/>
                      <a:pt x="109" y="351"/>
                    </a:cubicBezTo>
                    <a:cubicBezTo>
                      <a:pt x="109" y="351"/>
                      <a:pt x="108" y="345"/>
                      <a:pt x="104" y="343"/>
                    </a:cubicBezTo>
                    <a:cubicBezTo>
                      <a:pt x="104" y="344"/>
                      <a:pt x="99" y="333"/>
                      <a:pt x="106" y="329"/>
                    </a:cubicBezTo>
                    <a:cubicBezTo>
                      <a:pt x="106" y="329"/>
                      <a:pt x="109" y="325"/>
                      <a:pt x="111" y="325"/>
                    </a:cubicBezTo>
                    <a:cubicBezTo>
                      <a:pt x="111" y="325"/>
                      <a:pt x="108" y="319"/>
                      <a:pt x="111" y="319"/>
                    </a:cubicBezTo>
                    <a:cubicBezTo>
                      <a:pt x="111" y="319"/>
                      <a:pt x="113" y="313"/>
                      <a:pt x="115" y="312"/>
                    </a:cubicBezTo>
                    <a:cubicBezTo>
                      <a:pt x="115" y="312"/>
                      <a:pt x="119" y="309"/>
                      <a:pt x="116" y="305"/>
                    </a:cubicBezTo>
                    <a:cubicBezTo>
                      <a:pt x="116" y="305"/>
                      <a:pt x="115" y="291"/>
                      <a:pt x="119" y="292"/>
                    </a:cubicBezTo>
                    <a:cubicBezTo>
                      <a:pt x="119" y="291"/>
                      <a:pt x="124" y="291"/>
                      <a:pt x="123" y="288"/>
                    </a:cubicBezTo>
                    <a:cubicBezTo>
                      <a:pt x="123" y="289"/>
                      <a:pt x="127" y="282"/>
                      <a:pt x="130" y="283"/>
                    </a:cubicBezTo>
                    <a:cubicBezTo>
                      <a:pt x="129" y="283"/>
                      <a:pt x="137" y="282"/>
                      <a:pt x="138" y="285"/>
                    </a:cubicBezTo>
                    <a:cubicBezTo>
                      <a:pt x="138" y="285"/>
                      <a:pt x="133" y="291"/>
                      <a:pt x="138" y="293"/>
                    </a:cubicBezTo>
                    <a:cubicBezTo>
                      <a:pt x="138" y="293"/>
                      <a:pt x="140" y="287"/>
                      <a:pt x="142" y="286"/>
                    </a:cubicBezTo>
                    <a:cubicBezTo>
                      <a:pt x="142" y="287"/>
                      <a:pt x="143" y="281"/>
                      <a:pt x="145" y="281"/>
                    </a:cubicBezTo>
                    <a:cubicBezTo>
                      <a:pt x="146" y="281"/>
                      <a:pt x="148" y="279"/>
                      <a:pt x="150" y="274"/>
                    </a:cubicBezTo>
                    <a:cubicBezTo>
                      <a:pt x="150" y="274"/>
                      <a:pt x="154" y="269"/>
                      <a:pt x="155" y="269"/>
                    </a:cubicBezTo>
                    <a:cubicBezTo>
                      <a:pt x="155" y="269"/>
                      <a:pt x="158" y="264"/>
                      <a:pt x="161" y="264"/>
                    </a:cubicBezTo>
                    <a:cubicBezTo>
                      <a:pt x="161" y="264"/>
                      <a:pt x="163" y="262"/>
                      <a:pt x="165" y="262"/>
                    </a:cubicBezTo>
                    <a:cubicBezTo>
                      <a:pt x="165" y="262"/>
                      <a:pt x="166" y="258"/>
                      <a:pt x="163" y="258"/>
                    </a:cubicBezTo>
                    <a:cubicBezTo>
                      <a:pt x="163" y="258"/>
                      <a:pt x="163" y="253"/>
                      <a:pt x="161" y="253"/>
                    </a:cubicBezTo>
                    <a:cubicBezTo>
                      <a:pt x="161" y="253"/>
                      <a:pt x="157" y="246"/>
                      <a:pt x="161" y="246"/>
                    </a:cubicBezTo>
                    <a:cubicBezTo>
                      <a:pt x="161" y="246"/>
                      <a:pt x="162" y="243"/>
                      <a:pt x="166" y="244"/>
                    </a:cubicBezTo>
                    <a:cubicBezTo>
                      <a:pt x="166" y="244"/>
                      <a:pt x="167" y="240"/>
                      <a:pt x="172" y="240"/>
                    </a:cubicBezTo>
                    <a:cubicBezTo>
                      <a:pt x="171" y="240"/>
                      <a:pt x="177" y="232"/>
                      <a:pt x="183" y="240"/>
                    </a:cubicBezTo>
                    <a:cubicBezTo>
                      <a:pt x="184" y="240"/>
                      <a:pt x="189" y="241"/>
                      <a:pt x="192" y="240"/>
                    </a:cubicBezTo>
                    <a:cubicBezTo>
                      <a:pt x="192" y="240"/>
                      <a:pt x="198" y="238"/>
                      <a:pt x="200" y="238"/>
                    </a:cubicBezTo>
                    <a:cubicBezTo>
                      <a:pt x="200" y="238"/>
                      <a:pt x="200" y="236"/>
                      <a:pt x="200" y="236"/>
                    </a:cubicBezTo>
                    <a:cubicBezTo>
                      <a:pt x="199" y="236"/>
                      <a:pt x="197" y="233"/>
                      <a:pt x="197" y="233"/>
                    </a:cubicBezTo>
                    <a:cubicBezTo>
                      <a:pt x="192" y="232"/>
                      <a:pt x="196" y="229"/>
                      <a:pt x="196" y="229"/>
                    </a:cubicBezTo>
                    <a:cubicBezTo>
                      <a:pt x="199" y="227"/>
                      <a:pt x="199" y="227"/>
                      <a:pt x="199" y="227"/>
                    </a:cubicBezTo>
                    <a:cubicBezTo>
                      <a:pt x="199" y="221"/>
                      <a:pt x="201" y="225"/>
                      <a:pt x="201" y="225"/>
                    </a:cubicBezTo>
                    <a:cubicBezTo>
                      <a:pt x="202" y="224"/>
                      <a:pt x="207" y="225"/>
                      <a:pt x="208" y="225"/>
                    </a:cubicBezTo>
                    <a:cubicBezTo>
                      <a:pt x="209" y="228"/>
                      <a:pt x="209" y="225"/>
                      <a:pt x="209" y="225"/>
                    </a:cubicBezTo>
                    <a:cubicBezTo>
                      <a:pt x="209" y="224"/>
                      <a:pt x="211" y="223"/>
                      <a:pt x="211" y="223"/>
                    </a:cubicBezTo>
                    <a:cubicBezTo>
                      <a:pt x="211" y="223"/>
                      <a:pt x="218" y="218"/>
                      <a:pt x="218" y="218"/>
                    </a:cubicBezTo>
                    <a:cubicBezTo>
                      <a:pt x="222" y="216"/>
                      <a:pt x="226" y="219"/>
                      <a:pt x="226" y="219"/>
                    </a:cubicBezTo>
                    <a:cubicBezTo>
                      <a:pt x="228" y="222"/>
                      <a:pt x="237" y="218"/>
                      <a:pt x="237" y="217"/>
                    </a:cubicBezTo>
                    <a:cubicBezTo>
                      <a:pt x="240" y="217"/>
                      <a:pt x="242" y="217"/>
                      <a:pt x="243" y="217"/>
                    </a:cubicBezTo>
                    <a:cubicBezTo>
                      <a:pt x="242" y="215"/>
                      <a:pt x="242" y="215"/>
                      <a:pt x="242" y="215"/>
                    </a:cubicBezTo>
                    <a:cubicBezTo>
                      <a:pt x="240" y="212"/>
                      <a:pt x="240" y="212"/>
                      <a:pt x="240" y="212"/>
                    </a:cubicBezTo>
                    <a:cubicBezTo>
                      <a:pt x="240" y="208"/>
                      <a:pt x="240" y="208"/>
                      <a:pt x="240" y="208"/>
                    </a:cubicBezTo>
                    <a:cubicBezTo>
                      <a:pt x="241" y="206"/>
                      <a:pt x="241" y="206"/>
                      <a:pt x="241" y="206"/>
                    </a:cubicBezTo>
                    <a:cubicBezTo>
                      <a:pt x="245" y="208"/>
                      <a:pt x="245" y="208"/>
                      <a:pt x="245" y="208"/>
                    </a:cubicBezTo>
                    <a:cubicBezTo>
                      <a:pt x="249" y="212"/>
                      <a:pt x="249" y="212"/>
                      <a:pt x="249" y="212"/>
                    </a:cubicBezTo>
                    <a:cubicBezTo>
                      <a:pt x="254" y="210"/>
                      <a:pt x="254" y="210"/>
                      <a:pt x="254" y="210"/>
                    </a:cubicBezTo>
                    <a:cubicBezTo>
                      <a:pt x="256" y="206"/>
                      <a:pt x="256" y="206"/>
                      <a:pt x="256" y="206"/>
                    </a:cubicBezTo>
                    <a:cubicBezTo>
                      <a:pt x="256" y="206"/>
                      <a:pt x="258" y="203"/>
                      <a:pt x="256" y="202"/>
                    </a:cubicBezTo>
                    <a:cubicBezTo>
                      <a:pt x="254" y="200"/>
                      <a:pt x="253" y="196"/>
                      <a:pt x="253" y="196"/>
                    </a:cubicBezTo>
                    <a:cubicBezTo>
                      <a:pt x="253" y="189"/>
                      <a:pt x="253" y="189"/>
                      <a:pt x="253" y="189"/>
                    </a:cubicBezTo>
                    <a:cubicBezTo>
                      <a:pt x="253" y="189"/>
                      <a:pt x="251" y="184"/>
                      <a:pt x="249" y="183"/>
                    </a:cubicBezTo>
                    <a:cubicBezTo>
                      <a:pt x="247" y="182"/>
                      <a:pt x="242" y="180"/>
                      <a:pt x="242" y="180"/>
                    </a:cubicBezTo>
                    <a:cubicBezTo>
                      <a:pt x="240" y="177"/>
                      <a:pt x="240" y="177"/>
                      <a:pt x="240" y="177"/>
                    </a:cubicBezTo>
                    <a:cubicBezTo>
                      <a:pt x="237" y="174"/>
                      <a:pt x="237" y="174"/>
                      <a:pt x="237" y="174"/>
                    </a:cubicBezTo>
                    <a:cubicBezTo>
                      <a:pt x="239" y="172"/>
                      <a:pt x="239" y="172"/>
                      <a:pt x="239" y="172"/>
                    </a:cubicBezTo>
                    <a:cubicBezTo>
                      <a:pt x="245" y="172"/>
                      <a:pt x="245" y="172"/>
                      <a:pt x="245" y="172"/>
                    </a:cubicBezTo>
                    <a:cubicBezTo>
                      <a:pt x="247" y="173"/>
                      <a:pt x="247" y="173"/>
                      <a:pt x="247" y="173"/>
                    </a:cubicBezTo>
                    <a:cubicBezTo>
                      <a:pt x="252" y="178"/>
                      <a:pt x="252" y="178"/>
                      <a:pt x="252" y="178"/>
                    </a:cubicBezTo>
                    <a:cubicBezTo>
                      <a:pt x="255" y="181"/>
                      <a:pt x="255" y="181"/>
                      <a:pt x="255" y="181"/>
                    </a:cubicBezTo>
                    <a:cubicBezTo>
                      <a:pt x="259" y="183"/>
                      <a:pt x="259" y="183"/>
                      <a:pt x="259" y="183"/>
                    </a:cubicBezTo>
                    <a:cubicBezTo>
                      <a:pt x="262" y="186"/>
                      <a:pt x="262" y="186"/>
                      <a:pt x="262" y="186"/>
                    </a:cubicBezTo>
                    <a:cubicBezTo>
                      <a:pt x="267" y="187"/>
                      <a:pt x="267" y="187"/>
                      <a:pt x="267" y="187"/>
                    </a:cubicBezTo>
                    <a:cubicBezTo>
                      <a:pt x="271" y="185"/>
                      <a:pt x="271" y="185"/>
                      <a:pt x="271" y="185"/>
                    </a:cubicBezTo>
                    <a:cubicBezTo>
                      <a:pt x="274" y="181"/>
                      <a:pt x="274" y="181"/>
                      <a:pt x="274" y="181"/>
                    </a:cubicBezTo>
                    <a:cubicBezTo>
                      <a:pt x="279" y="176"/>
                      <a:pt x="279" y="176"/>
                      <a:pt x="279" y="176"/>
                    </a:cubicBezTo>
                    <a:cubicBezTo>
                      <a:pt x="281" y="173"/>
                      <a:pt x="281" y="173"/>
                      <a:pt x="281" y="173"/>
                    </a:cubicBezTo>
                    <a:cubicBezTo>
                      <a:pt x="285" y="171"/>
                      <a:pt x="285" y="171"/>
                      <a:pt x="285" y="171"/>
                    </a:cubicBezTo>
                    <a:cubicBezTo>
                      <a:pt x="285" y="171"/>
                      <a:pt x="284" y="171"/>
                      <a:pt x="284" y="17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93" name="Freeform 248">
                <a:extLst>
                  <a:ext uri="{FF2B5EF4-FFF2-40B4-BE49-F238E27FC236}">
                    <a16:creationId xmlns:a16="http://schemas.microsoft.com/office/drawing/2014/main" id="{FD61F091-26EC-0FA9-0C43-B79DC13327D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243810" y="1683432"/>
                <a:ext cx="1015202" cy="1282797"/>
              </a:xfrm>
              <a:custGeom>
                <a:avLst/>
                <a:gdLst>
                  <a:gd name="T0" fmla="*/ 307 w 320"/>
                  <a:gd name="T1" fmla="*/ 258 h 403"/>
                  <a:gd name="T2" fmla="*/ 289 w 320"/>
                  <a:gd name="T3" fmla="*/ 230 h 403"/>
                  <a:gd name="T4" fmla="*/ 282 w 320"/>
                  <a:gd name="T5" fmla="*/ 207 h 403"/>
                  <a:gd name="T6" fmla="*/ 280 w 320"/>
                  <a:gd name="T7" fmla="*/ 195 h 403"/>
                  <a:gd name="T8" fmla="*/ 272 w 320"/>
                  <a:gd name="T9" fmla="*/ 172 h 403"/>
                  <a:gd name="T10" fmla="*/ 264 w 320"/>
                  <a:gd name="T11" fmla="*/ 127 h 403"/>
                  <a:gd name="T12" fmla="*/ 249 w 320"/>
                  <a:gd name="T13" fmla="*/ 100 h 403"/>
                  <a:gd name="T14" fmla="*/ 215 w 320"/>
                  <a:gd name="T15" fmla="*/ 82 h 403"/>
                  <a:gd name="T16" fmla="*/ 214 w 320"/>
                  <a:gd name="T17" fmla="*/ 63 h 403"/>
                  <a:gd name="T18" fmla="*/ 232 w 320"/>
                  <a:gd name="T19" fmla="*/ 37 h 403"/>
                  <a:gd name="T20" fmla="*/ 182 w 320"/>
                  <a:gd name="T21" fmla="*/ 39 h 403"/>
                  <a:gd name="T22" fmla="*/ 159 w 320"/>
                  <a:gd name="T23" fmla="*/ 7 h 403"/>
                  <a:gd name="T24" fmla="*/ 136 w 320"/>
                  <a:gd name="T25" fmla="*/ 16 h 403"/>
                  <a:gd name="T26" fmla="*/ 132 w 320"/>
                  <a:gd name="T27" fmla="*/ 44 h 403"/>
                  <a:gd name="T28" fmla="*/ 128 w 320"/>
                  <a:gd name="T29" fmla="*/ 39 h 403"/>
                  <a:gd name="T30" fmla="*/ 123 w 320"/>
                  <a:gd name="T31" fmla="*/ 77 h 403"/>
                  <a:gd name="T32" fmla="*/ 109 w 320"/>
                  <a:gd name="T33" fmla="*/ 98 h 403"/>
                  <a:gd name="T34" fmla="*/ 95 w 320"/>
                  <a:gd name="T35" fmla="*/ 86 h 403"/>
                  <a:gd name="T36" fmla="*/ 107 w 320"/>
                  <a:gd name="T37" fmla="*/ 55 h 403"/>
                  <a:gd name="T38" fmla="*/ 73 w 320"/>
                  <a:gd name="T39" fmla="*/ 60 h 403"/>
                  <a:gd name="T40" fmla="*/ 68 w 320"/>
                  <a:gd name="T41" fmla="*/ 88 h 403"/>
                  <a:gd name="T42" fmla="*/ 35 w 320"/>
                  <a:gd name="T43" fmla="*/ 101 h 403"/>
                  <a:gd name="T44" fmla="*/ 19 w 320"/>
                  <a:gd name="T45" fmla="*/ 125 h 403"/>
                  <a:gd name="T46" fmla="*/ 12 w 320"/>
                  <a:gd name="T47" fmla="*/ 161 h 403"/>
                  <a:gd name="T48" fmla="*/ 15 w 320"/>
                  <a:gd name="T49" fmla="*/ 197 h 403"/>
                  <a:gd name="T50" fmla="*/ 23 w 320"/>
                  <a:gd name="T51" fmla="*/ 236 h 403"/>
                  <a:gd name="T52" fmla="*/ 34 w 320"/>
                  <a:gd name="T53" fmla="*/ 274 h 403"/>
                  <a:gd name="T54" fmla="*/ 36 w 320"/>
                  <a:gd name="T55" fmla="*/ 287 h 403"/>
                  <a:gd name="T56" fmla="*/ 19 w 320"/>
                  <a:gd name="T57" fmla="*/ 310 h 403"/>
                  <a:gd name="T58" fmla="*/ 30 w 320"/>
                  <a:gd name="T59" fmla="*/ 349 h 403"/>
                  <a:gd name="T60" fmla="*/ 77 w 320"/>
                  <a:gd name="T61" fmla="*/ 356 h 403"/>
                  <a:gd name="T62" fmla="*/ 124 w 320"/>
                  <a:gd name="T63" fmla="*/ 368 h 403"/>
                  <a:gd name="T64" fmla="*/ 148 w 320"/>
                  <a:gd name="T65" fmla="*/ 394 h 403"/>
                  <a:gd name="T66" fmla="*/ 167 w 320"/>
                  <a:gd name="T67" fmla="*/ 378 h 403"/>
                  <a:gd name="T68" fmla="*/ 177 w 320"/>
                  <a:gd name="T69" fmla="*/ 363 h 403"/>
                  <a:gd name="T70" fmla="*/ 163 w 320"/>
                  <a:gd name="T71" fmla="*/ 350 h 403"/>
                  <a:gd name="T72" fmla="*/ 153 w 320"/>
                  <a:gd name="T73" fmla="*/ 338 h 403"/>
                  <a:gd name="T74" fmla="*/ 139 w 320"/>
                  <a:gd name="T75" fmla="*/ 334 h 403"/>
                  <a:gd name="T76" fmla="*/ 127 w 320"/>
                  <a:gd name="T77" fmla="*/ 328 h 403"/>
                  <a:gd name="T78" fmla="*/ 117 w 320"/>
                  <a:gd name="T79" fmla="*/ 318 h 403"/>
                  <a:gd name="T80" fmla="*/ 107 w 320"/>
                  <a:gd name="T81" fmla="*/ 300 h 403"/>
                  <a:gd name="T82" fmla="*/ 101 w 320"/>
                  <a:gd name="T83" fmla="*/ 285 h 403"/>
                  <a:gd name="T84" fmla="*/ 92 w 320"/>
                  <a:gd name="T85" fmla="*/ 268 h 403"/>
                  <a:gd name="T86" fmla="*/ 91 w 320"/>
                  <a:gd name="T87" fmla="*/ 252 h 403"/>
                  <a:gd name="T88" fmla="*/ 98 w 320"/>
                  <a:gd name="T89" fmla="*/ 256 h 403"/>
                  <a:gd name="T90" fmla="*/ 107 w 320"/>
                  <a:gd name="T91" fmla="*/ 265 h 403"/>
                  <a:gd name="T92" fmla="*/ 110 w 320"/>
                  <a:gd name="T93" fmla="*/ 275 h 403"/>
                  <a:gd name="T94" fmla="*/ 114 w 320"/>
                  <a:gd name="T95" fmla="*/ 284 h 403"/>
                  <a:gd name="T96" fmla="*/ 119 w 320"/>
                  <a:gd name="T97" fmla="*/ 295 h 403"/>
                  <a:gd name="T98" fmla="*/ 125 w 320"/>
                  <a:gd name="T99" fmla="*/ 303 h 403"/>
                  <a:gd name="T100" fmla="*/ 133 w 320"/>
                  <a:gd name="T101" fmla="*/ 314 h 403"/>
                  <a:gd name="T102" fmla="*/ 144 w 320"/>
                  <a:gd name="T103" fmla="*/ 321 h 403"/>
                  <a:gd name="T104" fmla="*/ 158 w 320"/>
                  <a:gd name="T105" fmla="*/ 326 h 403"/>
                  <a:gd name="T106" fmla="*/ 174 w 320"/>
                  <a:gd name="T107" fmla="*/ 335 h 403"/>
                  <a:gd name="T108" fmla="*/ 186 w 320"/>
                  <a:gd name="T109" fmla="*/ 343 h 403"/>
                  <a:gd name="T110" fmla="*/ 199 w 320"/>
                  <a:gd name="T111" fmla="*/ 347 h 403"/>
                  <a:gd name="T112" fmla="*/ 208 w 320"/>
                  <a:gd name="T113" fmla="*/ 346 h 403"/>
                  <a:gd name="T114" fmla="*/ 220 w 320"/>
                  <a:gd name="T115" fmla="*/ 346 h 403"/>
                  <a:gd name="T116" fmla="*/ 234 w 320"/>
                  <a:gd name="T117" fmla="*/ 335 h 403"/>
                  <a:gd name="T118" fmla="*/ 261 w 320"/>
                  <a:gd name="T119" fmla="*/ 337 h 403"/>
                  <a:gd name="T120" fmla="*/ 300 w 320"/>
                  <a:gd name="T121" fmla="*/ 318 h 403"/>
                  <a:gd name="T122" fmla="*/ 315 w 320"/>
                  <a:gd name="T123" fmla="*/ 287 h 40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20"/>
                  <a:gd name="T187" fmla="*/ 0 h 403"/>
                  <a:gd name="T188" fmla="*/ 320 w 320"/>
                  <a:gd name="T189" fmla="*/ 403 h 403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20" h="403">
                    <a:moveTo>
                      <a:pt x="316" y="282"/>
                    </a:moveTo>
                    <a:cubicBezTo>
                      <a:pt x="316" y="282"/>
                      <a:pt x="311" y="276"/>
                      <a:pt x="312" y="276"/>
                    </a:cubicBezTo>
                    <a:cubicBezTo>
                      <a:pt x="312" y="276"/>
                      <a:pt x="318" y="272"/>
                      <a:pt x="314" y="270"/>
                    </a:cubicBezTo>
                    <a:cubicBezTo>
                      <a:pt x="313" y="270"/>
                      <a:pt x="308" y="271"/>
                      <a:pt x="311" y="267"/>
                    </a:cubicBezTo>
                    <a:cubicBezTo>
                      <a:pt x="312" y="267"/>
                      <a:pt x="315" y="264"/>
                      <a:pt x="311" y="263"/>
                    </a:cubicBezTo>
                    <a:cubicBezTo>
                      <a:pt x="311" y="263"/>
                      <a:pt x="312" y="260"/>
                      <a:pt x="307" y="260"/>
                    </a:cubicBezTo>
                    <a:cubicBezTo>
                      <a:pt x="308" y="260"/>
                      <a:pt x="305" y="261"/>
                      <a:pt x="307" y="258"/>
                    </a:cubicBezTo>
                    <a:cubicBezTo>
                      <a:pt x="307" y="258"/>
                      <a:pt x="304" y="256"/>
                      <a:pt x="303" y="256"/>
                    </a:cubicBezTo>
                    <a:cubicBezTo>
                      <a:pt x="303" y="256"/>
                      <a:pt x="303" y="250"/>
                      <a:pt x="302" y="250"/>
                    </a:cubicBezTo>
                    <a:cubicBezTo>
                      <a:pt x="302" y="250"/>
                      <a:pt x="301" y="244"/>
                      <a:pt x="300" y="244"/>
                    </a:cubicBezTo>
                    <a:cubicBezTo>
                      <a:pt x="299" y="244"/>
                      <a:pt x="296" y="245"/>
                      <a:pt x="296" y="240"/>
                    </a:cubicBezTo>
                    <a:cubicBezTo>
                      <a:pt x="296" y="240"/>
                      <a:pt x="297" y="232"/>
                      <a:pt x="294" y="232"/>
                    </a:cubicBezTo>
                    <a:cubicBezTo>
                      <a:pt x="292" y="232"/>
                      <a:pt x="292" y="232"/>
                      <a:pt x="292" y="232"/>
                    </a:cubicBezTo>
                    <a:cubicBezTo>
                      <a:pt x="292" y="232"/>
                      <a:pt x="291" y="229"/>
                      <a:pt x="289" y="230"/>
                    </a:cubicBezTo>
                    <a:cubicBezTo>
                      <a:pt x="289" y="230"/>
                      <a:pt x="288" y="226"/>
                      <a:pt x="288" y="227"/>
                    </a:cubicBezTo>
                    <a:cubicBezTo>
                      <a:pt x="288" y="227"/>
                      <a:pt x="286" y="225"/>
                      <a:pt x="284" y="225"/>
                    </a:cubicBezTo>
                    <a:cubicBezTo>
                      <a:pt x="284" y="225"/>
                      <a:pt x="277" y="226"/>
                      <a:pt x="278" y="219"/>
                    </a:cubicBezTo>
                    <a:cubicBezTo>
                      <a:pt x="278" y="219"/>
                      <a:pt x="280" y="217"/>
                      <a:pt x="281" y="217"/>
                    </a:cubicBezTo>
                    <a:cubicBezTo>
                      <a:pt x="281" y="217"/>
                      <a:pt x="282" y="215"/>
                      <a:pt x="283" y="214"/>
                    </a:cubicBezTo>
                    <a:cubicBezTo>
                      <a:pt x="283" y="215"/>
                      <a:pt x="282" y="209"/>
                      <a:pt x="281" y="209"/>
                    </a:cubicBezTo>
                    <a:cubicBezTo>
                      <a:pt x="282" y="209"/>
                      <a:pt x="278" y="208"/>
                      <a:pt x="282" y="207"/>
                    </a:cubicBezTo>
                    <a:cubicBezTo>
                      <a:pt x="282" y="207"/>
                      <a:pt x="284" y="203"/>
                      <a:pt x="281" y="202"/>
                    </a:cubicBezTo>
                    <a:cubicBezTo>
                      <a:pt x="281" y="199"/>
                      <a:pt x="281" y="199"/>
                      <a:pt x="281" y="199"/>
                    </a:cubicBezTo>
                    <a:cubicBezTo>
                      <a:pt x="281" y="199"/>
                      <a:pt x="284" y="198"/>
                      <a:pt x="286" y="199"/>
                    </a:cubicBezTo>
                    <a:cubicBezTo>
                      <a:pt x="287" y="199"/>
                      <a:pt x="287" y="201"/>
                      <a:pt x="287" y="201"/>
                    </a:cubicBezTo>
                    <a:cubicBezTo>
                      <a:pt x="287" y="201"/>
                      <a:pt x="300" y="200"/>
                      <a:pt x="286" y="197"/>
                    </a:cubicBezTo>
                    <a:cubicBezTo>
                      <a:pt x="287" y="198"/>
                      <a:pt x="284" y="196"/>
                      <a:pt x="285" y="195"/>
                    </a:cubicBezTo>
                    <a:cubicBezTo>
                      <a:pt x="280" y="195"/>
                      <a:pt x="280" y="195"/>
                      <a:pt x="280" y="195"/>
                    </a:cubicBezTo>
                    <a:cubicBezTo>
                      <a:pt x="280" y="195"/>
                      <a:pt x="277" y="195"/>
                      <a:pt x="279" y="192"/>
                    </a:cubicBezTo>
                    <a:cubicBezTo>
                      <a:pt x="279" y="192"/>
                      <a:pt x="278" y="189"/>
                      <a:pt x="281" y="189"/>
                    </a:cubicBezTo>
                    <a:cubicBezTo>
                      <a:pt x="281" y="189"/>
                      <a:pt x="281" y="186"/>
                      <a:pt x="277" y="186"/>
                    </a:cubicBezTo>
                    <a:cubicBezTo>
                      <a:pt x="277" y="186"/>
                      <a:pt x="275" y="184"/>
                      <a:pt x="276" y="184"/>
                    </a:cubicBezTo>
                    <a:cubicBezTo>
                      <a:pt x="276" y="184"/>
                      <a:pt x="278" y="176"/>
                      <a:pt x="273" y="176"/>
                    </a:cubicBezTo>
                    <a:cubicBezTo>
                      <a:pt x="273" y="176"/>
                      <a:pt x="271" y="176"/>
                      <a:pt x="271" y="174"/>
                    </a:cubicBezTo>
                    <a:cubicBezTo>
                      <a:pt x="271" y="175"/>
                      <a:pt x="272" y="172"/>
                      <a:pt x="272" y="172"/>
                    </a:cubicBezTo>
                    <a:cubicBezTo>
                      <a:pt x="272" y="172"/>
                      <a:pt x="269" y="172"/>
                      <a:pt x="269" y="168"/>
                    </a:cubicBezTo>
                    <a:cubicBezTo>
                      <a:pt x="269" y="168"/>
                      <a:pt x="268" y="162"/>
                      <a:pt x="271" y="163"/>
                    </a:cubicBezTo>
                    <a:cubicBezTo>
                      <a:pt x="271" y="162"/>
                      <a:pt x="271" y="160"/>
                      <a:pt x="277" y="161"/>
                    </a:cubicBezTo>
                    <a:cubicBezTo>
                      <a:pt x="277" y="161"/>
                      <a:pt x="277" y="156"/>
                      <a:pt x="273" y="157"/>
                    </a:cubicBezTo>
                    <a:cubicBezTo>
                      <a:pt x="273" y="157"/>
                      <a:pt x="271" y="142"/>
                      <a:pt x="276" y="142"/>
                    </a:cubicBezTo>
                    <a:cubicBezTo>
                      <a:pt x="276" y="142"/>
                      <a:pt x="278" y="127"/>
                      <a:pt x="272" y="129"/>
                    </a:cubicBezTo>
                    <a:cubicBezTo>
                      <a:pt x="272" y="129"/>
                      <a:pt x="267" y="124"/>
                      <a:pt x="264" y="127"/>
                    </a:cubicBezTo>
                    <a:cubicBezTo>
                      <a:pt x="264" y="127"/>
                      <a:pt x="260" y="125"/>
                      <a:pt x="261" y="124"/>
                    </a:cubicBezTo>
                    <a:cubicBezTo>
                      <a:pt x="261" y="124"/>
                      <a:pt x="247" y="126"/>
                      <a:pt x="247" y="123"/>
                    </a:cubicBezTo>
                    <a:cubicBezTo>
                      <a:pt x="247" y="123"/>
                      <a:pt x="248" y="113"/>
                      <a:pt x="244" y="115"/>
                    </a:cubicBezTo>
                    <a:cubicBezTo>
                      <a:pt x="244" y="115"/>
                      <a:pt x="241" y="112"/>
                      <a:pt x="242" y="110"/>
                    </a:cubicBezTo>
                    <a:cubicBezTo>
                      <a:pt x="242" y="110"/>
                      <a:pt x="234" y="107"/>
                      <a:pt x="242" y="106"/>
                    </a:cubicBezTo>
                    <a:cubicBezTo>
                      <a:pt x="242" y="106"/>
                      <a:pt x="248" y="107"/>
                      <a:pt x="247" y="103"/>
                    </a:cubicBezTo>
                    <a:cubicBezTo>
                      <a:pt x="247" y="103"/>
                      <a:pt x="257" y="102"/>
                      <a:pt x="249" y="100"/>
                    </a:cubicBezTo>
                    <a:cubicBezTo>
                      <a:pt x="249" y="100"/>
                      <a:pt x="247" y="100"/>
                      <a:pt x="247" y="93"/>
                    </a:cubicBezTo>
                    <a:cubicBezTo>
                      <a:pt x="247" y="94"/>
                      <a:pt x="239" y="92"/>
                      <a:pt x="238" y="94"/>
                    </a:cubicBezTo>
                    <a:cubicBezTo>
                      <a:pt x="238" y="94"/>
                      <a:pt x="230" y="97"/>
                      <a:pt x="231" y="96"/>
                    </a:cubicBezTo>
                    <a:cubicBezTo>
                      <a:pt x="231" y="95"/>
                      <a:pt x="234" y="92"/>
                      <a:pt x="232" y="91"/>
                    </a:cubicBezTo>
                    <a:cubicBezTo>
                      <a:pt x="232" y="91"/>
                      <a:pt x="233" y="84"/>
                      <a:pt x="230" y="87"/>
                    </a:cubicBezTo>
                    <a:cubicBezTo>
                      <a:pt x="230" y="87"/>
                      <a:pt x="227" y="82"/>
                      <a:pt x="224" y="84"/>
                    </a:cubicBezTo>
                    <a:cubicBezTo>
                      <a:pt x="224" y="84"/>
                      <a:pt x="219" y="81"/>
                      <a:pt x="215" y="82"/>
                    </a:cubicBezTo>
                    <a:cubicBezTo>
                      <a:pt x="215" y="82"/>
                      <a:pt x="211" y="77"/>
                      <a:pt x="207" y="80"/>
                    </a:cubicBezTo>
                    <a:cubicBezTo>
                      <a:pt x="206" y="80"/>
                      <a:pt x="201" y="78"/>
                      <a:pt x="203" y="72"/>
                    </a:cubicBezTo>
                    <a:cubicBezTo>
                      <a:pt x="203" y="72"/>
                      <a:pt x="200" y="73"/>
                      <a:pt x="198" y="68"/>
                    </a:cubicBezTo>
                    <a:cubicBezTo>
                      <a:pt x="198" y="68"/>
                      <a:pt x="194" y="63"/>
                      <a:pt x="200" y="63"/>
                    </a:cubicBezTo>
                    <a:cubicBezTo>
                      <a:pt x="200" y="63"/>
                      <a:pt x="201" y="60"/>
                      <a:pt x="207" y="61"/>
                    </a:cubicBezTo>
                    <a:cubicBezTo>
                      <a:pt x="210" y="61"/>
                      <a:pt x="210" y="61"/>
                      <a:pt x="210" y="61"/>
                    </a:cubicBezTo>
                    <a:cubicBezTo>
                      <a:pt x="210" y="61"/>
                      <a:pt x="210" y="63"/>
                      <a:pt x="214" y="63"/>
                    </a:cubicBezTo>
                    <a:cubicBezTo>
                      <a:pt x="214" y="64"/>
                      <a:pt x="216" y="65"/>
                      <a:pt x="219" y="65"/>
                    </a:cubicBezTo>
                    <a:cubicBezTo>
                      <a:pt x="219" y="65"/>
                      <a:pt x="220" y="73"/>
                      <a:pt x="229" y="73"/>
                    </a:cubicBezTo>
                    <a:cubicBezTo>
                      <a:pt x="229" y="73"/>
                      <a:pt x="233" y="67"/>
                      <a:pt x="232" y="62"/>
                    </a:cubicBezTo>
                    <a:cubicBezTo>
                      <a:pt x="232" y="62"/>
                      <a:pt x="237" y="58"/>
                      <a:pt x="236" y="53"/>
                    </a:cubicBezTo>
                    <a:cubicBezTo>
                      <a:pt x="236" y="53"/>
                      <a:pt x="243" y="50"/>
                      <a:pt x="241" y="48"/>
                    </a:cubicBezTo>
                    <a:cubicBezTo>
                      <a:pt x="241" y="48"/>
                      <a:pt x="245" y="36"/>
                      <a:pt x="239" y="39"/>
                    </a:cubicBezTo>
                    <a:cubicBezTo>
                      <a:pt x="239" y="39"/>
                      <a:pt x="238" y="34"/>
                      <a:pt x="232" y="37"/>
                    </a:cubicBezTo>
                    <a:cubicBezTo>
                      <a:pt x="232" y="37"/>
                      <a:pt x="235" y="21"/>
                      <a:pt x="229" y="25"/>
                    </a:cubicBezTo>
                    <a:cubicBezTo>
                      <a:pt x="229" y="26"/>
                      <a:pt x="219" y="22"/>
                      <a:pt x="221" y="29"/>
                    </a:cubicBezTo>
                    <a:cubicBezTo>
                      <a:pt x="221" y="29"/>
                      <a:pt x="220" y="33"/>
                      <a:pt x="217" y="34"/>
                    </a:cubicBezTo>
                    <a:cubicBezTo>
                      <a:pt x="217" y="35"/>
                      <a:pt x="216" y="36"/>
                      <a:pt x="212" y="36"/>
                    </a:cubicBezTo>
                    <a:cubicBezTo>
                      <a:pt x="212" y="37"/>
                      <a:pt x="206" y="39"/>
                      <a:pt x="204" y="41"/>
                    </a:cubicBezTo>
                    <a:cubicBezTo>
                      <a:pt x="204" y="42"/>
                      <a:pt x="200" y="45"/>
                      <a:pt x="197" y="42"/>
                    </a:cubicBezTo>
                    <a:cubicBezTo>
                      <a:pt x="197" y="42"/>
                      <a:pt x="182" y="42"/>
                      <a:pt x="182" y="39"/>
                    </a:cubicBezTo>
                    <a:cubicBezTo>
                      <a:pt x="182" y="39"/>
                      <a:pt x="177" y="35"/>
                      <a:pt x="174" y="36"/>
                    </a:cubicBezTo>
                    <a:cubicBezTo>
                      <a:pt x="174" y="37"/>
                      <a:pt x="170" y="37"/>
                      <a:pt x="169" y="28"/>
                    </a:cubicBezTo>
                    <a:cubicBezTo>
                      <a:pt x="169" y="28"/>
                      <a:pt x="166" y="26"/>
                      <a:pt x="165" y="22"/>
                    </a:cubicBezTo>
                    <a:cubicBezTo>
                      <a:pt x="165" y="23"/>
                      <a:pt x="165" y="19"/>
                      <a:pt x="165" y="19"/>
                    </a:cubicBezTo>
                    <a:cubicBezTo>
                      <a:pt x="165" y="19"/>
                      <a:pt x="157" y="13"/>
                      <a:pt x="165" y="12"/>
                    </a:cubicBezTo>
                    <a:cubicBezTo>
                      <a:pt x="165" y="12"/>
                      <a:pt x="163" y="11"/>
                      <a:pt x="163" y="9"/>
                    </a:cubicBezTo>
                    <a:cubicBezTo>
                      <a:pt x="162" y="8"/>
                      <a:pt x="159" y="8"/>
                      <a:pt x="159" y="7"/>
                    </a:cubicBezTo>
                    <a:cubicBezTo>
                      <a:pt x="159" y="7"/>
                      <a:pt x="158" y="6"/>
                      <a:pt x="157" y="5"/>
                    </a:cubicBezTo>
                    <a:cubicBezTo>
                      <a:pt x="156" y="6"/>
                      <a:pt x="154" y="6"/>
                      <a:pt x="154" y="6"/>
                    </a:cubicBezTo>
                    <a:cubicBezTo>
                      <a:pt x="154" y="6"/>
                      <a:pt x="153" y="5"/>
                      <a:pt x="153" y="4"/>
                    </a:cubicBezTo>
                    <a:cubicBezTo>
                      <a:pt x="150" y="0"/>
                      <a:pt x="142" y="4"/>
                      <a:pt x="142" y="4"/>
                    </a:cubicBezTo>
                    <a:cubicBezTo>
                      <a:pt x="138" y="4"/>
                      <a:pt x="142" y="12"/>
                      <a:pt x="142" y="12"/>
                    </a:cubicBezTo>
                    <a:cubicBezTo>
                      <a:pt x="145" y="13"/>
                      <a:pt x="141" y="16"/>
                      <a:pt x="141" y="16"/>
                    </a:cubicBezTo>
                    <a:cubicBezTo>
                      <a:pt x="141" y="20"/>
                      <a:pt x="137" y="16"/>
                      <a:pt x="136" y="16"/>
                    </a:cubicBezTo>
                    <a:cubicBezTo>
                      <a:pt x="133" y="16"/>
                      <a:pt x="131" y="16"/>
                      <a:pt x="131" y="17"/>
                    </a:cubicBezTo>
                    <a:cubicBezTo>
                      <a:pt x="131" y="18"/>
                      <a:pt x="131" y="19"/>
                      <a:pt x="131" y="22"/>
                    </a:cubicBezTo>
                    <a:cubicBezTo>
                      <a:pt x="130" y="23"/>
                      <a:pt x="135" y="27"/>
                      <a:pt x="135" y="27"/>
                    </a:cubicBezTo>
                    <a:cubicBezTo>
                      <a:pt x="139" y="31"/>
                      <a:pt x="139" y="31"/>
                      <a:pt x="139" y="31"/>
                    </a:cubicBezTo>
                    <a:cubicBezTo>
                      <a:pt x="139" y="31"/>
                      <a:pt x="144" y="35"/>
                      <a:pt x="142" y="39"/>
                    </a:cubicBezTo>
                    <a:cubicBezTo>
                      <a:pt x="142" y="40"/>
                      <a:pt x="139" y="42"/>
                      <a:pt x="139" y="44"/>
                    </a:cubicBezTo>
                    <a:cubicBezTo>
                      <a:pt x="138" y="44"/>
                      <a:pt x="132" y="44"/>
                      <a:pt x="132" y="44"/>
                    </a:cubicBezTo>
                    <a:cubicBezTo>
                      <a:pt x="133" y="41"/>
                      <a:pt x="133" y="41"/>
                      <a:pt x="133" y="41"/>
                    </a:cubicBezTo>
                    <a:cubicBezTo>
                      <a:pt x="135" y="39"/>
                      <a:pt x="135" y="39"/>
                      <a:pt x="135" y="39"/>
                    </a:cubicBezTo>
                    <a:cubicBezTo>
                      <a:pt x="135" y="36"/>
                      <a:pt x="135" y="36"/>
                      <a:pt x="135" y="36"/>
                    </a:cubicBezTo>
                    <a:cubicBezTo>
                      <a:pt x="132" y="35"/>
                      <a:pt x="132" y="35"/>
                      <a:pt x="132" y="35"/>
                    </a:cubicBezTo>
                    <a:cubicBezTo>
                      <a:pt x="129" y="34"/>
                      <a:pt x="129" y="34"/>
                      <a:pt x="129" y="34"/>
                    </a:cubicBezTo>
                    <a:cubicBezTo>
                      <a:pt x="127" y="36"/>
                      <a:pt x="127" y="36"/>
                      <a:pt x="127" y="36"/>
                    </a:cubicBezTo>
                    <a:cubicBezTo>
                      <a:pt x="128" y="39"/>
                      <a:pt x="128" y="39"/>
                      <a:pt x="128" y="39"/>
                    </a:cubicBezTo>
                    <a:cubicBezTo>
                      <a:pt x="128" y="39"/>
                      <a:pt x="130" y="42"/>
                      <a:pt x="128" y="43"/>
                    </a:cubicBezTo>
                    <a:cubicBezTo>
                      <a:pt x="127" y="45"/>
                      <a:pt x="125" y="46"/>
                      <a:pt x="126" y="53"/>
                    </a:cubicBezTo>
                    <a:cubicBezTo>
                      <a:pt x="126" y="54"/>
                      <a:pt x="129" y="55"/>
                      <a:pt x="128" y="58"/>
                    </a:cubicBezTo>
                    <a:cubicBezTo>
                      <a:pt x="128" y="59"/>
                      <a:pt x="133" y="61"/>
                      <a:pt x="128" y="64"/>
                    </a:cubicBezTo>
                    <a:cubicBezTo>
                      <a:pt x="128" y="65"/>
                      <a:pt x="126" y="69"/>
                      <a:pt x="125" y="69"/>
                    </a:cubicBezTo>
                    <a:cubicBezTo>
                      <a:pt x="125" y="70"/>
                      <a:pt x="123" y="73"/>
                      <a:pt x="123" y="73"/>
                    </a:cubicBezTo>
                    <a:cubicBezTo>
                      <a:pt x="123" y="73"/>
                      <a:pt x="127" y="76"/>
                      <a:pt x="123" y="77"/>
                    </a:cubicBezTo>
                    <a:cubicBezTo>
                      <a:pt x="123" y="77"/>
                      <a:pt x="120" y="78"/>
                      <a:pt x="119" y="76"/>
                    </a:cubicBezTo>
                    <a:cubicBezTo>
                      <a:pt x="119" y="76"/>
                      <a:pt x="119" y="76"/>
                      <a:pt x="119" y="75"/>
                    </a:cubicBezTo>
                    <a:cubicBezTo>
                      <a:pt x="118" y="77"/>
                      <a:pt x="117" y="78"/>
                      <a:pt x="117" y="78"/>
                    </a:cubicBezTo>
                    <a:cubicBezTo>
                      <a:pt x="115" y="79"/>
                      <a:pt x="116" y="81"/>
                      <a:pt x="116" y="81"/>
                    </a:cubicBezTo>
                    <a:cubicBezTo>
                      <a:pt x="115" y="83"/>
                      <a:pt x="115" y="88"/>
                      <a:pt x="115" y="88"/>
                    </a:cubicBezTo>
                    <a:cubicBezTo>
                      <a:pt x="111" y="88"/>
                      <a:pt x="111" y="92"/>
                      <a:pt x="111" y="92"/>
                    </a:cubicBezTo>
                    <a:cubicBezTo>
                      <a:pt x="111" y="97"/>
                      <a:pt x="109" y="98"/>
                      <a:pt x="109" y="98"/>
                    </a:cubicBezTo>
                    <a:cubicBezTo>
                      <a:pt x="108" y="104"/>
                      <a:pt x="108" y="104"/>
                      <a:pt x="108" y="104"/>
                    </a:cubicBezTo>
                    <a:cubicBezTo>
                      <a:pt x="105" y="104"/>
                      <a:pt x="106" y="106"/>
                      <a:pt x="106" y="106"/>
                    </a:cubicBezTo>
                    <a:cubicBezTo>
                      <a:pt x="106" y="108"/>
                      <a:pt x="103" y="107"/>
                      <a:pt x="103" y="107"/>
                    </a:cubicBezTo>
                    <a:cubicBezTo>
                      <a:pt x="102" y="100"/>
                      <a:pt x="100" y="98"/>
                      <a:pt x="100" y="98"/>
                    </a:cubicBezTo>
                    <a:cubicBezTo>
                      <a:pt x="100" y="98"/>
                      <a:pt x="99" y="94"/>
                      <a:pt x="99" y="93"/>
                    </a:cubicBezTo>
                    <a:cubicBezTo>
                      <a:pt x="100" y="90"/>
                      <a:pt x="97" y="91"/>
                      <a:pt x="97" y="91"/>
                    </a:cubicBezTo>
                    <a:cubicBezTo>
                      <a:pt x="94" y="92"/>
                      <a:pt x="95" y="86"/>
                      <a:pt x="95" y="86"/>
                    </a:cubicBezTo>
                    <a:cubicBezTo>
                      <a:pt x="94" y="81"/>
                      <a:pt x="96" y="80"/>
                      <a:pt x="96" y="80"/>
                    </a:cubicBezTo>
                    <a:cubicBezTo>
                      <a:pt x="100" y="80"/>
                      <a:pt x="100" y="77"/>
                      <a:pt x="100" y="77"/>
                    </a:cubicBezTo>
                    <a:cubicBezTo>
                      <a:pt x="104" y="77"/>
                      <a:pt x="105" y="73"/>
                      <a:pt x="105" y="73"/>
                    </a:cubicBezTo>
                    <a:cubicBezTo>
                      <a:pt x="106" y="73"/>
                      <a:pt x="107" y="73"/>
                      <a:pt x="107" y="73"/>
                    </a:cubicBezTo>
                    <a:cubicBezTo>
                      <a:pt x="106" y="72"/>
                      <a:pt x="105" y="70"/>
                      <a:pt x="109" y="68"/>
                    </a:cubicBezTo>
                    <a:cubicBezTo>
                      <a:pt x="109" y="68"/>
                      <a:pt x="112" y="65"/>
                      <a:pt x="110" y="61"/>
                    </a:cubicBezTo>
                    <a:cubicBezTo>
                      <a:pt x="110" y="61"/>
                      <a:pt x="109" y="58"/>
                      <a:pt x="107" y="55"/>
                    </a:cubicBezTo>
                    <a:cubicBezTo>
                      <a:pt x="107" y="55"/>
                      <a:pt x="105" y="53"/>
                      <a:pt x="100" y="53"/>
                    </a:cubicBezTo>
                    <a:cubicBezTo>
                      <a:pt x="100" y="54"/>
                      <a:pt x="100" y="50"/>
                      <a:pt x="96" y="50"/>
                    </a:cubicBezTo>
                    <a:cubicBezTo>
                      <a:pt x="96" y="50"/>
                      <a:pt x="97" y="48"/>
                      <a:pt x="90" y="49"/>
                    </a:cubicBezTo>
                    <a:cubicBezTo>
                      <a:pt x="90" y="49"/>
                      <a:pt x="86" y="43"/>
                      <a:pt x="85" y="49"/>
                    </a:cubicBezTo>
                    <a:cubicBezTo>
                      <a:pt x="85" y="50"/>
                      <a:pt x="86" y="54"/>
                      <a:pt x="82" y="54"/>
                    </a:cubicBezTo>
                    <a:cubicBezTo>
                      <a:pt x="82" y="54"/>
                      <a:pt x="81" y="53"/>
                      <a:pt x="81" y="58"/>
                    </a:cubicBezTo>
                    <a:cubicBezTo>
                      <a:pt x="81" y="58"/>
                      <a:pt x="73" y="57"/>
                      <a:pt x="73" y="60"/>
                    </a:cubicBezTo>
                    <a:cubicBezTo>
                      <a:pt x="72" y="61"/>
                      <a:pt x="66" y="60"/>
                      <a:pt x="65" y="62"/>
                    </a:cubicBezTo>
                    <a:cubicBezTo>
                      <a:pt x="66" y="64"/>
                      <a:pt x="61" y="67"/>
                      <a:pt x="61" y="67"/>
                    </a:cubicBezTo>
                    <a:cubicBezTo>
                      <a:pt x="55" y="73"/>
                      <a:pt x="55" y="73"/>
                      <a:pt x="55" y="73"/>
                    </a:cubicBezTo>
                    <a:cubicBezTo>
                      <a:pt x="57" y="79"/>
                      <a:pt x="57" y="79"/>
                      <a:pt x="57" y="79"/>
                    </a:cubicBezTo>
                    <a:cubicBezTo>
                      <a:pt x="63" y="84"/>
                      <a:pt x="63" y="84"/>
                      <a:pt x="63" y="84"/>
                    </a:cubicBezTo>
                    <a:cubicBezTo>
                      <a:pt x="63" y="84"/>
                      <a:pt x="70" y="79"/>
                      <a:pt x="71" y="82"/>
                    </a:cubicBezTo>
                    <a:cubicBezTo>
                      <a:pt x="71" y="83"/>
                      <a:pt x="76" y="88"/>
                      <a:pt x="68" y="88"/>
                    </a:cubicBezTo>
                    <a:cubicBezTo>
                      <a:pt x="68" y="88"/>
                      <a:pt x="65" y="89"/>
                      <a:pt x="61" y="89"/>
                    </a:cubicBezTo>
                    <a:cubicBezTo>
                      <a:pt x="61" y="88"/>
                      <a:pt x="58" y="92"/>
                      <a:pt x="52" y="91"/>
                    </a:cubicBezTo>
                    <a:cubicBezTo>
                      <a:pt x="52" y="92"/>
                      <a:pt x="47" y="92"/>
                      <a:pt x="43" y="93"/>
                    </a:cubicBezTo>
                    <a:cubicBezTo>
                      <a:pt x="43" y="93"/>
                      <a:pt x="42" y="99"/>
                      <a:pt x="39" y="93"/>
                    </a:cubicBezTo>
                    <a:cubicBezTo>
                      <a:pt x="38" y="94"/>
                      <a:pt x="35" y="93"/>
                      <a:pt x="35" y="93"/>
                    </a:cubicBezTo>
                    <a:cubicBezTo>
                      <a:pt x="35" y="93"/>
                      <a:pt x="35" y="93"/>
                      <a:pt x="35" y="93"/>
                    </a:cubicBezTo>
                    <a:cubicBezTo>
                      <a:pt x="35" y="97"/>
                      <a:pt x="36" y="100"/>
                      <a:pt x="35" y="101"/>
                    </a:cubicBezTo>
                    <a:cubicBezTo>
                      <a:pt x="35" y="102"/>
                      <a:pt x="32" y="103"/>
                      <a:pt x="34" y="109"/>
                    </a:cubicBezTo>
                    <a:cubicBezTo>
                      <a:pt x="34" y="109"/>
                      <a:pt x="41" y="114"/>
                      <a:pt x="34" y="111"/>
                    </a:cubicBezTo>
                    <a:cubicBezTo>
                      <a:pt x="34" y="111"/>
                      <a:pt x="28" y="110"/>
                      <a:pt x="28" y="112"/>
                    </a:cubicBezTo>
                    <a:cubicBezTo>
                      <a:pt x="28" y="113"/>
                      <a:pt x="22" y="115"/>
                      <a:pt x="28" y="116"/>
                    </a:cubicBezTo>
                    <a:cubicBezTo>
                      <a:pt x="28" y="116"/>
                      <a:pt x="29" y="121"/>
                      <a:pt x="26" y="120"/>
                    </a:cubicBezTo>
                    <a:cubicBezTo>
                      <a:pt x="26" y="120"/>
                      <a:pt x="23" y="121"/>
                      <a:pt x="23" y="125"/>
                    </a:cubicBezTo>
                    <a:cubicBezTo>
                      <a:pt x="23" y="125"/>
                      <a:pt x="20" y="128"/>
                      <a:pt x="19" y="125"/>
                    </a:cubicBezTo>
                    <a:cubicBezTo>
                      <a:pt x="19" y="125"/>
                      <a:pt x="15" y="124"/>
                      <a:pt x="18" y="132"/>
                    </a:cubicBezTo>
                    <a:cubicBezTo>
                      <a:pt x="18" y="132"/>
                      <a:pt x="12" y="130"/>
                      <a:pt x="14" y="134"/>
                    </a:cubicBezTo>
                    <a:cubicBezTo>
                      <a:pt x="14" y="134"/>
                      <a:pt x="10" y="138"/>
                      <a:pt x="9" y="134"/>
                    </a:cubicBezTo>
                    <a:cubicBezTo>
                      <a:pt x="9" y="134"/>
                      <a:pt x="3" y="136"/>
                      <a:pt x="5" y="139"/>
                    </a:cubicBezTo>
                    <a:cubicBezTo>
                      <a:pt x="5" y="139"/>
                      <a:pt x="1" y="143"/>
                      <a:pt x="5" y="149"/>
                    </a:cubicBezTo>
                    <a:cubicBezTo>
                      <a:pt x="5" y="149"/>
                      <a:pt x="4" y="157"/>
                      <a:pt x="7" y="157"/>
                    </a:cubicBezTo>
                    <a:cubicBezTo>
                      <a:pt x="7" y="157"/>
                      <a:pt x="12" y="157"/>
                      <a:pt x="12" y="161"/>
                    </a:cubicBezTo>
                    <a:cubicBezTo>
                      <a:pt x="12" y="162"/>
                      <a:pt x="11" y="168"/>
                      <a:pt x="9" y="169"/>
                    </a:cubicBezTo>
                    <a:cubicBezTo>
                      <a:pt x="9" y="169"/>
                      <a:pt x="5" y="169"/>
                      <a:pt x="11" y="173"/>
                    </a:cubicBezTo>
                    <a:cubicBezTo>
                      <a:pt x="11" y="174"/>
                      <a:pt x="14" y="174"/>
                      <a:pt x="14" y="178"/>
                    </a:cubicBezTo>
                    <a:cubicBezTo>
                      <a:pt x="14" y="179"/>
                      <a:pt x="16" y="180"/>
                      <a:pt x="14" y="183"/>
                    </a:cubicBezTo>
                    <a:cubicBezTo>
                      <a:pt x="15" y="183"/>
                      <a:pt x="12" y="188"/>
                      <a:pt x="14" y="189"/>
                    </a:cubicBezTo>
                    <a:cubicBezTo>
                      <a:pt x="14" y="190"/>
                      <a:pt x="20" y="191"/>
                      <a:pt x="15" y="193"/>
                    </a:cubicBezTo>
                    <a:cubicBezTo>
                      <a:pt x="15" y="194"/>
                      <a:pt x="10" y="196"/>
                      <a:pt x="15" y="197"/>
                    </a:cubicBezTo>
                    <a:cubicBezTo>
                      <a:pt x="15" y="197"/>
                      <a:pt x="19" y="199"/>
                      <a:pt x="18" y="204"/>
                    </a:cubicBezTo>
                    <a:cubicBezTo>
                      <a:pt x="18" y="204"/>
                      <a:pt x="13" y="208"/>
                      <a:pt x="13" y="209"/>
                    </a:cubicBezTo>
                    <a:cubicBezTo>
                      <a:pt x="14" y="209"/>
                      <a:pt x="15" y="216"/>
                      <a:pt x="11" y="214"/>
                    </a:cubicBezTo>
                    <a:cubicBezTo>
                      <a:pt x="11" y="215"/>
                      <a:pt x="0" y="220"/>
                      <a:pt x="11" y="220"/>
                    </a:cubicBezTo>
                    <a:cubicBezTo>
                      <a:pt x="11" y="220"/>
                      <a:pt x="17" y="222"/>
                      <a:pt x="19" y="222"/>
                    </a:cubicBezTo>
                    <a:cubicBezTo>
                      <a:pt x="18" y="222"/>
                      <a:pt x="23" y="226"/>
                      <a:pt x="19" y="229"/>
                    </a:cubicBezTo>
                    <a:cubicBezTo>
                      <a:pt x="19" y="229"/>
                      <a:pt x="19" y="236"/>
                      <a:pt x="23" y="236"/>
                    </a:cubicBezTo>
                    <a:cubicBezTo>
                      <a:pt x="23" y="236"/>
                      <a:pt x="23" y="242"/>
                      <a:pt x="27" y="243"/>
                    </a:cubicBezTo>
                    <a:cubicBezTo>
                      <a:pt x="27" y="243"/>
                      <a:pt x="28" y="254"/>
                      <a:pt x="27" y="255"/>
                    </a:cubicBezTo>
                    <a:cubicBezTo>
                      <a:pt x="27" y="255"/>
                      <a:pt x="22" y="260"/>
                      <a:pt x="25" y="263"/>
                    </a:cubicBezTo>
                    <a:cubicBezTo>
                      <a:pt x="25" y="263"/>
                      <a:pt x="28" y="263"/>
                      <a:pt x="30" y="267"/>
                    </a:cubicBezTo>
                    <a:cubicBezTo>
                      <a:pt x="30" y="267"/>
                      <a:pt x="30" y="271"/>
                      <a:pt x="28" y="271"/>
                    </a:cubicBezTo>
                    <a:cubicBezTo>
                      <a:pt x="29" y="272"/>
                      <a:pt x="27" y="275"/>
                      <a:pt x="30" y="275"/>
                    </a:cubicBezTo>
                    <a:cubicBezTo>
                      <a:pt x="30" y="276"/>
                      <a:pt x="32" y="275"/>
                      <a:pt x="34" y="274"/>
                    </a:cubicBezTo>
                    <a:cubicBezTo>
                      <a:pt x="34" y="274"/>
                      <a:pt x="42" y="275"/>
                      <a:pt x="43" y="272"/>
                    </a:cubicBezTo>
                    <a:cubicBezTo>
                      <a:pt x="43" y="272"/>
                      <a:pt x="44" y="271"/>
                      <a:pt x="46" y="270"/>
                    </a:cubicBezTo>
                    <a:cubicBezTo>
                      <a:pt x="46" y="270"/>
                      <a:pt x="55" y="265"/>
                      <a:pt x="48" y="271"/>
                    </a:cubicBezTo>
                    <a:cubicBezTo>
                      <a:pt x="48" y="271"/>
                      <a:pt x="48" y="278"/>
                      <a:pt x="46" y="278"/>
                    </a:cubicBezTo>
                    <a:cubicBezTo>
                      <a:pt x="46" y="278"/>
                      <a:pt x="43" y="280"/>
                      <a:pt x="42" y="281"/>
                    </a:cubicBezTo>
                    <a:cubicBezTo>
                      <a:pt x="42" y="281"/>
                      <a:pt x="42" y="284"/>
                      <a:pt x="39" y="284"/>
                    </a:cubicBezTo>
                    <a:cubicBezTo>
                      <a:pt x="39" y="284"/>
                      <a:pt x="35" y="287"/>
                      <a:pt x="36" y="287"/>
                    </a:cubicBezTo>
                    <a:cubicBezTo>
                      <a:pt x="36" y="290"/>
                      <a:pt x="36" y="290"/>
                      <a:pt x="36" y="290"/>
                    </a:cubicBezTo>
                    <a:cubicBezTo>
                      <a:pt x="36" y="290"/>
                      <a:pt x="40" y="291"/>
                      <a:pt x="36" y="292"/>
                    </a:cubicBezTo>
                    <a:cubicBezTo>
                      <a:pt x="34" y="295"/>
                      <a:pt x="34" y="295"/>
                      <a:pt x="34" y="295"/>
                    </a:cubicBezTo>
                    <a:cubicBezTo>
                      <a:pt x="34" y="295"/>
                      <a:pt x="33" y="296"/>
                      <a:pt x="30" y="297"/>
                    </a:cubicBezTo>
                    <a:cubicBezTo>
                      <a:pt x="30" y="297"/>
                      <a:pt x="28" y="299"/>
                      <a:pt x="25" y="299"/>
                    </a:cubicBezTo>
                    <a:cubicBezTo>
                      <a:pt x="20" y="302"/>
                      <a:pt x="20" y="302"/>
                      <a:pt x="20" y="302"/>
                    </a:cubicBezTo>
                    <a:cubicBezTo>
                      <a:pt x="20" y="302"/>
                      <a:pt x="16" y="306"/>
                      <a:pt x="19" y="310"/>
                    </a:cubicBezTo>
                    <a:cubicBezTo>
                      <a:pt x="19" y="310"/>
                      <a:pt x="22" y="315"/>
                      <a:pt x="23" y="320"/>
                    </a:cubicBezTo>
                    <a:cubicBezTo>
                      <a:pt x="23" y="321"/>
                      <a:pt x="23" y="323"/>
                      <a:pt x="23" y="325"/>
                    </a:cubicBezTo>
                    <a:cubicBezTo>
                      <a:pt x="23" y="325"/>
                      <a:pt x="17" y="326"/>
                      <a:pt x="23" y="329"/>
                    </a:cubicBezTo>
                    <a:cubicBezTo>
                      <a:pt x="23" y="329"/>
                      <a:pt x="27" y="334"/>
                      <a:pt x="27" y="336"/>
                    </a:cubicBezTo>
                    <a:cubicBezTo>
                      <a:pt x="27" y="336"/>
                      <a:pt x="21" y="335"/>
                      <a:pt x="23" y="341"/>
                    </a:cubicBezTo>
                    <a:cubicBezTo>
                      <a:pt x="23" y="341"/>
                      <a:pt x="23" y="341"/>
                      <a:pt x="23" y="341"/>
                    </a:cubicBezTo>
                    <a:cubicBezTo>
                      <a:pt x="31" y="337"/>
                      <a:pt x="30" y="350"/>
                      <a:pt x="30" y="349"/>
                    </a:cubicBezTo>
                    <a:cubicBezTo>
                      <a:pt x="39" y="350"/>
                      <a:pt x="44" y="355"/>
                      <a:pt x="44" y="355"/>
                    </a:cubicBezTo>
                    <a:cubicBezTo>
                      <a:pt x="48" y="356"/>
                      <a:pt x="48" y="356"/>
                      <a:pt x="48" y="356"/>
                    </a:cubicBezTo>
                    <a:cubicBezTo>
                      <a:pt x="51" y="357"/>
                      <a:pt x="54" y="360"/>
                      <a:pt x="54" y="359"/>
                    </a:cubicBezTo>
                    <a:cubicBezTo>
                      <a:pt x="54" y="364"/>
                      <a:pt x="58" y="364"/>
                      <a:pt x="58" y="364"/>
                    </a:cubicBezTo>
                    <a:cubicBezTo>
                      <a:pt x="64" y="364"/>
                      <a:pt x="68" y="361"/>
                      <a:pt x="67" y="361"/>
                    </a:cubicBezTo>
                    <a:cubicBezTo>
                      <a:pt x="69" y="361"/>
                      <a:pt x="73" y="359"/>
                      <a:pt x="72" y="359"/>
                    </a:cubicBezTo>
                    <a:cubicBezTo>
                      <a:pt x="76" y="359"/>
                      <a:pt x="77" y="356"/>
                      <a:pt x="77" y="356"/>
                    </a:cubicBezTo>
                    <a:cubicBezTo>
                      <a:pt x="85" y="355"/>
                      <a:pt x="94" y="355"/>
                      <a:pt x="94" y="356"/>
                    </a:cubicBezTo>
                    <a:cubicBezTo>
                      <a:pt x="100" y="351"/>
                      <a:pt x="102" y="356"/>
                      <a:pt x="102" y="356"/>
                    </a:cubicBezTo>
                    <a:cubicBezTo>
                      <a:pt x="105" y="355"/>
                      <a:pt x="107" y="358"/>
                      <a:pt x="107" y="357"/>
                    </a:cubicBezTo>
                    <a:cubicBezTo>
                      <a:pt x="108" y="357"/>
                      <a:pt x="112" y="359"/>
                      <a:pt x="112" y="359"/>
                    </a:cubicBezTo>
                    <a:cubicBezTo>
                      <a:pt x="111" y="361"/>
                      <a:pt x="115" y="364"/>
                      <a:pt x="115" y="363"/>
                    </a:cubicBezTo>
                    <a:cubicBezTo>
                      <a:pt x="121" y="361"/>
                      <a:pt x="120" y="366"/>
                      <a:pt x="120" y="365"/>
                    </a:cubicBezTo>
                    <a:cubicBezTo>
                      <a:pt x="119" y="372"/>
                      <a:pt x="124" y="368"/>
                      <a:pt x="124" y="368"/>
                    </a:cubicBezTo>
                    <a:cubicBezTo>
                      <a:pt x="128" y="366"/>
                      <a:pt x="127" y="371"/>
                      <a:pt x="127" y="371"/>
                    </a:cubicBezTo>
                    <a:cubicBezTo>
                      <a:pt x="130" y="371"/>
                      <a:pt x="130" y="375"/>
                      <a:pt x="130" y="375"/>
                    </a:cubicBezTo>
                    <a:cubicBezTo>
                      <a:pt x="132" y="377"/>
                      <a:pt x="133" y="382"/>
                      <a:pt x="133" y="382"/>
                    </a:cubicBezTo>
                    <a:cubicBezTo>
                      <a:pt x="135" y="383"/>
                      <a:pt x="135" y="387"/>
                      <a:pt x="135" y="386"/>
                    </a:cubicBezTo>
                    <a:cubicBezTo>
                      <a:pt x="131" y="389"/>
                      <a:pt x="133" y="391"/>
                      <a:pt x="133" y="391"/>
                    </a:cubicBezTo>
                    <a:cubicBezTo>
                      <a:pt x="137" y="390"/>
                      <a:pt x="142" y="392"/>
                      <a:pt x="142" y="392"/>
                    </a:cubicBezTo>
                    <a:cubicBezTo>
                      <a:pt x="141" y="395"/>
                      <a:pt x="149" y="394"/>
                      <a:pt x="148" y="394"/>
                    </a:cubicBezTo>
                    <a:cubicBezTo>
                      <a:pt x="152" y="392"/>
                      <a:pt x="152" y="399"/>
                      <a:pt x="152" y="399"/>
                    </a:cubicBezTo>
                    <a:cubicBezTo>
                      <a:pt x="150" y="403"/>
                      <a:pt x="161" y="400"/>
                      <a:pt x="161" y="400"/>
                    </a:cubicBezTo>
                    <a:cubicBezTo>
                      <a:pt x="163" y="398"/>
                      <a:pt x="165" y="398"/>
                      <a:pt x="165" y="398"/>
                    </a:cubicBezTo>
                    <a:cubicBezTo>
                      <a:pt x="166" y="397"/>
                      <a:pt x="166" y="394"/>
                      <a:pt x="165" y="394"/>
                    </a:cubicBezTo>
                    <a:cubicBezTo>
                      <a:pt x="165" y="394"/>
                      <a:pt x="163" y="390"/>
                      <a:pt x="161" y="389"/>
                    </a:cubicBezTo>
                    <a:cubicBezTo>
                      <a:pt x="161" y="390"/>
                      <a:pt x="161" y="385"/>
                      <a:pt x="163" y="385"/>
                    </a:cubicBezTo>
                    <a:cubicBezTo>
                      <a:pt x="164" y="385"/>
                      <a:pt x="165" y="378"/>
                      <a:pt x="167" y="378"/>
                    </a:cubicBezTo>
                    <a:cubicBezTo>
                      <a:pt x="167" y="378"/>
                      <a:pt x="170" y="374"/>
                      <a:pt x="172" y="374"/>
                    </a:cubicBezTo>
                    <a:cubicBezTo>
                      <a:pt x="172" y="374"/>
                      <a:pt x="175" y="370"/>
                      <a:pt x="177" y="370"/>
                    </a:cubicBezTo>
                    <a:cubicBezTo>
                      <a:pt x="177" y="370"/>
                      <a:pt x="180" y="368"/>
                      <a:pt x="181" y="368"/>
                    </a:cubicBezTo>
                    <a:cubicBezTo>
                      <a:pt x="181" y="367"/>
                      <a:pt x="181" y="367"/>
                      <a:pt x="181" y="367"/>
                    </a:cubicBezTo>
                    <a:cubicBezTo>
                      <a:pt x="179" y="365"/>
                      <a:pt x="179" y="365"/>
                      <a:pt x="179" y="365"/>
                    </a:cubicBezTo>
                    <a:cubicBezTo>
                      <a:pt x="177" y="364"/>
                      <a:pt x="177" y="364"/>
                      <a:pt x="177" y="364"/>
                    </a:cubicBezTo>
                    <a:cubicBezTo>
                      <a:pt x="177" y="363"/>
                      <a:pt x="177" y="363"/>
                      <a:pt x="177" y="363"/>
                    </a:cubicBezTo>
                    <a:cubicBezTo>
                      <a:pt x="176" y="360"/>
                      <a:pt x="176" y="360"/>
                      <a:pt x="176" y="360"/>
                    </a:cubicBezTo>
                    <a:cubicBezTo>
                      <a:pt x="172" y="357"/>
                      <a:pt x="172" y="357"/>
                      <a:pt x="172" y="357"/>
                    </a:cubicBezTo>
                    <a:cubicBezTo>
                      <a:pt x="170" y="355"/>
                      <a:pt x="170" y="355"/>
                      <a:pt x="170" y="355"/>
                    </a:cubicBezTo>
                    <a:cubicBezTo>
                      <a:pt x="168" y="354"/>
                      <a:pt x="168" y="354"/>
                      <a:pt x="168" y="354"/>
                    </a:cubicBezTo>
                    <a:cubicBezTo>
                      <a:pt x="165" y="353"/>
                      <a:pt x="165" y="353"/>
                      <a:pt x="165" y="353"/>
                    </a:cubicBezTo>
                    <a:cubicBezTo>
                      <a:pt x="164" y="351"/>
                      <a:pt x="164" y="351"/>
                      <a:pt x="164" y="351"/>
                    </a:cubicBezTo>
                    <a:cubicBezTo>
                      <a:pt x="163" y="350"/>
                      <a:pt x="163" y="350"/>
                      <a:pt x="163" y="350"/>
                    </a:cubicBezTo>
                    <a:cubicBezTo>
                      <a:pt x="162" y="348"/>
                      <a:pt x="162" y="348"/>
                      <a:pt x="162" y="348"/>
                    </a:cubicBezTo>
                    <a:cubicBezTo>
                      <a:pt x="159" y="346"/>
                      <a:pt x="159" y="346"/>
                      <a:pt x="159" y="346"/>
                    </a:cubicBezTo>
                    <a:cubicBezTo>
                      <a:pt x="158" y="345"/>
                      <a:pt x="158" y="345"/>
                      <a:pt x="158" y="345"/>
                    </a:cubicBezTo>
                    <a:cubicBezTo>
                      <a:pt x="156" y="344"/>
                      <a:pt x="156" y="344"/>
                      <a:pt x="156" y="344"/>
                    </a:cubicBezTo>
                    <a:cubicBezTo>
                      <a:pt x="155" y="342"/>
                      <a:pt x="155" y="342"/>
                      <a:pt x="155" y="342"/>
                    </a:cubicBezTo>
                    <a:cubicBezTo>
                      <a:pt x="154" y="340"/>
                      <a:pt x="154" y="340"/>
                      <a:pt x="154" y="340"/>
                    </a:cubicBezTo>
                    <a:cubicBezTo>
                      <a:pt x="153" y="338"/>
                      <a:pt x="153" y="338"/>
                      <a:pt x="153" y="338"/>
                    </a:cubicBezTo>
                    <a:cubicBezTo>
                      <a:pt x="152" y="337"/>
                      <a:pt x="152" y="337"/>
                      <a:pt x="152" y="337"/>
                    </a:cubicBezTo>
                    <a:cubicBezTo>
                      <a:pt x="149" y="335"/>
                      <a:pt x="149" y="335"/>
                      <a:pt x="149" y="335"/>
                    </a:cubicBezTo>
                    <a:cubicBezTo>
                      <a:pt x="146" y="334"/>
                      <a:pt x="146" y="334"/>
                      <a:pt x="146" y="334"/>
                    </a:cubicBezTo>
                    <a:cubicBezTo>
                      <a:pt x="144" y="334"/>
                      <a:pt x="144" y="334"/>
                      <a:pt x="144" y="334"/>
                    </a:cubicBezTo>
                    <a:cubicBezTo>
                      <a:pt x="143" y="335"/>
                      <a:pt x="143" y="335"/>
                      <a:pt x="143" y="335"/>
                    </a:cubicBezTo>
                    <a:cubicBezTo>
                      <a:pt x="141" y="335"/>
                      <a:pt x="141" y="335"/>
                      <a:pt x="141" y="335"/>
                    </a:cubicBezTo>
                    <a:cubicBezTo>
                      <a:pt x="139" y="334"/>
                      <a:pt x="139" y="334"/>
                      <a:pt x="139" y="334"/>
                    </a:cubicBezTo>
                    <a:cubicBezTo>
                      <a:pt x="137" y="333"/>
                      <a:pt x="137" y="333"/>
                      <a:pt x="137" y="333"/>
                    </a:cubicBezTo>
                    <a:cubicBezTo>
                      <a:pt x="134" y="332"/>
                      <a:pt x="134" y="332"/>
                      <a:pt x="134" y="332"/>
                    </a:cubicBezTo>
                    <a:cubicBezTo>
                      <a:pt x="134" y="332"/>
                      <a:pt x="134" y="332"/>
                      <a:pt x="134" y="332"/>
                    </a:cubicBezTo>
                    <a:cubicBezTo>
                      <a:pt x="131" y="331"/>
                      <a:pt x="131" y="331"/>
                      <a:pt x="131" y="331"/>
                    </a:cubicBezTo>
                    <a:cubicBezTo>
                      <a:pt x="130" y="329"/>
                      <a:pt x="130" y="329"/>
                      <a:pt x="130" y="329"/>
                    </a:cubicBezTo>
                    <a:cubicBezTo>
                      <a:pt x="128" y="329"/>
                      <a:pt x="128" y="329"/>
                      <a:pt x="128" y="329"/>
                    </a:cubicBezTo>
                    <a:cubicBezTo>
                      <a:pt x="127" y="328"/>
                      <a:pt x="127" y="328"/>
                      <a:pt x="127" y="328"/>
                    </a:cubicBezTo>
                    <a:cubicBezTo>
                      <a:pt x="126" y="327"/>
                      <a:pt x="126" y="327"/>
                      <a:pt x="126" y="327"/>
                    </a:cubicBezTo>
                    <a:cubicBezTo>
                      <a:pt x="124" y="326"/>
                      <a:pt x="124" y="326"/>
                      <a:pt x="124" y="326"/>
                    </a:cubicBezTo>
                    <a:cubicBezTo>
                      <a:pt x="121" y="325"/>
                      <a:pt x="121" y="325"/>
                      <a:pt x="121" y="325"/>
                    </a:cubicBezTo>
                    <a:cubicBezTo>
                      <a:pt x="119" y="323"/>
                      <a:pt x="119" y="323"/>
                      <a:pt x="119" y="323"/>
                    </a:cubicBezTo>
                    <a:cubicBezTo>
                      <a:pt x="119" y="322"/>
                      <a:pt x="119" y="322"/>
                      <a:pt x="119" y="322"/>
                    </a:cubicBezTo>
                    <a:cubicBezTo>
                      <a:pt x="117" y="319"/>
                      <a:pt x="117" y="319"/>
                      <a:pt x="117" y="319"/>
                    </a:cubicBezTo>
                    <a:cubicBezTo>
                      <a:pt x="117" y="318"/>
                      <a:pt x="117" y="318"/>
                      <a:pt x="117" y="318"/>
                    </a:cubicBezTo>
                    <a:cubicBezTo>
                      <a:pt x="115" y="316"/>
                      <a:pt x="115" y="316"/>
                      <a:pt x="115" y="316"/>
                    </a:cubicBezTo>
                    <a:cubicBezTo>
                      <a:pt x="115" y="313"/>
                      <a:pt x="115" y="313"/>
                      <a:pt x="115" y="313"/>
                    </a:cubicBezTo>
                    <a:cubicBezTo>
                      <a:pt x="113" y="310"/>
                      <a:pt x="113" y="310"/>
                      <a:pt x="113" y="310"/>
                    </a:cubicBezTo>
                    <a:cubicBezTo>
                      <a:pt x="112" y="308"/>
                      <a:pt x="112" y="308"/>
                      <a:pt x="112" y="308"/>
                    </a:cubicBezTo>
                    <a:cubicBezTo>
                      <a:pt x="110" y="305"/>
                      <a:pt x="110" y="305"/>
                      <a:pt x="110" y="305"/>
                    </a:cubicBezTo>
                    <a:cubicBezTo>
                      <a:pt x="108" y="303"/>
                      <a:pt x="108" y="303"/>
                      <a:pt x="108" y="303"/>
                    </a:cubicBezTo>
                    <a:cubicBezTo>
                      <a:pt x="108" y="303"/>
                      <a:pt x="107" y="301"/>
                      <a:pt x="107" y="300"/>
                    </a:cubicBezTo>
                    <a:cubicBezTo>
                      <a:pt x="107" y="300"/>
                      <a:pt x="106" y="298"/>
                      <a:pt x="105" y="298"/>
                    </a:cubicBezTo>
                    <a:cubicBezTo>
                      <a:pt x="105" y="298"/>
                      <a:pt x="104" y="297"/>
                      <a:pt x="104" y="297"/>
                    </a:cubicBezTo>
                    <a:cubicBezTo>
                      <a:pt x="104" y="296"/>
                      <a:pt x="104" y="294"/>
                      <a:pt x="104" y="294"/>
                    </a:cubicBezTo>
                    <a:cubicBezTo>
                      <a:pt x="104" y="294"/>
                      <a:pt x="103" y="293"/>
                      <a:pt x="103" y="293"/>
                    </a:cubicBezTo>
                    <a:cubicBezTo>
                      <a:pt x="103" y="292"/>
                      <a:pt x="103" y="291"/>
                      <a:pt x="102" y="290"/>
                    </a:cubicBezTo>
                    <a:cubicBezTo>
                      <a:pt x="102" y="289"/>
                      <a:pt x="102" y="287"/>
                      <a:pt x="102" y="287"/>
                    </a:cubicBezTo>
                    <a:cubicBezTo>
                      <a:pt x="101" y="286"/>
                      <a:pt x="101" y="285"/>
                      <a:pt x="101" y="285"/>
                    </a:cubicBezTo>
                    <a:cubicBezTo>
                      <a:pt x="101" y="285"/>
                      <a:pt x="100" y="284"/>
                      <a:pt x="100" y="283"/>
                    </a:cubicBezTo>
                    <a:cubicBezTo>
                      <a:pt x="100" y="283"/>
                      <a:pt x="98" y="281"/>
                      <a:pt x="98" y="281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96" y="276"/>
                      <a:pt x="96" y="276"/>
                      <a:pt x="96" y="276"/>
                    </a:cubicBezTo>
                    <a:cubicBezTo>
                      <a:pt x="96" y="276"/>
                      <a:pt x="96" y="275"/>
                      <a:pt x="96" y="274"/>
                    </a:cubicBezTo>
                    <a:cubicBezTo>
                      <a:pt x="95" y="274"/>
                      <a:pt x="94" y="271"/>
                      <a:pt x="94" y="271"/>
                    </a:cubicBezTo>
                    <a:cubicBezTo>
                      <a:pt x="92" y="268"/>
                      <a:pt x="92" y="268"/>
                      <a:pt x="92" y="268"/>
                    </a:cubicBezTo>
                    <a:cubicBezTo>
                      <a:pt x="92" y="266"/>
                      <a:pt x="92" y="266"/>
                      <a:pt x="92" y="266"/>
                    </a:cubicBezTo>
                    <a:cubicBezTo>
                      <a:pt x="91" y="263"/>
                      <a:pt x="91" y="263"/>
                      <a:pt x="91" y="263"/>
                    </a:cubicBezTo>
                    <a:cubicBezTo>
                      <a:pt x="91" y="263"/>
                      <a:pt x="91" y="261"/>
                      <a:pt x="91" y="261"/>
                    </a:cubicBezTo>
                    <a:cubicBezTo>
                      <a:pt x="91" y="261"/>
                      <a:pt x="91" y="260"/>
                      <a:pt x="91" y="259"/>
                    </a:cubicBezTo>
                    <a:cubicBezTo>
                      <a:pt x="91" y="259"/>
                      <a:pt x="91" y="257"/>
                      <a:pt x="91" y="257"/>
                    </a:cubicBezTo>
                    <a:cubicBezTo>
                      <a:pt x="91" y="254"/>
                      <a:pt x="91" y="254"/>
                      <a:pt x="91" y="254"/>
                    </a:cubicBezTo>
                    <a:cubicBezTo>
                      <a:pt x="91" y="254"/>
                      <a:pt x="91" y="252"/>
                      <a:pt x="91" y="252"/>
                    </a:cubicBezTo>
                    <a:cubicBezTo>
                      <a:pt x="92" y="250"/>
                      <a:pt x="92" y="250"/>
                      <a:pt x="92" y="250"/>
                    </a:cubicBezTo>
                    <a:cubicBezTo>
                      <a:pt x="92" y="250"/>
                      <a:pt x="94" y="249"/>
                      <a:pt x="95" y="249"/>
                    </a:cubicBezTo>
                    <a:cubicBezTo>
                      <a:pt x="97" y="250"/>
                      <a:pt x="97" y="250"/>
                      <a:pt x="97" y="250"/>
                    </a:cubicBezTo>
                    <a:cubicBezTo>
                      <a:pt x="97" y="251"/>
                      <a:pt x="97" y="251"/>
                      <a:pt x="97" y="251"/>
                    </a:cubicBezTo>
                    <a:cubicBezTo>
                      <a:pt x="97" y="252"/>
                      <a:pt x="97" y="252"/>
                      <a:pt x="97" y="252"/>
                    </a:cubicBezTo>
                    <a:cubicBezTo>
                      <a:pt x="97" y="252"/>
                      <a:pt x="97" y="254"/>
                      <a:pt x="97" y="254"/>
                    </a:cubicBezTo>
                    <a:cubicBezTo>
                      <a:pt x="97" y="254"/>
                      <a:pt x="98" y="256"/>
                      <a:pt x="98" y="256"/>
                    </a:cubicBezTo>
                    <a:cubicBezTo>
                      <a:pt x="99" y="258"/>
                      <a:pt x="99" y="258"/>
                      <a:pt x="99" y="258"/>
                    </a:cubicBezTo>
                    <a:cubicBezTo>
                      <a:pt x="100" y="259"/>
                      <a:pt x="100" y="259"/>
                      <a:pt x="100" y="259"/>
                    </a:cubicBezTo>
                    <a:cubicBezTo>
                      <a:pt x="102" y="260"/>
                      <a:pt x="102" y="260"/>
                      <a:pt x="102" y="260"/>
                    </a:cubicBezTo>
                    <a:cubicBezTo>
                      <a:pt x="104" y="260"/>
                      <a:pt x="104" y="260"/>
                      <a:pt x="104" y="260"/>
                    </a:cubicBezTo>
                    <a:cubicBezTo>
                      <a:pt x="105" y="261"/>
                      <a:pt x="105" y="261"/>
                      <a:pt x="105" y="261"/>
                    </a:cubicBezTo>
                    <a:cubicBezTo>
                      <a:pt x="106" y="263"/>
                      <a:pt x="106" y="263"/>
                      <a:pt x="106" y="263"/>
                    </a:cubicBezTo>
                    <a:cubicBezTo>
                      <a:pt x="107" y="265"/>
                      <a:pt x="107" y="265"/>
                      <a:pt x="107" y="265"/>
                    </a:cubicBezTo>
                    <a:cubicBezTo>
                      <a:pt x="108" y="266"/>
                      <a:pt x="108" y="266"/>
                      <a:pt x="108" y="266"/>
                    </a:cubicBezTo>
                    <a:cubicBezTo>
                      <a:pt x="108" y="266"/>
                      <a:pt x="108" y="266"/>
                      <a:pt x="108" y="266"/>
                    </a:cubicBezTo>
                    <a:cubicBezTo>
                      <a:pt x="108" y="266"/>
                      <a:pt x="108" y="269"/>
                      <a:pt x="108" y="269"/>
                    </a:cubicBezTo>
                    <a:cubicBezTo>
                      <a:pt x="108" y="269"/>
                      <a:pt x="108" y="270"/>
                      <a:pt x="108" y="270"/>
                    </a:cubicBezTo>
                    <a:cubicBezTo>
                      <a:pt x="109" y="272"/>
                      <a:pt x="109" y="272"/>
                      <a:pt x="109" y="272"/>
                    </a:cubicBezTo>
                    <a:cubicBezTo>
                      <a:pt x="109" y="273"/>
                      <a:pt x="109" y="273"/>
                      <a:pt x="109" y="273"/>
                    </a:cubicBezTo>
                    <a:cubicBezTo>
                      <a:pt x="110" y="275"/>
                      <a:pt x="110" y="275"/>
                      <a:pt x="110" y="275"/>
                    </a:cubicBezTo>
                    <a:cubicBezTo>
                      <a:pt x="110" y="276"/>
                      <a:pt x="110" y="276"/>
                      <a:pt x="110" y="276"/>
                    </a:cubicBezTo>
                    <a:cubicBezTo>
                      <a:pt x="111" y="277"/>
                      <a:pt x="111" y="277"/>
                      <a:pt x="111" y="277"/>
                    </a:cubicBezTo>
                    <a:cubicBezTo>
                      <a:pt x="112" y="279"/>
                      <a:pt x="112" y="279"/>
                      <a:pt x="112" y="279"/>
                    </a:cubicBezTo>
                    <a:cubicBezTo>
                      <a:pt x="112" y="279"/>
                      <a:pt x="112" y="280"/>
                      <a:pt x="112" y="280"/>
                    </a:cubicBezTo>
                    <a:cubicBezTo>
                      <a:pt x="113" y="280"/>
                      <a:pt x="113" y="281"/>
                      <a:pt x="113" y="281"/>
                    </a:cubicBezTo>
                    <a:cubicBezTo>
                      <a:pt x="113" y="282"/>
                      <a:pt x="113" y="283"/>
                      <a:pt x="113" y="283"/>
                    </a:cubicBezTo>
                    <a:cubicBezTo>
                      <a:pt x="114" y="284"/>
                      <a:pt x="114" y="284"/>
                      <a:pt x="114" y="284"/>
                    </a:cubicBezTo>
                    <a:cubicBezTo>
                      <a:pt x="114" y="284"/>
                      <a:pt x="114" y="286"/>
                      <a:pt x="114" y="286"/>
                    </a:cubicBezTo>
                    <a:cubicBezTo>
                      <a:pt x="114" y="287"/>
                      <a:pt x="114" y="288"/>
                      <a:pt x="114" y="288"/>
                    </a:cubicBezTo>
                    <a:cubicBezTo>
                      <a:pt x="115" y="289"/>
                      <a:pt x="115" y="289"/>
                      <a:pt x="115" y="289"/>
                    </a:cubicBezTo>
                    <a:cubicBezTo>
                      <a:pt x="115" y="289"/>
                      <a:pt x="116" y="290"/>
                      <a:pt x="116" y="291"/>
                    </a:cubicBezTo>
                    <a:cubicBezTo>
                      <a:pt x="116" y="291"/>
                      <a:pt x="118" y="292"/>
                      <a:pt x="118" y="292"/>
                    </a:cubicBezTo>
                    <a:cubicBezTo>
                      <a:pt x="119" y="294"/>
                      <a:pt x="119" y="294"/>
                      <a:pt x="119" y="294"/>
                    </a:cubicBezTo>
                    <a:cubicBezTo>
                      <a:pt x="119" y="295"/>
                      <a:pt x="119" y="295"/>
                      <a:pt x="119" y="295"/>
                    </a:cubicBezTo>
                    <a:cubicBezTo>
                      <a:pt x="119" y="295"/>
                      <a:pt x="119" y="297"/>
                      <a:pt x="119" y="297"/>
                    </a:cubicBezTo>
                    <a:cubicBezTo>
                      <a:pt x="119" y="297"/>
                      <a:pt x="120" y="298"/>
                      <a:pt x="121" y="298"/>
                    </a:cubicBezTo>
                    <a:cubicBezTo>
                      <a:pt x="121" y="298"/>
                      <a:pt x="122" y="299"/>
                      <a:pt x="122" y="299"/>
                    </a:cubicBezTo>
                    <a:cubicBezTo>
                      <a:pt x="122" y="300"/>
                      <a:pt x="123" y="300"/>
                      <a:pt x="124" y="301"/>
                    </a:cubicBezTo>
                    <a:cubicBezTo>
                      <a:pt x="124" y="301"/>
                      <a:pt x="124" y="302"/>
                      <a:pt x="124" y="302"/>
                    </a:cubicBezTo>
                    <a:cubicBezTo>
                      <a:pt x="124" y="302"/>
                      <a:pt x="125" y="302"/>
                      <a:pt x="125" y="302"/>
                    </a:cubicBezTo>
                    <a:cubicBezTo>
                      <a:pt x="125" y="303"/>
                      <a:pt x="125" y="303"/>
                      <a:pt x="125" y="303"/>
                    </a:cubicBezTo>
                    <a:cubicBezTo>
                      <a:pt x="126" y="305"/>
                      <a:pt x="126" y="305"/>
                      <a:pt x="126" y="305"/>
                    </a:cubicBezTo>
                    <a:cubicBezTo>
                      <a:pt x="126" y="305"/>
                      <a:pt x="127" y="306"/>
                      <a:pt x="127" y="306"/>
                    </a:cubicBezTo>
                    <a:cubicBezTo>
                      <a:pt x="127" y="307"/>
                      <a:pt x="128" y="307"/>
                      <a:pt x="128" y="308"/>
                    </a:cubicBezTo>
                    <a:cubicBezTo>
                      <a:pt x="129" y="308"/>
                      <a:pt x="129" y="309"/>
                      <a:pt x="129" y="309"/>
                    </a:cubicBezTo>
                    <a:cubicBezTo>
                      <a:pt x="129" y="309"/>
                      <a:pt x="130" y="310"/>
                      <a:pt x="130" y="311"/>
                    </a:cubicBezTo>
                    <a:cubicBezTo>
                      <a:pt x="131" y="311"/>
                      <a:pt x="131" y="312"/>
                      <a:pt x="131" y="312"/>
                    </a:cubicBezTo>
                    <a:cubicBezTo>
                      <a:pt x="132" y="313"/>
                      <a:pt x="133" y="314"/>
                      <a:pt x="133" y="314"/>
                    </a:cubicBezTo>
                    <a:cubicBezTo>
                      <a:pt x="133" y="314"/>
                      <a:pt x="134" y="314"/>
                      <a:pt x="134" y="315"/>
                    </a:cubicBezTo>
                    <a:cubicBezTo>
                      <a:pt x="135" y="315"/>
                      <a:pt x="135" y="315"/>
                      <a:pt x="136" y="316"/>
                    </a:cubicBezTo>
                    <a:cubicBezTo>
                      <a:pt x="136" y="316"/>
                      <a:pt x="137" y="317"/>
                      <a:pt x="137" y="317"/>
                    </a:cubicBezTo>
                    <a:cubicBezTo>
                      <a:pt x="138" y="318"/>
                      <a:pt x="138" y="318"/>
                      <a:pt x="139" y="318"/>
                    </a:cubicBezTo>
                    <a:cubicBezTo>
                      <a:pt x="139" y="319"/>
                      <a:pt x="140" y="319"/>
                      <a:pt x="140" y="319"/>
                    </a:cubicBezTo>
                    <a:cubicBezTo>
                      <a:pt x="141" y="319"/>
                      <a:pt x="141" y="320"/>
                      <a:pt x="142" y="320"/>
                    </a:cubicBezTo>
                    <a:cubicBezTo>
                      <a:pt x="142" y="320"/>
                      <a:pt x="143" y="321"/>
                      <a:pt x="144" y="321"/>
                    </a:cubicBezTo>
                    <a:cubicBezTo>
                      <a:pt x="144" y="321"/>
                      <a:pt x="145" y="322"/>
                      <a:pt x="146" y="322"/>
                    </a:cubicBezTo>
                    <a:cubicBezTo>
                      <a:pt x="147" y="322"/>
                      <a:pt x="147" y="322"/>
                      <a:pt x="148" y="323"/>
                    </a:cubicBezTo>
                    <a:cubicBezTo>
                      <a:pt x="148" y="323"/>
                      <a:pt x="150" y="323"/>
                      <a:pt x="150" y="324"/>
                    </a:cubicBezTo>
                    <a:cubicBezTo>
                      <a:pt x="150" y="324"/>
                      <a:pt x="151" y="324"/>
                      <a:pt x="152" y="324"/>
                    </a:cubicBezTo>
                    <a:cubicBezTo>
                      <a:pt x="152" y="325"/>
                      <a:pt x="153" y="325"/>
                      <a:pt x="154" y="325"/>
                    </a:cubicBezTo>
                    <a:cubicBezTo>
                      <a:pt x="155" y="325"/>
                      <a:pt x="156" y="325"/>
                      <a:pt x="156" y="325"/>
                    </a:cubicBezTo>
                    <a:cubicBezTo>
                      <a:pt x="157" y="326"/>
                      <a:pt x="157" y="326"/>
                      <a:pt x="158" y="326"/>
                    </a:cubicBezTo>
                    <a:cubicBezTo>
                      <a:pt x="158" y="327"/>
                      <a:pt x="159" y="327"/>
                      <a:pt x="160" y="327"/>
                    </a:cubicBezTo>
                    <a:cubicBezTo>
                      <a:pt x="161" y="328"/>
                      <a:pt x="162" y="328"/>
                      <a:pt x="162" y="328"/>
                    </a:cubicBezTo>
                    <a:cubicBezTo>
                      <a:pt x="162" y="329"/>
                      <a:pt x="166" y="330"/>
                      <a:pt x="166" y="330"/>
                    </a:cubicBezTo>
                    <a:cubicBezTo>
                      <a:pt x="168" y="332"/>
                      <a:pt x="168" y="332"/>
                      <a:pt x="168" y="332"/>
                    </a:cubicBezTo>
                    <a:cubicBezTo>
                      <a:pt x="168" y="332"/>
                      <a:pt x="169" y="332"/>
                      <a:pt x="170" y="333"/>
                    </a:cubicBezTo>
                    <a:cubicBezTo>
                      <a:pt x="171" y="333"/>
                      <a:pt x="171" y="333"/>
                      <a:pt x="172" y="334"/>
                    </a:cubicBezTo>
                    <a:cubicBezTo>
                      <a:pt x="172" y="334"/>
                      <a:pt x="173" y="335"/>
                      <a:pt x="174" y="335"/>
                    </a:cubicBezTo>
                    <a:cubicBezTo>
                      <a:pt x="174" y="335"/>
                      <a:pt x="175" y="336"/>
                      <a:pt x="176" y="337"/>
                    </a:cubicBezTo>
                    <a:cubicBezTo>
                      <a:pt x="177" y="337"/>
                      <a:pt x="178" y="338"/>
                      <a:pt x="179" y="338"/>
                    </a:cubicBezTo>
                    <a:cubicBezTo>
                      <a:pt x="179" y="338"/>
                      <a:pt x="180" y="339"/>
                      <a:pt x="180" y="339"/>
                    </a:cubicBezTo>
                    <a:cubicBezTo>
                      <a:pt x="180" y="339"/>
                      <a:pt x="180" y="341"/>
                      <a:pt x="180" y="341"/>
                    </a:cubicBezTo>
                    <a:cubicBezTo>
                      <a:pt x="180" y="341"/>
                      <a:pt x="182" y="341"/>
                      <a:pt x="182" y="342"/>
                    </a:cubicBezTo>
                    <a:cubicBezTo>
                      <a:pt x="183" y="342"/>
                      <a:pt x="183" y="342"/>
                      <a:pt x="184" y="343"/>
                    </a:cubicBezTo>
                    <a:cubicBezTo>
                      <a:pt x="184" y="343"/>
                      <a:pt x="185" y="343"/>
                      <a:pt x="186" y="343"/>
                    </a:cubicBezTo>
                    <a:cubicBezTo>
                      <a:pt x="186" y="344"/>
                      <a:pt x="185" y="343"/>
                      <a:pt x="187" y="344"/>
                    </a:cubicBezTo>
                    <a:cubicBezTo>
                      <a:pt x="190" y="345"/>
                      <a:pt x="190" y="345"/>
                      <a:pt x="190" y="345"/>
                    </a:cubicBezTo>
                    <a:cubicBezTo>
                      <a:pt x="191" y="345"/>
                      <a:pt x="191" y="346"/>
                      <a:pt x="191" y="346"/>
                    </a:cubicBezTo>
                    <a:cubicBezTo>
                      <a:pt x="192" y="346"/>
                      <a:pt x="194" y="347"/>
                      <a:pt x="194" y="347"/>
                    </a:cubicBezTo>
                    <a:cubicBezTo>
                      <a:pt x="194" y="347"/>
                      <a:pt x="194" y="347"/>
                      <a:pt x="195" y="347"/>
                    </a:cubicBezTo>
                    <a:cubicBezTo>
                      <a:pt x="196" y="346"/>
                      <a:pt x="197" y="346"/>
                      <a:pt x="197" y="346"/>
                    </a:cubicBezTo>
                    <a:cubicBezTo>
                      <a:pt x="199" y="347"/>
                      <a:pt x="199" y="347"/>
                      <a:pt x="199" y="347"/>
                    </a:cubicBezTo>
                    <a:cubicBezTo>
                      <a:pt x="199" y="347"/>
                      <a:pt x="199" y="346"/>
                      <a:pt x="200" y="346"/>
                    </a:cubicBezTo>
                    <a:cubicBezTo>
                      <a:pt x="201" y="346"/>
                      <a:pt x="201" y="346"/>
                      <a:pt x="201" y="346"/>
                    </a:cubicBezTo>
                    <a:cubicBezTo>
                      <a:pt x="201" y="346"/>
                      <a:pt x="201" y="346"/>
                      <a:pt x="202" y="346"/>
                    </a:cubicBezTo>
                    <a:cubicBezTo>
                      <a:pt x="203" y="346"/>
                      <a:pt x="203" y="346"/>
                      <a:pt x="203" y="347"/>
                    </a:cubicBezTo>
                    <a:cubicBezTo>
                      <a:pt x="204" y="347"/>
                      <a:pt x="204" y="347"/>
                      <a:pt x="204" y="347"/>
                    </a:cubicBezTo>
                    <a:cubicBezTo>
                      <a:pt x="205" y="347"/>
                      <a:pt x="205" y="348"/>
                      <a:pt x="206" y="347"/>
                    </a:cubicBezTo>
                    <a:cubicBezTo>
                      <a:pt x="207" y="346"/>
                      <a:pt x="208" y="346"/>
                      <a:pt x="208" y="346"/>
                    </a:cubicBezTo>
                    <a:cubicBezTo>
                      <a:pt x="209" y="346"/>
                      <a:pt x="207" y="346"/>
                      <a:pt x="209" y="346"/>
                    </a:cubicBezTo>
                    <a:cubicBezTo>
                      <a:pt x="211" y="346"/>
                      <a:pt x="212" y="346"/>
                      <a:pt x="212" y="346"/>
                    </a:cubicBezTo>
                    <a:cubicBezTo>
                      <a:pt x="213" y="346"/>
                      <a:pt x="213" y="347"/>
                      <a:pt x="214" y="347"/>
                    </a:cubicBezTo>
                    <a:cubicBezTo>
                      <a:pt x="215" y="347"/>
                      <a:pt x="215" y="347"/>
                      <a:pt x="216" y="346"/>
                    </a:cubicBezTo>
                    <a:cubicBezTo>
                      <a:pt x="217" y="346"/>
                      <a:pt x="216" y="345"/>
                      <a:pt x="217" y="345"/>
                    </a:cubicBezTo>
                    <a:cubicBezTo>
                      <a:pt x="218" y="345"/>
                      <a:pt x="218" y="345"/>
                      <a:pt x="219" y="345"/>
                    </a:cubicBezTo>
                    <a:cubicBezTo>
                      <a:pt x="220" y="346"/>
                      <a:pt x="220" y="346"/>
                      <a:pt x="220" y="346"/>
                    </a:cubicBezTo>
                    <a:cubicBezTo>
                      <a:pt x="221" y="346"/>
                      <a:pt x="221" y="346"/>
                      <a:pt x="221" y="346"/>
                    </a:cubicBezTo>
                    <a:cubicBezTo>
                      <a:pt x="221" y="344"/>
                      <a:pt x="221" y="344"/>
                      <a:pt x="221" y="344"/>
                    </a:cubicBezTo>
                    <a:cubicBezTo>
                      <a:pt x="221" y="344"/>
                      <a:pt x="221" y="344"/>
                      <a:pt x="221" y="344"/>
                    </a:cubicBezTo>
                    <a:cubicBezTo>
                      <a:pt x="221" y="344"/>
                      <a:pt x="220" y="344"/>
                      <a:pt x="220" y="344"/>
                    </a:cubicBezTo>
                    <a:cubicBezTo>
                      <a:pt x="220" y="344"/>
                      <a:pt x="219" y="340"/>
                      <a:pt x="223" y="341"/>
                    </a:cubicBezTo>
                    <a:cubicBezTo>
                      <a:pt x="223" y="341"/>
                      <a:pt x="225" y="336"/>
                      <a:pt x="227" y="336"/>
                    </a:cubicBezTo>
                    <a:cubicBezTo>
                      <a:pt x="227" y="336"/>
                      <a:pt x="232" y="337"/>
                      <a:pt x="234" y="335"/>
                    </a:cubicBezTo>
                    <a:cubicBezTo>
                      <a:pt x="234" y="335"/>
                      <a:pt x="237" y="333"/>
                      <a:pt x="238" y="335"/>
                    </a:cubicBezTo>
                    <a:cubicBezTo>
                      <a:pt x="241" y="337"/>
                      <a:pt x="241" y="337"/>
                      <a:pt x="241" y="337"/>
                    </a:cubicBezTo>
                    <a:cubicBezTo>
                      <a:pt x="241" y="337"/>
                      <a:pt x="242" y="341"/>
                      <a:pt x="243" y="337"/>
                    </a:cubicBezTo>
                    <a:cubicBezTo>
                      <a:pt x="243" y="337"/>
                      <a:pt x="247" y="334"/>
                      <a:pt x="250" y="337"/>
                    </a:cubicBezTo>
                    <a:cubicBezTo>
                      <a:pt x="250" y="337"/>
                      <a:pt x="251" y="340"/>
                      <a:pt x="253" y="340"/>
                    </a:cubicBezTo>
                    <a:cubicBezTo>
                      <a:pt x="253" y="340"/>
                      <a:pt x="254" y="342"/>
                      <a:pt x="255" y="339"/>
                    </a:cubicBezTo>
                    <a:cubicBezTo>
                      <a:pt x="255" y="339"/>
                      <a:pt x="262" y="340"/>
                      <a:pt x="261" y="337"/>
                    </a:cubicBezTo>
                    <a:cubicBezTo>
                      <a:pt x="261" y="337"/>
                      <a:pt x="260" y="333"/>
                      <a:pt x="264" y="333"/>
                    </a:cubicBezTo>
                    <a:cubicBezTo>
                      <a:pt x="264" y="334"/>
                      <a:pt x="274" y="333"/>
                      <a:pt x="274" y="332"/>
                    </a:cubicBezTo>
                    <a:cubicBezTo>
                      <a:pt x="274" y="332"/>
                      <a:pt x="285" y="333"/>
                      <a:pt x="285" y="331"/>
                    </a:cubicBezTo>
                    <a:cubicBezTo>
                      <a:pt x="286" y="330"/>
                      <a:pt x="288" y="329"/>
                      <a:pt x="292" y="330"/>
                    </a:cubicBezTo>
                    <a:cubicBezTo>
                      <a:pt x="292" y="329"/>
                      <a:pt x="296" y="328"/>
                      <a:pt x="294" y="324"/>
                    </a:cubicBezTo>
                    <a:cubicBezTo>
                      <a:pt x="294" y="324"/>
                      <a:pt x="300" y="322"/>
                      <a:pt x="294" y="320"/>
                    </a:cubicBezTo>
                    <a:cubicBezTo>
                      <a:pt x="294" y="320"/>
                      <a:pt x="296" y="317"/>
                      <a:pt x="300" y="318"/>
                    </a:cubicBezTo>
                    <a:cubicBezTo>
                      <a:pt x="300" y="318"/>
                      <a:pt x="299" y="312"/>
                      <a:pt x="294" y="311"/>
                    </a:cubicBezTo>
                    <a:cubicBezTo>
                      <a:pt x="295" y="311"/>
                      <a:pt x="290" y="306"/>
                      <a:pt x="294" y="306"/>
                    </a:cubicBezTo>
                    <a:cubicBezTo>
                      <a:pt x="294" y="306"/>
                      <a:pt x="300" y="305"/>
                      <a:pt x="300" y="302"/>
                    </a:cubicBezTo>
                    <a:cubicBezTo>
                      <a:pt x="303" y="299"/>
                      <a:pt x="303" y="299"/>
                      <a:pt x="303" y="299"/>
                    </a:cubicBezTo>
                    <a:cubicBezTo>
                      <a:pt x="303" y="299"/>
                      <a:pt x="303" y="295"/>
                      <a:pt x="307" y="295"/>
                    </a:cubicBezTo>
                    <a:cubicBezTo>
                      <a:pt x="307" y="295"/>
                      <a:pt x="311" y="292"/>
                      <a:pt x="313" y="292"/>
                    </a:cubicBezTo>
                    <a:cubicBezTo>
                      <a:pt x="313" y="293"/>
                      <a:pt x="315" y="288"/>
                      <a:pt x="315" y="287"/>
                    </a:cubicBezTo>
                    <a:cubicBezTo>
                      <a:pt x="315" y="287"/>
                      <a:pt x="320" y="283"/>
                      <a:pt x="316" y="28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94" name="Freeform 249">
                <a:extLst>
                  <a:ext uri="{FF2B5EF4-FFF2-40B4-BE49-F238E27FC236}">
                    <a16:creationId xmlns:a16="http://schemas.microsoft.com/office/drawing/2014/main" id="{9D2DB583-1BA5-59C9-BA60-2F1B4C8DBCDD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4275486" y="2823696"/>
                <a:ext cx="1004116" cy="818773"/>
              </a:xfrm>
              <a:custGeom>
                <a:avLst/>
                <a:gdLst>
                  <a:gd name="T0" fmla="*/ 214 w 317"/>
                  <a:gd name="T1" fmla="*/ 6 h 257"/>
                  <a:gd name="T2" fmla="*/ 218 w 317"/>
                  <a:gd name="T3" fmla="*/ 3 h 257"/>
                  <a:gd name="T4" fmla="*/ 217 w 317"/>
                  <a:gd name="T5" fmla="*/ 1 h 257"/>
                  <a:gd name="T6" fmla="*/ 212 w 317"/>
                  <a:gd name="T7" fmla="*/ 2 h 257"/>
                  <a:gd name="T8" fmla="*/ 313 w 317"/>
                  <a:gd name="T9" fmla="*/ 35 h 257"/>
                  <a:gd name="T10" fmla="*/ 299 w 317"/>
                  <a:gd name="T11" fmla="*/ 10 h 257"/>
                  <a:gd name="T12" fmla="*/ 284 w 317"/>
                  <a:gd name="T13" fmla="*/ 4 h 257"/>
                  <a:gd name="T14" fmla="*/ 268 w 317"/>
                  <a:gd name="T15" fmla="*/ 10 h 257"/>
                  <a:gd name="T16" fmla="*/ 255 w 317"/>
                  <a:gd name="T17" fmla="*/ 9 h 257"/>
                  <a:gd name="T18" fmla="*/ 246 w 317"/>
                  <a:gd name="T19" fmla="*/ 13 h 257"/>
                  <a:gd name="T20" fmla="*/ 243 w 317"/>
                  <a:gd name="T21" fmla="*/ 14 h 257"/>
                  <a:gd name="T22" fmla="*/ 236 w 317"/>
                  <a:gd name="T23" fmla="*/ 20 h 257"/>
                  <a:gd name="T24" fmla="*/ 224 w 317"/>
                  <a:gd name="T25" fmla="*/ 17 h 257"/>
                  <a:gd name="T26" fmla="*/ 213 w 317"/>
                  <a:gd name="T27" fmla="*/ 10 h 257"/>
                  <a:gd name="T28" fmla="*/ 202 w 317"/>
                  <a:gd name="T29" fmla="*/ 8 h 257"/>
                  <a:gd name="T30" fmla="*/ 189 w 317"/>
                  <a:gd name="T31" fmla="*/ 9 h 257"/>
                  <a:gd name="T32" fmla="*/ 181 w 317"/>
                  <a:gd name="T33" fmla="*/ 9 h 257"/>
                  <a:gd name="T34" fmla="*/ 172 w 317"/>
                  <a:gd name="T35" fmla="*/ 11 h 257"/>
                  <a:gd name="T36" fmla="*/ 153 w 317"/>
                  <a:gd name="T37" fmla="*/ 27 h 257"/>
                  <a:gd name="T38" fmla="*/ 160 w 317"/>
                  <a:gd name="T39" fmla="*/ 46 h 257"/>
                  <a:gd name="T40" fmla="*/ 148 w 317"/>
                  <a:gd name="T41" fmla="*/ 72 h 257"/>
                  <a:gd name="T42" fmla="*/ 134 w 317"/>
                  <a:gd name="T43" fmla="*/ 88 h 257"/>
                  <a:gd name="T44" fmla="*/ 106 w 317"/>
                  <a:gd name="T45" fmla="*/ 95 h 257"/>
                  <a:gd name="T46" fmla="*/ 69 w 317"/>
                  <a:gd name="T47" fmla="*/ 92 h 257"/>
                  <a:gd name="T48" fmla="*/ 56 w 317"/>
                  <a:gd name="T49" fmla="*/ 85 h 257"/>
                  <a:gd name="T50" fmla="*/ 42 w 317"/>
                  <a:gd name="T51" fmla="*/ 78 h 257"/>
                  <a:gd name="T52" fmla="*/ 25 w 317"/>
                  <a:gd name="T53" fmla="*/ 81 h 257"/>
                  <a:gd name="T54" fmla="*/ 10 w 317"/>
                  <a:gd name="T55" fmla="*/ 103 h 257"/>
                  <a:gd name="T56" fmla="*/ 4 w 317"/>
                  <a:gd name="T57" fmla="*/ 113 h 257"/>
                  <a:gd name="T58" fmla="*/ 22 w 317"/>
                  <a:gd name="T59" fmla="*/ 98 h 257"/>
                  <a:gd name="T60" fmla="*/ 22 w 317"/>
                  <a:gd name="T61" fmla="*/ 112 h 257"/>
                  <a:gd name="T62" fmla="*/ 45 w 317"/>
                  <a:gd name="T63" fmla="*/ 129 h 257"/>
                  <a:gd name="T64" fmla="*/ 63 w 317"/>
                  <a:gd name="T65" fmla="*/ 149 h 257"/>
                  <a:gd name="T66" fmla="*/ 78 w 317"/>
                  <a:gd name="T67" fmla="*/ 161 h 257"/>
                  <a:gd name="T68" fmla="*/ 111 w 317"/>
                  <a:gd name="T69" fmla="*/ 154 h 257"/>
                  <a:gd name="T70" fmla="*/ 124 w 317"/>
                  <a:gd name="T71" fmla="*/ 188 h 257"/>
                  <a:gd name="T72" fmla="*/ 144 w 317"/>
                  <a:gd name="T73" fmla="*/ 205 h 257"/>
                  <a:gd name="T74" fmla="*/ 158 w 317"/>
                  <a:gd name="T75" fmla="*/ 218 h 257"/>
                  <a:gd name="T76" fmla="*/ 171 w 317"/>
                  <a:gd name="T77" fmla="*/ 218 h 257"/>
                  <a:gd name="T78" fmla="*/ 194 w 317"/>
                  <a:gd name="T79" fmla="*/ 210 h 257"/>
                  <a:gd name="T80" fmla="*/ 223 w 317"/>
                  <a:gd name="T81" fmla="*/ 214 h 257"/>
                  <a:gd name="T82" fmla="*/ 235 w 317"/>
                  <a:gd name="T83" fmla="*/ 235 h 257"/>
                  <a:gd name="T84" fmla="*/ 259 w 317"/>
                  <a:gd name="T85" fmla="*/ 237 h 257"/>
                  <a:gd name="T86" fmla="*/ 279 w 317"/>
                  <a:gd name="T87" fmla="*/ 226 h 257"/>
                  <a:gd name="T88" fmla="*/ 294 w 317"/>
                  <a:gd name="T89" fmla="*/ 198 h 257"/>
                  <a:gd name="T90" fmla="*/ 279 w 317"/>
                  <a:gd name="T91" fmla="*/ 180 h 257"/>
                  <a:gd name="T92" fmla="*/ 259 w 317"/>
                  <a:gd name="T93" fmla="*/ 149 h 257"/>
                  <a:gd name="T94" fmla="*/ 281 w 317"/>
                  <a:gd name="T95" fmla="*/ 133 h 257"/>
                  <a:gd name="T96" fmla="*/ 290 w 317"/>
                  <a:gd name="T97" fmla="*/ 98 h 257"/>
                  <a:gd name="T98" fmla="*/ 299 w 317"/>
                  <a:gd name="T99" fmla="*/ 66 h 257"/>
                  <a:gd name="T100" fmla="*/ 317 w 317"/>
                  <a:gd name="T101" fmla="*/ 38 h 25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317"/>
                  <a:gd name="T154" fmla="*/ 0 h 257"/>
                  <a:gd name="T155" fmla="*/ 317 w 317"/>
                  <a:gd name="T156" fmla="*/ 257 h 25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317" h="257">
                    <a:moveTo>
                      <a:pt x="212" y="8"/>
                    </a:moveTo>
                    <a:cubicBezTo>
                      <a:pt x="213" y="7"/>
                      <a:pt x="213" y="7"/>
                      <a:pt x="213" y="7"/>
                    </a:cubicBezTo>
                    <a:cubicBezTo>
                      <a:pt x="213" y="7"/>
                      <a:pt x="213" y="7"/>
                      <a:pt x="213" y="7"/>
                    </a:cubicBezTo>
                    <a:cubicBezTo>
                      <a:pt x="214" y="7"/>
                      <a:pt x="214" y="7"/>
                      <a:pt x="214" y="7"/>
                    </a:cubicBezTo>
                    <a:cubicBezTo>
                      <a:pt x="214" y="6"/>
                      <a:pt x="214" y="6"/>
                      <a:pt x="214" y="6"/>
                    </a:cubicBezTo>
                    <a:cubicBezTo>
                      <a:pt x="215" y="6"/>
                      <a:pt x="215" y="6"/>
                      <a:pt x="215" y="6"/>
                    </a:cubicBezTo>
                    <a:cubicBezTo>
                      <a:pt x="215" y="4"/>
                      <a:pt x="215" y="4"/>
                      <a:pt x="215" y="4"/>
                    </a:cubicBezTo>
                    <a:cubicBezTo>
                      <a:pt x="216" y="4"/>
                      <a:pt x="216" y="4"/>
                      <a:pt x="216" y="4"/>
                    </a:cubicBezTo>
                    <a:cubicBezTo>
                      <a:pt x="216" y="4"/>
                      <a:pt x="217" y="3"/>
                      <a:pt x="217" y="3"/>
                    </a:cubicBezTo>
                    <a:cubicBezTo>
                      <a:pt x="217" y="3"/>
                      <a:pt x="218" y="3"/>
                      <a:pt x="218" y="3"/>
                    </a:cubicBezTo>
                    <a:cubicBezTo>
                      <a:pt x="219" y="2"/>
                      <a:pt x="219" y="2"/>
                      <a:pt x="219" y="2"/>
                    </a:cubicBezTo>
                    <a:cubicBezTo>
                      <a:pt x="220" y="2"/>
                      <a:pt x="220" y="2"/>
                      <a:pt x="220" y="2"/>
                    </a:cubicBezTo>
                    <a:cubicBezTo>
                      <a:pt x="218" y="0"/>
                      <a:pt x="218" y="0"/>
                      <a:pt x="218" y="0"/>
                    </a:cubicBezTo>
                    <a:cubicBezTo>
                      <a:pt x="218" y="0"/>
                      <a:pt x="218" y="0"/>
                      <a:pt x="218" y="0"/>
                    </a:cubicBezTo>
                    <a:cubicBezTo>
                      <a:pt x="217" y="1"/>
                      <a:pt x="217" y="1"/>
                      <a:pt x="217" y="1"/>
                    </a:cubicBezTo>
                    <a:cubicBezTo>
                      <a:pt x="215" y="2"/>
                      <a:pt x="215" y="2"/>
                      <a:pt x="215" y="2"/>
                    </a:cubicBezTo>
                    <a:cubicBezTo>
                      <a:pt x="214" y="2"/>
                      <a:pt x="214" y="2"/>
                      <a:pt x="214" y="2"/>
                    </a:cubicBezTo>
                    <a:cubicBezTo>
                      <a:pt x="213" y="2"/>
                      <a:pt x="213" y="2"/>
                      <a:pt x="213" y="2"/>
                    </a:cubicBezTo>
                    <a:cubicBezTo>
                      <a:pt x="212" y="2"/>
                      <a:pt x="212" y="2"/>
                      <a:pt x="212" y="2"/>
                    </a:cubicBezTo>
                    <a:cubicBezTo>
                      <a:pt x="212" y="2"/>
                      <a:pt x="212" y="2"/>
                      <a:pt x="212" y="2"/>
                    </a:cubicBezTo>
                    <a:cubicBezTo>
                      <a:pt x="212" y="3"/>
                      <a:pt x="212" y="4"/>
                      <a:pt x="212" y="4"/>
                    </a:cubicBezTo>
                    <a:cubicBezTo>
                      <a:pt x="212" y="6"/>
                      <a:pt x="212" y="6"/>
                      <a:pt x="212" y="6"/>
                    </a:cubicBezTo>
                    <a:cubicBezTo>
                      <a:pt x="211" y="7"/>
                      <a:pt x="211" y="7"/>
                      <a:pt x="211" y="7"/>
                    </a:cubicBezTo>
                    <a:cubicBezTo>
                      <a:pt x="211" y="7"/>
                      <a:pt x="211" y="8"/>
                      <a:pt x="212" y="8"/>
                    </a:cubicBezTo>
                    <a:close/>
                    <a:moveTo>
                      <a:pt x="313" y="35"/>
                    </a:moveTo>
                    <a:cubicBezTo>
                      <a:pt x="313" y="35"/>
                      <a:pt x="309" y="30"/>
                      <a:pt x="308" y="30"/>
                    </a:cubicBezTo>
                    <a:cubicBezTo>
                      <a:pt x="307" y="30"/>
                      <a:pt x="304" y="26"/>
                      <a:pt x="302" y="30"/>
                    </a:cubicBezTo>
                    <a:cubicBezTo>
                      <a:pt x="302" y="30"/>
                      <a:pt x="295" y="34"/>
                      <a:pt x="294" y="29"/>
                    </a:cubicBezTo>
                    <a:cubicBezTo>
                      <a:pt x="294" y="30"/>
                      <a:pt x="292" y="16"/>
                      <a:pt x="296" y="16"/>
                    </a:cubicBezTo>
                    <a:cubicBezTo>
                      <a:pt x="297" y="16"/>
                      <a:pt x="296" y="10"/>
                      <a:pt x="299" y="10"/>
                    </a:cubicBezTo>
                    <a:cubicBezTo>
                      <a:pt x="299" y="10"/>
                      <a:pt x="302" y="6"/>
                      <a:pt x="302" y="4"/>
                    </a:cubicBezTo>
                    <a:cubicBezTo>
                      <a:pt x="302" y="4"/>
                      <a:pt x="299" y="1"/>
                      <a:pt x="294" y="3"/>
                    </a:cubicBezTo>
                    <a:cubicBezTo>
                      <a:pt x="294" y="3"/>
                      <a:pt x="293" y="6"/>
                      <a:pt x="290" y="3"/>
                    </a:cubicBezTo>
                    <a:cubicBezTo>
                      <a:pt x="290" y="3"/>
                      <a:pt x="288" y="3"/>
                      <a:pt x="285" y="3"/>
                    </a:cubicBezTo>
                    <a:cubicBezTo>
                      <a:pt x="285" y="3"/>
                      <a:pt x="284" y="4"/>
                      <a:pt x="284" y="4"/>
                    </a:cubicBezTo>
                    <a:cubicBezTo>
                      <a:pt x="283" y="4"/>
                      <a:pt x="282" y="5"/>
                      <a:pt x="281" y="5"/>
                    </a:cubicBezTo>
                    <a:cubicBezTo>
                      <a:pt x="280" y="5"/>
                      <a:pt x="279" y="6"/>
                      <a:pt x="278" y="6"/>
                    </a:cubicBezTo>
                    <a:cubicBezTo>
                      <a:pt x="278" y="6"/>
                      <a:pt x="275" y="8"/>
                      <a:pt x="274" y="8"/>
                    </a:cubicBezTo>
                    <a:cubicBezTo>
                      <a:pt x="273" y="8"/>
                      <a:pt x="271" y="9"/>
                      <a:pt x="270" y="9"/>
                    </a:cubicBezTo>
                    <a:cubicBezTo>
                      <a:pt x="269" y="9"/>
                      <a:pt x="268" y="10"/>
                      <a:pt x="268" y="10"/>
                    </a:cubicBezTo>
                    <a:cubicBezTo>
                      <a:pt x="267" y="10"/>
                      <a:pt x="267" y="10"/>
                      <a:pt x="265" y="10"/>
                    </a:cubicBezTo>
                    <a:cubicBezTo>
                      <a:pt x="264" y="10"/>
                      <a:pt x="262" y="10"/>
                      <a:pt x="262" y="9"/>
                    </a:cubicBezTo>
                    <a:cubicBezTo>
                      <a:pt x="261" y="9"/>
                      <a:pt x="260" y="8"/>
                      <a:pt x="259" y="8"/>
                    </a:cubicBezTo>
                    <a:cubicBezTo>
                      <a:pt x="259" y="8"/>
                      <a:pt x="259" y="7"/>
                      <a:pt x="258" y="7"/>
                    </a:cubicBezTo>
                    <a:cubicBezTo>
                      <a:pt x="258" y="7"/>
                      <a:pt x="256" y="8"/>
                      <a:pt x="255" y="9"/>
                    </a:cubicBezTo>
                    <a:cubicBezTo>
                      <a:pt x="255" y="9"/>
                      <a:pt x="253" y="9"/>
                      <a:pt x="253" y="10"/>
                    </a:cubicBezTo>
                    <a:cubicBezTo>
                      <a:pt x="252" y="10"/>
                      <a:pt x="250" y="10"/>
                      <a:pt x="250" y="10"/>
                    </a:cubicBezTo>
                    <a:cubicBezTo>
                      <a:pt x="249" y="10"/>
                      <a:pt x="248" y="10"/>
                      <a:pt x="248" y="10"/>
                    </a:cubicBezTo>
                    <a:cubicBezTo>
                      <a:pt x="248" y="11"/>
                      <a:pt x="248" y="12"/>
                      <a:pt x="248" y="12"/>
                    </a:cubicBezTo>
                    <a:cubicBezTo>
                      <a:pt x="248" y="12"/>
                      <a:pt x="247" y="13"/>
                      <a:pt x="246" y="13"/>
                    </a:cubicBezTo>
                    <a:cubicBezTo>
                      <a:pt x="245" y="13"/>
                      <a:pt x="245" y="12"/>
                      <a:pt x="245" y="12"/>
                    </a:cubicBezTo>
                    <a:cubicBezTo>
                      <a:pt x="244" y="11"/>
                      <a:pt x="244" y="11"/>
                      <a:pt x="244" y="11"/>
                    </a:cubicBezTo>
                    <a:cubicBezTo>
                      <a:pt x="242" y="11"/>
                      <a:pt x="242" y="11"/>
                      <a:pt x="242" y="11"/>
                    </a:cubicBezTo>
                    <a:cubicBezTo>
                      <a:pt x="242" y="12"/>
                      <a:pt x="242" y="12"/>
                      <a:pt x="242" y="12"/>
                    </a:cubicBezTo>
                    <a:cubicBezTo>
                      <a:pt x="243" y="14"/>
                      <a:pt x="243" y="14"/>
                      <a:pt x="243" y="14"/>
                    </a:cubicBezTo>
                    <a:cubicBezTo>
                      <a:pt x="243" y="14"/>
                      <a:pt x="243" y="14"/>
                      <a:pt x="243" y="15"/>
                    </a:cubicBezTo>
                    <a:cubicBezTo>
                      <a:pt x="243" y="15"/>
                      <a:pt x="242" y="17"/>
                      <a:pt x="242" y="17"/>
                    </a:cubicBezTo>
                    <a:cubicBezTo>
                      <a:pt x="241" y="18"/>
                      <a:pt x="241" y="18"/>
                      <a:pt x="241" y="18"/>
                    </a:cubicBezTo>
                    <a:cubicBezTo>
                      <a:pt x="241" y="18"/>
                      <a:pt x="238" y="19"/>
                      <a:pt x="238" y="19"/>
                    </a:cubicBezTo>
                    <a:cubicBezTo>
                      <a:pt x="238" y="20"/>
                      <a:pt x="236" y="20"/>
                      <a:pt x="236" y="20"/>
                    </a:cubicBezTo>
                    <a:cubicBezTo>
                      <a:pt x="236" y="20"/>
                      <a:pt x="235" y="20"/>
                      <a:pt x="234" y="19"/>
                    </a:cubicBezTo>
                    <a:cubicBezTo>
                      <a:pt x="233" y="18"/>
                      <a:pt x="232" y="18"/>
                      <a:pt x="232" y="18"/>
                    </a:cubicBezTo>
                    <a:cubicBezTo>
                      <a:pt x="231" y="17"/>
                      <a:pt x="231" y="17"/>
                      <a:pt x="231" y="17"/>
                    </a:cubicBezTo>
                    <a:cubicBezTo>
                      <a:pt x="229" y="17"/>
                      <a:pt x="229" y="17"/>
                      <a:pt x="229" y="17"/>
                    </a:cubicBezTo>
                    <a:cubicBezTo>
                      <a:pt x="224" y="17"/>
                      <a:pt x="224" y="17"/>
                      <a:pt x="224" y="17"/>
                    </a:cubicBezTo>
                    <a:cubicBezTo>
                      <a:pt x="222" y="15"/>
                      <a:pt x="222" y="15"/>
                      <a:pt x="222" y="15"/>
                    </a:cubicBezTo>
                    <a:cubicBezTo>
                      <a:pt x="222" y="15"/>
                      <a:pt x="222" y="13"/>
                      <a:pt x="222" y="13"/>
                    </a:cubicBezTo>
                    <a:cubicBezTo>
                      <a:pt x="222" y="13"/>
                      <a:pt x="221" y="12"/>
                      <a:pt x="220" y="12"/>
                    </a:cubicBezTo>
                    <a:cubicBezTo>
                      <a:pt x="219" y="12"/>
                      <a:pt x="216" y="12"/>
                      <a:pt x="216" y="12"/>
                    </a:cubicBezTo>
                    <a:cubicBezTo>
                      <a:pt x="216" y="11"/>
                      <a:pt x="214" y="11"/>
                      <a:pt x="213" y="10"/>
                    </a:cubicBezTo>
                    <a:cubicBezTo>
                      <a:pt x="213" y="10"/>
                      <a:pt x="212" y="8"/>
                      <a:pt x="212" y="8"/>
                    </a:cubicBezTo>
                    <a:cubicBezTo>
                      <a:pt x="208" y="8"/>
                      <a:pt x="208" y="8"/>
                      <a:pt x="208" y="8"/>
                    </a:cubicBezTo>
                    <a:cubicBezTo>
                      <a:pt x="205" y="8"/>
                      <a:pt x="205" y="8"/>
                      <a:pt x="205" y="8"/>
                    </a:cubicBezTo>
                    <a:cubicBezTo>
                      <a:pt x="204" y="8"/>
                      <a:pt x="204" y="8"/>
                      <a:pt x="204" y="8"/>
                    </a:cubicBezTo>
                    <a:cubicBezTo>
                      <a:pt x="202" y="8"/>
                      <a:pt x="202" y="8"/>
                      <a:pt x="202" y="8"/>
                    </a:cubicBezTo>
                    <a:cubicBezTo>
                      <a:pt x="200" y="9"/>
                      <a:pt x="200" y="9"/>
                      <a:pt x="200" y="9"/>
                    </a:cubicBezTo>
                    <a:cubicBezTo>
                      <a:pt x="199" y="9"/>
                      <a:pt x="199" y="9"/>
                      <a:pt x="199" y="9"/>
                    </a:cubicBezTo>
                    <a:cubicBezTo>
                      <a:pt x="196" y="9"/>
                      <a:pt x="196" y="9"/>
                      <a:pt x="196" y="9"/>
                    </a:cubicBezTo>
                    <a:cubicBezTo>
                      <a:pt x="193" y="8"/>
                      <a:pt x="193" y="8"/>
                      <a:pt x="193" y="8"/>
                    </a:cubicBezTo>
                    <a:cubicBezTo>
                      <a:pt x="193" y="8"/>
                      <a:pt x="190" y="8"/>
                      <a:pt x="189" y="9"/>
                    </a:cubicBezTo>
                    <a:cubicBezTo>
                      <a:pt x="189" y="9"/>
                      <a:pt x="186" y="10"/>
                      <a:pt x="186" y="10"/>
                    </a:cubicBezTo>
                    <a:cubicBezTo>
                      <a:pt x="185" y="9"/>
                      <a:pt x="185" y="9"/>
                      <a:pt x="185" y="9"/>
                    </a:cubicBezTo>
                    <a:cubicBezTo>
                      <a:pt x="186" y="7"/>
                      <a:pt x="186" y="7"/>
                      <a:pt x="186" y="7"/>
                    </a:cubicBezTo>
                    <a:cubicBezTo>
                      <a:pt x="184" y="7"/>
                      <a:pt x="184" y="7"/>
                      <a:pt x="184" y="7"/>
                    </a:cubicBezTo>
                    <a:cubicBezTo>
                      <a:pt x="181" y="9"/>
                      <a:pt x="181" y="9"/>
                      <a:pt x="181" y="9"/>
                    </a:cubicBezTo>
                    <a:cubicBezTo>
                      <a:pt x="181" y="9"/>
                      <a:pt x="182" y="10"/>
                      <a:pt x="182" y="10"/>
                    </a:cubicBezTo>
                    <a:cubicBezTo>
                      <a:pt x="181" y="10"/>
                      <a:pt x="179" y="12"/>
                      <a:pt x="179" y="12"/>
                    </a:cubicBezTo>
                    <a:cubicBezTo>
                      <a:pt x="177" y="13"/>
                      <a:pt x="177" y="13"/>
                      <a:pt x="177" y="13"/>
                    </a:cubicBezTo>
                    <a:cubicBezTo>
                      <a:pt x="174" y="13"/>
                      <a:pt x="174" y="13"/>
                      <a:pt x="174" y="13"/>
                    </a:cubicBezTo>
                    <a:cubicBezTo>
                      <a:pt x="172" y="11"/>
                      <a:pt x="172" y="11"/>
                      <a:pt x="172" y="11"/>
                    </a:cubicBezTo>
                    <a:cubicBezTo>
                      <a:pt x="171" y="11"/>
                      <a:pt x="171" y="11"/>
                      <a:pt x="171" y="11"/>
                    </a:cubicBezTo>
                    <a:cubicBezTo>
                      <a:pt x="170" y="11"/>
                      <a:pt x="167" y="12"/>
                      <a:pt x="167" y="12"/>
                    </a:cubicBezTo>
                    <a:cubicBezTo>
                      <a:pt x="165" y="12"/>
                      <a:pt x="162" y="16"/>
                      <a:pt x="162" y="16"/>
                    </a:cubicBezTo>
                    <a:cubicBezTo>
                      <a:pt x="160" y="16"/>
                      <a:pt x="157" y="20"/>
                      <a:pt x="157" y="20"/>
                    </a:cubicBezTo>
                    <a:cubicBezTo>
                      <a:pt x="155" y="20"/>
                      <a:pt x="154" y="27"/>
                      <a:pt x="153" y="27"/>
                    </a:cubicBezTo>
                    <a:cubicBezTo>
                      <a:pt x="151" y="27"/>
                      <a:pt x="152" y="32"/>
                      <a:pt x="152" y="31"/>
                    </a:cubicBezTo>
                    <a:cubicBezTo>
                      <a:pt x="153" y="32"/>
                      <a:pt x="156" y="36"/>
                      <a:pt x="156" y="36"/>
                    </a:cubicBezTo>
                    <a:cubicBezTo>
                      <a:pt x="156" y="37"/>
                      <a:pt x="156" y="39"/>
                      <a:pt x="156" y="41"/>
                    </a:cubicBezTo>
                    <a:cubicBezTo>
                      <a:pt x="157" y="41"/>
                      <a:pt x="157" y="41"/>
                      <a:pt x="157" y="41"/>
                    </a:cubicBezTo>
                    <a:cubicBezTo>
                      <a:pt x="158" y="44"/>
                      <a:pt x="160" y="46"/>
                      <a:pt x="160" y="46"/>
                    </a:cubicBezTo>
                    <a:cubicBezTo>
                      <a:pt x="163" y="49"/>
                      <a:pt x="160" y="53"/>
                      <a:pt x="160" y="53"/>
                    </a:cubicBezTo>
                    <a:cubicBezTo>
                      <a:pt x="156" y="52"/>
                      <a:pt x="156" y="54"/>
                      <a:pt x="156" y="54"/>
                    </a:cubicBezTo>
                    <a:cubicBezTo>
                      <a:pt x="152" y="57"/>
                      <a:pt x="153" y="65"/>
                      <a:pt x="153" y="65"/>
                    </a:cubicBezTo>
                    <a:cubicBezTo>
                      <a:pt x="152" y="67"/>
                      <a:pt x="152" y="69"/>
                      <a:pt x="151" y="69"/>
                    </a:cubicBezTo>
                    <a:cubicBezTo>
                      <a:pt x="150" y="69"/>
                      <a:pt x="149" y="72"/>
                      <a:pt x="148" y="72"/>
                    </a:cubicBezTo>
                    <a:cubicBezTo>
                      <a:pt x="148" y="72"/>
                      <a:pt x="147" y="75"/>
                      <a:pt x="146" y="75"/>
                    </a:cubicBezTo>
                    <a:cubicBezTo>
                      <a:pt x="144" y="76"/>
                      <a:pt x="143" y="78"/>
                      <a:pt x="143" y="77"/>
                    </a:cubicBezTo>
                    <a:cubicBezTo>
                      <a:pt x="140" y="78"/>
                      <a:pt x="140" y="81"/>
                      <a:pt x="140" y="81"/>
                    </a:cubicBezTo>
                    <a:cubicBezTo>
                      <a:pt x="139" y="81"/>
                      <a:pt x="136" y="84"/>
                      <a:pt x="136" y="84"/>
                    </a:cubicBezTo>
                    <a:cubicBezTo>
                      <a:pt x="136" y="84"/>
                      <a:pt x="133" y="88"/>
                      <a:pt x="134" y="88"/>
                    </a:cubicBezTo>
                    <a:cubicBezTo>
                      <a:pt x="133" y="88"/>
                      <a:pt x="131" y="91"/>
                      <a:pt x="131" y="91"/>
                    </a:cubicBezTo>
                    <a:cubicBezTo>
                      <a:pt x="129" y="93"/>
                      <a:pt x="122" y="92"/>
                      <a:pt x="122" y="92"/>
                    </a:cubicBezTo>
                    <a:cubicBezTo>
                      <a:pt x="120" y="88"/>
                      <a:pt x="119" y="91"/>
                      <a:pt x="119" y="91"/>
                    </a:cubicBezTo>
                    <a:cubicBezTo>
                      <a:pt x="114" y="93"/>
                      <a:pt x="114" y="93"/>
                      <a:pt x="114" y="93"/>
                    </a:cubicBezTo>
                    <a:cubicBezTo>
                      <a:pt x="114" y="94"/>
                      <a:pt x="106" y="95"/>
                      <a:pt x="106" y="95"/>
                    </a:cubicBezTo>
                    <a:cubicBezTo>
                      <a:pt x="106" y="96"/>
                      <a:pt x="101" y="98"/>
                      <a:pt x="101" y="98"/>
                    </a:cubicBezTo>
                    <a:cubicBezTo>
                      <a:pt x="101" y="99"/>
                      <a:pt x="96" y="99"/>
                      <a:pt x="95" y="99"/>
                    </a:cubicBezTo>
                    <a:cubicBezTo>
                      <a:pt x="91" y="101"/>
                      <a:pt x="92" y="95"/>
                      <a:pt x="92" y="95"/>
                    </a:cubicBezTo>
                    <a:cubicBezTo>
                      <a:pt x="91" y="90"/>
                      <a:pt x="72" y="92"/>
                      <a:pt x="72" y="92"/>
                    </a:cubicBezTo>
                    <a:cubicBezTo>
                      <a:pt x="70" y="97"/>
                      <a:pt x="69" y="92"/>
                      <a:pt x="69" y="92"/>
                    </a:cubicBezTo>
                    <a:cubicBezTo>
                      <a:pt x="68" y="93"/>
                      <a:pt x="64" y="91"/>
                      <a:pt x="63" y="91"/>
                    </a:cubicBezTo>
                    <a:cubicBezTo>
                      <a:pt x="62" y="88"/>
                      <a:pt x="58" y="88"/>
                      <a:pt x="58" y="88"/>
                    </a:cubicBezTo>
                    <a:cubicBezTo>
                      <a:pt x="57" y="87"/>
                      <a:pt x="57" y="87"/>
                      <a:pt x="57" y="87"/>
                    </a:cubicBezTo>
                    <a:cubicBezTo>
                      <a:pt x="57" y="86"/>
                      <a:pt x="57" y="86"/>
                      <a:pt x="57" y="86"/>
                    </a:cubicBezTo>
                    <a:cubicBezTo>
                      <a:pt x="56" y="86"/>
                      <a:pt x="56" y="85"/>
                      <a:pt x="56" y="85"/>
                    </a:cubicBezTo>
                    <a:cubicBezTo>
                      <a:pt x="56" y="84"/>
                      <a:pt x="56" y="84"/>
                      <a:pt x="56" y="84"/>
                    </a:cubicBezTo>
                    <a:cubicBezTo>
                      <a:pt x="53" y="84"/>
                      <a:pt x="52" y="84"/>
                      <a:pt x="52" y="84"/>
                    </a:cubicBezTo>
                    <a:cubicBezTo>
                      <a:pt x="49" y="80"/>
                      <a:pt x="49" y="80"/>
                      <a:pt x="49" y="80"/>
                    </a:cubicBezTo>
                    <a:cubicBezTo>
                      <a:pt x="49" y="80"/>
                      <a:pt x="45" y="82"/>
                      <a:pt x="46" y="78"/>
                    </a:cubicBezTo>
                    <a:cubicBezTo>
                      <a:pt x="46" y="78"/>
                      <a:pt x="43" y="75"/>
                      <a:pt x="42" y="78"/>
                    </a:cubicBezTo>
                    <a:cubicBezTo>
                      <a:pt x="42" y="78"/>
                      <a:pt x="34" y="80"/>
                      <a:pt x="37" y="77"/>
                    </a:cubicBezTo>
                    <a:cubicBezTo>
                      <a:pt x="37" y="77"/>
                      <a:pt x="36" y="76"/>
                      <a:pt x="36" y="76"/>
                    </a:cubicBezTo>
                    <a:cubicBezTo>
                      <a:pt x="36" y="75"/>
                      <a:pt x="34" y="78"/>
                      <a:pt x="30" y="76"/>
                    </a:cubicBezTo>
                    <a:cubicBezTo>
                      <a:pt x="31" y="76"/>
                      <a:pt x="28" y="78"/>
                      <a:pt x="28" y="78"/>
                    </a:cubicBezTo>
                    <a:cubicBezTo>
                      <a:pt x="28" y="78"/>
                      <a:pt x="29" y="82"/>
                      <a:pt x="25" y="81"/>
                    </a:cubicBezTo>
                    <a:cubicBezTo>
                      <a:pt x="25" y="81"/>
                      <a:pt x="23" y="84"/>
                      <a:pt x="20" y="84"/>
                    </a:cubicBezTo>
                    <a:cubicBezTo>
                      <a:pt x="18" y="87"/>
                      <a:pt x="18" y="87"/>
                      <a:pt x="18" y="87"/>
                    </a:cubicBezTo>
                    <a:cubicBezTo>
                      <a:pt x="15" y="88"/>
                      <a:pt x="15" y="88"/>
                      <a:pt x="15" y="88"/>
                    </a:cubicBezTo>
                    <a:cubicBezTo>
                      <a:pt x="15" y="88"/>
                      <a:pt x="12" y="89"/>
                      <a:pt x="14" y="101"/>
                    </a:cubicBezTo>
                    <a:cubicBezTo>
                      <a:pt x="13" y="101"/>
                      <a:pt x="10" y="103"/>
                      <a:pt x="10" y="103"/>
                    </a:cubicBezTo>
                    <a:cubicBezTo>
                      <a:pt x="10" y="103"/>
                      <a:pt x="7" y="105"/>
                      <a:pt x="8" y="106"/>
                    </a:cubicBezTo>
                    <a:cubicBezTo>
                      <a:pt x="7" y="106"/>
                      <a:pt x="5" y="108"/>
                      <a:pt x="3" y="107"/>
                    </a:cubicBezTo>
                    <a:cubicBezTo>
                      <a:pt x="4" y="108"/>
                      <a:pt x="0" y="111"/>
                      <a:pt x="3" y="113"/>
                    </a:cubicBezTo>
                    <a:cubicBezTo>
                      <a:pt x="3" y="113"/>
                      <a:pt x="3" y="113"/>
                      <a:pt x="4" y="114"/>
                    </a:cubicBezTo>
                    <a:cubicBezTo>
                      <a:pt x="4" y="113"/>
                      <a:pt x="4" y="113"/>
                      <a:pt x="4" y="113"/>
                    </a:cubicBezTo>
                    <a:cubicBezTo>
                      <a:pt x="8" y="110"/>
                      <a:pt x="8" y="110"/>
                      <a:pt x="8" y="110"/>
                    </a:cubicBezTo>
                    <a:cubicBezTo>
                      <a:pt x="12" y="105"/>
                      <a:pt x="12" y="105"/>
                      <a:pt x="12" y="105"/>
                    </a:cubicBezTo>
                    <a:cubicBezTo>
                      <a:pt x="16" y="102"/>
                      <a:pt x="16" y="102"/>
                      <a:pt x="16" y="102"/>
                    </a:cubicBezTo>
                    <a:cubicBezTo>
                      <a:pt x="18" y="100"/>
                      <a:pt x="18" y="100"/>
                      <a:pt x="18" y="100"/>
                    </a:cubicBezTo>
                    <a:cubicBezTo>
                      <a:pt x="22" y="98"/>
                      <a:pt x="22" y="98"/>
                      <a:pt x="22" y="98"/>
                    </a:cubicBezTo>
                    <a:cubicBezTo>
                      <a:pt x="26" y="98"/>
                      <a:pt x="26" y="98"/>
                      <a:pt x="26" y="98"/>
                    </a:cubicBezTo>
                    <a:cubicBezTo>
                      <a:pt x="27" y="102"/>
                      <a:pt x="27" y="102"/>
                      <a:pt x="27" y="102"/>
                    </a:cubicBezTo>
                    <a:cubicBezTo>
                      <a:pt x="25" y="106"/>
                      <a:pt x="25" y="106"/>
                      <a:pt x="25" y="106"/>
                    </a:cubicBezTo>
                    <a:cubicBezTo>
                      <a:pt x="24" y="110"/>
                      <a:pt x="24" y="110"/>
                      <a:pt x="24" y="110"/>
                    </a:cubicBezTo>
                    <a:cubicBezTo>
                      <a:pt x="22" y="112"/>
                      <a:pt x="22" y="112"/>
                      <a:pt x="22" y="112"/>
                    </a:cubicBezTo>
                    <a:cubicBezTo>
                      <a:pt x="23" y="113"/>
                      <a:pt x="26" y="114"/>
                      <a:pt x="26" y="114"/>
                    </a:cubicBezTo>
                    <a:cubicBezTo>
                      <a:pt x="26" y="114"/>
                      <a:pt x="30" y="114"/>
                      <a:pt x="33" y="119"/>
                    </a:cubicBezTo>
                    <a:cubicBezTo>
                      <a:pt x="36" y="122"/>
                      <a:pt x="36" y="122"/>
                      <a:pt x="36" y="122"/>
                    </a:cubicBezTo>
                    <a:cubicBezTo>
                      <a:pt x="36" y="122"/>
                      <a:pt x="41" y="123"/>
                      <a:pt x="41" y="126"/>
                    </a:cubicBezTo>
                    <a:cubicBezTo>
                      <a:pt x="41" y="126"/>
                      <a:pt x="45" y="127"/>
                      <a:pt x="45" y="129"/>
                    </a:cubicBezTo>
                    <a:cubicBezTo>
                      <a:pt x="45" y="129"/>
                      <a:pt x="49" y="133"/>
                      <a:pt x="49" y="133"/>
                    </a:cubicBezTo>
                    <a:cubicBezTo>
                      <a:pt x="49" y="133"/>
                      <a:pt x="53" y="138"/>
                      <a:pt x="54" y="138"/>
                    </a:cubicBezTo>
                    <a:cubicBezTo>
                      <a:pt x="53" y="138"/>
                      <a:pt x="58" y="142"/>
                      <a:pt x="58" y="143"/>
                    </a:cubicBezTo>
                    <a:cubicBezTo>
                      <a:pt x="58" y="143"/>
                      <a:pt x="64" y="144"/>
                      <a:pt x="64" y="145"/>
                    </a:cubicBezTo>
                    <a:cubicBezTo>
                      <a:pt x="64" y="145"/>
                      <a:pt x="66" y="149"/>
                      <a:pt x="63" y="149"/>
                    </a:cubicBezTo>
                    <a:cubicBezTo>
                      <a:pt x="63" y="149"/>
                      <a:pt x="64" y="161"/>
                      <a:pt x="61" y="159"/>
                    </a:cubicBezTo>
                    <a:cubicBezTo>
                      <a:pt x="61" y="159"/>
                      <a:pt x="59" y="159"/>
                      <a:pt x="58" y="160"/>
                    </a:cubicBezTo>
                    <a:cubicBezTo>
                      <a:pt x="63" y="160"/>
                      <a:pt x="63" y="160"/>
                      <a:pt x="63" y="160"/>
                    </a:cubicBezTo>
                    <a:cubicBezTo>
                      <a:pt x="71" y="159"/>
                      <a:pt x="71" y="159"/>
                      <a:pt x="71" y="159"/>
                    </a:cubicBezTo>
                    <a:cubicBezTo>
                      <a:pt x="78" y="161"/>
                      <a:pt x="78" y="161"/>
                      <a:pt x="78" y="161"/>
                    </a:cubicBezTo>
                    <a:cubicBezTo>
                      <a:pt x="82" y="163"/>
                      <a:pt x="82" y="163"/>
                      <a:pt x="82" y="163"/>
                    </a:cubicBezTo>
                    <a:cubicBezTo>
                      <a:pt x="86" y="161"/>
                      <a:pt x="86" y="161"/>
                      <a:pt x="86" y="161"/>
                    </a:cubicBezTo>
                    <a:cubicBezTo>
                      <a:pt x="95" y="158"/>
                      <a:pt x="95" y="158"/>
                      <a:pt x="95" y="158"/>
                    </a:cubicBezTo>
                    <a:cubicBezTo>
                      <a:pt x="102" y="153"/>
                      <a:pt x="102" y="153"/>
                      <a:pt x="102" y="153"/>
                    </a:cubicBezTo>
                    <a:cubicBezTo>
                      <a:pt x="111" y="154"/>
                      <a:pt x="111" y="154"/>
                      <a:pt x="111" y="154"/>
                    </a:cubicBezTo>
                    <a:cubicBezTo>
                      <a:pt x="117" y="159"/>
                      <a:pt x="117" y="159"/>
                      <a:pt x="117" y="159"/>
                    </a:cubicBezTo>
                    <a:cubicBezTo>
                      <a:pt x="119" y="165"/>
                      <a:pt x="119" y="165"/>
                      <a:pt x="119" y="165"/>
                    </a:cubicBezTo>
                    <a:cubicBezTo>
                      <a:pt x="119" y="177"/>
                      <a:pt x="119" y="177"/>
                      <a:pt x="119" y="177"/>
                    </a:cubicBezTo>
                    <a:cubicBezTo>
                      <a:pt x="121" y="181"/>
                      <a:pt x="121" y="181"/>
                      <a:pt x="121" y="181"/>
                    </a:cubicBezTo>
                    <a:cubicBezTo>
                      <a:pt x="124" y="188"/>
                      <a:pt x="124" y="188"/>
                      <a:pt x="124" y="188"/>
                    </a:cubicBezTo>
                    <a:cubicBezTo>
                      <a:pt x="120" y="195"/>
                      <a:pt x="120" y="195"/>
                      <a:pt x="120" y="195"/>
                    </a:cubicBezTo>
                    <a:cubicBezTo>
                      <a:pt x="120" y="198"/>
                      <a:pt x="120" y="198"/>
                      <a:pt x="120" y="198"/>
                    </a:cubicBezTo>
                    <a:cubicBezTo>
                      <a:pt x="122" y="198"/>
                      <a:pt x="124" y="199"/>
                      <a:pt x="125" y="199"/>
                    </a:cubicBezTo>
                    <a:cubicBezTo>
                      <a:pt x="125" y="200"/>
                      <a:pt x="129" y="202"/>
                      <a:pt x="130" y="202"/>
                    </a:cubicBezTo>
                    <a:cubicBezTo>
                      <a:pt x="130" y="202"/>
                      <a:pt x="143" y="202"/>
                      <a:pt x="144" y="205"/>
                    </a:cubicBezTo>
                    <a:cubicBezTo>
                      <a:pt x="144" y="205"/>
                      <a:pt x="152" y="203"/>
                      <a:pt x="154" y="202"/>
                    </a:cubicBezTo>
                    <a:cubicBezTo>
                      <a:pt x="154" y="202"/>
                      <a:pt x="156" y="203"/>
                      <a:pt x="156" y="207"/>
                    </a:cubicBezTo>
                    <a:cubicBezTo>
                      <a:pt x="156" y="207"/>
                      <a:pt x="160" y="211"/>
                      <a:pt x="157" y="214"/>
                    </a:cubicBezTo>
                    <a:cubicBezTo>
                      <a:pt x="157" y="214"/>
                      <a:pt x="154" y="216"/>
                      <a:pt x="157" y="217"/>
                    </a:cubicBezTo>
                    <a:cubicBezTo>
                      <a:pt x="158" y="218"/>
                      <a:pt x="158" y="218"/>
                      <a:pt x="158" y="218"/>
                    </a:cubicBezTo>
                    <a:cubicBezTo>
                      <a:pt x="158" y="218"/>
                      <a:pt x="157" y="221"/>
                      <a:pt x="161" y="221"/>
                    </a:cubicBezTo>
                    <a:cubicBezTo>
                      <a:pt x="163" y="224"/>
                      <a:pt x="163" y="224"/>
                      <a:pt x="163" y="224"/>
                    </a:cubicBezTo>
                    <a:cubicBezTo>
                      <a:pt x="163" y="224"/>
                      <a:pt x="163" y="227"/>
                      <a:pt x="166" y="225"/>
                    </a:cubicBezTo>
                    <a:cubicBezTo>
                      <a:pt x="168" y="224"/>
                      <a:pt x="168" y="224"/>
                      <a:pt x="168" y="224"/>
                    </a:cubicBezTo>
                    <a:cubicBezTo>
                      <a:pt x="168" y="224"/>
                      <a:pt x="171" y="221"/>
                      <a:pt x="171" y="218"/>
                    </a:cubicBezTo>
                    <a:cubicBezTo>
                      <a:pt x="171" y="219"/>
                      <a:pt x="172" y="215"/>
                      <a:pt x="175" y="216"/>
                    </a:cubicBezTo>
                    <a:cubicBezTo>
                      <a:pt x="177" y="214"/>
                      <a:pt x="177" y="214"/>
                      <a:pt x="177" y="214"/>
                    </a:cubicBezTo>
                    <a:cubicBezTo>
                      <a:pt x="177" y="214"/>
                      <a:pt x="181" y="210"/>
                      <a:pt x="185" y="214"/>
                    </a:cubicBezTo>
                    <a:cubicBezTo>
                      <a:pt x="185" y="214"/>
                      <a:pt x="187" y="211"/>
                      <a:pt x="190" y="212"/>
                    </a:cubicBezTo>
                    <a:cubicBezTo>
                      <a:pt x="190" y="211"/>
                      <a:pt x="193" y="207"/>
                      <a:pt x="194" y="210"/>
                    </a:cubicBezTo>
                    <a:cubicBezTo>
                      <a:pt x="194" y="210"/>
                      <a:pt x="198" y="214"/>
                      <a:pt x="199" y="214"/>
                    </a:cubicBezTo>
                    <a:cubicBezTo>
                      <a:pt x="199" y="214"/>
                      <a:pt x="210" y="219"/>
                      <a:pt x="206" y="214"/>
                    </a:cubicBezTo>
                    <a:cubicBezTo>
                      <a:pt x="206" y="214"/>
                      <a:pt x="210" y="209"/>
                      <a:pt x="211" y="210"/>
                    </a:cubicBezTo>
                    <a:cubicBezTo>
                      <a:pt x="211" y="210"/>
                      <a:pt x="217" y="210"/>
                      <a:pt x="218" y="211"/>
                    </a:cubicBezTo>
                    <a:cubicBezTo>
                      <a:pt x="218" y="211"/>
                      <a:pt x="222" y="211"/>
                      <a:pt x="223" y="214"/>
                    </a:cubicBezTo>
                    <a:cubicBezTo>
                      <a:pt x="223" y="214"/>
                      <a:pt x="226" y="219"/>
                      <a:pt x="223" y="223"/>
                    </a:cubicBezTo>
                    <a:cubicBezTo>
                      <a:pt x="223" y="223"/>
                      <a:pt x="221" y="227"/>
                      <a:pt x="224" y="226"/>
                    </a:cubicBezTo>
                    <a:cubicBezTo>
                      <a:pt x="224" y="226"/>
                      <a:pt x="225" y="229"/>
                      <a:pt x="225" y="231"/>
                    </a:cubicBezTo>
                    <a:cubicBezTo>
                      <a:pt x="225" y="230"/>
                      <a:pt x="229" y="234"/>
                      <a:pt x="232" y="231"/>
                    </a:cubicBezTo>
                    <a:cubicBezTo>
                      <a:pt x="232" y="231"/>
                      <a:pt x="234" y="229"/>
                      <a:pt x="235" y="235"/>
                    </a:cubicBezTo>
                    <a:cubicBezTo>
                      <a:pt x="234" y="235"/>
                      <a:pt x="233" y="257"/>
                      <a:pt x="237" y="247"/>
                    </a:cubicBezTo>
                    <a:cubicBezTo>
                      <a:pt x="237" y="247"/>
                      <a:pt x="243" y="248"/>
                      <a:pt x="241" y="244"/>
                    </a:cubicBezTo>
                    <a:cubicBezTo>
                      <a:pt x="241" y="244"/>
                      <a:pt x="243" y="242"/>
                      <a:pt x="247" y="242"/>
                    </a:cubicBezTo>
                    <a:cubicBezTo>
                      <a:pt x="247" y="242"/>
                      <a:pt x="250" y="240"/>
                      <a:pt x="252" y="240"/>
                    </a:cubicBezTo>
                    <a:cubicBezTo>
                      <a:pt x="252" y="240"/>
                      <a:pt x="252" y="237"/>
                      <a:pt x="259" y="237"/>
                    </a:cubicBezTo>
                    <a:cubicBezTo>
                      <a:pt x="259" y="238"/>
                      <a:pt x="260" y="235"/>
                      <a:pt x="262" y="236"/>
                    </a:cubicBezTo>
                    <a:cubicBezTo>
                      <a:pt x="262" y="236"/>
                      <a:pt x="262" y="233"/>
                      <a:pt x="264" y="233"/>
                    </a:cubicBezTo>
                    <a:cubicBezTo>
                      <a:pt x="265" y="233"/>
                      <a:pt x="267" y="229"/>
                      <a:pt x="270" y="230"/>
                    </a:cubicBezTo>
                    <a:cubicBezTo>
                      <a:pt x="271" y="230"/>
                      <a:pt x="275" y="229"/>
                      <a:pt x="275" y="229"/>
                    </a:cubicBezTo>
                    <a:cubicBezTo>
                      <a:pt x="275" y="229"/>
                      <a:pt x="277" y="225"/>
                      <a:pt x="279" y="226"/>
                    </a:cubicBezTo>
                    <a:cubicBezTo>
                      <a:pt x="279" y="226"/>
                      <a:pt x="282" y="224"/>
                      <a:pt x="283" y="223"/>
                    </a:cubicBezTo>
                    <a:cubicBezTo>
                      <a:pt x="283" y="223"/>
                      <a:pt x="285" y="220"/>
                      <a:pt x="289" y="221"/>
                    </a:cubicBezTo>
                    <a:cubicBezTo>
                      <a:pt x="289" y="221"/>
                      <a:pt x="299" y="218"/>
                      <a:pt x="290" y="217"/>
                    </a:cubicBezTo>
                    <a:cubicBezTo>
                      <a:pt x="290" y="217"/>
                      <a:pt x="286" y="209"/>
                      <a:pt x="290" y="206"/>
                    </a:cubicBezTo>
                    <a:cubicBezTo>
                      <a:pt x="290" y="206"/>
                      <a:pt x="292" y="198"/>
                      <a:pt x="294" y="198"/>
                    </a:cubicBezTo>
                    <a:cubicBezTo>
                      <a:pt x="294" y="198"/>
                      <a:pt x="296" y="194"/>
                      <a:pt x="290" y="195"/>
                    </a:cubicBezTo>
                    <a:cubicBezTo>
                      <a:pt x="290" y="196"/>
                      <a:pt x="287" y="194"/>
                      <a:pt x="288" y="191"/>
                    </a:cubicBezTo>
                    <a:cubicBezTo>
                      <a:pt x="288" y="192"/>
                      <a:pt x="287" y="187"/>
                      <a:pt x="284" y="190"/>
                    </a:cubicBezTo>
                    <a:cubicBezTo>
                      <a:pt x="284" y="190"/>
                      <a:pt x="281" y="187"/>
                      <a:pt x="283" y="185"/>
                    </a:cubicBezTo>
                    <a:cubicBezTo>
                      <a:pt x="283" y="185"/>
                      <a:pt x="278" y="183"/>
                      <a:pt x="279" y="180"/>
                    </a:cubicBezTo>
                    <a:cubicBezTo>
                      <a:pt x="279" y="180"/>
                      <a:pt x="276" y="178"/>
                      <a:pt x="280" y="175"/>
                    </a:cubicBezTo>
                    <a:cubicBezTo>
                      <a:pt x="280" y="175"/>
                      <a:pt x="278" y="168"/>
                      <a:pt x="277" y="168"/>
                    </a:cubicBezTo>
                    <a:cubicBezTo>
                      <a:pt x="277" y="168"/>
                      <a:pt x="273" y="164"/>
                      <a:pt x="272" y="164"/>
                    </a:cubicBezTo>
                    <a:cubicBezTo>
                      <a:pt x="272" y="164"/>
                      <a:pt x="268" y="159"/>
                      <a:pt x="267" y="153"/>
                    </a:cubicBezTo>
                    <a:cubicBezTo>
                      <a:pt x="267" y="153"/>
                      <a:pt x="261" y="148"/>
                      <a:pt x="259" y="149"/>
                    </a:cubicBezTo>
                    <a:cubicBezTo>
                      <a:pt x="259" y="149"/>
                      <a:pt x="257" y="144"/>
                      <a:pt x="263" y="145"/>
                    </a:cubicBezTo>
                    <a:cubicBezTo>
                      <a:pt x="263" y="138"/>
                      <a:pt x="263" y="138"/>
                      <a:pt x="263" y="138"/>
                    </a:cubicBezTo>
                    <a:cubicBezTo>
                      <a:pt x="263" y="138"/>
                      <a:pt x="263" y="133"/>
                      <a:pt x="270" y="136"/>
                    </a:cubicBezTo>
                    <a:cubicBezTo>
                      <a:pt x="270" y="136"/>
                      <a:pt x="271" y="140"/>
                      <a:pt x="275" y="135"/>
                    </a:cubicBezTo>
                    <a:cubicBezTo>
                      <a:pt x="281" y="133"/>
                      <a:pt x="281" y="133"/>
                      <a:pt x="281" y="133"/>
                    </a:cubicBezTo>
                    <a:cubicBezTo>
                      <a:pt x="281" y="133"/>
                      <a:pt x="282" y="128"/>
                      <a:pt x="287" y="129"/>
                    </a:cubicBezTo>
                    <a:cubicBezTo>
                      <a:pt x="287" y="129"/>
                      <a:pt x="286" y="122"/>
                      <a:pt x="290" y="115"/>
                    </a:cubicBezTo>
                    <a:cubicBezTo>
                      <a:pt x="290" y="115"/>
                      <a:pt x="294" y="110"/>
                      <a:pt x="294" y="109"/>
                    </a:cubicBezTo>
                    <a:cubicBezTo>
                      <a:pt x="294" y="109"/>
                      <a:pt x="301" y="103"/>
                      <a:pt x="296" y="102"/>
                    </a:cubicBezTo>
                    <a:cubicBezTo>
                      <a:pt x="296" y="101"/>
                      <a:pt x="290" y="99"/>
                      <a:pt x="290" y="98"/>
                    </a:cubicBezTo>
                    <a:cubicBezTo>
                      <a:pt x="290" y="98"/>
                      <a:pt x="290" y="93"/>
                      <a:pt x="295" y="90"/>
                    </a:cubicBezTo>
                    <a:cubicBezTo>
                      <a:pt x="298" y="88"/>
                      <a:pt x="298" y="88"/>
                      <a:pt x="298" y="88"/>
                    </a:cubicBezTo>
                    <a:cubicBezTo>
                      <a:pt x="298" y="88"/>
                      <a:pt x="295" y="84"/>
                      <a:pt x="299" y="78"/>
                    </a:cubicBezTo>
                    <a:cubicBezTo>
                      <a:pt x="299" y="78"/>
                      <a:pt x="293" y="74"/>
                      <a:pt x="295" y="72"/>
                    </a:cubicBezTo>
                    <a:cubicBezTo>
                      <a:pt x="295" y="72"/>
                      <a:pt x="298" y="66"/>
                      <a:pt x="299" y="66"/>
                    </a:cubicBezTo>
                    <a:cubicBezTo>
                      <a:pt x="299" y="66"/>
                      <a:pt x="294" y="63"/>
                      <a:pt x="300" y="61"/>
                    </a:cubicBezTo>
                    <a:cubicBezTo>
                      <a:pt x="299" y="61"/>
                      <a:pt x="303" y="53"/>
                      <a:pt x="305" y="52"/>
                    </a:cubicBezTo>
                    <a:cubicBezTo>
                      <a:pt x="305" y="51"/>
                      <a:pt x="308" y="45"/>
                      <a:pt x="309" y="45"/>
                    </a:cubicBezTo>
                    <a:cubicBezTo>
                      <a:pt x="310" y="45"/>
                      <a:pt x="312" y="41"/>
                      <a:pt x="313" y="40"/>
                    </a:cubicBezTo>
                    <a:cubicBezTo>
                      <a:pt x="317" y="38"/>
                      <a:pt x="317" y="38"/>
                      <a:pt x="317" y="38"/>
                    </a:cubicBezTo>
                    <a:cubicBezTo>
                      <a:pt x="317" y="38"/>
                      <a:pt x="315" y="35"/>
                      <a:pt x="313" y="3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95" name="Freeform 251">
                <a:extLst>
                  <a:ext uri="{FF2B5EF4-FFF2-40B4-BE49-F238E27FC236}">
                    <a16:creationId xmlns:a16="http://schemas.microsoft.com/office/drawing/2014/main" id="{1AE2DD15-88DB-114B-61BC-973543EE4D0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991989" y="3300390"/>
                <a:ext cx="593917" cy="571716"/>
              </a:xfrm>
              <a:custGeom>
                <a:avLst/>
                <a:gdLst>
                  <a:gd name="T0" fmla="*/ 180 w 187"/>
                  <a:gd name="T1" fmla="*/ 20 h 179"/>
                  <a:gd name="T2" fmla="*/ 179 w 187"/>
                  <a:gd name="T3" fmla="*/ 20 h 179"/>
                  <a:gd name="T4" fmla="*/ 165 w 187"/>
                  <a:gd name="T5" fmla="*/ 26 h 179"/>
                  <a:gd name="T6" fmla="*/ 137 w 187"/>
                  <a:gd name="T7" fmla="*/ 24 h 179"/>
                  <a:gd name="T8" fmla="*/ 109 w 187"/>
                  <a:gd name="T9" fmla="*/ 19 h 179"/>
                  <a:gd name="T10" fmla="*/ 117 w 187"/>
                  <a:gd name="T11" fmla="*/ 3 h 179"/>
                  <a:gd name="T12" fmla="*/ 116 w 187"/>
                  <a:gd name="T13" fmla="*/ 2 h 179"/>
                  <a:gd name="T14" fmla="*/ 113 w 187"/>
                  <a:gd name="T15" fmla="*/ 2 h 179"/>
                  <a:gd name="T16" fmla="*/ 109 w 187"/>
                  <a:gd name="T17" fmla="*/ 5 h 179"/>
                  <a:gd name="T18" fmla="*/ 109 w 187"/>
                  <a:gd name="T19" fmla="*/ 6 h 179"/>
                  <a:gd name="T20" fmla="*/ 109 w 187"/>
                  <a:gd name="T21" fmla="*/ 8 h 179"/>
                  <a:gd name="T22" fmla="*/ 109 w 187"/>
                  <a:gd name="T23" fmla="*/ 9 h 179"/>
                  <a:gd name="T24" fmla="*/ 94 w 187"/>
                  <a:gd name="T25" fmla="*/ 10 h 179"/>
                  <a:gd name="T26" fmla="*/ 87 w 187"/>
                  <a:gd name="T27" fmla="*/ 8 h 179"/>
                  <a:gd name="T28" fmla="*/ 88 w 187"/>
                  <a:gd name="T29" fmla="*/ 5 h 179"/>
                  <a:gd name="T30" fmla="*/ 87 w 187"/>
                  <a:gd name="T31" fmla="*/ 3 h 179"/>
                  <a:gd name="T32" fmla="*/ 85 w 187"/>
                  <a:gd name="T33" fmla="*/ 2 h 179"/>
                  <a:gd name="T34" fmla="*/ 73 w 187"/>
                  <a:gd name="T35" fmla="*/ 7 h 179"/>
                  <a:gd name="T36" fmla="*/ 60 w 187"/>
                  <a:gd name="T37" fmla="*/ 17 h 179"/>
                  <a:gd name="T38" fmla="*/ 54 w 187"/>
                  <a:gd name="T39" fmla="*/ 11 h 179"/>
                  <a:gd name="T40" fmla="*/ 53 w 187"/>
                  <a:gd name="T41" fmla="*/ 10 h 179"/>
                  <a:gd name="T42" fmla="*/ 53 w 187"/>
                  <a:gd name="T43" fmla="*/ 10 h 179"/>
                  <a:gd name="T44" fmla="*/ 33 w 187"/>
                  <a:gd name="T45" fmla="*/ 11 h 179"/>
                  <a:gd name="T46" fmla="*/ 17 w 187"/>
                  <a:gd name="T47" fmla="*/ 18 h 179"/>
                  <a:gd name="T48" fmla="*/ 6 w 187"/>
                  <a:gd name="T49" fmla="*/ 19 h 179"/>
                  <a:gd name="T50" fmla="*/ 7 w 187"/>
                  <a:gd name="T51" fmla="*/ 28 h 179"/>
                  <a:gd name="T52" fmla="*/ 18 w 187"/>
                  <a:gd name="T53" fmla="*/ 28 h 179"/>
                  <a:gd name="T54" fmla="*/ 47 w 187"/>
                  <a:gd name="T55" fmla="*/ 28 h 179"/>
                  <a:gd name="T56" fmla="*/ 49 w 187"/>
                  <a:gd name="T57" fmla="*/ 31 h 179"/>
                  <a:gd name="T58" fmla="*/ 59 w 187"/>
                  <a:gd name="T59" fmla="*/ 27 h 179"/>
                  <a:gd name="T60" fmla="*/ 62 w 187"/>
                  <a:gd name="T61" fmla="*/ 24 h 179"/>
                  <a:gd name="T62" fmla="*/ 63 w 187"/>
                  <a:gd name="T63" fmla="*/ 29 h 179"/>
                  <a:gd name="T64" fmla="*/ 54 w 187"/>
                  <a:gd name="T65" fmla="*/ 36 h 179"/>
                  <a:gd name="T66" fmla="*/ 48 w 187"/>
                  <a:gd name="T67" fmla="*/ 40 h 179"/>
                  <a:gd name="T68" fmla="*/ 37 w 187"/>
                  <a:gd name="T69" fmla="*/ 58 h 179"/>
                  <a:gd name="T70" fmla="*/ 59 w 187"/>
                  <a:gd name="T71" fmla="*/ 70 h 179"/>
                  <a:gd name="T72" fmla="*/ 56 w 187"/>
                  <a:gd name="T73" fmla="*/ 100 h 179"/>
                  <a:gd name="T74" fmla="*/ 58 w 187"/>
                  <a:gd name="T75" fmla="*/ 133 h 179"/>
                  <a:gd name="T76" fmla="*/ 53 w 187"/>
                  <a:gd name="T77" fmla="*/ 148 h 179"/>
                  <a:gd name="T78" fmla="*/ 68 w 187"/>
                  <a:gd name="T79" fmla="*/ 164 h 179"/>
                  <a:gd name="T80" fmla="*/ 81 w 187"/>
                  <a:gd name="T81" fmla="*/ 171 h 179"/>
                  <a:gd name="T82" fmla="*/ 89 w 187"/>
                  <a:gd name="T83" fmla="*/ 179 h 179"/>
                  <a:gd name="T84" fmla="*/ 102 w 187"/>
                  <a:gd name="T85" fmla="*/ 169 h 179"/>
                  <a:gd name="T86" fmla="*/ 88 w 187"/>
                  <a:gd name="T87" fmla="*/ 160 h 179"/>
                  <a:gd name="T88" fmla="*/ 81 w 187"/>
                  <a:gd name="T89" fmla="*/ 148 h 179"/>
                  <a:gd name="T90" fmla="*/ 80 w 187"/>
                  <a:gd name="T91" fmla="*/ 124 h 179"/>
                  <a:gd name="T92" fmla="*/ 75 w 187"/>
                  <a:gd name="T93" fmla="*/ 114 h 179"/>
                  <a:gd name="T94" fmla="*/ 83 w 187"/>
                  <a:gd name="T95" fmla="*/ 104 h 179"/>
                  <a:gd name="T96" fmla="*/ 81 w 187"/>
                  <a:gd name="T97" fmla="*/ 114 h 179"/>
                  <a:gd name="T98" fmla="*/ 86 w 187"/>
                  <a:gd name="T99" fmla="*/ 118 h 179"/>
                  <a:gd name="T100" fmla="*/ 103 w 187"/>
                  <a:gd name="T101" fmla="*/ 122 h 179"/>
                  <a:gd name="T102" fmla="*/ 129 w 187"/>
                  <a:gd name="T103" fmla="*/ 119 h 179"/>
                  <a:gd name="T104" fmla="*/ 131 w 187"/>
                  <a:gd name="T105" fmla="*/ 103 h 179"/>
                  <a:gd name="T106" fmla="*/ 129 w 187"/>
                  <a:gd name="T107" fmla="*/ 84 h 179"/>
                  <a:gd name="T108" fmla="*/ 142 w 187"/>
                  <a:gd name="T109" fmla="*/ 73 h 179"/>
                  <a:gd name="T110" fmla="*/ 155 w 187"/>
                  <a:gd name="T111" fmla="*/ 71 h 179"/>
                  <a:gd name="T112" fmla="*/ 171 w 187"/>
                  <a:gd name="T113" fmla="*/ 60 h 179"/>
                  <a:gd name="T114" fmla="*/ 179 w 187"/>
                  <a:gd name="T115" fmla="*/ 31 h 179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87"/>
                  <a:gd name="T175" fmla="*/ 0 h 179"/>
                  <a:gd name="T176" fmla="*/ 187 w 187"/>
                  <a:gd name="T177" fmla="*/ 179 h 179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87" h="179">
                    <a:moveTo>
                      <a:pt x="183" y="24"/>
                    </a:moveTo>
                    <a:cubicBezTo>
                      <a:pt x="183" y="24"/>
                      <a:pt x="184" y="19"/>
                      <a:pt x="181" y="19"/>
                    </a:cubicBezTo>
                    <a:cubicBezTo>
                      <a:pt x="181" y="19"/>
                      <a:pt x="180" y="19"/>
                      <a:pt x="180" y="20"/>
                    </a:cubicBezTo>
                    <a:cubicBezTo>
                      <a:pt x="180" y="20"/>
                      <a:pt x="180" y="20"/>
                      <a:pt x="180" y="20"/>
                    </a:cubicBezTo>
                    <a:cubicBezTo>
                      <a:pt x="180" y="20"/>
                      <a:pt x="180" y="20"/>
                      <a:pt x="180" y="20"/>
                    </a:cubicBezTo>
                    <a:cubicBezTo>
                      <a:pt x="179" y="20"/>
                      <a:pt x="179" y="20"/>
                      <a:pt x="179" y="20"/>
                    </a:cubicBezTo>
                    <a:cubicBezTo>
                      <a:pt x="179" y="20"/>
                      <a:pt x="178" y="21"/>
                      <a:pt x="178" y="21"/>
                    </a:cubicBezTo>
                    <a:cubicBezTo>
                      <a:pt x="179" y="21"/>
                      <a:pt x="173" y="23"/>
                      <a:pt x="172" y="23"/>
                    </a:cubicBezTo>
                    <a:cubicBezTo>
                      <a:pt x="172" y="23"/>
                      <a:pt x="169" y="26"/>
                      <a:pt x="165" y="26"/>
                    </a:cubicBezTo>
                    <a:cubicBezTo>
                      <a:pt x="165" y="26"/>
                      <a:pt x="156" y="28"/>
                      <a:pt x="156" y="28"/>
                    </a:cubicBezTo>
                    <a:cubicBezTo>
                      <a:pt x="156" y="28"/>
                      <a:pt x="146" y="27"/>
                      <a:pt x="146" y="26"/>
                    </a:cubicBezTo>
                    <a:cubicBezTo>
                      <a:pt x="146" y="26"/>
                      <a:pt x="137" y="25"/>
                      <a:pt x="137" y="24"/>
                    </a:cubicBezTo>
                    <a:cubicBezTo>
                      <a:pt x="137" y="24"/>
                      <a:pt x="133" y="22"/>
                      <a:pt x="132" y="22"/>
                    </a:cubicBezTo>
                    <a:cubicBezTo>
                      <a:pt x="132" y="22"/>
                      <a:pt x="122" y="24"/>
                      <a:pt x="117" y="20"/>
                    </a:cubicBezTo>
                    <a:cubicBezTo>
                      <a:pt x="117" y="20"/>
                      <a:pt x="107" y="20"/>
                      <a:pt x="109" y="19"/>
                    </a:cubicBezTo>
                    <a:cubicBezTo>
                      <a:pt x="109" y="16"/>
                      <a:pt x="109" y="17"/>
                      <a:pt x="110" y="14"/>
                    </a:cubicBezTo>
                    <a:cubicBezTo>
                      <a:pt x="121" y="12"/>
                      <a:pt x="130" y="6"/>
                      <a:pt x="128" y="6"/>
                    </a:cubicBezTo>
                    <a:cubicBezTo>
                      <a:pt x="128" y="6"/>
                      <a:pt x="123" y="0"/>
                      <a:pt x="117" y="3"/>
                    </a:cubicBezTo>
                    <a:cubicBezTo>
                      <a:pt x="117" y="3"/>
                      <a:pt x="117" y="2"/>
                      <a:pt x="117" y="2"/>
                    </a:cubicBezTo>
                    <a:cubicBezTo>
                      <a:pt x="117" y="2"/>
                      <a:pt x="117" y="2"/>
                      <a:pt x="117" y="2"/>
                    </a:cubicBezTo>
                    <a:cubicBezTo>
                      <a:pt x="117" y="2"/>
                      <a:pt x="116" y="2"/>
                      <a:pt x="116" y="2"/>
                    </a:cubicBezTo>
                    <a:cubicBezTo>
                      <a:pt x="116" y="2"/>
                      <a:pt x="116" y="2"/>
                      <a:pt x="115" y="2"/>
                    </a:cubicBezTo>
                    <a:cubicBezTo>
                      <a:pt x="115" y="2"/>
                      <a:pt x="115" y="2"/>
                      <a:pt x="115" y="2"/>
                    </a:cubicBezTo>
                    <a:cubicBezTo>
                      <a:pt x="114" y="2"/>
                      <a:pt x="114" y="2"/>
                      <a:pt x="113" y="2"/>
                    </a:cubicBezTo>
                    <a:cubicBezTo>
                      <a:pt x="113" y="2"/>
                      <a:pt x="113" y="2"/>
                      <a:pt x="113" y="2"/>
                    </a:cubicBezTo>
                    <a:cubicBezTo>
                      <a:pt x="112" y="3"/>
                      <a:pt x="110" y="3"/>
                      <a:pt x="109" y="5"/>
                    </a:cubicBezTo>
                    <a:cubicBezTo>
                      <a:pt x="109" y="5"/>
                      <a:pt x="109" y="5"/>
                      <a:pt x="109" y="5"/>
                    </a:cubicBezTo>
                    <a:cubicBezTo>
                      <a:pt x="109" y="5"/>
                      <a:pt x="109" y="5"/>
                      <a:pt x="109" y="5"/>
                    </a:cubicBezTo>
                    <a:cubicBezTo>
                      <a:pt x="109" y="5"/>
                      <a:pt x="109" y="5"/>
                      <a:pt x="109" y="5"/>
                    </a:cubicBezTo>
                    <a:cubicBezTo>
                      <a:pt x="109" y="5"/>
                      <a:pt x="109" y="6"/>
                      <a:pt x="109" y="6"/>
                    </a:cubicBezTo>
                    <a:cubicBezTo>
                      <a:pt x="109" y="6"/>
                      <a:pt x="109" y="6"/>
                      <a:pt x="109" y="6"/>
                    </a:cubicBezTo>
                    <a:cubicBezTo>
                      <a:pt x="109" y="6"/>
                      <a:pt x="109" y="6"/>
                      <a:pt x="109" y="6"/>
                    </a:cubicBezTo>
                    <a:cubicBezTo>
                      <a:pt x="109" y="7"/>
                      <a:pt x="109" y="7"/>
                      <a:pt x="109" y="8"/>
                    </a:cubicBezTo>
                    <a:cubicBezTo>
                      <a:pt x="109" y="8"/>
                      <a:pt x="109" y="8"/>
                      <a:pt x="109" y="8"/>
                    </a:cubicBezTo>
                    <a:cubicBezTo>
                      <a:pt x="109" y="8"/>
                      <a:pt x="109" y="9"/>
                      <a:pt x="109" y="9"/>
                    </a:cubicBezTo>
                    <a:cubicBezTo>
                      <a:pt x="109" y="9"/>
                      <a:pt x="109" y="9"/>
                      <a:pt x="109" y="9"/>
                    </a:cubicBezTo>
                    <a:cubicBezTo>
                      <a:pt x="109" y="9"/>
                      <a:pt x="109" y="9"/>
                      <a:pt x="109" y="9"/>
                    </a:cubicBezTo>
                    <a:cubicBezTo>
                      <a:pt x="109" y="10"/>
                      <a:pt x="109" y="11"/>
                      <a:pt x="110" y="11"/>
                    </a:cubicBezTo>
                    <a:cubicBezTo>
                      <a:pt x="110" y="12"/>
                      <a:pt x="96" y="10"/>
                      <a:pt x="94" y="10"/>
                    </a:cubicBezTo>
                    <a:cubicBezTo>
                      <a:pt x="90" y="10"/>
                      <a:pt x="90" y="10"/>
                      <a:pt x="90" y="10"/>
                    </a:cubicBezTo>
                    <a:cubicBezTo>
                      <a:pt x="90" y="10"/>
                      <a:pt x="87" y="15"/>
                      <a:pt x="87" y="9"/>
                    </a:cubicBezTo>
                    <a:cubicBezTo>
                      <a:pt x="87" y="9"/>
                      <a:pt x="87" y="9"/>
                      <a:pt x="87" y="8"/>
                    </a:cubicBezTo>
                    <a:cubicBezTo>
                      <a:pt x="88" y="8"/>
                      <a:pt x="88" y="8"/>
                      <a:pt x="88" y="7"/>
                    </a:cubicBezTo>
                    <a:cubicBezTo>
                      <a:pt x="88" y="7"/>
                      <a:pt x="88" y="7"/>
                      <a:pt x="88" y="7"/>
                    </a:cubicBezTo>
                    <a:cubicBezTo>
                      <a:pt x="88" y="6"/>
                      <a:pt x="88" y="6"/>
                      <a:pt x="88" y="5"/>
                    </a:cubicBezTo>
                    <a:cubicBezTo>
                      <a:pt x="88" y="5"/>
                      <a:pt x="88" y="4"/>
                      <a:pt x="87" y="4"/>
                    </a:cubicBezTo>
                    <a:cubicBezTo>
                      <a:pt x="87" y="4"/>
                      <a:pt x="87" y="4"/>
                      <a:pt x="87" y="3"/>
                    </a:cubicBezTo>
                    <a:cubicBezTo>
                      <a:pt x="87" y="3"/>
                      <a:pt x="87" y="3"/>
                      <a:pt x="87" y="3"/>
                    </a:cubicBezTo>
                    <a:cubicBezTo>
                      <a:pt x="87" y="3"/>
                      <a:pt x="86" y="3"/>
                      <a:pt x="86" y="3"/>
                    </a:cubicBezTo>
                    <a:cubicBezTo>
                      <a:pt x="86" y="2"/>
                      <a:pt x="85" y="2"/>
                      <a:pt x="85" y="2"/>
                    </a:cubicBezTo>
                    <a:cubicBezTo>
                      <a:pt x="85" y="2"/>
                      <a:pt x="85" y="2"/>
                      <a:pt x="85" y="2"/>
                    </a:cubicBezTo>
                    <a:cubicBezTo>
                      <a:pt x="85" y="2"/>
                      <a:pt x="85" y="2"/>
                      <a:pt x="84" y="2"/>
                    </a:cubicBezTo>
                    <a:cubicBezTo>
                      <a:pt x="84" y="2"/>
                      <a:pt x="83" y="2"/>
                      <a:pt x="83" y="3"/>
                    </a:cubicBezTo>
                    <a:cubicBezTo>
                      <a:pt x="83" y="3"/>
                      <a:pt x="76" y="1"/>
                      <a:pt x="73" y="7"/>
                    </a:cubicBezTo>
                    <a:cubicBezTo>
                      <a:pt x="73" y="8"/>
                      <a:pt x="69" y="11"/>
                      <a:pt x="68" y="12"/>
                    </a:cubicBezTo>
                    <a:cubicBezTo>
                      <a:pt x="68" y="13"/>
                      <a:pt x="64" y="17"/>
                      <a:pt x="64" y="17"/>
                    </a:cubicBezTo>
                    <a:cubicBezTo>
                      <a:pt x="64" y="17"/>
                      <a:pt x="62" y="22"/>
                      <a:pt x="60" y="17"/>
                    </a:cubicBezTo>
                    <a:cubicBezTo>
                      <a:pt x="60" y="18"/>
                      <a:pt x="56" y="11"/>
                      <a:pt x="54" y="11"/>
                    </a:cubicBezTo>
                    <a:cubicBezTo>
                      <a:pt x="54" y="11"/>
                      <a:pt x="54" y="11"/>
                      <a:pt x="54" y="11"/>
                    </a:cubicBezTo>
                    <a:cubicBezTo>
                      <a:pt x="54" y="11"/>
                      <a:pt x="54" y="11"/>
                      <a:pt x="54" y="11"/>
                    </a:cubicBezTo>
                    <a:cubicBezTo>
                      <a:pt x="54" y="11"/>
                      <a:pt x="54" y="11"/>
                      <a:pt x="54" y="11"/>
                    </a:cubicBezTo>
                    <a:cubicBezTo>
                      <a:pt x="54" y="10"/>
                      <a:pt x="53" y="10"/>
                      <a:pt x="53" y="10"/>
                    </a:cubicBezTo>
                    <a:cubicBezTo>
                      <a:pt x="53" y="10"/>
                      <a:pt x="53" y="10"/>
                      <a:pt x="53" y="10"/>
                    </a:cubicBezTo>
                    <a:cubicBezTo>
                      <a:pt x="53" y="10"/>
                      <a:pt x="53" y="10"/>
                      <a:pt x="53" y="10"/>
                    </a:cubicBezTo>
                    <a:cubicBezTo>
                      <a:pt x="53" y="10"/>
                      <a:pt x="53" y="10"/>
                      <a:pt x="53" y="10"/>
                    </a:cubicBezTo>
                    <a:cubicBezTo>
                      <a:pt x="53" y="10"/>
                      <a:pt x="53" y="10"/>
                      <a:pt x="53" y="10"/>
                    </a:cubicBezTo>
                    <a:cubicBezTo>
                      <a:pt x="52" y="9"/>
                      <a:pt x="52" y="9"/>
                      <a:pt x="51" y="9"/>
                    </a:cubicBezTo>
                    <a:cubicBezTo>
                      <a:pt x="50" y="9"/>
                      <a:pt x="48" y="9"/>
                      <a:pt x="45" y="10"/>
                    </a:cubicBezTo>
                    <a:cubicBezTo>
                      <a:pt x="45" y="10"/>
                      <a:pt x="36" y="14"/>
                      <a:pt x="33" y="11"/>
                    </a:cubicBezTo>
                    <a:cubicBezTo>
                      <a:pt x="34" y="11"/>
                      <a:pt x="29" y="8"/>
                      <a:pt x="25" y="10"/>
                    </a:cubicBezTo>
                    <a:cubicBezTo>
                      <a:pt x="25" y="10"/>
                      <a:pt x="19" y="15"/>
                      <a:pt x="18" y="15"/>
                    </a:cubicBezTo>
                    <a:cubicBezTo>
                      <a:pt x="18" y="15"/>
                      <a:pt x="17" y="16"/>
                      <a:pt x="17" y="18"/>
                    </a:cubicBezTo>
                    <a:cubicBezTo>
                      <a:pt x="17" y="18"/>
                      <a:pt x="17" y="20"/>
                      <a:pt x="16" y="18"/>
                    </a:cubicBezTo>
                    <a:cubicBezTo>
                      <a:pt x="15" y="18"/>
                      <a:pt x="10" y="16"/>
                      <a:pt x="9" y="17"/>
                    </a:cubicBezTo>
                    <a:cubicBezTo>
                      <a:pt x="9" y="17"/>
                      <a:pt x="6" y="14"/>
                      <a:pt x="6" y="19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4" y="22"/>
                      <a:pt x="0" y="24"/>
                      <a:pt x="5" y="26"/>
                    </a:cubicBezTo>
                    <a:cubicBezTo>
                      <a:pt x="5" y="26"/>
                      <a:pt x="6" y="28"/>
                      <a:pt x="7" y="28"/>
                    </a:cubicBezTo>
                    <a:cubicBezTo>
                      <a:pt x="8" y="27"/>
                      <a:pt x="8" y="26"/>
                      <a:pt x="10" y="26"/>
                    </a:cubicBezTo>
                    <a:cubicBezTo>
                      <a:pt x="10" y="26"/>
                      <a:pt x="14" y="26"/>
                      <a:pt x="14" y="29"/>
                    </a:cubicBezTo>
                    <a:cubicBezTo>
                      <a:pt x="14" y="29"/>
                      <a:pt x="18" y="30"/>
                      <a:pt x="18" y="28"/>
                    </a:cubicBezTo>
                    <a:cubicBezTo>
                      <a:pt x="18" y="28"/>
                      <a:pt x="14" y="24"/>
                      <a:pt x="20" y="25"/>
                    </a:cubicBezTo>
                    <a:cubicBezTo>
                      <a:pt x="20" y="25"/>
                      <a:pt x="24" y="23"/>
                      <a:pt x="23" y="26"/>
                    </a:cubicBezTo>
                    <a:cubicBezTo>
                      <a:pt x="23" y="26"/>
                      <a:pt x="47" y="24"/>
                      <a:pt x="47" y="28"/>
                    </a:cubicBezTo>
                    <a:cubicBezTo>
                      <a:pt x="47" y="28"/>
                      <a:pt x="46" y="30"/>
                      <a:pt x="47" y="31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49" y="31"/>
                      <a:pt x="49" y="31"/>
                      <a:pt x="49" y="31"/>
                    </a:cubicBezTo>
                    <a:cubicBezTo>
                      <a:pt x="52" y="30"/>
                      <a:pt x="52" y="30"/>
                      <a:pt x="52" y="30"/>
                    </a:cubicBezTo>
                    <a:cubicBezTo>
                      <a:pt x="57" y="28"/>
                      <a:pt x="57" y="28"/>
                      <a:pt x="57" y="28"/>
                    </a:cubicBezTo>
                    <a:cubicBezTo>
                      <a:pt x="59" y="27"/>
                      <a:pt x="59" y="27"/>
                      <a:pt x="59" y="27"/>
                    </a:cubicBezTo>
                    <a:cubicBezTo>
                      <a:pt x="61" y="26"/>
                      <a:pt x="61" y="26"/>
                      <a:pt x="61" y="26"/>
                    </a:cubicBezTo>
                    <a:cubicBezTo>
                      <a:pt x="61" y="25"/>
                      <a:pt x="61" y="25"/>
                      <a:pt x="61" y="25"/>
                    </a:cubicBezTo>
                    <a:cubicBezTo>
                      <a:pt x="61" y="25"/>
                      <a:pt x="61" y="23"/>
                      <a:pt x="62" y="24"/>
                    </a:cubicBezTo>
                    <a:cubicBezTo>
                      <a:pt x="62" y="25"/>
                      <a:pt x="62" y="25"/>
                      <a:pt x="62" y="25"/>
                    </a:cubicBezTo>
                    <a:cubicBezTo>
                      <a:pt x="64" y="26"/>
                      <a:pt x="64" y="26"/>
                      <a:pt x="64" y="26"/>
                    </a:cubicBezTo>
                    <a:cubicBezTo>
                      <a:pt x="63" y="29"/>
                      <a:pt x="63" y="29"/>
                      <a:pt x="63" y="29"/>
                    </a:cubicBezTo>
                    <a:cubicBezTo>
                      <a:pt x="60" y="31"/>
                      <a:pt x="60" y="31"/>
                      <a:pt x="60" y="31"/>
                    </a:cubicBezTo>
                    <a:cubicBezTo>
                      <a:pt x="57" y="35"/>
                      <a:pt x="57" y="35"/>
                      <a:pt x="57" y="35"/>
                    </a:cubicBezTo>
                    <a:cubicBezTo>
                      <a:pt x="54" y="36"/>
                      <a:pt x="54" y="36"/>
                      <a:pt x="54" y="36"/>
                    </a:cubicBezTo>
                    <a:cubicBezTo>
                      <a:pt x="50" y="38"/>
                      <a:pt x="50" y="38"/>
                      <a:pt x="50" y="38"/>
                    </a:cubicBezTo>
                    <a:cubicBezTo>
                      <a:pt x="48" y="40"/>
                      <a:pt x="48" y="40"/>
                      <a:pt x="48" y="40"/>
                    </a:cubicBezTo>
                    <a:cubicBezTo>
                      <a:pt x="48" y="40"/>
                      <a:pt x="48" y="40"/>
                      <a:pt x="48" y="40"/>
                    </a:cubicBezTo>
                    <a:cubicBezTo>
                      <a:pt x="47" y="43"/>
                      <a:pt x="47" y="47"/>
                      <a:pt x="46" y="48"/>
                    </a:cubicBezTo>
                    <a:cubicBezTo>
                      <a:pt x="46" y="48"/>
                      <a:pt x="33" y="46"/>
                      <a:pt x="36" y="51"/>
                    </a:cubicBezTo>
                    <a:cubicBezTo>
                      <a:pt x="36" y="51"/>
                      <a:pt x="36" y="57"/>
                      <a:pt x="37" y="58"/>
                    </a:cubicBezTo>
                    <a:cubicBezTo>
                      <a:pt x="37" y="59"/>
                      <a:pt x="43" y="60"/>
                      <a:pt x="43" y="64"/>
                    </a:cubicBezTo>
                    <a:cubicBezTo>
                      <a:pt x="42" y="64"/>
                      <a:pt x="48" y="68"/>
                      <a:pt x="50" y="66"/>
                    </a:cubicBezTo>
                    <a:cubicBezTo>
                      <a:pt x="50" y="66"/>
                      <a:pt x="53" y="70"/>
                      <a:pt x="59" y="70"/>
                    </a:cubicBezTo>
                    <a:cubicBezTo>
                      <a:pt x="60" y="70"/>
                      <a:pt x="72" y="73"/>
                      <a:pt x="62" y="78"/>
                    </a:cubicBezTo>
                    <a:cubicBezTo>
                      <a:pt x="62" y="79"/>
                      <a:pt x="62" y="93"/>
                      <a:pt x="60" y="93"/>
                    </a:cubicBezTo>
                    <a:cubicBezTo>
                      <a:pt x="60" y="94"/>
                      <a:pt x="56" y="94"/>
                      <a:pt x="56" y="100"/>
                    </a:cubicBezTo>
                    <a:cubicBezTo>
                      <a:pt x="57" y="101"/>
                      <a:pt x="57" y="106"/>
                      <a:pt x="57" y="106"/>
                    </a:cubicBezTo>
                    <a:cubicBezTo>
                      <a:pt x="57" y="106"/>
                      <a:pt x="65" y="111"/>
                      <a:pt x="57" y="117"/>
                    </a:cubicBezTo>
                    <a:cubicBezTo>
                      <a:pt x="57" y="117"/>
                      <a:pt x="56" y="133"/>
                      <a:pt x="58" y="133"/>
                    </a:cubicBezTo>
                    <a:cubicBezTo>
                      <a:pt x="58" y="133"/>
                      <a:pt x="61" y="139"/>
                      <a:pt x="57" y="140"/>
                    </a:cubicBezTo>
                    <a:cubicBezTo>
                      <a:pt x="57" y="140"/>
                      <a:pt x="55" y="143"/>
                      <a:pt x="53" y="142"/>
                    </a:cubicBezTo>
                    <a:cubicBezTo>
                      <a:pt x="53" y="142"/>
                      <a:pt x="51" y="148"/>
                      <a:pt x="53" y="148"/>
                    </a:cubicBezTo>
                    <a:cubicBezTo>
                      <a:pt x="53" y="148"/>
                      <a:pt x="60" y="148"/>
                      <a:pt x="60" y="155"/>
                    </a:cubicBezTo>
                    <a:cubicBezTo>
                      <a:pt x="60" y="155"/>
                      <a:pt x="63" y="157"/>
                      <a:pt x="64" y="160"/>
                    </a:cubicBezTo>
                    <a:cubicBezTo>
                      <a:pt x="64" y="160"/>
                      <a:pt x="68" y="163"/>
                      <a:pt x="68" y="164"/>
                    </a:cubicBezTo>
                    <a:cubicBezTo>
                      <a:pt x="68" y="165"/>
                      <a:pt x="72" y="158"/>
                      <a:pt x="74" y="166"/>
                    </a:cubicBezTo>
                    <a:cubicBezTo>
                      <a:pt x="74" y="166"/>
                      <a:pt x="74" y="167"/>
                      <a:pt x="74" y="168"/>
                    </a:cubicBezTo>
                    <a:cubicBezTo>
                      <a:pt x="75" y="168"/>
                      <a:pt x="78" y="168"/>
                      <a:pt x="81" y="171"/>
                    </a:cubicBezTo>
                    <a:cubicBezTo>
                      <a:pt x="80" y="171"/>
                      <a:pt x="85" y="175"/>
                      <a:pt x="85" y="175"/>
                    </a:cubicBezTo>
                    <a:cubicBezTo>
                      <a:pt x="85" y="175"/>
                      <a:pt x="85" y="175"/>
                      <a:pt x="85" y="176"/>
                    </a:cubicBezTo>
                    <a:cubicBezTo>
                      <a:pt x="87" y="175"/>
                      <a:pt x="89" y="179"/>
                      <a:pt x="89" y="179"/>
                    </a:cubicBezTo>
                    <a:cubicBezTo>
                      <a:pt x="92" y="179"/>
                      <a:pt x="95" y="176"/>
                      <a:pt x="95" y="176"/>
                    </a:cubicBezTo>
                    <a:cubicBezTo>
                      <a:pt x="101" y="176"/>
                      <a:pt x="105" y="174"/>
                      <a:pt x="105" y="174"/>
                    </a:cubicBezTo>
                    <a:cubicBezTo>
                      <a:pt x="103" y="173"/>
                      <a:pt x="102" y="169"/>
                      <a:pt x="102" y="169"/>
                    </a:cubicBezTo>
                    <a:cubicBezTo>
                      <a:pt x="102" y="167"/>
                      <a:pt x="99" y="166"/>
                      <a:pt x="99" y="165"/>
                    </a:cubicBezTo>
                    <a:cubicBezTo>
                      <a:pt x="96" y="164"/>
                      <a:pt x="92" y="164"/>
                      <a:pt x="92" y="164"/>
                    </a:cubicBezTo>
                    <a:cubicBezTo>
                      <a:pt x="88" y="164"/>
                      <a:pt x="88" y="160"/>
                      <a:pt x="88" y="160"/>
                    </a:cubicBezTo>
                    <a:cubicBezTo>
                      <a:pt x="85" y="159"/>
                      <a:pt x="84" y="156"/>
                      <a:pt x="84" y="156"/>
                    </a:cubicBezTo>
                    <a:cubicBezTo>
                      <a:pt x="87" y="156"/>
                      <a:pt x="87" y="151"/>
                      <a:pt x="87" y="151"/>
                    </a:cubicBezTo>
                    <a:cubicBezTo>
                      <a:pt x="86" y="151"/>
                      <a:pt x="81" y="148"/>
                      <a:pt x="81" y="148"/>
                    </a:cubicBezTo>
                    <a:cubicBezTo>
                      <a:pt x="77" y="147"/>
                      <a:pt x="80" y="144"/>
                      <a:pt x="79" y="144"/>
                    </a:cubicBezTo>
                    <a:cubicBezTo>
                      <a:pt x="86" y="142"/>
                      <a:pt x="79" y="136"/>
                      <a:pt x="79" y="136"/>
                    </a:cubicBezTo>
                    <a:cubicBezTo>
                      <a:pt x="75" y="124"/>
                      <a:pt x="80" y="124"/>
                      <a:pt x="80" y="124"/>
                    </a:cubicBezTo>
                    <a:cubicBezTo>
                      <a:pt x="83" y="123"/>
                      <a:pt x="80" y="120"/>
                      <a:pt x="80" y="121"/>
                    </a:cubicBezTo>
                    <a:cubicBezTo>
                      <a:pt x="80" y="119"/>
                      <a:pt x="78" y="117"/>
                      <a:pt x="78" y="117"/>
                    </a:cubicBezTo>
                    <a:cubicBezTo>
                      <a:pt x="79" y="114"/>
                      <a:pt x="75" y="114"/>
                      <a:pt x="75" y="114"/>
                    </a:cubicBezTo>
                    <a:cubicBezTo>
                      <a:pt x="72" y="110"/>
                      <a:pt x="76" y="110"/>
                      <a:pt x="76" y="110"/>
                    </a:cubicBezTo>
                    <a:cubicBezTo>
                      <a:pt x="80" y="110"/>
                      <a:pt x="79" y="105"/>
                      <a:pt x="79" y="104"/>
                    </a:cubicBezTo>
                    <a:cubicBezTo>
                      <a:pt x="80" y="99"/>
                      <a:pt x="83" y="104"/>
                      <a:pt x="83" y="104"/>
                    </a:cubicBezTo>
                    <a:cubicBezTo>
                      <a:pt x="83" y="107"/>
                      <a:pt x="84" y="108"/>
                      <a:pt x="84" y="108"/>
                    </a:cubicBezTo>
                    <a:cubicBezTo>
                      <a:pt x="87" y="110"/>
                      <a:pt x="84" y="110"/>
                      <a:pt x="83" y="110"/>
                    </a:cubicBezTo>
                    <a:cubicBezTo>
                      <a:pt x="82" y="110"/>
                      <a:pt x="82" y="114"/>
                      <a:pt x="81" y="114"/>
                    </a:cubicBezTo>
                    <a:cubicBezTo>
                      <a:pt x="79" y="112"/>
                      <a:pt x="79" y="115"/>
                      <a:pt x="79" y="115"/>
                    </a:cubicBezTo>
                    <a:cubicBezTo>
                      <a:pt x="78" y="117"/>
                      <a:pt x="81" y="118"/>
                      <a:pt x="81" y="118"/>
                    </a:cubicBezTo>
                    <a:cubicBezTo>
                      <a:pt x="84" y="120"/>
                      <a:pt x="86" y="118"/>
                      <a:pt x="86" y="118"/>
                    </a:cubicBezTo>
                    <a:cubicBezTo>
                      <a:pt x="91" y="114"/>
                      <a:pt x="91" y="114"/>
                      <a:pt x="91" y="114"/>
                    </a:cubicBezTo>
                    <a:cubicBezTo>
                      <a:pt x="94" y="110"/>
                      <a:pt x="100" y="112"/>
                      <a:pt x="100" y="112"/>
                    </a:cubicBezTo>
                    <a:cubicBezTo>
                      <a:pt x="99" y="119"/>
                      <a:pt x="103" y="122"/>
                      <a:pt x="103" y="122"/>
                    </a:cubicBezTo>
                    <a:cubicBezTo>
                      <a:pt x="103" y="124"/>
                      <a:pt x="108" y="122"/>
                      <a:pt x="108" y="122"/>
                    </a:cubicBezTo>
                    <a:cubicBezTo>
                      <a:pt x="122" y="121"/>
                      <a:pt x="122" y="121"/>
                      <a:pt x="122" y="121"/>
                    </a:cubicBezTo>
                    <a:cubicBezTo>
                      <a:pt x="123" y="121"/>
                      <a:pt x="128" y="119"/>
                      <a:pt x="129" y="119"/>
                    </a:cubicBezTo>
                    <a:cubicBezTo>
                      <a:pt x="128" y="116"/>
                      <a:pt x="127" y="113"/>
                      <a:pt x="131" y="113"/>
                    </a:cubicBezTo>
                    <a:cubicBezTo>
                      <a:pt x="131" y="113"/>
                      <a:pt x="133" y="107"/>
                      <a:pt x="129" y="109"/>
                    </a:cubicBezTo>
                    <a:cubicBezTo>
                      <a:pt x="129" y="109"/>
                      <a:pt x="124" y="102"/>
                      <a:pt x="131" y="103"/>
                    </a:cubicBezTo>
                    <a:cubicBezTo>
                      <a:pt x="130" y="103"/>
                      <a:pt x="137" y="97"/>
                      <a:pt x="132" y="96"/>
                    </a:cubicBezTo>
                    <a:cubicBezTo>
                      <a:pt x="132" y="96"/>
                      <a:pt x="132" y="87"/>
                      <a:pt x="128" y="87"/>
                    </a:cubicBezTo>
                    <a:cubicBezTo>
                      <a:pt x="129" y="87"/>
                      <a:pt x="117" y="84"/>
                      <a:pt x="129" y="84"/>
                    </a:cubicBezTo>
                    <a:cubicBezTo>
                      <a:pt x="129" y="84"/>
                      <a:pt x="127" y="80"/>
                      <a:pt x="133" y="81"/>
                    </a:cubicBezTo>
                    <a:cubicBezTo>
                      <a:pt x="134" y="82"/>
                      <a:pt x="136" y="76"/>
                      <a:pt x="137" y="76"/>
                    </a:cubicBezTo>
                    <a:cubicBezTo>
                      <a:pt x="138" y="77"/>
                      <a:pt x="137" y="68"/>
                      <a:pt x="142" y="73"/>
                    </a:cubicBezTo>
                    <a:cubicBezTo>
                      <a:pt x="142" y="73"/>
                      <a:pt x="145" y="75"/>
                      <a:pt x="146" y="75"/>
                    </a:cubicBezTo>
                    <a:cubicBezTo>
                      <a:pt x="146" y="75"/>
                      <a:pt x="147" y="78"/>
                      <a:pt x="150" y="75"/>
                    </a:cubicBezTo>
                    <a:cubicBezTo>
                      <a:pt x="150" y="75"/>
                      <a:pt x="156" y="73"/>
                      <a:pt x="155" y="71"/>
                    </a:cubicBezTo>
                    <a:cubicBezTo>
                      <a:pt x="155" y="71"/>
                      <a:pt x="155" y="68"/>
                      <a:pt x="162" y="70"/>
                    </a:cubicBezTo>
                    <a:cubicBezTo>
                      <a:pt x="162" y="70"/>
                      <a:pt x="170" y="69"/>
                      <a:pt x="168" y="65"/>
                    </a:cubicBezTo>
                    <a:cubicBezTo>
                      <a:pt x="168" y="65"/>
                      <a:pt x="169" y="58"/>
                      <a:pt x="171" y="60"/>
                    </a:cubicBezTo>
                    <a:cubicBezTo>
                      <a:pt x="171" y="60"/>
                      <a:pt x="179" y="58"/>
                      <a:pt x="174" y="55"/>
                    </a:cubicBezTo>
                    <a:cubicBezTo>
                      <a:pt x="174" y="55"/>
                      <a:pt x="172" y="39"/>
                      <a:pt x="176" y="38"/>
                    </a:cubicBezTo>
                    <a:cubicBezTo>
                      <a:pt x="176" y="38"/>
                      <a:pt x="179" y="37"/>
                      <a:pt x="179" y="31"/>
                    </a:cubicBezTo>
                    <a:cubicBezTo>
                      <a:pt x="179" y="31"/>
                      <a:pt x="184" y="30"/>
                      <a:pt x="183" y="28"/>
                    </a:cubicBezTo>
                    <a:cubicBezTo>
                      <a:pt x="183" y="27"/>
                      <a:pt x="187" y="26"/>
                      <a:pt x="183" y="2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96" name="Freeform 252">
                <a:extLst>
                  <a:ext uri="{FF2B5EF4-FFF2-40B4-BE49-F238E27FC236}">
                    <a16:creationId xmlns:a16="http://schemas.microsoft.com/office/drawing/2014/main" id="{9B5A1BE5-8A8D-7108-7A6D-964C09FE27D3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3698991" y="3374824"/>
                <a:ext cx="779219" cy="546377"/>
              </a:xfrm>
              <a:custGeom>
                <a:avLst/>
                <a:gdLst>
                  <a:gd name="T0" fmla="*/ 153 w 246"/>
                  <a:gd name="T1" fmla="*/ 132 h 171"/>
                  <a:gd name="T2" fmla="*/ 150 w 246"/>
                  <a:gd name="T3" fmla="*/ 117 h 171"/>
                  <a:gd name="T4" fmla="*/ 150 w 246"/>
                  <a:gd name="T5" fmla="*/ 83 h 171"/>
                  <a:gd name="T6" fmla="*/ 155 w 246"/>
                  <a:gd name="T7" fmla="*/ 55 h 171"/>
                  <a:gd name="T8" fmla="*/ 136 w 246"/>
                  <a:gd name="T9" fmla="*/ 41 h 171"/>
                  <a:gd name="T10" fmla="*/ 139 w 246"/>
                  <a:gd name="T11" fmla="*/ 25 h 171"/>
                  <a:gd name="T12" fmla="*/ 137 w 246"/>
                  <a:gd name="T13" fmla="*/ 20 h 171"/>
                  <a:gd name="T14" fmla="*/ 129 w 246"/>
                  <a:gd name="T15" fmla="*/ 18 h 171"/>
                  <a:gd name="T16" fmla="*/ 131 w 246"/>
                  <a:gd name="T17" fmla="*/ 12 h 171"/>
                  <a:gd name="T18" fmla="*/ 138 w 246"/>
                  <a:gd name="T19" fmla="*/ 8 h 171"/>
                  <a:gd name="T20" fmla="*/ 116 w 246"/>
                  <a:gd name="T21" fmla="*/ 3 h 171"/>
                  <a:gd name="T22" fmla="*/ 107 w 246"/>
                  <a:gd name="T23" fmla="*/ 6 h 171"/>
                  <a:gd name="T24" fmla="*/ 93 w 246"/>
                  <a:gd name="T25" fmla="*/ 9 h 171"/>
                  <a:gd name="T26" fmla="*/ 67 w 246"/>
                  <a:gd name="T27" fmla="*/ 13 h 171"/>
                  <a:gd name="T28" fmla="*/ 64 w 246"/>
                  <a:gd name="T29" fmla="*/ 27 h 171"/>
                  <a:gd name="T30" fmla="*/ 56 w 246"/>
                  <a:gd name="T31" fmla="*/ 38 h 171"/>
                  <a:gd name="T32" fmla="*/ 42 w 246"/>
                  <a:gd name="T33" fmla="*/ 56 h 171"/>
                  <a:gd name="T34" fmla="*/ 31 w 246"/>
                  <a:gd name="T35" fmla="*/ 52 h 171"/>
                  <a:gd name="T36" fmla="*/ 17 w 246"/>
                  <a:gd name="T37" fmla="*/ 74 h 171"/>
                  <a:gd name="T38" fmla="*/ 12 w 246"/>
                  <a:gd name="T39" fmla="*/ 94 h 171"/>
                  <a:gd name="T40" fmla="*/ 10 w 246"/>
                  <a:gd name="T41" fmla="*/ 120 h 171"/>
                  <a:gd name="T42" fmla="*/ 7 w 246"/>
                  <a:gd name="T43" fmla="*/ 142 h 171"/>
                  <a:gd name="T44" fmla="*/ 27 w 246"/>
                  <a:gd name="T45" fmla="*/ 144 h 171"/>
                  <a:gd name="T46" fmla="*/ 39 w 246"/>
                  <a:gd name="T47" fmla="*/ 154 h 171"/>
                  <a:gd name="T48" fmla="*/ 54 w 246"/>
                  <a:gd name="T49" fmla="*/ 166 h 171"/>
                  <a:gd name="T50" fmla="*/ 65 w 246"/>
                  <a:gd name="T51" fmla="*/ 160 h 171"/>
                  <a:gd name="T52" fmla="*/ 99 w 246"/>
                  <a:gd name="T53" fmla="*/ 160 h 171"/>
                  <a:gd name="T54" fmla="*/ 116 w 246"/>
                  <a:gd name="T55" fmla="*/ 168 h 171"/>
                  <a:gd name="T56" fmla="*/ 136 w 246"/>
                  <a:gd name="T57" fmla="*/ 163 h 171"/>
                  <a:gd name="T58" fmla="*/ 157 w 246"/>
                  <a:gd name="T59" fmla="*/ 150 h 171"/>
                  <a:gd name="T60" fmla="*/ 167 w 246"/>
                  <a:gd name="T61" fmla="*/ 143 h 171"/>
                  <a:gd name="T62" fmla="*/ 230 w 246"/>
                  <a:gd name="T63" fmla="*/ 98 h 171"/>
                  <a:gd name="T64" fmla="*/ 201 w 246"/>
                  <a:gd name="T65" fmla="*/ 99 h 171"/>
                  <a:gd name="T66" fmla="*/ 183 w 246"/>
                  <a:gd name="T67" fmla="*/ 91 h 171"/>
                  <a:gd name="T68" fmla="*/ 172 w 246"/>
                  <a:gd name="T69" fmla="*/ 92 h 171"/>
                  <a:gd name="T70" fmla="*/ 177 w 246"/>
                  <a:gd name="T71" fmla="*/ 85 h 171"/>
                  <a:gd name="T72" fmla="*/ 169 w 246"/>
                  <a:gd name="T73" fmla="*/ 87 h 171"/>
                  <a:gd name="T74" fmla="*/ 173 w 246"/>
                  <a:gd name="T75" fmla="*/ 98 h 171"/>
                  <a:gd name="T76" fmla="*/ 172 w 246"/>
                  <a:gd name="T77" fmla="*/ 121 h 171"/>
                  <a:gd name="T78" fmla="*/ 177 w 246"/>
                  <a:gd name="T79" fmla="*/ 133 h 171"/>
                  <a:gd name="T80" fmla="*/ 191 w 246"/>
                  <a:gd name="T81" fmla="*/ 142 h 171"/>
                  <a:gd name="T82" fmla="*/ 188 w 246"/>
                  <a:gd name="T83" fmla="*/ 153 h 171"/>
                  <a:gd name="T84" fmla="*/ 180 w 246"/>
                  <a:gd name="T85" fmla="*/ 160 h 171"/>
                  <a:gd name="T86" fmla="*/ 197 w 246"/>
                  <a:gd name="T87" fmla="*/ 158 h 171"/>
                  <a:gd name="T88" fmla="*/ 229 w 246"/>
                  <a:gd name="T89" fmla="*/ 160 h 171"/>
                  <a:gd name="T90" fmla="*/ 225 w 246"/>
                  <a:gd name="T91" fmla="*/ 145 h 171"/>
                  <a:gd name="T92" fmla="*/ 227 w 246"/>
                  <a:gd name="T93" fmla="*/ 130 h 171"/>
                  <a:gd name="T94" fmla="*/ 239 w 246"/>
                  <a:gd name="T95" fmla="*/ 102 h 17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46"/>
                  <a:gd name="T145" fmla="*/ 0 h 171"/>
                  <a:gd name="T146" fmla="*/ 246 w 246"/>
                  <a:gd name="T147" fmla="*/ 171 h 17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46" h="171">
                    <a:moveTo>
                      <a:pt x="161" y="141"/>
                    </a:moveTo>
                    <a:cubicBezTo>
                      <a:pt x="161" y="140"/>
                      <a:pt x="157" y="137"/>
                      <a:pt x="157" y="137"/>
                    </a:cubicBezTo>
                    <a:cubicBezTo>
                      <a:pt x="156" y="134"/>
                      <a:pt x="153" y="132"/>
                      <a:pt x="153" y="132"/>
                    </a:cubicBezTo>
                    <a:cubicBezTo>
                      <a:pt x="153" y="125"/>
                      <a:pt x="146" y="125"/>
                      <a:pt x="146" y="125"/>
                    </a:cubicBezTo>
                    <a:cubicBezTo>
                      <a:pt x="144" y="125"/>
                      <a:pt x="145" y="119"/>
                      <a:pt x="145" y="119"/>
                    </a:cubicBezTo>
                    <a:cubicBezTo>
                      <a:pt x="148" y="120"/>
                      <a:pt x="150" y="117"/>
                      <a:pt x="150" y="117"/>
                    </a:cubicBezTo>
                    <a:cubicBezTo>
                      <a:pt x="154" y="116"/>
                      <a:pt x="151" y="110"/>
                      <a:pt x="151" y="110"/>
                    </a:cubicBezTo>
                    <a:cubicBezTo>
                      <a:pt x="149" y="110"/>
                      <a:pt x="150" y="94"/>
                      <a:pt x="150" y="94"/>
                    </a:cubicBezTo>
                    <a:cubicBezTo>
                      <a:pt x="158" y="88"/>
                      <a:pt x="150" y="83"/>
                      <a:pt x="150" y="83"/>
                    </a:cubicBezTo>
                    <a:cubicBezTo>
                      <a:pt x="150" y="83"/>
                      <a:pt x="150" y="78"/>
                      <a:pt x="149" y="77"/>
                    </a:cubicBezTo>
                    <a:cubicBezTo>
                      <a:pt x="149" y="71"/>
                      <a:pt x="153" y="71"/>
                      <a:pt x="153" y="70"/>
                    </a:cubicBezTo>
                    <a:cubicBezTo>
                      <a:pt x="155" y="70"/>
                      <a:pt x="155" y="56"/>
                      <a:pt x="155" y="55"/>
                    </a:cubicBezTo>
                    <a:cubicBezTo>
                      <a:pt x="165" y="50"/>
                      <a:pt x="153" y="47"/>
                      <a:pt x="152" y="47"/>
                    </a:cubicBezTo>
                    <a:cubicBezTo>
                      <a:pt x="145" y="47"/>
                      <a:pt x="143" y="43"/>
                      <a:pt x="143" y="43"/>
                    </a:cubicBezTo>
                    <a:cubicBezTo>
                      <a:pt x="141" y="45"/>
                      <a:pt x="135" y="41"/>
                      <a:pt x="136" y="41"/>
                    </a:cubicBezTo>
                    <a:cubicBezTo>
                      <a:pt x="136" y="37"/>
                      <a:pt x="130" y="36"/>
                      <a:pt x="130" y="35"/>
                    </a:cubicBezTo>
                    <a:cubicBezTo>
                      <a:pt x="129" y="34"/>
                      <a:pt x="129" y="28"/>
                      <a:pt x="129" y="28"/>
                    </a:cubicBezTo>
                    <a:cubicBezTo>
                      <a:pt x="126" y="23"/>
                      <a:pt x="139" y="25"/>
                      <a:pt x="139" y="25"/>
                    </a:cubicBezTo>
                    <a:cubicBezTo>
                      <a:pt x="140" y="24"/>
                      <a:pt x="140" y="20"/>
                      <a:pt x="141" y="17"/>
                    </a:cubicBezTo>
                    <a:cubicBezTo>
                      <a:pt x="137" y="19"/>
                      <a:pt x="137" y="19"/>
                      <a:pt x="137" y="19"/>
                    </a:cubicBezTo>
                    <a:cubicBezTo>
                      <a:pt x="137" y="20"/>
                      <a:pt x="137" y="20"/>
                      <a:pt x="137" y="20"/>
                    </a:cubicBezTo>
                    <a:cubicBezTo>
                      <a:pt x="133" y="19"/>
                      <a:pt x="133" y="19"/>
                      <a:pt x="133" y="19"/>
                    </a:cubicBezTo>
                    <a:cubicBezTo>
                      <a:pt x="130" y="18"/>
                      <a:pt x="130" y="18"/>
                      <a:pt x="130" y="18"/>
                    </a:cubicBezTo>
                    <a:cubicBezTo>
                      <a:pt x="129" y="18"/>
                      <a:pt x="129" y="18"/>
                      <a:pt x="129" y="18"/>
                    </a:cubicBezTo>
                    <a:cubicBezTo>
                      <a:pt x="128" y="17"/>
                      <a:pt x="128" y="17"/>
                      <a:pt x="128" y="17"/>
                    </a:cubicBezTo>
                    <a:cubicBezTo>
                      <a:pt x="129" y="14"/>
                      <a:pt x="129" y="14"/>
                      <a:pt x="129" y="14"/>
                    </a:cubicBezTo>
                    <a:cubicBezTo>
                      <a:pt x="131" y="12"/>
                      <a:pt x="131" y="12"/>
                      <a:pt x="131" y="12"/>
                    </a:cubicBezTo>
                    <a:cubicBezTo>
                      <a:pt x="133" y="11"/>
                      <a:pt x="133" y="11"/>
                      <a:pt x="133" y="11"/>
                    </a:cubicBezTo>
                    <a:cubicBezTo>
                      <a:pt x="136" y="9"/>
                      <a:pt x="136" y="9"/>
                      <a:pt x="136" y="9"/>
                    </a:cubicBezTo>
                    <a:cubicBezTo>
                      <a:pt x="138" y="8"/>
                      <a:pt x="138" y="8"/>
                      <a:pt x="138" y="8"/>
                    </a:cubicBezTo>
                    <a:cubicBezTo>
                      <a:pt x="140" y="8"/>
                      <a:pt x="140" y="8"/>
                      <a:pt x="140" y="8"/>
                    </a:cubicBezTo>
                    <a:cubicBezTo>
                      <a:pt x="139" y="7"/>
                      <a:pt x="140" y="5"/>
                      <a:pt x="140" y="5"/>
                    </a:cubicBezTo>
                    <a:cubicBezTo>
                      <a:pt x="140" y="1"/>
                      <a:pt x="116" y="3"/>
                      <a:pt x="116" y="3"/>
                    </a:cubicBezTo>
                    <a:cubicBezTo>
                      <a:pt x="117" y="0"/>
                      <a:pt x="113" y="2"/>
                      <a:pt x="113" y="2"/>
                    </a:cubicBezTo>
                    <a:cubicBezTo>
                      <a:pt x="107" y="1"/>
                      <a:pt x="111" y="5"/>
                      <a:pt x="111" y="5"/>
                    </a:cubicBezTo>
                    <a:cubicBezTo>
                      <a:pt x="111" y="7"/>
                      <a:pt x="107" y="6"/>
                      <a:pt x="107" y="6"/>
                    </a:cubicBezTo>
                    <a:cubicBezTo>
                      <a:pt x="107" y="2"/>
                      <a:pt x="103" y="3"/>
                      <a:pt x="103" y="3"/>
                    </a:cubicBezTo>
                    <a:cubicBezTo>
                      <a:pt x="99" y="3"/>
                      <a:pt x="100" y="7"/>
                      <a:pt x="100" y="7"/>
                    </a:cubicBezTo>
                    <a:cubicBezTo>
                      <a:pt x="99" y="7"/>
                      <a:pt x="93" y="10"/>
                      <a:pt x="93" y="9"/>
                    </a:cubicBezTo>
                    <a:cubicBezTo>
                      <a:pt x="90" y="10"/>
                      <a:pt x="84" y="9"/>
                      <a:pt x="84" y="9"/>
                    </a:cubicBezTo>
                    <a:cubicBezTo>
                      <a:pt x="78" y="1"/>
                      <a:pt x="72" y="10"/>
                      <a:pt x="73" y="10"/>
                    </a:cubicBezTo>
                    <a:cubicBezTo>
                      <a:pt x="68" y="9"/>
                      <a:pt x="67" y="13"/>
                      <a:pt x="67" y="13"/>
                    </a:cubicBezTo>
                    <a:cubicBezTo>
                      <a:pt x="63" y="12"/>
                      <a:pt x="62" y="15"/>
                      <a:pt x="62" y="15"/>
                    </a:cubicBezTo>
                    <a:cubicBezTo>
                      <a:pt x="57" y="15"/>
                      <a:pt x="62" y="22"/>
                      <a:pt x="61" y="22"/>
                    </a:cubicBezTo>
                    <a:cubicBezTo>
                      <a:pt x="64" y="22"/>
                      <a:pt x="64" y="27"/>
                      <a:pt x="64" y="27"/>
                    </a:cubicBezTo>
                    <a:cubicBezTo>
                      <a:pt x="67" y="27"/>
                      <a:pt x="66" y="31"/>
                      <a:pt x="65" y="31"/>
                    </a:cubicBezTo>
                    <a:cubicBezTo>
                      <a:pt x="64" y="31"/>
                      <a:pt x="62" y="33"/>
                      <a:pt x="62" y="33"/>
                    </a:cubicBezTo>
                    <a:cubicBezTo>
                      <a:pt x="59" y="33"/>
                      <a:pt x="56" y="38"/>
                      <a:pt x="56" y="38"/>
                    </a:cubicBezTo>
                    <a:cubicBezTo>
                      <a:pt x="55" y="38"/>
                      <a:pt x="51" y="43"/>
                      <a:pt x="51" y="43"/>
                    </a:cubicBezTo>
                    <a:cubicBezTo>
                      <a:pt x="49" y="48"/>
                      <a:pt x="46" y="50"/>
                      <a:pt x="46" y="50"/>
                    </a:cubicBezTo>
                    <a:cubicBezTo>
                      <a:pt x="44" y="50"/>
                      <a:pt x="42" y="56"/>
                      <a:pt x="42" y="56"/>
                    </a:cubicBezTo>
                    <a:cubicBezTo>
                      <a:pt x="41" y="56"/>
                      <a:pt x="38" y="62"/>
                      <a:pt x="38" y="62"/>
                    </a:cubicBezTo>
                    <a:cubicBezTo>
                      <a:pt x="34" y="60"/>
                      <a:pt x="38" y="54"/>
                      <a:pt x="38" y="54"/>
                    </a:cubicBezTo>
                    <a:cubicBezTo>
                      <a:pt x="38" y="51"/>
                      <a:pt x="30" y="52"/>
                      <a:pt x="31" y="52"/>
                    </a:cubicBezTo>
                    <a:cubicBezTo>
                      <a:pt x="27" y="51"/>
                      <a:pt x="24" y="58"/>
                      <a:pt x="24" y="57"/>
                    </a:cubicBezTo>
                    <a:cubicBezTo>
                      <a:pt x="25" y="60"/>
                      <a:pt x="19" y="60"/>
                      <a:pt x="19" y="61"/>
                    </a:cubicBezTo>
                    <a:cubicBezTo>
                      <a:pt x="16" y="60"/>
                      <a:pt x="17" y="74"/>
                      <a:pt x="17" y="74"/>
                    </a:cubicBezTo>
                    <a:cubicBezTo>
                      <a:pt x="19" y="78"/>
                      <a:pt x="15" y="81"/>
                      <a:pt x="15" y="81"/>
                    </a:cubicBezTo>
                    <a:cubicBezTo>
                      <a:pt x="14" y="82"/>
                      <a:pt x="12" y="88"/>
                      <a:pt x="12" y="88"/>
                    </a:cubicBezTo>
                    <a:cubicBezTo>
                      <a:pt x="8" y="88"/>
                      <a:pt x="12" y="94"/>
                      <a:pt x="12" y="94"/>
                    </a:cubicBezTo>
                    <a:cubicBezTo>
                      <a:pt x="10" y="95"/>
                      <a:pt x="7" y="98"/>
                      <a:pt x="7" y="98"/>
                    </a:cubicBezTo>
                    <a:cubicBezTo>
                      <a:pt x="0" y="102"/>
                      <a:pt x="4" y="113"/>
                      <a:pt x="4" y="112"/>
                    </a:cubicBezTo>
                    <a:cubicBezTo>
                      <a:pt x="8" y="114"/>
                      <a:pt x="10" y="120"/>
                      <a:pt x="10" y="120"/>
                    </a:cubicBezTo>
                    <a:cubicBezTo>
                      <a:pt x="15" y="123"/>
                      <a:pt x="12" y="132"/>
                      <a:pt x="12" y="132"/>
                    </a:cubicBezTo>
                    <a:cubicBezTo>
                      <a:pt x="4" y="132"/>
                      <a:pt x="10" y="138"/>
                      <a:pt x="10" y="138"/>
                    </a:cubicBezTo>
                    <a:cubicBezTo>
                      <a:pt x="8" y="139"/>
                      <a:pt x="7" y="140"/>
                      <a:pt x="7" y="142"/>
                    </a:cubicBezTo>
                    <a:cubicBezTo>
                      <a:pt x="8" y="142"/>
                      <a:pt x="8" y="142"/>
                      <a:pt x="9" y="141"/>
                    </a:cubicBezTo>
                    <a:cubicBezTo>
                      <a:pt x="9" y="141"/>
                      <a:pt x="15" y="140"/>
                      <a:pt x="16" y="144"/>
                    </a:cubicBezTo>
                    <a:cubicBezTo>
                      <a:pt x="16" y="144"/>
                      <a:pt x="26" y="142"/>
                      <a:pt x="27" y="144"/>
                    </a:cubicBezTo>
                    <a:cubicBezTo>
                      <a:pt x="27" y="145"/>
                      <a:pt x="30" y="149"/>
                      <a:pt x="31" y="148"/>
                    </a:cubicBezTo>
                    <a:cubicBezTo>
                      <a:pt x="31" y="148"/>
                      <a:pt x="35" y="148"/>
                      <a:pt x="33" y="152"/>
                    </a:cubicBezTo>
                    <a:cubicBezTo>
                      <a:pt x="33" y="152"/>
                      <a:pt x="38" y="152"/>
                      <a:pt x="39" y="154"/>
                    </a:cubicBezTo>
                    <a:cubicBezTo>
                      <a:pt x="39" y="155"/>
                      <a:pt x="46" y="156"/>
                      <a:pt x="46" y="158"/>
                    </a:cubicBezTo>
                    <a:cubicBezTo>
                      <a:pt x="46" y="158"/>
                      <a:pt x="50" y="162"/>
                      <a:pt x="50" y="163"/>
                    </a:cubicBezTo>
                    <a:cubicBezTo>
                      <a:pt x="50" y="164"/>
                      <a:pt x="54" y="165"/>
                      <a:pt x="54" y="166"/>
                    </a:cubicBezTo>
                    <a:cubicBezTo>
                      <a:pt x="54" y="166"/>
                      <a:pt x="55" y="167"/>
                      <a:pt x="56" y="166"/>
                    </a:cubicBezTo>
                    <a:cubicBezTo>
                      <a:pt x="56" y="166"/>
                      <a:pt x="57" y="164"/>
                      <a:pt x="61" y="164"/>
                    </a:cubicBezTo>
                    <a:cubicBezTo>
                      <a:pt x="61" y="164"/>
                      <a:pt x="63" y="160"/>
                      <a:pt x="65" y="160"/>
                    </a:cubicBezTo>
                    <a:cubicBezTo>
                      <a:pt x="65" y="160"/>
                      <a:pt x="76" y="158"/>
                      <a:pt x="77" y="158"/>
                    </a:cubicBezTo>
                    <a:cubicBezTo>
                      <a:pt x="78" y="158"/>
                      <a:pt x="91" y="157"/>
                      <a:pt x="91" y="160"/>
                    </a:cubicBezTo>
                    <a:cubicBezTo>
                      <a:pt x="91" y="160"/>
                      <a:pt x="95" y="164"/>
                      <a:pt x="99" y="160"/>
                    </a:cubicBezTo>
                    <a:cubicBezTo>
                      <a:pt x="99" y="160"/>
                      <a:pt x="100" y="158"/>
                      <a:pt x="104" y="158"/>
                    </a:cubicBezTo>
                    <a:cubicBezTo>
                      <a:pt x="105" y="157"/>
                      <a:pt x="111" y="160"/>
                      <a:pt x="112" y="163"/>
                    </a:cubicBezTo>
                    <a:cubicBezTo>
                      <a:pt x="112" y="163"/>
                      <a:pt x="115" y="165"/>
                      <a:pt x="116" y="168"/>
                    </a:cubicBezTo>
                    <a:cubicBezTo>
                      <a:pt x="116" y="168"/>
                      <a:pt x="125" y="171"/>
                      <a:pt x="128" y="167"/>
                    </a:cubicBezTo>
                    <a:cubicBezTo>
                      <a:pt x="128" y="167"/>
                      <a:pt x="129" y="162"/>
                      <a:pt x="132" y="163"/>
                    </a:cubicBezTo>
                    <a:cubicBezTo>
                      <a:pt x="132" y="163"/>
                      <a:pt x="133" y="166"/>
                      <a:pt x="136" y="163"/>
                    </a:cubicBezTo>
                    <a:cubicBezTo>
                      <a:pt x="136" y="163"/>
                      <a:pt x="140" y="158"/>
                      <a:pt x="141" y="157"/>
                    </a:cubicBezTo>
                    <a:cubicBezTo>
                      <a:pt x="141" y="157"/>
                      <a:pt x="144" y="154"/>
                      <a:pt x="145" y="152"/>
                    </a:cubicBezTo>
                    <a:cubicBezTo>
                      <a:pt x="145" y="152"/>
                      <a:pt x="149" y="150"/>
                      <a:pt x="157" y="150"/>
                    </a:cubicBezTo>
                    <a:cubicBezTo>
                      <a:pt x="157" y="150"/>
                      <a:pt x="161" y="148"/>
                      <a:pt x="164" y="148"/>
                    </a:cubicBezTo>
                    <a:cubicBezTo>
                      <a:pt x="164" y="148"/>
                      <a:pt x="165" y="146"/>
                      <a:pt x="167" y="145"/>
                    </a:cubicBezTo>
                    <a:cubicBezTo>
                      <a:pt x="167" y="144"/>
                      <a:pt x="167" y="143"/>
                      <a:pt x="167" y="143"/>
                    </a:cubicBezTo>
                    <a:cubicBezTo>
                      <a:pt x="165" y="135"/>
                      <a:pt x="161" y="142"/>
                      <a:pt x="161" y="141"/>
                    </a:cubicBezTo>
                    <a:close/>
                    <a:moveTo>
                      <a:pt x="239" y="102"/>
                    </a:moveTo>
                    <a:cubicBezTo>
                      <a:pt x="239" y="102"/>
                      <a:pt x="235" y="96"/>
                      <a:pt x="230" y="98"/>
                    </a:cubicBezTo>
                    <a:cubicBezTo>
                      <a:pt x="230" y="98"/>
                      <a:pt x="225" y="97"/>
                      <a:pt x="222" y="96"/>
                    </a:cubicBezTo>
                    <a:cubicBezTo>
                      <a:pt x="222" y="95"/>
                      <a:pt x="217" y="98"/>
                      <a:pt x="214" y="98"/>
                    </a:cubicBezTo>
                    <a:cubicBezTo>
                      <a:pt x="201" y="99"/>
                      <a:pt x="201" y="99"/>
                      <a:pt x="201" y="99"/>
                    </a:cubicBezTo>
                    <a:cubicBezTo>
                      <a:pt x="201" y="99"/>
                      <a:pt x="196" y="101"/>
                      <a:pt x="196" y="99"/>
                    </a:cubicBezTo>
                    <a:cubicBezTo>
                      <a:pt x="196" y="99"/>
                      <a:pt x="192" y="96"/>
                      <a:pt x="193" y="89"/>
                    </a:cubicBezTo>
                    <a:cubicBezTo>
                      <a:pt x="193" y="89"/>
                      <a:pt x="187" y="87"/>
                      <a:pt x="183" y="91"/>
                    </a:cubicBezTo>
                    <a:cubicBezTo>
                      <a:pt x="179" y="95"/>
                      <a:pt x="179" y="95"/>
                      <a:pt x="179" y="95"/>
                    </a:cubicBezTo>
                    <a:cubicBezTo>
                      <a:pt x="179" y="95"/>
                      <a:pt x="177" y="97"/>
                      <a:pt x="174" y="95"/>
                    </a:cubicBezTo>
                    <a:cubicBezTo>
                      <a:pt x="174" y="95"/>
                      <a:pt x="171" y="94"/>
                      <a:pt x="172" y="92"/>
                    </a:cubicBezTo>
                    <a:cubicBezTo>
                      <a:pt x="172" y="92"/>
                      <a:pt x="172" y="89"/>
                      <a:pt x="174" y="91"/>
                    </a:cubicBezTo>
                    <a:cubicBezTo>
                      <a:pt x="175" y="91"/>
                      <a:pt x="175" y="87"/>
                      <a:pt x="176" y="87"/>
                    </a:cubicBezTo>
                    <a:cubicBezTo>
                      <a:pt x="177" y="87"/>
                      <a:pt x="180" y="87"/>
                      <a:pt x="177" y="85"/>
                    </a:cubicBezTo>
                    <a:cubicBezTo>
                      <a:pt x="177" y="85"/>
                      <a:pt x="176" y="84"/>
                      <a:pt x="176" y="81"/>
                    </a:cubicBezTo>
                    <a:cubicBezTo>
                      <a:pt x="176" y="81"/>
                      <a:pt x="173" y="76"/>
                      <a:pt x="172" y="81"/>
                    </a:cubicBezTo>
                    <a:cubicBezTo>
                      <a:pt x="172" y="82"/>
                      <a:pt x="173" y="87"/>
                      <a:pt x="169" y="87"/>
                    </a:cubicBezTo>
                    <a:cubicBezTo>
                      <a:pt x="169" y="87"/>
                      <a:pt x="165" y="87"/>
                      <a:pt x="168" y="91"/>
                    </a:cubicBezTo>
                    <a:cubicBezTo>
                      <a:pt x="168" y="91"/>
                      <a:pt x="172" y="91"/>
                      <a:pt x="171" y="94"/>
                    </a:cubicBezTo>
                    <a:cubicBezTo>
                      <a:pt x="171" y="94"/>
                      <a:pt x="173" y="96"/>
                      <a:pt x="173" y="98"/>
                    </a:cubicBezTo>
                    <a:cubicBezTo>
                      <a:pt x="173" y="97"/>
                      <a:pt x="176" y="100"/>
                      <a:pt x="173" y="101"/>
                    </a:cubicBezTo>
                    <a:cubicBezTo>
                      <a:pt x="173" y="101"/>
                      <a:pt x="168" y="101"/>
                      <a:pt x="172" y="113"/>
                    </a:cubicBezTo>
                    <a:cubicBezTo>
                      <a:pt x="172" y="113"/>
                      <a:pt x="179" y="119"/>
                      <a:pt x="172" y="121"/>
                    </a:cubicBezTo>
                    <a:cubicBezTo>
                      <a:pt x="173" y="121"/>
                      <a:pt x="170" y="124"/>
                      <a:pt x="174" y="125"/>
                    </a:cubicBezTo>
                    <a:cubicBezTo>
                      <a:pt x="174" y="125"/>
                      <a:pt x="179" y="128"/>
                      <a:pt x="180" y="128"/>
                    </a:cubicBezTo>
                    <a:cubicBezTo>
                      <a:pt x="180" y="128"/>
                      <a:pt x="180" y="133"/>
                      <a:pt x="177" y="133"/>
                    </a:cubicBezTo>
                    <a:cubicBezTo>
                      <a:pt x="177" y="133"/>
                      <a:pt x="178" y="136"/>
                      <a:pt x="181" y="137"/>
                    </a:cubicBezTo>
                    <a:cubicBezTo>
                      <a:pt x="181" y="137"/>
                      <a:pt x="181" y="140"/>
                      <a:pt x="185" y="140"/>
                    </a:cubicBezTo>
                    <a:cubicBezTo>
                      <a:pt x="185" y="140"/>
                      <a:pt x="189" y="140"/>
                      <a:pt x="191" y="142"/>
                    </a:cubicBezTo>
                    <a:cubicBezTo>
                      <a:pt x="191" y="143"/>
                      <a:pt x="195" y="144"/>
                      <a:pt x="195" y="146"/>
                    </a:cubicBezTo>
                    <a:cubicBezTo>
                      <a:pt x="195" y="146"/>
                      <a:pt x="196" y="150"/>
                      <a:pt x="198" y="151"/>
                    </a:cubicBezTo>
                    <a:cubicBezTo>
                      <a:pt x="198" y="151"/>
                      <a:pt x="194" y="153"/>
                      <a:pt x="188" y="153"/>
                    </a:cubicBezTo>
                    <a:cubicBezTo>
                      <a:pt x="188" y="153"/>
                      <a:pt x="185" y="156"/>
                      <a:pt x="182" y="156"/>
                    </a:cubicBezTo>
                    <a:cubicBezTo>
                      <a:pt x="182" y="156"/>
                      <a:pt x="180" y="152"/>
                      <a:pt x="178" y="153"/>
                    </a:cubicBezTo>
                    <a:cubicBezTo>
                      <a:pt x="179" y="154"/>
                      <a:pt x="180" y="156"/>
                      <a:pt x="180" y="160"/>
                    </a:cubicBezTo>
                    <a:cubicBezTo>
                      <a:pt x="180" y="160"/>
                      <a:pt x="183" y="164"/>
                      <a:pt x="186" y="162"/>
                    </a:cubicBezTo>
                    <a:cubicBezTo>
                      <a:pt x="186" y="161"/>
                      <a:pt x="187" y="157"/>
                      <a:pt x="191" y="158"/>
                    </a:cubicBezTo>
                    <a:cubicBezTo>
                      <a:pt x="191" y="158"/>
                      <a:pt x="195" y="160"/>
                      <a:pt x="197" y="158"/>
                    </a:cubicBezTo>
                    <a:cubicBezTo>
                      <a:pt x="196" y="158"/>
                      <a:pt x="206" y="155"/>
                      <a:pt x="207" y="163"/>
                    </a:cubicBezTo>
                    <a:cubicBezTo>
                      <a:pt x="210" y="162"/>
                      <a:pt x="213" y="162"/>
                      <a:pt x="214" y="161"/>
                    </a:cubicBezTo>
                    <a:cubicBezTo>
                      <a:pt x="214" y="161"/>
                      <a:pt x="219" y="159"/>
                      <a:pt x="229" y="160"/>
                    </a:cubicBezTo>
                    <a:cubicBezTo>
                      <a:pt x="229" y="160"/>
                      <a:pt x="232" y="156"/>
                      <a:pt x="229" y="151"/>
                    </a:cubicBezTo>
                    <a:cubicBezTo>
                      <a:pt x="229" y="152"/>
                      <a:pt x="224" y="148"/>
                      <a:pt x="225" y="147"/>
                    </a:cubicBezTo>
                    <a:cubicBezTo>
                      <a:pt x="225" y="147"/>
                      <a:pt x="220" y="146"/>
                      <a:pt x="225" y="145"/>
                    </a:cubicBezTo>
                    <a:cubicBezTo>
                      <a:pt x="225" y="145"/>
                      <a:pt x="225" y="141"/>
                      <a:pt x="223" y="141"/>
                    </a:cubicBezTo>
                    <a:cubicBezTo>
                      <a:pt x="223" y="141"/>
                      <a:pt x="222" y="137"/>
                      <a:pt x="225" y="137"/>
                    </a:cubicBezTo>
                    <a:cubicBezTo>
                      <a:pt x="225" y="137"/>
                      <a:pt x="228" y="133"/>
                      <a:pt x="227" y="130"/>
                    </a:cubicBezTo>
                    <a:cubicBezTo>
                      <a:pt x="227" y="130"/>
                      <a:pt x="226" y="120"/>
                      <a:pt x="229" y="118"/>
                    </a:cubicBezTo>
                    <a:cubicBezTo>
                      <a:pt x="229" y="118"/>
                      <a:pt x="232" y="110"/>
                      <a:pt x="234" y="109"/>
                    </a:cubicBezTo>
                    <a:cubicBezTo>
                      <a:pt x="234" y="109"/>
                      <a:pt x="246" y="106"/>
                      <a:pt x="239" y="10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97" name="Oval 414">
                <a:extLst>
                  <a:ext uri="{FF2B5EF4-FFF2-40B4-BE49-F238E27FC236}">
                    <a16:creationId xmlns:a16="http://schemas.microsoft.com/office/drawing/2014/main" id="{23FA332E-5D53-31F1-9515-C4167A5172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05898" y="3676655"/>
                <a:ext cx="105763" cy="101446"/>
              </a:xfrm>
              <a:prstGeom prst="ellipse">
                <a:avLst/>
              </a:prstGeom>
              <a:solidFill>
                <a:schemeClr val="accent4"/>
              </a:solidFill>
              <a:ln w="1270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98" name="Oval 404">
                <a:extLst>
                  <a:ext uri="{FF2B5EF4-FFF2-40B4-BE49-F238E27FC236}">
                    <a16:creationId xmlns:a16="http://schemas.microsoft.com/office/drawing/2014/main" id="{256F0F2B-8CEA-80F5-13A5-952658469F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94610" y="2467943"/>
                <a:ext cx="105761" cy="101445"/>
              </a:xfrm>
              <a:prstGeom prst="ellipse">
                <a:avLst/>
              </a:prstGeom>
              <a:solidFill>
                <a:schemeClr val="accent4"/>
              </a:solidFill>
              <a:ln w="12700" algn="ctr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99" name="Oval 405">
                <a:extLst>
                  <a:ext uri="{FF2B5EF4-FFF2-40B4-BE49-F238E27FC236}">
                    <a16:creationId xmlns:a16="http://schemas.microsoft.com/office/drawing/2014/main" id="{F603CF21-3596-C4FD-B375-F3A917C636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40666" y="2575866"/>
                <a:ext cx="105761" cy="101445"/>
              </a:xfrm>
              <a:prstGeom prst="ellipse">
                <a:avLst/>
              </a:prstGeom>
              <a:solidFill>
                <a:schemeClr val="accent4"/>
              </a:solidFill>
              <a:ln w="12700" algn="ctr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00" name="Oval 409">
                <a:extLst>
                  <a:ext uri="{FF2B5EF4-FFF2-40B4-BE49-F238E27FC236}">
                    <a16:creationId xmlns:a16="http://schemas.microsoft.com/office/drawing/2014/main" id="{2D106367-CF20-6E5A-8E11-E727875FFB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85820" y="2236995"/>
                <a:ext cx="105761" cy="101445"/>
              </a:xfrm>
              <a:prstGeom prst="ellipse">
                <a:avLst/>
              </a:prstGeom>
              <a:solidFill>
                <a:schemeClr val="accent4"/>
              </a:solidFill>
              <a:ln w="12700" algn="ctr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01" name="Oval 411">
                <a:extLst>
                  <a:ext uri="{FF2B5EF4-FFF2-40B4-BE49-F238E27FC236}">
                    <a16:creationId xmlns:a16="http://schemas.microsoft.com/office/drawing/2014/main" id="{60923554-A8E0-52B2-06BC-C906137026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8301" y="4861623"/>
                <a:ext cx="105761" cy="101445"/>
              </a:xfrm>
              <a:prstGeom prst="ellipse">
                <a:avLst/>
              </a:prstGeom>
              <a:solidFill>
                <a:schemeClr val="accent4"/>
              </a:solidFill>
              <a:ln w="12700" algn="ctr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02" name="Oval 412">
                <a:extLst>
                  <a:ext uri="{FF2B5EF4-FFF2-40B4-BE49-F238E27FC236}">
                    <a16:creationId xmlns:a16="http://schemas.microsoft.com/office/drawing/2014/main" id="{1F50A190-0BD6-EF88-293C-74BD0C15E0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8136" y="4296120"/>
                <a:ext cx="105761" cy="101445"/>
              </a:xfrm>
              <a:prstGeom prst="ellipse">
                <a:avLst/>
              </a:prstGeom>
              <a:solidFill>
                <a:schemeClr val="accent4"/>
              </a:solidFill>
              <a:ln w="12700" algn="ctr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04" name="Oval 417">
                <a:extLst>
                  <a:ext uri="{FF2B5EF4-FFF2-40B4-BE49-F238E27FC236}">
                    <a16:creationId xmlns:a16="http://schemas.microsoft.com/office/drawing/2014/main" id="{3CD536B1-AF33-EF41-5E01-8C619CA1CC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0377" y="5042929"/>
                <a:ext cx="105761" cy="101445"/>
              </a:xfrm>
              <a:prstGeom prst="ellipse">
                <a:avLst/>
              </a:prstGeom>
              <a:solidFill>
                <a:schemeClr val="accent4"/>
              </a:solidFill>
              <a:ln w="12700" algn="ctr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05" name="Oval 420">
                <a:extLst>
                  <a:ext uri="{FF2B5EF4-FFF2-40B4-BE49-F238E27FC236}">
                    <a16:creationId xmlns:a16="http://schemas.microsoft.com/office/drawing/2014/main" id="{96B612EB-6741-D063-C07D-AB6503790D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24576" y="3214755"/>
                <a:ext cx="105761" cy="101445"/>
              </a:xfrm>
              <a:prstGeom prst="ellipse">
                <a:avLst/>
              </a:prstGeom>
              <a:solidFill>
                <a:schemeClr val="accent4"/>
              </a:solidFill>
              <a:ln w="12700" algn="ctr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06" name="Oval 422">
                <a:extLst>
                  <a:ext uri="{FF2B5EF4-FFF2-40B4-BE49-F238E27FC236}">
                    <a16:creationId xmlns:a16="http://schemas.microsoft.com/office/drawing/2014/main" id="{AE58962C-8C3F-BE1E-CF06-AD874AE237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12396" y="2424776"/>
                <a:ext cx="105761" cy="101445"/>
              </a:xfrm>
              <a:prstGeom prst="ellipse">
                <a:avLst/>
              </a:prstGeom>
              <a:solidFill>
                <a:schemeClr val="accent4"/>
              </a:solidFill>
              <a:ln w="12700" algn="ctr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07" name="Oval 425">
                <a:extLst>
                  <a:ext uri="{FF2B5EF4-FFF2-40B4-BE49-F238E27FC236}">
                    <a16:creationId xmlns:a16="http://schemas.microsoft.com/office/drawing/2014/main" id="{BF57076A-EEBA-0A3F-AFC4-4D164FAFA3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4927" y="2783073"/>
                <a:ext cx="105762" cy="101445"/>
              </a:xfrm>
              <a:prstGeom prst="ellipse">
                <a:avLst/>
              </a:prstGeom>
              <a:solidFill>
                <a:schemeClr val="accent4"/>
              </a:solidFill>
              <a:ln w="12700" algn="ctr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08" name="Oval 427">
                <a:extLst>
                  <a:ext uri="{FF2B5EF4-FFF2-40B4-BE49-F238E27FC236}">
                    <a16:creationId xmlns:a16="http://schemas.microsoft.com/office/drawing/2014/main" id="{3E8C5087-495D-3675-4199-84EDB54685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03066" y="1949925"/>
                <a:ext cx="105761" cy="101445"/>
              </a:xfrm>
              <a:prstGeom prst="ellipse">
                <a:avLst/>
              </a:prstGeom>
              <a:solidFill>
                <a:schemeClr val="accent4"/>
              </a:solidFill>
              <a:ln w="12700" algn="ctr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09" name="Oval 429">
                <a:extLst>
                  <a:ext uri="{FF2B5EF4-FFF2-40B4-BE49-F238E27FC236}">
                    <a16:creationId xmlns:a16="http://schemas.microsoft.com/office/drawing/2014/main" id="{C31834AC-141A-F6EE-765E-3BB71C6594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2771" y="3540674"/>
                <a:ext cx="105761" cy="101445"/>
              </a:xfrm>
              <a:prstGeom prst="ellipse">
                <a:avLst/>
              </a:prstGeom>
              <a:solidFill>
                <a:schemeClr val="accent4"/>
              </a:solidFill>
              <a:ln w="12700" algn="ctr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10" name="Oval 431">
                <a:extLst>
                  <a:ext uri="{FF2B5EF4-FFF2-40B4-BE49-F238E27FC236}">
                    <a16:creationId xmlns:a16="http://schemas.microsoft.com/office/drawing/2014/main" id="{ED4611CB-7C63-4A54-D877-CCAC02FFFB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10369" y="3594636"/>
                <a:ext cx="107921" cy="101445"/>
              </a:xfrm>
              <a:prstGeom prst="ellipse">
                <a:avLst/>
              </a:prstGeom>
              <a:solidFill>
                <a:schemeClr val="accent4"/>
              </a:solidFill>
              <a:ln w="12700" algn="ctr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11" name="Oval 433">
                <a:extLst>
                  <a:ext uri="{FF2B5EF4-FFF2-40B4-BE49-F238E27FC236}">
                    <a16:creationId xmlns:a16="http://schemas.microsoft.com/office/drawing/2014/main" id="{C51A0917-10AD-7AC7-C0C8-3D7C169DC1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34866" y="5178912"/>
                <a:ext cx="105761" cy="101445"/>
              </a:xfrm>
              <a:prstGeom prst="ellipse">
                <a:avLst/>
              </a:prstGeom>
              <a:solidFill>
                <a:schemeClr val="accent4"/>
              </a:solidFill>
              <a:ln w="12700" algn="ctr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12" name="Oval 435">
                <a:extLst>
                  <a:ext uri="{FF2B5EF4-FFF2-40B4-BE49-F238E27FC236}">
                    <a16:creationId xmlns:a16="http://schemas.microsoft.com/office/drawing/2014/main" id="{F4D3C6D1-BC6C-CB63-F08A-314000928C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07462" y="3376635"/>
                <a:ext cx="105761" cy="101445"/>
              </a:xfrm>
              <a:prstGeom prst="ellipse">
                <a:avLst/>
              </a:prstGeom>
              <a:solidFill>
                <a:schemeClr val="accent4"/>
              </a:solidFill>
              <a:ln w="12700" algn="ctr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13" name="Oval 437">
                <a:extLst>
                  <a:ext uri="{FF2B5EF4-FFF2-40B4-BE49-F238E27FC236}">
                    <a16:creationId xmlns:a16="http://schemas.microsoft.com/office/drawing/2014/main" id="{E421060C-4D68-9C67-57D0-82F75ECBDC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2056" y="3154319"/>
                <a:ext cx="105761" cy="101445"/>
              </a:xfrm>
              <a:prstGeom prst="ellipse">
                <a:avLst/>
              </a:prstGeom>
              <a:solidFill>
                <a:schemeClr val="accent4"/>
              </a:solidFill>
              <a:ln w="12700" algn="ctr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14" name="Oval 440">
                <a:extLst>
                  <a:ext uri="{FF2B5EF4-FFF2-40B4-BE49-F238E27FC236}">
                    <a16:creationId xmlns:a16="http://schemas.microsoft.com/office/drawing/2014/main" id="{F4EE7DED-B5FC-D124-1D76-2BBB699420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0925" y="2903945"/>
                <a:ext cx="105761" cy="101445"/>
              </a:xfrm>
              <a:prstGeom prst="ellipse">
                <a:avLst/>
              </a:prstGeom>
              <a:solidFill>
                <a:schemeClr val="accent4"/>
              </a:solidFill>
              <a:ln w="12700" algn="ctr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15" name="Oval 441">
                <a:extLst>
                  <a:ext uri="{FF2B5EF4-FFF2-40B4-BE49-F238E27FC236}">
                    <a16:creationId xmlns:a16="http://schemas.microsoft.com/office/drawing/2014/main" id="{C417E88A-F853-65EF-9E1D-C6AD131304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21163" y="3264400"/>
                <a:ext cx="105761" cy="101445"/>
              </a:xfrm>
              <a:prstGeom prst="ellipse">
                <a:avLst/>
              </a:prstGeom>
              <a:solidFill>
                <a:schemeClr val="accent4"/>
              </a:solidFill>
              <a:ln w="12700" algn="ctr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16" name="Oval 443">
                <a:extLst>
                  <a:ext uri="{FF2B5EF4-FFF2-40B4-BE49-F238E27FC236}">
                    <a16:creationId xmlns:a16="http://schemas.microsoft.com/office/drawing/2014/main" id="{9DF33986-157B-7315-38E1-D89744304C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36926" y="2437727"/>
                <a:ext cx="105761" cy="101445"/>
              </a:xfrm>
              <a:prstGeom prst="ellipse">
                <a:avLst/>
              </a:prstGeom>
              <a:solidFill>
                <a:schemeClr val="accent4"/>
              </a:solidFill>
              <a:ln w="12700" algn="ctr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49" name="Oval 445">
                <a:extLst>
                  <a:ext uri="{FF2B5EF4-FFF2-40B4-BE49-F238E27FC236}">
                    <a16:creationId xmlns:a16="http://schemas.microsoft.com/office/drawing/2014/main" id="{866C1C31-512D-3AB5-F53A-8AF99D684E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90216" y="2437727"/>
                <a:ext cx="105761" cy="101445"/>
              </a:xfrm>
              <a:prstGeom prst="ellipse">
                <a:avLst/>
              </a:prstGeom>
              <a:solidFill>
                <a:schemeClr val="accent4"/>
              </a:solidFill>
              <a:ln w="12700" algn="ctr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50" name="Oval 447">
                <a:extLst>
                  <a:ext uri="{FF2B5EF4-FFF2-40B4-BE49-F238E27FC236}">
                    <a16:creationId xmlns:a16="http://schemas.microsoft.com/office/drawing/2014/main" id="{31C7940A-BFF9-881A-589C-8188A26B69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06770" y="1725451"/>
                <a:ext cx="105761" cy="101445"/>
              </a:xfrm>
              <a:prstGeom prst="ellipse">
                <a:avLst/>
              </a:prstGeom>
              <a:solidFill>
                <a:schemeClr val="accent4"/>
              </a:solidFill>
              <a:ln w="12700" algn="ctr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51" name="Oval 449">
                <a:extLst>
                  <a:ext uri="{FF2B5EF4-FFF2-40B4-BE49-F238E27FC236}">
                    <a16:creationId xmlns:a16="http://schemas.microsoft.com/office/drawing/2014/main" id="{57F61C97-7B50-BEB0-7BCE-33125AB5F0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77298" y="2034102"/>
                <a:ext cx="105761" cy="101445"/>
              </a:xfrm>
              <a:prstGeom prst="ellipse">
                <a:avLst/>
              </a:prstGeom>
              <a:solidFill>
                <a:schemeClr val="accent4"/>
              </a:solidFill>
              <a:ln w="12700" algn="ctr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52" name="Oval 451">
                <a:extLst>
                  <a:ext uri="{FF2B5EF4-FFF2-40B4-BE49-F238E27FC236}">
                    <a16:creationId xmlns:a16="http://schemas.microsoft.com/office/drawing/2014/main" id="{84E15B52-88EF-DAD2-A41C-A04B97FEA0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5165" y="3221232"/>
                <a:ext cx="105761" cy="101445"/>
              </a:xfrm>
              <a:prstGeom prst="ellipse">
                <a:avLst/>
              </a:prstGeom>
              <a:solidFill>
                <a:schemeClr val="accent4"/>
              </a:solidFill>
              <a:ln w="12700" algn="ctr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53" name="Oval 453">
                <a:extLst>
                  <a:ext uri="{FF2B5EF4-FFF2-40B4-BE49-F238E27FC236}">
                    <a16:creationId xmlns:a16="http://schemas.microsoft.com/office/drawing/2014/main" id="{1DCBDA75-5D1A-6F44-B273-40D12A81FF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37081" y="3670180"/>
                <a:ext cx="105761" cy="101445"/>
              </a:xfrm>
              <a:prstGeom prst="ellipse">
                <a:avLst/>
              </a:prstGeom>
              <a:solidFill>
                <a:schemeClr val="accent4"/>
              </a:solidFill>
              <a:ln w="12700" algn="ctr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54" name="Oval 455">
                <a:extLst>
                  <a:ext uri="{FF2B5EF4-FFF2-40B4-BE49-F238E27FC236}">
                    <a16:creationId xmlns:a16="http://schemas.microsoft.com/office/drawing/2014/main" id="{75E2A8C3-B3F8-2448-9610-4C948088F3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83104" y="2306063"/>
                <a:ext cx="105761" cy="101445"/>
              </a:xfrm>
              <a:prstGeom prst="ellipse">
                <a:avLst/>
              </a:prstGeom>
              <a:solidFill>
                <a:schemeClr val="accent4"/>
              </a:solidFill>
              <a:ln w="12700" algn="ctr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55" name="Freihandform 109">
                <a:extLst>
                  <a:ext uri="{FF2B5EF4-FFF2-40B4-BE49-F238E27FC236}">
                    <a16:creationId xmlns:a16="http://schemas.microsoft.com/office/drawing/2014/main" id="{03658DC0-D79B-6728-38AA-30A418FE9108}"/>
                  </a:ext>
                </a:extLst>
              </p:cNvPr>
              <p:cNvSpPr/>
              <p:nvPr/>
            </p:nvSpPr>
            <p:spPr bwMode="auto">
              <a:xfrm>
                <a:off x="6023700" y="2483777"/>
                <a:ext cx="479167" cy="760878"/>
              </a:xfrm>
              <a:custGeom>
                <a:avLst/>
                <a:gdLst>
                  <a:gd name="connsiteX0" fmla="*/ 245269 w 352425"/>
                  <a:gd name="connsiteY0" fmla="*/ 28 h 559622"/>
                  <a:gd name="connsiteX1" fmla="*/ 257175 w 352425"/>
                  <a:gd name="connsiteY1" fmla="*/ 4791 h 559622"/>
                  <a:gd name="connsiteX2" fmla="*/ 269081 w 352425"/>
                  <a:gd name="connsiteY2" fmla="*/ 7172 h 559622"/>
                  <a:gd name="connsiteX3" fmla="*/ 276225 w 352425"/>
                  <a:gd name="connsiteY3" fmla="*/ 9553 h 559622"/>
                  <a:gd name="connsiteX4" fmla="*/ 285750 w 352425"/>
                  <a:gd name="connsiteY4" fmla="*/ 23841 h 559622"/>
                  <a:gd name="connsiteX5" fmla="*/ 290513 w 352425"/>
                  <a:gd name="connsiteY5" fmla="*/ 30985 h 559622"/>
                  <a:gd name="connsiteX6" fmla="*/ 304800 w 352425"/>
                  <a:gd name="connsiteY6" fmla="*/ 59560 h 559622"/>
                  <a:gd name="connsiteX7" fmla="*/ 319088 w 352425"/>
                  <a:gd name="connsiteY7" fmla="*/ 66703 h 559622"/>
                  <a:gd name="connsiteX8" fmla="*/ 323850 w 352425"/>
                  <a:gd name="connsiteY8" fmla="*/ 73847 h 559622"/>
                  <a:gd name="connsiteX9" fmla="*/ 338138 w 352425"/>
                  <a:gd name="connsiteY9" fmla="*/ 85753 h 559622"/>
                  <a:gd name="connsiteX10" fmla="*/ 342900 w 352425"/>
                  <a:gd name="connsiteY10" fmla="*/ 104803 h 559622"/>
                  <a:gd name="connsiteX11" fmla="*/ 345281 w 352425"/>
                  <a:gd name="connsiteY11" fmla="*/ 111947 h 559622"/>
                  <a:gd name="connsiteX12" fmla="*/ 347663 w 352425"/>
                  <a:gd name="connsiteY12" fmla="*/ 130997 h 559622"/>
                  <a:gd name="connsiteX13" fmla="*/ 350044 w 352425"/>
                  <a:gd name="connsiteY13" fmla="*/ 140522 h 559622"/>
                  <a:gd name="connsiteX14" fmla="*/ 352425 w 352425"/>
                  <a:gd name="connsiteY14" fmla="*/ 154810 h 559622"/>
                  <a:gd name="connsiteX15" fmla="*/ 350044 w 352425"/>
                  <a:gd name="connsiteY15" fmla="*/ 176241 h 559622"/>
                  <a:gd name="connsiteX16" fmla="*/ 347663 w 352425"/>
                  <a:gd name="connsiteY16" fmla="*/ 204816 h 559622"/>
                  <a:gd name="connsiteX17" fmla="*/ 340519 w 352425"/>
                  <a:gd name="connsiteY17" fmla="*/ 209578 h 559622"/>
                  <a:gd name="connsiteX18" fmla="*/ 328613 w 352425"/>
                  <a:gd name="connsiteY18" fmla="*/ 231010 h 559622"/>
                  <a:gd name="connsiteX19" fmla="*/ 323850 w 352425"/>
                  <a:gd name="connsiteY19" fmla="*/ 238153 h 559622"/>
                  <a:gd name="connsiteX20" fmla="*/ 309563 w 352425"/>
                  <a:gd name="connsiteY20" fmla="*/ 250060 h 559622"/>
                  <a:gd name="connsiteX21" fmla="*/ 295275 w 352425"/>
                  <a:gd name="connsiteY21" fmla="*/ 276253 h 559622"/>
                  <a:gd name="connsiteX22" fmla="*/ 290513 w 352425"/>
                  <a:gd name="connsiteY22" fmla="*/ 283397 h 559622"/>
                  <a:gd name="connsiteX23" fmla="*/ 288131 w 352425"/>
                  <a:gd name="connsiteY23" fmla="*/ 290541 h 559622"/>
                  <a:gd name="connsiteX24" fmla="*/ 278606 w 352425"/>
                  <a:gd name="connsiteY24" fmla="*/ 307210 h 559622"/>
                  <a:gd name="connsiteX25" fmla="*/ 273844 w 352425"/>
                  <a:gd name="connsiteY25" fmla="*/ 321497 h 559622"/>
                  <a:gd name="connsiteX26" fmla="*/ 271463 w 352425"/>
                  <a:gd name="connsiteY26" fmla="*/ 328641 h 559622"/>
                  <a:gd name="connsiteX27" fmla="*/ 269081 w 352425"/>
                  <a:gd name="connsiteY27" fmla="*/ 338166 h 559622"/>
                  <a:gd name="connsiteX28" fmla="*/ 264319 w 352425"/>
                  <a:gd name="connsiteY28" fmla="*/ 357216 h 559622"/>
                  <a:gd name="connsiteX29" fmla="*/ 261938 w 352425"/>
                  <a:gd name="connsiteY29" fmla="*/ 366741 h 559622"/>
                  <a:gd name="connsiteX30" fmla="*/ 257175 w 352425"/>
                  <a:gd name="connsiteY30" fmla="*/ 373885 h 559622"/>
                  <a:gd name="connsiteX31" fmla="*/ 252413 w 352425"/>
                  <a:gd name="connsiteY31" fmla="*/ 388172 h 559622"/>
                  <a:gd name="connsiteX32" fmla="*/ 250031 w 352425"/>
                  <a:gd name="connsiteY32" fmla="*/ 395316 h 559622"/>
                  <a:gd name="connsiteX33" fmla="*/ 242888 w 352425"/>
                  <a:gd name="connsiteY33" fmla="*/ 402460 h 559622"/>
                  <a:gd name="connsiteX34" fmla="*/ 240506 w 352425"/>
                  <a:gd name="connsiteY34" fmla="*/ 409603 h 559622"/>
                  <a:gd name="connsiteX35" fmla="*/ 235744 w 352425"/>
                  <a:gd name="connsiteY35" fmla="*/ 416747 h 559622"/>
                  <a:gd name="connsiteX36" fmla="*/ 230981 w 352425"/>
                  <a:gd name="connsiteY36" fmla="*/ 431035 h 559622"/>
                  <a:gd name="connsiteX37" fmla="*/ 228600 w 352425"/>
                  <a:gd name="connsiteY37" fmla="*/ 438178 h 559622"/>
                  <a:gd name="connsiteX38" fmla="*/ 230981 w 352425"/>
                  <a:gd name="connsiteY38" fmla="*/ 461991 h 559622"/>
                  <a:gd name="connsiteX39" fmla="*/ 235744 w 352425"/>
                  <a:gd name="connsiteY39" fmla="*/ 495328 h 559622"/>
                  <a:gd name="connsiteX40" fmla="*/ 240506 w 352425"/>
                  <a:gd name="connsiteY40" fmla="*/ 509616 h 559622"/>
                  <a:gd name="connsiteX41" fmla="*/ 245269 w 352425"/>
                  <a:gd name="connsiteY41" fmla="*/ 516760 h 559622"/>
                  <a:gd name="connsiteX42" fmla="*/ 250031 w 352425"/>
                  <a:gd name="connsiteY42" fmla="*/ 531047 h 559622"/>
                  <a:gd name="connsiteX43" fmla="*/ 252413 w 352425"/>
                  <a:gd name="connsiteY43" fmla="*/ 547716 h 559622"/>
                  <a:gd name="connsiteX44" fmla="*/ 257175 w 352425"/>
                  <a:gd name="connsiteY44" fmla="*/ 554860 h 559622"/>
                  <a:gd name="connsiteX45" fmla="*/ 242888 w 352425"/>
                  <a:gd name="connsiteY45" fmla="*/ 550097 h 559622"/>
                  <a:gd name="connsiteX46" fmla="*/ 216694 w 352425"/>
                  <a:gd name="connsiteY46" fmla="*/ 545335 h 559622"/>
                  <a:gd name="connsiteX47" fmla="*/ 200025 w 352425"/>
                  <a:gd name="connsiteY47" fmla="*/ 547716 h 559622"/>
                  <a:gd name="connsiteX48" fmla="*/ 197644 w 352425"/>
                  <a:gd name="connsiteY48" fmla="*/ 557241 h 559622"/>
                  <a:gd name="connsiteX49" fmla="*/ 173831 w 352425"/>
                  <a:gd name="connsiteY49" fmla="*/ 554860 h 559622"/>
                  <a:gd name="connsiteX50" fmla="*/ 164306 w 352425"/>
                  <a:gd name="connsiteY50" fmla="*/ 552478 h 559622"/>
                  <a:gd name="connsiteX51" fmla="*/ 150019 w 352425"/>
                  <a:gd name="connsiteY51" fmla="*/ 547716 h 559622"/>
                  <a:gd name="connsiteX52" fmla="*/ 114300 w 352425"/>
                  <a:gd name="connsiteY52" fmla="*/ 550097 h 559622"/>
                  <a:gd name="connsiteX53" fmla="*/ 100013 w 352425"/>
                  <a:gd name="connsiteY53" fmla="*/ 557241 h 559622"/>
                  <a:gd name="connsiteX54" fmla="*/ 92869 w 352425"/>
                  <a:gd name="connsiteY54" fmla="*/ 559622 h 559622"/>
                  <a:gd name="connsiteX55" fmla="*/ 88106 w 352425"/>
                  <a:gd name="connsiteY55" fmla="*/ 552478 h 559622"/>
                  <a:gd name="connsiteX56" fmla="*/ 85725 w 352425"/>
                  <a:gd name="connsiteY56" fmla="*/ 542953 h 559622"/>
                  <a:gd name="connsiteX57" fmla="*/ 71438 w 352425"/>
                  <a:gd name="connsiteY57" fmla="*/ 538191 h 559622"/>
                  <a:gd name="connsiteX58" fmla="*/ 64294 w 352425"/>
                  <a:gd name="connsiteY58" fmla="*/ 535810 h 559622"/>
                  <a:gd name="connsiteX59" fmla="*/ 42863 w 352425"/>
                  <a:gd name="connsiteY59" fmla="*/ 538191 h 559622"/>
                  <a:gd name="connsiteX60" fmla="*/ 21431 w 352425"/>
                  <a:gd name="connsiteY60" fmla="*/ 545335 h 559622"/>
                  <a:gd name="connsiteX61" fmla="*/ 7144 w 352425"/>
                  <a:gd name="connsiteY61" fmla="*/ 550097 h 559622"/>
                  <a:gd name="connsiteX62" fmla="*/ 0 w 352425"/>
                  <a:gd name="connsiteY62" fmla="*/ 552478 h 559622"/>
                  <a:gd name="connsiteX63" fmla="*/ 2381 w 352425"/>
                  <a:gd name="connsiteY63" fmla="*/ 542953 h 559622"/>
                  <a:gd name="connsiteX64" fmla="*/ 19050 w 352425"/>
                  <a:gd name="connsiteY64" fmla="*/ 535810 h 559622"/>
                  <a:gd name="connsiteX65" fmla="*/ 33338 w 352425"/>
                  <a:gd name="connsiteY65" fmla="*/ 531047 h 559622"/>
                  <a:gd name="connsiteX66" fmla="*/ 40481 w 352425"/>
                  <a:gd name="connsiteY66" fmla="*/ 523903 h 559622"/>
                  <a:gd name="connsiteX67" fmla="*/ 45244 w 352425"/>
                  <a:gd name="connsiteY67" fmla="*/ 516760 h 559622"/>
                  <a:gd name="connsiteX68" fmla="*/ 52388 w 352425"/>
                  <a:gd name="connsiteY68" fmla="*/ 511997 h 559622"/>
                  <a:gd name="connsiteX69" fmla="*/ 50006 w 352425"/>
                  <a:gd name="connsiteY69" fmla="*/ 464372 h 559622"/>
                  <a:gd name="connsiteX70" fmla="*/ 47625 w 352425"/>
                  <a:gd name="connsiteY70" fmla="*/ 409603 h 559622"/>
                  <a:gd name="connsiteX71" fmla="*/ 42863 w 352425"/>
                  <a:gd name="connsiteY71" fmla="*/ 395316 h 559622"/>
                  <a:gd name="connsiteX72" fmla="*/ 40481 w 352425"/>
                  <a:gd name="connsiteY72" fmla="*/ 388172 h 559622"/>
                  <a:gd name="connsiteX73" fmla="*/ 33338 w 352425"/>
                  <a:gd name="connsiteY73" fmla="*/ 383410 h 559622"/>
                  <a:gd name="connsiteX74" fmla="*/ 30956 w 352425"/>
                  <a:gd name="connsiteY74" fmla="*/ 376266 h 559622"/>
                  <a:gd name="connsiteX75" fmla="*/ 26194 w 352425"/>
                  <a:gd name="connsiteY75" fmla="*/ 369122 h 559622"/>
                  <a:gd name="connsiteX76" fmla="*/ 16669 w 352425"/>
                  <a:gd name="connsiteY76" fmla="*/ 347691 h 559622"/>
                  <a:gd name="connsiteX77" fmla="*/ 23813 w 352425"/>
                  <a:gd name="connsiteY77" fmla="*/ 304828 h 559622"/>
                  <a:gd name="connsiteX78" fmla="*/ 33338 w 352425"/>
                  <a:gd name="connsiteY78" fmla="*/ 290541 h 559622"/>
                  <a:gd name="connsiteX79" fmla="*/ 38100 w 352425"/>
                  <a:gd name="connsiteY79" fmla="*/ 276253 h 559622"/>
                  <a:gd name="connsiteX80" fmla="*/ 40481 w 352425"/>
                  <a:gd name="connsiteY80" fmla="*/ 269110 h 559622"/>
                  <a:gd name="connsiteX81" fmla="*/ 45244 w 352425"/>
                  <a:gd name="connsiteY81" fmla="*/ 261966 h 559622"/>
                  <a:gd name="connsiteX82" fmla="*/ 57150 w 352425"/>
                  <a:gd name="connsiteY82" fmla="*/ 247678 h 559622"/>
                  <a:gd name="connsiteX83" fmla="*/ 61913 w 352425"/>
                  <a:gd name="connsiteY83" fmla="*/ 231010 h 559622"/>
                  <a:gd name="connsiteX84" fmla="*/ 66675 w 352425"/>
                  <a:gd name="connsiteY84" fmla="*/ 216722 h 559622"/>
                  <a:gd name="connsiteX85" fmla="*/ 69056 w 352425"/>
                  <a:gd name="connsiteY85" fmla="*/ 204816 h 559622"/>
                  <a:gd name="connsiteX86" fmla="*/ 83344 w 352425"/>
                  <a:gd name="connsiteY86" fmla="*/ 176241 h 559622"/>
                  <a:gd name="connsiteX87" fmla="*/ 90488 w 352425"/>
                  <a:gd name="connsiteY87" fmla="*/ 171478 h 559622"/>
                  <a:gd name="connsiteX88" fmla="*/ 100013 w 352425"/>
                  <a:gd name="connsiteY88" fmla="*/ 157191 h 559622"/>
                  <a:gd name="connsiteX89" fmla="*/ 102394 w 352425"/>
                  <a:gd name="connsiteY89" fmla="*/ 150047 h 559622"/>
                  <a:gd name="connsiteX90" fmla="*/ 111919 w 352425"/>
                  <a:gd name="connsiteY90" fmla="*/ 135760 h 559622"/>
                  <a:gd name="connsiteX91" fmla="*/ 123825 w 352425"/>
                  <a:gd name="connsiteY91" fmla="*/ 114328 h 559622"/>
                  <a:gd name="connsiteX92" fmla="*/ 130969 w 352425"/>
                  <a:gd name="connsiteY92" fmla="*/ 111947 h 559622"/>
                  <a:gd name="connsiteX93" fmla="*/ 140494 w 352425"/>
                  <a:gd name="connsiteY93" fmla="*/ 100041 h 559622"/>
                  <a:gd name="connsiteX94" fmla="*/ 142875 w 352425"/>
                  <a:gd name="connsiteY94" fmla="*/ 92897 h 559622"/>
                  <a:gd name="connsiteX95" fmla="*/ 147638 w 352425"/>
                  <a:gd name="connsiteY95" fmla="*/ 85753 h 559622"/>
                  <a:gd name="connsiteX96" fmla="*/ 157163 w 352425"/>
                  <a:gd name="connsiteY96" fmla="*/ 64322 h 559622"/>
                  <a:gd name="connsiteX97" fmla="*/ 159544 w 352425"/>
                  <a:gd name="connsiteY97" fmla="*/ 57178 h 559622"/>
                  <a:gd name="connsiteX98" fmla="*/ 171450 w 352425"/>
                  <a:gd name="connsiteY98" fmla="*/ 42891 h 559622"/>
                  <a:gd name="connsiteX99" fmla="*/ 178594 w 352425"/>
                  <a:gd name="connsiteY99" fmla="*/ 38128 h 559622"/>
                  <a:gd name="connsiteX100" fmla="*/ 192881 w 352425"/>
                  <a:gd name="connsiteY100" fmla="*/ 28603 h 559622"/>
                  <a:gd name="connsiteX101" fmla="*/ 197644 w 352425"/>
                  <a:gd name="connsiteY101" fmla="*/ 21460 h 559622"/>
                  <a:gd name="connsiteX102" fmla="*/ 204788 w 352425"/>
                  <a:gd name="connsiteY102" fmla="*/ 19078 h 559622"/>
                  <a:gd name="connsiteX103" fmla="*/ 219075 w 352425"/>
                  <a:gd name="connsiteY103" fmla="*/ 11935 h 559622"/>
                  <a:gd name="connsiteX104" fmla="*/ 226219 w 352425"/>
                  <a:gd name="connsiteY104" fmla="*/ 7172 h 559622"/>
                  <a:gd name="connsiteX105" fmla="*/ 245269 w 352425"/>
                  <a:gd name="connsiteY105" fmla="*/ 28 h 559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352425" h="559622">
                    <a:moveTo>
                      <a:pt x="245269" y="28"/>
                    </a:moveTo>
                    <a:cubicBezTo>
                      <a:pt x="250428" y="-369"/>
                      <a:pt x="253081" y="3563"/>
                      <a:pt x="257175" y="4791"/>
                    </a:cubicBezTo>
                    <a:cubicBezTo>
                      <a:pt x="261052" y="5954"/>
                      <a:pt x="265155" y="6190"/>
                      <a:pt x="269081" y="7172"/>
                    </a:cubicBezTo>
                    <a:cubicBezTo>
                      <a:pt x="271516" y="7781"/>
                      <a:pt x="273844" y="8759"/>
                      <a:pt x="276225" y="9553"/>
                    </a:cubicBezTo>
                    <a:lnTo>
                      <a:pt x="285750" y="23841"/>
                    </a:lnTo>
                    <a:lnTo>
                      <a:pt x="290513" y="30985"/>
                    </a:lnTo>
                    <a:cubicBezTo>
                      <a:pt x="292362" y="36532"/>
                      <a:pt x="297876" y="57252"/>
                      <a:pt x="304800" y="59560"/>
                    </a:cubicBezTo>
                    <a:cubicBezTo>
                      <a:pt x="314659" y="62846"/>
                      <a:pt x="309855" y="60549"/>
                      <a:pt x="319088" y="66703"/>
                    </a:cubicBezTo>
                    <a:cubicBezTo>
                      <a:pt x="320675" y="69084"/>
                      <a:pt x="322018" y="71648"/>
                      <a:pt x="323850" y="73847"/>
                    </a:cubicBezTo>
                    <a:cubicBezTo>
                      <a:pt x="329580" y="80723"/>
                      <a:pt x="331113" y="81071"/>
                      <a:pt x="338138" y="85753"/>
                    </a:cubicBezTo>
                    <a:cubicBezTo>
                      <a:pt x="343581" y="102083"/>
                      <a:pt x="337154" y="81815"/>
                      <a:pt x="342900" y="104803"/>
                    </a:cubicBezTo>
                    <a:cubicBezTo>
                      <a:pt x="343509" y="107238"/>
                      <a:pt x="344487" y="109566"/>
                      <a:pt x="345281" y="111947"/>
                    </a:cubicBezTo>
                    <a:cubicBezTo>
                      <a:pt x="346075" y="118297"/>
                      <a:pt x="346611" y="124685"/>
                      <a:pt x="347663" y="130997"/>
                    </a:cubicBezTo>
                    <a:cubicBezTo>
                      <a:pt x="348201" y="134225"/>
                      <a:pt x="349402" y="137313"/>
                      <a:pt x="350044" y="140522"/>
                    </a:cubicBezTo>
                    <a:cubicBezTo>
                      <a:pt x="350991" y="145257"/>
                      <a:pt x="351631" y="150047"/>
                      <a:pt x="352425" y="154810"/>
                    </a:cubicBezTo>
                    <a:cubicBezTo>
                      <a:pt x="351631" y="161954"/>
                      <a:pt x="350725" y="169086"/>
                      <a:pt x="350044" y="176241"/>
                    </a:cubicBezTo>
                    <a:cubicBezTo>
                      <a:pt x="349138" y="185756"/>
                      <a:pt x="350289" y="195626"/>
                      <a:pt x="347663" y="204816"/>
                    </a:cubicBezTo>
                    <a:cubicBezTo>
                      <a:pt x="346877" y="207568"/>
                      <a:pt x="342900" y="207991"/>
                      <a:pt x="340519" y="209578"/>
                    </a:cubicBezTo>
                    <a:cubicBezTo>
                      <a:pt x="336329" y="222151"/>
                      <a:pt x="339529" y="214636"/>
                      <a:pt x="328613" y="231010"/>
                    </a:cubicBezTo>
                    <a:cubicBezTo>
                      <a:pt x="327026" y="233391"/>
                      <a:pt x="326231" y="236565"/>
                      <a:pt x="323850" y="238153"/>
                    </a:cubicBezTo>
                    <a:cubicBezTo>
                      <a:pt x="317499" y="242387"/>
                      <a:pt x="314500" y="243712"/>
                      <a:pt x="309563" y="250060"/>
                    </a:cubicBezTo>
                    <a:cubicBezTo>
                      <a:pt x="294781" y="269066"/>
                      <a:pt x="304319" y="258164"/>
                      <a:pt x="295275" y="276253"/>
                    </a:cubicBezTo>
                    <a:cubicBezTo>
                      <a:pt x="293995" y="278813"/>
                      <a:pt x="291793" y="280837"/>
                      <a:pt x="290513" y="283397"/>
                    </a:cubicBezTo>
                    <a:cubicBezTo>
                      <a:pt x="289390" y="285642"/>
                      <a:pt x="289120" y="288234"/>
                      <a:pt x="288131" y="290541"/>
                    </a:cubicBezTo>
                    <a:cubicBezTo>
                      <a:pt x="284504" y="299004"/>
                      <a:pt x="283391" y="300033"/>
                      <a:pt x="278606" y="307210"/>
                    </a:cubicBezTo>
                    <a:lnTo>
                      <a:pt x="273844" y="321497"/>
                    </a:lnTo>
                    <a:cubicBezTo>
                      <a:pt x="273050" y="323878"/>
                      <a:pt x="272072" y="326206"/>
                      <a:pt x="271463" y="328641"/>
                    </a:cubicBezTo>
                    <a:cubicBezTo>
                      <a:pt x="270669" y="331816"/>
                      <a:pt x="269791" y="334971"/>
                      <a:pt x="269081" y="338166"/>
                    </a:cubicBezTo>
                    <a:cubicBezTo>
                      <a:pt x="261813" y="370868"/>
                      <a:pt x="270705" y="334861"/>
                      <a:pt x="264319" y="357216"/>
                    </a:cubicBezTo>
                    <a:cubicBezTo>
                      <a:pt x="263420" y="360363"/>
                      <a:pt x="263227" y="363733"/>
                      <a:pt x="261938" y="366741"/>
                    </a:cubicBezTo>
                    <a:cubicBezTo>
                      <a:pt x="260811" y="369372"/>
                      <a:pt x="258763" y="371504"/>
                      <a:pt x="257175" y="373885"/>
                    </a:cubicBezTo>
                    <a:lnTo>
                      <a:pt x="252413" y="388172"/>
                    </a:lnTo>
                    <a:cubicBezTo>
                      <a:pt x="251619" y="390553"/>
                      <a:pt x="251806" y="393541"/>
                      <a:pt x="250031" y="395316"/>
                    </a:cubicBezTo>
                    <a:lnTo>
                      <a:pt x="242888" y="402460"/>
                    </a:lnTo>
                    <a:cubicBezTo>
                      <a:pt x="242094" y="404841"/>
                      <a:pt x="241629" y="407358"/>
                      <a:pt x="240506" y="409603"/>
                    </a:cubicBezTo>
                    <a:cubicBezTo>
                      <a:pt x="239226" y="412163"/>
                      <a:pt x="236906" y="414132"/>
                      <a:pt x="235744" y="416747"/>
                    </a:cubicBezTo>
                    <a:cubicBezTo>
                      <a:pt x="233705" y="421335"/>
                      <a:pt x="232569" y="426272"/>
                      <a:pt x="230981" y="431035"/>
                    </a:cubicBezTo>
                    <a:lnTo>
                      <a:pt x="228600" y="438178"/>
                    </a:lnTo>
                    <a:cubicBezTo>
                      <a:pt x="229394" y="446116"/>
                      <a:pt x="230146" y="454058"/>
                      <a:pt x="230981" y="461991"/>
                    </a:cubicBezTo>
                    <a:cubicBezTo>
                      <a:pt x="232028" y="471932"/>
                      <a:pt x="232957" y="485109"/>
                      <a:pt x="235744" y="495328"/>
                    </a:cubicBezTo>
                    <a:cubicBezTo>
                      <a:pt x="237065" y="500171"/>
                      <a:pt x="237721" y="505439"/>
                      <a:pt x="240506" y="509616"/>
                    </a:cubicBezTo>
                    <a:lnTo>
                      <a:pt x="245269" y="516760"/>
                    </a:lnTo>
                    <a:cubicBezTo>
                      <a:pt x="246856" y="521522"/>
                      <a:pt x="249321" y="526078"/>
                      <a:pt x="250031" y="531047"/>
                    </a:cubicBezTo>
                    <a:cubicBezTo>
                      <a:pt x="250825" y="536603"/>
                      <a:pt x="250800" y="542340"/>
                      <a:pt x="252413" y="547716"/>
                    </a:cubicBezTo>
                    <a:cubicBezTo>
                      <a:pt x="253235" y="550457"/>
                      <a:pt x="259951" y="554166"/>
                      <a:pt x="257175" y="554860"/>
                    </a:cubicBezTo>
                    <a:cubicBezTo>
                      <a:pt x="252305" y="556077"/>
                      <a:pt x="247758" y="551314"/>
                      <a:pt x="242888" y="550097"/>
                    </a:cubicBezTo>
                    <a:cubicBezTo>
                      <a:pt x="227918" y="546355"/>
                      <a:pt x="236603" y="548179"/>
                      <a:pt x="216694" y="545335"/>
                    </a:cubicBezTo>
                    <a:cubicBezTo>
                      <a:pt x="211138" y="546129"/>
                      <a:pt x="204785" y="544741"/>
                      <a:pt x="200025" y="547716"/>
                    </a:cubicBezTo>
                    <a:cubicBezTo>
                      <a:pt x="197250" y="549450"/>
                      <a:pt x="200801" y="556380"/>
                      <a:pt x="197644" y="557241"/>
                    </a:cubicBezTo>
                    <a:cubicBezTo>
                      <a:pt x="189948" y="559340"/>
                      <a:pt x="181769" y="555654"/>
                      <a:pt x="173831" y="554860"/>
                    </a:cubicBezTo>
                    <a:cubicBezTo>
                      <a:pt x="170656" y="554066"/>
                      <a:pt x="167441" y="553418"/>
                      <a:pt x="164306" y="552478"/>
                    </a:cubicBezTo>
                    <a:cubicBezTo>
                      <a:pt x="159498" y="551035"/>
                      <a:pt x="150019" y="547716"/>
                      <a:pt x="150019" y="547716"/>
                    </a:cubicBezTo>
                    <a:cubicBezTo>
                      <a:pt x="138113" y="548510"/>
                      <a:pt x="126160" y="548779"/>
                      <a:pt x="114300" y="550097"/>
                    </a:cubicBezTo>
                    <a:cubicBezTo>
                      <a:pt x="106601" y="550952"/>
                      <a:pt x="106781" y="553857"/>
                      <a:pt x="100013" y="557241"/>
                    </a:cubicBezTo>
                    <a:cubicBezTo>
                      <a:pt x="97768" y="558364"/>
                      <a:pt x="95250" y="558828"/>
                      <a:pt x="92869" y="559622"/>
                    </a:cubicBezTo>
                    <a:cubicBezTo>
                      <a:pt x="91281" y="557241"/>
                      <a:pt x="89233" y="555109"/>
                      <a:pt x="88106" y="552478"/>
                    </a:cubicBezTo>
                    <a:cubicBezTo>
                      <a:pt x="86817" y="549470"/>
                      <a:pt x="88210" y="545083"/>
                      <a:pt x="85725" y="542953"/>
                    </a:cubicBezTo>
                    <a:cubicBezTo>
                      <a:pt x="81914" y="539686"/>
                      <a:pt x="76200" y="539778"/>
                      <a:pt x="71438" y="538191"/>
                    </a:cubicBezTo>
                    <a:lnTo>
                      <a:pt x="64294" y="535810"/>
                    </a:lnTo>
                    <a:cubicBezTo>
                      <a:pt x="57150" y="536604"/>
                      <a:pt x="49911" y="536782"/>
                      <a:pt x="42863" y="538191"/>
                    </a:cubicBezTo>
                    <a:cubicBezTo>
                      <a:pt x="42843" y="538195"/>
                      <a:pt x="25012" y="544141"/>
                      <a:pt x="21431" y="545335"/>
                    </a:cubicBezTo>
                    <a:lnTo>
                      <a:pt x="7144" y="550097"/>
                    </a:lnTo>
                    <a:lnTo>
                      <a:pt x="0" y="552478"/>
                    </a:lnTo>
                    <a:cubicBezTo>
                      <a:pt x="794" y="549303"/>
                      <a:pt x="566" y="545676"/>
                      <a:pt x="2381" y="542953"/>
                    </a:cubicBezTo>
                    <a:cubicBezTo>
                      <a:pt x="5844" y="537759"/>
                      <a:pt x="14072" y="537303"/>
                      <a:pt x="19050" y="535810"/>
                    </a:cubicBezTo>
                    <a:cubicBezTo>
                      <a:pt x="23859" y="534367"/>
                      <a:pt x="33338" y="531047"/>
                      <a:pt x="33338" y="531047"/>
                    </a:cubicBezTo>
                    <a:cubicBezTo>
                      <a:pt x="35719" y="528666"/>
                      <a:pt x="38325" y="526490"/>
                      <a:pt x="40481" y="523903"/>
                    </a:cubicBezTo>
                    <a:cubicBezTo>
                      <a:pt x="42313" y="521705"/>
                      <a:pt x="43220" y="518784"/>
                      <a:pt x="45244" y="516760"/>
                    </a:cubicBezTo>
                    <a:cubicBezTo>
                      <a:pt x="47268" y="514736"/>
                      <a:pt x="50007" y="513585"/>
                      <a:pt x="52388" y="511997"/>
                    </a:cubicBezTo>
                    <a:cubicBezTo>
                      <a:pt x="51594" y="496122"/>
                      <a:pt x="50745" y="480250"/>
                      <a:pt x="50006" y="464372"/>
                    </a:cubicBezTo>
                    <a:cubicBezTo>
                      <a:pt x="49157" y="446118"/>
                      <a:pt x="49505" y="427780"/>
                      <a:pt x="47625" y="409603"/>
                    </a:cubicBezTo>
                    <a:cubicBezTo>
                      <a:pt x="47109" y="404610"/>
                      <a:pt x="44450" y="400078"/>
                      <a:pt x="42863" y="395316"/>
                    </a:cubicBezTo>
                    <a:cubicBezTo>
                      <a:pt x="42069" y="392935"/>
                      <a:pt x="42570" y="389564"/>
                      <a:pt x="40481" y="388172"/>
                    </a:cubicBezTo>
                    <a:lnTo>
                      <a:pt x="33338" y="383410"/>
                    </a:lnTo>
                    <a:cubicBezTo>
                      <a:pt x="32544" y="381029"/>
                      <a:pt x="32079" y="378511"/>
                      <a:pt x="30956" y="376266"/>
                    </a:cubicBezTo>
                    <a:cubicBezTo>
                      <a:pt x="29676" y="373706"/>
                      <a:pt x="27356" y="371737"/>
                      <a:pt x="26194" y="369122"/>
                    </a:cubicBezTo>
                    <a:cubicBezTo>
                      <a:pt x="14859" y="343618"/>
                      <a:pt x="27446" y="363859"/>
                      <a:pt x="16669" y="347691"/>
                    </a:cubicBezTo>
                    <a:cubicBezTo>
                      <a:pt x="17350" y="339521"/>
                      <a:pt x="17139" y="314838"/>
                      <a:pt x="23813" y="304828"/>
                    </a:cubicBezTo>
                    <a:lnTo>
                      <a:pt x="33338" y="290541"/>
                    </a:lnTo>
                    <a:lnTo>
                      <a:pt x="38100" y="276253"/>
                    </a:lnTo>
                    <a:cubicBezTo>
                      <a:pt x="38894" y="273872"/>
                      <a:pt x="39089" y="271198"/>
                      <a:pt x="40481" y="269110"/>
                    </a:cubicBezTo>
                    <a:cubicBezTo>
                      <a:pt x="42069" y="266729"/>
                      <a:pt x="43412" y="264165"/>
                      <a:pt x="45244" y="261966"/>
                    </a:cubicBezTo>
                    <a:cubicBezTo>
                      <a:pt x="51828" y="254065"/>
                      <a:pt x="52715" y="256548"/>
                      <a:pt x="57150" y="247678"/>
                    </a:cubicBezTo>
                    <a:cubicBezTo>
                      <a:pt x="59149" y="243680"/>
                      <a:pt x="60770" y="234820"/>
                      <a:pt x="61913" y="231010"/>
                    </a:cubicBezTo>
                    <a:cubicBezTo>
                      <a:pt x="63356" y="226202"/>
                      <a:pt x="65691" y="221645"/>
                      <a:pt x="66675" y="216722"/>
                    </a:cubicBezTo>
                    <a:cubicBezTo>
                      <a:pt x="67469" y="212753"/>
                      <a:pt x="67991" y="208721"/>
                      <a:pt x="69056" y="204816"/>
                    </a:cubicBezTo>
                    <a:cubicBezTo>
                      <a:pt x="71169" y="197068"/>
                      <a:pt x="76119" y="181058"/>
                      <a:pt x="83344" y="176241"/>
                    </a:cubicBezTo>
                    <a:lnTo>
                      <a:pt x="90488" y="171478"/>
                    </a:lnTo>
                    <a:cubicBezTo>
                      <a:pt x="93663" y="166716"/>
                      <a:pt x="98203" y="162621"/>
                      <a:pt x="100013" y="157191"/>
                    </a:cubicBezTo>
                    <a:cubicBezTo>
                      <a:pt x="100807" y="154810"/>
                      <a:pt x="101175" y="152241"/>
                      <a:pt x="102394" y="150047"/>
                    </a:cubicBezTo>
                    <a:cubicBezTo>
                      <a:pt x="105174" y="145044"/>
                      <a:pt x="111919" y="135760"/>
                      <a:pt x="111919" y="135760"/>
                    </a:cubicBezTo>
                    <a:cubicBezTo>
                      <a:pt x="114015" y="129470"/>
                      <a:pt x="117684" y="116375"/>
                      <a:pt x="123825" y="114328"/>
                    </a:cubicBezTo>
                    <a:lnTo>
                      <a:pt x="130969" y="111947"/>
                    </a:lnTo>
                    <a:cubicBezTo>
                      <a:pt x="136954" y="93990"/>
                      <a:pt x="128184" y="115428"/>
                      <a:pt x="140494" y="100041"/>
                    </a:cubicBezTo>
                    <a:cubicBezTo>
                      <a:pt x="142062" y="98081"/>
                      <a:pt x="141752" y="95142"/>
                      <a:pt x="142875" y="92897"/>
                    </a:cubicBezTo>
                    <a:cubicBezTo>
                      <a:pt x="144155" y="90337"/>
                      <a:pt x="146050" y="88134"/>
                      <a:pt x="147638" y="85753"/>
                    </a:cubicBezTo>
                    <a:cubicBezTo>
                      <a:pt x="153305" y="68751"/>
                      <a:pt x="149615" y="75643"/>
                      <a:pt x="157163" y="64322"/>
                    </a:cubicBezTo>
                    <a:cubicBezTo>
                      <a:pt x="157957" y="61941"/>
                      <a:pt x="158422" y="59423"/>
                      <a:pt x="159544" y="57178"/>
                    </a:cubicBezTo>
                    <a:cubicBezTo>
                      <a:pt x="162220" y="51827"/>
                      <a:pt x="166936" y="46652"/>
                      <a:pt x="171450" y="42891"/>
                    </a:cubicBezTo>
                    <a:cubicBezTo>
                      <a:pt x="173649" y="41059"/>
                      <a:pt x="176395" y="39960"/>
                      <a:pt x="178594" y="38128"/>
                    </a:cubicBezTo>
                    <a:cubicBezTo>
                      <a:pt x="190485" y="28219"/>
                      <a:pt x="180328" y="32789"/>
                      <a:pt x="192881" y="28603"/>
                    </a:cubicBezTo>
                    <a:cubicBezTo>
                      <a:pt x="194469" y="26222"/>
                      <a:pt x="195409" y="23248"/>
                      <a:pt x="197644" y="21460"/>
                    </a:cubicBezTo>
                    <a:cubicBezTo>
                      <a:pt x="199604" y="19892"/>
                      <a:pt x="202543" y="20201"/>
                      <a:pt x="204788" y="19078"/>
                    </a:cubicBezTo>
                    <a:cubicBezTo>
                      <a:pt x="223245" y="9849"/>
                      <a:pt x="201124" y="17918"/>
                      <a:pt x="219075" y="11935"/>
                    </a:cubicBezTo>
                    <a:cubicBezTo>
                      <a:pt x="221456" y="10347"/>
                      <a:pt x="223420" y="7772"/>
                      <a:pt x="226219" y="7172"/>
                    </a:cubicBezTo>
                    <a:cubicBezTo>
                      <a:pt x="234792" y="5335"/>
                      <a:pt x="240110" y="425"/>
                      <a:pt x="245269" y="2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60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6" name="Oval 409">
                <a:extLst>
                  <a:ext uri="{FF2B5EF4-FFF2-40B4-BE49-F238E27FC236}">
                    <a16:creationId xmlns:a16="http://schemas.microsoft.com/office/drawing/2014/main" id="{5495704E-B857-CBB4-3DA1-1DBFECF1FE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29854" y="2367023"/>
                <a:ext cx="105761" cy="101445"/>
              </a:xfrm>
              <a:prstGeom prst="ellipse">
                <a:avLst/>
              </a:prstGeom>
              <a:solidFill>
                <a:schemeClr val="accent4"/>
              </a:solidFill>
              <a:ln w="12700" algn="ctr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Frutiger 45 Light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57" name="Oval 420">
                <a:extLst>
                  <a:ext uri="{FF2B5EF4-FFF2-40B4-BE49-F238E27FC236}">
                    <a16:creationId xmlns:a16="http://schemas.microsoft.com/office/drawing/2014/main" id="{FFC65525-8694-121F-21C7-ABF3A65434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1627" y="3441080"/>
                <a:ext cx="105761" cy="101445"/>
              </a:xfrm>
              <a:prstGeom prst="ellipse">
                <a:avLst/>
              </a:prstGeom>
              <a:solidFill>
                <a:schemeClr val="accent4"/>
              </a:solidFill>
              <a:ln w="12700" algn="ctr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2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60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</p:grpSp>
        <p:cxnSp>
          <p:nvCxnSpPr>
            <p:cNvPr id="39" name="Straight Connector 14">
              <a:extLst>
                <a:ext uri="{FF2B5EF4-FFF2-40B4-BE49-F238E27FC236}">
                  <a16:creationId xmlns:a16="http://schemas.microsoft.com/office/drawing/2014/main" id="{4A5133D5-D512-5A8E-025F-92A2492C3C14}"/>
                </a:ext>
              </a:extLst>
            </p:cNvPr>
            <p:cNvCxnSpPr>
              <a:cxnSpLocks/>
            </p:cNvCxnSpPr>
            <p:nvPr/>
          </p:nvCxnSpPr>
          <p:spPr>
            <a:xfrm>
              <a:off x="3439666" y="4395785"/>
              <a:ext cx="1" cy="928066"/>
            </a:xfrm>
            <a:prstGeom prst="line">
              <a:avLst/>
            </a:prstGeom>
            <a:ln w="12700" cap="rnd">
              <a:solidFill>
                <a:schemeClr val="accent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86">
              <a:extLst>
                <a:ext uri="{FF2B5EF4-FFF2-40B4-BE49-F238E27FC236}">
                  <a16:creationId xmlns:a16="http://schemas.microsoft.com/office/drawing/2014/main" id="{11EE2AD4-1443-798F-BAD1-2E54E267FA5C}"/>
                </a:ext>
              </a:extLst>
            </p:cNvPr>
            <p:cNvCxnSpPr>
              <a:cxnSpLocks/>
            </p:cNvCxnSpPr>
            <p:nvPr/>
          </p:nvCxnSpPr>
          <p:spPr>
            <a:xfrm>
              <a:off x="2250514" y="4679313"/>
              <a:ext cx="1" cy="928066"/>
            </a:xfrm>
            <a:prstGeom prst="line">
              <a:avLst/>
            </a:prstGeom>
            <a:ln w="12700" cap="rnd">
              <a:solidFill>
                <a:schemeClr val="accent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13">
              <a:extLst>
                <a:ext uri="{FF2B5EF4-FFF2-40B4-BE49-F238E27FC236}">
                  <a16:creationId xmlns:a16="http://schemas.microsoft.com/office/drawing/2014/main" id="{33A7947D-C188-F064-9E9E-B55A38F1C4F5}"/>
                </a:ext>
              </a:extLst>
            </p:cNvPr>
            <p:cNvCxnSpPr>
              <a:cxnSpLocks/>
            </p:cNvCxnSpPr>
            <p:nvPr/>
          </p:nvCxnSpPr>
          <p:spPr>
            <a:xfrm>
              <a:off x="4861958" y="4048887"/>
              <a:ext cx="1" cy="928066"/>
            </a:xfrm>
            <a:prstGeom prst="line">
              <a:avLst/>
            </a:prstGeom>
            <a:ln w="12700" cap="rnd">
              <a:solidFill>
                <a:schemeClr val="accent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10">
              <a:extLst>
                <a:ext uri="{FF2B5EF4-FFF2-40B4-BE49-F238E27FC236}">
                  <a16:creationId xmlns:a16="http://schemas.microsoft.com/office/drawing/2014/main" id="{630A3BF9-46C9-5B16-014E-8DE50DF783BC}"/>
                </a:ext>
              </a:extLst>
            </p:cNvPr>
            <p:cNvCxnSpPr>
              <a:cxnSpLocks/>
            </p:cNvCxnSpPr>
            <p:nvPr/>
          </p:nvCxnSpPr>
          <p:spPr>
            <a:xfrm>
              <a:off x="1318963" y="2639564"/>
              <a:ext cx="0" cy="603121"/>
            </a:xfrm>
            <a:prstGeom prst="line">
              <a:avLst/>
            </a:prstGeom>
            <a:ln w="12700" cap="rnd">
              <a:solidFill>
                <a:schemeClr val="accent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15">
              <a:extLst>
                <a:ext uri="{FF2B5EF4-FFF2-40B4-BE49-F238E27FC236}">
                  <a16:creationId xmlns:a16="http://schemas.microsoft.com/office/drawing/2014/main" id="{CDD73D1B-1D39-FC0C-11BF-B3A07D1C21DD}"/>
                </a:ext>
              </a:extLst>
            </p:cNvPr>
            <p:cNvCxnSpPr>
              <a:cxnSpLocks/>
            </p:cNvCxnSpPr>
            <p:nvPr/>
          </p:nvCxnSpPr>
          <p:spPr>
            <a:xfrm>
              <a:off x="2945028" y="1694685"/>
              <a:ext cx="1" cy="928066"/>
            </a:xfrm>
            <a:prstGeom prst="line">
              <a:avLst/>
            </a:prstGeom>
            <a:ln w="12700" cap="rnd">
              <a:solidFill>
                <a:schemeClr val="accent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19">
              <a:extLst>
                <a:ext uri="{FF2B5EF4-FFF2-40B4-BE49-F238E27FC236}">
                  <a16:creationId xmlns:a16="http://schemas.microsoft.com/office/drawing/2014/main" id="{F2C11BD9-29F3-A681-1AC4-1AC5517398DD}"/>
                </a:ext>
              </a:extLst>
            </p:cNvPr>
            <p:cNvCxnSpPr>
              <a:cxnSpLocks/>
            </p:cNvCxnSpPr>
            <p:nvPr/>
          </p:nvCxnSpPr>
          <p:spPr>
            <a:xfrm>
              <a:off x="2229440" y="1516525"/>
              <a:ext cx="0" cy="1837767"/>
            </a:xfrm>
            <a:prstGeom prst="line">
              <a:avLst/>
            </a:prstGeom>
            <a:ln w="12700" cap="rnd">
              <a:solidFill>
                <a:schemeClr val="accent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22">
              <a:extLst>
                <a:ext uri="{FF2B5EF4-FFF2-40B4-BE49-F238E27FC236}">
                  <a16:creationId xmlns:a16="http://schemas.microsoft.com/office/drawing/2014/main" id="{79C6911F-361A-90C5-A3C2-07C8EE625435}"/>
                </a:ext>
              </a:extLst>
            </p:cNvPr>
            <p:cNvCxnSpPr>
              <a:cxnSpLocks/>
            </p:cNvCxnSpPr>
            <p:nvPr/>
          </p:nvCxnSpPr>
          <p:spPr>
            <a:xfrm>
              <a:off x="4190763" y="1694685"/>
              <a:ext cx="0" cy="978940"/>
            </a:xfrm>
            <a:prstGeom prst="line">
              <a:avLst/>
            </a:prstGeom>
            <a:ln w="12700" cap="rnd">
              <a:solidFill>
                <a:schemeClr val="accent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77" name="Grafik 376" descr="Ein Bild, das Text enthält.&#10;&#10;Automatisch generierte Beschreibung">
            <a:extLst>
              <a:ext uri="{FF2B5EF4-FFF2-40B4-BE49-F238E27FC236}">
                <a16:creationId xmlns:a16="http://schemas.microsoft.com/office/drawing/2014/main" id="{5A671AC0-11B9-0B50-223F-369CA1C09EA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105" y="1919381"/>
            <a:ext cx="1114745" cy="884055"/>
          </a:xfrm>
          <a:prstGeom prst="rect">
            <a:avLst/>
          </a:prstGeom>
        </p:spPr>
      </p:pic>
      <p:grpSp>
        <p:nvGrpSpPr>
          <p:cNvPr id="381" name="Gruppieren 380">
            <a:extLst>
              <a:ext uri="{FF2B5EF4-FFF2-40B4-BE49-F238E27FC236}">
                <a16:creationId xmlns:a16="http://schemas.microsoft.com/office/drawing/2014/main" id="{9DD47D06-9D00-A864-E064-C42826C9EF47}"/>
              </a:ext>
            </a:extLst>
          </p:cNvPr>
          <p:cNvGrpSpPr/>
          <p:nvPr/>
        </p:nvGrpSpPr>
        <p:grpSpPr>
          <a:xfrm>
            <a:off x="9940944" y="3075487"/>
            <a:ext cx="1513463" cy="451484"/>
            <a:chOff x="7382340" y="715464"/>
            <a:chExt cx="2155254" cy="642938"/>
          </a:xfrm>
        </p:grpSpPr>
        <p:pic>
          <p:nvPicPr>
            <p:cNvPr id="378" name="Picture 2" descr="Swiss Post Tracking - AfterShip">
              <a:extLst>
                <a:ext uri="{FF2B5EF4-FFF2-40B4-BE49-F238E27FC236}">
                  <a16:creationId xmlns:a16="http://schemas.microsoft.com/office/drawing/2014/main" id="{AC0F930F-B57C-9E5E-6135-DE800C6ADD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2340" y="715464"/>
              <a:ext cx="642938" cy="6429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9" name="Textfeld 378">
              <a:extLst>
                <a:ext uri="{FF2B5EF4-FFF2-40B4-BE49-F238E27FC236}">
                  <a16:creationId xmlns:a16="http://schemas.microsoft.com/office/drawing/2014/main" id="{53E7B19A-A0E7-0077-26AC-4DB879B8FCE0}"/>
                </a:ext>
              </a:extLst>
            </p:cNvPr>
            <p:cNvSpPr txBox="1">
              <a:spLocks/>
            </p:cNvSpPr>
            <p:nvPr/>
          </p:nvSpPr>
          <p:spPr>
            <a:xfrm>
              <a:off x="8125732" y="840361"/>
              <a:ext cx="205448" cy="3506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&amp;</a:t>
              </a:r>
            </a:p>
          </p:txBody>
        </p:sp>
        <p:pic>
          <p:nvPicPr>
            <p:cNvPr id="380" name="Siemens Healthineers logo">
              <a:extLst>
                <a:ext uri="{FF2B5EF4-FFF2-40B4-BE49-F238E27FC236}">
                  <a16:creationId xmlns:a16="http://schemas.microsoft.com/office/drawing/2014/main" id="{4EB1EEA9-49D5-4E85-16FD-DA777EF7618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8452086" y="907316"/>
              <a:ext cx="1085508" cy="259231"/>
            </a:xfrm>
            <a:prstGeom prst="rect">
              <a:avLst/>
            </a:prstGeom>
          </p:spPr>
        </p:pic>
      </p:grpSp>
      <p:sp>
        <p:nvSpPr>
          <p:cNvPr id="445" name="Rechteck 232">
            <a:extLst>
              <a:ext uri="{FF2B5EF4-FFF2-40B4-BE49-F238E27FC236}">
                <a16:creationId xmlns:a16="http://schemas.microsoft.com/office/drawing/2014/main" id="{AB27080F-5147-48B5-E3C9-844697919127}"/>
              </a:ext>
            </a:extLst>
          </p:cNvPr>
          <p:cNvSpPr>
            <a:spLocks/>
          </p:cNvSpPr>
          <p:nvPr/>
        </p:nvSpPr>
        <p:spPr>
          <a:xfrm rot="2888677">
            <a:off x="7200992" y="3331331"/>
            <a:ext cx="2438360" cy="245363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 anchorCtr="0">
            <a:prstTxWarp prst="textArchDown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i="0" u="none" strike="noStrike" kern="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-Infrastruktur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i="0" u="none" strike="noStrike" kern="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sic </a:t>
            </a:r>
            <a:r>
              <a:rPr kumimoji="0" lang="de-DE" sz="800" i="0" u="none" strike="noStrike" kern="0" cap="none" spc="0" normalizeH="0" baseline="0" noProof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rvices</a:t>
            </a:r>
            <a:endParaRPr kumimoji="0" lang="de-DE" sz="800" i="0" u="none" strike="noStrike" kern="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837" name="Gruppieren 836">
            <a:extLst>
              <a:ext uri="{FF2B5EF4-FFF2-40B4-BE49-F238E27FC236}">
                <a16:creationId xmlns:a16="http://schemas.microsoft.com/office/drawing/2014/main" id="{427AD829-A25C-8159-1556-AD154480588F}"/>
              </a:ext>
            </a:extLst>
          </p:cNvPr>
          <p:cNvGrpSpPr/>
          <p:nvPr/>
        </p:nvGrpSpPr>
        <p:grpSpPr>
          <a:xfrm>
            <a:off x="3542750" y="3066210"/>
            <a:ext cx="6356445" cy="2983872"/>
            <a:chOff x="4511579" y="3066210"/>
            <a:chExt cx="6356445" cy="2983872"/>
          </a:xfrm>
        </p:grpSpPr>
        <p:grpSp>
          <p:nvGrpSpPr>
            <p:cNvPr id="383" name="Gruppieren 3">
              <a:extLst>
                <a:ext uri="{FF2B5EF4-FFF2-40B4-BE49-F238E27FC236}">
                  <a16:creationId xmlns:a16="http://schemas.microsoft.com/office/drawing/2014/main" id="{A360CF63-2838-20F3-DFDB-78B4B4E5869C}"/>
                </a:ext>
              </a:extLst>
            </p:cNvPr>
            <p:cNvGrpSpPr/>
            <p:nvPr/>
          </p:nvGrpSpPr>
          <p:grpSpPr>
            <a:xfrm rot="2661174">
              <a:off x="7902722" y="3066210"/>
              <a:ext cx="2965302" cy="2983872"/>
              <a:chOff x="4255702" y="2248141"/>
              <a:chExt cx="3600000" cy="3600000"/>
            </a:xfrm>
          </p:grpSpPr>
          <p:sp>
            <p:nvSpPr>
              <p:cNvPr id="774" name="Ellipse 116">
                <a:extLst>
                  <a:ext uri="{FF2B5EF4-FFF2-40B4-BE49-F238E27FC236}">
                    <a16:creationId xmlns:a16="http://schemas.microsoft.com/office/drawing/2014/main" id="{76FE5F17-DD74-3243-C141-0F9140CE3A2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55702" y="2248141"/>
                <a:ext cx="3600000" cy="3600000"/>
              </a:xfrm>
              <a:prstGeom prst="ellipse">
                <a:avLst/>
              </a:prstGeom>
              <a:noFill/>
              <a:ln w="22225" cap="rnd" cmpd="sng" algn="ctr">
                <a:solidFill>
                  <a:srgbClr val="EC660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721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5" name="Ellipse 38">
                <a:extLst>
                  <a:ext uri="{FF2B5EF4-FFF2-40B4-BE49-F238E27FC236}">
                    <a16:creationId xmlns:a16="http://schemas.microsoft.com/office/drawing/2014/main" id="{5A81C678-9E57-F630-3340-7214C03A8356}"/>
                  </a:ext>
                </a:extLst>
              </p:cNvPr>
              <p:cNvSpPr>
                <a:spLocks/>
              </p:cNvSpPr>
              <p:nvPr/>
            </p:nvSpPr>
            <p:spPr>
              <a:xfrm rot="18938826">
                <a:off x="4865779" y="2858220"/>
                <a:ext cx="2379847" cy="2379844"/>
              </a:xfrm>
              <a:prstGeom prst="ellipse">
                <a:avLst/>
              </a:prstGeom>
              <a:solidFill>
                <a:srgbClr val="EC66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36" name="Gruppieren 835">
              <a:extLst>
                <a:ext uri="{FF2B5EF4-FFF2-40B4-BE49-F238E27FC236}">
                  <a16:creationId xmlns:a16="http://schemas.microsoft.com/office/drawing/2014/main" id="{11AA2806-EDA5-EC1A-1CE4-6F62D4334E70}"/>
                </a:ext>
              </a:extLst>
            </p:cNvPr>
            <p:cNvGrpSpPr/>
            <p:nvPr/>
          </p:nvGrpSpPr>
          <p:grpSpPr>
            <a:xfrm>
              <a:off x="4511579" y="3074300"/>
              <a:ext cx="6308821" cy="2854664"/>
              <a:chOff x="4511579" y="3074300"/>
              <a:chExt cx="6308821" cy="2854664"/>
            </a:xfrm>
          </p:grpSpPr>
          <p:cxnSp>
            <p:nvCxnSpPr>
              <p:cNvPr id="417" name="Straight Connector 333">
                <a:extLst>
                  <a:ext uri="{FF2B5EF4-FFF2-40B4-BE49-F238E27FC236}">
                    <a16:creationId xmlns:a16="http://schemas.microsoft.com/office/drawing/2014/main" id="{713B8E4B-5E56-89C7-20DD-6CD5B041ED1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9876153" y="4670077"/>
                <a:ext cx="944247" cy="14612"/>
              </a:xfrm>
              <a:prstGeom prst="line">
                <a:avLst/>
              </a:prstGeom>
              <a:ln w="19050" cap="rnd">
                <a:solidFill>
                  <a:schemeClr val="accent1">
                    <a:lumMod val="40000"/>
                    <a:lumOff val="60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4" name="Straight Connector 342">
                <a:extLst>
                  <a:ext uri="{FF2B5EF4-FFF2-40B4-BE49-F238E27FC236}">
                    <a16:creationId xmlns:a16="http://schemas.microsoft.com/office/drawing/2014/main" id="{CC99B0DB-28A3-1F77-5804-FFBB04D05E4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03431" y="3498056"/>
                <a:ext cx="615800" cy="695083"/>
              </a:xfrm>
              <a:prstGeom prst="line">
                <a:avLst/>
              </a:prstGeom>
              <a:ln w="19050" cap="rnd">
                <a:solidFill>
                  <a:schemeClr val="accent1">
                    <a:lumMod val="40000"/>
                    <a:lumOff val="60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8" name="Oval 331">
                <a:extLst>
                  <a:ext uri="{FF2B5EF4-FFF2-40B4-BE49-F238E27FC236}">
                    <a16:creationId xmlns:a16="http://schemas.microsoft.com/office/drawing/2014/main" id="{4D39F1E6-2E59-CF1A-A521-222F7C9DB193}"/>
                  </a:ext>
                </a:extLst>
              </p:cNvPr>
              <p:cNvSpPr/>
              <p:nvPr/>
            </p:nvSpPr>
            <p:spPr>
              <a:xfrm>
                <a:off x="8865038" y="4014510"/>
                <a:ext cx="1052893" cy="1080092"/>
              </a:xfrm>
              <a:prstGeom prst="ellipse">
                <a:avLst/>
              </a:prstGeom>
              <a:solidFill>
                <a:schemeClr val="bg1"/>
              </a:solidFill>
              <a:ln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432" name="Gruppieren 69">
                <a:extLst>
                  <a:ext uri="{FF2B5EF4-FFF2-40B4-BE49-F238E27FC236}">
                    <a16:creationId xmlns:a16="http://schemas.microsoft.com/office/drawing/2014/main" id="{47EB7887-E2B6-1EF3-B364-ACF409A75C7B}"/>
                  </a:ext>
                </a:extLst>
              </p:cNvPr>
              <p:cNvGrpSpPr/>
              <p:nvPr/>
            </p:nvGrpSpPr>
            <p:grpSpPr>
              <a:xfrm>
                <a:off x="8927812" y="4079542"/>
                <a:ext cx="916877" cy="934074"/>
                <a:chOff x="5956301" y="1766888"/>
                <a:chExt cx="2607082" cy="2662237"/>
              </a:xfrm>
              <a:solidFill>
                <a:schemeClr val="tx2"/>
              </a:solidFill>
            </p:grpSpPr>
            <p:sp>
              <p:nvSpPr>
                <p:cNvPr id="478" name="Freeform 397">
                  <a:extLst>
                    <a:ext uri="{FF2B5EF4-FFF2-40B4-BE49-F238E27FC236}">
                      <a16:creationId xmlns:a16="http://schemas.microsoft.com/office/drawing/2014/main" id="{D4C9F279-EFBA-3E7A-7DE0-BC7703D6FA4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678613" y="2052638"/>
                  <a:ext cx="555625" cy="571500"/>
                </a:xfrm>
                <a:custGeom>
                  <a:avLst/>
                  <a:gdLst>
                    <a:gd name="T0" fmla="*/ 182 w 350"/>
                    <a:gd name="T1" fmla="*/ 360 h 360"/>
                    <a:gd name="T2" fmla="*/ 181 w 350"/>
                    <a:gd name="T3" fmla="*/ 358 h 360"/>
                    <a:gd name="T4" fmla="*/ 0 w 350"/>
                    <a:gd name="T5" fmla="*/ 0 h 360"/>
                    <a:gd name="T6" fmla="*/ 350 w 350"/>
                    <a:gd name="T7" fmla="*/ 221 h 360"/>
                    <a:gd name="T8" fmla="*/ 182 w 350"/>
                    <a:gd name="T9" fmla="*/ 360 h 360"/>
                    <a:gd name="T10" fmla="*/ 9 w 350"/>
                    <a:gd name="T11" fmla="*/ 10 h 360"/>
                    <a:gd name="T12" fmla="*/ 183 w 350"/>
                    <a:gd name="T13" fmla="*/ 355 h 360"/>
                    <a:gd name="T14" fmla="*/ 344 w 350"/>
                    <a:gd name="T15" fmla="*/ 221 h 360"/>
                    <a:gd name="T16" fmla="*/ 9 w 350"/>
                    <a:gd name="T17" fmla="*/ 10 h 3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50" h="360">
                      <a:moveTo>
                        <a:pt x="182" y="360"/>
                      </a:moveTo>
                      <a:lnTo>
                        <a:pt x="181" y="358"/>
                      </a:lnTo>
                      <a:lnTo>
                        <a:pt x="0" y="0"/>
                      </a:lnTo>
                      <a:lnTo>
                        <a:pt x="350" y="221"/>
                      </a:lnTo>
                      <a:lnTo>
                        <a:pt x="182" y="360"/>
                      </a:lnTo>
                      <a:close/>
                      <a:moveTo>
                        <a:pt x="9" y="10"/>
                      </a:moveTo>
                      <a:lnTo>
                        <a:pt x="183" y="355"/>
                      </a:lnTo>
                      <a:lnTo>
                        <a:pt x="344" y="221"/>
                      </a:lnTo>
                      <a:lnTo>
                        <a:pt x="9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79" name="Freeform 398">
                  <a:extLst>
                    <a:ext uri="{FF2B5EF4-FFF2-40B4-BE49-F238E27FC236}">
                      <a16:creationId xmlns:a16="http://schemas.microsoft.com/office/drawing/2014/main" id="{E89ABACA-BBC7-63F6-7D6C-499D4D362DB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 rot="21079680">
                  <a:off x="7946078" y="2974892"/>
                  <a:ext cx="497689" cy="393670"/>
                </a:xfrm>
                <a:custGeom>
                  <a:avLst/>
                  <a:gdLst>
                    <a:gd name="T0" fmla="*/ 0 w 335"/>
                    <a:gd name="T1" fmla="*/ 273 h 273"/>
                    <a:gd name="T2" fmla="*/ 2 w 335"/>
                    <a:gd name="T3" fmla="*/ 270 h 273"/>
                    <a:gd name="T4" fmla="*/ 91 w 335"/>
                    <a:gd name="T5" fmla="*/ 0 h 273"/>
                    <a:gd name="T6" fmla="*/ 335 w 335"/>
                    <a:gd name="T7" fmla="*/ 136 h 273"/>
                    <a:gd name="T8" fmla="*/ 0 w 335"/>
                    <a:gd name="T9" fmla="*/ 273 h 273"/>
                    <a:gd name="T10" fmla="*/ 92 w 335"/>
                    <a:gd name="T11" fmla="*/ 5 h 273"/>
                    <a:gd name="T12" fmla="*/ 6 w 335"/>
                    <a:gd name="T13" fmla="*/ 267 h 273"/>
                    <a:gd name="T14" fmla="*/ 327 w 335"/>
                    <a:gd name="T15" fmla="*/ 135 h 273"/>
                    <a:gd name="T16" fmla="*/ 92 w 335"/>
                    <a:gd name="T17" fmla="*/ 5 h 2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35" h="273">
                      <a:moveTo>
                        <a:pt x="0" y="273"/>
                      </a:moveTo>
                      <a:lnTo>
                        <a:pt x="2" y="270"/>
                      </a:lnTo>
                      <a:lnTo>
                        <a:pt x="91" y="0"/>
                      </a:lnTo>
                      <a:lnTo>
                        <a:pt x="335" y="136"/>
                      </a:lnTo>
                      <a:lnTo>
                        <a:pt x="0" y="273"/>
                      </a:lnTo>
                      <a:close/>
                      <a:moveTo>
                        <a:pt x="92" y="5"/>
                      </a:moveTo>
                      <a:lnTo>
                        <a:pt x="6" y="267"/>
                      </a:lnTo>
                      <a:lnTo>
                        <a:pt x="327" y="135"/>
                      </a:lnTo>
                      <a:lnTo>
                        <a:pt x="92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80" name="Freeform 399">
                  <a:extLst>
                    <a:ext uri="{FF2B5EF4-FFF2-40B4-BE49-F238E27FC236}">
                      <a16:creationId xmlns:a16="http://schemas.microsoft.com/office/drawing/2014/main" id="{9B994484-14F0-6BB8-620E-3FB9F3AEBF2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567613" y="2617788"/>
                  <a:ext cx="519113" cy="590550"/>
                </a:xfrm>
                <a:custGeom>
                  <a:avLst/>
                  <a:gdLst>
                    <a:gd name="T0" fmla="*/ 0 w 327"/>
                    <a:gd name="T1" fmla="*/ 372 h 372"/>
                    <a:gd name="T2" fmla="*/ 1 w 327"/>
                    <a:gd name="T3" fmla="*/ 369 h 372"/>
                    <a:gd name="T4" fmla="*/ 107 w 327"/>
                    <a:gd name="T5" fmla="*/ 0 h 372"/>
                    <a:gd name="T6" fmla="*/ 327 w 327"/>
                    <a:gd name="T7" fmla="*/ 225 h 372"/>
                    <a:gd name="T8" fmla="*/ 0 w 327"/>
                    <a:gd name="T9" fmla="*/ 372 h 372"/>
                    <a:gd name="T10" fmla="*/ 108 w 327"/>
                    <a:gd name="T11" fmla="*/ 6 h 372"/>
                    <a:gd name="T12" fmla="*/ 5 w 327"/>
                    <a:gd name="T13" fmla="*/ 366 h 372"/>
                    <a:gd name="T14" fmla="*/ 322 w 327"/>
                    <a:gd name="T15" fmla="*/ 224 h 372"/>
                    <a:gd name="T16" fmla="*/ 108 w 327"/>
                    <a:gd name="T17" fmla="*/ 6 h 3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27" h="372">
                      <a:moveTo>
                        <a:pt x="0" y="372"/>
                      </a:moveTo>
                      <a:lnTo>
                        <a:pt x="1" y="369"/>
                      </a:lnTo>
                      <a:lnTo>
                        <a:pt x="107" y="0"/>
                      </a:lnTo>
                      <a:lnTo>
                        <a:pt x="327" y="225"/>
                      </a:lnTo>
                      <a:lnTo>
                        <a:pt x="0" y="372"/>
                      </a:lnTo>
                      <a:close/>
                      <a:moveTo>
                        <a:pt x="108" y="6"/>
                      </a:moveTo>
                      <a:lnTo>
                        <a:pt x="5" y="366"/>
                      </a:lnTo>
                      <a:lnTo>
                        <a:pt x="322" y="224"/>
                      </a:lnTo>
                      <a:lnTo>
                        <a:pt x="108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81" name="Freeform 400">
                  <a:extLst>
                    <a:ext uri="{FF2B5EF4-FFF2-40B4-BE49-F238E27FC236}">
                      <a16:creationId xmlns:a16="http://schemas.microsoft.com/office/drawing/2014/main" id="{56D66E22-E987-7728-3EC0-FAC0FD139C9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750176" y="2049463"/>
                  <a:ext cx="538163" cy="588963"/>
                </a:xfrm>
                <a:custGeom>
                  <a:avLst/>
                  <a:gdLst>
                    <a:gd name="T0" fmla="*/ 0 w 339"/>
                    <a:gd name="T1" fmla="*/ 371 h 371"/>
                    <a:gd name="T2" fmla="*/ 0 w 339"/>
                    <a:gd name="T3" fmla="*/ 368 h 371"/>
                    <a:gd name="T4" fmla="*/ 66 w 339"/>
                    <a:gd name="T5" fmla="*/ 0 h 371"/>
                    <a:gd name="T6" fmla="*/ 339 w 339"/>
                    <a:gd name="T7" fmla="*/ 254 h 371"/>
                    <a:gd name="T8" fmla="*/ 0 w 339"/>
                    <a:gd name="T9" fmla="*/ 371 h 371"/>
                    <a:gd name="T10" fmla="*/ 67 w 339"/>
                    <a:gd name="T11" fmla="*/ 7 h 371"/>
                    <a:gd name="T12" fmla="*/ 4 w 339"/>
                    <a:gd name="T13" fmla="*/ 365 h 371"/>
                    <a:gd name="T14" fmla="*/ 332 w 339"/>
                    <a:gd name="T15" fmla="*/ 252 h 371"/>
                    <a:gd name="T16" fmla="*/ 67 w 339"/>
                    <a:gd name="T17" fmla="*/ 7 h 3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39" h="371">
                      <a:moveTo>
                        <a:pt x="0" y="371"/>
                      </a:moveTo>
                      <a:lnTo>
                        <a:pt x="0" y="368"/>
                      </a:lnTo>
                      <a:lnTo>
                        <a:pt x="66" y="0"/>
                      </a:lnTo>
                      <a:lnTo>
                        <a:pt x="339" y="254"/>
                      </a:lnTo>
                      <a:lnTo>
                        <a:pt x="0" y="371"/>
                      </a:lnTo>
                      <a:close/>
                      <a:moveTo>
                        <a:pt x="67" y="7"/>
                      </a:moveTo>
                      <a:lnTo>
                        <a:pt x="4" y="365"/>
                      </a:lnTo>
                      <a:lnTo>
                        <a:pt x="332" y="252"/>
                      </a:lnTo>
                      <a:lnTo>
                        <a:pt x="67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82" name="Freeform 401">
                  <a:extLst>
                    <a:ext uri="{FF2B5EF4-FFF2-40B4-BE49-F238E27FC236}">
                      <a16:creationId xmlns:a16="http://schemas.microsoft.com/office/drawing/2014/main" id="{2BF48224-98F4-0497-C710-0982C90EC19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748588" y="2452688"/>
                  <a:ext cx="520700" cy="522288"/>
                </a:xfrm>
                <a:custGeom>
                  <a:avLst/>
                  <a:gdLst>
                    <a:gd name="T0" fmla="*/ 208 w 328"/>
                    <a:gd name="T1" fmla="*/ 329 h 329"/>
                    <a:gd name="T2" fmla="*/ 0 w 328"/>
                    <a:gd name="T3" fmla="*/ 114 h 329"/>
                    <a:gd name="T4" fmla="*/ 328 w 328"/>
                    <a:gd name="T5" fmla="*/ 0 h 329"/>
                    <a:gd name="T6" fmla="*/ 327 w 328"/>
                    <a:gd name="T7" fmla="*/ 3 h 329"/>
                    <a:gd name="T8" fmla="*/ 208 w 328"/>
                    <a:gd name="T9" fmla="*/ 329 h 329"/>
                    <a:gd name="T10" fmla="*/ 6 w 328"/>
                    <a:gd name="T11" fmla="*/ 115 h 329"/>
                    <a:gd name="T12" fmla="*/ 206 w 328"/>
                    <a:gd name="T13" fmla="*/ 322 h 329"/>
                    <a:gd name="T14" fmla="*/ 322 w 328"/>
                    <a:gd name="T15" fmla="*/ 5 h 329"/>
                    <a:gd name="T16" fmla="*/ 6 w 328"/>
                    <a:gd name="T17" fmla="*/ 115 h 3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28" h="329">
                      <a:moveTo>
                        <a:pt x="208" y="329"/>
                      </a:moveTo>
                      <a:lnTo>
                        <a:pt x="0" y="114"/>
                      </a:lnTo>
                      <a:lnTo>
                        <a:pt x="328" y="0"/>
                      </a:lnTo>
                      <a:lnTo>
                        <a:pt x="327" y="3"/>
                      </a:lnTo>
                      <a:lnTo>
                        <a:pt x="208" y="329"/>
                      </a:lnTo>
                      <a:close/>
                      <a:moveTo>
                        <a:pt x="6" y="115"/>
                      </a:moveTo>
                      <a:lnTo>
                        <a:pt x="206" y="322"/>
                      </a:lnTo>
                      <a:lnTo>
                        <a:pt x="322" y="5"/>
                      </a:lnTo>
                      <a:lnTo>
                        <a:pt x="6" y="11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83" name="Freeform 402">
                  <a:extLst>
                    <a:ext uri="{FF2B5EF4-FFF2-40B4-BE49-F238E27FC236}">
                      <a16:creationId xmlns:a16="http://schemas.microsoft.com/office/drawing/2014/main" id="{CB708EDB-A2F3-3093-729E-0435AA9BF16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224713" y="2397126"/>
                  <a:ext cx="536575" cy="812800"/>
                </a:xfrm>
                <a:custGeom>
                  <a:avLst/>
                  <a:gdLst>
                    <a:gd name="T0" fmla="*/ 0 w 338"/>
                    <a:gd name="T1" fmla="*/ 512 h 512"/>
                    <a:gd name="T2" fmla="*/ 5 w 338"/>
                    <a:gd name="T3" fmla="*/ 0 h 512"/>
                    <a:gd name="T4" fmla="*/ 338 w 338"/>
                    <a:gd name="T5" fmla="*/ 145 h 512"/>
                    <a:gd name="T6" fmla="*/ 0 w 338"/>
                    <a:gd name="T7" fmla="*/ 512 h 512"/>
                    <a:gd name="T8" fmla="*/ 8 w 338"/>
                    <a:gd name="T9" fmla="*/ 5 h 512"/>
                    <a:gd name="T10" fmla="*/ 4 w 338"/>
                    <a:gd name="T11" fmla="*/ 503 h 512"/>
                    <a:gd name="T12" fmla="*/ 332 w 338"/>
                    <a:gd name="T13" fmla="*/ 146 h 512"/>
                    <a:gd name="T14" fmla="*/ 8 w 338"/>
                    <a:gd name="T15" fmla="*/ 5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38" h="512">
                      <a:moveTo>
                        <a:pt x="0" y="512"/>
                      </a:moveTo>
                      <a:lnTo>
                        <a:pt x="5" y="0"/>
                      </a:lnTo>
                      <a:lnTo>
                        <a:pt x="338" y="145"/>
                      </a:lnTo>
                      <a:lnTo>
                        <a:pt x="0" y="512"/>
                      </a:lnTo>
                      <a:close/>
                      <a:moveTo>
                        <a:pt x="8" y="5"/>
                      </a:moveTo>
                      <a:lnTo>
                        <a:pt x="4" y="503"/>
                      </a:lnTo>
                      <a:lnTo>
                        <a:pt x="332" y="146"/>
                      </a:lnTo>
                      <a:lnTo>
                        <a:pt x="8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84" name="Freeform 403">
                  <a:extLst>
                    <a:ext uri="{FF2B5EF4-FFF2-40B4-BE49-F238E27FC236}">
                      <a16:creationId xmlns:a16="http://schemas.microsoft.com/office/drawing/2014/main" id="{BEA00BAC-C32B-2014-0FC0-B3FEA6F270A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662738" y="2808288"/>
                  <a:ext cx="539750" cy="919163"/>
                </a:xfrm>
                <a:custGeom>
                  <a:avLst/>
                  <a:gdLst>
                    <a:gd name="T0" fmla="*/ 48 w 340"/>
                    <a:gd name="T1" fmla="*/ 579 h 579"/>
                    <a:gd name="T2" fmla="*/ 0 w 340"/>
                    <a:gd name="T3" fmla="*/ 0 h 579"/>
                    <a:gd name="T4" fmla="*/ 340 w 340"/>
                    <a:gd name="T5" fmla="*/ 252 h 579"/>
                    <a:gd name="T6" fmla="*/ 48 w 340"/>
                    <a:gd name="T7" fmla="*/ 579 h 579"/>
                    <a:gd name="T8" fmla="*/ 4 w 340"/>
                    <a:gd name="T9" fmla="*/ 8 h 579"/>
                    <a:gd name="T10" fmla="*/ 51 w 340"/>
                    <a:gd name="T11" fmla="*/ 571 h 579"/>
                    <a:gd name="T12" fmla="*/ 334 w 340"/>
                    <a:gd name="T13" fmla="*/ 253 h 579"/>
                    <a:gd name="T14" fmla="*/ 4 w 340"/>
                    <a:gd name="T15" fmla="*/ 8 h 5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40" h="579">
                      <a:moveTo>
                        <a:pt x="48" y="579"/>
                      </a:moveTo>
                      <a:lnTo>
                        <a:pt x="0" y="0"/>
                      </a:lnTo>
                      <a:lnTo>
                        <a:pt x="340" y="252"/>
                      </a:lnTo>
                      <a:lnTo>
                        <a:pt x="48" y="579"/>
                      </a:lnTo>
                      <a:close/>
                      <a:moveTo>
                        <a:pt x="4" y="8"/>
                      </a:moveTo>
                      <a:lnTo>
                        <a:pt x="51" y="571"/>
                      </a:lnTo>
                      <a:lnTo>
                        <a:pt x="334" y="253"/>
                      </a:lnTo>
                      <a:lnTo>
                        <a:pt x="4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85" name="Freeform 404">
                  <a:extLst>
                    <a:ext uri="{FF2B5EF4-FFF2-40B4-BE49-F238E27FC236}">
                      <a16:creationId xmlns:a16="http://schemas.microsoft.com/office/drawing/2014/main" id="{16BAF154-3377-6DA5-44DB-155A80B39DD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080126" y="2452688"/>
                  <a:ext cx="593725" cy="762000"/>
                </a:xfrm>
                <a:custGeom>
                  <a:avLst/>
                  <a:gdLst>
                    <a:gd name="T0" fmla="*/ 0 w 374"/>
                    <a:gd name="T1" fmla="*/ 480 h 480"/>
                    <a:gd name="T2" fmla="*/ 123 w 374"/>
                    <a:gd name="T3" fmla="*/ 0 h 480"/>
                    <a:gd name="T4" fmla="*/ 374 w 374"/>
                    <a:gd name="T5" fmla="*/ 240 h 480"/>
                    <a:gd name="T6" fmla="*/ 0 w 374"/>
                    <a:gd name="T7" fmla="*/ 480 h 480"/>
                    <a:gd name="T8" fmla="*/ 125 w 374"/>
                    <a:gd name="T9" fmla="*/ 6 h 480"/>
                    <a:gd name="T10" fmla="*/ 5 w 374"/>
                    <a:gd name="T11" fmla="*/ 473 h 480"/>
                    <a:gd name="T12" fmla="*/ 368 w 374"/>
                    <a:gd name="T13" fmla="*/ 240 h 480"/>
                    <a:gd name="T14" fmla="*/ 125 w 374"/>
                    <a:gd name="T15" fmla="*/ 6 h 4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74" h="480">
                      <a:moveTo>
                        <a:pt x="0" y="480"/>
                      </a:moveTo>
                      <a:lnTo>
                        <a:pt x="123" y="0"/>
                      </a:lnTo>
                      <a:lnTo>
                        <a:pt x="374" y="240"/>
                      </a:lnTo>
                      <a:lnTo>
                        <a:pt x="0" y="480"/>
                      </a:lnTo>
                      <a:close/>
                      <a:moveTo>
                        <a:pt x="125" y="6"/>
                      </a:moveTo>
                      <a:lnTo>
                        <a:pt x="5" y="473"/>
                      </a:lnTo>
                      <a:lnTo>
                        <a:pt x="368" y="240"/>
                      </a:lnTo>
                      <a:lnTo>
                        <a:pt x="125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86" name="Freeform 405">
                  <a:extLst>
                    <a:ext uri="{FF2B5EF4-FFF2-40B4-BE49-F238E27FC236}">
                      <a16:creationId xmlns:a16="http://schemas.microsoft.com/office/drawing/2014/main" id="{90A7B669-B2C4-5D0B-2BDD-B94F804CED8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078538" y="3201988"/>
                  <a:ext cx="676275" cy="547688"/>
                </a:xfrm>
                <a:custGeom>
                  <a:avLst/>
                  <a:gdLst>
                    <a:gd name="T0" fmla="*/ 118 w 426"/>
                    <a:gd name="T1" fmla="*/ 345 h 345"/>
                    <a:gd name="T2" fmla="*/ 0 w 426"/>
                    <a:gd name="T3" fmla="*/ 0 h 345"/>
                    <a:gd name="T4" fmla="*/ 426 w 426"/>
                    <a:gd name="T5" fmla="*/ 331 h 345"/>
                    <a:gd name="T6" fmla="*/ 118 w 426"/>
                    <a:gd name="T7" fmla="*/ 345 h 345"/>
                    <a:gd name="T8" fmla="*/ 7 w 426"/>
                    <a:gd name="T9" fmla="*/ 9 h 345"/>
                    <a:gd name="T10" fmla="*/ 120 w 426"/>
                    <a:gd name="T11" fmla="*/ 340 h 345"/>
                    <a:gd name="T12" fmla="*/ 417 w 426"/>
                    <a:gd name="T13" fmla="*/ 327 h 345"/>
                    <a:gd name="T14" fmla="*/ 7 w 426"/>
                    <a:gd name="T15" fmla="*/ 9 h 3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26" h="345">
                      <a:moveTo>
                        <a:pt x="118" y="345"/>
                      </a:moveTo>
                      <a:lnTo>
                        <a:pt x="0" y="0"/>
                      </a:lnTo>
                      <a:lnTo>
                        <a:pt x="426" y="331"/>
                      </a:lnTo>
                      <a:lnTo>
                        <a:pt x="118" y="345"/>
                      </a:lnTo>
                      <a:close/>
                      <a:moveTo>
                        <a:pt x="7" y="9"/>
                      </a:moveTo>
                      <a:lnTo>
                        <a:pt x="120" y="340"/>
                      </a:lnTo>
                      <a:lnTo>
                        <a:pt x="417" y="327"/>
                      </a:lnTo>
                      <a:lnTo>
                        <a:pt x="7" y="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87" name="Freeform 406">
                  <a:extLst>
                    <a:ext uri="{FF2B5EF4-FFF2-40B4-BE49-F238E27FC236}">
                      <a16:creationId xmlns:a16="http://schemas.microsoft.com/office/drawing/2014/main" id="{07C79166-2E8E-10EF-CA0B-CC0119A8472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272213" y="2054226"/>
                  <a:ext cx="700088" cy="569913"/>
                </a:xfrm>
                <a:custGeom>
                  <a:avLst/>
                  <a:gdLst>
                    <a:gd name="T0" fmla="*/ 441 w 441"/>
                    <a:gd name="T1" fmla="*/ 359 h 359"/>
                    <a:gd name="T2" fmla="*/ 0 w 441"/>
                    <a:gd name="T3" fmla="*/ 256 h 359"/>
                    <a:gd name="T4" fmla="*/ 265 w 441"/>
                    <a:gd name="T5" fmla="*/ 0 h 359"/>
                    <a:gd name="T6" fmla="*/ 266 w 441"/>
                    <a:gd name="T7" fmla="*/ 2 h 359"/>
                    <a:gd name="T8" fmla="*/ 441 w 441"/>
                    <a:gd name="T9" fmla="*/ 359 h 359"/>
                    <a:gd name="T10" fmla="*/ 7 w 441"/>
                    <a:gd name="T11" fmla="*/ 253 h 359"/>
                    <a:gd name="T12" fmla="*/ 435 w 441"/>
                    <a:gd name="T13" fmla="*/ 354 h 359"/>
                    <a:gd name="T14" fmla="*/ 264 w 441"/>
                    <a:gd name="T15" fmla="*/ 6 h 359"/>
                    <a:gd name="T16" fmla="*/ 7 w 441"/>
                    <a:gd name="T17" fmla="*/ 253 h 3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41" h="359">
                      <a:moveTo>
                        <a:pt x="441" y="359"/>
                      </a:moveTo>
                      <a:lnTo>
                        <a:pt x="0" y="256"/>
                      </a:lnTo>
                      <a:lnTo>
                        <a:pt x="265" y="0"/>
                      </a:lnTo>
                      <a:lnTo>
                        <a:pt x="266" y="2"/>
                      </a:lnTo>
                      <a:lnTo>
                        <a:pt x="441" y="359"/>
                      </a:lnTo>
                      <a:close/>
                      <a:moveTo>
                        <a:pt x="7" y="253"/>
                      </a:moveTo>
                      <a:lnTo>
                        <a:pt x="435" y="354"/>
                      </a:lnTo>
                      <a:lnTo>
                        <a:pt x="264" y="6"/>
                      </a:lnTo>
                      <a:lnTo>
                        <a:pt x="7" y="25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88" name="Freeform 407">
                  <a:extLst>
                    <a:ext uri="{FF2B5EF4-FFF2-40B4-BE49-F238E27FC236}">
                      <a16:creationId xmlns:a16="http://schemas.microsoft.com/office/drawing/2014/main" id="{345B43F9-029B-6543-B4F7-32DB8E2552F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672263" y="1925638"/>
                  <a:ext cx="557213" cy="487363"/>
                </a:xfrm>
                <a:custGeom>
                  <a:avLst/>
                  <a:gdLst>
                    <a:gd name="T0" fmla="*/ 351 w 351"/>
                    <a:gd name="T1" fmla="*/ 307 h 307"/>
                    <a:gd name="T2" fmla="*/ 0 w 351"/>
                    <a:gd name="T3" fmla="*/ 88 h 307"/>
                    <a:gd name="T4" fmla="*/ 296 w 351"/>
                    <a:gd name="T5" fmla="*/ 0 h 307"/>
                    <a:gd name="T6" fmla="*/ 297 w 351"/>
                    <a:gd name="T7" fmla="*/ 2 h 307"/>
                    <a:gd name="T8" fmla="*/ 351 w 351"/>
                    <a:gd name="T9" fmla="*/ 307 h 307"/>
                    <a:gd name="T10" fmla="*/ 8 w 351"/>
                    <a:gd name="T11" fmla="*/ 89 h 307"/>
                    <a:gd name="T12" fmla="*/ 346 w 351"/>
                    <a:gd name="T13" fmla="*/ 300 h 307"/>
                    <a:gd name="T14" fmla="*/ 293 w 351"/>
                    <a:gd name="T15" fmla="*/ 5 h 307"/>
                    <a:gd name="T16" fmla="*/ 8 w 351"/>
                    <a:gd name="T17" fmla="*/ 89 h 3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51" h="307">
                      <a:moveTo>
                        <a:pt x="351" y="307"/>
                      </a:moveTo>
                      <a:lnTo>
                        <a:pt x="0" y="88"/>
                      </a:lnTo>
                      <a:lnTo>
                        <a:pt x="296" y="0"/>
                      </a:lnTo>
                      <a:lnTo>
                        <a:pt x="297" y="2"/>
                      </a:lnTo>
                      <a:lnTo>
                        <a:pt x="351" y="307"/>
                      </a:lnTo>
                      <a:close/>
                      <a:moveTo>
                        <a:pt x="8" y="89"/>
                      </a:moveTo>
                      <a:lnTo>
                        <a:pt x="346" y="300"/>
                      </a:lnTo>
                      <a:lnTo>
                        <a:pt x="293" y="5"/>
                      </a:lnTo>
                      <a:lnTo>
                        <a:pt x="8" y="8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89" name="Freeform 408">
                  <a:extLst>
                    <a:ext uri="{FF2B5EF4-FFF2-40B4-BE49-F238E27FC236}">
                      <a16:creationId xmlns:a16="http://schemas.microsoft.com/office/drawing/2014/main" id="{738FAA6B-42D4-676B-AD62-000FF365CF1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675438" y="2616201"/>
                  <a:ext cx="539750" cy="611188"/>
                </a:xfrm>
                <a:custGeom>
                  <a:avLst/>
                  <a:gdLst>
                    <a:gd name="T0" fmla="*/ 340 w 340"/>
                    <a:gd name="T1" fmla="*/ 385 h 385"/>
                    <a:gd name="T2" fmla="*/ 0 w 340"/>
                    <a:gd name="T3" fmla="*/ 136 h 385"/>
                    <a:gd name="T4" fmla="*/ 185 w 340"/>
                    <a:gd name="T5" fmla="*/ 0 h 385"/>
                    <a:gd name="T6" fmla="*/ 185 w 340"/>
                    <a:gd name="T7" fmla="*/ 2 h 385"/>
                    <a:gd name="T8" fmla="*/ 340 w 340"/>
                    <a:gd name="T9" fmla="*/ 385 h 385"/>
                    <a:gd name="T10" fmla="*/ 6 w 340"/>
                    <a:gd name="T11" fmla="*/ 136 h 385"/>
                    <a:gd name="T12" fmla="*/ 332 w 340"/>
                    <a:gd name="T13" fmla="*/ 375 h 385"/>
                    <a:gd name="T14" fmla="*/ 184 w 340"/>
                    <a:gd name="T15" fmla="*/ 5 h 385"/>
                    <a:gd name="T16" fmla="*/ 6 w 340"/>
                    <a:gd name="T17" fmla="*/ 136 h 3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40" h="385">
                      <a:moveTo>
                        <a:pt x="340" y="385"/>
                      </a:moveTo>
                      <a:lnTo>
                        <a:pt x="0" y="136"/>
                      </a:lnTo>
                      <a:lnTo>
                        <a:pt x="185" y="0"/>
                      </a:lnTo>
                      <a:lnTo>
                        <a:pt x="185" y="2"/>
                      </a:lnTo>
                      <a:lnTo>
                        <a:pt x="340" y="385"/>
                      </a:lnTo>
                      <a:close/>
                      <a:moveTo>
                        <a:pt x="6" y="136"/>
                      </a:moveTo>
                      <a:lnTo>
                        <a:pt x="332" y="375"/>
                      </a:lnTo>
                      <a:lnTo>
                        <a:pt x="184" y="5"/>
                      </a:lnTo>
                      <a:lnTo>
                        <a:pt x="6" y="13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90" name="Freeform 409">
                  <a:extLst>
                    <a:ext uri="{FF2B5EF4-FFF2-40B4-BE49-F238E27FC236}">
                      <a16:creationId xmlns:a16="http://schemas.microsoft.com/office/drawing/2014/main" id="{9944E875-6AD9-2805-42A9-A6F58032538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189788" y="3201988"/>
                  <a:ext cx="385763" cy="727075"/>
                </a:xfrm>
                <a:custGeom>
                  <a:avLst/>
                  <a:gdLst>
                    <a:gd name="T0" fmla="*/ 0 w 243"/>
                    <a:gd name="T1" fmla="*/ 458 h 458"/>
                    <a:gd name="T2" fmla="*/ 9 w 243"/>
                    <a:gd name="T3" fmla="*/ 14 h 458"/>
                    <a:gd name="T4" fmla="*/ 243 w 243"/>
                    <a:gd name="T5" fmla="*/ 0 h 458"/>
                    <a:gd name="T6" fmla="*/ 0 w 243"/>
                    <a:gd name="T7" fmla="*/ 458 h 458"/>
                    <a:gd name="T8" fmla="*/ 13 w 243"/>
                    <a:gd name="T9" fmla="*/ 17 h 458"/>
                    <a:gd name="T10" fmla="*/ 3 w 243"/>
                    <a:gd name="T11" fmla="*/ 444 h 458"/>
                    <a:gd name="T12" fmla="*/ 238 w 243"/>
                    <a:gd name="T13" fmla="*/ 3 h 458"/>
                    <a:gd name="T14" fmla="*/ 13 w 243"/>
                    <a:gd name="T15" fmla="*/ 17 h 4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43" h="458">
                      <a:moveTo>
                        <a:pt x="0" y="458"/>
                      </a:moveTo>
                      <a:lnTo>
                        <a:pt x="9" y="14"/>
                      </a:lnTo>
                      <a:lnTo>
                        <a:pt x="243" y="0"/>
                      </a:lnTo>
                      <a:lnTo>
                        <a:pt x="0" y="458"/>
                      </a:lnTo>
                      <a:close/>
                      <a:moveTo>
                        <a:pt x="13" y="17"/>
                      </a:moveTo>
                      <a:lnTo>
                        <a:pt x="3" y="444"/>
                      </a:lnTo>
                      <a:lnTo>
                        <a:pt x="238" y="3"/>
                      </a:lnTo>
                      <a:lnTo>
                        <a:pt x="13" y="1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91" name="Freeform 410">
                  <a:extLst>
                    <a:ext uri="{FF2B5EF4-FFF2-40B4-BE49-F238E27FC236}">
                      <a16:creationId xmlns:a16="http://schemas.microsoft.com/office/drawing/2014/main" id="{1DC74164-1FAD-57D2-693F-1954991EBFF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573963" y="3190876"/>
                  <a:ext cx="381000" cy="758825"/>
                </a:xfrm>
                <a:custGeom>
                  <a:avLst/>
                  <a:gdLst>
                    <a:gd name="T0" fmla="*/ 61 w 240"/>
                    <a:gd name="T1" fmla="*/ 478 h 478"/>
                    <a:gd name="T2" fmla="*/ 0 w 240"/>
                    <a:gd name="T3" fmla="*/ 0 h 478"/>
                    <a:gd name="T4" fmla="*/ 240 w 240"/>
                    <a:gd name="T5" fmla="*/ 131 h 478"/>
                    <a:gd name="T6" fmla="*/ 240 w 240"/>
                    <a:gd name="T7" fmla="*/ 133 h 478"/>
                    <a:gd name="T8" fmla="*/ 61 w 240"/>
                    <a:gd name="T9" fmla="*/ 478 h 478"/>
                    <a:gd name="T10" fmla="*/ 4 w 240"/>
                    <a:gd name="T11" fmla="*/ 6 h 478"/>
                    <a:gd name="T12" fmla="*/ 62 w 240"/>
                    <a:gd name="T13" fmla="*/ 467 h 478"/>
                    <a:gd name="T14" fmla="*/ 236 w 240"/>
                    <a:gd name="T15" fmla="*/ 133 h 478"/>
                    <a:gd name="T16" fmla="*/ 4 w 240"/>
                    <a:gd name="T17" fmla="*/ 6 h 4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40" h="478">
                      <a:moveTo>
                        <a:pt x="61" y="478"/>
                      </a:moveTo>
                      <a:lnTo>
                        <a:pt x="0" y="0"/>
                      </a:lnTo>
                      <a:lnTo>
                        <a:pt x="240" y="131"/>
                      </a:lnTo>
                      <a:lnTo>
                        <a:pt x="240" y="133"/>
                      </a:lnTo>
                      <a:lnTo>
                        <a:pt x="61" y="478"/>
                      </a:lnTo>
                      <a:close/>
                      <a:moveTo>
                        <a:pt x="4" y="6"/>
                      </a:moveTo>
                      <a:lnTo>
                        <a:pt x="62" y="467"/>
                      </a:lnTo>
                      <a:lnTo>
                        <a:pt x="236" y="133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92" name="Freeform 411">
                  <a:extLst>
                    <a:ext uri="{FF2B5EF4-FFF2-40B4-BE49-F238E27FC236}">
                      <a16:creationId xmlns:a16="http://schemas.microsoft.com/office/drawing/2014/main" id="{702578C2-A362-3F90-5C1A-149630760A4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185026" y="3916363"/>
                  <a:ext cx="493713" cy="374650"/>
                </a:xfrm>
                <a:custGeom>
                  <a:avLst/>
                  <a:gdLst>
                    <a:gd name="T0" fmla="*/ 198 w 311"/>
                    <a:gd name="T1" fmla="*/ 236 h 236"/>
                    <a:gd name="T2" fmla="*/ 0 w 311"/>
                    <a:gd name="T3" fmla="*/ 0 h 236"/>
                    <a:gd name="T4" fmla="*/ 311 w 311"/>
                    <a:gd name="T5" fmla="*/ 6 h 236"/>
                    <a:gd name="T6" fmla="*/ 198 w 311"/>
                    <a:gd name="T7" fmla="*/ 236 h 236"/>
                    <a:gd name="T8" fmla="*/ 8 w 311"/>
                    <a:gd name="T9" fmla="*/ 3 h 236"/>
                    <a:gd name="T10" fmla="*/ 197 w 311"/>
                    <a:gd name="T11" fmla="*/ 230 h 236"/>
                    <a:gd name="T12" fmla="*/ 306 w 311"/>
                    <a:gd name="T13" fmla="*/ 9 h 236"/>
                    <a:gd name="T14" fmla="*/ 8 w 311"/>
                    <a:gd name="T15" fmla="*/ 3 h 2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11" h="236">
                      <a:moveTo>
                        <a:pt x="198" y="236"/>
                      </a:moveTo>
                      <a:lnTo>
                        <a:pt x="0" y="0"/>
                      </a:lnTo>
                      <a:lnTo>
                        <a:pt x="311" y="6"/>
                      </a:lnTo>
                      <a:lnTo>
                        <a:pt x="198" y="236"/>
                      </a:lnTo>
                      <a:close/>
                      <a:moveTo>
                        <a:pt x="8" y="3"/>
                      </a:moveTo>
                      <a:lnTo>
                        <a:pt x="197" y="230"/>
                      </a:lnTo>
                      <a:lnTo>
                        <a:pt x="306" y="9"/>
                      </a:lnTo>
                      <a:lnTo>
                        <a:pt x="8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93" name="Freeform 412">
                  <a:extLst>
                    <a:ext uri="{FF2B5EF4-FFF2-40B4-BE49-F238E27FC236}">
                      <a16:creationId xmlns:a16="http://schemas.microsoft.com/office/drawing/2014/main" id="{3AD8A8D5-50DB-734B-FF22-6FDEF4AD6BA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732588" y="3703638"/>
                  <a:ext cx="468313" cy="554038"/>
                </a:xfrm>
                <a:custGeom>
                  <a:avLst/>
                  <a:gdLst>
                    <a:gd name="T0" fmla="*/ 111 w 295"/>
                    <a:gd name="T1" fmla="*/ 349 h 349"/>
                    <a:gd name="T2" fmla="*/ 0 w 295"/>
                    <a:gd name="T3" fmla="*/ 0 h 349"/>
                    <a:gd name="T4" fmla="*/ 295 w 295"/>
                    <a:gd name="T5" fmla="*/ 137 h 349"/>
                    <a:gd name="T6" fmla="*/ 111 w 295"/>
                    <a:gd name="T7" fmla="*/ 349 h 349"/>
                    <a:gd name="T8" fmla="*/ 6 w 295"/>
                    <a:gd name="T9" fmla="*/ 6 h 349"/>
                    <a:gd name="T10" fmla="*/ 112 w 295"/>
                    <a:gd name="T11" fmla="*/ 343 h 349"/>
                    <a:gd name="T12" fmla="*/ 290 w 295"/>
                    <a:gd name="T13" fmla="*/ 139 h 349"/>
                    <a:gd name="T14" fmla="*/ 6 w 295"/>
                    <a:gd name="T15" fmla="*/ 6 h 3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95" h="349">
                      <a:moveTo>
                        <a:pt x="111" y="349"/>
                      </a:moveTo>
                      <a:lnTo>
                        <a:pt x="0" y="0"/>
                      </a:lnTo>
                      <a:lnTo>
                        <a:pt x="295" y="137"/>
                      </a:lnTo>
                      <a:lnTo>
                        <a:pt x="111" y="349"/>
                      </a:lnTo>
                      <a:close/>
                      <a:moveTo>
                        <a:pt x="6" y="6"/>
                      </a:moveTo>
                      <a:lnTo>
                        <a:pt x="112" y="343"/>
                      </a:lnTo>
                      <a:lnTo>
                        <a:pt x="290" y="139"/>
                      </a:ln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94" name="Freeform 413">
                  <a:extLst>
                    <a:ext uri="{FF2B5EF4-FFF2-40B4-BE49-F238E27FC236}">
                      <a16:creationId xmlns:a16="http://schemas.microsoft.com/office/drawing/2014/main" id="{2EC5F794-6948-A3F6-7CAF-7E2E3DB4E92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664451" y="3403601"/>
                  <a:ext cx="463550" cy="555625"/>
                </a:xfrm>
                <a:custGeom>
                  <a:avLst/>
                  <a:gdLst>
                    <a:gd name="T0" fmla="*/ 292 w 292"/>
                    <a:gd name="T1" fmla="*/ 350 h 350"/>
                    <a:gd name="T2" fmla="*/ 0 w 292"/>
                    <a:gd name="T3" fmla="*/ 341 h 350"/>
                    <a:gd name="T4" fmla="*/ 178 w 292"/>
                    <a:gd name="T5" fmla="*/ 0 h 350"/>
                    <a:gd name="T6" fmla="*/ 292 w 292"/>
                    <a:gd name="T7" fmla="*/ 350 h 350"/>
                    <a:gd name="T8" fmla="*/ 5 w 292"/>
                    <a:gd name="T9" fmla="*/ 338 h 350"/>
                    <a:gd name="T10" fmla="*/ 287 w 292"/>
                    <a:gd name="T11" fmla="*/ 346 h 350"/>
                    <a:gd name="T12" fmla="*/ 178 w 292"/>
                    <a:gd name="T13" fmla="*/ 9 h 350"/>
                    <a:gd name="T14" fmla="*/ 5 w 292"/>
                    <a:gd name="T15" fmla="*/ 338 h 3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92" h="350">
                      <a:moveTo>
                        <a:pt x="292" y="350"/>
                      </a:moveTo>
                      <a:lnTo>
                        <a:pt x="0" y="341"/>
                      </a:lnTo>
                      <a:lnTo>
                        <a:pt x="178" y="0"/>
                      </a:lnTo>
                      <a:lnTo>
                        <a:pt x="292" y="350"/>
                      </a:lnTo>
                      <a:close/>
                      <a:moveTo>
                        <a:pt x="5" y="338"/>
                      </a:moveTo>
                      <a:lnTo>
                        <a:pt x="287" y="346"/>
                      </a:lnTo>
                      <a:lnTo>
                        <a:pt x="178" y="9"/>
                      </a:lnTo>
                      <a:lnTo>
                        <a:pt x="5" y="33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95" name="Freeform 414">
                  <a:extLst>
                    <a:ext uri="{FF2B5EF4-FFF2-40B4-BE49-F238E27FC236}">
                      <a16:creationId xmlns:a16="http://schemas.microsoft.com/office/drawing/2014/main" id="{2E9F941D-2F23-06B7-DCBE-37D806EE75B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131051" y="1911351"/>
                  <a:ext cx="725488" cy="508000"/>
                </a:xfrm>
                <a:custGeom>
                  <a:avLst/>
                  <a:gdLst>
                    <a:gd name="T0" fmla="*/ 61 w 457"/>
                    <a:gd name="T1" fmla="*/ 320 h 320"/>
                    <a:gd name="T2" fmla="*/ 60 w 457"/>
                    <a:gd name="T3" fmla="*/ 318 h 320"/>
                    <a:gd name="T4" fmla="*/ 0 w 457"/>
                    <a:gd name="T5" fmla="*/ 0 h 320"/>
                    <a:gd name="T6" fmla="*/ 457 w 457"/>
                    <a:gd name="T7" fmla="*/ 94 h 320"/>
                    <a:gd name="T8" fmla="*/ 61 w 457"/>
                    <a:gd name="T9" fmla="*/ 320 h 320"/>
                    <a:gd name="T10" fmla="*/ 4 w 457"/>
                    <a:gd name="T11" fmla="*/ 4 h 320"/>
                    <a:gd name="T12" fmla="*/ 64 w 457"/>
                    <a:gd name="T13" fmla="*/ 315 h 320"/>
                    <a:gd name="T14" fmla="*/ 448 w 457"/>
                    <a:gd name="T15" fmla="*/ 95 h 320"/>
                    <a:gd name="T16" fmla="*/ 4 w 457"/>
                    <a:gd name="T17" fmla="*/ 4 h 3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57" h="320">
                      <a:moveTo>
                        <a:pt x="61" y="320"/>
                      </a:moveTo>
                      <a:lnTo>
                        <a:pt x="60" y="318"/>
                      </a:lnTo>
                      <a:lnTo>
                        <a:pt x="0" y="0"/>
                      </a:lnTo>
                      <a:lnTo>
                        <a:pt x="457" y="94"/>
                      </a:lnTo>
                      <a:lnTo>
                        <a:pt x="61" y="320"/>
                      </a:lnTo>
                      <a:close/>
                      <a:moveTo>
                        <a:pt x="4" y="4"/>
                      </a:moveTo>
                      <a:lnTo>
                        <a:pt x="64" y="315"/>
                      </a:lnTo>
                      <a:lnTo>
                        <a:pt x="448" y="95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96" name="Freeform 416">
                  <a:extLst>
                    <a:ext uri="{FF2B5EF4-FFF2-40B4-BE49-F238E27FC236}">
                      <a16:creationId xmlns:a16="http://schemas.microsoft.com/office/drawing/2014/main" id="{258E41C6-1BBC-D42E-6FD6-C5BE8B7D4E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12113" y="3841751"/>
                  <a:ext cx="214313" cy="214313"/>
                </a:xfrm>
                <a:custGeom>
                  <a:avLst/>
                  <a:gdLst>
                    <a:gd name="T0" fmla="*/ 28 w 157"/>
                    <a:gd name="T1" fmla="*/ 129 h 157"/>
                    <a:gd name="T2" fmla="*/ 28 w 157"/>
                    <a:gd name="T3" fmla="*/ 28 h 157"/>
                    <a:gd name="T4" fmla="*/ 129 w 157"/>
                    <a:gd name="T5" fmla="*/ 28 h 157"/>
                    <a:gd name="T6" fmla="*/ 129 w 157"/>
                    <a:gd name="T7" fmla="*/ 129 h 157"/>
                    <a:gd name="T8" fmla="*/ 28 w 157"/>
                    <a:gd name="T9" fmla="*/ 129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7" h="157">
                      <a:moveTo>
                        <a:pt x="28" y="129"/>
                      </a:moveTo>
                      <a:cubicBezTo>
                        <a:pt x="0" y="101"/>
                        <a:pt x="0" y="56"/>
                        <a:pt x="28" y="28"/>
                      </a:cubicBezTo>
                      <a:cubicBezTo>
                        <a:pt x="56" y="0"/>
                        <a:pt x="101" y="0"/>
                        <a:pt x="129" y="28"/>
                      </a:cubicBezTo>
                      <a:cubicBezTo>
                        <a:pt x="157" y="56"/>
                        <a:pt x="157" y="101"/>
                        <a:pt x="129" y="129"/>
                      </a:cubicBezTo>
                      <a:cubicBezTo>
                        <a:pt x="101" y="157"/>
                        <a:pt x="56" y="157"/>
                        <a:pt x="28" y="129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97" name="Freeform 417">
                  <a:extLst>
                    <a:ext uri="{FF2B5EF4-FFF2-40B4-BE49-F238E27FC236}">
                      <a16:creationId xmlns:a16="http://schemas.microsoft.com/office/drawing/2014/main" id="{81E8405B-9E60-C405-D24A-CF7815A217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18488" y="2384426"/>
                  <a:ext cx="130175" cy="131763"/>
                </a:xfrm>
                <a:custGeom>
                  <a:avLst/>
                  <a:gdLst>
                    <a:gd name="T0" fmla="*/ 17 w 95"/>
                    <a:gd name="T1" fmla="*/ 79 h 96"/>
                    <a:gd name="T2" fmla="*/ 17 w 95"/>
                    <a:gd name="T3" fmla="*/ 17 h 96"/>
                    <a:gd name="T4" fmla="*/ 78 w 95"/>
                    <a:gd name="T5" fmla="*/ 17 h 96"/>
                    <a:gd name="T6" fmla="*/ 78 w 95"/>
                    <a:gd name="T7" fmla="*/ 79 h 96"/>
                    <a:gd name="T8" fmla="*/ 17 w 95"/>
                    <a:gd name="T9" fmla="*/ 79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" h="96">
                      <a:moveTo>
                        <a:pt x="17" y="79"/>
                      </a:moveTo>
                      <a:cubicBezTo>
                        <a:pt x="0" y="62"/>
                        <a:pt x="0" y="34"/>
                        <a:pt x="17" y="17"/>
                      </a:cubicBezTo>
                      <a:cubicBezTo>
                        <a:pt x="33" y="0"/>
                        <a:pt x="61" y="0"/>
                        <a:pt x="78" y="17"/>
                      </a:cubicBezTo>
                      <a:cubicBezTo>
                        <a:pt x="95" y="34"/>
                        <a:pt x="95" y="62"/>
                        <a:pt x="78" y="79"/>
                      </a:cubicBezTo>
                      <a:cubicBezTo>
                        <a:pt x="61" y="96"/>
                        <a:pt x="33" y="96"/>
                        <a:pt x="17" y="79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98" name="Freeform 418">
                  <a:extLst>
                    <a:ext uri="{FF2B5EF4-FFF2-40B4-BE49-F238E27FC236}">
                      <a16:creationId xmlns:a16="http://schemas.microsoft.com/office/drawing/2014/main" id="{BD3AD9D1-EA65-E1B6-92A4-69E8F3D27C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29326" y="3155951"/>
                  <a:ext cx="109538" cy="106363"/>
                </a:xfrm>
                <a:custGeom>
                  <a:avLst/>
                  <a:gdLst>
                    <a:gd name="T0" fmla="*/ 14 w 80"/>
                    <a:gd name="T1" fmla="*/ 65 h 79"/>
                    <a:gd name="T2" fmla="*/ 14 w 80"/>
                    <a:gd name="T3" fmla="*/ 14 h 79"/>
                    <a:gd name="T4" fmla="*/ 65 w 80"/>
                    <a:gd name="T5" fmla="*/ 14 h 79"/>
                    <a:gd name="T6" fmla="*/ 65 w 80"/>
                    <a:gd name="T7" fmla="*/ 65 h 79"/>
                    <a:gd name="T8" fmla="*/ 14 w 80"/>
                    <a:gd name="T9" fmla="*/ 65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0" h="79">
                      <a:moveTo>
                        <a:pt x="14" y="65"/>
                      </a:moveTo>
                      <a:cubicBezTo>
                        <a:pt x="0" y="51"/>
                        <a:pt x="0" y="28"/>
                        <a:pt x="14" y="14"/>
                      </a:cubicBezTo>
                      <a:cubicBezTo>
                        <a:pt x="29" y="0"/>
                        <a:pt x="51" y="0"/>
                        <a:pt x="65" y="14"/>
                      </a:cubicBezTo>
                      <a:cubicBezTo>
                        <a:pt x="80" y="28"/>
                        <a:pt x="80" y="51"/>
                        <a:pt x="65" y="65"/>
                      </a:cubicBezTo>
                      <a:cubicBezTo>
                        <a:pt x="51" y="79"/>
                        <a:pt x="29" y="79"/>
                        <a:pt x="14" y="65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99" name="Freeform 419">
                  <a:extLst>
                    <a:ext uri="{FF2B5EF4-FFF2-40B4-BE49-F238E27FC236}">
                      <a16:creationId xmlns:a16="http://schemas.microsoft.com/office/drawing/2014/main" id="{2F2891C0-A48E-8833-049E-4E2F0A229E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48476" y="4184651"/>
                  <a:ext cx="128588" cy="128588"/>
                </a:xfrm>
                <a:custGeom>
                  <a:avLst/>
                  <a:gdLst>
                    <a:gd name="T0" fmla="*/ 17 w 94"/>
                    <a:gd name="T1" fmla="*/ 77 h 94"/>
                    <a:gd name="T2" fmla="*/ 17 w 94"/>
                    <a:gd name="T3" fmla="*/ 17 h 94"/>
                    <a:gd name="T4" fmla="*/ 77 w 94"/>
                    <a:gd name="T5" fmla="*/ 17 h 94"/>
                    <a:gd name="T6" fmla="*/ 77 w 94"/>
                    <a:gd name="T7" fmla="*/ 77 h 94"/>
                    <a:gd name="T8" fmla="*/ 17 w 94"/>
                    <a:gd name="T9" fmla="*/ 77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4" h="94">
                      <a:moveTo>
                        <a:pt x="17" y="77"/>
                      </a:moveTo>
                      <a:cubicBezTo>
                        <a:pt x="0" y="61"/>
                        <a:pt x="0" y="34"/>
                        <a:pt x="17" y="17"/>
                      </a:cubicBezTo>
                      <a:cubicBezTo>
                        <a:pt x="33" y="0"/>
                        <a:pt x="60" y="0"/>
                        <a:pt x="77" y="17"/>
                      </a:cubicBezTo>
                      <a:cubicBezTo>
                        <a:pt x="94" y="34"/>
                        <a:pt x="94" y="61"/>
                        <a:pt x="77" y="77"/>
                      </a:cubicBezTo>
                      <a:cubicBezTo>
                        <a:pt x="60" y="94"/>
                        <a:pt x="33" y="94"/>
                        <a:pt x="17" y="7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00" name="Freeform 420">
                  <a:extLst>
                    <a:ext uri="{FF2B5EF4-FFF2-40B4-BE49-F238E27FC236}">
                      <a16:creationId xmlns:a16="http://schemas.microsoft.com/office/drawing/2014/main" id="{2ABDBE78-B07B-7E96-F207-AF6826DA1B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77076" y="1855788"/>
                  <a:ext cx="127000" cy="128588"/>
                </a:xfrm>
                <a:custGeom>
                  <a:avLst/>
                  <a:gdLst>
                    <a:gd name="T0" fmla="*/ 17 w 93"/>
                    <a:gd name="T1" fmla="*/ 77 h 94"/>
                    <a:gd name="T2" fmla="*/ 17 w 93"/>
                    <a:gd name="T3" fmla="*/ 17 h 94"/>
                    <a:gd name="T4" fmla="*/ 77 w 93"/>
                    <a:gd name="T5" fmla="*/ 17 h 94"/>
                    <a:gd name="T6" fmla="*/ 77 w 93"/>
                    <a:gd name="T7" fmla="*/ 77 h 94"/>
                    <a:gd name="T8" fmla="*/ 17 w 93"/>
                    <a:gd name="T9" fmla="*/ 77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3" h="94">
                      <a:moveTo>
                        <a:pt x="17" y="77"/>
                      </a:moveTo>
                      <a:cubicBezTo>
                        <a:pt x="0" y="61"/>
                        <a:pt x="0" y="34"/>
                        <a:pt x="17" y="17"/>
                      </a:cubicBezTo>
                      <a:cubicBezTo>
                        <a:pt x="33" y="0"/>
                        <a:pt x="60" y="0"/>
                        <a:pt x="77" y="17"/>
                      </a:cubicBezTo>
                      <a:cubicBezTo>
                        <a:pt x="93" y="34"/>
                        <a:pt x="93" y="61"/>
                        <a:pt x="77" y="77"/>
                      </a:cubicBezTo>
                      <a:cubicBezTo>
                        <a:pt x="60" y="94"/>
                        <a:pt x="33" y="94"/>
                        <a:pt x="17" y="7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01" name="Freeform 421">
                  <a:extLst>
                    <a:ext uri="{FF2B5EF4-FFF2-40B4-BE49-F238E27FC236}">
                      <a16:creationId xmlns:a16="http://schemas.microsoft.com/office/drawing/2014/main" id="{041E7AFB-9578-EFBD-1D72-E3C9D8A0A8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66013" y="4246563"/>
                  <a:ext cx="76200" cy="76200"/>
                </a:xfrm>
                <a:custGeom>
                  <a:avLst/>
                  <a:gdLst>
                    <a:gd name="T0" fmla="*/ 10 w 56"/>
                    <a:gd name="T1" fmla="*/ 46 h 56"/>
                    <a:gd name="T2" fmla="*/ 10 w 56"/>
                    <a:gd name="T3" fmla="*/ 10 h 56"/>
                    <a:gd name="T4" fmla="*/ 46 w 56"/>
                    <a:gd name="T5" fmla="*/ 10 h 56"/>
                    <a:gd name="T6" fmla="*/ 46 w 56"/>
                    <a:gd name="T7" fmla="*/ 46 h 56"/>
                    <a:gd name="T8" fmla="*/ 10 w 56"/>
                    <a:gd name="T9" fmla="*/ 4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6" h="56">
                      <a:moveTo>
                        <a:pt x="10" y="46"/>
                      </a:moveTo>
                      <a:cubicBezTo>
                        <a:pt x="0" y="36"/>
                        <a:pt x="0" y="20"/>
                        <a:pt x="10" y="10"/>
                      </a:cubicBezTo>
                      <a:cubicBezTo>
                        <a:pt x="20" y="0"/>
                        <a:pt x="36" y="0"/>
                        <a:pt x="46" y="10"/>
                      </a:cubicBezTo>
                      <a:cubicBezTo>
                        <a:pt x="56" y="20"/>
                        <a:pt x="56" y="36"/>
                        <a:pt x="46" y="46"/>
                      </a:cubicBezTo>
                      <a:cubicBezTo>
                        <a:pt x="36" y="56"/>
                        <a:pt x="20" y="56"/>
                        <a:pt x="10" y="46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02" name="Freeform 423">
                  <a:extLst>
                    <a:ext uri="{FF2B5EF4-FFF2-40B4-BE49-F238E27FC236}">
                      <a16:creationId xmlns:a16="http://schemas.microsoft.com/office/drawing/2014/main" id="{D141C87C-2736-AB85-626C-4C7B1BF676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99401" y="3352801"/>
                  <a:ext cx="96838" cy="98425"/>
                </a:xfrm>
                <a:custGeom>
                  <a:avLst/>
                  <a:gdLst>
                    <a:gd name="T0" fmla="*/ 13 w 71"/>
                    <a:gd name="T1" fmla="*/ 59 h 72"/>
                    <a:gd name="T2" fmla="*/ 13 w 71"/>
                    <a:gd name="T3" fmla="*/ 13 h 72"/>
                    <a:gd name="T4" fmla="*/ 59 w 71"/>
                    <a:gd name="T5" fmla="*/ 13 h 72"/>
                    <a:gd name="T6" fmla="*/ 59 w 71"/>
                    <a:gd name="T7" fmla="*/ 59 h 72"/>
                    <a:gd name="T8" fmla="*/ 13 w 71"/>
                    <a:gd name="T9" fmla="*/ 59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1" h="72">
                      <a:moveTo>
                        <a:pt x="13" y="59"/>
                      </a:moveTo>
                      <a:cubicBezTo>
                        <a:pt x="0" y="46"/>
                        <a:pt x="0" y="25"/>
                        <a:pt x="13" y="13"/>
                      </a:cubicBezTo>
                      <a:cubicBezTo>
                        <a:pt x="25" y="0"/>
                        <a:pt x="46" y="0"/>
                        <a:pt x="59" y="13"/>
                      </a:cubicBezTo>
                      <a:cubicBezTo>
                        <a:pt x="71" y="25"/>
                        <a:pt x="71" y="46"/>
                        <a:pt x="59" y="59"/>
                      </a:cubicBezTo>
                      <a:cubicBezTo>
                        <a:pt x="46" y="72"/>
                        <a:pt x="25" y="72"/>
                        <a:pt x="13" y="59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03" name="Freeform 424">
                  <a:extLst>
                    <a:ext uri="{FF2B5EF4-FFF2-40B4-BE49-F238E27FC236}">
                      <a16:creationId xmlns:a16="http://schemas.microsoft.com/office/drawing/2014/main" id="{05766DC2-8653-6D1C-7B3B-F164F03B74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0326" y="2551113"/>
                  <a:ext cx="165100" cy="165100"/>
                </a:xfrm>
                <a:custGeom>
                  <a:avLst/>
                  <a:gdLst>
                    <a:gd name="T0" fmla="*/ 21 w 120"/>
                    <a:gd name="T1" fmla="*/ 99 h 120"/>
                    <a:gd name="T2" fmla="*/ 21 w 120"/>
                    <a:gd name="T3" fmla="*/ 21 h 120"/>
                    <a:gd name="T4" fmla="*/ 98 w 120"/>
                    <a:gd name="T5" fmla="*/ 21 h 120"/>
                    <a:gd name="T6" fmla="*/ 98 w 120"/>
                    <a:gd name="T7" fmla="*/ 99 h 120"/>
                    <a:gd name="T8" fmla="*/ 21 w 120"/>
                    <a:gd name="T9" fmla="*/ 99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0" h="120">
                      <a:moveTo>
                        <a:pt x="21" y="99"/>
                      </a:moveTo>
                      <a:cubicBezTo>
                        <a:pt x="0" y="77"/>
                        <a:pt x="0" y="43"/>
                        <a:pt x="21" y="21"/>
                      </a:cubicBezTo>
                      <a:cubicBezTo>
                        <a:pt x="43" y="0"/>
                        <a:pt x="77" y="0"/>
                        <a:pt x="98" y="21"/>
                      </a:cubicBezTo>
                      <a:cubicBezTo>
                        <a:pt x="120" y="43"/>
                        <a:pt x="120" y="77"/>
                        <a:pt x="98" y="99"/>
                      </a:cubicBezTo>
                      <a:cubicBezTo>
                        <a:pt x="77" y="120"/>
                        <a:pt x="43" y="120"/>
                        <a:pt x="21" y="99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04" name="Freeform 425">
                  <a:extLst>
                    <a:ext uri="{FF2B5EF4-FFF2-40B4-BE49-F238E27FC236}">
                      <a16:creationId xmlns:a16="http://schemas.microsoft.com/office/drawing/2014/main" id="{5F086CC7-6E4E-FAE8-C6E0-B298DAA06A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96188" y="3849688"/>
                  <a:ext cx="147638" cy="147638"/>
                </a:xfrm>
                <a:custGeom>
                  <a:avLst/>
                  <a:gdLst>
                    <a:gd name="T0" fmla="*/ 19 w 108"/>
                    <a:gd name="T1" fmla="*/ 88 h 108"/>
                    <a:gd name="T2" fmla="*/ 19 w 108"/>
                    <a:gd name="T3" fmla="*/ 19 h 108"/>
                    <a:gd name="T4" fmla="*/ 88 w 108"/>
                    <a:gd name="T5" fmla="*/ 19 h 108"/>
                    <a:gd name="T6" fmla="*/ 88 w 108"/>
                    <a:gd name="T7" fmla="*/ 88 h 108"/>
                    <a:gd name="T8" fmla="*/ 19 w 108"/>
                    <a:gd name="T9" fmla="*/ 88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8" h="108">
                      <a:moveTo>
                        <a:pt x="19" y="88"/>
                      </a:moveTo>
                      <a:cubicBezTo>
                        <a:pt x="0" y="69"/>
                        <a:pt x="0" y="38"/>
                        <a:pt x="19" y="19"/>
                      </a:cubicBezTo>
                      <a:cubicBezTo>
                        <a:pt x="38" y="0"/>
                        <a:pt x="69" y="0"/>
                        <a:pt x="88" y="19"/>
                      </a:cubicBezTo>
                      <a:cubicBezTo>
                        <a:pt x="107" y="38"/>
                        <a:pt x="108" y="69"/>
                        <a:pt x="88" y="88"/>
                      </a:cubicBezTo>
                      <a:cubicBezTo>
                        <a:pt x="69" y="108"/>
                        <a:pt x="38" y="108"/>
                        <a:pt x="19" y="88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05" name="Freeform 426">
                  <a:extLst>
                    <a:ext uri="{FF2B5EF4-FFF2-40B4-BE49-F238E27FC236}">
                      <a16:creationId xmlns:a16="http://schemas.microsoft.com/office/drawing/2014/main" id="{70DFDDA2-E799-E148-4100-0D31A8C92A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75438" y="3640138"/>
                  <a:ext cx="146050" cy="147638"/>
                </a:xfrm>
                <a:custGeom>
                  <a:avLst/>
                  <a:gdLst>
                    <a:gd name="T0" fmla="*/ 20 w 108"/>
                    <a:gd name="T1" fmla="*/ 89 h 108"/>
                    <a:gd name="T2" fmla="*/ 20 w 108"/>
                    <a:gd name="T3" fmla="*/ 19 h 108"/>
                    <a:gd name="T4" fmla="*/ 89 w 108"/>
                    <a:gd name="T5" fmla="*/ 19 h 108"/>
                    <a:gd name="T6" fmla="*/ 89 w 108"/>
                    <a:gd name="T7" fmla="*/ 89 h 108"/>
                    <a:gd name="T8" fmla="*/ 20 w 108"/>
                    <a:gd name="T9" fmla="*/ 89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8" h="108">
                      <a:moveTo>
                        <a:pt x="20" y="89"/>
                      </a:moveTo>
                      <a:cubicBezTo>
                        <a:pt x="0" y="70"/>
                        <a:pt x="0" y="39"/>
                        <a:pt x="20" y="19"/>
                      </a:cubicBezTo>
                      <a:cubicBezTo>
                        <a:pt x="39" y="0"/>
                        <a:pt x="70" y="0"/>
                        <a:pt x="89" y="19"/>
                      </a:cubicBezTo>
                      <a:cubicBezTo>
                        <a:pt x="108" y="39"/>
                        <a:pt x="108" y="70"/>
                        <a:pt x="89" y="89"/>
                      </a:cubicBezTo>
                      <a:cubicBezTo>
                        <a:pt x="70" y="108"/>
                        <a:pt x="39" y="108"/>
                        <a:pt x="20" y="89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06" name="Freeform 427">
                  <a:extLst>
                    <a:ext uri="{FF2B5EF4-FFF2-40B4-BE49-F238E27FC236}">
                      <a16:creationId xmlns:a16="http://schemas.microsoft.com/office/drawing/2014/main" id="{01D5EC3C-6F15-035F-813B-23927CD241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73913" y="2341563"/>
                  <a:ext cx="122238" cy="120650"/>
                </a:xfrm>
                <a:custGeom>
                  <a:avLst/>
                  <a:gdLst>
                    <a:gd name="T0" fmla="*/ 15 w 89"/>
                    <a:gd name="T1" fmla="*/ 73 h 89"/>
                    <a:gd name="T2" fmla="*/ 15 w 89"/>
                    <a:gd name="T3" fmla="*/ 15 h 89"/>
                    <a:gd name="T4" fmla="*/ 73 w 89"/>
                    <a:gd name="T5" fmla="*/ 15 h 89"/>
                    <a:gd name="T6" fmla="*/ 73 w 89"/>
                    <a:gd name="T7" fmla="*/ 73 h 89"/>
                    <a:gd name="T8" fmla="*/ 15 w 89"/>
                    <a:gd name="T9" fmla="*/ 73 h 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9" h="89">
                      <a:moveTo>
                        <a:pt x="15" y="73"/>
                      </a:moveTo>
                      <a:cubicBezTo>
                        <a:pt x="0" y="57"/>
                        <a:pt x="0" y="31"/>
                        <a:pt x="15" y="15"/>
                      </a:cubicBezTo>
                      <a:cubicBezTo>
                        <a:pt x="31" y="0"/>
                        <a:pt x="57" y="0"/>
                        <a:pt x="73" y="15"/>
                      </a:cubicBezTo>
                      <a:cubicBezTo>
                        <a:pt x="89" y="31"/>
                        <a:pt x="89" y="57"/>
                        <a:pt x="73" y="73"/>
                      </a:cubicBezTo>
                      <a:cubicBezTo>
                        <a:pt x="57" y="89"/>
                        <a:pt x="31" y="89"/>
                        <a:pt x="15" y="73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07" name="Freeform 428">
                  <a:extLst>
                    <a:ext uri="{FF2B5EF4-FFF2-40B4-BE49-F238E27FC236}">
                      <a16:creationId xmlns:a16="http://schemas.microsoft.com/office/drawing/2014/main" id="{84177166-ADF7-2FAC-73CE-833FA92B79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43801" y="3163888"/>
                  <a:ext cx="66675" cy="65088"/>
                </a:xfrm>
                <a:custGeom>
                  <a:avLst/>
                  <a:gdLst>
                    <a:gd name="T0" fmla="*/ 8 w 48"/>
                    <a:gd name="T1" fmla="*/ 39 h 48"/>
                    <a:gd name="T2" fmla="*/ 8 w 48"/>
                    <a:gd name="T3" fmla="*/ 8 h 48"/>
                    <a:gd name="T4" fmla="*/ 39 w 48"/>
                    <a:gd name="T5" fmla="*/ 8 h 48"/>
                    <a:gd name="T6" fmla="*/ 39 w 48"/>
                    <a:gd name="T7" fmla="*/ 39 h 48"/>
                    <a:gd name="T8" fmla="*/ 8 w 48"/>
                    <a:gd name="T9" fmla="*/ 39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8" h="48">
                      <a:moveTo>
                        <a:pt x="8" y="39"/>
                      </a:moveTo>
                      <a:cubicBezTo>
                        <a:pt x="0" y="30"/>
                        <a:pt x="0" y="17"/>
                        <a:pt x="8" y="8"/>
                      </a:cubicBezTo>
                      <a:cubicBezTo>
                        <a:pt x="17" y="0"/>
                        <a:pt x="31" y="0"/>
                        <a:pt x="39" y="8"/>
                      </a:cubicBezTo>
                      <a:cubicBezTo>
                        <a:pt x="48" y="17"/>
                        <a:pt x="48" y="30"/>
                        <a:pt x="39" y="39"/>
                      </a:cubicBezTo>
                      <a:cubicBezTo>
                        <a:pt x="31" y="48"/>
                        <a:pt x="17" y="48"/>
                        <a:pt x="8" y="39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08" name="Freeform 429">
                  <a:extLst>
                    <a:ext uri="{FF2B5EF4-FFF2-40B4-BE49-F238E27FC236}">
                      <a16:creationId xmlns:a16="http://schemas.microsoft.com/office/drawing/2014/main" id="{4C72005A-A762-BED7-61F3-86312DE5BF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5788" y="2587626"/>
                  <a:ext cx="63500" cy="65088"/>
                </a:xfrm>
                <a:custGeom>
                  <a:avLst/>
                  <a:gdLst>
                    <a:gd name="T0" fmla="*/ 8 w 47"/>
                    <a:gd name="T1" fmla="*/ 39 h 48"/>
                    <a:gd name="T2" fmla="*/ 8 w 47"/>
                    <a:gd name="T3" fmla="*/ 8 h 48"/>
                    <a:gd name="T4" fmla="*/ 39 w 47"/>
                    <a:gd name="T5" fmla="*/ 8 h 48"/>
                    <a:gd name="T6" fmla="*/ 39 w 47"/>
                    <a:gd name="T7" fmla="*/ 39 h 48"/>
                    <a:gd name="T8" fmla="*/ 8 w 47"/>
                    <a:gd name="T9" fmla="*/ 39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7" h="48">
                      <a:moveTo>
                        <a:pt x="8" y="39"/>
                      </a:moveTo>
                      <a:cubicBezTo>
                        <a:pt x="0" y="31"/>
                        <a:pt x="0" y="17"/>
                        <a:pt x="8" y="8"/>
                      </a:cubicBezTo>
                      <a:cubicBezTo>
                        <a:pt x="17" y="0"/>
                        <a:pt x="30" y="0"/>
                        <a:pt x="39" y="8"/>
                      </a:cubicBezTo>
                      <a:cubicBezTo>
                        <a:pt x="47" y="17"/>
                        <a:pt x="47" y="31"/>
                        <a:pt x="39" y="39"/>
                      </a:cubicBezTo>
                      <a:cubicBezTo>
                        <a:pt x="30" y="48"/>
                        <a:pt x="17" y="48"/>
                        <a:pt x="8" y="39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09" name="Freeform 430">
                  <a:extLst>
                    <a:ext uri="{FF2B5EF4-FFF2-40B4-BE49-F238E27FC236}">
                      <a16:creationId xmlns:a16="http://schemas.microsoft.com/office/drawing/2014/main" id="{96DA8C10-4C52-F64A-C4A2-966710D558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42276" y="2935288"/>
                  <a:ext cx="77788" cy="77788"/>
                </a:xfrm>
                <a:custGeom>
                  <a:avLst/>
                  <a:gdLst>
                    <a:gd name="T0" fmla="*/ 11 w 57"/>
                    <a:gd name="T1" fmla="*/ 47 h 57"/>
                    <a:gd name="T2" fmla="*/ 11 w 57"/>
                    <a:gd name="T3" fmla="*/ 10 h 57"/>
                    <a:gd name="T4" fmla="*/ 47 w 57"/>
                    <a:gd name="T5" fmla="*/ 10 h 57"/>
                    <a:gd name="T6" fmla="*/ 47 w 57"/>
                    <a:gd name="T7" fmla="*/ 47 h 57"/>
                    <a:gd name="T8" fmla="*/ 11 w 57"/>
                    <a:gd name="T9" fmla="*/ 47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57">
                      <a:moveTo>
                        <a:pt x="11" y="47"/>
                      </a:moveTo>
                      <a:cubicBezTo>
                        <a:pt x="0" y="37"/>
                        <a:pt x="0" y="20"/>
                        <a:pt x="11" y="10"/>
                      </a:cubicBezTo>
                      <a:cubicBezTo>
                        <a:pt x="21" y="0"/>
                        <a:pt x="37" y="0"/>
                        <a:pt x="47" y="10"/>
                      </a:cubicBezTo>
                      <a:cubicBezTo>
                        <a:pt x="57" y="20"/>
                        <a:pt x="57" y="37"/>
                        <a:pt x="47" y="47"/>
                      </a:cubicBezTo>
                      <a:cubicBezTo>
                        <a:pt x="37" y="57"/>
                        <a:pt x="21" y="57"/>
                        <a:pt x="11" y="4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10" name="Freeform 431">
                  <a:extLst>
                    <a:ext uri="{FF2B5EF4-FFF2-40B4-BE49-F238E27FC236}">
                      <a16:creationId xmlns:a16="http://schemas.microsoft.com/office/drawing/2014/main" id="{0CC29C4C-E900-1445-D6AE-F60FA5EBC3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42163" y="3867151"/>
                  <a:ext cx="100013" cy="101600"/>
                </a:xfrm>
                <a:custGeom>
                  <a:avLst/>
                  <a:gdLst>
                    <a:gd name="T0" fmla="*/ 13 w 74"/>
                    <a:gd name="T1" fmla="*/ 61 h 74"/>
                    <a:gd name="T2" fmla="*/ 13 w 74"/>
                    <a:gd name="T3" fmla="*/ 13 h 74"/>
                    <a:gd name="T4" fmla="*/ 61 w 74"/>
                    <a:gd name="T5" fmla="*/ 13 h 74"/>
                    <a:gd name="T6" fmla="*/ 61 w 74"/>
                    <a:gd name="T7" fmla="*/ 61 h 74"/>
                    <a:gd name="T8" fmla="*/ 13 w 74"/>
                    <a:gd name="T9" fmla="*/ 61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4" h="74">
                      <a:moveTo>
                        <a:pt x="13" y="61"/>
                      </a:moveTo>
                      <a:cubicBezTo>
                        <a:pt x="0" y="48"/>
                        <a:pt x="0" y="26"/>
                        <a:pt x="13" y="13"/>
                      </a:cubicBezTo>
                      <a:cubicBezTo>
                        <a:pt x="26" y="0"/>
                        <a:pt x="47" y="0"/>
                        <a:pt x="61" y="13"/>
                      </a:cubicBezTo>
                      <a:cubicBezTo>
                        <a:pt x="74" y="26"/>
                        <a:pt x="74" y="48"/>
                        <a:pt x="61" y="61"/>
                      </a:cubicBezTo>
                      <a:cubicBezTo>
                        <a:pt x="47" y="74"/>
                        <a:pt x="26" y="74"/>
                        <a:pt x="13" y="6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11" name="Freeform 432">
                  <a:extLst>
                    <a:ext uri="{FF2B5EF4-FFF2-40B4-BE49-F238E27FC236}">
                      <a16:creationId xmlns:a16="http://schemas.microsoft.com/office/drawing/2014/main" id="{4E8C13BA-5F32-1617-45E8-6926B56B93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80338" y="1981201"/>
                  <a:ext cx="163513" cy="163513"/>
                </a:xfrm>
                <a:custGeom>
                  <a:avLst/>
                  <a:gdLst>
                    <a:gd name="T0" fmla="*/ 21 w 119"/>
                    <a:gd name="T1" fmla="*/ 99 h 120"/>
                    <a:gd name="T2" fmla="*/ 21 w 119"/>
                    <a:gd name="T3" fmla="*/ 21 h 120"/>
                    <a:gd name="T4" fmla="*/ 98 w 119"/>
                    <a:gd name="T5" fmla="*/ 21 h 120"/>
                    <a:gd name="T6" fmla="*/ 98 w 119"/>
                    <a:gd name="T7" fmla="*/ 99 h 120"/>
                    <a:gd name="T8" fmla="*/ 21 w 119"/>
                    <a:gd name="T9" fmla="*/ 99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9" h="120">
                      <a:moveTo>
                        <a:pt x="21" y="99"/>
                      </a:moveTo>
                      <a:cubicBezTo>
                        <a:pt x="0" y="77"/>
                        <a:pt x="0" y="43"/>
                        <a:pt x="21" y="21"/>
                      </a:cubicBezTo>
                      <a:cubicBezTo>
                        <a:pt x="42" y="0"/>
                        <a:pt x="77" y="0"/>
                        <a:pt x="98" y="21"/>
                      </a:cubicBezTo>
                      <a:cubicBezTo>
                        <a:pt x="119" y="43"/>
                        <a:pt x="119" y="77"/>
                        <a:pt x="98" y="99"/>
                      </a:cubicBezTo>
                      <a:cubicBezTo>
                        <a:pt x="77" y="120"/>
                        <a:pt x="42" y="120"/>
                        <a:pt x="21" y="99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12" name="Freeform 433">
                  <a:extLst>
                    <a:ext uri="{FF2B5EF4-FFF2-40B4-BE49-F238E27FC236}">
                      <a16:creationId xmlns:a16="http://schemas.microsoft.com/office/drawing/2014/main" id="{1BBC50F2-5623-1850-7CBD-25FCA18C75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16651" y="3694113"/>
                  <a:ext cx="101600" cy="103188"/>
                </a:xfrm>
                <a:custGeom>
                  <a:avLst/>
                  <a:gdLst>
                    <a:gd name="T0" fmla="*/ 13 w 75"/>
                    <a:gd name="T1" fmla="*/ 62 h 75"/>
                    <a:gd name="T2" fmla="*/ 13 w 75"/>
                    <a:gd name="T3" fmla="*/ 13 h 75"/>
                    <a:gd name="T4" fmla="*/ 62 w 75"/>
                    <a:gd name="T5" fmla="*/ 13 h 75"/>
                    <a:gd name="T6" fmla="*/ 62 w 75"/>
                    <a:gd name="T7" fmla="*/ 62 h 75"/>
                    <a:gd name="T8" fmla="*/ 13 w 75"/>
                    <a:gd name="T9" fmla="*/ 62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5" h="75">
                      <a:moveTo>
                        <a:pt x="13" y="62"/>
                      </a:moveTo>
                      <a:cubicBezTo>
                        <a:pt x="0" y="48"/>
                        <a:pt x="0" y="27"/>
                        <a:pt x="13" y="13"/>
                      </a:cubicBezTo>
                      <a:cubicBezTo>
                        <a:pt x="26" y="0"/>
                        <a:pt x="48" y="0"/>
                        <a:pt x="62" y="13"/>
                      </a:cubicBezTo>
                      <a:cubicBezTo>
                        <a:pt x="75" y="27"/>
                        <a:pt x="75" y="48"/>
                        <a:pt x="62" y="62"/>
                      </a:cubicBezTo>
                      <a:cubicBezTo>
                        <a:pt x="48" y="75"/>
                        <a:pt x="26" y="75"/>
                        <a:pt x="13" y="6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13" name="Freeform 434">
                  <a:extLst>
                    <a:ext uri="{FF2B5EF4-FFF2-40B4-BE49-F238E27FC236}">
                      <a16:creationId xmlns:a16="http://schemas.microsoft.com/office/drawing/2014/main" id="{B0F20BD1-1B22-5F7C-376E-D2A799EFC9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38876" y="2419351"/>
                  <a:ext cx="76200" cy="77788"/>
                </a:xfrm>
                <a:custGeom>
                  <a:avLst/>
                  <a:gdLst>
                    <a:gd name="T0" fmla="*/ 10 w 56"/>
                    <a:gd name="T1" fmla="*/ 47 h 57"/>
                    <a:gd name="T2" fmla="*/ 10 w 56"/>
                    <a:gd name="T3" fmla="*/ 10 h 57"/>
                    <a:gd name="T4" fmla="*/ 46 w 56"/>
                    <a:gd name="T5" fmla="*/ 10 h 57"/>
                    <a:gd name="T6" fmla="*/ 46 w 56"/>
                    <a:gd name="T7" fmla="*/ 47 h 57"/>
                    <a:gd name="T8" fmla="*/ 10 w 56"/>
                    <a:gd name="T9" fmla="*/ 47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6" h="57">
                      <a:moveTo>
                        <a:pt x="10" y="47"/>
                      </a:moveTo>
                      <a:cubicBezTo>
                        <a:pt x="0" y="37"/>
                        <a:pt x="0" y="20"/>
                        <a:pt x="10" y="10"/>
                      </a:cubicBezTo>
                      <a:cubicBezTo>
                        <a:pt x="20" y="0"/>
                        <a:pt x="36" y="0"/>
                        <a:pt x="46" y="10"/>
                      </a:cubicBezTo>
                      <a:cubicBezTo>
                        <a:pt x="56" y="20"/>
                        <a:pt x="56" y="37"/>
                        <a:pt x="46" y="47"/>
                      </a:cubicBezTo>
                      <a:cubicBezTo>
                        <a:pt x="36" y="57"/>
                        <a:pt x="20" y="57"/>
                        <a:pt x="10" y="4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14" name="Freeform 435">
                  <a:extLst>
                    <a:ext uri="{FF2B5EF4-FFF2-40B4-BE49-F238E27FC236}">
                      <a16:creationId xmlns:a16="http://schemas.microsoft.com/office/drawing/2014/main" id="{E9DBDD42-E8A5-F1B4-DDC2-18414299F1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56388" y="2038351"/>
                  <a:ext cx="58738" cy="57150"/>
                </a:xfrm>
                <a:custGeom>
                  <a:avLst/>
                  <a:gdLst>
                    <a:gd name="T0" fmla="*/ 8 w 42"/>
                    <a:gd name="T1" fmla="*/ 34 h 42"/>
                    <a:gd name="T2" fmla="*/ 8 w 42"/>
                    <a:gd name="T3" fmla="*/ 7 h 42"/>
                    <a:gd name="T4" fmla="*/ 34 w 42"/>
                    <a:gd name="T5" fmla="*/ 7 h 42"/>
                    <a:gd name="T6" fmla="*/ 34 w 42"/>
                    <a:gd name="T7" fmla="*/ 34 h 42"/>
                    <a:gd name="T8" fmla="*/ 8 w 42"/>
                    <a:gd name="T9" fmla="*/ 34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2" h="42">
                      <a:moveTo>
                        <a:pt x="8" y="34"/>
                      </a:moveTo>
                      <a:cubicBezTo>
                        <a:pt x="0" y="27"/>
                        <a:pt x="0" y="15"/>
                        <a:pt x="8" y="7"/>
                      </a:cubicBezTo>
                      <a:cubicBezTo>
                        <a:pt x="15" y="0"/>
                        <a:pt x="27" y="0"/>
                        <a:pt x="34" y="7"/>
                      </a:cubicBezTo>
                      <a:cubicBezTo>
                        <a:pt x="42" y="15"/>
                        <a:pt x="42" y="27"/>
                        <a:pt x="34" y="34"/>
                      </a:cubicBezTo>
                      <a:cubicBezTo>
                        <a:pt x="27" y="42"/>
                        <a:pt x="15" y="42"/>
                        <a:pt x="8" y="3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15" name="Freeform 436">
                  <a:extLst>
                    <a:ext uri="{FF2B5EF4-FFF2-40B4-BE49-F238E27FC236}">
                      <a16:creationId xmlns:a16="http://schemas.microsoft.com/office/drawing/2014/main" id="{AB1DF1A5-E273-FF40-5A9B-4DD14776798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773863" y="3668713"/>
                  <a:ext cx="358775" cy="669925"/>
                </a:xfrm>
                <a:custGeom>
                  <a:avLst/>
                  <a:gdLst>
                    <a:gd name="T0" fmla="*/ 96 w 226"/>
                    <a:gd name="T1" fmla="*/ 422 h 422"/>
                    <a:gd name="T2" fmla="*/ 0 w 226"/>
                    <a:gd name="T3" fmla="*/ 0 h 422"/>
                    <a:gd name="T4" fmla="*/ 226 w 226"/>
                    <a:gd name="T5" fmla="*/ 22 h 422"/>
                    <a:gd name="T6" fmla="*/ 226 w 226"/>
                    <a:gd name="T7" fmla="*/ 24 h 422"/>
                    <a:gd name="T8" fmla="*/ 96 w 226"/>
                    <a:gd name="T9" fmla="*/ 422 h 422"/>
                    <a:gd name="T10" fmla="*/ 4 w 226"/>
                    <a:gd name="T11" fmla="*/ 4 h 422"/>
                    <a:gd name="T12" fmla="*/ 97 w 226"/>
                    <a:gd name="T13" fmla="*/ 409 h 422"/>
                    <a:gd name="T14" fmla="*/ 221 w 226"/>
                    <a:gd name="T15" fmla="*/ 25 h 422"/>
                    <a:gd name="T16" fmla="*/ 4 w 226"/>
                    <a:gd name="T17" fmla="*/ 4 h 4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26" h="422">
                      <a:moveTo>
                        <a:pt x="96" y="422"/>
                      </a:moveTo>
                      <a:lnTo>
                        <a:pt x="0" y="0"/>
                      </a:lnTo>
                      <a:lnTo>
                        <a:pt x="226" y="22"/>
                      </a:lnTo>
                      <a:lnTo>
                        <a:pt x="226" y="24"/>
                      </a:lnTo>
                      <a:lnTo>
                        <a:pt x="96" y="422"/>
                      </a:lnTo>
                      <a:close/>
                      <a:moveTo>
                        <a:pt x="4" y="4"/>
                      </a:moveTo>
                      <a:lnTo>
                        <a:pt x="97" y="409"/>
                      </a:lnTo>
                      <a:lnTo>
                        <a:pt x="221" y="25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16" name="Freeform 437">
                  <a:extLst>
                    <a:ext uri="{FF2B5EF4-FFF2-40B4-BE49-F238E27FC236}">
                      <a16:creationId xmlns:a16="http://schemas.microsoft.com/office/drawing/2014/main" id="{D84A0920-16A2-A773-2D6A-7C9FBC5E28F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437313" y="2173288"/>
                  <a:ext cx="550863" cy="446088"/>
                </a:xfrm>
                <a:custGeom>
                  <a:avLst/>
                  <a:gdLst>
                    <a:gd name="T0" fmla="*/ 80 w 347"/>
                    <a:gd name="T1" fmla="*/ 281 h 281"/>
                    <a:gd name="T2" fmla="*/ 0 w 347"/>
                    <a:gd name="T3" fmla="*/ 0 h 281"/>
                    <a:gd name="T4" fmla="*/ 347 w 347"/>
                    <a:gd name="T5" fmla="*/ 146 h 281"/>
                    <a:gd name="T6" fmla="*/ 80 w 347"/>
                    <a:gd name="T7" fmla="*/ 281 h 281"/>
                    <a:gd name="T8" fmla="*/ 5 w 347"/>
                    <a:gd name="T9" fmla="*/ 6 h 281"/>
                    <a:gd name="T10" fmla="*/ 82 w 347"/>
                    <a:gd name="T11" fmla="*/ 277 h 281"/>
                    <a:gd name="T12" fmla="*/ 339 w 347"/>
                    <a:gd name="T13" fmla="*/ 146 h 281"/>
                    <a:gd name="T14" fmla="*/ 5 w 347"/>
                    <a:gd name="T15" fmla="*/ 6 h 2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47" h="281">
                      <a:moveTo>
                        <a:pt x="80" y="281"/>
                      </a:moveTo>
                      <a:lnTo>
                        <a:pt x="0" y="0"/>
                      </a:lnTo>
                      <a:lnTo>
                        <a:pt x="347" y="146"/>
                      </a:lnTo>
                      <a:lnTo>
                        <a:pt x="80" y="281"/>
                      </a:lnTo>
                      <a:close/>
                      <a:moveTo>
                        <a:pt x="5" y="6"/>
                      </a:moveTo>
                      <a:lnTo>
                        <a:pt x="82" y="277"/>
                      </a:lnTo>
                      <a:lnTo>
                        <a:pt x="339" y="146"/>
                      </a:lnTo>
                      <a:lnTo>
                        <a:pt x="5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17" name="Freeform 438">
                  <a:extLst>
                    <a:ext uri="{FF2B5EF4-FFF2-40B4-BE49-F238E27FC236}">
                      <a16:creationId xmlns:a16="http://schemas.microsoft.com/office/drawing/2014/main" id="{EDDCAB79-1937-6A70-44FD-69991E62CD3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57963" y="2613026"/>
                  <a:ext cx="561975" cy="523875"/>
                </a:xfrm>
                <a:custGeom>
                  <a:avLst/>
                  <a:gdLst>
                    <a:gd name="T0" fmla="*/ 0 w 354"/>
                    <a:gd name="T1" fmla="*/ 330 h 330"/>
                    <a:gd name="T2" fmla="*/ 3 w 354"/>
                    <a:gd name="T3" fmla="*/ 0 h 330"/>
                    <a:gd name="T4" fmla="*/ 354 w 354"/>
                    <a:gd name="T5" fmla="*/ 133 h 330"/>
                    <a:gd name="T6" fmla="*/ 351 w 354"/>
                    <a:gd name="T7" fmla="*/ 135 h 330"/>
                    <a:gd name="T8" fmla="*/ 0 w 354"/>
                    <a:gd name="T9" fmla="*/ 330 h 330"/>
                    <a:gd name="T10" fmla="*/ 6 w 354"/>
                    <a:gd name="T11" fmla="*/ 4 h 330"/>
                    <a:gd name="T12" fmla="*/ 3 w 354"/>
                    <a:gd name="T13" fmla="*/ 324 h 330"/>
                    <a:gd name="T14" fmla="*/ 345 w 354"/>
                    <a:gd name="T15" fmla="*/ 134 h 330"/>
                    <a:gd name="T16" fmla="*/ 6 w 354"/>
                    <a:gd name="T17" fmla="*/ 4 h 3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54" h="330">
                      <a:moveTo>
                        <a:pt x="0" y="330"/>
                      </a:moveTo>
                      <a:lnTo>
                        <a:pt x="3" y="0"/>
                      </a:lnTo>
                      <a:lnTo>
                        <a:pt x="354" y="133"/>
                      </a:lnTo>
                      <a:lnTo>
                        <a:pt x="351" y="135"/>
                      </a:lnTo>
                      <a:lnTo>
                        <a:pt x="0" y="330"/>
                      </a:lnTo>
                      <a:close/>
                      <a:moveTo>
                        <a:pt x="6" y="4"/>
                      </a:moveTo>
                      <a:lnTo>
                        <a:pt x="3" y="324"/>
                      </a:lnTo>
                      <a:lnTo>
                        <a:pt x="345" y="134"/>
                      </a:lnTo>
                      <a:lnTo>
                        <a:pt x="6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18" name="Freeform 439">
                  <a:extLst>
                    <a:ext uri="{FF2B5EF4-FFF2-40B4-BE49-F238E27FC236}">
                      <a16:creationId xmlns:a16="http://schemas.microsoft.com/office/drawing/2014/main" id="{BEBA63FA-2238-66C2-1E13-CF70CF8A382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029326" y="2849563"/>
                  <a:ext cx="534988" cy="620713"/>
                </a:xfrm>
                <a:custGeom>
                  <a:avLst/>
                  <a:gdLst>
                    <a:gd name="T0" fmla="*/ 15 w 337"/>
                    <a:gd name="T1" fmla="*/ 391 h 391"/>
                    <a:gd name="T2" fmla="*/ 15 w 337"/>
                    <a:gd name="T3" fmla="*/ 388 h 391"/>
                    <a:gd name="T4" fmla="*/ 0 w 337"/>
                    <a:gd name="T5" fmla="*/ 0 h 391"/>
                    <a:gd name="T6" fmla="*/ 337 w 337"/>
                    <a:gd name="T7" fmla="*/ 166 h 391"/>
                    <a:gd name="T8" fmla="*/ 15 w 337"/>
                    <a:gd name="T9" fmla="*/ 391 h 391"/>
                    <a:gd name="T10" fmla="*/ 3 w 337"/>
                    <a:gd name="T11" fmla="*/ 6 h 391"/>
                    <a:gd name="T12" fmla="*/ 19 w 337"/>
                    <a:gd name="T13" fmla="*/ 384 h 391"/>
                    <a:gd name="T14" fmla="*/ 331 w 337"/>
                    <a:gd name="T15" fmla="*/ 166 h 391"/>
                    <a:gd name="T16" fmla="*/ 3 w 337"/>
                    <a:gd name="T17" fmla="*/ 6 h 3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37" h="391">
                      <a:moveTo>
                        <a:pt x="15" y="391"/>
                      </a:moveTo>
                      <a:lnTo>
                        <a:pt x="15" y="388"/>
                      </a:lnTo>
                      <a:lnTo>
                        <a:pt x="0" y="0"/>
                      </a:lnTo>
                      <a:lnTo>
                        <a:pt x="337" y="166"/>
                      </a:lnTo>
                      <a:lnTo>
                        <a:pt x="15" y="391"/>
                      </a:lnTo>
                      <a:close/>
                      <a:moveTo>
                        <a:pt x="3" y="6"/>
                      </a:moveTo>
                      <a:lnTo>
                        <a:pt x="19" y="384"/>
                      </a:lnTo>
                      <a:lnTo>
                        <a:pt x="331" y="16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19" name="Freeform 440">
                  <a:extLst>
                    <a:ext uri="{FF2B5EF4-FFF2-40B4-BE49-F238E27FC236}">
                      <a16:creationId xmlns:a16="http://schemas.microsoft.com/office/drawing/2014/main" id="{2485C540-DF1B-BF17-8864-152C5A5741B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042026" y="2619376"/>
                  <a:ext cx="527050" cy="496888"/>
                </a:xfrm>
                <a:custGeom>
                  <a:avLst/>
                  <a:gdLst>
                    <a:gd name="T0" fmla="*/ 327 w 332"/>
                    <a:gd name="T1" fmla="*/ 313 h 313"/>
                    <a:gd name="T2" fmla="*/ 0 w 332"/>
                    <a:gd name="T3" fmla="*/ 154 h 313"/>
                    <a:gd name="T4" fmla="*/ 332 w 332"/>
                    <a:gd name="T5" fmla="*/ 0 h 313"/>
                    <a:gd name="T6" fmla="*/ 327 w 332"/>
                    <a:gd name="T7" fmla="*/ 313 h 313"/>
                    <a:gd name="T8" fmla="*/ 9 w 332"/>
                    <a:gd name="T9" fmla="*/ 154 h 313"/>
                    <a:gd name="T10" fmla="*/ 324 w 332"/>
                    <a:gd name="T11" fmla="*/ 308 h 313"/>
                    <a:gd name="T12" fmla="*/ 329 w 332"/>
                    <a:gd name="T13" fmla="*/ 6 h 313"/>
                    <a:gd name="T14" fmla="*/ 9 w 332"/>
                    <a:gd name="T15" fmla="*/ 154 h 3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32" h="313">
                      <a:moveTo>
                        <a:pt x="327" y="313"/>
                      </a:moveTo>
                      <a:lnTo>
                        <a:pt x="0" y="154"/>
                      </a:lnTo>
                      <a:lnTo>
                        <a:pt x="332" y="0"/>
                      </a:lnTo>
                      <a:lnTo>
                        <a:pt x="327" y="313"/>
                      </a:lnTo>
                      <a:close/>
                      <a:moveTo>
                        <a:pt x="9" y="154"/>
                      </a:moveTo>
                      <a:lnTo>
                        <a:pt x="324" y="308"/>
                      </a:lnTo>
                      <a:lnTo>
                        <a:pt x="329" y="6"/>
                      </a:lnTo>
                      <a:lnTo>
                        <a:pt x="9" y="15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20" name="Freeform 441">
                  <a:extLst>
                    <a:ext uri="{FF2B5EF4-FFF2-40B4-BE49-F238E27FC236}">
                      <a16:creationId xmlns:a16="http://schemas.microsoft.com/office/drawing/2014/main" id="{AFE47B23-C119-2157-7CF4-ACFA348E5E6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48438" y="3078163"/>
                  <a:ext cx="823913" cy="595313"/>
                </a:xfrm>
                <a:custGeom>
                  <a:avLst/>
                  <a:gdLst>
                    <a:gd name="T0" fmla="*/ 140 w 519"/>
                    <a:gd name="T1" fmla="*/ 375 h 375"/>
                    <a:gd name="T2" fmla="*/ 0 w 519"/>
                    <a:gd name="T3" fmla="*/ 21 h 375"/>
                    <a:gd name="T4" fmla="*/ 519 w 519"/>
                    <a:gd name="T5" fmla="*/ 0 h 375"/>
                    <a:gd name="T6" fmla="*/ 140 w 519"/>
                    <a:gd name="T7" fmla="*/ 375 h 375"/>
                    <a:gd name="T8" fmla="*/ 5 w 519"/>
                    <a:gd name="T9" fmla="*/ 24 h 375"/>
                    <a:gd name="T10" fmla="*/ 141 w 519"/>
                    <a:gd name="T11" fmla="*/ 369 h 375"/>
                    <a:gd name="T12" fmla="*/ 511 w 519"/>
                    <a:gd name="T13" fmla="*/ 4 h 375"/>
                    <a:gd name="T14" fmla="*/ 5 w 519"/>
                    <a:gd name="T15" fmla="*/ 24 h 3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19" h="375">
                      <a:moveTo>
                        <a:pt x="140" y="375"/>
                      </a:moveTo>
                      <a:lnTo>
                        <a:pt x="0" y="21"/>
                      </a:lnTo>
                      <a:lnTo>
                        <a:pt x="519" y="0"/>
                      </a:lnTo>
                      <a:lnTo>
                        <a:pt x="140" y="375"/>
                      </a:lnTo>
                      <a:close/>
                      <a:moveTo>
                        <a:pt x="5" y="24"/>
                      </a:moveTo>
                      <a:lnTo>
                        <a:pt x="141" y="369"/>
                      </a:lnTo>
                      <a:lnTo>
                        <a:pt x="511" y="4"/>
                      </a:lnTo>
                      <a:lnTo>
                        <a:pt x="5" y="2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21" name="Freeform 442">
                  <a:extLst>
                    <a:ext uri="{FF2B5EF4-FFF2-40B4-BE49-F238E27FC236}">
                      <a16:creationId xmlns:a16="http://schemas.microsoft.com/office/drawing/2014/main" id="{ED03A229-5D30-7D97-B708-DEE7F42FBF4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389813" y="3057526"/>
                  <a:ext cx="723900" cy="735013"/>
                </a:xfrm>
                <a:custGeom>
                  <a:avLst/>
                  <a:gdLst>
                    <a:gd name="T0" fmla="*/ 66 w 456"/>
                    <a:gd name="T1" fmla="*/ 463 h 463"/>
                    <a:gd name="T2" fmla="*/ 65 w 456"/>
                    <a:gd name="T3" fmla="*/ 460 h 463"/>
                    <a:gd name="T4" fmla="*/ 0 w 456"/>
                    <a:gd name="T5" fmla="*/ 25 h 463"/>
                    <a:gd name="T6" fmla="*/ 456 w 456"/>
                    <a:gd name="T7" fmla="*/ 0 h 463"/>
                    <a:gd name="T8" fmla="*/ 454 w 456"/>
                    <a:gd name="T9" fmla="*/ 3 h 463"/>
                    <a:gd name="T10" fmla="*/ 66 w 456"/>
                    <a:gd name="T11" fmla="*/ 463 h 463"/>
                    <a:gd name="T12" fmla="*/ 4 w 456"/>
                    <a:gd name="T13" fmla="*/ 28 h 463"/>
                    <a:gd name="T14" fmla="*/ 68 w 456"/>
                    <a:gd name="T15" fmla="*/ 455 h 463"/>
                    <a:gd name="T16" fmla="*/ 448 w 456"/>
                    <a:gd name="T17" fmla="*/ 4 h 463"/>
                    <a:gd name="T18" fmla="*/ 4 w 456"/>
                    <a:gd name="T19" fmla="*/ 28 h 4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56" h="463">
                      <a:moveTo>
                        <a:pt x="66" y="463"/>
                      </a:moveTo>
                      <a:lnTo>
                        <a:pt x="65" y="460"/>
                      </a:lnTo>
                      <a:lnTo>
                        <a:pt x="0" y="25"/>
                      </a:lnTo>
                      <a:lnTo>
                        <a:pt x="456" y="0"/>
                      </a:lnTo>
                      <a:lnTo>
                        <a:pt x="454" y="3"/>
                      </a:lnTo>
                      <a:lnTo>
                        <a:pt x="66" y="463"/>
                      </a:lnTo>
                      <a:close/>
                      <a:moveTo>
                        <a:pt x="4" y="28"/>
                      </a:moveTo>
                      <a:lnTo>
                        <a:pt x="68" y="455"/>
                      </a:lnTo>
                      <a:lnTo>
                        <a:pt x="448" y="4"/>
                      </a:lnTo>
                      <a:lnTo>
                        <a:pt x="4" y="2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22" name="Freeform 443">
                  <a:extLst>
                    <a:ext uri="{FF2B5EF4-FFF2-40B4-BE49-F238E27FC236}">
                      <a16:creationId xmlns:a16="http://schemas.microsoft.com/office/drawing/2014/main" id="{C2B80EC8-B346-EB48-A11D-0D4B96E9913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505701" y="3765551"/>
                  <a:ext cx="719138" cy="577850"/>
                </a:xfrm>
                <a:custGeom>
                  <a:avLst/>
                  <a:gdLst>
                    <a:gd name="T0" fmla="*/ 7 w 453"/>
                    <a:gd name="T1" fmla="*/ 364 h 364"/>
                    <a:gd name="T2" fmla="*/ 0 w 453"/>
                    <a:gd name="T3" fmla="*/ 0 h 364"/>
                    <a:gd name="T4" fmla="*/ 453 w 453"/>
                    <a:gd name="T5" fmla="*/ 101 h 364"/>
                    <a:gd name="T6" fmla="*/ 7 w 453"/>
                    <a:gd name="T7" fmla="*/ 364 h 364"/>
                    <a:gd name="T8" fmla="*/ 3 w 453"/>
                    <a:gd name="T9" fmla="*/ 4 h 364"/>
                    <a:gd name="T10" fmla="*/ 11 w 453"/>
                    <a:gd name="T11" fmla="*/ 358 h 364"/>
                    <a:gd name="T12" fmla="*/ 443 w 453"/>
                    <a:gd name="T13" fmla="*/ 102 h 364"/>
                    <a:gd name="T14" fmla="*/ 3 w 453"/>
                    <a:gd name="T15" fmla="*/ 4 h 3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53" h="364">
                      <a:moveTo>
                        <a:pt x="7" y="364"/>
                      </a:moveTo>
                      <a:lnTo>
                        <a:pt x="0" y="0"/>
                      </a:lnTo>
                      <a:lnTo>
                        <a:pt x="453" y="101"/>
                      </a:lnTo>
                      <a:lnTo>
                        <a:pt x="7" y="364"/>
                      </a:lnTo>
                      <a:close/>
                      <a:moveTo>
                        <a:pt x="3" y="4"/>
                      </a:moveTo>
                      <a:lnTo>
                        <a:pt x="11" y="358"/>
                      </a:lnTo>
                      <a:lnTo>
                        <a:pt x="443" y="102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23" name="Freeform 444">
                  <a:extLst>
                    <a:ext uri="{FF2B5EF4-FFF2-40B4-BE49-F238E27FC236}">
                      <a16:creationId xmlns:a16="http://schemas.microsoft.com/office/drawing/2014/main" id="{00E233B2-8825-23B6-4069-90183D475D3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101013" y="3046413"/>
                  <a:ext cx="379413" cy="889000"/>
                </a:xfrm>
                <a:custGeom>
                  <a:avLst/>
                  <a:gdLst>
                    <a:gd name="T0" fmla="*/ 72 w 239"/>
                    <a:gd name="T1" fmla="*/ 560 h 560"/>
                    <a:gd name="T2" fmla="*/ 0 w 239"/>
                    <a:gd name="T3" fmla="*/ 0 h 560"/>
                    <a:gd name="T4" fmla="*/ 239 w 239"/>
                    <a:gd name="T5" fmla="*/ 218 h 560"/>
                    <a:gd name="T6" fmla="*/ 72 w 239"/>
                    <a:gd name="T7" fmla="*/ 560 h 560"/>
                    <a:gd name="T8" fmla="*/ 5 w 239"/>
                    <a:gd name="T9" fmla="*/ 8 h 560"/>
                    <a:gd name="T10" fmla="*/ 74 w 239"/>
                    <a:gd name="T11" fmla="*/ 548 h 560"/>
                    <a:gd name="T12" fmla="*/ 234 w 239"/>
                    <a:gd name="T13" fmla="*/ 219 h 560"/>
                    <a:gd name="T14" fmla="*/ 5 w 239"/>
                    <a:gd name="T15" fmla="*/ 8 h 5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39" h="560">
                      <a:moveTo>
                        <a:pt x="72" y="560"/>
                      </a:moveTo>
                      <a:lnTo>
                        <a:pt x="0" y="0"/>
                      </a:lnTo>
                      <a:lnTo>
                        <a:pt x="239" y="218"/>
                      </a:lnTo>
                      <a:lnTo>
                        <a:pt x="72" y="560"/>
                      </a:lnTo>
                      <a:close/>
                      <a:moveTo>
                        <a:pt x="5" y="8"/>
                      </a:moveTo>
                      <a:lnTo>
                        <a:pt x="74" y="548"/>
                      </a:lnTo>
                      <a:lnTo>
                        <a:pt x="234" y="219"/>
                      </a:lnTo>
                      <a:lnTo>
                        <a:pt x="5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24" name="Freeform 445">
                  <a:extLst>
                    <a:ext uri="{FF2B5EF4-FFF2-40B4-BE49-F238E27FC236}">
                      <a16:creationId xmlns:a16="http://schemas.microsoft.com/office/drawing/2014/main" id="{763BC07F-0E18-B617-7C6B-0FF82601E11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916738" y="3700463"/>
                  <a:ext cx="608013" cy="639763"/>
                </a:xfrm>
                <a:custGeom>
                  <a:avLst/>
                  <a:gdLst>
                    <a:gd name="T0" fmla="*/ 383 w 383"/>
                    <a:gd name="T1" fmla="*/ 403 h 403"/>
                    <a:gd name="T2" fmla="*/ 0 w 383"/>
                    <a:gd name="T3" fmla="*/ 395 h 403"/>
                    <a:gd name="T4" fmla="*/ 133 w 383"/>
                    <a:gd name="T5" fmla="*/ 0 h 403"/>
                    <a:gd name="T6" fmla="*/ 136 w 383"/>
                    <a:gd name="T7" fmla="*/ 3 h 403"/>
                    <a:gd name="T8" fmla="*/ 383 w 383"/>
                    <a:gd name="T9" fmla="*/ 403 h 403"/>
                    <a:gd name="T10" fmla="*/ 5 w 383"/>
                    <a:gd name="T11" fmla="*/ 392 h 403"/>
                    <a:gd name="T12" fmla="*/ 377 w 383"/>
                    <a:gd name="T13" fmla="*/ 400 h 403"/>
                    <a:gd name="T14" fmla="*/ 134 w 383"/>
                    <a:gd name="T15" fmla="*/ 7 h 403"/>
                    <a:gd name="T16" fmla="*/ 5 w 383"/>
                    <a:gd name="T17" fmla="*/ 392 h 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83" h="403">
                      <a:moveTo>
                        <a:pt x="383" y="403"/>
                      </a:moveTo>
                      <a:lnTo>
                        <a:pt x="0" y="395"/>
                      </a:lnTo>
                      <a:lnTo>
                        <a:pt x="133" y="0"/>
                      </a:lnTo>
                      <a:lnTo>
                        <a:pt x="136" y="3"/>
                      </a:lnTo>
                      <a:lnTo>
                        <a:pt x="383" y="403"/>
                      </a:lnTo>
                      <a:close/>
                      <a:moveTo>
                        <a:pt x="5" y="392"/>
                      </a:moveTo>
                      <a:lnTo>
                        <a:pt x="377" y="400"/>
                      </a:lnTo>
                      <a:lnTo>
                        <a:pt x="134" y="7"/>
                      </a:lnTo>
                      <a:lnTo>
                        <a:pt x="5" y="39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25" name="Freeform 446">
                  <a:extLst>
                    <a:ext uri="{FF2B5EF4-FFF2-40B4-BE49-F238E27FC236}">
                      <a16:creationId xmlns:a16="http://schemas.microsoft.com/office/drawing/2014/main" id="{2CBD49E4-CF8F-D79B-89FA-AAF7B585ACC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489701" y="3665538"/>
                  <a:ext cx="449263" cy="669925"/>
                </a:xfrm>
                <a:custGeom>
                  <a:avLst/>
                  <a:gdLst>
                    <a:gd name="T0" fmla="*/ 283 w 283"/>
                    <a:gd name="T1" fmla="*/ 422 h 422"/>
                    <a:gd name="T2" fmla="*/ 0 w 283"/>
                    <a:gd name="T3" fmla="*/ 268 h 422"/>
                    <a:gd name="T4" fmla="*/ 185 w 283"/>
                    <a:gd name="T5" fmla="*/ 0 h 422"/>
                    <a:gd name="T6" fmla="*/ 186 w 283"/>
                    <a:gd name="T7" fmla="*/ 4 h 422"/>
                    <a:gd name="T8" fmla="*/ 283 w 283"/>
                    <a:gd name="T9" fmla="*/ 422 h 422"/>
                    <a:gd name="T10" fmla="*/ 5 w 283"/>
                    <a:gd name="T11" fmla="*/ 266 h 422"/>
                    <a:gd name="T12" fmla="*/ 278 w 283"/>
                    <a:gd name="T13" fmla="*/ 416 h 422"/>
                    <a:gd name="T14" fmla="*/ 184 w 283"/>
                    <a:gd name="T15" fmla="*/ 8 h 422"/>
                    <a:gd name="T16" fmla="*/ 5 w 283"/>
                    <a:gd name="T17" fmla="*/ 266 h 4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83" h="422">
                      <a:moveTo>
                        <a:pt x="283" y="422"/>
                      </a:moveTo>
                      <a:lnTo>
                        <a:pt x="0" y="268"/>
                      </a:lnTo>
                      <a:lnTo>
                        <a:pt x="185" y="0"/>
                      </a:lnTo>
                      <a:lnTo>
                        <a:pt x="186" y="4"/>
                      </a:lnTo>
                      <a:lnTo>
                        <a:pt x="283" y="422"/>
                      </a:lnTo>
                      <a:close/>
                      <a:moveTo>
                        <a:pt x="5" y="266"/>
                      </a:moveTo>
                      <a:lnTo>
                        <a:pt x="278" y="416"/>
                      </a:lnTo>
                      <a:lnTo>
                        <a:pt x="184" y="8"/>
                      </a:lnTo>
                      <a:lnTo>
                        <a:pt x="5" y="26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26" name="Freeform 447">
                  <a:extLst>
                    <a:ext uri="{FF2B5EF4-FFF2-40B4-BE49-F238E27FC236}">
                      <a16:creationId xmlns:a16="http://schemas.microsoft.com/office/drawing/2014/main" id="{042D7DEF-ECE4-67E6-ED13-ADAA5269C00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124701" y="3073401"/>
                  <a:ext cx="377825" cy="693738"/>
                </a:xfrm>
                <a:custGeom>
                  <a:avLst/>
                  <a:gdLst>
                    <a:gd name="T0" fmla="*/ 238 w 238"/>
                    <a:gd name="T1" fmla="*/ 437 h 437"/>
                    <a:gd name="T2" fmla="*/ 0 w 238"/>
                    <a:gd name="T3" fmla="*/ 400 h 437"/>
                    <a:gd name="T4" fmla="*/ 1 w 238"/>
                    <a:gd name="T5" fmla="*/ 398 h 437"/>
                    <a:gd name="T6" fmla="*/ 169 w 238"/>
                    <a:gd name="T7" fmla="*/ 0 h 437"/>
                    <a:gd name="T8" fmla="*/ 238 w 238"/>
                    <a:gd name="T9" fmla="*/ 437 h 437"/>
                    <a:gd name="T10" fmla="*/ 6 w 238"/>
                    <a:gd name="T11" fmla="*/ 397 h 437"/>
                    <a:gd name="T12" fmla="*/ 234 w 238"/>
                    <a:gd name="T13" fmla="*/ 432 h 437"/>
                    <a:gd name="T14" fmla="*/ 167 w 238"/>
                    <a:gd name="T15" fmla="*/ 13 h 437"/>
                    <a:gd name="T16" fmla="*/ 6 w 238"/>
                    <a:gd name="T17" fmla="*/ 397 h 4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38" h="437">
                      <a:moveTo>
                        <a:pt x="238" y="437"/>
                      </a:moveTo>
                      <a:lnTo>
                        <a:pt x="0" y="400"/>
                      </a:lnTo>
                      <a:lnTo>
                        <a:pt x="1" y="398"/>
                      </a:lnTo>
                      <a:lnTo>
                        <a:pt x="169" y="0"/>
                      </a:lnTo>
                      <a:lnTo>
                        <a:pt x="238" y="437"/>
                      </a:lnTo>
                      <a:close/>
                      <a:moveTo>
                        <a:pt x="6" y="397"/>
                      </a:moveTo>
                      <a:lnTo>
                        <a:pt x="234" y="432"/>
                      </a:lnTo>
                      <a:lnTo>
                        <a:pt x="167" y="13"/>
                      </a:lnTo>
                      <a:lnTo>
                        <a:pt x="6" y="39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27" name="Freeform 448">
                  <a:extLst>
                    <a:ext uri="{FF2B5EF4-FFF2-40B4-BE49-F238E27FC236}">
                      <a16:creationId xmlns:a16="http://schemas.microsoft.com/office/drawing/2014/main" id="{C3618985-3DDA-E891-5DF9-30253306D9D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107238" y="2573338"/>
                  <a:ext cx="822325" cy="509588"/>
                </a:xfrm>
                <a:custGeom>
                  <a:avLst/>
                  <a:gdLst>
                    <a:gd name="T0" fmla="*/ 183 w 518"/>
                    <a:gd name="T1" fmla="*/ 321 h 321"/>
                    <a:gd name="T2" fmla="*/ 183 w 518"/>
                    <a:gd name="T3" fmla="*/ 320 h 321"/>
                    <a:gd name="T4" fmla="*/ 0 w 518"/>
                    <a:gd name="T5" fmla="*/ 158 h 321"/>
                    <a:gd name="T6" fmla="*/ 518 w 518"/>
                    <a:gd name="T7" fmla="*/ 0 h 321"/>
                    <a:gd name="T8" fmla="*/ 183 w 518"/>
                    <a:gd name="T9" fmla="*/ 321 h 321"/>
                    <a:gd name="T10" fmla="*/ 7 w 518"/>
                    <a:gd name="T11" fmla="*/ 159 h 321"/>
                    <a:gd name="T12" fmla="*/ 183 w 518"/>
                    <a:gd name="T13" fmla="*/ 317 h 321"/>
                    <a:gd name="T14" fmla="*/ 505 w 518"/>
                    <a:gd name="T15" fmla="*/ 8 h 321"/>
                    <a:gd name="T16" fmla="*/ 7 w 518"/>
                    <a:gd name="T17" fmla="*/ 159 h 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18" h="321">
                      <a:moveTo>
                        <a:pt x="183" y="321"/>
                      </a:moveTo>
                      <a:lnTo>
                        <a:pt x="183" y="320"/>
                      </a:lnTo>
                      <a:lnTo>
                        <a:pt x="0" y="158"/>
                      </a:lnTo>
                      <a:lnTo>
                        <a:pt x="518" y="0"/>
                      </a:lnTo>
                      <a:lnTo>
                        <a:pt x="183" y="321"/>
                      </a:lnTo>
                      <a:close/>
                      <a:moveTo>
                        <a:pt x="7" y="159"/>
                      </a:moveTo>
                      <a:lnTo>
                        <a:pt x="183" y="317"/>
                      </a:lnTo>
                      <a:lnTo>
                        <a:pt x="505" y="8"/>
                      </a:lnTo>
                      <a:lnTo>
                        <a:pt x="7" y="15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28" name="Freeform 449">
                  <a:extLst>
                    <a:ext uri="{FF2B5EF4-FFF2-40B4-BE49-F238E27FC236}">
                      <a16:creationId xmlns:a16="http://schemas.microsoft.com/office/drawing/2014/main" id="{D65BD174-A393-84EC-308E-674237AAA65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972301" y="2201863"/>
                  <a:ext cx="615950" cy="631825"/>
                </a:xfrm>
                <a:custGeom>
                  <a:avLst/>
                  <a:gdLst>
                    <a:gd name="T0" fmla="*/ 81 w 388"/>
                    <a:gd name="T1" fmla="*/ 398 h 398"/>
                    <a:gd name="T2" fmla="*/ 0 w 388"/>
                    <a:gd name="T3" fmla="*/ 122 h 398"/>
                    <a:gd name="T4" fmla="*/ 388 w 388"/>
                    <a:gd name="T5" fmla="*/ 0 h 398"/>
                    <a:gd name="T6" fmla="*/ 81 w 388"/>
                    <a:gd name="T7" fmla="*/ 398 h 398"/>
                    <a:gd name="T8" fmla="*/ 4 w 388"/>
                    <a:gd name="T9" fmla="*/ 125 h 398"/>
                    <a:gd name="T10" fmla="*/ 83 w 388"/>
                    <a:gd name="T11" fmla="*/ 391 h 398"/>
                    <a:gd name="T12" fmla="*/ 379 w 388"/>
                    <a:gd name="T13" fmla="*/ 6 h 398"/>
                    <a:gd name="T14" fmla="*/ 4 w 388"/>
                    <a:gd name="T15" fmla="*/ 125 h 3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88" h="398">
                      <a:moveTo>
                        <a:pt x="81" y="398"/>
                      </a:moveTo>
                      <a:lnTo>
                        <a:pt x="0" y="122"/>
                      </a:lnTo>
                      <a:lnTo>
                        <a:pt x="388" y="0"/>
                      </a:lnTo>
                      <a:lnTo>
                        <a:pt x="81" y="398"/>
                      </a:lnTo>
                      <a:close/>
                      <a:moveTo>
                        <a:pt x="4" y="125"/>
                      </a:moveTo>
                      <a:lnTo>
                        <a:pt x="83" y="391"/>
                      </a:lnTo>
                      <a:lnTo>
                        <a:pt x="379" y="6"/>
                      </a:lnTo>
                      <a:lnTo>
                        <a:pt x="4" y="12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29" name="Freeform 450">
                  <a:extLst>
                    <a:ext uri="{FF2B5EF4-FFF2-40B4-BE49-F238E27FC236}">
                      <a16:creationId xmlns:a16="http://schemas.microsoft.com/office/drawing/2014/main" id="{7C14EF0E-8D93-8BE4-CB9E-0A7AF466FAD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564438" y="2074863"/>
                  <a:ext cx="401638" cy="511175"/>
                </a:xfrm>
                <a:custGeom>
                  <a:avLst/>
                  <a:gdLst>
                    <a:gd name="T0" fmla="*/ 225 w 253"/>
                    <a:gd name="T1" fmla="*/ 322 h 322"/>
                    <a:gd name="T2" fmla="*/ 0 w 253"/>
                    <a:gd name="T3" fmla="*/ 87 h 322"/>
                    <a:gd name="T4" fmla="*/ 253 w 253"/>
                    <a:gd name="T5" fmla="*/ 0 h 322"/>
                    <a:gd name="T6" fmla="*/ 253 w 253"/>
                    <a:gd name="T7" fmla="*/ 3 h 322"/>
                    <a:gd name="T8" fmla="*/ 225 w 253"/>
                    <a:gd name="T9" fmla="*/ 322 h 322"/>
                    <a:gd name="T10" fmla="*/ 6 w 253"/>
                    <a:gd name="T11" fmla="*/ 89 h 322"/>
                    <a:gd name="T12" fmla="*/ 222 w 253"/>
                    <a:gd name="T13" fmla="*/ 314 h 322"/>
                    <a:gd name="T14" fmla="*/ 249 w 253"/>
                    <a:gd name="T15" fmla="*/ 5 h 322"/>
                    <a:gd name="T16" fmla="*/ 6 w 253"/>
                    <a:gd name="T17" fmla="*/ 89 h 3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53" h="322">
                      <a:moveTo>
                        <a:pt x="225" y="322"/>
                      </a:moveTo>
                      <a:lnTo>
                        <a:pt x="0" y="87"/>
                      </a:lnTo>
                      <a:lnTo>
                        <a:pt x="253" y="0"/>
                      </a:lnTo>
                      <a:lnTo>
                        <a:pt x="253" y="3"/>
                      </a:lnTo>
                      <a:lnTo>
                        <a:pt x="225" y="322"/>
                      </a:lnTo>
                      <a:close/>
                      <a:moveTo>
                        <a:pt x="6" y="89"/>
                      </a:moveTo>
                      <a:lnTo>
                        <a:pt x="222" y="314"/>
                      </a:lnTo>
                      <a:lnTo>
                        <a:pt x="249" y="5"/>
                      </a:lnTo>
                      <a:lnTo>
                        <a:pt x="6" y="8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30" name="Freeform 451">
                  <a:extLst>
                    <a:ext uri="{FF2B5EF4-FFF2-40B4-BE49-F238E27FC236}">
                      <a16:creationId xmlns:a16="http://schemas.microsoft.com/office/drawing/2014/main" id="{C82E720E-DAB8-FEAA-4EA1-8572E200406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15276" y="2540001"/>
                  <a:ext cx="463550" cy="538163"/>
                </a:xfrm>
                <a:custGeom>
                  <a:avLst/>
                  <a:gdLst>
                    <a:gd name="T0" fmla="*/ 117 w 292"/>
                    <a:gd name="T1" fmla="*/ 339 h 339"/>
                    <a:gd name="T2" fmla="*/ 0 w 292"/>
                    <a:gd name="T3" fmla="*/ 19 h 339"/>
                    <a:gd name="T4" fmla="*/ 292 w 292"/>
                    <a:gd name="T5" fmla="*/ 0 h 339"/>
                    <a:gd name="T6" fmla="*/ 117 w 292"/>
                    <a:gd name="T7" fmla="*/ 339 h 339"/>
                    <a:gd name="T8" fmla="*/ 5 w 292"/>
                    <a:gd name="T9" fmla="*/ 23 h 339"/>
                    <a:gd name="T10" fmla="*/ 117 w 292"/>
                    <a:gd name="T11" fmla="*/ 331 h 339"/>
                    <a:gd name="T12" fmla="*/ 287 w 292"/>
                    <a:gd name="T13" fmla="*/ 3 h 339"/>
                    <a:gd name="T14" fmla="*/ 5 w 292"/>
                    <a:gd name="T15" fmla="*/ 23 h 3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92" h="339">
                      <a:moveTo>
                        <a:pt x="117" y="339"/>
                      </a:moveTo>
                      <a:lnTo>
                        <a:pt x="0" y="19"/>
                      </a:lnTo>
                      <a:lnTo>
                        <a:pt x="292" y="0"/>
                      </a:lnTo>
                      <a:lnTo>
                        <a:pt x="117" y="339"/>
                      </a:lnTo>
                      <a:close/>
                      <a:moveTo>
                        <a:pt x="5" y="23"/>
                      </a:moveTo>
                      <a:lnTo>
                        <a:pt x="117" y="331"/>
                      </a:lnTo>
                      <a:lnTo>
                        <a:pt x="287" y="3"/>
                      </a:lnTo>
                      <a:lnTo>
                        <a:pt x="5" y="2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31" name="Freeform 452">
                  <a:extLst>
                    <a:ext uri="{FF2B5EF4-FFF2-40B4-BE49-F238E27FC236}">
                      <a16:creationId xmlns:a16="http://schemas.microsoft.com/office/drawing/2014/main" id="{C0F41429-0A2B-42EF-5A8D-35809566D14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981826" y="1855788"/>
                  <a:ext cx="608013" cy="542925"/>
                </a:xfrm>
                <a:custGeom>
                  <a:avLst/>
                  <a:gdLst>
                    <a:gd name="T0" fmla="*/ 0 w 383"/>
                    <a:gd name="T1" fmla="*/ 342 h 342"/>
                    <a:gd name="T2" fmla="*/ 2 w 383"/>
                    <a:gd name="T3" fmla="*/ 339 h 342"/>
                    <a:gd name="T4" fmla="*/ 174 w 383"/>
                    <a:gd name="T5" fmla="*/ 0 h 342"/>
                    <a:gd name="T6" fmla="*/ 383 w 383"/>
                    <a:gd name="T7" fmla="*/ 223 h 342"/>
                    <a:gd name="T8" fmla="*/ 0 w 383"/>
                    <a:gd name="T9" fmla="*/ 342 h 342"/>
                    <a:gd name="T10" fmla="*/ 175 w 383"/>
                    <a:gd name="T11" fmla="*/ 6 h 342"/>
                    <a:gd name="T12" fmla="*/ 7 w 383"/>
                    <a:gd name="T13" fmla="*/ 336 h 342"/>
                    <a:gd name="T14" fmla="*/ 377 w 383"/>
                    <a:gd name="T15" fmla="*/ 221 h 342"/>
                    <a:gd name="T16" fmla="*/ 175 w 383"/>
                    <a:gd name="T17" fmla="*/ 6 h 3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83" h="342">
                      <a:moveTo>
                        <a:pt x="0" y="342"/>
                      </a:moveTo>
                      <a:lnTo>
                        <a:pt x="2" y="339"/>
                      </a:lnTo>
                      <a:lnTo>
                        <a:pt x="174" y="0"/>
                      </a:lnTo>
                      <a:lnTo>
                        <a:pt x="383" y="223"/>
                      </a:lnTo>
                      <a:lnTo>
                        <a:pt x="0" y="342"/>
                      </a:lnTo>
                      <a:close/>
                      <a:moveTo>
                        <a:pt x="175" y="6"/>
                      </a:moveTo>
                      <a:lnTo>
                        <a:pt x="7" y="336"/>
                      </a:lnTo>
                      <a:lnTo>
                        <a:pt x="377" y="221"/>
                      </a:lnTo>
                      <a:lnTo>
                        <a:pt x="175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32" name="Freeform 453">
                  <a:extLst>
                    <a:ext uri="{FF2B5EF4-FFF2-40B4-BE49-F238E27FC236}">
                      <a16:creationId xmlns:a16="http://schemas.microsoft.com/office/drawing/2014/main" id="{59A4714D-6391-2C89-AA5C-4A0D0206D13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059488" y="3459163"/>
                  <a:ext cx="730250" cy="649288"/>
                </a:xfrm>
                <a:custGeom>
                  <a:avLst/>
                  <a:gdLst>
                    <a:gd name="T0" fmla="*/ 269 w 460"/>
                    <a:gd name="T1" fmla="*/ 409 h 409"/>
                    <a:gd name="T2" fmla="*/ 0 w 460"/>
                    <a:gd name="T3" fmla="*/ 0 h 409"/>
                    <a:gd name="T4" fmla="*/ 460 w 460"/>
                    <a:gd name="T5" fmla="*/ 128 h 409"/>
                    <a:gd name="T6" fmla="*/ 269 w 460"/>
                    <a:gd name="T7" fmla="*/ 409 h 409"/>
                    <a:gd name="T8" fmla="*/ 8 w 460"/>
                    <a:gd name="T9" fmla="*/ 5 h 409"/>
                    <a:gd name="T10" fmla="*/ 269 w 460"/>
                    <a:gd name="T11" fmla="*/ 403 h 409"/>
                    <a:gd name="T12" fmla="*/ 455 w 460"/>
                    <a:gd name="T13" fmla="*/ 129 h 409"/>
                    <a:gd name="T14" fmla="*/ 8 w 460"/>
                    <a:gd name="T15" fmla="*/ 5 h 4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60" h="409">
                      <a:moveTo>
                        <a:pt x="269" y="409"/>
                      </a:moveTo>
                      <a:lnTo>
                        <a:pt x="0" y="0"/>
                      </a:lnTo>
                      <a:lnTo>
                        <a:pt x="460" y="128"/>
                      </a:lnTo>
                      <a:lnTo>
                        <a:pt x="269" y="409"/>
                      </a:lnTo>
                      <a:close/>
                      <a:moveTo>
                        <a:pt x="8" y="5"/>
                      </a:moveTo>
                      <a:lnTo>
                        <a:pt x="269" y="403"/>
                      </a:lnTo>
                      <a:lnTo>
                        <a:pt x="455" y="129"/>
                      </a:lnTo>
                      <a:lnTo>
                        <a:pt x="8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33" name="Freeform 454">
                  <a:extLst>
                    <a:ext uri="{FF2B5EF4-FFF2-40B4-BE49-F238E27FC236}">
                      <a16:creationId xmlns:a16="http://schemas.microsoft.com/office/drawing/2014/main" id="{65EED145-9754-2181-A9E4-373C47D972C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029326" y="1866901"/>
                  <a:ext cx="2449513" cy="2473325"/>
                </a:xfrm>
                <a:custGeom>
                  <a:avLst/>
                  <a:gdLst>
                    <a:gd name="T0" fmla="*/ 940 w 1543"/>
                    <a:gd name="T1" fmla="*/ 1558 h 1558"/>
                    <a:gd name="T2" fmla="*/ 567 w 1543"/>
                    <a:gd name="T3" fmla="*/ 1549 h 1558"/>
                    <a:gd name="T4" fmla="*/ 567 w 1543"/>
                    <a:gd name="T5" fmla="*/ 1549 h 1558"/>
                    <a:gd name="T6" fmla="*/ 286 w 1543"/>
                    <a:gd name="T7" fmla="*/ 1405 h 1558"/>
                    <a:gd name="T8" fmla="*/ 286 w 1543"/>
                    <a:gd name="T9" fmla="*/ 1404 h 1558"/>
                    <a:gd name="T10" fmla="*/ 15 w 1543"/>
                    <a:gd name="T11" fmla="*/ 1000 h 1558"/>
                    <a:gd name="T12" fmla="*/ 15 w 1543"/>
                    <a:gd name="T13" fmla="*/ 999 h 1558"/>
                    <a:gd name="T14" fmla="*/ 0 w 1543"/>
                    <a:gd name="T15" fmla="*/ 621 h 1558"/>
                    <a:gd name="T16" fmla="*/ 0 w 1543"/>
                    <a:gd name="T17" fmla="*/ 621 h 1558"/>
                    <a:gd name="T18" fmla="*/ 257 w 1543"/>
                    <a:gd name="T19" fmla="*/ 186 h 1558"/>
                    <a:gd name="T20" fmla="*/ 774 w 1543"/>
                    <a:gd name="T21" fmla="*/ 0 h 1558"/>
                    <a:gd name="T22" fmla="*/ 774 w 1543"/>
                    <a:gd name="T23" fmla="*/ 0 h 1558"/>
                    <a:gd name="T24" fmla="*/ 1216 w 1543"/>
                    <a:gd name="T25" fmla="*/ 135 h 1558"/>
                    <a:gd name="T26" fmla="*/ 1216 w 1543"/>
                    <a:gd name="T27" fmla="*/ 136 h 1558"/>
                    <a:gd name="T28" fmla="*/ 1477 w 1543"/>
                    <a:gd name="T29" fmla="*/ 430 h 1558"/>
                    <a:gd name="T30" fmla="*/ 1477 w 1543"/>
                    <a:gd name="T31" fmla="*/ 430 h 1558"/>
                    <a:gd name="T32" fmla="*/ 1543 w 1543"/>
                    <a:gd name="T33" fmla="*/ 962 h 1558"/>
                    <a:gd name="T34" fmla="*/ 1543 w 1543"/>
                    <a:gd name="T35" fmla="*/ 963 h 1558"/>
                    <a:gd name="T36" fmla="*/ 1379 w 1543"/>
                    <a:gd name="T37" fmla="*/ 1299 h 1558"/>
                    <a:gd name="T38" fmla="*/ 1379 w 1543"/>
                    <a:gd name="T39" fmla="*/ 1299 h 1558"/>
                    <a:gd name="T40" fmla="*/ 940 w 1543"/>
                    <a:gd name="T41" fmla="*/ 1558 h 1558"/>
                    <a:gd name="T42" fmla="*/ 568 w 1543"/>
                    <a:gd name="T43" fmla="*/ 1546 h 1558"/>
                    <a:gd name="T44" fmla="*/ 939 w 1543"/>
                    <a:gd name="T45" fmla="*/ 1555 h 1558"/>
                    <a:gd name="T46" fmla="*/ 1377 w 1543"/>
                    <a:gd name="T47" fmla="*/ 1297 h 1558"/>
                    <a:gd name="T48" fmla="*/ 1539 w 1543"/>
                    <a:gd name="T49" fmla="*/ 961 h 1558"/>
                    <a:gd name="T50" fmla="*/ 1473 w 1543"/>
                    <a:gd name="T51" fmla="*/ 431 h 1558"/>
                    <a:gd name="T52" fmla="*/ 1213 w 1543"/>
                    <a:gd name="T53" fmla="*/ 138 h 1558"/>
                    <a:gd name="T54" fmla="*/ 774 w 1543"/>
                    <a:gd name="T55" fmla="*/ 3 h 1558"/>
                    <a:gd name="T56" fmla="*/ 259 w 1543"/>
                    <a:gd name="T57" fmla="*/ 190 h 1558"/>
                    <a:gd name="T58" fmla="*/ 3 w 1543"/>
                    <a:gd name="T59" fmla="*/ 622 h 1558"/>
                    <a:gd name="T60" fmla="*/ 19 w 1543"/>
                    <a:gd name="T61" fmla="*/ 999 h 1558"/>
                    <a:gd name="T62" fmla="*/ 289 w 1543"/>
                    <a:gd name="T63" fmla="*/ 1402 h 1558"/>
                    <a:gd name="T64" fmla="*/ 568 w 1543"/>
                    <a:gd name="T65" fmla="*/ 1546 h 15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543" h="1558">
                      <a:moveTo>
                        <a:pt x="940" y="1558"/>
                      </a:moveTo>
                      <a:lnTo>
                        <a:pt x="567" y="1549"/>
                      </a:lnTo>
                      <a:lnTo>
                        <a:pt x="567" y="1549"/>
                      </a:lnTo>
                      <a:lnTo>
                        <a:pt x="286" y="1405"/>
                      </a:lnTo>
                      <a:lnTo>
                        <a:pt x="286" y="1404"/>
                      </a:lnTo>
                      <a:lnTo>
                        <a:pt x="15" y="1000"/>
                      </a:lnTo>
                      <a:lnTo>
                        <a:pt x="15" y="999"/>
                      </a:lnTo>
                      <a:lnTo>
                        <a:pt x="0" y="621"/>
                      </a:lnTo>
                      <a:lnTo>
                        <a:pt x="0" y="621"/>
                      </a:lnTo>
                      <a:lnTo>
                        <a:pt x="257" y="186"/>
                      </a:lnTo>
                      <a:lnTo>
                        <a:pt x="774" y="0"/>
                      </a:lnTo>
                      <a:lnTo>
                        <a:pt x="774" y="0"/>
                      </a:lnTo>
                      <a:lnTo>
                        <a:pt x="1216" y="135"/>
                      </a:lnTo>
                      <a:lnTo>
                        <a:pt x="1216" y="136"/>
                      </a:lnTo>
                      <a:lnTo>
                        <a:pt x="1477" y="430"/>
                      </a:lnTo>
                      <a:lnTo>
                        <a:pt x="1477" y="430"/>
                      </a:lnTo>
                      <a:lnTo>
                        <a:pt x="1543" y="962"/>
                      </a:lnTo>
                      <a:lnTo>
                        <a:pt x="1543" y="963"/>
                      </a:lnTo>
                      <a:lnTo>
                        <a:pt x="1379" y="1299"/>
                      </a:lnTo>
                      <a:lnTo>
                        <a:pt x="1379" y="1299"/>
                      </a:lnTo>
                      <a:lnTo>
                        <a:pt x="940" y="1558"/>
                      </a:lnTo>
                      <a:close/>
                      <a:moveTo>
                        <a:pt x="568" y="1546"/>
                      </a:moveTo>
                      <a:lnTo>
                        <a:pt x="939" y="1555"/>
                      </a:lnTo>
                      <a:lnTo>
                        <a:pt x="1377" y="1297"/>
                      </a:lnTo>
                      <a:lnTo>
                        <a:pt x="1539" y="961"/>
                      </a:lnTo>
                      <a:lnTo>
                        <a:pt x="1473" y="431"/>
                      </a:lnTo>
                      <a:lnTo>
                        <a:pt x="1213" y="138"/>
                      </a:lnTo>
                      <a:lnTo>
                        <a:pt x="774" y="3"/>
                      </a:lnTo>
                      <a:lnTo>
                        <a:pt x="259" y="190"/>
                      </a:lnTo>
                      <a:lnTo>
                        <a:pt x="3" y="622"/>
                      </a:lnTo>
                      <a:lnTo>
                        <a:pt x="19" y="999"/>
                      </a:lnTo>
                      <a:lnTo>
                        <a:pt x="289" y="1402"/>
                      </a:lnTo>
                      <a:lnTo>
                        <a:pt x="568" y="154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34" name="Oval 455">
                  <a:extLst>
                    <a:ext uri="{FF2B5EF4-FFF2-40B4-BE49-F238E27FC236}">
                      <a16:creationId xmlns:a16="http://schemas.microsoft.com/office/drawing/2014/main" id="{F99DAE56-A32C-8BA0-D59D-29CA74857AC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54863" y="1766888"/>
                  <a:ext cx="204788" cy="204788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35" name="Oval 456">
                  <a:extLst>
                    <a:ext uri="{FF2B5EF4-FFF2-40B4-BE49-F238E27FC236}">
                      <a16:creationId xmlns:a16="http://schemas.microsoft.com/office/drawing/2014/main" id="{4D284F97-0FBC-5B1E-8C48-B7E89EDAB44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970588" y="2792413"/>
                  <a:ext cx="123825" cy="12382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36" name="Oval 457">
                  <a:extLst>
                    <a:ext uri="{FF2B5EF4-FFF2-40B4-BE49-F238E27FC236}">
                      <a16:creationId xmlns:a16="http://schemas.microsoft.com/office/drawing/2014/main" id="{0AA2C8E8-8108-ED9C-F963-C8A8EA4498B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166101" y="3875088"/>
                  <a:ext cx="101600" cy="103188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37" name="Oval 458">
                  <a:extLst>
                    <a:ext uri="{FF2B5EF4-FFF2-40B4-BE49-F238E27FC236}">
                      <a16:creationId xmlns:a16="http://schemas.microsoft.com/office/drawing/2014/main" id="{5D30CB3D-F6E3-7336-DEDC-A5AD07E5116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308976" y="2482851"/>
                  <a:ext cx="122238" cy="120650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38" name="Oval 459">
                  <a:extLst>
                    <a:ext uri="{FF2B5EF4-FFF2-40B4-BE49-F238E27FC236}">
                      <a16:creationId xmlns:a16="http://schemas.microsoft.com/office/drawing/2014/main" id="{6C926373-689A-113E-DB3F-3FFCC03F290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23213" y="2041526"/>
                  <a:ext cx="71438" cy="71438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39" name="Oval 460">
                  <a:extLst>
                    <a:ext uri="{FF2B5EF4-FFF2-40B4-BE49-F238E27FC236}">
                      <a16:creationId xmlns:a16="http://schemas.microsoft.com/office/drawing/2014/main" id="{B3734F91-3489-4CC9-9ECF-A885FAC1646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383338" y="2111376"/>
                  <a:ext cx="109538" cy="107950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40" name="Oval 461">
                  <a:extLst>
                    <a:ext uri="{FF2B5EF4-FFF2-40B4-BE49-F238E27FC236}">
                      <a16:creationId xmlns:a16="http://schemas.microsoft.com/office/drawing/2014/main" id="{D1D53D98-8BF9-4432-0633-B6EB41B07EB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34201" y="2354263"/>
                  <a:ext cx="92075" cy="9207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41" name="Oval 462">
                  <a:extLst>
                    <a:ext uri="{FF2B5EF4-FFF2-40B4-BE49-F238E27FC236}">
                      <a16:creationId xmlns:a16="http://schemas.microsoft.com/office/drawing/2014/main" id="{AC23234E-D0D3-09D2-C442-497C10B0FB5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73826" y="3028951"/>
                  <a:ext cx="155575" cy="15557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42" name="Oval 463">
                  <a:extLst>
                    <a:ext uri="{FF2B5EF4-FFF2-40B4-BE49-F238E27FC236}">
                      <a16:creationId xmlns:a16="http://schemas.microsoft.com/office/drawing/2014/main" id="{7E922A67-9C18-947F-E0AD-EE181F52008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69176" y="3633788"/>
                  <a:ext cx="258763" cy="258763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43" name="Oval 464">
                  <a:extLst>
                    <a:ext uri="{FF2B5EF4-FFF2-40B4-BE49-F238E27FC236}">
                      <a16:creationId xmlns:a16="http://schemas.microsoft.com/office/drawing/2014/main" id="{C837063C-6225-9BFE-3C38-A21CB1480AF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161088" y="2355851"/>
                  <a:ext cx="222250" cy="223838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44" name="Oval 465">
                  <a:extLst>
                    <a:ext uri="{FF2B5EF4-FFF2-40B4-BE49-F238E27FC236}">
                      <a16:creationId xmlns:a16="http://schemas.microsoft.com/office/drawing/2014/main" id="{5FF163BB-C84A-A1CE-9777-5380AD02C6B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99351" y="2151063"/>
                  <a:ext cx="141288" cy="139700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45" name="Oval 466">
                  <a:extLst>
                    <a:ext uri="{FF2B5EF4-FFF2-40B4-BE49-F238E27FC236}">
                      <a16:creationId xmlns:a16="http://schemas.microsoft.com/office/drawing/2014/main" id="{42ED20EB-5747-3C7A-184B-DD071726B1C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026401" y="2989263"/>
                  <a:ext cx="141288" cy="141288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46" name="Oval 467">
                  <a:extLst>
                    <a:ext uri="{FF2B5EF4-FFF2-40B4-BE49-F238E27FC236}">
                      <a16:creationId xmlns:a16="http://schemas.microsoft.com/office/drawing/2014/main" id="{E6A51582-808F-2A2D-9B05-AD5411CE99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13538" y="3611563"/>
                  <a:ext cx="115888" cy="115888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47" name="Oval 468">
                  <a:extLst>
                    <a:ext uri="{FF2B5EF4-FFF2-40B4-BE49-F238E27FC236}">
                      <a16:creationId xmlns:a16="http://schemas.microsoft.com/office/drawing/2014/main" id="{D4164109-34E7-FEB0-9266-52AD4D8FDCC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72313" y="2797176"/>
                  <a:ext cx="61913" cy="61913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48" name="Oval 469">
                  <a:extLst>
                    <a:ext uri="{FF2B5EF4-FFF2-40B4-BE49-F238E27FC236}">
                      <a16:creationId xmlns:a16="http://schemas.microsoft.com/office/drawing/2014/main" id="{01037944-9BA9-7022-3B67-CCECD8CEF2D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97713" y="3675063"/>
                  <a:ext cx="63500" cy="61913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49" name="Oval 470">
                  <a:extLst>
                    <a:ext uri="{FF2B5EF4-FFF2-40B4-BE49-F238E27FC236}">
                      <a16:creationId xmlns:a16="http://schemas.microsoft.com/office/drawing/2014/main" id="{46ABA3A3-3B4C-0923-2727-8B397AC9782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29388" y="2579688"/>
                  <a:ext cx="74613" cy="74613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50" name="Oval 471">
                  <a:extLst>
                    <a:ext uri="{FF2B5EF4-FFF2-40B4-BE49-F238E27FC236}">
                      <a16:creationId xmlns:a16="http://schemas.microsoft.com/office/drawing/2014/main" id="{80DDA84D-93FF-206C-B096-9B53F842CCD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870826" y="2530476"/>
                  <a:ext cx="96838" cy="9842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51" name="Oval 472">
                  <a:extLst>
                    <a:ext uri="{FF2B5EF4-FFF2-40B4-BE49-F238E27FC236}">
                      <a16:creationId xmlns:a16="http://schemas.microsoft.com/office/drawing/2014/main" id="{D75A71E7-3960-844D-A1C6-97D8FFBDCBC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980113" y="3376613"/>
                  <a:ext cx="155575" cy="15557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52" name="Oval 474">
                  <a:extLst>
                    <a:ext uri="{FF2B5EF4-FFF2-40B4-BE49-F238E27FC236}">
                      <a16:creationId xmlns:a16="http://schemas.microsoft.com/office/drawing/2014/main" id="{DB122B54-ACC9-A215-9D47-D25F27C9AA1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83476" y="4300538"/>
                  <a:ext cx="73025" cy="74613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53" name="Oval 475">
                  <a:extLst>
                    <a:ext uri="{FF2B5EF4-FFF2-40B4-BE49-F238E27FC236}">
                      <a16:creationId xmlns:a16="http://schemas.microsoft.com/office/drawing/2014/main" id="{40202FF2-0DAD-8F46-8A9B-B969DCF8946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04038" y="4297363"/>
                  <a:ext cx="53975" cy="5397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54" name="Freeform 476">
                  <a:extLst>
                    <a:ext uri="{FF2B5EF4-FFF2-40B4-BE49-F238E27FC236}">
                      <a16:creationId xmlns:a16="http://schemas.microsoft.com/office/drawing/2014/main" id="{EFB1FED1-43E1-5FB6-75F2-A929BCA521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88076" y="2392363"/>
                  <a:ext cx="161925" cy="165100"/>
                </a:xfrm>
                <a:custGeom>
                  <a:avLst/>
                  <a:gdLst>
                    <a:gd name="T0" fmla="*/ 106 w 119"/>
                    <a:gd name="T1" fmla="*/ 26 h 121"/>
                    <a:gd name="T2" fmla="*/ 61 w 119"/>
                    <a:gd name="T3" fmla="*/ 60 h 121"/>
                    <a:gd name="T4" fmla="*/ 69 w 119"/>
                    <a:gd name="T5" fmla="*/ 4 h 121"/>
                    <a:gd name="T6" fmla="*/ 5 w 119"/>
                    <a:gd name="T7" fmla="*/ 52 h 121"/>
                    <a:gd name="T8" fmla="*/ 53 w 119"/>
                    <a:gd name="T9" fmla="*/ 116 h 121"/>
                    <a:gd name="T10" fmla="*/ 117 w 119"/>
                    <a:gd name="T11" fmla="*/ 68 h 121"/>
                    <a:gd name="T12" fmla="*/ 106 w 119"/>
                    <a:gd name="T13" fmla="*/ 26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9" h="121">
                      <a:moveTo>
                        <a:pt x="106" y="26"/>
                      </a:moveTo>
                      <a:cubicBezTo>
                        <a:pt x="61" y="60"/>
                        <a:pt x="61" y="60"/>
                        <a:pt x="61" y="60"/>
                      </a:cubicBezTo>
                      <a:cubicBezTo>
                        <a:pt x="69" y="4"/>
                        <a:pt x="69" y="4"/>
                        <a:pt x="69" y="4"/>
                      </a:cubicBezTo>
                      <a:cubicBezTo>
                        <a:pt x="38" y="0"/>
                        <a:pt x="9" y="21"/>
                        <a:pt x="5" y="52"/>
                      </a:cubicBezTo>
                      <a:cubicBezTo>
                        <a:pt x="0" y="83"/>
                        <a:pt x="22" y="112"/>
                        <a:pt x="53" y="116"/>
                      </a:cubicBezTo>
                      <a:cubicBezTo>
                        <a:pt x="84" y="121"/>
                        <a:pt x="112" y="99"/>
                        <a:pt x="117" y="68"/>
                      </a:cubicBezTo>
                      <a:cubicBezTo>
                        <a:pt x="119" y="53"/>
                        <a:pt x="115" y="38"/>
                        <a:pt x="106" y="26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55" name="Freeform 477">
                  <a:extLst>
                    <a:ext uri="{FF2B5EF4-FFF2-40B4-BE49-F238E27FC236}">
                      <a16:creationId xmlns:a16="http://schemas.microsoft.com/office/drawing/2014/main" id="{C1A25033-5ABD-8650-376D-A01DC986A3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88076" y="2392363"/>
                  <a:ext cx="139700" cy="161925"/>
                </a:xfrm>
                <a:custGeom>
                  <a:avLst/>
                  <a:gdLst>
                    <a:gd name="T0" fmla="*/ 61 w 103"/>
                    <a:gd name="T1" fmla="*/ 60 h 119"/>
                    <a:gd name="T2" fmla="*/ 69 w 103"/>
                    <a:gd name="T3" fmla="*/ 4 h 119"/>
                    <a:gd name="T4" fmla="*/ 5 w 103"/>
                    <a:gd name="T5" fmla="*/ 52 h 119"/>
                    <a:gd name="T6" fmla="*/ 53 w 103"/>
                    <a:gd name="T7" fmla="*/ 116 h 119"/>
                    <a:gd name="T8" fmla="*/ 103 w 103"/>
                    <a:gd name="T9" fmla="*/ 98 h 119"/>
                    <a:gd name="T10" fmla="*/ 61 w 103"/>
                    <a:gd name="T11" fmla="*/ 60 h 1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3" h="119">
                      <a:moveTo>
                        <a:pt x="61" y="60"/>
                      </a:moveTo>
                      <a:cubicBezTo>
                        <a:pt x="69" y="4"/>
                        <a:pt x="69" y="4"/>
                        <a:pt x="69" y="4"/>
                      </a:cubicBezTo>
                      <a:cubicBezTo>
                        <a:pt x="38" y="0"/>
                        <a:pt x="9" y="21"/>
                        <a:pt x="5" y="52"/>
                      </a:cubicBezTo>
                      <a:cubicBezTo>
                        <a:pt x="0" y="83"/>
                        <a:pt x="22" y="112"/>
                        <a:pt x="53" y="116"/>
                      </a:cubicBezTo>
                      <a:cubicBezTo>
                        <a:pt x="72" y="119"/>
                        <a:pt x="91" y="112"/>
                        <a:pt x="103" y="98"/>
                      </a:cubicBezTo>
                      <a:lnTo>
                        <a:pt x="61" y="6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56" name="Freeform 478">
                  <a:extLst>
                    <a:ext uri="{FF2B5EF4-FFF2-40B4-BE49-F238E27FC236}">
                      <a16:creationId xmlns:a16="http://schemas.microsoft.com/office/drawing/2014/main" id="{A24F5FEA-859A-8BF8-ECCD-17CAC7E3F6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83326" y="2374901"/>
                  <a:ext cx="60325" cy="77788"/>
                </a:xfrm>
                <a:custGeom>
                  <a:avLst/>
                  <a:gdLst>
                    <a:gd name="T0" fmla="*/ 45 w 45"/>
                    <a:gd name="T1" fmla="*/ 23 h 56"/>
                    <a:gd name="T2" fmla="*/ 8 w 45"/>
                    <a:gd name="T3" fmla="*/ 0 h 56"/>
                    <a:gd name="T4" fmla="*/ 0 w 45"/>
                    <a:gd name="T5" fmla="*/ 56 h 56"/>
                    <a:gd name="T6" fmla="*/ 45 w 45"/>
                    <a:gd name="T7" fmla="*/ 23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5" h="56">
                      <a:moveTo>
                        <a:pt x="45" y="23"/>
                      </a:moveTo>
                      <a:cubicBezTo>
                        <a:pt x="36" y="11"/>
                        <a:pt x="23" y="3"/>
                        <a:pt x="8" y="0"/>
                      </a:cubicBezTo>
                      <a:cubicBezTo>
                        <a:pt x="0" y="56"/>
                        <a:pt x="0" y="56"/>
                        <a:pt x="0" y="56"/>
                      </a:cubicBezTo>
                      <a:lnTo>
                        <a:pt x="45" y="2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57" name="Freeform 479">
                  <a:extLst>
                    <a:ext uri="{FF2B5EF4-FFF2-40B4-BE49-F238E27FC236}">
                      <a16:creationId xmlns:a16="http://schemas.microsoft.com/office/drawing/2014/main" id="{257F7290-5E97-FF23-4F35-25AB06C9A8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88076" y="2392363"/>
                  <a:ext cx="93663" cy="150813"/>
                </a:xfrm>
                <a:custGeom>
                  <a:avLst/>
                  <a:gdLst>
                    <a:gd name="T0" fmla="*/ 60 w 68"/>
                    <a:gd name="T1" fmla="*/ 60 h 111"/>
                    <a:gd name="T2" fmla="*/ 68 w 68"/>
                    <a:gd name="T3" fmla="*/ 4 h 111"/>
                    <a:gd name="T4" fmla="*/ 4 w 68"/>
                    <a:gd name="T5" fmla="*/ 52 h 111"/>
                    <a:gd name="T6" fmla="*/ 35 w 68"/>
                    <a:gd name="T7" fmla="*/ 111 h 111"/>
                    <a:gd name="T8" fmla="*/ 60 w 68"/>
                    <a:gd name="T9" fmla="*/ 60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8" h="111">
                      <a:moveTo>
                        <a:pt x="60" y="60"/>
                      </a:moveTo>
                      <a:cubicBezTo>
                        <a:pt x="68" y="4"/>
                        <a:pt x="68" y="4"/>
                        <a:pt x="68" y="4"/>
                      </a:cubicBezTo>
                      <a:cubicBezTo>
                        <a:pt x="37" y="0"/>
                        <a:pt x="8" y="21"/>
                        <a:pt x="4" y="52"/>
                      </a:cubicBezTo>
                      <a:cubicBezTo>
                        <a:pt x="0" y="77"/>
                        <a:pt x="14" y="101"/>
                        <a:pt x="35" y="111"/>
                      </a:cubicBezTo>
                      <a:lnTo>
                        <a:pt x="60" y="6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58" name="Oval 480">
                  <a:extLst>
                    <a:ext uri="{FF2B5EF4-FFF2-40B4-BE49-F238E27FC236}">
                      <a16:creationId xmlns:a16="http://schemas.microsoft.com/office/drawing/2014/main" id="{57B048BA-5EA6-2461-48A7-1400DA9C5F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10438" y="1824038"/>
                  <a:ext cx="15875" cy="1587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59" name="Oval 481">
                  <a:extLst>
                    <a:ext uri="{FF2B5EF4-FFF2-40B4-BE49-F238E27FC236}">
                      <a16:creationId xmlns:a16="http://schemas.microsoft.com/office/drawing/2014/main" id="{63FB2095-EB43-52EC-8EEE-6796DC95BA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85038" y="1868488"/>
                  <a:ext cx="17463" cy="1587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60" name="Oval 482">
                  <a:extLst>
                    <a:ext uri="{FF2B5EF4-FFF2-40B4-BE49-F238E27FC236}">
                      <a16:creationId xmlns:a16="http://schemas.microsoft.com/office/drawing/2014/main" id="{7CD8FBBF-FA41-BBAF-6E32-186BB2F4ADC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69163" y="1835151"/>
                  <a:ext cx="15875" cy="1587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61" name="Freeform 483">
                  <a:extLst>
                    <a:ext uri="{FF2B5EF4-FFF2-40B4-BE49-F238E27FC236}">
                      <a16:creationId xmlns:a16="http://schemas.microsoft.com/office/drawing/2014/main" id="{C04D9B0E-18DC-0EFC-0BD6-FEE47AF445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54876" y="1858963"/>
                  <a:ext cx="17463" cy="19050"/>
                </a:xfrm>
                <a:custGeom>
                  <a:avLst/>
                  <a:gdLst>
                    <a:gd name="T0" fmla="*/ 0 w 13"/>
                    <a:gd name="T1" fmla="*/ 6 h 13"/>
                    <a:gd name="T2" fmla="*/ 6 w 13"/>
                    <a:gd name="T3" fmla="*/ 0 h 13"/>
                    <a:gd name="T4" fmla="*/ 12 w 13"/>
                    <a:gd name="T5" fmla="*/ 6 h 13"/>
                    <a:gd name="T6" fmla="*/ 6 w 13"/>
                    <a:gd name="T7" fmla="*/ 13 h 13"/>
                    <a:gd name="T8" fmla="*/ 0 w 13"/>
                    <a:gd name="T9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0" y="6"/>
                      </a:move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10" y="0"/>
                        <a:pt x="13" y="3"/>
                        <a:pt x="12" y="6"/>
                      </a:cubicBezTo>
                      <a:cubicBezTo>
                        <a:pt x="12" y="10"/>
                        <a:pt x="10" y="13"/>
                        <a:pt x="6" y="13"/>
                      </a:cubicBezTo>
                      <a:cubicBezTo>
                        <a:pt x="3" y="13"/>
                        <a:pt x="0" y="10"/>
                        <a:pt x="0" y="6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62" name="Oval 484">
                  <a:extLst>
                    <a:ext uri="{FF2B5EF4-FFF2-40B4-BE49-F238E27FC236}">
                      <a16:creationId xmlns:a16="http://schemas.microsoft.com/office/drawing/2014/main" id="{9CA97C5F-466A-CD1A-E258-824277341D9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13601" y="1879601"/>
                  <a:ext cx="17463" cy="17463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63" name="Freeform 485">
                  <a:extLst>
                    <a:ext uri="{FF2B5EF4-FFF2-40B4-BE49-F238E27FC236}">
                      <a16:creationId xmlns:a16="http://schemas.microsoft.com/office/drawing/2014/main" id="{69F53B72-956C-DE32-811F-A7EA36B260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85026" y="1863726"/>
                  <a:ext cx="17463" cy="17463"/>
                </a:xfrm>
                <a:custGeom>
                  <a:avLst/>
                  <a:gdLst>
                    <a:gd name="T0" fmla="*/ 0 w 13"/>
                    <a:gd name="T1" fmla="*/ 7 h 13"/>
                    <a:gd name="T2" fmla="*/ 6 w 13"/>
                    <a:gd name="T3" fmla="*/ 0 h 13"/>
                    <a:gd name="T4" fmla="*/ 13 w 13"/>
                    <a:gd name="T5" fmla="*/ 7 h 13"/>
                    <a:gd name="T6" fmla="*/ 6 w 13"/>
                    <a:gd name="T7" fmla="*/ 13 h 13"/>
                    <a:gd name="T8" fmla="*/ 0 w 13"/>
                    <a:gd name="T9" fmla="*/ 7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0" y="7"/>
                      </a:move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10" y="1"/>
                        <a:pt x="13" y="3"/>
                        <a:pt x="13" y="7"/>
                      </a:cubicBezTo>
                      <a:cubicBezTo>
                        <a:pt x="13" y="10"/>
                        <a:pt x="10" y="13"/>
                        <a:pt x="6" y="13"/>
                      </a:cubicBezTo>
                      <a:cubicBezTo>
                        <a:pt x="3" y="13"/>
                        <a:pt x="0" y="10"/>
                        <a:pt x="0" y="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64" name="Freeform 486">
                  <a:extLst>
                    <a:ext uri="{FF2B5EF4-FFF2-40B4-BE49-F238E27FC236}">
                      <a16:creationId xmlns:a16="http://schemas.microsoft.com/office/drawing/2014/main" id="{E2126D47-C0C7-A5D8-289E-DF97D2A3AA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92963" y="1828801"/>
                  <a:ext cx="128588" cy="61913"/>
                </a:xfrm>
                <a:custGeom>
                  <a:avLst/>
                  <a:gdLst>
                    <a:gd name="T0" fmla="*/ 53 w 81"/>
                    <a:gd name="T1" fmla="*/ 8 h 39"/>
                    <a:gd name="T2" fmla="*/ 63 w 81"/>
                    <a:gd name="T3" fmla="*/ 29 h 39"/>
                    <a:gd name="T4" fmla="*/ 80 w 81"/>
                    <a:gd name="T5" fmla="*/ 0 h 39"/>
                    <a:gd name="T6" fmla="*/ 81 w 81"/>
                    <a:gd name="T7" fmla="*/ 0 h 39"/>
                    <a:gd name="T8" fmla="*/ 63 w 81"/>
                    <a:gd name="T9" fmla="*/ 30 h 39"/>
                    <a:gd name="T10" fmla="*/ 53 w 81"/>
                    <a:gd name="T11" fmla="*/ 10 h 39"/>
                    <a:gd name="T12" fmla="*/ 45 w 81"/>
                    <a:gd name="T13" fmla="*/ 25 h 39"/>
                    <a:gd name="T14" fmla="*/ 18 w 81"/>
                    <a:gd name="T15" fmla="*/ 39 h 39"/>
                    <a:gd name="T16" fmla="*/ 0 w 81"/>
                    <a:gd name="T17" fmla="*/ 28 h 39"/>
                    <a:gd name="T18" fmla="*/ 1 w 81"/>
                    <a:gd name="T19" fmla="*/ 27 h 39"/>
                    <a:gd name="T20" fmla="*/ 18 w 81"/>
                    <a:gd name="T21" fmla="*/ 37 h 39"/>
                    <a:gd name="T22" fmla="*/ 18 w 81"/>
                    <a:gd name="T23" fmla="*/ 37 h 39"/>
                    <a:gd name="T24" fmla="*/ 44 w 81"/>
                    <a:gd name="T25" fmla="*/ 25 h 39"/>
                    <a:gd name="T26" fmla="*/ 53 w 81"/>
                    <a:gd name="T27" fmla="*/ 8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1" h="39">
                      <a:moveTo>
                        <a:pt x="53" y="8"/>
                      </a:moveTo>
                      <a:lnTo>
                        <a:pt x="63" y="29"/>
                      </a:lnTo>
                      <a:lnTo>
                        <a:pt x="80" y="0"/>
                      </a:lnTo>
                      <a:lnTo>
                        <a:pt x="81" y="0"/>
                      </a:lnTo>
                      <a:lnTo>
                        <a:pt x="63" y="30"/>
                      </a:lnTo>
                      <a:lnTo>
                        <a:pt x="53" y="10"/>
                      </a:lnTo>
                      <a:lnTo>
                        <a:pt x="45" y="25"/>
                      </a:lnTo>
                      <a:lnTo>
                        <a:pt x="18" y="39"/>
                      </a:lnTo>
                      <a:lnTo>
                        <a:pt x="0" y="28"/>
                      </a:lnTo>
                      <a:lnTo>
                        <a:pt x="1" y="27"/>
                      </a:lnTo>
                      <a:lnTo>
                        <a:pt x="18" y="37"/>
                      </a:lnTo>
                      <a:lnTo>
                        <a:pt x="18" y="37"/>
                      </a:lnTo>
                      <a:lnTo>
                        <a:pt x="44" y="25"/>
                      </a:lnTo>
                      <a:lnTo>
                        <a:pt x="53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65" name="Rectangle 487">
                  <a:extLst>
                    <a:ext uri="{FF2B5EF4-FFF2-40B4-BE49-F238E27FC236}">
                      <a16:creationId xmlns:a16="http://schemas.microsoft.com/office/drawing/2014/main" id="{382478FE-2662-8003-E6A2-9EA5ED757E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16801" y="3773488"/>
                  <a:ext cx="11113" cy="3968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66" name="Rectangle 488">
                  <a:extLst>
                    <a:ext uri="{FF2B5EF4-FFF2-40B4-BE49-F238E27FC236}">
                      <a16:creationId xmlns:a16="http://schemas.microsoft.com/office/drawing/2014/main" id="{D463CD3A-32F8-710A-B0F4-7A641655D33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32676" y="3765551"/>
                  <a:ext cx="11113" cy="476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67" name="Rectangle 489">
                  <a:extLst>
                    <a:ext uri="{FF2B5EF4-FFF2-40B4-BE49-F238E27FC236}">
                      <a16:creationId xmlns:a16="http://schemas.microsoft.com/office/drawing/2014/main" id="{FD561045-A07A-9D18-968C-B9686840305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50138" y="3752851"/>
                  <a:ext cx="9525" cy="603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68" name="Rectangle 490">
                  <a:extLst>
                    <a:ext uri="{FF2B5EF4-FFF2-40B4-BE49-F238E27FC236}">
                      <a16:creationId xmlns:a16="http://schemas.microsoft.com/office/drawing/2014/main" id="{50B267EF-55D3-3E60-1844-0F0679D921E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66013" y="3779838"/>
                  <a:ext cx="9525" cy="333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69" name="Rectangle 491">
                  <a:extLst>
                    <a:ext uri="{FF2B5EF4-FFF2-40B4-BE49-F238E27FC236}">
                      <a16:creationId xmlns:a16="http://schemas.microsoft.com/office/drawing/2014/main" id="{7D5E4AFB-89E3-7494-07E9-3A7D975FFA4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83476" y="3770313"/>
                  <a:ext cx="11113" cy="428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70" name="Rectangle 492">
                  <a:extLst>
                    <a:ext uri="{FF2B5EF4-FFF2-40B4-BE49-F238E27FC236}">
                      <a16:creationId xmlns:a16="http://schemas.microsoft.com/office/drawing/2014/main" id="{353BE343-3407-4AE2-9173-15741018292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99351" y="3763963"/>
                  <a:ext cx="11113" cy="4921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71" name="Rectangle 493">
                  <a:extLst>
                    <a:ext uri="{FF2B5EF4-FFF2-40B4-BE49-F238E27FC236}">
                      <a16:creationId xmlns:a16="http://schemas.microsoft.com/office/drawing/2014/main" id="{8F968AC3-0A29-2A5B-6588-25AC7F49D67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16813" y="3752851"/>
                  <a:ext cx="9525" cy="603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72" name="Rectangle 494">
                  <a:extLst>
                    <a:ext uri="{FF2B5EF4-FFF2-40B4-BE49-F238E27FC236}">
                      <a16:creationId xmlns:a16="http://schemas.microsoft.com/office/drawing/2014/main" id="{CBF73035-31C1-60BC-002C-FE3AD766A8E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34276" y="3743326"/>
                  <a:ext cx="9525" cy="69850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73" name="Rectangle 495">
                  <a:extLst>
                    <a:ext uri="{FF2B5EF4-FFF2-40B4-BE49-F238E27FC236}">
                      <a16:creationId xmlns:a16="http://schemas.microsoft.com/office/drawing/2014/main" id="{FAEA486A-90BA-7C29-465B-2A1D3544A23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50151" y="3721101"/>
                  <a:ext cx="11113" cy="920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74" name="Rectangle 496">
                  <a:extLst>
                    <a:ext uri="{FF2B5EF4-FFF2-40B4-BE49-F238E27FC236}">
                      <a16:creationId xmlns:a16="http://schemas.microsoft.com/office/drawing/2014/main" id="{DFA73344-9279-FB34-6F9A-2980FDF0E8C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66026" y="3711576"/>
                  <a:ext cx="11113" cy="101600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75" name="Freeform 497">
                  <a:extLst>
                    <a:ext uri="{FF2B5EF4-FFF2-40B4-BE49-F238E27FC236}">
                      <a16:creationId xmlns:a16="http://schemas.microsoft.com/office/drawing/2014/main" id="{86EEF947-C6EA-8922-0443-7AC7EA11A0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27738" y="3398838"/>
                  <a:ext cx="60325" cy="19050"/>
                </a:xfrm>
                <a:custGeom>
                  <a:avLst/>
                  <a:gdLst>
                    <a:gd name="T0" fmla="*/ 39 w 44"/>
                    <a:gd name="T1" fmla="*/ 4 h 13"/>
                    <a:gd name="T2" fmla="*/ 20 w 44"/>
                    <a:gd name="T3" fmla="*/ 1 h 13"/>
                    <a:gd name="T4" fmla="*/ 5 w 44"/>
                    <a:gd name="T5" fmla="*/ 4 h 13"/>
                    <a:gd name="T6" fmla="*/ 4 w 44"/>
                    <a:gd name="T7" fmla="*/ 1 h 13"/>
                    <a:gd name="T8" fmla="*/ 0 w 44"/>
                    <a:gd name="T9" fmla="*/ 11 h 13"/>
                    <a:gd name="T10" fmla="*/ 10 w 44"/>
                    <a:gd name="T11" fmla="*/ 13 h 13"/>
                    <a:gd name="T12" fmla="*/ 8 w 44"/>
                    <a:gd name="T13" fmla="*/ 10 h 13"/>
                    <a:gd name="T14" fmla="*/ 20 w 44"/>
                    <a:gd name="T15" fmla="*/ 7 h 13"/>
                    <a:gd name="T16" fmla="*/ 36 w 44"/>
                    <a:gd name="T17" fmla="*/ 10 h 13"/>
                    <a:gd name="T18" fmla="*/ 34 w 44"/>
                    <a:gd name="T19" fmla="*/ 13 h 13"/>
                    <a:gd name="T20" fmla="*/ 44 w 44"/>
                    <a:gd name="T21" fmla="*/ 11 h 13"/>
                    <a:gd name="T22" fmla="*/ 40 w 44"/>
                    <a:gd name="T23" fmla="*/ 1 h 13"/>
                    <a:gd name="T24" fmla="*/ 39 w 44"/>
                    <a:gd name="T25" fmla="*/ 4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44" h="13">
                      <a:moveTo>
                        <a:pt x="39" y="4"/>
                      </a:moveTo>
                      <a:cubicBezTo>
                        <a:pt x="33" y="1"/>
                        <a:pt x="26" y="0"/>
                        <a:pt x="20" y="1"/>
                      </a:cubicBezTo>
                      <a:cubicBezTo>
                        <a:pt x="15" y="1"/>
                        <a:pt x="10" y="2"/>
                        <a:pt x="5" y="4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8" y="10"/>
                        <a:pt x="8" y="10"/>
                        <a:pt x="8" y="10"/>
                      </a:cubicBezTo>
                      <a:cubicBezTo>
                        <a:pt x="12" y="9"/>
                        <a:pt x="16" y="8"/>
                        <a:pt x="20" y="7"/>
                      </a:cubicBezTo>
                      <a:cubicBezTo>
                        <a:pt x="26" y="7"/>
                        <a:pt x="31" y="8"/>
                        <a:pt x="36" y="10"/>
                      </a:cubicBezTo>
                      <a:cubicBezTo>
                        <a:pt x="34" y="13"/>
                        <a:pt x="34" y="13"/>
                        <a:pt x="34" y="13"/>
                      </a:cubicBezTo>
                      <a:cubicBezTo>
                        <a:pt x="44" y="11"/>
                        <a:pt x="44" y="11"/>
                        <a:pt x="44" y="11"/>
                      </a:cubicBezTo>
                      <a:cubicBezTo>
                        <a:pt x="40" y="1"/>
                        <a:pt x="40" y="1"/>
                        <a:pt x="40" y="1"/>
                      </a:cubicBezTo>
                      <a:lnTo>
                        <a:pt x="39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76" name="Freeform 498">
                  <a:extLst>
                    <a:ext uri="{FF2B5EF4-FFF2-40B4-BE49-F238E27FC236}">
                      <a16:creationId xmlns:a16="http://schemas.microsoft.com/office/drawing/2014/main" id="{790D8382-89AD-00BD-E7A3-E0B184F6F8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97576" y="3448051"/>
                  <a:ext cx="44450" cy="58738"/>
                </a:xfrm>
                <a:custGeom>
                  <a:avLst/>
                  <a:gdLst>
                    <a:gd name="T0" fmla="*/ 11 w 33"/>
                    <a:gd name="T1" fmla="*/ 8 h 44"/>
                    <a:gd name="T2" fmla="*/ 14 w 33"/>
                    <a:gd name="T3" fmla="*/ 8 h 44"/>
                    <a:gd name="T4" fmla="*/ 7 w 33"/>
                    <a:gd name="T5" fmla="*/ 0 h 44"/>
                    <a:gd name="T6" fmla="*/ 0 w 33"/>
                    <a:gd name="T7" fmla="*/ 9 h 44"/>
                    <a:gd name="T8" fmla="*/ 4 w 33"/>
                    <a:gd name="T9" fmla="*/ 9 h 44"/>
                    <a:gd name="T10" fmla="*/ 24 w 33"/>
                    <a:gd name="T11" fmla="*/ 41 h 44"/>
                    <a:gd name="T12" fmla="*/ 22 w 33"/>
                    <a:gd name="T13" fmla="*/ 44 h 44"/>
                    <a:gd name="T14" fmla="*/ 33 w 33"/>
                    <a:gd name="T15" fmla="*/ 42 h 44"/>
                    <a:gd name="T16" fmla="*/ 29 w 33"/>
                    <a:gd name="T17" fmla="*/ 32 h 44"/>
                    <a:gd name="T18" fmla="*/ 27 w 33"/>
                    <a:gd name="T19" fmla="*/ 35 h 44"/>
                    <a:gd name="T20" fmla="*/ 11 w 33"/>
                    <a:gd name="T21" fmla="*/ 8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3" h="44">
                      <a:moveTo>
                        <a:pt x="11" y="8"/>
                      </a:moveTo>
                      <a:cubicBezTo>
                        <a:pt x="14" y="8"/>
                        <a:pt x="14" y="8"/>
                        <a:pt x="14" y="8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4" y="9"/>
                        <a:pt x="4" y="9"/>
                        <a:pt x="4" y="9"/>
                      </a:cubicBezTo>
                      <a:cubicBezTo>
                        <a:pt x="5" y="23"/>
                        <a:pt x="13" y="34"/>
                        <a:pt x="24" y="41"/>
                      </a:cubicBezTo>
                      <a:cubicBezTo>
                        <a:pt x="22" y="44"/>
                        <a:pt x="22" y="44"/>
                        <a:pt x="22" y="44"/>
                      </a:cubicBezTo>
                      <a:cubicBezTo>
                        <a:pt x="33" y="42"/>
                        <a:pt x="33" y="42"/>
                        <a:pt x="33" y="42"/>
                      </a:cubicBezTo>
                      <a:cubicBezTo>
                        <a:pt x="29" y="32"/>
                        <a:pt x="29" y="32"/>
                        <a:pt x="29" y="32"/>
                      </a:cubicBezTo>
                      <a:cubicBezTo>
                        <a:pt x="27" y="35"/>
                        <a:pt x="27" y="35"/>
                        <a:pt x="27" y="35"/>
                      </a:cubicBezTo>
                      <a:cubicBezTo>
                        <a:pt x="18" y="29"/>
                        <a:pt x="12" y="20"/>
                        <a:pt x="11" y="8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77" name="Freeform 499">
                  <a:extLst>
                    <a:ext uri="{FF2B5EF4-FFF2-40B4-BE49-F238E27FC236}">
                      <a16:creationId xmlns:a16="http://schemas.microsoft.com/office/drawing/2014/main" id="{9E40F8A6-5C4C-C265-8E0C-2F83642AB3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73776" y="3446463"/>
                  <a:ext cx="44450" cy="60325"/>
                </a:xfrm>
                <a:custGeom>
                  <a:avLst/>
                  <a:gdLst>
                    <a:gd name="T0" fmla="*/ 28 w 32"/>
                    <a:gd name="T1" fmla="*/ 5 h 44"/>
                    <a:gd name="T2" fmla="*/ 28 w 32"/>
                    <a:gd name="T3" fmla="*/ 4 h 44"/>
                    <a:gd name="T4" fmla="*/ 28 w 32"/>
                    <a:gd name="T5" fmla="*/ 4 h 44"/>
                    <a:gd name="T6" fmla="*/ 25 w 32"/>
                    <a:gd name="T7" fmla="*/ 0 h 44"/>
                    <a:gd name="T8" fmla="*/ 18 w 32"/>
                    <a:gd name="T9" fmla="*/ 9 h 44"/>
                    <a:gd name="T10" fmla="*/ 21 w 32"/>
                    <a:gd name="T11" fmla="*/ 9 h 44"/>
                    <a:gd name="T12" fmla="*/ 6 w 32"/>
                    <a:gd name="T13" fmla="*/ 36 h 44"/>
                    <a:gd name="T14" fmla="*/ 4 w 32"/>
                    <a:gd name="T15" fmla="*/ 32 h 44"/>
                    <a:gd name="T16" fmla="*/ 0 w 32"/>
                    <a:gd name="T17" fmla="*/ 43 h 44"/>
                    <a:gd name="T18" fmla="*/ 11 w 32"/>
                    <a:gd name="T19" fmla="*/ 44 h 44"/>
                    <a:gd name="T20" fmla="*/ 9 w 32"/>
                    <a:gd name="T21" fmla="*/ 41 h 44"/>
                    <a:gd name="T22" fmla="*/ 28 w 32"/>
                    <a:gd name="T23" fmla="*/ 8 h 44"/>
                    <a:gd name="T24" fmla="*/ 32 w 32"/>
                    <a:gd name="T25" fmla="*/ 8 h 44"/>
                    <a:gd name="T26" fmla="*/ 28 w 32"/>
                    <a:gd name="T27" fmla="*/ 5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2" h="44">
                      <a:moveTo>
                        <a:pt x="28" y="5"/>
                      </a:moveTo>
                      <a:cubicBezTo>
                        <a:pt x="28" y="4"/>
                        <a:pt x="28" y="4"/>
                        <a:pt x="28" y="4"/>
                      </a:cubicBezTo>
                      <a:cubicBezTo>
                        <a:pt x="28" y="4"/>
                        <a:pt x="28" y="4"/>
                        <a:pt x="28" y="4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18" y="9"/>
                        <a:pt x="18" y="9"/>
                        <a:pt x="18" y="9"/>
                      </a:cubicBezTo>
                      <a:cubicBezTo>
                        <a:pt x="21" y="9"/>
                        <a:pt x="21" y="9"/>
                        <a:pt x="21" y="9"/>
                      </a:cubicBezTo>
                      <a:cubicBezTo>
                        <a:pt x="21" y="20"/>
                        <a:pt x="15" y="30"/>
                        <a:pt x="6" y="36"/>
                      </a:cubicBezTo>
                      <a:cubicBezTo>
                        <a:pt x="4" y="32"/>
                        <a:pt x="4" y="32"/>
                        <a:pt x="4" y="32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11" y="44"/>
                        <a:pt x="11" y="44"/>
                        <a:pt x="11" y="44"/>
                      </a:cubicBezTo>
                      <a:cubicBezTo>
                        <a:pt x="9" y="41"/>
                        <a:pt x="9" y="41"/>
                        <a:pt x="9" y="41"/>
                      </a:cubicBezTo>
                      <a:cubicBezTo>
                        <a:pt x="20" y="34"/>
                        <a:pt x="28" y="22"/>
                        <a:pt x="28" y="8"/>
                      </a:cubicBezTo>
                      <a:cubicBezTo>
                        <a:pt x="32" y="8"/>
                        <a:pt x="32" y="8"/>
                        <a:pt x="32" y="8"/>
                      </a:cubicBezTo>
                      <a:lnTo>
                        <a:pt x="28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78" name="Freeform 500">
                  <a:extLst>
                    <a:ext uri="{FF2B5EF4-FFF2-40B4-BE49-F238E27FC236}">
                      <a16:creationId xmlns:a16="http://schemas.microsoft.com/office/drawing/2014/main" id="{DCB02017-EA3E-580E-C401-D540CDEDE4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45488" y="2501901"/>
                  <a:ext cx="47625" cy="12700"/>
                </a:xfrm>
                <a:custGeom>
                  <a:avLst/>
                  <a:gdLst>
                    <a:gd name="T0" fmla="*/ 30 w 34"/>
                    <a:gd name="T1" fmla="*/ 3 h 10"/>
                    <a:gd name="T2" fmla="*/ 16 w 34"/>
                    <a:gd name="T3" fmla="*/ 1 h 10"/>
                    <a:gd name="T4" fmla="*/ 5 w 34"/>
                    <a:gd name="T5" fmla="*/ 3 h 10"/>
                    <a:gd name="T6" fmla="*/ 4 w 34"/>
                    <a:gd name="T7" fmla="*/ 1 h 10"/>
                    <a:gd name="T8" fmla="*/ 0 w 34"/>
                    <a:gd name="T9" fmla="*/ 8 h 10"/>
                    <a:gd name="T10" fmla="*/ 8 w 34"/>
                    <a:gd name="T11" fmla="*/ 10 h 10"/>
                    <a:gd name="T12" fmla="*/ 7 w 34"/>
                    <a:gd name="T13" fmla="*/ 8 h 10"/>
                    <a:gd name="T14" fmla="*/ 16 w 34"/>
                    <a:gd name="T15" fmla="*/ 6 h 10"/>
                    <a:gd name="T16" fmla="*/ 28 w 34"/>
                    <a:gd name="T17" fmla="*/ 8 h 10"/>
                    <a:gd name="T18" fmla="*/ 26 w 34"/>
                    <a:gd name="T19" fmla="*/ 10 h 10"/>
                    <a:gd name="T20" fmla="*/ 34 w 34"/>
                    <a:gd name="T21" fmla="*/ 8 h 10"/>
                    <a:gd name="T22" fmla="*/ 31 w 34"/>
                    <a:gd name="T23" fmla="*/ 1 h 10"/>
                    <a:gd name="T24" fmla="*/ 30 w 34"/>
                    <a:gd name="T25" fmla="*/ 3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4" h="10">
                      <a:moveTo>
                        <a:pt x="30" y="3"/>
                      </a:moveTo>
                      <a:cubicBezTo>
                        <a:pt x="26" y="1"/>
                        <a:pt x="21" y="0"/>
                        <a:pt x="16" y="1"/>
                      </a:cubicBezTo>
                      <a:cubicBezTo>
                        <a:pt x="12" y="1"/>
                        <a:pt x="8" y="2"/>
                        <a:pt x="5" y="3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8" y="10"/>
                        <a:pt x="8" y="10"/>
                        <a:pt x="8" y="10"/>
                      </a:cubicBezTo>
                      <a:cubicBezTo>
                        <a:pt x="7" y="8"/>
                        <a:pt x="7" y="8"/>
                        <a:pt x="7" y="8"/>
                      </a:cubicBezTo>
                      <a:cubicBezTo>
                        <a:pt x="10" y="7"/>
                        <a:pt x="13" y="6"/>
                        <a:pt x="16" y="6"/>
                      </a:cubicBezTo>
                      <a:cubicBezTo>
                        <a:pt x="20" y="5"/>
                        <a:pt x="24" y="6"/>
                        <a:pt x="28" y="8"/>
                      </a:cubicBezTo>
                      <a:cubicBezTo>
                        <a:pt x="26" y="10"/>
                        <a:pt x="26" y="10"/>
                        <a:pt x="26" y="10"/>
                      </a:cubicBezTo>
                      <a:cubicBezTo>
                        <a:pt x="34" y="8"/>
                        <a:pt x="34" y="8"/>
                        <a:pt x="34" y="8"/>
                      </a:cubicBezTo>
                      <a:cubicBezTo>
                        <a:pt x="31" y="1"/>
                        <a:pt x="31" y="1"/>
                        <a:pt x="31" y="1"/>
                      </a:cubicBezTo>
                      <a:lnTo>
                        <a:pt x="30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79" name="Freeform 501">
                  <a:extLst>
                    <a:ext uri="{FF2B5EF4-FFF2-40B4-BE49-F238E27FC236}">
                      <a16:creationId xmlns:a16="http://schemas.microsoft.com/office/drawing/2014/main" id="{58CAA6AF-CD79-6DA8-CA25-D184F965F4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24851" y="2538413"/>
                  <a:ext cx="33338" cy="44450"/>
                </a:xfrm>
                <a:custGeom>
                  <a:avLst/>
                  <a:gdLst>
                    <a:gd name="T0" fmla="*/ 7 w 24"/>
                    <a:gd name="T1" fmla="*/ 6 h 33"/>
                    <a:gd name="T2" fmla="*/ 10 w 24"/>
                    <a:gd name="T3" fmla="*/ 6 h 33"/>
                    <a:gd name="T4" fmla="*/ 4 w 24"/>
                    <a:gd name="T5" fmla="*/ 0 h 33"/>
                    <a:gd name="T6" fmla="*/ 0 w 24"/>
                    <a:gd name="T7" fmla="*/ 6 h 33"/>
                    <a:gd name="T8" fmla="*/ 2 w 24"/>
                    <a:gd name="T9" fmla="*/ 6 h 33"/>
                    <a:gd name="T10" fmla="*/ 17 w 24"/>
                    <a:gd name="T11" fmla="*/ 30 h 33"/>
                    <a:gd name="T12" fmla="*/ 16 w 24"/>
                    <a:gd name="T13" fmla="*/ 33 h 33"/>
                    <a:gd name="T14" fmla="*/ 24 w 24"/>
                    <a:gd name="T15" fmla="*/ 31 h 33"/>
                    <a:gd name="T16" fmla="*/ 21 w 24"/>
                    <a:gd name="T17" fmla="*/ 23 h 33"/>
                    <a:gd name="T18" fmla="*/ 20 w 24"/>
                    <a:gd name="T19" fmla="*/ 26 h 33"/>
                    <a:gd name="T20" fmla="*/ 7 w 24"/>
                    <a:gd name="T21" fmla="*/ 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4" h="33">
                      <a:moveTo>
                        <a:pt x="7" y="6"/>
                      </a:moveTo>
                      <a:cubicBezTo>
                        <a:pt x="10" y="6"/>
                        <a:pt x="10" y="6"/>
                        <a:pt x="10" y="6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2" y="6"/>
                        <a:pt x="2" y="6"/>
                        <a:pt x="2" y="6"/>
                      </a:cubicBezTo>
                      <a:cubicBezTo>
                        <a:pt x="3" y="16"/>
                        <a:pt x="9" y="25"/>
                        <a:pt x="17" y="30"/>
                      </a:cubicBezTo>
                      <a:cubicBezTo>
                        <a:pt x="16" y="33"/>
                        <a:pt x="16" y="33"/>
                        <a:pt x="16" y="33"/>
                      </a:cubicBezTo>
                      <a:cubicBezTo>
                        <a:pt x="24" y="31"/>
                        <a:pt x="24" y="31"/>
                        <a:pt x="24" y="31"/>
                      </a:cubicBezTo>
                      <a:cubicBezTo>
                        <a:pt x="21" y="23"/>
                        <a:pt x="21" y="23"/>
                        <a:pt x="21" y="23"/>
                      </a:cubicBezTo>
                      <a:cubicBezTo>
                        <a:pt x="20" y="26"/>
                        <a:pt x="20" y="26"/>
                        <a:pt x="20" y="26"/>
                      </a:cubicBezTo>
                      <a:cubicBezTo>
                        <a:pt x="13" y="22"/>
                        <a:pt x="8" y="14"/>
                        <a:pt x="7" y="6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80" name="Freeform 502">
                  <a:extLst>
                    <a:ext uri="{FF2B5EF4-FFF2-40B4-BE49-F238E27FC236}">
                      <a16:creationId xmlns:a16="http://schemas.microsoft.com/office/drawing/2014/main" id="{21D1514F-725A-31A9-A508-5ADCA99789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83588" y="2536826"/>
                  <a:ext cx="30163" cy="44450"/>
                </a:xfrm>
                <a:custGeom>
                  <a:avLst/>
                  <a:gdLst>
                    <a:gd name="T0" fmla="*/ 21 w 23"/>
                    <a:gd name="T1" fmla="*/ 3 h 33"/>
                    <a:gd name="T2" fmla="*/ 21 w 23"/>
                    <a:gd name="T3" fmla="*/ 3 h 33"/>
                    <a:gd name="T4" fmla="*/ 21 w 23"/>
                    <a:gd name="T5" fmla="*/ 3 h 33"/>
                    <a:gd name="T6" fmla="*/ 18 w 23"/>
                    <a:gd name="T7" fmla="*/ 0 h 33"/>
                    <a:gd name="T8" fmla="*/ 13 w 23"/>
                    <a:gd name="T9" fmla="*/ 6 h 33"/>
                    <a:gd name="T10" fmla="*/ 16 w 23"/>
                    <a:gd name="T11" fmla="*/ 6 h 33"/>
                    <a:gd name="T12" fmla="*/ 4 w 23"/>
                    <a:gd name="T13" fmla="*/ 26 h 33"/>
                    <a:gd name="T14" fmla="*/ 2 w 23"/>
                    <a:gd name="T15" fmla="*/ 24 h 33"/>
                    <a:gd name="T16" fmla="*/ 0 w 23"/>
                    <a:gd name="T17" fmla="*/ 32 h 33"/>
                    <a:gd name="T18" fmla="*/ 8 w 23"/>
                    <a:gd name="T19" fmla="*/ 33 h 33"/>
                    <a:gd name="T20" fmla="*/ 6 w 23"/>
                    <a:gd name="T21" fmla="*/ 31 h 33"/>
                    <a:gd name="T22" fmla="*/ 21 w 23"/>
                    <a:gd name="T23" fmla="*/ 6 h 33"/>
                    <a:gd name="T24" fmla="*/ 23 w 23"/>
                    <a:gd name="T25" fmla="*/ 6 h 33"/>
                    <a:gd name="T26" fmla="*/ 21 w 23"/>
                    <a:gd name="T27" fmla="*/ 3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3" h="33">
                      <a:moveTo>
                        <a:pt x="21" y="3"/>
                      </a:moveTo>
                      <a:cubicBezTo>
                        <a:pt x="21" y="3"/>
                        <a:pt x="21" y="3"/>
                        <a:pt x="21" y="3"/>
                      </a:cubicBezTo>
                      <a:cubicBezTo>
                        <a:pt x="21" y="3"/>
                        <a:pt x="21" y="3"/>
                        <a:pt x="21" y="3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13" y="6"/>
                        <a:pt x="13" y="6"/>
                        <a:pt x="13" y="6"/>
                      </a:cubicBezTo>
                      <a:cubicBezTo>
                        <a:pt x="16" y="6"/>
                        <a:pt x="16" y="6"/>
                        <a:pt x="16" y="6"/>
                      </a:cubicBezTo>
                      <a:cubicBezTo>
                        <a:pt x="15" y="15"/>
                        <a:pt x="10" y="22"/>
                        <a:pt x="4" y="26"/>
                      </a:cubicBezTo>
                      <a:cubicBezTo>
                        <a:pt x="2" y="24"/>
                        <a:pt x="2" y="24"/>
                        <a:pt x="2" y="24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8" y="33"/>
                        <a:pt x="8" y="33"/>
                        <a:pt x="8" y="33"/>
                      </a:cubicBezTo>
                      <a:cubicBezTo>
                        <a:pt x="6" y="31"/>
                        <a:pt x="6" y="31"/>
                        <a:pt x="6" y="31"/>
                      </a:cubicBezTo>
                      <a:cubicBezTo>
                        <a:pt x="15" y="26"/>
                        <a:pt x="20" y="16"/>
                        <a:pt x="21" y="6"/>
                      </a:cubicBezTo>
                      <a:cubicBezTo>
                        <a:pt x="23" y="6"/>
                        <a:pt x="23" y="6"/>
                        <a:pt x="23" y="6"/>
                      </a:cubicBezTo>
                      <a:lnTo>
                        <a:pt x="21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81" name="Oval 503">
                  <a:extLst>
                    <a:ext uri="{FF2B5EF4-FFF2-40B4-BE49-F238E27FC236}">
                      <a16:creationId xmlns:a16="http://schemas.microsoft.com/office/drawing/2014/main" id="{ECD122A2-6071-E459-C3D4-E291472D850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956301" y="2781301"/>
                  <a:ext cx="157163" cy="15557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82" name="Freeform 504">
                  <a:extLst>
                    <a:ext uri="{FF2B5EF4-FFF2-40B4-BE49-F238E27FC236}">
                      <a16:creationId xmlns:a16="http://schemas.microsoft.com/office/drawing/2014/main" id="{64C21361-8202-25A3-9A65-23200732BF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95988" y="2814638"/>
                  <a:ext cx="36513" cy="87313"/>
                </a:xfrm>
                <a:custGeom>
                  <a:avLst/>
                  <a:gdLst>
                    <a:gd name="T0" fmla="*/ 26 w 27"/>
                    <a:gd name="T1" fmla="*/ 62 h 64"/>
                    <a:gd name="T2" fmla="*/ 24 w 27"/>
                    <a:gd name="T3" fmla="*/ 63 h 64"/>
                    <a:gd name="T4" fmla="*/ 16 w 27"/>
                    <a:gd name="T5" fmla="*/ 59 h 64"/>
                    <a:gd name="T6" fmla="*/ 15 w 27"/>
                    <a:gd name="T7" fmla="*/ 60 h 64"/>
                    <a:gd name="T8" fmla="*/ 11 w 27"/>
                    <a:gd name="T9" fmla="*/ 59 h 64"/>
                    <a:gd name="T10" fmla="*/ 8 w 27"/>
                    <a:gd name="T11" fmla="*/ 55 h 64"/>
                    <a:gd name="T12" fmla="*/ 8 w 27"/>
                    <a:gd name="T13" fmla="*/ 50 h 64"/>
                    <a:gd name="T14" fmla="*/ 5 w 27"/>
                    <a:gd name="T15" fmla="*/ 51 h 64"/>
                    <a:gd name="T16" fmla="*/ 2 w 27"/>
                    <a:gd name="T17" fmla="*/ 47 h 64"/>
                    <a:gd name="T18" fmla="*/ 6 w 27"/>
                    <a:gd name="T19" fmla="*/ 42 h 64"/>
                    <a:gd name="T20" fmla="*/ 3 w 27"/>
                    <a:gd name="T21" fmla="*/ 43 h 64"/>
                    <a:gd name="T22" fmla="*/ 0 w 27"/>
                    <a:gd name="T23" fmla="*/ 32 h 64"/>
                    <a:gd name="T24" fmla="*/ 2 w 27"/>
                    <a:gd name="T25" fmla="*/ 29 h 64"/>
                    <a:gd name="T26" fmla="*/ 6 w 27"/>
                    <a:gd name="T27" fmla="*/ 31 h 64"/>
                    <a:gd name="T28" fmla="*/ 7 w 27"/>
                    <a:gd name="T29" fmla="*/ 34 h 64"/>
                    <a:gd name="T30" fmla="*/ 9 w 27"/>
                    <a:gd name="T31" fmla="*/ 34 h 64"/>
                    <a:gd name="T32" fmla="*/ 10 w 27"/>
                    <a:gd name="T33" fmla="*/ 32 h 64"/>
                    <a:gd name="T34" fmla="*/ 13 w 27"/>
                    <a:gd name="T35" fmla="*/ 31 h 64"/>
                    <a:gd name="T36" fmla="*/ 13 w 27"/>
                    <a:gd name="T37" fmla="*/ 28 h 64"/>
                    <a:gd name="T38" fmla="*/ 12 w 27"/>
                    <a:gd name="T39" fmla="*/ 28 h 64"/>
                    <a:gd name="T40" fmla="*/ 12 w 27"/>
                    <a:gd name="T41" fmla="*/ 30 h 64"/>
                    <a:gd name="T42" fmla="*/ 7 w 27"/>
                    <a:gd name="T43" fmla="*/ 29 h 64"/>
                    <a:gd name="T44" fmla="*/ 1 w 27"/>
                    <a:gd name="T45" fmla="*/ 27 h 64"/>
                    <a:gd name="T46" fmla="*/ 5 w 27"/>
                    <a:gd name="T47" fmla="*/ 26 h 64"/>
                    <a:gd name="T48" fmla="*/ 5 w 27"/>
                    <a:gd name="T49" fmla="*/ 26 h 64"/>
                    <a:gd name="T50" fmla="*/ 2 w 27"/>
                    <a:gd name="T51" fmla="*/ 21 h 64"/>
                    <a:gd name="T52" fmla="*/ 7 w 27"/>
                    <a:gd name="T53" fmla="*/ 19 h 64"/>
                    <a:gd name="T54" fmla="*/ 12 w 27"/>
                    <a:gd name="T55" fmla="*/ 22 h 64"/>
                    <a:gd name="T56" fmla="*/ 13 w 27"/>
                    <a:gd name="T57" fmla="*/ 22 h 64"/>
                    <a:gd name="T58" fmla="*/ 15 w 27"/>
                    <a:gd name="T59" fmla="*/ 22 h 64"/>
                    <a:gd name="T60" fmla="*/ 14 w 27"/>
                    <a:gd name="T61" fmla="*/ 20 h 64"/>
                    <a:gd name="T62" fmla="*/ 12 w 27"/>
                    <a:gd name="T63" fmla="*/ 17 h 64"/>
                    <a:gd name="T64" fmla="*/ 7 w 27"/>
                    <a:gd name="T65" fmla="*/ 18 h 64"/>
                    <a:gd name="T66" fmla="*/ 5 w 27"/>
                    <a:gd name="T67" fmla="*/ 14 h 64"/>
                    <a:gd name="T68" fmla="*/ 8 w 27"/>
                    <a:gd name="T69" fmla="*/ 11 h 64"/>
                    <a:gd name="T70" fmla="*/ 12 w 27"/>
                    <a:gd name="T71" fmla="*/ 8 h 64"/>
                    <a:gd name="T72" fmla="*/ 14 w 27"/>
                    <a:gd name="T73" fmla="*/ 4 h 64"/>
                    <a:gd name="T74" fmla="*/ 19 w 27"/>
                    <a:gd name="T75" fmla="*/ 3 h 64"/>
                    <a:gd name="T76" fmla="*/ 23 w 27"/>
                    <a:gd name="T77" fmla="*/ 0 h 64"/>
                    <a:gd name="T78" fmla="*/ 27 w 27"/>
                    <a:gd name="T79" fmla="*/ 4 h 64"/>
                    <a:gd name="T80" fmla="*/ 26 w 27"/>
                    <a:gd name="T81" fmla="*/ 14 h 64"/>
                    <a:gd name="T82" fmla="*/ 25 w 27"/>
                    <a:gd name="T83" fmla="*/ 21 h 64"/>
                    <a:gd name="T84" fmla="*/ 23 w 27"/>
                    <a:gd name="T85" fmla="*/ 20 h 64"/>
                    <a:gd name="T86" fmla="*/ 25 w 27"/>
                    <a:gd name="T87" fmla="*/ 26 h 64"/>
                    <a:gd name="T88" fmla="*/ 27 w 27"/>
                    <a:gd name="T89" fmla="*/ 34 h 64"/>
                    <a:gd name="T90" fmla="*/ 20 w 27"/>
                    <a:gd name="T91" fmla="*/ 40 h 64"/>
                    <a:gd name="T92" fmla="*/ 20 w 27"/>
                    <a:gd name="T93" fmla="*/ 41 h 64"/>
                    <a:gd name="T94" fmla="*/ 24 w 27"/>
                    <a:gd name="T95" fmla="*/ 39 h 64"/>
                    <a:gd name="T96" fmla="*/ 27 w 27"/>
                    <a:gd name="T97" fmla="*/ 44 h 64"/>
                    <a:gd name="T98" fmla="*/ 25 w 27"/>
                    <a:gd name="T99" fmla="*/ 47 h 64"/>
                    <a:gd name="T100" fmla="*/ 22 w 27"/>
                    <a:gd name="T101" fmla="*/ 46 h 64"/>
                    <a:gd name="T102" fmla="*/ 23 w 27"/>
                    <a:gd name="T103" fmla="*/ 47 h 64"/>
                    <a:gd name="T104" fmla="*/ 27 w 27"/>
                    <a:gd name="T105" fmla="*/ 53 h 64"/>
                    <a:gd name="T106" fmla="*/ 27 w 27"/>
                    <a:gd name="T107" fmla="*/ 59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7" h="64">
                      <a:moveTo>
                        <a:pt x="26" y="62"/>
                      </a:moveTo>
                      <a:cubicBezTo>
                        <a:pt x="26" y="62"/>
                        <a:pt x="26" y="62"/>
                        <a:pt x="26" y="62"/>
                      </a:cubicBezTo>
                      <a:cubicBezTo>
                        <a:pt x="26" y="62"/>
                        <a:pt x="26" y="63"/>
                        <a:pt x="24" y="61"/>
                      </a:cubicBezTo>
                      <a:cubicBezTo>
                        <a:pt x="24" y="62"/>
                        <a:pt x="24" y="62"/>
                        <a:pt x="24" y="63"/>
                      </a:cubicBezTo>
                      <a:cubicBezTo>
                        <a:pt x="23" y="63"/>
                        <a:pt x="22" y="64"/>
                        <a:pt x="21" y="64"/>
                      </a:cubicBezTo>
                      <a:cubicBezTo>
                        <a:pt x="19" y="63"/>
                        <a:pt x="16" y="61"/>
                        <a:pt x="16" y="59"/>
                      </a:cubicBezTo>
                      <a:cubicBezTo>
                        <a:pt x="16" y="59"/>
                        <a:pt x="16" y="59"/>
                        <a:pt x="16" y="59"/>
                      </a:cubicBezTo>
                      <a:cubicBezTo>
                        <a:pt x="16" y="59"/>
                        <a:pt x="15" y="59"/>
                        <a:pt x="15" y="60"/>
                      </a:cubicBezTo>
                      <a:cubicBezTo>
                        <a:pt x="14" y="61"/>
                        <a:pt x="13" y="61"/>
                        <a:pt x="12" y="60"/>
                      </a:cubicBezTo>
                      <a:cubicBezTo>
                        <a:pt x="12" y="59"/>
                        <a:pt x="12" y="59"/>
                        <a:pt x="11" y="59"/>
                      </a:cubicBezTo>
                      <a:cubicBezTo>
                        <a:pt x="10" y="58"/>
                        <a:pt x="9" y="56"/>
                        <a:pt x="10" y="54"/>
                      </a:cubicBezTo>
                      <a:cubicBezTo>
                        <a:pt x="9" y="54"/>
                        <a:pt x="8" y="55"/>
                        <a:pt x="8" y="55"/>
                      </a:cubicBezTo>
                      <a:cubicBezTo>
                        <a:pt x="7" y="55"/>
                        <a:pt x="7" y="54"/>
                        <a:pt x="7" y="54"/>
                      </a:cubicBezTo>
                      <a:cubicBezTo>
                        <a:pt x="6" y="53"/>
                        <a:pt x="7" y="52"/>
                        <a:pt x="8" y="50"/>
                      </a:cubicBezTo>
                      <a:cubicBezTo>
                        <a:pt x="7" y="51"/>
                        <a:pt x="6" y="52"/>
                        <a:pt x="5" y="52"/>
                      </a:cubicBezTo>
                      <a:cubicBezTo>
                        <a:pt x="5" y="52"/>
                        <a:pt x="5" y="51"/>
                        <a:pt x="5" y="51"/>
                      </a:cubicBezTo>
                      <a:cubicBezTo>
                        <a:pt x="4" y="50"/>
                        <a:pt x="5" y="48"/>
                        <a:pt x="6" y="47"/>
                      </a:cubicBezTo>
                      <a:cubicBezTo>
                        <a:pt x="4" y="48"/>
                        <a:pt x="3" y="48"/>
                        <a:pt x="2" y="47"/>
                      </a:cubicBezTo>
                      <a:cubicBezTo>
                        <a:pt x="2" y="45"/>
                        <a:pt x="2" y="44"/>
                        <a:pt x="4" y="43"/>
                      </a:cubicBezTo>
                      <a:cubicBezTo>
                        <a:pt x="4" y="43"/>
                        <a:pt x="5" y="42"/>
                        <a:pt x="6" y="42"/>
                      </a:cubicBezTo>
                      <a:cubicBezTo>
                        <a:pt x="5" y="42"/>
                        <a:pt x="4" y="42"/>
                        <a:pt x="4" y="43"/>
                      </a:cubicBezTo>
                      <a:cubicBezTo>
                        <a:pt x="4" y="43"/>
                        <a:pt x="4" y="43"/>
                        <a:pt x="3" y="43"/>
                      </a:cubicBezTo>
                      <a:cubicBezTo>
                        <a:pt x="2" y="43"/>
                        <a:pt x="1" y="41"/>
                        <a:pt x="0" y="39"/>
                      </a:cubicBezTo>
                      <a:cubicBezTo>
                        <a:pt x="0" y="37"/>
                        <a:pt x="0" y="35"/>
                        <a:pt x="0" y="32"/>
                      </a:cubicBezTo>
                      <a:cubicBezTo>
                        <a:pt x="0" y="32"/>
                        <a:pt x="0" y="31"/>
                        <a:pt x="0" y="31"/>
                      </a:cubicBezTo>
                      <a:cubicBezTo>
                        <a:pt x="0" y="30"/>
                        <a:pt x="1" y="29"/>
                        <a:pt x="2" y="29"/>
                      </a:cubicBezTo>
                      <a:cubicBezTo>
                        <a:pt x="3" y="29"/>
                        <a:pt x="3" y="29"/>
                        <a:pt x="3" y="29"/>
                      </a:cubicBezTo>
                      <a:cubicBezTo>
                        <a:pt x="5" y="30"/>
                        <a:pt x="6" y="30"/>
                        <a:pt x="6" y="31"/>
                      </a:cubicBezTo>
                      <a:cubicBezTo>
                        <a:pt x="6" y="31"/>
                        <a:pt x="6" y="31"/>
                        <a:pt x="5" y="32"/>
                      </a:cubicBezTo>
                      <a:cubicBezTo>
                        <a:pt x="6" y="32"/>
                        <a:pt x="7" y="33"/>
                        <a:pt x="7" y="34"/>
                      </a:cubicBezTo>
                      <a:cubicBezTo>
                        <a:pt x="7" y="34"/>
                        <a:pt x="7" y="34"/>
                        <a:pt x="7" y="34"/>
                      </a:cubicBezTo>
                      <a:cubicBezTo>
                        <a:pt x="8" y="34"/>
                        <a:pt x="8" y="34"/>
                        <a:pt x="9" y="34"/>
                      </a:cubicBezTo>
                      <a:cubicBezTo>
                        <a:pt x="10" y="34"/>
                        <a:pt x="10" y="34"/>
                        <a:pt x="11" y="34"/>
                      </a:cubicBezTo>
                      <a:cubicBezTo>
                        <a:pt x="10" y="34"/>
                        <a:pt x="10" y="33"/>
                        <a:pt x="10" y="32"/>
                      </a:cubicBezTo>
                      <a:cubicBezTo>
                        <a:pt x="10" y="32"/>
                        <a:pt x="11" y="32"/>
                        <a:pt x="12" y="32"/>
                      </a:cubicBezTo>
                      <a:cubicBezTo>
                        <a:pt x="13" y="32"/>
                        <a:pt x="13" y="31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3" y="30"/>
                        <a:pt x="12" y="29"/>
                        <a:pt x="13" y="28"/>
                      </a:cubicBezTo>
                      <a:cubicBezTo>
                        <a:pt x="12" y="28"/>
                        <a:pt x="12" y="28"/>
                        <a:pt x="12" y="28"/>
                      </a:cubicBezTo>
                      <a:cubicBezTo>
                        <a:pt x="12" y="28"/>
                        <a:pt x="12" y="28"/>
                        <a:pt x="12" y="28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2" y="31"/>
                        <a:pt x="11" y="31"/>
                        <a:pt x="10" y="31"/>
                      </a:cubicBezTo>
                      <a:cubicBezTo>
                        <a:pt x="9" y="31"/>
                        <a:pt x="7" y="30"/>
                        <a:pt x="7" y="29"/>
                      </a:cubicBezTo>
                      <a:cubicBezTo>
                        <a:pt x="6" y="29"/>
                        <a:pt x="5" y="28"/>
                        <a:pt x="3" y="28"/>
                      </a:cubicBezTo>
                      <a:cubicBezTo>
                        <a:pt x="2" y="28"/>
                        <a:pt x="1" y="28"/>
                        <a:pt x="1" y="27"/>
                      </a:cubicBezTo>
                      <a:cubicBezTo>
                        <a:pt x="0" y="27"/>
                        <a:pt x="0" y="27"/>
                        <a:pt x="0" y="27"/>
                      </a:cubicBezTo>
                      <a:cubicBezTo>
                        <a:pt x="1" y="25"/>
                        <a:pt x="3" y="26"/>
                        <a:pt x="5" y="26"/>
                      </a:cubicBezTo>
                      <a:cubicBezTo>
                        <a:pt x="5" y="26"/>
                        <a:pt x="5" y="26"/>
                        <a:pt x="5" y="26"/>
                      </a:cubicBezTo>
                      <a:cubicBezTo>
                        <a:pt x="5" y="26"/>
                        <a:pt x="5" y="26"/>
                        <a:pt x="5" y="26"/>
                      </a:cubicBezTo>
                      <a:cubicBezTo>
                        <a:pt x="4" y="26"/>
                        <a:pt x="2" y="24"/>
                        <a:pt x="2" y="23"/>
                      </a:cubicBezTo>
                      <a:cubicBezTo>
                        <a:pt x="2" y="22"/>
                        <a:pt x="2" y="21"/>
                        <a:pt x="2" y="21"/>
                      </a:cubicBezTo>
                      <a:cubicBezTo>
                        <a:pt x="2" y="20"/>
                        <a:pt x="4" y="19"/>
                        <a:pt x="5" y="19"/>
                      </a:cubicBezTo>
                      <a:cubicBezTo>
                        <a:pt x="6" y="19"/>
                        <a:pt x="6" y="19"/>
                        <a:pt x="7" y="19"/>
                      </a:cubicBez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10" y="20"/>
                        <a:pt x="12" y="21"/>
                        <a:pt x="12" y="22"/>
                      </a:cubicBezTo>
                      <a:cubicBezTo>
                        <a:pt x="12" y="22"/>
                        <a:pt x="12" y="23"/>
                        <a:pt x="13" y="23"/>
                      </a:cubicBezTo>
                      <a:cubicBezTo>
                        <a:pt x="12" y="23"/>
                        <a:pt x="12" y="22"/>
                        <a:pt x="13" y="22"/>
                      </a:cubicBezTo>
                      <a:cubicBezTo>
                        <a:pt x="13" y="21"/>
                        <a:pt x="14" y="21"/>
                        <a:pt x="15" y="21"/>
                      </a:cubicBezTo>
                      <a:cubicBezTo>
                        <a:pt x="15" y="21"/>
                        <a:pt x="15" y="22"/>
                        <a:pt x="15" y="22"/>
                      </a:cubicBezTo>
                      <a:cubicBezTo>
                        <a:pt x="15" y="21"/>
                        <a:pt x="16" y="20"/>
                        <a:pt x="16" y="20"/>
                      </a:cubicBezTo>
                      <a:cubicBezTo>
                        <a:pt x="15" y="20"/>
                        <a:pt x="14" y="20"/>
                        <a:pt x="14" y="20"/>
                      </a:cubicBezTo>
                      <a:cubicBezTo>
                        <a:pt x="13" y="20"/>
                        <a:pt x="12" y="18"/>
                        <a:pt x="12" y="17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18"/>
                        <a:pt x="10" y="19"/>
                        <a:pt x="9" y="19"/>
                      </a:cubicBezTo>
                      <a:cubicBezTo>
                        <a:pt x="8" y="19"/>
                        <a:pt x="8" y="19"/>
                        <a:pt x="7" y="18"/>
                      </a:cubicBezTo>
                      <a:cubicBezTo>
                        <a:pt x="6" y="18"/>
                        <a:pt x="5" y="17"/>
                        <a:pt x="4" y="16"/>
                      </a:cubicBezTo>
                      <a:cubicBezTo>
                        <a:pt x="4" y="16"/>
                        <a:pt x="4" y="15"/>
                        <a:pt x="5" y="14"/>
                      </a:cubicBezTo>
                      <a:cubicBezTo>
                        <a:pt x="5" y="13"/>
                        <a:pt x="7" y="12"/>
                        <a:pt x="8" y="12"/>
                      </a:cubicBezTo>
                      <a:cubicBezTo>
                        <a:pt x="8" y="12"/>
                        <a:pt x="8" y="12"/>
                        <a:pt x="8" y="11"/>
                      </a:cubicBezTo>
                      <a:cubicBezTo>
                        <a:pt x="8" y="11"/>
                        <a:pt x="8" y="10"/>
                        <a:pt x="9" y="9"/>
                      </a:cubicBezTo>
                      <a:cubicBezTo>
                        <a:pt x="9" y="8"/>
                        <a:pt x="11" y="8"/>
                        <a:pt x="12" y="8"/>
                      </a:cubicBezTo>
                      <a:cubicBezTo>
                        <a:pt x="12" y="8"/>
                        <a:pt x="12" y="7"/>
                        <a:pt x="12" y="7"/>
                      </a:cubicBezTo>
                      <a:cubicBezTo>
                        <a:pt x="12" y="6"/>
                        <a:pt x="13" y="5"/>
                        <a:pt x="14" y="4"/>
                      </a:cubicBezTo>
                      <a:cubicBezTo>
                        <a:pt x="15" y="3"/>
                        <a:pt x="18" y="3"/>
                        <a:pt x="19" y="4"/>
                      </a:cubicBezTo>
                      <a:cubicBezTo>
                        <a:pt x="19" y="3"/>
                        <a:pt x="19" y="3"/>
                        <a:pt x="19" y="3"/>
                      </a:cubicBezTo>
                      <a:cubicBezTo>
                        <a:pt x="19" y="2"/>
                        <a:pt x="20" y="1"/>
                        <a:pt x="22" y="0"/>
                      </a:cubicBezTo>
                      <a:cubicBezTo>
                        <a:pt x="22" y="0"/>
                        <a:pt x="23" y="0"/>
                        <a:pt x="23" y="0"/>
                      </a:cubicBezTo>
                      <a:cubicBezTo>
                        <a:pt x="23" y="0"/>
                        <a:pt x="23" y="0"/>
                        <a:pt x="24" y="0"/>
                      </a:cubicBezTo>
                      <a:cubicBezTo>
                        <a:pt x="26" y="0"/>
                        <a:pt x="27" y="2"/>
                        <a:pt x="27" y="4"/>
                      </a:cubicBezTo>
                      <a:cubicBezTo>
                        <a:pt x="27" y="10"/>
                        <a:pt x="27" y="10"/>
                        <a:pt x="27" y="10"/>
                      </a:cubicBezTo>
                      <a:cubicBezTo>
                        <a:pt x="27" y="12"/>
                        <a:pt x="27" y="14"/>
                        <a:pt x="26" y="14"/>
                      </a:cubicBezTo>
                      <a:cubicBezTo>
                        <a:pt x="27" y="15"/>
                        <a:pt x="27" y="17"/>
                        <a:pt x="27" y="18"/>
                      </a:cubicBezTo>
                      <a:cubicBezTo>
                        <a:pt x="27" y="20"/>
                        <a:pt x="26" y="21"/>
                        <a:pt x="25" y="21"/>
                      </a:cubicBezTo>
                      <a:cubicBezTo>
                        <a:pt x="25" y="21"/>
                        <a:pt x="24" y="21"/>
                        <a:pt x="23" y="20"/>
                      </a:cubicBezTo>
                      <a:cubicBezTo>
                        <a:pt x="23" y="20"/>
                        <a:pt x="23" y="20"/>
                        <a:pt x="23" y="20"/>
                      </a:cubicBezTo>
                      <a:cubicBezTo>
                        <a:pt x="24" y="21"/>
                        <a:pt x="24" y="23"/>
                        <a:pt x="25" y="24"/>
                      </a:cubicBezTo>
                      <a:cubicBezTo>
                        <a:pt x="25" y="25"/>
                        <a:pt x="25" y="26"/>
                        <a:pt x="25" y="26"/>
                      </a:cubicBezTo>
                      <a:cubicBezTo>
                        <a:pt x="27" y="27"/>
                        <a:pt x="27" y="29"/>
                        <a:pt x="27" y="31"/>
                      </a:cubicBezTo>
                      <a:cubicBezTo>
                        <a:pt x="27" y="34"/>
                        <a:pt x="27" y="34"/>
                        <a:pt x="27" y="34"/>
                      </a:cubicBezTo>
                      <a:cubicBezTo>
                        <a:pt x="27" y="36"/>
                        <a:pt x="26" y="38"/>
                        <a:pt x="24" y="38"/>
                      </a:cubicBezTo>
                      <a:cubicBezTo>
                        <a:pt x="23" y="39"/>
                        <a:pt x="21" y="39"/>
                        <a:pt x="20" y="40"/>
                      </a:cubicBezTo>
                      <a:cubicBezTo>
                        <a:pt x="20" y="40"/>
                        <a:pt x="20" y="40"/>
                        <a:pt x="19" y="41"/>
                      </a:cubicBezTo>
                      <a:cubicBezTo>
                        <a:pt x="19" y="41"/>
                        <a:pt x="20" y="41"/>
                        <a:pt x="20" y="41"/>
                      </a:cubicBezTo>
                      <a:cubicBezTo>
                        <a:pt x="20" y="41"/>
                        <a:pt x="20" y="41"/>
                        <a:pt x="20" y="41"/>
                      </a:cubicBezTo>
                      <a:cubicBezTo>
                        <a:pt x="21" y="40"/>
                        <a:pt x="23" y="39"/>
                        <a:pt x="24" y="39"/>
                      </a:cubicBezTo>
                      <a:cubicBezTo>
                        <a:pt x="26" y="39"/>
                        <a:pt x="27" y="41"/>
                        <a:pt x="27" y="43"/>
                      </a:cubicBezTo>
                      <a:cubicBezTo>
                        <a:pt x="27" y="44"/>
                        <a:pt x="27" y="44"/>
                        <a:pt x="27" y="44"/>
                      </a:cubicBezTo>
                      <a:cubicBezTo>
                        <a:pt x="27" y="45"/>
                        <a:pt x="27" y="48"/>
                        <a:pt x="26" y="48"/>
                      </a:cubicBezTo>
                      <a:cubicBezTo>
                        <a:pt x="25" y="48"/>
                        <a:pt x="25" y="48"/>
                        <a:pt x="25" y="47"/>
                      </a:cubicBezTo>
                      <a:cubicBezTo>
                        <a:pt x="24" y="47"/>
                        <a:pt x="24" y="47"/>
                        <a:pt x="24" y="47"/>
                      </a:cubicBezTo>
                      <a:cubicBezTo>
                        <a:pt x="22" y="46"/>
                        <a:pt x="22" y="46"/>
                        <a:pt x="22" y="46"/>
                      </a:cubicBezTo>
                      <a:cubicBezTo>
                        <a:pt x="20" y="45"/>
                        <a:pt x="20" y="46"/>
                        <a:pt x="20" y="47"/>
                      </a:cubicBezTo>
                      <a:cubicBezTo>
                        <a:pt x="20" y="46"/>
                        <a:pt x="22" y="46"/>
                        <a:pt x="23" y="47"/>
                      </a:cubicBezTo>
                      <a:cubicBezTo>
                        <a:pt x="24" y="47"/>
                        <a:pt x="25" y="48"/>
                        <a:pt x="26" y="49"/>
                      </a:cubicBezTo>
                      <a:cubicBezTo>
                        <a:pt x="27" y="49"/>
                        <a:pt x="27" y="51"/>
                        <a:pt x="27" y="53"/>
                      </a:cubicBezTo>
                      <a:cubicBezTo>
                        <a:pt x="27" y="54"/>
                        <a:pt x="27" y="56"/>
                        <a:pt x="26" y="56"/>
                      </a:cubicBezTo>
                      <a:cubicBezTo>
                        <a:pt x="27" y="57"/>
                        <a:pt x="27" y="57"/>
                        <a:pt x="27" y="59"/>
                      </a:cubicBezTo>
                      <a:cubicBezTo>
                        <a:pt x="27" y="63"/>
                        <a:pt x="27" y="62"/>
                        <a:pt x="26" y="6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83" name="Freeform 505">
                  <a:extLst>
                    <a:ext uri="{FF2B5EF4-FFF2-40B4-BE49-F238E27FC236}">
                      <a16:creationId xmlns:a16="http://schemas.microsoft.com/office/drawing/2014/main" id="{78F4DEDD-372C-622D-4C4A-5935B11538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37263" y="2814638"/>
                  <a:ext cx="36513" cy="87313"/>
                </a:xfrm>
                <a:custGeom>
                  <a:avLst/>
                  <a:gdLst>
                    <a:gd name="T0" fmla="*/ 0 w 27"/>
                    <a:gd name="T1" fmla="*/ 62 h 64"/>
                    <a:gd name="T2" fmla="*/ 1 w 27"/>
                    <a:gd name="T3" fmla="*/ 56 h 64"/>
                    <a:gd name="T4" fmla="*/ 1 w 27"/>
                    <a:gd name="T5" fmla="*/ 48 h 64"/>
                    <a:gd name="T6" fmla="*/ 8 w 27"/>
                    <a:gd name="T7" fmla="*/ 47 h 64"/>
                    <a:gd name="T8" fmla="*/ 2 w 27"/>
                    <a:gd name="T9" fmla="*/ 47 h 64"/>
                    <a:gd name="T10" fmla="*/ 1 w 27"/>
                    <a:gd name="T11" fmla="*/ 46 h 64"/>
                    <a:gd name="T12" fmla="*/ 1 w 27"/>
                    <a:gd name="T13" fmla="*/ 43 h 64"/>
                    <a:gd name="T14" fmla="*/ 7 w 27"/>
                    <a:gd name="T15" fmla="*/ 41 h 64"/>
                    <a:gd name="T16" fmla="*/ 8 w 27"/>
                    <a:gd name="T17" fmla="*/ 41 h 64"/>
                    <a:gd name="T18" fmla="*/ 4 w 27"/>
                    <a:gd name="T19" fmla="*/ 38 h 64"/>
                    <a:gd name="T20" fmla="*/ 1 w 27"/>
                    <a:gd name="T21" fmla="*/ 31 h 64"/>
                    <a:gd name="T22" fmla="*/ 3 w 27"/>
                    <a:gd name="T23" fmla="*/ 24 h 64"/>
                    <a:gd name="T24" fmla="*/ 4 w 27"/>
                    <a:gd name="T25" fmla="*/ 20 h 64"/>
                    <a:gd name="T26" fmla="*/ 0 w 27"/>
                    <a:gd name="T27" fmla="*/ 18 h 64"/>
                    <a:gd name="T28" fmla="*/ 1 w 27"/>
                    <a:gd name="T29" fmla="*/ 10 h 64"/>
                    <a:gd name="T30" fmla="*/ 4 w 27"/>
                    <a:gd name="T31" fmla="*/ 0 h 64"/>
                    <a:gd name="T32" fmla="*/ 6 w 27"/>
                    <a:gd name="T33" fmla="*/ 0 h 64"/>
                    <a:gd name="T34" fmla="*/ 8 w 27"/>
                    <a:gd name="T35" fmla="*/ 4 h 64"/>
                    <a:gd name="T36" fmla="*/ 15 w 27"/>
                    <a:gd name="T37" fmla="*/ 7 h 64"/>
                    <a:gd name="T38" fmla="*/ 19 w 27"/>
                    <a:gd name="T39" fmla="*/ 9 h 64"/>
                    <a:gd name="T40" fmla="*/ 19 w 27"/>
                    <a:gd name="T41" fmla="*/ 12 h 64"/>
                    <a:gd name="T42" fmla="*/ 23 w 27"/>
                    <a:gd name="T43" fmla="*/ 16 h 64"/>
                    <a:gd name="T44" fmla="*/ 18 w 27"/>
                    <a:gd name="T45" fmla="*/ 19 h 64"/>
                    <a:gd name="T46" fmla="*/ 15 w 27"/>
                    <a:gd name="T47" fmla="*/ 17 h 64"/>
                    <a:gd name="T48" fmla="*/ 11 w 27"/>
                    <a:gd name="T49" fmla="*/ 20 h 64"/>
                    <a:gd name="T50" fmla="*/ 12 w 27"/>
                    <a:gd name="T51" fmla="*/ 21 h 64"/>
                    <a:gd name="T52" fmla="*/ 14 w 27"/>
                    <a:gd name="T53" fmla="*/ 23 h 64"/>
                    <a:gd name="T54" fmla="*/ 19 w 27"/>
                    <a:gd name="T55" fmla="*/ 19 h 64"/>
                    <a:gd name="T56" fmla="*/ 22 w 27"/>
                    <a:gd name="T57" fmla="*/ 19 h 64"/>
                    <a:gd name="T58" fmla="*/ 25 w 27"/>
                    <a:gd name="T59" fmla="*/ 23 h 64"/>
                    <a:gd name="T60" fmla="*/ 22 w 27"/>
                    <a:gd name="T61" fmla="*/ 26 h 64"/>
                    <a:gd name="T62" fmla="*/ 27 w 27"/>
                    <a:gd name="T63" fmla="*/ 27 h 64"/>
                    <a:gd name="T64" fmla="*/ 24 w 27"/>
                    <a:gd name="T65" fmla="*/ 28 h 64"/>
                    <a:gd name="T66" fmla="*/ 17 w 27"/>
                    <a:gd name="T67" fmla="*/ 31 h 64"/>
                    <a:gd name="T68" fmla="*/ 16 w 27"/>
                    <a:gd name="T69" fmla="*/ 29 h 64"/>
                    <a:gd name="T70" fmla="*/ 15 w 27"/>
                    <a:gd name="T71" fmla="*/ 28 h 64"/>
                    <a:gd name="T72" fmla="*/ 14 w 27"/>
                    <a:gd name="T73" fmla="*/ 31 h 64"/>
                    <a:gd name="T74" fmla="*/ 15 w 27"/>
                    <a:gd name="T75" fmla="*/ 32 h 64"/>
                    <a:gd name="T76" fmla="*/ 16 w 27"/>
                    <a:gd name="T77" fmla="*/ 34 h 64"/>
                    <a:gd name="T78" fmla="*/ 20 w 27"/>
                    <a:gd name="T79" fmla="*/ 34 h 64"/>
                    <a:gd name="T80" fmla="*/ 22 w 27"/>
                    <a:gd name="T81" fmla="*/ 32 h 64"/>
                    <a:gd name="T82" fmla="*/ 24 w 27"/>
                    <a:gd name="T83" fmla="*/ 29 h 64"/>
                    <a:gd name="T84" fmla="*/ 27 w 27"/>
                    <a:gd name="T85" fmla="*/ 31 h 64"/>
                    <a:gd name="T86" fmla="*/ 27 w 27"/>
                    <a:gd name="T87" fmla="*/ 39 h 64"/>
                    <a:gd name="T88" fmla="*/ 23 w 27"/>
                    <a:gd name="T89" fmla="*/ 43 h 64"/>
                    <a:gd name="T90" fmla="*/ 24 w 27"/>
                    <a:gd name="T91" fmla="*/ 43 h 64"/>
                    <a:gd name="T92" fmla="*/ 21 w 27"/>
                    <a:gd name="T93" fmla="*/ 47 h 64"/>
                    <a:gd name="T94" fmla="*/ 22 w 27"/>
                    <a:gd name="T95" fmla="*/ 52 h 64"/>
                    <a:gd name="T96" fmla="*/ 21 w 27"/>
                    <a:gd name="T97" fmla="*/ 54 h 64"/>
                    <a:gd name="T98" fmla="*/ 17 w 27"/>
                    <a:gd name="T99" fmla="*/ 54 h 64"/>
                    <a:gd name="T100" fmla="*/ 15 w 27"/>
                    <a:gd name="T101" fmla="*/ 60 h 64"/>
                    <a:gd name="T102" fmla="*/ 11 w 27"/>
                    <a:gd name="T103" fmla="*/ 59 h 64"/>
                    <a:gd name="T104" fmla="*/ 6 w 27"/>
                    <a:gd name="T105" fmla="*/ 64 h 64"/>
                    <a:gd name="T106" fmla="*/ 3 w 27"/>
                    <a:gd name="T107" fmla="*/ 61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7" h="64">
                      <a:moveTo>
                        <a:pt x="1" y="62"/>
                      </a:moveTo>
                      <a:cubicBezTo>
                        <a:pt x="0" y="62"/>
                        <a:pt x="0" y="63"/>
                        <a:pt x="0" y="62"/>
                      </a:cubicBezTo>
                      <a:cubicBezTo>
                        <a:pt x="0" y="61"/>
                        <a:pt x="0" y="61"/>
                        <a:pt x="0" y="60"/>
                      </a:cubicBezTo>
                      <a:cubicBezTo>
                        <a:pt x="0" y="58"/>
                        <a:pt x="0" y="57"/>
                        <a:pt x="1" y="56"/>
                      </a:cubicBezTo>
                      <a:cubicBezTo>
                        <a:pt x="0" y="55"/>
                        <a:pt x="0" y="54"/>
                        <a:pt x="0" y="53"/>
                      </a:cubicBezTo>
                      <a:cubicBezTo>
                        <a:pt x="0" y="51"/>
                        <a:pt x="0" y="49"/>
                        <a:pt x="1" y="48"/>
                      </a:cubicBezTo>
                      <a:cubicBezTo>
                        <a:pt x="2" y="48"/>
                        <a:pt x="3" y="47"/>
                        <a:pt x="4" y="47"/>
                      </a:cubicBezTo>
                      <a:cubicBezTo>
                        <a:pt x="6" y="46"/>
                        <a:pt x="7" y="46"/>
                        <a:pt x="8" y="47"/>
                      </a:cubicBezTo>
                      <a:cubicBezTo>
                        <a:pt x="8" y="46"/>
                        <a:pt x="7" y="45"/>
                        <a:pt x="6" y="46"/>
                      </a:cubicBezTo>
                      <a:cubicBezTo>
                        <a:pt x="2" y="47"/>
                        <a:pt x="2" y="47"/>
                        <a:pt x="2" y="47"/>
                      </a:cubicBezTo>
                      <a:cubicBezTo>
                        <a:pt x="2" y="48"/>
                        <a:pt x="1" y="48"/>
                        <a:pt x="1" y="48"/>
                      </a:cubicBezTo>
                      <a:cubicBezTo>
                        <a:pt x="1" y="48"/>
                        <a:pt x="1" y="47"/>
                        <a:pt x="1" y="46"/>
                      </a:cubicBezTo>
                      <a:cubicBezTo>
                        <a:pt x="0" y="46"/>
                        <a:pt x="1" y="45"/>
                        <a:pt x="1" y="44"/>
                      </a:cubicBezTo>
                      <a:cubicBezTo>
                        <a:pt x="1" y="43"/>
                        <a:pt x="1" y="43"/>
                        <a:pt x="1" y="43"/>
                      </a:cubicBezTo>
                      <a:cubicBezTo>
                        <a:pt x="1" y="41"/>
                        <a:pt x="2" y="39"/>
                        <a:pt x="4" y="39"/>
                      </a:cubicBezTo>
                      <a:cubicBezTo>
                        <a:pt x="5" y="39"/>
                        <a:pt x="6" y="40"/>
                        <a:pt x="7" y="41"/>
                      </a:cubicBezTo>
                      <a:cubicBezTo>
                        <a:pt x="7" y="41"/>
                        <a:pt x="7" y="41"/>
                        <a:pt x="8" y="41"/>
                      </a:cubicBezTo>
                      <a:cubicBezTo>
                        <a:pt x="8" y="41"/>
                        <a:pt x="8" y="41"/>
                        <a:pt x="8" y="41"/>
                      </a:cubicBezTo>
                      <a:cubicBezTo>
                        <a:pt x="8" y="40"/>
                        <a:pt x="7" y="40"/>
                        <a:pt x="7" y="40"/>
                      </a:cubicBezTo>
                      <a:cubicBezTo>
                        <a:pt x="6" y="39"/>
                        <a:pt x="5" y="39"/>
                        <a:pt x="4" y="38"/>
                      </a:cubicBezTo>
                      <a:cubicBezTo>
                        <a:pt x="2" y="38"/>
                        <a:pt x="1" y="36"/>
                        <a:pt x="1" y="34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29"/>
                        <a:pt x="1" y="27"/>
                        <a:pt x="2" y="26"/>
                      </a:cubicBezTo>
                      <a:cubicBezTo>
                        <a:pt x="3" y="26"/>
                        <a:pt x="3" y="25"/>
                        <a:pt x="3" y="24"/>
                      </a:cubicBezTo>
                      <a:cubicBezTo>
                        <a:pt x="3" y="23"/>
                        <a:pt x="3" y="21"/>
                        <a:pt x="4" y="20"/>
                      </a:cubicBezTo>
                      <a:cubicBezTo>
                        <a:pt x="4" y="20"/>
                        <a:pt x="4" y="20"/>
                        <a:pt x="4" y="20"/>
                      </a:cubicBezTo>
                      <a:cubicBezTo>
                        <a:pt x="2" y="21"/>
                        <a:pt x="1" y="21"/>
                        <a:pt x="0" y="20"/>
                      </a:cubicBezTo>
                      <a:cubicBezTo>
                        <a:pt x="0" y="20"/>
                        <a:pt x="0" y="19"/>
                        <a:pt x="0" y="18"/>
                      </a:cubicBezTo>
                      <a:cubicBezTo>
                        <a:pt x="0" y="17"/>
                        <a:pt x="1" y="15"/>
                        <a:pt x="2" y="14"/>
                      </a:cubicBezTo>
                      <a:cubicBezTo>
                        <a:pt x="1" y="14"/>
                        <a:pt x="1" y="12"/>
                        <a:pt x="1" y="10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1" y="2"/>
                        <a:pt x="2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5" y="0"/>
                        <a:pt x="5" y="0"/>
                        <a:pt x="6" y="0"/>
                      </a:cubicBezTo>
                      <a:cubicBezTo>
                        <a:pt x="7" y="1"/>
                        <a:pt x="8" y="2"/>
                        <a:pt x="8" y="3"/>
                      </a:cubicBezTo>
                      <a:cubicBezTo>
                        <a:pt x="8" y="3"/>
                        <a:pt x="8" y="3"/>
                        <a:pt x="8" y="4"/>
                      </a:cubicBezTo>
                      <a:cubicBezTo>
                        <a:pt x="10" y="3"/>
                        <a:pt x="12" y="3"/>
                        <a:pt x="13" y="4"/>
                      </a:cubicBezTo>
                      <a:cubicBezTo>
                        <a:pt x="14" y="5"/>
                        <a:pt x="15" y="6"/>
                        <a:pt x="15" y="7"/>
                      </a:cubicBezTo>
                      <a:cubicBezTo>
                        <a:pt x="15" y="7"/>
                        <a:pt x="15" y="8"/>
                        <a:pt x="15" y="8"/>
                      </a:cubicBezTo>
                      <a:cubicBezTo>
                        <a:pt x="16" y="8"/>
                        <a:pt x="18" y="8"/>
                        <a:pt x="19" y="9"/>
                      </a:cubicBezTo>
                      <a:cubicBezTo>
                        <a:pt x="19" y="10"/>
                        <a:pt x="20" y="11"/>
                        <a:pt x="19" y="11"/>
                      </a:cubicBezTo>
                      <a:cubicBezTo>
                        <a:pt x="19" y="12"/>
                        <a:pt x="19" y="12"/>
                        <a:pt x="19" y="12"/>
                      </a:cubicBezTo>
                      <a:cubicBezTo>
                        <a:pt x="20" y="12"/>
                        <a:pt x="22" y="13"/>
                        <a:pt x="23" y="14"/>
                      </a:cubicBezTo>
                      <a:cubicBezTo>
                        <a:pt x="23" y="15"/>
                        <a:pt x="23" y="16"/>
                        <a:pt x="23" y="16"/>
                      </a:cubicBezTo>
                      <a:cubicBezTo>
                        <a:pt x="22" y="17"/>
                        <a:pt x="21" y="18"/>
                        <a:pt x="20" y="18"/>
                      </a:cubicBezTo>
                      <a:cubicBezTo>
                        <a:pt x="19" y="19"/>
                        <a:pt x="19" y="19"/>
                        <a:pt x="18" y="19"/>
                      </a:cubicBezTo>
                      <a:cubicBezTo>
                        <a:pt x="17" y="19"/>
                        <a:pt x="15" y="18"/>
                        <a:pt x="15" y="17"/>
                      </a:cubicBezTo>
                      <a:cubicBezTo>
                        <a:pt x="15" y="17"/>
                        <a:pt x="15" y="17"/>
                        <a:pt x="15" y="17"/>
                      </a:cubicBezTo>
                      <a:cubicBezTo>
                        <a:pt x="15" y="18"/>
                        <a:pt x="14" y="20"/>
                        <a:pt x="13" y="20"/>
                      </a:cubicBezTo>
                      <a:cubicBezTo>
                        <a:pt x="13" y="20"/>
                        <a:pt x="12" y="20"/>
                        <a:pt x="11" y="20"/>
                      </a:cubicBezTo>
                      <a:cubicBezTo>
                        <a:pt x="11" y="20"/>
                        <a:pt x="12" y="21"/>
                        <a:pt x="12" y="22"/>
                      </a:cubicBezTo>
                      <a:cubicBezTo>
                        <a:pt x="12" y="22"/>
                        <a:pt x="12" y="21"/>
                        <a:pt x="12" y="21"/>
                      </a:cubicBezTo>
                      <a:cubicBezTo>
                        <a:pt x="13" y="21"/>
                        <a:pt x="14" y="21"/>
                        <a:pt x="15" y="22"/>
                      </a:cubicBezTo>
                      <a:cubicBezTo>
                        <a:pt x="15" y="22"/>
                        <a:pt x="15" y="23"/>
                        <a:pt x="14" y="23"/>
                      </a:cubicBezTo>
                      <a:cubicBezTo>
                        <a:pt x="15" y="23"/>
                        <a:pt x="16" y="22"/>
                        <a:pt x="15" y="22"/>
                      </a:cubicBezTo>
                      <a:cubicBezTo>
                        <a:pt x="15" y="21"/>
                        <a:pt x="17" y="19"/>
                        <a:pt x="19" y="19"/>
                      </a:cubicBezTo>
                      <a:cubicBezTo>
                        <a:pt x="20" y="19"/>
                        <a:pt x="20" y="19"/>
                        <a:pt x="20" y="19"/>
                      </a:cubicBezTo>
                      <a:cubicBezTo>
                        <a:pt x="21" y="19"/>
                        <a:pt x="21" y="19"/>
                        <a:pt x="22" y="19"/>
                      </a:cubicBezTo>
                      <a:cubicBezTo>
                        <a:pt x="24" y="19"/>
                        <a:pt x="25" y="19"/>
                        <a:pt x="25" y="20"/>
                      </a:cubicBezTo>
                      <a:cubicBezTo>
                        <a:pt x="26" y="21"/>
                        <a:pt x="25" y="22"/>
                        <a:pt x="25" y="23"/>
                      </a:cubicBezTo>
                      <a:cubicBezTo>
                        <a:pt x="25" y="24"/>
                        <a:pt x="24" y="26"/>
                        <a:pt x="22" y="26"/>
                      </a:cubicBezTo>
                      <a:cubicBezTo>
                        <a:pt x="22" y="26"/>
                        <a:pt x="22" y="26"/>
                        <a:pt x="22" y="26"/>
                      </a:cubicBezTo>
                      <a:cubicBezTo>
                        <a:pt x="22" y="26"/>
                        <a:pt x="22" y="26"/>
                        <a:pt x="22" y="26"/>
                      </a:cubicBezTo>
                      <a:cubicBezTo>
                        <a:pt x="24" y="26"/>
                        <a:pt x="27" y="25"/>
                        <a:pt x="27" y="27"/>
                      </a:cubicBezTo>
                      <a:cubicBezTo>
                        <a:pt x="27" y="27"/>
                        <a:pt x="27" y="27"/>
                        <a:pt x="27" y="27"/>
                      </a:cubicBezTo>
                      <a:cubicBezTo>
                        <a:pt x="26" y="28"/>
                        <a:pt x="25" y="28"/>
                        <a:pt x="24" y="28"/>
                      </a:cubicBezTo>
                      <a:cubicBezTo>
                        <a:pt x="22" y="29"/>
                        <a:pt x="21" y="29"/>
                        <a:pt x="20" y="30"/>
                      </a:cubicBezTo>
                      <a:cubicBezTo>
                        <a:pt x="20" y="30"/>
                        <a:pt x="18" y="31"/>
                        <a:pt x="17" y="31"/>
                      </a:cubicBezTo>
                      <a:cubicBezTo>
                        <a:pt x="16" y="31"/>
                        <a:pt x="16" y="31"/>
                        <a:pt x="15" y="30"/>
                      </a:cubicBezTo>
                      <a:cubicBezTo>
                        <a:pt x="15" y="30"/>
                        <a:pt x="15" y="30"/>
                        <a:pt x="16" y="29"/>
                      </a:cubicBezTo>
                      <a:cubicBezTo>
                        <a:pt x="16" y="29"/>
                        <a:pt x="16" y="29"/>
                        <a:pt x="16" y="28"/>
                      </a:cubicBezTo>
                      <a:cubicBezTo>
                        <a:pt x="15" y="28"/>
                        <a:pt x="15" y="28"/>
                        <a:pt x="15" y="28"/>
                      </a:cubicBezTo>
                      <a:cubicBezTo>
                        <a:pt x="15" y="28"/>
                        <a:pt x="15" y="28"/>
                        <a:pt x="15" y="28"/>
                      </a:cubicBezTo>
                      <a:cubicBezTo>
                        <a:pt x="15" y="29"/>
                        <a:pt x="15" y="30"/>
                        <a:pt x="14" y="31"/>
                      </a:cubicBezTo>
                      <a:cubicBezTo>
                        <a:pt x="14" y="31"/>
                        <a:pt x="14" y="31"/>
                        <a:pt x="14" y="31"/>
                      </a:cubicBezTo>
                      <a:cubicBezTo>
                        <a:pt x="14" y="31"/>
                        <a:pt x="14" y="32"/>
                        <a:pt x="15" y="32"/>
                      </a:cubicBezTo>
                      <a:cubicBezTo>
                        <a:pt x="17" y="32"/>
                        <a:pt x="17" y="32"/>
                        <a:pt x="17" y="32"/>
                      </a:cubicBezTo>
                      <a:cubicBezTo>
                        <a:pt x="17" y="33"/>
                        <a:pt x="17" y="34"/>
                        <a:pt x="16" y="34"/>
                      </a:cubicBezTo>
                      <a:cubicBezTo>
                        <a:pt x="17" y="34"/>
                        <a:pt x="18" y="34"/>
                        <a:pt x="18" y="34"/>
                      </a:cubicBezTo>
                      <a:cubicBezTo>
                        <a:pt x="19" y="34"/>
                        <a:pt x="19" y="34"/>
                        <a:pt x="20" y="34"/>
                      </a:cubicBezTo>
                      <a:cubicBezTo>
                        <a:pt x="20" y="34"/>
                        <a:pt x="20" y="34"/>
                        <a:pt x="20" y="34"/>
                      </a:cubicBezTo>
                      <a:cubicBezTo>
                        <a:pt x="20" y="33"/>
                        <a:pt x="21" y="32"/>
                        <a:pt x="22" y="32"/>
                      </a:cubicBezTo>
                      <a:cubicBezTo>
                        <a:pt x="22" y="31"/>
                        <a:pt x="22" y="31"/>
                        <a:pt x="22" y="31"/>
                      </a:cubicBezTo>
                      <a:cubicBezTo>
                        <a:pt x="22" y="30"/>
                        <a:pt x="22" y="30"/>
                        <a:pt x="24" y="29"/>
                      </a:cubicBezTo>
                      <a:cubicBezTo>
                        <a:pt x="24" y="29"/>
                        <a:pt x="25" y="29"/>
                        <a:pt x="25" y="29"/>
                      </a:cubicBezTo>
                      <a:cubicBezTo>
                        <a:pt x="26" y="29"/>
                        <a:pt x="27" y="30"/>
                        <a:pt x="27" y="31"/>
                      </a:cubicBezTo>
                      <a:cubicBezTo>
                        <a:pt x="27" y="31"/>
                        <a:pt x="27" y="32"/>
                        <a:pt x="27" y="32"/>
                      </a:cubicBezTo>
                      <a:cubicBezTo>
                        <a:pt x="27" y="35"/>
                        <a:pt x="27" y="37"/>
                        <a:pt x="27" y="39"/>
                      </a:cubicBezTo>
                      <a:cubicBezTo>
                        <a:pt x="27" y="41"/>
                        <a:pt x="25" y="43"/>
                        <a:pt x="24" y="43"/>
                      </a:cubicBezTo>
                      <a:cubicBezTo>
                        <a:pt x="24" y="43"/>
                        <a:pt x="23" y="43"/>
                        <a:pt x="23" y="43"/>
                      </a:cubicBezTo>
                      <a:cubicBezTo>
                        <a:pt x="23" y="42"/>
                        <a:pt x="22" y="42"/>
                        <a:pt x="21" y="42"/>
                      </a:cubicBezTo>
                      <a:cubicBezTo>
                        <a:pt x="22" y="42"/>
                        <a:pt x="23" y="43"/>
                        <a:pt x="24" y="43"/>
                      </a:cubicBezTo>
                      <a:cubicBezTo>
                        <a:pt x="25" y="44"/>
                        <a:pt x="25" y="45"/>
                        <a:pt x="25" y="47"/>
                      </a:cubicBezTo>
                      <a:cubicBezTo>
                        <a:pt x="24" y="48"/>
                        <a:pt x="23" y="48"/>
                        <a:pt x="21" y="47"/>
                      </a:cubicBezTo>
                      <a:cubicBezTo>
                        <a:pt x="22" y="48"/>
                        <a:pt x="23" y="50"/>
                        <a:pt x="23" y="51"/>
                      </a:cubicBezTo>
                      <a:cubicBezTo>
                        <a:pt x="22" y="51"/>
                        <a:pt x="22" y="52"/>
                        <a:pt x="22" y="52"/>
                      </a:cubicBezTo>
                      <a:cubicBezTo>
                        <a:pt x="21" y="52"/>
                        <a:pt x="20" y="51"/>
                        <a:pt x="20" y="50"/>
                      </a:cubicBezTo>
                      <a:cubicBezTo>
                        <a:pt x="20" y="52"/>
                        <a:pt x="21" y="53"/>
                        <a:pt x="21" y="54"/>
                      </a:cubicBezTo>
                      <a:cubicBezTo>
                        <a:pt x="20" y="54"/>
                        <a:pt x="20" y="55"/>
                        <a:pt x="20" y="55"/>
                      </a:cubicBezTo>
                      <a:cubicBezTo>
                        <a:pt x="19" y="55"/>
                        <a:pt x="18" y="54"/>
                        <a:pt x="17" y="54"/>
                      </a:cubicBezTo>
                      <a:cubicBezTo>
                        <a:pt x="18" y="56"/>
                        <a:pt x="17" y="58"/>
                        <a:pt x="16" y="59"/>
                      </a:cubicBezTo>
                      <a:cubicBezTo>
                        <a:pt x="16" y="59"/>
                        <a:pt x="15" y="59"/>
                        <a:pt x="15" y="60"/>
                      </a:cubicBezTo>
                      <a:cubicBezTo>
                        <a:pt x="14" y="61"/>
                        <a:pt x="13" y="61"/>
                        <a:pt x="12" y="60"/>
                      </a:cubicBezTo>
                      <a:cubicBezTo>
                        <a:pt x="12" y="59"/>
                        <a:pt x="11" y="59"/>
                        <a:pt x="11" y="59"/>
                      </a:cubicBezTo>
                      <a:cubicBezTo>
                        <a:pt x="11" y="59"/>
                        <a:pt x="11" y="59"/>
                        <a:pt x="11" y="59"/>
                      </a:cubicBezTo>
                      <a:cubicBezTo>
                        <a:pt x="11" y="61"/>
                        <a:pt x="9" y="63"/>
                        <a:pt x="6" y="64"/>
                      </a:cubicBezTo>
                      <a:cubicBezTo>
                        <a:pt x="5" y="64"/>
                        <a:pt x="4" y="64"/>
                        <a:pt x="3" y="63"/>
                      </a:cubicBezTo>
                      <a:cubicBezTo>
                        <a:pt x="3" y="63"/>
                        <a:pt x="3" y="62"/>
                        <a:pt x="3" y="61"/>
                      </a:cubicBezTo>
                      <a:cubicBezTo>
                        <a:pt x="1" y="63"/>
                        <a:pt x="1" y="62"/>
                        <a:pt x="1" y="6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84" name="Freeform 506">
                  <a:extLst>
                    <a:ext uri="{FF2B5EF4-FFF2-40B4-BE49-F238E27FC236}">
                      <a16:creationId xmlns:a16="http://schemas.microsoft.com/office/drawing/2014/main" id="{2CBA31EE-9E12-18E9-6B11-04F8E03D09A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991226" y="2808288"/>
                  <a:ext cx="88900" cy="101600"/>
                </a:xfrm>
                <a:custGeom>
                  <a:avLst/>
                  <a:gdLst>
                    <a:gd name="T0" fmla="*/ 33 w 65"/>
                    <a:gd name="T1" fmla="*/ 74 h 74"/>
                    <a:gd name="T2" fmla="*/ 0 w 65"/>
                    <a:gd name="T3" fmla="*/ 37 h 74"/>
                    <a:gd name="T4" fmla="*/ 33 w 65"/>
                    <a:gd name="T5" fmla="*/ 0 h 74"/>
                    <a:gd name="T6" fmla="*/ 65 w 65"/>
                    <a:gd name="T7" fmla="*/ 37 h 74"/>
                    <a:gd name="T8" fmla="*/ 33 w 65"/>
                    <a:gd name="T9" fmla="*/ 74 h 74"/>
                    <a:gd name="T10" fmla="*/ 33 w 65"/>
                    <a:gd name="T11" fmla="*/ 2 h 74"/>
                    <a:gd name="T12" fmla="*/ 1 w 65"/>
                    <a:gd name="T13" fmla="*/ 37 h 74"/>
                    <a:gd name="T14" fmla="*/ 33 w 65"/>
                    <a:gd name="T15" fmla="*/ 73 h 74"/>
                    <a:gd name="T16" fmla="*/ 64 w 65"/>
                    <a:gd name="T17" fmla="*/ 37 h 74"/>
                    <a:gd name="T18" fmla="*/ 33 w 65"/>
                    <a:gd name="T19" fmla="*/ 2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5" h="74">
                      <a:moveTo>
                        <a:pt x="33" y="74"/>
                      </a:moveTo>
                      <a:cubicBezTo>
                        <a:pt x="14" y="74"/>
                        <a:pt x="0" y="59"/>
                        <a:pt x="0" y="37"/>
                      </a:cubicBezTo>
                      <a:cubicBezTo>
                        <a:pt x="0" y="17"/>
                        <a:pt x="15" y="0"/>
                        <a:pt x="33" y="0"/>
                      </a:cubicBezTo>
                      <a:cubicBezTo>
                        <a:pt x="50" y="0"/>
                        <a:pt x="65" y="17"/>
                        <a:pt x="65" y="37"/>
                      </a:cubicBezTo>
                      <a:cubicBezTo>
                        <a:pt x="65" y="59"/>
                        <a:pt x="52" y="74"/>
                        <a:pt x="33" y="74"/>
                      </a:cubicBezTo>
                      <a:close/>
                      <a:moveTo>
                        <a:pt x="33" y="2"/>
                      </a:moveTo>
                      <a:cubicBezTo>
                        <a:pt x="16" y="2"/>
                        <a:pt x="1" y="18"/>
                        <a:pt x="1" y="37"/>
                      </a:cubicBezTo>
                      <a:cubicBezTo>
                        <a:pt x="1" y="58"/>
                        <a:pt x="14" y="73"/>
                        <a:pt x="33" y="73"/>
                      </a:cubicBezTo>
                      <a:cubicBezTo>
                        <a:pt x="51" y="73"/>
                        <a:pt x="64" y="58"/>
                        <a:pt x="64" y="37"/>
                      </a:cubicBezTo>
                      <a:cubicBezTo>
                        <a:pt x="64" y="18"/>
                        <a:pt x="49" y="2"/>
                        <a:pt x="33" y="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85" name="Freeform 507">
                  <a:extLst>
                    <a:ext uri="{FF2B5EF4-FFF2-40B4-BE49-F238E27FC236}">
                      <a16:creationId xmlns:a16="http://schemas.microsoft.com/office/drawing/2014/main" id="{2EEEAA54-C73D-A89F-07F3-9C9CE9AFF0E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995988" y="2814638"/>
                  <a:ext cx="36513" cy="87313"/>
                </a:xfrm>
                <a:custGeom>
                  <a:avLst/>
                  <a:gdLst>
                    <a:gd name="T0" fmla="*/ 21 w 27"/>
                    <a:gd name="T1" fmla="*/ 64 h 64"/>
                    <a:gd name="T2" fmla="*/ 11 w 27"/>
                    <a:gd name="T3" fmla="*/ 59 h 64"/>
                    <a:gd name="T4" fmla="*/ 5 w 27"/>
                    <a:gd name="T5" fmla="*/ 52 h 64"/>
                    <a:gd name="T6" fmla="*/ 6 w 27"/>
                    <a:gd name="T7" fmla="*/ 42 h 64"/>
                    <a:gd name="T8" fmla="*/ 0 w 27"/>
                    <a:gd name="T9" fmla="*/ 31 h 64"/>
                    <a:gd name="T10" fmla="*/ 7 w 27"/>
                    <a:gd name="T11" fmla="*/ 34 h 64"/>
                    <a:gd name="T12" fmla="*/ 12 w 27"/>
                    <a:gd name="T13" fmla="*/ 32 h 64"/>
                    <a:gd name="T14" fmla="*/ 12 w 27"/>
                    <a:gd name="T15" fmla="*/ 28 h 64"/>
                    <a:gd name="T16" fmla="*/ 3 w 27"/>
                    <a:gd name="T17" fmla="*/ 28 h 64"/>
                    <a:gd name="T18" fmla="*/ 5 w 27"/>
                    <a:gd name="T19" fmla="*/ 26 h 64"/>
                    <a:gd name="T20" fmla="*/ 8 w 27"/>
                    <a:gd name="T21" fmla="*/ 19 h 64"/>
                    <a:gd name="T22" fmla="*/ 15 w 27"/>
                    <a:gd name="T23" fmla="*/ 22 h 64"/>
                    <a:gd name="T24" fmla="*/ 9 w 27"/>
                    <a:gd name="T25" fmla="*/ 19 h 64"/>
                    <a:gd name="T26" fmla="*/ 8 w 27"/>
                    <a:gd name="T27" fmla="*/ 11 h 64"/>
                    <a:gd name="T28" fmla="*/ 19 w 27"/>
                    <a:gd name="T29" fmla="*/ 4 h 64"/>
                    <a:gd name="T30" fmla="*/ 27 w 27"/>
                    <a:gd name="T31" fmla="*/ 4 h 64"/>
                    <a:gd name="T32" fmla="*/ 23 w 27"/>
                    <a:gd name="T33" fmla="*/ 20 h 64"/>
                    <a:gd name="T34" fmla="*/ 27 w 27"/>
                    <a:gd name="T35" fmla="*/ 34 h 64"/>
                    <a:gd name="T36" fmla="*/ 20 w 27"/>
                    <a:gd name="T37" fmla="*/ 41 h 64"/>
                    <a:gd name="T38" fmla="*/ 25 w 27"/>
                    <a:gd name="T39" fmla="*/ 47 h 64"/>
                    <a:gd name="T40" fmla="*/ 26 w 27"/>
                    <a:gd name="T41" fmla="*/ 49 h 64"/>
                    <a:gd name="T42" fmla="*/ 23 w 27"/>
                    <a:gd name="T43" fmla="*/ 61 h 64"/>
                    <a:gd name="T44" fmla="*/ 24 w 27"/>
                    <a:gd name="T45" fmla="*/ 56 h 64"/>
                    <a:gd name="T46" fmla="*/ 20 w 27"/>
                    <a:gd name="T47" fmla="*/ 49 h 64"/>
                    <a:gd name="T48" fmla="*/ 21 w 27"/>
                    <a:gd name="T49" fmla="*/ 45 h 64"/>
                    <a:gd name="T50" fmla="*/ 25 w 27"/>
                    <a:gd name="T51" fmla="*/ 40 h 64"/>
                    <a:gd name="T52" fmla="*/ 24 w 27"/>
                    <a:gd name="T53" fmla="*/ 37 h 64"/>
                    <a:gd name="T54" fmla="*/ 22 w 27"/>
                    <a:gd name="T55" fmla="*/ 20 h 64"/>
                    <a:gd name="T56" fmla="*/ 26 w 27"/>
                    <a:gd name="T57" fmla="*/ 18 h 64"/>
                    <a:gd name="T58" fmla="*/ 27 w 27"/>
                    <a:gd name="T59" fmla="*/ 4 h 64"/>
                    <a:gd name="T60" fmla="*/ 21 w 27"/>
                    <a:gd name="T61" fmla="*/ 5 h 64"/>
                    <a:gd name="T62" fmla="*/ 13 w 27"/>
                    <a:gd name="T63" fmla="*/ 7 h 64"/>
                    <a:gd name="T64" fmla="*/ 13 w 27"/>
                    <a:gd name="T65" fmla="*/ 10 h 64"/>
                    <a:gd name="T66" fmla="*/ 9 w 27"/>
                    <a:gd name="T67" fmla="*/ 13 h 64"/>
                    <a:gd name="T68" fmla="*/ 13 w 27"/>
                    <a:gd name="T69" fmla="*/ 16 h 64"/>
                    <a:gd name="T70" fmla="*/ 17 w 27"/>
                    <a:gd name="T71" fmla="*/ 18 h 64"/>
                    <a:gd name="T72" fmla="*/ 14 w 27"/>
                    <a:gd name="T73" fmla="*/ 22 h 64"/>
                    <a:gd name="T74" fmla="*/ 11 w 27"/>
                    <a:gd name="T75" fmla="*/ 22 h 64"/>
                    <a:gd name="T76" fmla="*/ 5 w 27"/>
                    <a:gd name="T77" fmla="*/ 23 h 64"/>
                    <a:gd name="T78" fmla="*/ 1 w 27"/>
                    <a:gd name="T79" fmla="*/ 26 h 64"/>
                    <a:gd name="T80" fmla="*/ 11 w 27"/>
                    <a:gd name="T81" fmla="*/ 30 h 64"/>
                    <a:gd name="T82" fmla="*/ 14 w 27"/>
                    <a:gd name="T83" fmla="*/ 28 h 64"/>
                    <a:gd name="T84" fmla="*/ 12 w 27"/>
                    <a:gd name="T85" fmla="*/ 34 h 64"/>
                    <a:gd name="T86" fmla="*/ 11 w 27"/>
                    <a:gd name="T87" fmla="*/ 36 h 64"/>
                    <a:gd name="T88" fmla="*/ 4 w 27"/>
                    <a:gd name="T89" fmla="*/ 33 h 64"/>
                    <a:gd name="T90" fmla="*/ 1 w 27"/>
                    <a:gd name="T91" fmla="*/ 31 h 64"/>
                    <a:gd name="T92" fmla="*/ 9 w 27"/>
                    <a:gd name="T93" fmla="*/ 42 h 64"/>
                    <a:gd name="T94" fmla="*/ 7 w 27"/>
                    <a:gd name="T95" fmla="*/ 46 h 64"/>
                    <a:gd name="T96" fmla="*/ 8 w 27"/>
                    <a:gd name="T97" fmla="*/ 49 h 64"/>
                    <a:gd name="T98" fmla="*/ 10 w 27"/>
                    <a:gd name="T99" fmla="*/ 49 h 64"/>
                    <a:gd name="T100" fmla="*/ 12 w 27"/>
                    <a:gd name="T101" fmla="*/ 54 h 64"/>
                    <a:gd name="T102" fmla="*/ 14 w 27"/>
                    <a:gd name="T103" fmla="*/ 59 h 64"/>
                    <a:gd name="T104" fmla="*/ 17 w 27"/>
                    <a:gd name="T105" fmla="*/ 58 h 64"/>
                    <a:gd name="T106" fmla="*/ 23 w 27"/>
                    <a:gd name="T107" fmla="*/ 61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7" h="64">
                      <a:moveTo>
                        <a:pt x="26" y="62"/>
                      </a:moveTo>
                      <a:cubicBezTo>
                        <a:pt x="26" y="62"/>
                        <a:pt x="26" y="62"/>
                        <a:pt x="26" y="62"/>
                      </a:cubicBezTo>
                      <a:cubicBezTo>
                        <a:pt x="26" y="62"/>
                        <a:pt x="26" y="63"/>
                        <a:pt x="24" y="61"/>
                      </a:cubicBezTo>
                      <a:cubicBezTo>
                        <a:pt x="24" y="62"/>
                        <a:pt x="24" y="62"/>
                        <a:pt x="24" y="63"/>
                      </a:cubicBezTo>
                      <a:cubicBezTo>
                        <a:pt x="23" y="63"/>
                        <a:pt x="22" y="64"/>
                        <a:pt x="21" y="64"/>
                      </a:cubicBezTo>
                      <a:cubicBezTo>
                        <a:pt x="19" y="63"/>
                        <a:pt x="16" y="61"/>
                        <a:pt x="16" y="59"/>
                      </a:cubicBezTo>
                      <a:cubicBezTo>
                        <a:pt x="16" y="59"/>
                        <a:pt x="16" y="59"/>
                        <a:pt x="16" y="59"/>
                      </a:cubicBezTo>
                      <a:cubicBezTo>
                        <a:pt x="16" y="59"/>
                        <a:pt x="15" y="59"/>
                        <a:pt x="15" y="60"/>
                      </a:cubicBezTo>
                      <a:cubicBezTo>
                        <a:pt x="14" y="61"/>
                        <a:pt x="13" y="61"/>
                        <a:pt x="12" y="60"/>
                      </a:cubicBezTo>
                      <a:cubicBezTo>
                        <a:pt x="12" y="59"/>
                        <a:pt x="12" y="59"/>
                        <a:pt x="11" y="59"/>
                      </a:cubicBezTo>
                      <a:cubicBezTo>
                        <a:pt x="10" y="58"/>
                        <a:pt x="9" y="56"/>
                        <a:pt x="10" y="54"/>
                      </a:cubicBezTo>
                      <a:cubicBezTo>
                        <a:pt x="9" y="54"/>
                        <a:pt x="8" y="55"/>
                        <a:pt x="8" y="55"/>
                      </a:cubicBezTo>
                      <a:cubicBezTo>
                        <a:pt x="7" y="55"/>
                        <a:pt x="7" y="54"/>
                        <a:pt x="7" y="54"/>
                      </a:cubicBezTo>
                      <a:cubicBezTo>
                        <a:pt x="6" y="53"/>
                        <a:pt x="7" y="52"/>
                        <a:pt x="8" y="50"/>
                      </a:cubicBezTo>
                      <a:cubicBezTo>
                        <a:pt x="7" y="51"/>
                        <a:pt x="6" y="52"/>
                        <a:pt x="5" y="52"/>
                      </a:cubicBezTo>
                      <a:cubicBezTo>
                        <a:pt x="5" y="52"/>
                        <a:pt x="5" y="51"/>
                        <a:pt x="5" y="51"/>
                      </a:cubicBezTo>
                      <a:cubicBezTo>
                        <a:pt x="4" y="50"/>
                        <a:pt x="5" y="48"/>
                        <a:pt x="6" y="47"/>
                      </a:cubicBezTo>
                      <a:cubicBezTo>
                        <a:pt x="4" y="48"/>
                        <a:pt x="3" y="48"/>
                        <a:pt x="2" y="47"/>
                      </a:cubicBezTo>
                      <a:cubicBezTo>
                        <a:pt x="2" y="45"/>
                        <a:pt x="2" y="44"/>
                        <a:pt x="4" y="43"/>
                      </a:cubicBezTo>
                      <a:cubicBezTo>
                        <a:pt x="4" y="43"/>
                        <a:pt x="5" y="42"/>
                        <a:pt x="6" y="42"/>
                      </a:cubicBezTo>
                      <a:cubicBezTo>
                        <a:pt x="5" y="42"/>
                        <a:pt x="4" y="42"/>
                        <a:pt x="4" y="43"/>
                      </a:cubicBezTo>
                      <a:cubicBezTo>
                        <a:pt x="4" y="43"/>
                        <a:pt x="4" y="43"/>
                        <a:pt x="3" y="43"/>
                      </a:cubicBezTo>
                      <a:cubicBezTo>
                        <a:pt x="2" y="43"/>
                        <a:pt x="1" y="41"/>
                        <a:pt x="0" y="39"/>
                      </a:cubicBezTo>
                      <a:cubicBezTo>
                        <a:pt x="0" y="37"/>
                        <a:pt x="0" y="35"/>
                        <a:pt x="0" y="32"/>
                      </a:cubicBezTo>
                      <a:cubicBezTo>
                        <a:pt x="0" y="32"/>
                        <a:pt x="0" y="31"/>
                        <a:pt x="0" y="31"/>
                      </a:cubicBezTo>
                      <a:cubicBezTo>
                        <a:pt x="0" y="30"/>
                        <a:pt x="1" y="29"/>
                        <a:pt x="2" y="29"/>
                      </a:cubicBezTo>
                      <a:cubicBezTo>
                        <a:pt x="3" y="29"/>
                        <a:pt x="3" y="29"/>
                        <a:pt x="3" y="29"/>
                      </a:cubicBezTo>
                      <a:cubicBezTo>
                        <a:pt x="5" y="30"/>
                        <a:pt x="6" y="30"/>
                        <a:pt x="6" y="31"/>
                      </a:cubicBezTo>
                      <a:cubicBezTo>
                        <a:pt x="6" y="31"/>
                        <a:pt x="6" y="31"/>
                        <a:pt x="5" y="32"/>
                      </a:cubicBezTo>
                      <a:cubicBezTo>
                        <a:pt x="6" y="32"/>
                        <a:pt x="7" y="33"/>
                        <a:pt x="7" y="34"/>
                      </a:cubicBezTo>
                      <a:cubicBezTo>
                        <a:pt x="7" y="34"/>
                        <a:pt x="7" y="34"/>
                        <a:pt x="7" y="34"/>
                      </a:cubicBezTo>
                      <a:cubicBezTo>
                        <a:pt x="8" y="34"/>
                        <a:pt x="8" y="34"/>
                        <a:pt x="9" y="34"/>
                      </a:cubicBezTo>
                      <a:cubicBezTo>
                        <a:pt x="10" y="34"/>
                        <a:pt x="10" y="34"/>
                        <a:pt x="11" y="34"/>
                      </a:cubicBezTo>
                      <a:cubicBezTo>
                        <a:pt x="10" y="34"/>
                        <a:pt x="10" y="33"/>
                        <a:pt x="10" y="32"/>
                      </a:cubicBezTo>
                      <a:cubicBezTo>
                        <a:pt x="10" y="32"/>
                        <a:pt x="11" y="32"/>
                        <a:pt x="12" y="32"/>
                      </a:cubicBezTo>
                      <a:cubicBezTo>
                        <a:pt x="13" y="32"/>
                        <a:pt x="13" y="31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3" y="30"/>
                        <a:pt x="12" y="29"/>
                        <a:pt x="13" y="28"/>
                      </a:cubicBezTo>
                      <a:cubicBezTo>
                        <a:pt x="12" y="28"/>
                        <a:pt x="12" y="28"/>
                        <a:pt x="12" y="28"/>
                      </a:cubicBezTo>
                      <a:cubicBezTo>
                        <a:pt x="12" y="28"/>
                        <a:pt x="12" y="28"/>
                        <a:pt x="12" y="28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2" y="31"/>
                        <a:pt x="11" y="31"/>
                        <a:pt x="10" y="31"/>
                      </a:cubicBezTo>
                      <a:cubicBezTo>
                        <a:pt x="9" y="31"/>
                        <a:pt x="7" y="30"/>
                        <a:pt x="7" y="29"/>
                      </a:cubicBezTo>
                      <a:cubicBezTo>
                        <a:pt x="6" y="29"/>
                        <a:pt x="5" y="28"/>
                        <a:pt x="3" y="28"/>
                      </a:cubicBezTo>
                      <a:cubicBezTo>
                        <a:pt x="2" y="28"/>
                        <a:pt x="1" y="28"/>
                        <a:pt x="1" y="27"/>
                      </a:cubicBezTo>
                      <a:cubicBezTo>
                        <a:pt x="0" y="27"/>
                        <a:pt x="0" y="27"/>
                        <a:pt x="0" y="27"/>
                      </a:cubicBezTo>
                      <a:cubicBezTo>
                        <a:pt x="1" y="25"/>
                        <a:pt x="3" y="26"/>
                        <a:pt x="5" y="26"/>
                      </a:cubicBezTo>
                      <a:cubicBezTo>
                        <a:pt x="5" y="26"/>
                        <a:pt x="5" y="26"/>
                        <a:pt x="5" y="26"/>
                      </a:cubicBezTo>
                      <a:cubicBezTo>
                        <a:pt x="5" y="26"/>
                        <a:pt x="5" y="26"/>
                        <a:pt x="5" y="26"/>
                      </a:cubicBezTo>
                      <a:cubicBezTo>
                        <a:pt x="4" y="26"/>
                        <a:pt x="2" y="24"/>
                        <a:pt x="2" y="23"/>
                      </a:cubicBezTo>
                      <a:cubicBezTo>
                        <a:pt x="2" y="22"/>
                        <a:pt x="2" y="21"/>
                        <a:pt x="2" y="21"/>
                      </a:cubicBezTo>
                      <a:cubicBezTo>
                        <a:pt x="2" y="20"/>
                        <a:pt x="4" y="19"/>
                        <a:pt x="5" y="19"/>
                      </a:cubicBezTo>
                      <a:cubicBezTo>
                        <a:pt x="6" y="19"/>
                        <a:pt x="6" y="19"/>
                        <a:pt x="7" y="19"/>
                      </a:cubicBez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10" y="20"/>
                        <a:pt x="12" y="21"/>
                        <a:pt x="12" y="22"/>
                      </a:cubicBezTo>
                      <a:cubicBezTo>
                        <a:pt x="12" y="22"/>
                        <a:pt x="12" y="23"/>
                        <a:pt x="13" y="23"/>
                      </a:cubicBezTo>
                      <a:cubicBezTo>
                        <a:pt x="12" y="23"/>
                        <a:pt x="12" y="22"/>
                        <a:pt x="13" y="22"/>
                      </a:cubicBezTo>
                      <a:cubicBezTo>
                        <a:pt x="13" y="21"/>
                        <a:pt x="14" y="21"/>
                        <a:pt x="15" y="21"/>
                      </a:cubicBezTo>
                      <a:cubicBezTo>
                        <a:pt x="15" y="21"/>
                        <a:pt x="15" y="22"/>
                        <a:pt x="15" y="22"/>
                      </a:cubicBezTo>
                      <a:cubicBezTo>
                        <a:pt x="15" y="21"/>
                        <a:pt x="16" y="20"/>
                        <a:pt x="16" y="20"/>
                      </a:cubicBezTo>
                      <a:cubicBezTo>
                        <a:pt x="15" y="20"/>
                        <a:pt x="14" y="20"/>
                        <a:pt x="14" y="20"/>
                      </a:cubicBezTo>
                      <a:cubicBezTo>
                        <a:pt x="13" y="20"/>
                        <a:pt x="12" y="18"/>
                        <a:pt x="12" y="17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18"/>
                        <a:pt x="10" y="19"/>
                        <a:pt x="9" y="19"/>
                      </a:cubicBezTo>
                      <a:cubicBezTo>
                        <a:pt x="8" y="19"/>
                        <a:pt x="8" y="19"/>
                        <a:pt x="7" y="18"/>
                      </a:cubicBezTo>
                      <a:cubicBezTo>
                        <a:pt x="6" y="18"/>
                        <a:pt x="5" y="17"/>
                        <a:pt x="4" y="16"/>
                      </a:cubicBezTo>
                      <a:cubicBezTo>
                        <a:pt x="4" y="16"/>
                        <a:pt x="4" y="15"/>
                        <a:pt x="5" y="14"/>
                      </a:cubicBezTo>
                      <a:cubicBezTo>
                        <a:pt x="5" y="13"/>
                        <a:pt x="7" y="12"/>
                        <a:pt x="8" y="12"/>
                      </a:cubicBezTo>
                      <a:cubicBezTo>
                        <a:pt x="8" y="12"/>
                        <a:pt x="8" y="12"/>
                        <a:pt x="8" y="11"/>
                      </a:cubicBezTo>
                      <a:cubicBezTo>
                        <a:pt x="8" y="11"/>
                        <a:pt x="8" y="10"/>
                        <a:pt x="9" y="9"/>
                      </a:cubicBezTo>
                      <a:cubicBezTo>
                        <a:pt x="9" y="8"/>
                        <a:pt x="11" y="8"/>
                        <a:pt x="12" y="8"/>
                      </a:cubicBezTo>
                      <a:cubicBezTo>
                        <a:pt x="12" y="8"/>
                        <a:pt x="12" y="7"/>
                        <a:pt x="12" y="7"/>
                      </a:cubicBezTo>
                      <a:cubicBezTo>
                        <a:pt x="12" y="6"/>
                        <a:pt x="13" y="5"/>
                        <a:pt x="14" y="4"/>
                      </a:cubicBezTo>
                      <a:cubicBezTo>
                        <a:pt x="15" y="3"/>
                        <a:pt x="18" y="3"/>
                        <a:pt x="19" y="4"/>
                      </a:cubicBezTo>
                      <a:cubicBezTo>
                        <a:pt x="19" y="3"/>
                        <a:pt x="19" y="3"/>
                        <a:pt x="19" y="3"/>
                      </a:cubicBezTo>
                      <a:cubicBezTo>
                        <a:pt x="19" y="2"/>
                        <a:pt x="20" y="1"/>
                        <a:pt x="22" y="0"/>
                      </a:cubicBezTo>
                      <a:cubicBezTo>
                        <a:pt x="22" y="0"/>
                        <a:pt x="23" y="0"/>
                        <a:pt x="23" y="0"/>
                      </a:cubicBezTo>
                      <a:cubicBezTo>
                        <a:pt x="23" y="0"/>
                        <a:pt x="23" y="0"/>
                        <a:pt x="24" y="0"/>
                      </a:cubicBezTo>
                      <a:cubicBezTo>
                        <a:pt x="26" y="0"/>
                        <a:pt x="27" y="2"/>
                        <a:pt x="27" y="4"/>
                      </a:cubicBezTo>
                      <a:cubicBezTo>
                        <a:pt x="27" y="10"/>
                        <a:pt x="27" y="10"/>
                        <a:pt x="27" y="10"/>
                      </a:cubicBezTo>
                      <a:cubicBezTo>
                        <a:pt x="27" y="12"/>
                        <a:pt x="27" y="14"/>
                        <a:pt x="26" y="14"/>
                      </a:cubicBezTo>
                      <a:cubicBezTo>
                        <a:pt x="27" y="15"/>
                        <a:pt x="27" y="17"/>
                        <a:pt x="27" y="18"/>
                      </a:cubicBezTo>
                      <a:cubicBezTo>
                        <a:pt x="27" y="20"/>
                        <a:pt x="26" y="21"/>
                        <a:pt x="25" y="21"/>
                      </a:cubicBezTo>
                      <a:cubicBezTo>
                        <a:pt x="25" y="21"/>
                        <a:pt x="24" y="21"/>
                        <a:pt x="23" y="20"/>
                      </a:cubicBezTo>
                      <a:cubicBezTo>
                        <a:pt x="23" y="20"/>
                        <a:pt x="23" y="20"/>
                        <a:pt x="23" y="20"/>
                      </a:cubicBezTo>
                      <a:cubicBezTo>
                        <a:pt x="24" y="21"/>
                        <a:pt x="24" y="23"/>
                        <a:pt x="25" y="24"/>
                      </a:cubicBezTo>
                      <a:cubicBezTo>
                        <a:pt x="25" y="25"/>
                        <a:pt x="25" y="26"/>
                        <a:pt x="25" y="26"/>
                      </a:cubicBezTo>
                      <a:cubicBezTo>
                        <a:pt x="27" y="27"/>
                        <a:pt x="27" y="29"/>
                        <a:pt x="27" y="31"/>
                      </a:cubicBezTo>
                      <a:cubicBezTo>
                        <a:pt x="27" y="34"/>
                        <a:pt x="27" y="34"/>
                        <a:pt x="27" y="34"/>
                      </a:cubicBezTo>
                      <a:cubicBezTo>
                        <a:pt x="27" y="36"/>
                        <a:pt x="26" y="38"/>
                        <a:pt x="24" y="38"/>
                      </a:cubicBezTo>
                      <a:cubicBezTo>
                        <a:pt x="23" y="39"/>
                        <a:pt x="21" y="39"/>
                        <a:pt x="20" y="40"/>
                      </a:cubicBezTo>
                      <a:cubicBezTo>
                        <a:pt x="20" y="40"/>
                        <a:pt x="20" y="40"/>
                        <a:pt x="19" y="41"/>
                      </a:cubicBezTo>
                      <a:cubicBezTo>
                        <a:pt x="19" y="41"/>
                        <a:pt x="20" y="41"/>
                        <a:pt x="20" y="41"/>
                      </a:cubicBezTo>
                      <a:cubicBezTo>
                        <a:pt x="20" y="41"/>
                        <a:pt x="20" y="41"/>
                        <a:pt x="20" y="41"/>
                      </a:cubicBezTo>
                      <a:cubicBezTo>
                        <a:pt x="21" y="40"/>
                        <a:pt x="23" y="39"/>
                        <a:pt x="24" y="39"/>
                      </a:cubicBezTo>
                      <a:cubicBezTo>
                        <a:pt x="26" y="39"/>
                        <a:pt x="27" y="41"/>
                        <a:pt x="27" y="43"/>
                      </a:cubicBezTo>
                      <a:cubicBezTo>
                        <a:pt x="27" y="44"/>
                        <a:pt x="27" y="44"/>
                        <a:pt x="27" y="44"/>
                      </a:cubicBezTo>
                      <a:cubicBezTo>
                        <a:pt x="27" y="45"/>
                        <a:pt x="27" y="48"/>
                        <a:pt x="26" y="48"/>
                      </a:cubicBezTo>
                      <a:cubicBezTo>
                        <a:pt x="25" y="48"/>
                        <a:pt x="25" y="48"/>
                        <a:pt x="25" y="47"/>
                      </a:cubicBezTo>
                      <a:cubicBezTo>
                        <a:pt x="24" y="47"/>
                        <a:pt x="24" y="47"/>
                        <a:pt x="24" y="47"/>
                      </a:cubicBezTo>
                      <a:cubicBezTo>
                        <a:pt x="22" y="46"/>
                        <a:pt x="22" y="46"/>
                        <a:pt x="22" y="46"/>
                      </a:cubicBezTo>
                      <a:cubicBezTo>
                        <a:pt x="20" y="45"/>
                        <a:pt x="20" y="46"/>
                        <a:pt x="20" y="47"/>
                      </a:cubicBezTo>
                      <a:cubicBezTo>
                        <a:pt x="20" y="46"/>
                        <a:pt x="22" y="46"/>
                        <a:pt x="23" y="47"/>
                      </a:cubicBezTo>
                      <a:cubicBezTo>
                        <a:pt x="24" y="47"/>
                        <a:pt x="25" y="48"/>
                        <a:pt x="26" y="49"/>
                      </a:cubicBezTo>
                      <a:cubicBezTo>
                        <a:pt x="27" y="49"/>
                        <a:pt x="27" y="51"/>
                        <a:pt x="27" y="53"/>
                      </a:cubicBezTo>
                      <a:cubicBezTo>
                        <a:pt x="27" y="54"/>
                        <a:pt x="27" y="56"/>
                        <a:pt x="26" y="56"/>
                      </a:cubicBezTo>
                      <a:cubicBezTo>
                        <a:pt x="27" y="57"/>
                        <a:pt x="27" y="57"/>
                        <a:pt x="27" y="59"/>
                      </a:cubicBezTo>
                      <a:cubicBezTo>
                        <a:pt x="27" y="63"/>
                        <a:pt x="27" y="62"/>
                        <a:pt x="26" y="62"/>
                      </a:cubicBezTo>
                      <a:close/>
                      <a:moveTo>
                        <a:pt x="23" y="61"/>
                      </a:moveTo>
                      <a:cubicBezTo>
                        <a:pt x="23" y="61"/>
                        <a:pt x="24" y="61"/>
                        <a:pt x="25" y="62"/>
                      </a:cubicBezTo>
                      <a:cubicBezTo>
                        <a:pt x="25" y="62"/>
                        <a:pt x="26" y="63"/>
                        <a:pt x="26" y="63"/>
                      </a:cubicBezTo>
                      <a:cubicBezTo>
                        <a:pt x="26" y="63"/>
                        <a:pt x="26" y="62"/>
                        <a:pt x="26" y="61"/>
                      </a:cubicBezTo>
                      <a:cubicBezTo>
                        <a:pt x="26" y="59"/>
                        <a:pt x="25" y="57"/>
                        <a:pt x="25" y="57"/>
                      </a:cubicBezTo>
                      <a:cubicBezTo>
                        <a:pt x="24" y="57"/>
                        <a:pt x="24" y="57"/>
                        <a:pt x="24" y="56"/>
                      </a:cubicBezTo>
                      <a:cubicBezTo>
                        <a:pt x="24" y="56"/>
                        <a:pt x="24" y="55"/>
                        <a:pt x="25" y="55"/>
                      </a:cubicBezTo>
                      <a:cubicBezTo>
                        <a:pt x="26" y="55"/>
                        <a:pt x="26" y="54"/>
                        <a:pt x="26" y="53"/>
                      </a:cubicBezTo>
                      <a:cubicBezTo>
                        <a:pt x="26" y="51"/>
                        <a:pt x="26" y="50"/>
                        <a:pt x="25" y="50"/>
                      </a:cubicBezTo>
                      <a:cubicBezTo>
                        <a:pt x="25" y="49"/>
                        <a:pt x="23" y="48"/>
                        <a:pt x="22" y="48"/>
                      </a:cubicBezTo>
                      <a:cubicBezTo>
                        <a:pt x="21" y="47"/>
                        <a:pt x="20" y="48"/>
                        <a:pt x="20" y="49"/>
                      </a:cubicBezTo>
                      <a:cubicBezTo>
                        <a:pt x="20" y="49"/>
                        <a:pt x="20" y="50"/>
                        <a:pt x="19" y="50"/>
                      </a:cubicBezTo>
                      <a:cubicBezTo>
                        <a:pt x="19" y="50"/>
                        <a:pt x="19" y="50"/>
                        <a:pt x="19" y="50"/>
                      </a:cubicBezTo>
                      <a:cubicBezTo>
                        <a:pt x="19" y="49"/>
                        <a:pt x="19" y="49"/>
                        <a:pt x="19" y="49"/>
                      </a:cubicBezTo>
                      <a:cubicBezTo>
                        <a:pt x="18" y="49"/>
                        <a:pt x="18" y="49"/>
                        <a:pt x="18" y="47"/>
                      </a:cubicBezTo>
                      <a:cubicBezTo>
                        <a:pt x="18" y="46"/>
                        <a:pt x="19" y="45"/>
                        <a:pt x="21" y="45"/>
                      </a:cubicBezTo>
                      <a:cubicBezTo>
                        <a:pt x="21" y="45"/>
                        <a:pt x="22" y="45"/>
                        <a:pt x="22" y="45"/>
                      </a:cubicBezTo>
                      <a:cubicBezTo>
                        <a:pt x="26" y="46"/>
                        <a:pt x="26" y="46"/>
                        <a:pt x="26" y="46"/>
                      </a:cubicBezTo>
                      <a:cubicBezTo>
                        <a:pt x="26" y="46"/>
                        <a:pt x="27" y="45"/>
                        <a:pt x="27" y="44"/>
                      </a:cubicBezTo>
                      <a:cubicBezTo>
                        <a:pt x="27" y="43"/>
                        <a:pt x="27" y="43"/>
                        <a:pt x="27" y="43"/>
                      </a:cubicBezTo>
                      <a:cubicBezTo>
                        <a:pt x="27" y="41"/>
                        <a:pt x="26" y="40"/>
                        <a:pt x="25" y="40"/>
                      </a:cubicBezTo>
                      <a:cubicBezTo>
                        <a:pt x="23" y="40"/>
                        <a:pt x="22" y="41"/>
                        <a:pt x="22" y="41"/>
                      </a:cubicBezTo>
                      <a:cubicBezTo>
                        <a:pt x="21" y="42"/>
                        <a:pt x="20" y="43"/>
                        <a:pt x="19" y="42"/>
                      </a:cubicBezTo>
                      <a:cubicBezTo>
                        <a:pt x="19" y="41"/>
                        <a:pt x="18" y="41"/>
                        <a:pt x="18" y="41"/>
                      </a:cubicBezTo>
                      <a:cubicBezTo>
                        <a:pt x="18" y="40"/>
                        <a:pt x="19" y="39"/>
                        <a:pt x="19" y="39"/>
                      </a:cubicBezTo>
                      <a:cubicBezTo>
                        <a:pt x="20" y="38"/>
                        <a:pt x="23" y="37"/>
                        <a:pt x="24" y="37"/>
                      </a:cubicBezTo>
                      <a:cubicBezTo>
                        <a:pt x="26" y="37"/>
                        <a:pt x="27" y="36"/>
                        <a:pt x="27" y="34"/>
                      </a:cubicBezTo>
                      <a:cubicBezTo>
                        <a:pt x="27" y="31"/>
                        <a:pt x="27" y="31"/>
                        <a:pt x="27" y="31"/>
                      </a:cubicBezTo>
                      <a:cubicBezTo>
                        <a:pt x="27" y="29"/>
                        <a:pt x="26" y="28"/>
                        <a:pt x="26" y="27"/>
                      </a:cubicBezTo>
                      <a:cubicBezTo>
                        <a:pt x="25" y="27"/>
                        <a:pt x="24" y="26"/>
                        <a:pt x="24" y="24"/>
                      </a:cubicBezTo>
                      <a:cubicBezTo>
                        <a:pt x="23" y="23"/>
                        <a:pt x="23" y="21"/>
                        <a:pt x="22" y="20"/>
                      </a:cubicBezTo>
                      <a:cubicBezTo>
                        <a:pt x="22" y="20"/>
                        <a:pt x="21" y="19"/>
                        <a:pt x="21" y="19"/>
                      </a:cubicBezTo>
                      <a:cubicBezTo>
                        <a:pt x="21" y="19"/>
                        <a:pt x="22" y="18"/>
                        <a:pt x="22" y="18"/>
                      </a:cubicBezTo>
                      <a:cubicBezTo>
                        <a:pt x="22" y="18"/>
                        <a:pt x="23" y="18"/>
                        <a:pt x="24" y="19"/>
                      </a:cubicBezTo>
                      <a:cubicBezTo>
                        <a:pt x="24" y="19"/>
                        <a:pt x="25" y="20"/>
                        <a:pt x="25" y="20"/>
                      </a:cubicBezTo>
                      <a:cubicBezTo>
                        <a:pt x="26" y="20"/>
                        <a:pt x="26" y="19"/>
                        <a:pt x="26" y="18"/>
                      </a:cubicBezTo>
                      <a:cubicBezTo>
                        <a:pt x="26" y="16"/>
                        <a:pt x="26" y="15"/>
                        <a:pt x="25" y="15"/>
                      </a:cubicBezTo>
                      <a:cubicBezTo>
                        <a:pt x="25" y="15"/>
                        <a:pt x="24" y="14"/>
                        <a:pt x="25" y="14"/>
                      </a:cubicBezTo>
                      <a:cubicBezTo>
                        <a:pt x="25" y="14"/>
                        <a:pt x="25" y="13"/>
                        <a:pt x="26" y="13"/>
                      </a:cubicBezTo>
                      <a:cubicBezTo>
                        <a:pt x="26" y="13"/>
                        <a:pt x="27" y="12"/>
                        <a:pt x="27" y="10"/>
                      </a:cubicBezTo>
                      <a:cubicBezTo>
                        <a:pt x="27" y="4"/>
                        <a:pt x="27" y="4"/>
                        <a:pt x="27" y="4"/>
                      </a:cubicBezTo>
                      <a:cubicBezTo>
                        <a:pt x="27" y="2"/>
                        <a:pt x="25" y="1"/>
                        <a:pt x="24" y="1"/>
                      </a:cubicBezTo>
                      <a:cubicBezTo>
                        <a:pt x="23" y="1"/>
                        <a:pt x="23" y="1"/>
                        <a:pt x="22" y="2"/>
                      </a:cubicBezTo>
                      <a:cubicBezTo>
                        <a:pt x="21" y="2"/>
                        <a:pt x="20" y="3"/>
                        <a:pt x="20" y="3"/>
                      </a:cubicBezTo>
                      <a:cubicBezTo>
                        <a:pt x="20" y="3"/>
                        <a:pt x="20" y="4"/>
                        <a:pt x="20" y="4"/>
                      </a:cubicBezTo>
                      <a:cubicBezTo>
                        <a:pt x="21" y="5"/>
                        <a:pt x="21" y="5"/>
                        <a:pt x="21" y="5"/>
                      </a:cubicBezTo>
                      <a:cubicBezTo>
                        <a:pt x="21" y="6"/>
                        <a:pt x="21" y="6"/>
                        <a:pt x="21" y="6"/>
                      </a:cubicBezTo>
                      <a:cubicBezTo>
                        <a:pt x="20" y="6"/>
                        <a:pt x="20" y="6"/>
                        <a:pt x="20" y="6"/>
                      </a:cubicBezTo>
                      <a:cubicBezTo>
                        <a:pt x="20" y="6"/>
                        <a:pt x="20" y="6"/>
                        <a:pt x="19" y="5"/>
                      </a:cubicBezTo>
                      <a:cubicBezTo>
                        <a:pt x="18" y="4"/>
                        <a:pt x="16" y="4"/>
                        <a:pt x="15" y="5"/>
                      </a:cubicBezTo>
                      <a:cubicBezTo>
                        <a:pt x="14" y="6"/>
                        <a:pt x="14" y="6"/>
                        <a:pt x="13" y="7"/>
                      </a:cubicBezTo>
                      <a:cubicBezTo>
                        <a:pt x="13" y="7"/>
                        <a:pt x="14" y="8"/>
                        <a:pt x="14" y="8"/>
                      </a:cubicBezTo>
                      <a:cubicBezTo>
                        <a:pt x="15" y="9"/>
                        <a:pt x="15" y="9"/>
                        <a:pt x="15" y="10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4" y="10"/>
                        <a:pt x="14" y="10"/>
                        <a:pt x="14" y="10"/>
                      </a:cubicBezTo>
                      <a:cubicBezTo>
                        <a:pt x="14" y="10"/>
                        <a:pt x="14" y="10"/>
                        <a:pt x="13" y="10"/>
                      </a:cubicBezTo>
                      <a:cubicBezTo>
                        <a:pt x="12" y="9"/>
                        <a:pt x="10" y="9"/>
                        <a:pt x="9" y="10"/>
                      </a:cubicBezTo>
                      <a:cubicBezTo>
                        <a:pt x="9" y="10"/>
                        <a:pt x="9" y="11"/>
                        <a:pt x="9" y="11"/>
                      </a:cubicBezTo>
                      <a:cubicBezTo>
                        <a:pt x="9" y="11"/>
                        <a:pt x="9" y="11"/>
                        <a:pt x="9" y="11"/>
                      </a:cubicBezTo>
                      <a:cubicBezTo>
                        <a:pt x="10" y="12"/>
                        <a:pt x="11" y="12"/>
                        <a:pt x="11" y="12"/>
                      </a:cubicBezTo>
                      <a:cubicBezTo>
                        <a:pt x="10" y="13"/>
                        <a:pt x="10" y="13"/>
                        <a:pt x="9" y="13"/>
                      </a:cubicBezTo>
                      <a:cubicBezTo>
                        <a:pt x="8" y="13"/>
                        <a:pt x="6" y="14"/>
                        <a:pt x="6" y="15"/>
                      </a:cubicBezTo>
                      <a:cubicBezTo>
                        <a:pt x="5" y="15"/>
                        <a:pt x="5" y="16"/>
                        <a:pt x="6" y="16"/>
                      </a:cubicBezTo>
                      <a:cubicBezTo>
                        <a:pt x="6" y="17"/>
                        <a:pt x="7" y="17"/>
                        <a:pt x="7" y="17"/>
                      </a:cubicBezTo>
                      <a:cubicBezTo>
                        <a:pt x="9" y="18"/>
                        <a:pt x="11" y="17"/>
                        <a:pt x="11" y="17"/>
                      </a:cubicBezTo>
                      <a:cubicBezTo>
                        <a:pt x="12" y="16"/>
                        <a:pt x="12" y="16"/>
                        <a:pt x="13" y="16"/>
                      </a:cubicBezTo>
                      <a:cubicBezTo>
                        <a:pt x="13" y="16"/>
                        <a:pt x="14" y="16"/>
                        <a:pt x="14" y="17"/>
                      </a:cubicBezTo>
                      <a:cubicBezTo>
                        <a:pt x="14" y="18"/>
                        <a:pt x="14" y="19"/>
                        <a:pt x="14" y="19"/>
                      </a:cubicBezTo>
                      <a:cubicBezTo>
                        <a:pt x="15" y="19"/>
                        <a:pt x="15" y="19"/>
                        <a:pt x="16" y="18"/>
                      </a:cubicBezTo>
                      <a:cubicBezTo>
                        <a:pt x="17" y="18"/>
                        <a:pt x="17" y="18"/>
                        <a:pt x="17" y="18"/>
                      </a:cubicBezTo>
                      <a:cubicBezTo>
                        <a:pt x="17" y="18"/>
                        <a:pt x="17" y="18"/>
                        <a:pt x="17" y="18"/>
                      </a:cubicBezTo>
                      <a:cubicBezTo>
                        <a:pt x="18" y="18"/>
                        <a:pt x="18" y="18"/>
                        <a:pt x="18" y="18"/>
                      </a:cubicBezTo>
                      <a:cubicBezTo>
                        <a:pt x="18" y="19"/>
                        <a:pt x="18" y="19"/>
                        <a:pt x="17" y="20"/>
                      </a:cubicBezTo>
                      <a:cubicBezTo>
                        <a:pt x="17" y="21"/>
                        <a:pt x="17" y="22"/>
                        <a:pt x="17" y="22"/>
                      </a:cubicBezTo>
                      <a:cubicBezTo>
                        <a:pt x="16" y="23"/>
                        <a:pt x="15" y="23"/>
                        <a:pt x="14" y="22"/>
                      </a:cubicBezTo>
                      <a:cubicBezTo>
                        <a:pt x="14" y="22"/>
                        <a:pt x="14" y="22"/>
                        <a:pt x="14" y="22"/>
                      </a:cubicBezTo>
                      <a:cubicBezTo>
                        <a:pt x="14" y="22"/>
                        <a:pt x="14" y="23"/>
                        <a:pt x="14" y="23"/>
                      </a:cubicBezTo>
                      <a:cubicBezTo>
                        <a:pt x="15" y="23"/>
                        <a:pt x="15" y="24"/>
                        <a:pt x="15" y="24"/>
                      </a:cubicBezTo>
                      <a:cubicBezTo>
                        <a:pt x="15" y="25"/>
                        <a:pt x="15" y="25"/>
                        <a:pt x="14" y="25"/>
                      </a:cubicBezTo>
                      <a:cubicBezTo>
                        <a:pt x="14" y="25"/>
                        <a:pt x="13" y="25"/>
                        <a:pt x="13" y="25"/>
                      </a:cubicBezTo>
                      <a:cubicBezTo>
                        <a:pt x="11" y="24"/>
                        <a:pt x="10" y="23"/>
                        <a:pt x="11" y="22"/>
                      </a:cubicBezTo>
                      <a:cubicBezTo>
                        <a:pt x="11" y="22"/>
                        <a:pt x="10" y="21"/>
                        <a:pt x="8" y="20"/>
                      </a:cubicBezTo>
                      <a:cubicBezTo>
                        <a:pt x="7" y="20"/>
                        <a:pt x="7" y="20"/>
                        <a:pt x="7" y="20"/>
                      </a:cubicBezTo>
                      <a:cubicBezTo>
                        <a:pt x="5" y="20"/>
                        <a:pt x="3" y="20"/>
                        <a:pt x="3" y="21"/>
                      </a:cubicBezTo>
                      <a:cubicBezTo>
                        <a:pt x="3" y="21"/>
                        <a:pt x="3" y="21"/>
                        <a:pt x="3" y="21"/>
                      </a:cubicBezTo>
                      <a:cubicBezTo>
                        <a:pt x="3" y="22"/>
                        <a:pt x="4" y="23"/>
                        <a:pt x="5" y="23"/>
                      </a:cubicBezTo>
                      <a:cubicBezTo>
                        <a:pt x="6" y="23"/>
                        <a:pt x="6" y="23"/>
                        <a:pt x="6" y="23"/>
                      </a:cubicBezTo>
                      <a:cubicBezTo>
                        <a:pt x="7" y="23"/>
                        <a:pt x="8" y="24"/>
                        <a:pt x="8" y="25"/>
                      </a:cubicBezTo>
                      <a:cubicBezTo>
                        <a:pt x="8" y="26"/>
                        <a:pt x="7" y="26"/>
                        <a:pt x="6" y="26"/>
                      </a:cubicBezTo>
                      <a:cubicBezTo>
                        <a:pt x="5" y="26"/>
                        <a:pt x="5" y="26"/>
                        <a:pt x="5" y="26"/>
                      </a:cubicBezTo>
                      <a:cubicBezTo>
                        <a:pt x="3" y="26"/>
                        <a:pt x="2" y="26"/>
                        <a:pt x="1" y="26"/>
                      </a:cubicBezTo>
                      <a:cubicBezTo>
                        <a:pt x="2" y="27"/>
                        <a:pt x="2" y="27"/>
                        <a:pt x="3" y="27"/>
                      </a:cubicBezTo>
                      <a:cubicBezTo>
                        <a:pt x="5" y="27"/>
                        <a:pt x="7" y="28"/>
                        <a:pt x="8" y="29"/>
                      </a:cubicBezTo>
                      <a:cubicBezTo>
                        <a:pt x="8" y="29"/>
                        <a:pt x="9" y="30"/>
                        <a:pt x="10" y="30"/>
                      </a:cubicBezTo>
                      <a:cubicBezTo>
                        <a:pt x="10" y="30"/>
                        <a:pt x="11" y="30"/>
                        <a:pt x="11" y="30"/>
                      </a:cubicBezTo>
                      <a:cubicBezTo>
                        <a:pt x="11" y="30"/>
                        <a:pt x="11" y="30"/>
                        <a:pt x="11" y="30"/>
                      </a:cubicBezTo>
                      <a:cubicBezTo>
                        <a:pt x="10" y="29"/>
                        <a:pt x="10" y="29"/>
                        <a:pt x="10" y="28"/>
                      </a:cubicBezTo>
                      <a:cubicBezTo>
                        <a:pt x="11" y="27"/>
                        <a:pt x="11" y="27"/>
                        <a:pt x="12" y="27"/>
                      </a:cubicBezTo>
                      <a:cubicBezTo>
                        <a:pt x="12" y="27"/>
                        <a:pt x="12" y="27"/>
                        <a:pt x="13" y="27"/>
                      </a:cubicBezTo>
                      <a:cubicBezTo>
                        <a:pt x="13" y="27"/>
                        <a:pt x="14" y="27"/>
                        <a:pt x="14" y="27"/>
                      </a:cubicBezTo>
                      <a:cubicBezTo>
                        <a:pt x="14" y="27"/>
                        <a:pt x="14" y="27"/>
                        <a:pt x="14" y="28"/>
                      </a:cubicBezTo>
                      <a:cubicBezTo>
                        <a:pt x="14" y="28"/>
                        <a:pt x="14" y="30"/>
                        <a:pt x="14" y="30"/>
                      </a:cubicBezTo>
                      <a:cubicBezTo>
                        <a:pt x="15" y="31"/>
                        <a:pt x="15" y="31"/>
                        <a:pt x="14" y="32"/>
                      </a:cubicBezTo>
                      <a:cubicBezTo>
                        <a:pt x="14" y="32"/>
                        <a:pt x="13" y="33"/>
                        <a:pt x="12" y="33"/>
                      </a:cubicBezTo>
                      <a:cubicBezTo>
                        <a:pt x="11" y="33"/>
                        <a:pt x="11" y="33"/>
                        <a:pt x="11" y="33"/>
                      </a:cubicBezTo>
                      <a:cubicBezTo>
                        <a:pt x="11" y="33"/>
                        <a:pt x="12" y="33"/>
                        <a:pt x="12" y="34"/>
                      </a:cubicBezTo>
                      <a:cubicBezTo>
                        <a:pt x="13" y="34"/>
                        <a:pt x="13" y="34"/>
                        <a:pt x="13" y="34"/>
                      </a:cubicBezTo>
                      <a:cubicBezTo>
                        <a:pt x="14" y="35"/>
                        <a:pt x="14" y="35"/>
                        <a:pt x="14" y="36"/>
                      </a:cubicBezTo>
                      <a:cubicBezTo>
                        <a:pt x="14" y="36"/>
                        <a:pt x="14" y="36"/>
                        <a:pt x="13" y="36"/>
                      </a:cubicBezTo>
                      <a:cubicBezTo>
                        <a:pt x="13" y="36"/>
                        <a:pt x="13" y="36"/>
                        <a:pt x="12" y="36"/>
                      </a:cubicBezTo>
                      <a:cubicBezTo>
                        <a:pt x="11" y="36"/>
                        <a:pt x="11" y="36"/>
                        <a:pt x="11" y="36"/>
                      </a:cubicBezTo>
                      <a:cubicBezTo>
                        <a:pt x="11" y="35"/>
                        <a:pt x="10" y="35"/>
                        <a:pt x="9" y="35"/>
                      </a:cubicBezTo>
                      <a:cubicBezTo>
                        <a:pt x="9" y="35"/>
                        <a:pt x="8" y="35"/>
                        <a:pt x="8" y="35"/>
                      </a:cubicBezTo>
                      <a:cubicBezTo>
                        <a:pt x="8" y="36"/>
                        <a:pt x="8" y="36"/>
                        <a:pt x="7" y="36"/>
                      </a:cubicBezTo>
                      <a:cubicBezTo>
                        <a:pt x="7" y="36"/>
                        <a:pt x="7" y="35"/>
                        <a:pt x="6" y="34"/>
                      </a:cubicBezTo>
                      <a:cubicBezTo>
                        <a:pt x="6" y="33"/>
                        <a:pt x="5" y="33"/>
                        <a:pt x="4" y="33"/>
                      </a:cubicBezTo>
                      <a:cubicBezTo>
                        <a:pt x="4" y="33"/>
                        <a:pt x="3" y="33"/>
                        <a:pt x="3" y="32"/>
                      </a:cubicBezTo>
                      <a:cubicBezTo>
                        <a:pt x="3" y="31"/>
                        <a:pt x="4" y="31"/>
                        <a:pt x="4" y="31"/>
                      </a:cubicBezTo>
                      <a:cubicBezTo>
                        <a:pt x="4" y="31"/>
                        <a:pt x="4" y="31"/>
                        <a:pt x="3" y="30"/>
                      </a:cubicBezTo>
                      <a:cubicBezTo>
                        <a:pt x="3" y="30"/>
                        <a:pt x="2" y="30"/>
                        <a:pt x="2" y="30"/>
                      </a:cubicBezTo>
                      <a:cubicBezTo>
                        <a:pt x="1" y="30"/>
                        <a:pt x="1" y="31"/>
                        <a:pt x="1" y="31"/>
                      </a:cubicBezTo>
                      <a:cubicBezTo>
                        <a:pt x="1" y="31"/>
                        <a:pt x="1" y="32"/>
                        <a:pt x="1" y="32"/>
                      </a:cubicBezTo>
                      <a:cubicBezTo>
                        <a:pt x="1" y="35"/>
                        <a:pt x="1" y="37"/>
                        <a:pt x="2" y="39"/>
                      </a:cubicBezTo>
                      <a:cubicBezTo>
                        <a:pt x="2" y="41"/>
                        <a:pt x="3" y="42"/>
                        <a:pt x="4" y="41"/>
                      </a:cubicBezTo>
                      <a:cubicBezTo>
                        <a:pt x="5" y="41"/>
                        <a:pt x="7" y="41"/>
                        <a:pt x="8" y="41"/>
                      </a:cubicBezTo>
                      <a:cubicBezTo>
                        <a:pt x="8" y="41"/>
                        <a:pt x="9" y="41"/>
                        <a:pt x="9" y="42"/>
                      </a:cubicBezTo>
                      <a:cubicBezTo>
                        <a:pt x="9" y="43"/>
                        <a:pt x="8" y="43"/>
                        <a:pt x="8" y="43"/>
                      </a:cubicBezTo>
                      <a:cubicBezTo>
                        <a:pt x="7" y="43"/>
                        <a:pt x="5" y="44"/>
                        <a:pt x="4" y="44"/>
                      </a:cubicBezTo>
                      <a:cubicBezTo>
                        <a:pt x="3" y="45"/>
                        <a:pt x="3" y="45"/>
                        <a:pt x="4" y="46"/>
                      </a:cubicBezTo>
                      <a:cubicBezTo>
                        <a:pt x="4" y="47"/>
                        <a:pt x="5" y="47"/>
                        <a:pt x="6" y="46"/>
                      </a:cubicBezTo>
                      <a:cubicBezTo>
                        <a:pt x="6" y="46"/>
                        <a:pt x="7" y="46"/>
                        <a:pt x="7" y="46"/>
                      </a:cubicBezTo>
                      <a:cubicBezTo>
                        <a:pt x="7" y="46"/>
                        <a:pt x="7" y="46"/>
                        <a:pt x="7" y="46"/>
                      </a:cubicBezTo>
                      <a:cubicBezTo>
                        <a:pt x="8" y="46"/>
                        <a:pt x="8" y="46"/>
                        <a:pt x="8" y="46"/>
                      </a:cubicBezTo>
                      <a:cubicBezTo>
                        <a:pt x="8" y="46"/>
                        <a:pt x="8" y="47"/>
                        <a:pt x="7" y="48"/>
                      </a:cubicBezTo>
                      <a:cubicBezTo>
                        <a:pt x="6" y="49"/>
                        <a:pt x="6" y="50"/>
                        <a:pt x="6" y="50"/>
                      </a:cubicBezTo>
                      <a:cubicBezTo>
                        <a:pt x="6" y="50"/>
                        <a:pt x="7" y="50"/>
                        <a:pt x="8" y="49"/>
                      </a:cubicBezTo>
                      <a:cubicBezTo>
                        <a:pt x="9" y="48"/>
                        <a:pt x="9" y="48"/>
                        <a:pt x="9" y="48"/>
                      </a:cubicBezTo>
                      <a:cubicBezTo>
                        <a:pt x="10" y="47"/>
                        <a:pt x="10" y="46"/>
                        <a:pt x="10" y="46"/>
                      </a:cubicBezTo>
                      <a:cubicBezTo>
                        <a:pt x="11" y="46"/>
                        <a:pt x="11" y="46"/>
                        <a:pt x="11" y="46"/>
                      </a:cubicBezTo>
                      <a:cubicBezTo>
                        <a:pt x="11" y="47"/>
                        <a:pt x="11" y="47"/>
                        <a:pt x="11" y="47"/>
                      </a:cubicBezTo>
                      <a:cubicBezTo>
                        <a:pt x="11" y="47"/>
                        <a:pt x="11" y="48"/>
                        <a:pt x="10" y="49"/>
                      </a:cubicBezTo>
                      <a:cubicBezTo>
                        <a:pt x="9" y="50"/>
                        <a:pt x="9" y="50"/>
                        <a:pt x="9" y="50"/>
                      </a:cubicBezTo>
                      <a:cubicBezTo>
                        <a:pt x="8" y="52"/>
                        <a:pt x="8" y="53"/>
                        <a:pt x="8" y="54"/>
                      </a:cubicBezTo>
                      <a:cubicBezTo>
                        <a:pt x="8" y="53"/>
                        <a:pt x="9" y="54"/>
                        <a:pt x="10" y="54"/>
                      </a:cubicBezTo>
                      <a:cubicBezTo>
                        <a:pt x="11" y="53"/>
                        <a:pt x="11" y="54"/>
                        <a:pt x="11" y="54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2" y="53"/>
                        <a:pt x="12" y="53"/>
                        <a:pt x="12" y="53"/>
                      </a:cubicBezTo>
                      <a:cubicBezTo>
                        <a:pt x="12" y="54"/>
                        <a:pt x="12" y="53"/>
                        <a:pt x="11" y="54"/>
                      </a:cubicBezTo>
                      <a:cubicBezTo>
                        <a:pt x="11" y="56"/>
                        <a:pt x="11" y="57"/>
                        <a:pt x="12" y="58"/>
                      </a:cubicBezTo>
                      <a:cubicBezTo>
                        <a:pt x="12" y="59"/>
                        <a:pt x="12" y="59"/>
                        <a:pt x="13" y="59"/>
                      </a:cubicBezTo>
                      <a:cubicBezTo>
                        <a:pt x="13" y="59"/>
                        <a:pt x="14" y="59"/>
                        <a:pt x="14" y="59"/>
                      </a:cubicBezTo>
                      <a:cubicBezTo>
                        <a:pt x="15" y="59"/>
                        <a:pt x="15" y="58"/>
                        <a:pt x="15" y="58"/>
                      </a:cubicBezTo>
                      <a:cubicBezTo>
                        <a:pt x="15" y="57"/>
                        <a:pt x="15" y="56"/>
                        <a:pt x="15" y="56"/>
                      </a:cubicBez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6" y="56"/>
                        <a:pt x="16" y="56"/>
                        <a:pt x="17" y="58"/>
                      </a:cubicBezTo>
                      <a:cubicBezTo>
                        <a:pt x="17" y="59"/>
                        <a:pt x="17" y="59"/>
                        <a:pt x="17" y="59"/>
                      </a:cubicBezTo>
                      <a:cubicBezTo>
                        <a:pt x="18" y="60"/>
                        <a:pt x="19" y="62"/>
                        <a:pt x="21" y="63"/>
                      </a:cubicBezTo>
                      <a:cubicBezTo>
                        <a:pt x="22" y="63"/>
                        <a:pt x="23" y="63"/>
                        <a:pt x="23" y="63"/>
                      </a:cubicBezTo>
                      <a:cubicBezTo>
                        <a:pt x="23" y="63"/>
                        <a:pt x="23" y="62"/>
                        <a:pt x="23" y="62"/>
                      </a:cubicBezTo>
                      <a:cubicBezTo>
                        <a:pt x="22" y="62"/>
                        <a:pt x="22" y="61"/>
                        <a:pt x="23" y="61"/>
                      </a:cubicBezTo>
                      <a:cubicBezTo>
                        <a:pt x="23" y="61"/>
                        <a:pt x="23" y="61"/>
                        <a:pt x="23" y="6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86" name="Freeform 508">
                  <a:extLst>
                    <a:ext uri="{FF2B5EF4-FFF2-40B4-BE49-F238E27FC236}">
                      <a16:creationId xmlns:a16="http://schemas.microsoft.com/office/drawing/2014/main" id="{0273C56A-99F0-BB35-CB46-44784E356A8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037263" y="2814638"/>
                  <a:ext cx="36513" cy="87313"/>
                </a:xfrm>
                <a:custGeom>
                  <a:avLst/>
                  <a:gdLst>
                    <a:gd name="T0" fmla="*/ 0 w 27"/>
                    <a:gd name="T1" fmla="*/ 53 h 64"/>
                    <a:gd name="T2" fmla="*/ 2 w 27"/>
                    <a:gd name="T3" fmla="*/ 47 h 64"/>
                    <a:gd name="T4" fmla="*/ 4 w 27"/>
                    <a:gd name="T5" fmla="*/ 39 h 64"/>
                    <a:gd name="T6" fmla="*/ 4 w 27"/>
                    <a:gd name="T7" fmla="*/ 38 h 64"/>
                    <a:gd name="T8" fmla="*/ 4 w 27"/>
                    <a:gd name="T9" fmla="*/ 20 h 64"/>
                    <a:gd name="T10" fmla="*/ 1 w 27"/>
                    <a:gd name="T11" fmla="*/ 10 h 64"/>
                    <a:gd name="T12" fmla="*/ 8 w 27"/>
                    <a:gd name="T13" fmla="*/ 3 h 64"/>
                    <a:gd name="T14" fmla="*/ 19 w 27"/>
                    <a:gd name="T15" fmla="*/ 9 h 64"/>
                    <a:gd name="T16" fmla="*/ 20 w 27"/>
                    <a:gd name="T17" fmla="*/ 18 h 64"/>
                    <a:gd name="T18" fmla="*/ 11 w 27"/>
                    <a:gd name="T19" fmla="*/ 20 h 64"/>
                    <a:gd name="T20" fmla="*/ 15 w 27"/>
                    <a:gd name="T21" fmla="*/ 22 h 64"/>
                    <a:gd name="T22" fmla="*/ 25 w 27"/>
                    <a:gd name="T23" fmla="*/ 23 h 64"/>
                    <a:gd name="T24" fmla="*/ 27 w 27"/>
                    <a:gd name="T25" fmla="*/ 27 h 64"/>
                    <a:gd name="T26" fmla="*/ 16 w 27"/>
                    <a:gd name="T27" fmla="*/ 29 h 64"/>
                    <a:gd name="T28" fmla="*/ 14 w 27"/>
                    <a:gd name="T29" fmla="*/ 31 h 64"/>
                    <a:gd name="T30" fmla="*/ 20 w 27"/>
                    <a:gd name="T31" fmla="*/ 34 h 64"/>
                    <a:gd name="T32" fmla="*/ 25 w 27"/>
                    <a:gd name="T33" fmla="*/ 29 h 64"/>
                    <a:gd name="T34" fmla="*/ 23 w 27"/>
                    <a:gd name="T35" fmla="*/ 43 h 64"/>
                    <a:gd name="T36" fmla="*/ 23 w 27"/>
                    <a:gd name="T37" fmla="*/ 51 h 64"/>
                    <a:gd name="T38" fmla="*/ 17 w 27"/>
                    <a:gd name="T39" fmla="*/ 54 h 64"/>
                    <a:gd name="T40" fmla="*/ 11 w 27"/>
                    <a:gd name="T41" fmla="*/ 59 h 64"/>
                    <a:gd name="T42" fmla="*/ 6 w 27"/>
                    <a:gd name="T43" fmla="*/ 47 h 64"/>
                    <a:gd name="T44" fmla="*/ 3 w 27"/>
                    <a:gd name="T45" fmla="*/ 56 h 64"/>
                    <a:gd name="T46" fmla="*/ 4 w 27"/>
                    <a:gd name="T47" fmla="*/ 62 h 64"/>
                    <a:gd name="T48" fmla="*/ 6 w 27"/>
                    <a:gd name="T49" fmla="*/ 63 h 64"/>
                    <a:gd name="T50" fmla="*/ 12 w 27"/>
                    <a:gd name="T51" fmla="*/ 55 h 64"/>
                    <a:gd name="T52" fmla="*/ 16 w 27"/>
                    <a:gd name="T53" fmla="*/ 54 h 64"/>
                    <a:gd name="T54" fmla="*/ 20 w 27"/>
                    <a:gd name="T55" fmla="*/ 54 h 64"/>
                    <a:gd name="T56" fmla="*/ 17 w 27"/>
                    <a:gd name="T57" fmla="*/ 47 h 64"/>
                    <a:gd name="T58" fmla="*/ 19 w 27"/>
                    <a:gd name="T59" fmla="*/ 46 h 64"/>
                    <a:gd name="T60" fmla="*/ 23 w 27"/>
                    <a:gd name="T61" fmla="*/ 44 h 64"/>
                    <a:gd name="T62" fmla="*/ 26 w 27"/>
                    <a:gd name="T63" fmla="*/ 39 h 64"/>
                    <a:gd name="T64" fmla="*/ 23 w 27"/>
                    <a:gd name="T65" fmla="*/ 31 h 64"/>
                    <a:gd name="T66" fmla="*/ 19 w 27"/>
                    <a:gd name="T67" fmla="*/ 35 h 64"/>
                    <a:gd name="T68" fmla="*/ 13 w 27"/>
                    <a:gd name="T69" fmla="*/ 36 h 64"/>
                    <a:gd name="T70" fmla="*/ 13 w 27"/>
                    <a:gd name="T71" fmla="*/ 32 h 64"/>
                    <a:gd name="T72" fmla="*/ 15 w 27"/>
                    <a:gd name="T73" fmla="*/ 27 h 64"/>
                    <a:gd name="T74" fmla="*/ 17 w 27"/>
                    <a:gd name="T75" fmla="*/ 30 h 64"/>
                    <a:gd name="T76" fmla="*/ 22 w 27"/>
                    <a:gd name="T77" fmla="*/ 26 h 64"/>
                    <a:gd name="T78" fmla="*/ 24 w 27"/>
                    <a:gd name="T79" fmla="*/ 21 h 64"/>
                    <a:gd name="T80" fmla="*/ 14 w 27"/>
                    <a:gd name="T81" fmla="*/ 25 h 64"/>
                    <a:gd name="T82" fmla="*/ 13 w 27"/>
                    <a:gd name="T83" fmla="*/ 22 h 64"/>
                    <a:gd name="T84" fmla="*/ 10 w 27"/>
                    <a:gd name="T85" fmla="*/ 18 h 64"/>
                    <a:gd name="T86" fmla="*/ 15 w 27"/>
                    <a:gd name="T87" fmla="*/ 16 h 64"/>
                    <a:gd name="T88" fmla="*/ 18 w 27"/>
                    <a:gd name="T89" fmla="*/ 13 h 64"/>
                    <a:gd name="T90" fmla="*/ 14 w 27"/>
                    <a:gd name="T91" fmla="*/ 7 h 64"/>
                    <a:gd name="T92" fmla="*/ 14 w 27"/>
                    <a:gd name="T93" fmla="*/ 7 h 64"/>
                    <a:gd name="T94" fmla="*/ 7 w 27"/>
                    <a:gd name="T95" fmla="*/ 6 h 64"/>
                    <a:gd name="T96" fmla="*/ 4 w 27"/>
                    <a:gd name="T97" fmla="*/ 1 h 64"/>
                    <a:gd name="T98" fmla="*/ 2 w 27"/>
                    <a:gd name="T99" fmla="*/ 15 h 64"/>
                    <a:gd name="T100" fmla="*/ 6 w 27"/>
                    <a:gd name="T101" fmla="*/ 19 h 64"/>
                    <a:gd name="T102" fmla="*/ 1 w 27"/>
                    <a:gd name="T103" fmla="*/ 34 h 64"/>
                    <a:gd name="T104" fmla="*/ 6 w 27"/>
                    <a:gd name="T105" fmla="*/ 41 h 64"/>
                    <a:gd name="T106" fmla="*/ 2 w 27"/>
                    <a:gd name="T107" fmla="*/ 46 h 64"/>
                    <a:gd name="T108" fmla="*/ 8 w 27"/>
                    <a:gd name="T109" fmla="*/ 49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27" h="64">
                      <a:moveTo>
                        <a:pt x="1" y="62"/>
                      </a:moveTo>
                      <a:cubicBezTo>
                        <a:pt x="0" y="62"/>
                        <a:pt x="0" y="63"/>
                        <a:pt x="0" y="62"/>
                      </a:cubicBezTo>
                      <a:cubicBezTo>
                        <a:pt x="0" y="61"/>
                        <a:pt x="0" y="61"/>
                        <a:pt x="0" y="60"/>
                      </a:cubicBezTo>
                      <a:cubicBezTo>
                        <a:pt x="0" y="58"/>
                        <a:pt x="0" y="57"/>
                        <a:pt x="1" y="56"/>
                      </a:cubicBezTo>
                      <a:cubicBezTo>
                        <a:pt x="0" y="55"/>
                        <a:pt x="0" y="54"/>
                        <a:pt x="0" y="53"/>
                      </a:cubicBezTo>
                      <a:cubicBezTo>
                        <a:pt x="0" y="51"/>
                        <a:pt x="0" y="49"/>
                        <a:pt x="1" y="48"/>
                      </a:cubicBezTo>
                      <a:cubicBezTo>
                        <a:pt x="2" y="48"/>
                        <a:pt x="3" y="47"/>
                        <a:pt x="4" y="47"/>
                      </a:cubicBezTo>
                      <a:cubicBezTo>
                        <a:pt x="6" y="46"/>
                        <a:pt x="7" y="46"/>
                        <a:pt x="8" y="47"/>
                      </a:cubicBezTo>
                      <a:cubicBezTo>
                        <a:pt x="8" y="46"/>
                        <a:pt x="7" y="45"/>
                        <a:pt x="6" y="46"/>
                      </a:cubicBezTo>
                      <a:cubicBezTo>
                        <a:pt x="2" y="47"/>
                        <a:pt x="2" y="47"/>
                        <a:pt x="2" y="47"/>
                      </a:cubicBezTo>
                      <a:cubicBezTo>
                        <a:pt x="2" y="48"/>
                        <a:pt x="1" y="48"/>
                        <a:pt x="1" y="48"/>
                      </a:cubicBezTo>
                      <a:cubicBezTo>
                        <a:pt x="1" y="48"/>
                        <a:pt x="1" y="47"/>
                        <a:pt x="1" y="46"/>
                      </a:cubicBezTo>
                      <a:cubicBezTo>
                        <a:pt x="0" y="46"/>
                        <a:pt x="1" y="45"/>
                        <a:pt x="1" y="44"/>
                      </a:cubicBezTo>
                      <a:cubicBezTo>
                        <a:pt x="1" y="43"/>
                        <a:pt x="1" y="43"/>
                        <a:pt x="1" y="43"/>
                      </a:cubicBezTo>
                      <a:cubicBezTo>
                        <a:pt x="1" y="41"/>
                        <a:pt x="2" y="39"/>
                        <a:pt x="4" y="39"/>
                      </a:cubicBezTo>
                      <a:cubicBezTo>
                        <a:pt x="5" y="39"/>
                        <a:pt x="6" y="40"/>
                        <a:pt x="7" y="41"/>
                      </a:cubicBezTo>
                      <a:cubicBezTo>
                        <a:pt x="7" y="41"/>
                        <a:pt x="7" y="41"/>
                        <a:pt x="8" y="41"/>
                      </a:cubicBezTo>
                      <a:cubicBezTo>
                        <a:pt x="8" y="41"/>
                        <a:pt x="8" y="41"/>
                        <a:pt x="8" y="41"/>
                      </a:cubicBezTo>
                      <a:cubicBezTo>
                        <a:pt x="8" y="40"/>
                        <a:pt x="7" y="40"/>
                        <a:pt x="7" y="40"/>
                      </a:cubicBezTo>
                      <a:cubicBezTo>
                        <a:pt x="6" y="39"/>
                        <a:pt x="5" y="39"/>
                        <a:pt x="4" y="38"/>
                      </a:cubicBezTo>
                      <a:cubicBezTo>
                        <a:pt x="2" y="38"/>
                        <a:pt x="1" y="36"/>
                        <a:pt x="1" y="34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29"/>
                        <a:pt x="1" y="27"/>
                        <a:pt x="2" y="26"/>
                      </a:cubicBezTo>
                      <a:cubicBezTo>
                        <a:pt x="3" y="26"/>
                        <a:pt x="3" y="25"/>
                        <a:pt x="3" y="24"/>
                      </a:cubicBezTo>
                      <a:cubicBezTo>
                        <a:pt x="3" y="23"/>
                        <a:pt x="3" y="21"/>
                        <a:pt x="4" y="20"/>
                      </a:cubicBezTo>
                      <a:cubicBezTo>
                        <a:pt x="4" y="20"/>
                        <a:pt x="4" y="20"/>
                        <a:pt x="4" y="20"/>
                      </a:cubicBezTo>
                      <a:cubicBezTo>
                        <a:pt x="2" y="21"/>
                        <a:pt x="1" y="21"/>
                        <a:pt x="0" y="20"/>
                      </a:cubicBezTo>
                      <a:cubicBezTo>
                        <a:pt x="0" y="20"/>
                        <a:pt x="0" y="19"/>
                        <a:pt x="0" y="18"/>
                      </a:cubicBezTo>
                      <a:cubicBezTo>
                        <a:pt x="0" y="17"/>
                        <a:pt x="1" y="15"/>
                        <a:pt x="2" y="14"/>
                      </a:cubicBezTo>
                      <a:cubicBezTo>
                        <a:pt x="1" y="14"/>
                        <a:pt x="1" y="12"/>
                        <a:pt x="1" y="10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1" y="2"/>
                        <a:pt x="2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5" y="0"/>
                        <a:pt x="5" y="0"/>
                        <a:pt x="6" y="0"/>
                      </a:cubicBezTo>
                      <a:cubicBezTo>
                        <a:pt x="7" y="1"/>
                        <a:pt x="8" y="2"/>
                        <a:pt x="8" y="3"/>
                      </a:cubicBezTo>
                      <a:cubicBezTo>
                        <a:pt x="8" y="3"/>
                        <a:pt x="8" y="3"/>
                        <a:pt x="8" y="4"/>
                      </a:cubicBezTo>
                      <a:cubicBezTo>
                        <a:pt x="10" y="3"/>
                        <a:pt x="12" y="3"/>
                        <a:pt x="13" y="4"/>
                      </a:cubicBezTo>
                      <a:cubicBezTo>
                        <a:pt x="14" y="5"/>
                        <a:pt x="15" y="6"/>
                        <a:pt x="15" y="7"/>
                      </a:cubicBezTo>
                      <a:cubicBezTo>
                        <a:pt x="15" y="7"/>
                        <a:pt x="15" y="8"/>
                        <a:pt x="15" y="8"/>
                      </a:cubicBezTo>
                      <a:cubicBezTo>
                        <a:pt x="16" y="8"/>
                        <a:pt x="18" y="8"/>
                        <a:pt x="19" y="9"/>
                      </a:cubicBezTo>
                      <a:cubicBezTo>
                        <a:pt x="19" y="10"/>
                        <a:pt x="20" y="11"/>
                        <a:pt x="19" y="11"/>
                      </a:cubicBezTo>
                      <a:cubicBezTo>
                        <a:pt x="19" y="12"/>
                        <a:pt x="19" y="12"/>
                        <a:pt x="19" y="12"/>
                      </a:cubicBezTo>
                      <a:cubicBezTo>
                        <a:pt x="20" y="12"/>
                        <a:pt x="22" y="13"/>
                        <a:pt x="23" y="14"/>
                      </a:cubicBezTo>
                      <a:cubicBezTo>
                        <a:pt x="23" y="15"/>
                        <a:pt x="23" y="16"/>
                        <a:pt x="23" y="16"/>
                      </a:cubicBezTo>
                      <a:cubicBezTo>
                        <a:pt x="22" y="17"/>
                        <a:pt x="21" y="18"/>
                        <a:pt x="20" y="18"/>
                      </a:cubicBezTo>
                      <a:cubicBezTo>
                        <a:pt x="19" y="19"/>
                        <a:pt x="19" y="19"/>
                        <a:pt x="18" y="19"/>
                      </a:cubicBezTo>
                      <a:cubicBezTo>
                        <a:pt x="17" y="19"/>
                        <a:pt x="15" y="18"/>
                        <a:pt x="15" y="17"/>
                      </a:cubicBezTo>
                      <a:cubicBezTo>
                        <a:pt x="15" y="17"/>
                        <a:pt x="15" y="17"/>
                        <a:pt x="15" y="17"/>
                      </a:cubicBezTo>
                      <a:cubicBezTo>
                        <a:pt x="15" y="18"/>
                        <a:pt x="14" y="20"/>
                        <a:pt x="13" y="20"/>
                      </a:cubicBezTo>
                      <a:cubicBezTo>
                        <a:pt x="13" y="20"/>
                        <a:pt x="12" y="20"/>
                        <a:pt x="11" y="20"/>
                      </a:cubicBezTo>
                      <a:cubicBezTo>
                        <a:pt x="11" y="20"/>
                        <a:pt x="12" y="21"/>
                        <a:pt x="12" y="22"/>
                      </a:cubicBezTo>
                      <a:cubicBezTo>
                        <a:pt x="12" y="22"/>
                        <a:pt x="12" y="21"/>
                        <a:pt x="12" y="21"/>
                      </a:cubicBezTo>
                      <a:cubicBezTo>
                        <a:pt x="13" y="21"/>
                        <a:pt x="14" y="21"/>
                        <a:pt x="15" y="22"/>
                      </a:cubicBezTo>
                      <a:cubicBezTo>
                        <a:pt x="15" y="22"/>
                        <a:pt x="15" y="23"/>
                        <a:pt x="14" y="23"/>
                      </a:cubicBezTo>
                      <a:cubicBezTo>
                        <a:pt x="15" y="23"/>
                        <a:pt x="16" y="22"/>
                        <a:pt x="15" y="22"/>
                      </a:cubicBezTo>
                      <a:cubicBezTo>
                        <a:pt x="15" y="21"/>
                        <a:pt x="17" y="19"/>
                        <a:pt x="19" y="19"/>
                      </a:cubicBezTo>
                      <a:cubicBezTo>
                        <a:pt x="20" y="19"/>
                        <a:pt x="20" y="19"/>
                        <a:pt x="20" y="19"/>
                      </a:cubicBezTo>
                      <a:cubicBezTo>
                        <a:pt x="21" y="19"/>
                        <a:pt x="21" y="19"/>
                        <a:pt x="22" y="19"/>
                      </a:cubicBezTo>
                      <a:cubicBezTo>
                        <a:pt x="24" y="19"/>
                        <a:pt x="25" y="19"/>
                        <a:pt x="25" y="20"/>
                      </a:cubicBezTo>
                      <a:cubicBezTo>
                        <a:pt x="26" y="21"/>
                        <a:pt x="25" y="22"/>
                        <a:pt x="25" y="23"/>
                      </a:cubicBezTo>
                      <a:cubicBezTo>
                        <a:pt x="25" y="24"/>
                        <a:pt x="24" y="26"/>
                        <a:pt x="22" y="26"/>
                      </a:cubicBezTo>
                      <a:cubicBezTo>
                        <a:pt x="22" y="26"/>
                        <a:pt x="22" y="26"/>
                        <a:pt x="22" y="26"/>
                      </a:cubicBezTo>
                      <a:cubicBezTo>
                        <a:pt x="22" y="26"/>
                        <a:pt x="22" y="26"/>
                        <a:pt x="22" y="26"/>
                      </a:cubicBezTo>
                      <a:cubicBezTo>
                        <a:pt x="24" y="26"/>
                        <a:pt x="27" y="25"/>
                        <a:pt x="27" y="27"/>
                      </a:cubicBezTo>
                      <a:cubicBezTo>
                        <a:pt x="27" y="27"/>
                        <a:pt x="27" y="27"/>
                        <a:pt x="27" y="27"/>
                      </a:cubicBezTo>
                      <a:cubicBezTo>
                        <a:pt x="26" y="28"/>
                        <a:pt x="25" y="28"/>
                        <a:pt x="24" y="28"/>
                      </a:cubicBezTo>
                      <a:cubicBezTo>
                        <a:pt x="22" y="29"/>
                        <a:pt x="21" y="29"/>
                        <a:pt x="20" y="30"/>
                      </a:cubicBezTo>
                      <a:cubicBezTo>
                        <a:pt x="20" y="30"/>
                        <a:pt x="18" y="31"/>
                        <a:pt x="17" y="31"/>
                      </a:cubicBezTo>
                      <a:cubicBezTo>
                        <a:pt x="16" y="31"/>
                        <a:pt x="16" y="31"/>
                        <a:pt x="15" y="30"/>
                      </a:cubicBezTo>
                      <a:cubicBezTo>
                        <a:pt x="15" y="30"/>
                        <a:pt x="15" y="30"/>
                        <a:pt x="16" y="29"/>
                      </a:cubicBezTo>
                      <a:cubicBezTo>
                        <a:pt x="16" y="29"/>
                        <a:pt x="16" y="29"/>
                        <a:pt x="16" y="28"/>
                      </a:cubicBezTo>
                      <a:cubicBezTo>
                        <a:pt x="15" y="28"/>
                        <a:pt x="15" y="28"/>
                        <a:pt x="15" y="28"/>
                      </a:cubicBezTo>
                      <a:cubicBezTo>
                        <a:pt x="15" y="28"/>
                        <a:pt x="15" y="28"/>
                        <a:pt x="15" y="28"/>
                      </a:cubicBezTo>
                      <a:cubicBezTo>
                        <a:pt x="15" y="29"/>
                        <a:pt x="15" y="30"/>
                        <a:pt x="14" y="31"/>
                      </a:cubicBezTo>
                      <a:cubicBezTo>
                        <a:pt x="14" y="31"/>
                        <a:pt x="14" y="31"/>
                        <a:pt x="14" y="31"/>
                      </a:cubicBezTo>
                      <a:cubicBezTo>
                        <a:pt x="14" y="31"/>
                        <a:pt x="14" y="32"/>
                        <a:pt x="15" y="32"/>
                      </a:cubicBezTo>
                      <a:cubicBezTo>
                        <a:pt x="17" y="32"/>
                        <a:pt x="17" y="32"/>
                        <a:pt x="17" y="32"/>
                      </a:cubicBezTo>
                      <a:cubicBezTo>
                        <a:pt x="17" y="33"/>
                        <a:pt x="17" y="34"/>
                        <a:pt x="16" y="34"/>
                      </a:cubicBezTo>
                      <a:cubicBezTo>
                        <a:pt x="17" y="34"/>
                        <a:pt x="18" y="34"/>
                        <a:pt x="18" y="34"/>
                      </a:cubicBezTo>
                      <a:cubicBezTo>
                        <a:pt x="19" y="34"/>
                        <a:pt x="19" y="34"/>
                        <a:pt x="20" y="34"/>
                      </a:cubicBezTo>
                      <a:cubicBezTo>
                        <a:pt x="20" y="34"/>
                        <a:pt x="20" y="34"/>
                        <a:pt x="20" y="34"/>
                      </a:cubicBezTo>
                      <a:cubicBezTo>
                        <a:pt x="20" y="33"/>
                        <a:pt x="21" y="32"/>
                        <a:pt x="22" y="32"/>
                      </a:cubicBezTo>
                      <a:cubicBezTo>
                        <a:pt x="22" y="31"/>
                        <a:pt x="22" y="31"/>
                        <a:pt x="22" y="31"/>
                      </a:cubicBezTo>
                      <a:cubicBezTo>
                        <a:pt x="22" y="30"/>
                        <a:pt x="22" y="30"/>
                        <a:pt x="24" y="29"/>
                      </a:cubicBezTo>
                      <a:cubicBezTo>
                        <a:pt x="24" y="29"/>
                        <a:pt x="25" y="29"/>
                        <a:pt x="25" y="29"/>
                      </a:cubicBezTo>
                      <a:cubicBezTo>
                        <a:pt x="26" y="29"/>
                        <a:pt x="27" y="30"/>
                        <a:pt x="27" y="31"/>
                      </a:cubicBezTo>
                      <a:cubicBezTo>
                        <a:pt x="27" y="31"/>
                        <a:pt x="27" y="32"/>
                        <a:pt x="27" y="32"/>
                      </a:cubicBezTo>
                      <a:cubicBezTo>
                        <a:pt x="27" y="35"/>
                        <a:pt x="27" y="37"/>
                        <a:pt x="27" y="39"/>
                      </a:cubicBezTo>
                      <a:cubicBezTo>
                        <a:pt x="27" y="41"/>
                        <a:pt x="25" y="43"/>
                        <a:pt x="24" y="43"/>
                      </a:cubicBezTo>
                      <a:cubicBezTo>
                        <a:pt x="24" y="43"/>
                        <a:pt x="23" y="43"/>
                        <a:pt x="23" y="43"/>
                      </a:cubicBezTo>
                      <a:cubicBezTo>
                        <a:pt x="23" y="42"/>
                        <a:pt x="22" y="42"/>
                        <a:pt x="21" y="42"/>
                      </a:cubicBezTo>
                      <a:cubicBezTo>
                        <a:pt x="22" y="42"/>
                        <a:pt x="23" y="43"/>
                        <a:pt x="24" y="43"/>
                      </a:cubicBezTo>
                      <a:cubicBezTo>
                        <a:pt x="25" y="44"/>
                        <a:pt x="25" y="45"/>
                        <a:pt x="25" y="47"/>
                      </a:cubicBezTo>
                      <a:cubicBezTo>
                        <a:pt x="24" y="48"/>
                        <a:pt x="23" y="48"/>
                        <a:pt x="21" y="47"/>
                      </a:cubicBezTo>
                      <a:cubicBezTo>
                        <a:pt x="22" y="48"/>
                        <a:pt x="23" y="50"/>
                        <a:pt x="23" y="51"/>
                      </a:cubicBezTo>
                      <a:cubicBezTo>
                        <a:pt x="22" y="51"/>
                        <a:pt x="22" y="52"/>
                        <a:pt x="22" y="52"/>
                      </a:cubicBezTo>
                      <a:cubicBezTo>
                        <a:pt x="21" y="52"/>
                        <a:pt x="20" y="51"/>
                        <a:pt x="20" y="50"/>
                      </a:cubicBezTo>
                      <a:cubicBezTo>
                        <a:pt x="20" y="52"/>
                        <a:pt x="21" y="53"/>
                        <a:pt x="21" y="54"/>
                      </a:cubicBezTo>
                      <a:cubicBezTo>
                        <a:pt x="20" y="54"/>
                        <a:pt x="20" y="55"/>
                        <a:pt x="20" y="55"/>
                      </a:cubicBezTo>
                      <a:cubicBezTo>
                        <a:pt x="19" y="55"/>
                        <a:pt x="18" y="54"/>
                        <a:pt x="17" y="54"/>
                      </a:cubicBezTo>
                      <a:cubicBezTo>
                        <a:pt x="18" y="56"/>
                        <a:pt x="17" y="58"/>
                        <a:pt x="16" y="59"/>
                      </a:cubicBezTo>
                      <a:cubicBezTo>
                        <a:pt x="16" y="59"/>
                        <a:pt x="15" y="59"/>
                        <a:pt x="15" y="60"/>
                      </a:cubicBezTo>
                      <a:cubicBezTo>
                        <a:pt x="14" y="61"/>
                        <a:pt x="13" y="61"/>
                        <a:pt x="12" y="60"/>
                      </a:cubicBezTo>
                      <a:cubicBezTo>
                        <a:pt x="12" y="59"/>
                        <a:pt x="11" y="59"/>
                        <a:pt x="11" y="59"/>
                      </a:cubicBezTo>
                      <a:cubicBezTo>
                        <a:pt x="11" y="59"/>
                        <a:pt x="11" y="59"/>
                        <a:pt x="11" y="59"/>
                      </a:cubicBezTo>
                      <a:cubicBezTo>
                        <a:pt x="11" y="61"/>
                        <a:pt x="9" y="63"/>
                        <a:pt x="6" y="64"/>
                      </a:cubicBezTo>
                      <a:cubicBezTo>
                        <a:pt x="5" y="64"/>
                        <a:pt x="4" y="64"/>
                        <a:pt x="3" y="63"/>
                      </a:cubicBezTo>
                      <a:cubicBezTo>
                        <a:pt x="3" y="63"/>
                        <a:pt x="3" y="62"/>
                        <a:pt x="3" y="61"/>
                      </a:cubicBezTo>
                      <a:cubicBezTo>
                        <a:pt x="1" y="63"/>
                        <a:pt x="1" y="62"/>
                        <a:pt x="1" y="62"/>
                      </a:cubicBezTo>
                      <a:close/>
                      <a:moveTo>
                        <a:pt x="6" y="47"/>
                      </a:moveTo>
                      <a:cubicBezTo>
                        <a:pt x="6" y="47"/>
                        <a:pt x="5" y="48"/>
                        <a:pt x="5" y="48"/>
                      </a:cubicBezTo>
                      <a:cubicBezTo>
                        <a:pt x="4" y="48"/>
                        <a:pt x="3" y="49"/>
                        <a:pt x="2" y="50"/>
                      </a:cubicBezTo>
                      <a:cubicBezTo>
                        <a:pt x="2" y="50"/>
                        <a:pt x="1" y="51"/>
                        <a:pt x="1" y="53"/>
                      </a:cubicBezTo>
                      <a:cubicBezTo>
                        <a:pt x="1" y="54"/>
                        <a:pt x="2" y="55"/>
                        <a:pt x="2" y="55"/>
                      </a:cubicBezTo>
                      <a:cubicBezTo>
                        <a:pt x="3" y="55"/>
                        <a:pt x="3" y="56"/>
                        <a:pt x="3" y="56"/>
                      </a:cubicBezTo>
                      <a:cubicBezTo>
                        <a:pt x="3" y="57"/>
                        <a:pt x="3" y="57"/>
                        <a:pt x="2" y="57"/>
                      </a:cubicBezTo>
                      <a:cubicBezTo>
                        <a:pt x="2" y="57"/>
                        <a:pt x="1" y="59"/>
                        <a:pt x="1" y="61"/>
                      </a:cubicBezTo>
                      <a:cubicBezTo>
                        <a:pt x="1" y="62"/>
                        <a:pt x="1" y="63"/>
                        <a:pt x="1" y="63"/>
                      </a:cubicBezTo>
                      <a:cubicBezTo>
                        <a:pt x="1" y="63"/>
                        <a:pt x="2" y="63"/>
                        <a:pt x="3" y="62"/>
                      </a:cubicBezTo>
                      <a:cubicBezTo>
                        <a:pt x="3" y="62"/>
                        <a:pt x="4" y="62"/>
                        <a:pt x="4" y="62"/>
                      </a:cubicBezTo>
                      <a:cubicBezTo>
                        <a:pt x="4" y="62"/>
                        <a:pt x="4" y="62"/>
                        <a:pt x="4" y="62"/>
                      </a:cubicBezTo>
                      <a:cubicBezTo>
                        <a:pt x="5" y="62"/>
                        <a:pt x="5" y="62"/>
                        <a:pt x="5" y="62"/>
                      </a:cubicBezTo>
                      <a:cubicBezTo>
                        <a:pt x="5" y="62"/>
                        <a:pt x="5" y="62"/>
                        <a:pt x="4" y="63"/>
                      </a:cubicBezTo>
                      <a:cubicBezTo>
                        <a:pt x="4" y="63"/>
                        <a:pt x="4" y="63"/>
                        <a:pt x="4" y="63"/>
                      </a:cubicBezTo>
                      <a:cubicBezTo>
                        <a:pt x="5" y="63"/>
                        <a:pt x="5" y="63"/>
                        <a:pt x="6" y="63"/>
                      </a:cubicBezTo>
                      <a:cubicBezTo>
                        <a:pt x="8" y="62"/>
                        <a:pt x="10" y="60"/>
                        <a:pt x="10" y="59"/>
                      </a:cubicBezTo>
                      <a:cubicBezTo>
                        <a:pt x="10" y="57"/>
                        <a:pt x="10" y="57"/>
                        <a:pt x="10" y="57"/>
                      </a:cubicBezTo>
                      <a:cubicBezTo>
                        <a:pt x="11" y="55"/>
                        <a:pt x="11" y="54"/>
                        <a:pt x="12" y="54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2" y="55"/>
                        <a:pt x="12" y="55"/>
                        <a:pt x="12" y="55"/>
                      </a:cubicBezTo>
                      <a:cubicBezTo>
                        <a:pt x="12" y="55"/>
                        <a:pt x="13" y="56"/>
                        <a:pt x="13" y="57"/>
                      </a:cubicBezTo>
                      <a:cubicBezTo>
                        <a:pt x="13" y="58"/>
                        <a:pt x="13" y="58"/>
                        <a:pt x="13" y="59"/>
                      </a:cubicBezTo>
                      <a:cubicBezTo>
                        <a:pt x="13" y="59"/>
                        <a:pt x="14" y="59"/>
                        <a:pt x="14" y="59"/>
                      </a:cubicBezTo>
                      <a:cubicBezTo>
                        <a:pt x="15" y="58"/>
                        <a:pt x="15" y="58"/>
                        <a:pt x="15" y="58"/>
                      </a:cubicBezTo>
                      <a:cubicBezTo>
                        <a:pt x="16" y="57"/>
                        <a:pt x="17" y="55"/>
                        <a:pt x="16" y="54"/>
                      </a:cubicBezTo>
                      <a:cubicBezTo>
                        <a:pt x="15" y="53"/>
                        <a:pt x="15" y="52"/>
                        <a:pt x="15" y="52"/>
                      </a:cubicBezTo>
                      <a:cubicBezTo>
                        <a:pt x="15" y="52"/>
                        <a:pt x="15" y="52"/>
                        <a:pt x="15" y="52"/>
                      </a:cubicBezTo>
                      <a:cubicBezTo>
                        <a:pt x="16" y="52"/>
                        <a:pt x="16" y="52"/>
                        <a:pt x="16" y="52"/>
                      </a:cubicBezTo>
                      <a:cubicBezTo>
                        <a:pt x="16" y="52"/>
                        <a:pt x="16" y="52"/>
                        <a:pt x="17" y="52"/>
                      </a:cubicBezTo>
                      <a:cubicBezTo>
                        <a:pt x="18" y="53"/>
                        <a:pt x="19" y="54"/>
                        <a:pt x="20" y="54"/>
                      </a:cubicBezTo>
                      <a:cubicBezTo>
                        <a:pt x="20" y="53"/>
                        <a:pt x="19" y="52"/>
                        <a:pt x="18" y="50"/>
                      </a:cubicBezTo>
                      <a:cubicBezTo>
                        <a:pt x="17" y="49"/>
                        <a:pt x="17" y="49"/>
                        <a:pt x="17" y="49"/>
                      </a:cubicBezTo>
                      <a:cubicBezTo>
                        <a:pt x="16" y="48"/>
                        <a:pt x="16" y="48"/>
                        <a:pt x="16" y="47"/>
                      </a:cubicBezTo>
                      <a:cubicBezTo>
                        <a:pt x="17" y="47"/>
                        <a:pt x="17" y="47"/>
                        <a:pt x="17" y="47"/>
                      </a:cubicBezTo>
                      <a:cubicBezTo>
                        <a:pt x="17" y="47"/>
                        <a:pt x="17" y="47"/>
                        <a:pt x="17" y="47"/>
                      </a:cubicBezTo>
                      <a:cubicBezTo>
                        <a:pt x="17" y="47"/>
                        <a:pt x="18" y="47"/>
                        <a:pt x="19" y="48"/>
                      </a:cubicBezTo>
                      <a:cubicBezTo>
                        <a:pt x="19" y="49"/>
                        <a:pt x="19" y="49"/>
                        <a:pt x="19" y="49"/>
                      </a:cubicBezTo>
                      <a:cubicBezTo>
                        <a:pt x="20" y="50"/>
                        <a:pt x="21" y="50"/>
                        <a:pt x="21" y="50"/>
                      </a:cubicBezTo>
                      <a:cubicBezTo>
                        <a:pt x="21" y="50"/>
                        <a:pt x="21" y="49"/>
                        <a:pt x="20" y="48"/>
                      </a:cubicBezTo>
                      <a:cubicBezTo>
                        <a:pt x="19" y="46"/>
                        <a:pt x="19" y="46"/>
                        <a:pt x="19" y="46"/>
                      </a:cubicBezTo>
                      <a:cubicBezTo>
                        <a:pt x="20" y="45"/>
                        <a:pt x="20" y="45"/>
                        <a:pt x="20" y="45"/>
                      </a:cubicBezTo>
                      <a:cubicBezTo>
                        <a:pt x="20" y="45"/>
                        <a:pt x="20" y="45"/>
                        <a:pt x="20" y="45"/>
                      </a:cubicBezTo>
                      <a:cubicBezTo>
                        <a:pt x="20" y="45"/>
                        <a:pt x="21" y="45"/>
                        <a:pt x="22" y="46"/>
                      </a:cubicBezTo>
                      <a:cubicBezTo>
                        <a:pt x="22" y="47"/>
                        <a:pt x="23" y="47"/>
                        <a:pt x="24" y="46"/>
                      </a:cubicBezTo>
                      <a:cubicBezTo>
                        <a:pt x="24" y="45"/>
                        <a:pt x="24" y="45"/>
                        <a:pt x="23" y="44"/>
                      </a:cubicBezTo>
                      <a:cubicBezTo>
                        <a:pt x="22" y="44"/>
                        <a:pt x="21" y="43"/>
                        <a:pt x="19" y="43"/>
                      </a:cubicBezTo>
                      <a:cubicBezTo>
                        <a:pt x="19" y="43"/>
                        <a:pt x="18" y="43"/>
                        <a:pt x="18" y="42"/>
                      </a:cubicBezTo>
                      <a:cubicBezTo>
                        <a:pt x="18" y="41"/>
                        <a:pt x="19" y="41"/>
                        <a:pt x="19" y="41"/>
                      </a:cubicBezTo>
                      <a:cubicBezTo>
                        <a:pt x="20" y="41"/>
                        <a:pt x="22" y="41"/>
                        <a:pt x="24" y="41"/>
                      </a:cubicBezTo>
                      <a:cubicBezTo>
                        <a:pt x="24" y="42"/>
                        <a:pt x="25" y="41"/>
                        <a:pt x="26" y="39"/>
                      </a:cubicBezTo>
                      <a:cubicBezTo>
                        <a:pt x="26" y="37"/>
                        <a:pt x="26" y="35"/>
                        <a:pt x="26" y="32"/>
                      </a:cubicBezTo>
                      <a:cubicBezTo>
                        <a:pt x="26" y="32"/>
                        <a:pt x="26" y="31"/>
                        <a:pt x="26" y="31"/>
                      </a:cubicBezTo>
                      <a:cubicBezTo>
                        <a:pt x="26" y="31"/>
                        <a:pt x="26" y="30"/>
                        <a:pt x="25" y="30"/>
                      </a:cubicBezTo>
                      <a:cubicBezTo>
                        <a:pt x="25" y="30"/>
                        <a:pt x="24" y="30"/>
                        <a:pt x="24" y="30"/>
                      </a:cubicBezTo>
                      <a:cubicBezTo>
                        <a:pt x="23" y="31"/>
                        <a:pt x="23" y="31"/>
                        <a:pt x="23" y="31"/>
                      </a:cubicBezTo>
                      <a:cubicBezTo>
                        <a:pt x="23" y="31"/>
                        <a:pt x="24" y="31"/>
                        <a:pt x="24" y="32"/>
                      </a:cubicBezTo>
                      <a:cubicBezTo>
                        <a:pt x="24" y="33"/>
                        <a:pt x="23" y="33"/>
                        <a:pt x="23" y="33"/>
                      </a:cubicBezTo>
                      <a:cubicBezTo>
                        <a:pt x="22" y="33"/>
                        <a:pt x="21" y="33"/>
                        <a:pt x="21" y="34"/>
                      </a:cubicBezTo>
                      <a:cubicBezTo>
                        <a:pt x="21" y="35"/>
                        <a:pt x="20" y="36"/>
                        <a:pt x="20" y="36"/>
                      </a:cubicBezTo>
                      <a:cubicBezTo>
                        <a:pt x="19" y="36"/>
                        <a:pt x="19" y="36"/>
                        <a:pt x="19" y="35"/>
                      </a:cubicBezTo>
                      <a:cubicBezTo>
                        <a:pt x="19" y="35"/>
                        <a:pt x="19" y="35"/>
                        <a:pt x="18" y="35"/>
                      </a:cubicBezTo>
                      <a:cubicBezTo>
                        <a:pt x="17" y="35"/>
                        <a:pt x="17" y="35"/>
                        <a:pt x="16" y="36"/>
                      </a:cubicBezTo>
                      <a:cubicBezTo>
                        <a:pt x="15" y="36"/>
                        <a:pt x="15" y="36"/>
                        <a:pt x="15" y="36"/>
                      </a:cubicBezTo>
                      <a:cubicBezTo>
                        <a:pt x="14" y="36"/>
                        <a:pt x="14" y="36"/>
                        <a:pt x="14" y="36"/>
                      </a:cubicBezTo>
                      <a:cubicBezTo>
                        <a:pt x="13" y="36"/>
                        <a:pt x="13" y="36"/>
                        <a:pt x="13" y="36"/>
                      </a:cubicBezTo>
                      <a:cubicBezTo>
                        <a:pt x="13" y="35"/>
                        <a:pt x="13" y="35"/>
                        <a:pt x="14" y="34"/>
                      </a:cubicBezTo>
                      <a:cubicBezTo>
                        <a:pt x="15" y="34"/>
                        <a:pt x="15" y="34"/>
                        <a:pt x="15" y="34"/>
                      </a:cubicBezTo>
                      <a:cubicBezTo>
                        <a:pt x="16" y="33"/>
                        <a:pt x="16" y="33"/>
                        <a:pt x="16" y="33"/>
                      </a:cubicBezTo>
                      <a:cubicBezTo>
                        <a:pt x="16" y="33"/>
                        <a:pt x="16" y="33"/>
                        <a:pt x="15" y="33"/>
                      </a:cubicBezTo>
                      <a:cubicBezTo>
                        <a:pt x="14" y="33"/>
                        <a:pt x="13" y="32"/>
                        <a:pt x="13" y="32"/>
                      </a:cubicBezTo>
                      <a:cubicBezTo>
                        <a:pt x="13" y="31"/>
                        <a:pt x="13" y="31"/>
                        <a:pt x="13" y="30"/>
                      </a:cubicBezTo>
                      <a:cubicBezTo>
                        <a:pt x="13" y="30"/>
                        <a:pt x="14" y="28"/>
                        <a:pt x="13" y="28"/>
                      </a:cubicBezTo>
                      <a:cubicBezTo>
                        <a:pt x="13" y="27"/>
                        <a:pt x="13" y="27"/>
                        <a:pt x="14" y="27"/>
                      </a:cubicBezTo>
                      <a:cubicBezTo>
                        <a:pt x="14" y="27"/>
                        <a:pt x="14" y="27"/>
                        <a:pt x="14" y="27"/>
                      </a:cubicBezTo>
                      <a:cubicBezTo>
                        <a:pt x="15" y="27"/>
                        <a:pt x="15" y="27"/>
                        <a:pt x="15" y="27"/>
                      </a:cubicBezTo>
                      <a:cubicBezTo>
                        <a:pt x="16" y="27"/>
                        <a:pt x="16" y="27"/>
                        <a:pt x="17" y="28"/>
                      </a:cubicBezTo>
                      <a:cubicBezTo>
                        <a:pt x="17" y="29"/>
                        <a:pt x="17" y="29"/>
                        <a:pt x="17" y="30"/>
                      </a:cubicBezTo>
                      <a:cubicBezTo>
                        <a:pt x="17" y="30"/>
                        <a:pt x="17" y="30"/>
                        <a:pt x="17" y="30"/>
                      </a:cubicBezTo>
                      <a:cubicBezTo>
                        <a:pt x="17" y="30"/>
                        <a:pt x="17" y="30"/>
                        <a:pt x="17" y="30"/>
                      </a:cubicBezTo>
                      <a:cubicBezTo>
                        <a:pt x="17" y="30"/>
                        <a:pt x="17" y="30"/>
                        <a:pt x="17" y="30"/>
                      </a:cubicBezTo>
                      <a:cubicBezTo>
                        <a:pt x="17" y="30"/>
                        <a:pt x="17" y="30"/>
                        <a:pt x="17" y="30"/>
                      </a:cubicBezTo>
                      <a:cubicBezTo>
                        <a:pt x="18" y="30"/>
                        <a:pt x="19" y="29"/>
                        <a:pt x="20" y="29"/>
                      </a:cubicBezTo>
                      <a:cubicBezTo>
                        <a:pt x="20" y="28"/>
                        <a:pt x="22" y="27"/>
                        <a:pt x="24" y="27"/>
                      </a:cubicBezTo>
                      <a:cubicBezTo>
                        <a:pt x="25" y="27"/>
                        <a:pt x="26" y="27"/>
                        <a:pt x="26" y="26"/>
                      </a:cubicBezTo>
                      <a:cubicBezTo>
                        <a:pt x="26" y="26"/>
                        <a:pt x="24" y="26"/>
                        <a:pt x="22" y="26"/>
                      </a:cubicBezTo>
                      <a:cubicBezTo>
                        <a:pt x="22" y="26"/>
                        <a:pt x="22" y="26"/>
                        <a:pt x="22" y="26"/>
                      </a:cubicBezTo>
                      <a:cubicBezTo>
                        <a:pt x="21" y="26"/>
                        <a:pt x="20" y="26"/>
                        <a:pt x="19" y="25"/>
                      </a:cubicBezTo>
                      <a:cubicBezTo>
                        <a:pt x="19" y="24"/>
                        <a:pt x="20" y="24"/>
                        <a:pt x="21" y="23"/>
                      </a:cubicBezTo>
                      <a:cubicBezTo>
                        <a:pt x="22" y="23"/>
                        <a:pt x="22" y="23"/>
                        <a:pt x="22" y="23"/>
                      </a:cubicBezTo>
                      <a:cubicBezTo>
                        <a:pt x="23" y="23"/>
                        <a:pt x="24" y="22"/>
                        <a:pt x="24" y="21"/>
                      </a:cubicBezTo>
                      <a:cubicBezTo>
                        <a:pt x="24" y="21"/>
                        <a:pt x="24" y="21"/>
                        <a:pt x="24" y="21"/>
                      </a:cubicBezTo>
                      <a:cubicBezTo>
                        <a:pt x="24" y="20"/>
                        <a:pt x="22" y="20"/>
                        <a:pt x="21" y="20"/>
                      </a:cubicBezTo>
                      <a:cubicBezTo>
                        <a:pt x="19" y="20"/>
                        <a:pt x="19" y="20"/>
                        <a:pt x="19" y="20"/>
                      </a:cubicBezTo>
                      <a:cubicBezTo>
                        <a:pt x="18" y="21"/>
                        <a:pt x="17" y="22"/>
                        <a:pt x="17" y="22"/>
                      </a:cubicBezTo>
                      <a:cubicBezTo>
                        <a:pt x="17" y="23"/>
                        <a:pt x="16" y="24"/>
                        <a:pt x="14" y="25"/>
                      </a:cubicBezTo>
                      <a:cubicBezTo>
                        <a:pt x="14" y="25"/>
                        <a:pt x="13" y="25"/>
                        <a:pt x="13" y="25"/>
                      </a:cubicBezTo>
                      <a:cubicBezTo>
                        <a:pt x="13" y="25"/>
                        <a:pt x="12" y="25"/>
                        <a:pt x="12" y="24"/>
                      </a:cubicBezTo>
                      <a:cubicBezTo>
                        <a:pt x="12" y="24"/>
                        <a:pt x="13" y="23"/>
                        <a:pt x="13" y="23"/>
                      </a:cubicBezTo>
                      <a:cubicBezTo>
                        <a:pt x="13" y="23"/>
                        <a:pt x="13" y="22"/>
                        <a:pt x="13" y="22"/>
                      </a:cubicBezTo>
                      <a:cubicBezTo>
                        <a:pt x="13" y="22"/>
                        <a:pt x="13" y="22"/>
                        <a:pt x="13" y="22"/>
                      </a:cubicBezTo>
                      <a:cubicBezTo>
                        <a:pt x="13" y="22"/>
                        <a:pt x="13" y="22"/>
                        <a:pt x="13" y="22"/>
                      </a:cubicBezTo>
                      <a:cubicBezTo>
                        <a:pt x="12" y="23"/>
                        <a:pt x="11" y="23"/>
                        <a:pt x="11" y="22"/>
                      </a:cubicBezTo>
                      <a:cubicBezTo>
                        <a:pt x="11" y="22"/>
                        <a:pt x="10" y="21"/>
                        <a:pt x="10" y="19"/>
                      </a:cubicBezTo>
                      <a:cubicBezTo>
                        <a:pt x="9" y="19"/>
                        <a:pt x="9" y="18"/>
                        <a:pt x="9" y="18"/>
                      </a:cubicBezTo>
                      <a:cubicBezTo>
                        <a:pt x="10" y="18"/>
                        <a:pt x="10" y="18"/>
                        <a:pt x="10" y="18"/>
                      </a:cubicBezTo>
                      <a:cubicBezTo>
                        <a:pt x="10" y="18"/>
                        <a:pt x="10" y="18"/>
                        <a:pt x="10" y="18"/>
                      </a:cubicBezTo>
                      <a:cubicBezTo>
                        <a:pt x="10" y="18"/>
                        <a:pt x="11" y="18"/>
                        <a:pt x="11" y="18"/>
                      </a:cubicBezTo>
                      <a:cubicBezTo>
                        <a:pt x="12" y="19"/>
                        <a:pt x="12" y="19"/>
                        <a:pt x="13" y="19"/>
                      </a:cubicBezTo>
                      <a:cubicBezTo>
                        <a:pt x="13" y="19"/>
                        <a:pt x="14" y="18"/>
                        <a:pt x="14" y="17"/>
                      </a:cubicBezTo>
                      <a:cubicBezTo>
                        <a:pt x="14" y="16"/>
                        <a:pt x="14" y="16"/>
                        <a:pt x="15" y="16"/>
                      </a:cubicBezTo>
                      <a:cubicBezTo>
                        <a:pt x="15" y="16"/>
                        <a:pt x="15" y="16"/>
                        <a:pt x="16" y="17"/>
                      </a:cubicBezTo>
                      <a:cubicBezTo>
                        <a:pt x="16" y="17"/>
                        <a:pt x="18" y="18"/>
                        <a:pt x="20" y="17"/>
                      </a:cubicBezTo>
                      <a:cubicBezTo>
                        <a:pt x="21" y="17"/>
                        <a:pt x="21" y="17"/>
                        <a:pt x="22" y="16"/>
                      </a:cubicBezTo>
                      <a:cubicBezTo>
                        <a:pt x="22" y="16"/>
                        <a:pt x="22" y="15"/>
                        <a:pt x="22" y="15"/>
                      </a:cubicBezTo>
                      <a:cubicBezTo>
                        <a:pt x="21" y="14"/>
                        <a:pt x="19" y="13"/>
                        <a:pt x="18" y="13"/>
                      </a:cubicBezTo>
                      <a:cubicBezTo>
                        <a:pt x="18" y="13"/>
                        <a:pt x="17" y="13"/>
                        <a:pt x="17" y="12"/>
                      </a:cubicBezTo>
                      <a:cubicBezTo>
                        <a:pt x="17" y="12"/>
                        <a:pt x="17" y="12"/>
                        <a:pt x="18" y="11"/>
                      </a:cubicBezTo>
                      <a:cubicBezTo>
                        <a:pt x="18" y="11"/>
                        <a:pt x="18" y="11"/>
                        <a:pt x="18" y="11"/>
                      </a:cubicBezTo>
                      <a:cubicBezTo>
                        <a:pt x="18" y="11"/>
                        <a:pt x="18" y="10"/>
                        <a:pt x="18" y="10"/>
                      </a:cubicBezTo>
                      <a:cubicBezTo>
                        <a:pt x="17" y="9"/>
                        <a:pt x="15" y="7"/>
                        <a:pt x="14" y="7"/>
                      </a:cubicBezTo>
                      <a:cubicBezTo>
                        <a:pt x="13" y="8"/>
                        <a:pt x="13" y="6"/>
                        <a:pt x="13" y="6"/>
                      </a:cubicBezTo>
                      <a:cubicBezTo>
                        <a:pt x="13" y="6"/>
                        <a:pt x="13" y="6"/>
                        <a:pt x="13" y="6"/>
                      </a:cubicBezTo>
                      <a:cubicBezTo>
                        <a:pt x="12" y="8"/>
                        <a:pt x="12" y="8"/>
                        <a:pt x="12" y="8"/>
                      </a:cubicBezTo>
                      <a:cubicBezTo>
                        <a:pt x="12" y="7"/>
                        <a:pt x="13" y="8"/>
                        <a:pt x="13" y="7"/>
                      </a:cubicBezTo>
                      <a:cubicBezTo>
                        <a:pt x="14" y="7"/>
                        <a:pt x="14" y="7"/>
                        <a:pt x="14" y="7"/>
                      </a:cubicBezTo>
                      <a:cubicBezTo>
                        <a:pt x="14" y="6"/>
                        <a:pt x="13" y="5"/>
                        <a:pt x="12" y="5"/>
                      </a:cubicBezTo>
                      <a:cubicBezTo>
                        <a:pt x="11" y="4"/>
                        <a:pt x="9" y="4"/>
                        <a:pt x="8" y="5"/>
                      </a:cubicBezTo>
                      <a:cubicBezTo>
                        <a:pt x="8" y="6"/>
                        <a:pt x="7" y="6"/>
                        <a:pt x="7" y="6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6" y="5"/>
                        <a:pt x="6" y="5"/>
                        <a:pt x="7" y="4"/>
                      </a:cubicBezTo>
                      <a:cubicBezTo>
                        <a:pt x="7" y="4"/>
                        <a:pt x="7" y="3"/>
                        <a:pt x="7" y="3"/>
                      </a:cubicBezTo>
                      <a:cubicBezTo>
                        <a:pt x="7" y="3"/>
                        <a:pt x="6" y="2"/>
                        <a:pt x="5" y="2"/>
                      </a:cubicBezTo>
                      <a:cubicBezTo>
                        <a:pt x="5" y="1"/>
                        <a:pt x="4" y="1"/>
                        <a:pt x="4" y="1"/>
                      </a:cubicBezTo>
                      <a:cubicBezTo>
                        <a:pt x="2" y="1"/>
                        <a:pt x="1" y="2"/>
                        <a:pt x="1" y="4"/>
                      </a:cubicBezTo>
                      <a:cubicBezTo>
                        <a:pt x="1" y="10"/>
                        <a:pt x="1" y="10"/>
                        <a:pt x="1" y="10"/>
                      </a:cubicBezTo>
                      <a:cubicBezTo>
                        <a:pt x="1" y="12"/>
                        <a:pt x="1" y="13"/>
                        <a:pt x="2" y="13"/>
                      </a:cubicBezTo>
                      <a:cubicBezTo>
                        <a:pt x="2" y="13"/>
                        <a:pt x="3" y="14"/>
                        <a:pt x="3" y="14"/>
                      </a:cubicBezTo>
                      <a:cubicBezTo>
                        <a:pt x="3" y="14"/>
                        <a:pt x="2" y="15"/>
                        <a:pt x="2" y="15"/>
                      </a:cubicBezTo>
                      <a:cubicBezTo>
                        <a:pt x="2" y="15"/>
                        <a:pt x="1" y="16"/>
                        <a:pt x="1" y="18"/>
                      </a:cubicBezTo>
                      <a:cubicBezTo>
                        <a:pt x="1" y="19"/>
                        <a:pt x="1" y="19"/>
                        <a:pt x="1" y="19"/>
                      </a:cubicBezTo>
                      <a:cubicBezTo>
                        <a:pt x="2" y="20"/>
                        <a:pt x="2" y="20"/>
                        <a:pt x="3" y="19"/>
                      </a:cubicBezTo>
                      <a:cubicBezTo>
                        <a:pt x="4" y="18"/>
                        <a:pt x="5" y="18"/>
                        <a:pt x="5" y="18"/>
                      </a:cubicBezTo>
                      <a:cubicBezTo>
                        <a:pt x="6" y="18"/>
                        <a:pt x="6" y="19"/>
                        <a:pt x="6" y="19"/>
                      </a:cubicBezTo>
                      <a:cubicBezTo>
                        <a:pt x="6" y="19"/>
                        <a:pt x="6" y="20"/>
                        <a:pt x="5" y="20"/>
                      </a:cubicBezTo>
                      <a:cubicBezTo>
                        <a:pt x="5" y="21"/>
                        <a:pt x="4" y="23"/>
                        <a:pt x="4" y="24"/>
                      </a:cubicBezTo>
                      <a:cubicBezTo>
                        <a:pt x="4" y="26"/>
                        <a:pt x="3" y="27"/>
                        <a:pt x="2" y="27"/>
                      </a:cubicBezTo>
                      <a:cubicBezTo>
                        <a:pt x="2" y="28"/>
                        <a:pt x="1" y="29"/>
                        <a:pt x="1" y="31"/>
                      </a:cubicBezTo>
                      <a:cubicBezTo>
                        <a:pt x="1" y="34"/>
                        <a:pt x="1" y="34"/>
                        <a:pt x="1" y="34"/>
                      </a:cubicBezTo>
                      <a:cubicBezTo>
                        <a:pt x="1" y="36"/>
                        <a:pt x="2" y="37"/>
                        <a:pt x="3" y="37"/>
                      </a:cubicBezTo>
                      <a:cubicBezTo>
                        <a:pt x="5" y="37"/>
                        <a:pt x="7" y="38"/>
                        <a:pt x="8" y="39"/>
                      </a:cubicBezTo>
                      <a:cubicBezTo>
                        <a:pt x="8" y="39"/>
                        <a:pt x="9" y="40"/>
                        <a:pt x="9" y="41"/>
                      </a:cubicBezTo>
                      <a:cubicBezTo>
                        <a:pt x="9" y="41"/>
                        <a:pt x="9" y="41"/>
                        <a:pt x="8" y="42"/>
                      </a:cubicBezTo>
                      <a:cubicBezTo>
                        <a:pt x="8" y="43"/>
                        <a:pt x="6" y="42"/>
                        <a:pt x="6" y="41"/>
                      </a:cubicBezTo>
                      <a:cubicBezTo>
                        <a:pt x="5" y="41"/>
                        <a:pt x="4" y="40"/>
                        <a:pt x="3" y="40"/>
                      </a:cubicBezTo>
                      <a:cubicBezTo>
                        <a:pt x="2" y="40"/>
                        <a:pt x="1" y="41"/>
                        <a:pt x="1" y="43"/>
                      </a:cubicBezTo>
                      <a:cubicBezTo>
                        <a:pt x="1" y="44"/>
                        <a:pt x="1" y="44"/>
                        <a:pt x="1" y="44"/>
                      </a:cubicBezTo>
                      <a:cubicBezTo>
                        <a:pt x="1" y="45"/>
                        <a:pt x="1" y="46"/>
                        <a:pt x="1" y="46"/>
                      </a:cubicBezTo>
                      <a:cubicBezTo>
                        <a:pt x="2" y="46"/>
                        <a:pt x="2" y="46"/>
                        <a:pt x="2" y="46"/>
                      </a:cubicBezTo>
                      <a:cubicBezTo>
                        <a:pt x="5" y="45"/>
                        <a:pt x="5" y="45"/>
                        <a:pt x="5" y="45"/>
                      </a:cubicBezTo>
                      <a:cubicBezTo>
                        <a:pt x="6" y="45"/>
                        <a:pt x="6" y="45"/>
                        <a:pt x="6" y="45"/>
                      </a:cubicBezTo>
                      <a:cubicBezTo>
                        <a:pt x="8" y="45"/>
                        <a:pt x="9" y="46"/>
                        <a:pt x="9" y="47"/>
                      </a:cubicBezTo>
                      <a:cubicBezTo>
                        <a:pt x="9" y="48"/>
                        <a:pt x="9" y="49"/>
                        <a:pt x="8" y="49"/>
                      </a:cubicBezTo>
                      <a:cubicBezTo>
                        <a:pt x="8" y="49"/>
                        <a:pt x="8" y="49"/>
                        <a:pt x="8" y="49"/>
                      </a:cubicBezTo>
                      <a:cubicBezTo>
                        <a:pt x="8" y="49"/>
                        <a:pt x="8" y="49"/>
                        <a:pt x="8" y="49"/>
                      </a:cubicBezTo>
                      <a:cubicBezTo>
                        <a:pt x="7" y="49"/>
                        <a:pt x="7" y="49"/>
                        <a:pt x="7" y="48"/>
                      </a:cubicBezTo>
                      <a:cubicBezTo>
                        <a:pt x="7" y="48"/>
                        <a:pt x="6" y="47"/>
                        <a:pt x="6" y="4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87" name="Freeform 510">
                  <a:extLst>
                    <a:ext uri="{FF2B5EF4-FFF2-40B4-BE49-F238E27FC236}">
                      <a16:creationId xmlns:a16="http://schemas.microsoft.com/office/drawing/2014/main" id="{1E22C5F4-08C8-BF36-BABB-A7C8332203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054976" y="3008313"/>
                  <a:ext cx="96838" cy="115888"/>
                </a:xfrm>
                <a:custGeom>
                  <a:avLst/>
                  <a:gdLst>
                    <a:gd name="T0" fmla="*/ 55 w 71"/>
                    <a:gd name="T1" fmla="*/ 41 h 85"/>
                    <a:gd name="T2" fmla="*/ 44 w 71"/>
                    <a:gd name="T3" fmla="*/ 22 h 85"/>
                    <a:gd name="T4" fmla="*/ 43 w 71"/>
                    <a:gd name="T5" fmla="*/ 0 h 85"/>
                    <a:gd name="T6" fmla="*/ 35 w 71"/>
                    <a:gd name="T7" fmla="*/ 13 h 85"/>
                    <a:gd name="T8" fmla="*/ 26 w 71"/>
                    <a:gd name="T9" fmla="*/ 6 h 85"/>
                    <a:gd name="T10" fmla="*/ 25 w 71"/>
                    <a:gd name="T11" fmla="*/ 18 h 85"/>
                    <a:gd name="T12" fmla="*/ 17 w 71"/>
                    <a:gd name="T13" fmla="*/ 13 h 85"/>
                    <a:gd name="T14" fmla="*/ 10 w 71"/>
                    <a:gd name="T15" fmla="*/ 25 h 85"/>
                    <a:gd name="T16" fmla="*/ 2 w 71"/>
                    <a:gd name="T17" fmla="*/ 62 h 85"/>
                    <a:gd name="T18" fmla="*/ 58 w 71"/>
                    <a:gd name="T19" fmla="*/ 81 h 85"/>
                    <a:gd name="T20" fmla="*/ 48 w 71"/>
                    <a:gd name="T21" fmla="*/ 54 h 85"/>
                    <a:gd name="T22" fmla="*/ 40 w 71"/>
                    <a:gd name="T23" fmla="*/ 49 h 85"/>
                    <a:gd name="T24" fmla="*/ 39 w 71"/>
                    <a:gd name="T25" fmla="*/ 72 h 85"/>
                    <a:gd name="T26" fmla="*/ 39 w 71"/>
                    <a:gd name="T27" fmla="*/ 73 h 85"/>
                    <a:gd name="T28" fmla="*/ 38 w 71"/>
                    <a:gd name="T29" fmla="*/ 73 h 85"/>
                    <a:gd name="T30" fmla="*/ 38 w 71"/>
                    <a:gd name="T31" fmla="*/ 71 h 85"/>
                    <a:gd name="T32" fmla="*/ 36 w 71"/>
                    <a:gd name="T33" fmla="*/ 47 h 85"/>
                    <a:gd name="T34" fmla="*/ 36 w 71"/>
                    <a:gd name="T35" fmla="*/ 63 h 85"/>
                    <a:gd name="T36" fmla="*/ 35 w 71"/>
                    <a:gd name="T37" fmla="*/ 63 h 85"/>
                    <a:gd name="T38" fmla="*/ 34 w 71"/>
                    <a:gd name="T39" fmla="*/ 64 h 85"/>
                    <a:gd name="T40" fmla="*/ 33 w 71"/>
                    <a:gd name="T41" fmla="*/ 62 h 85"/>
                    <a:gd name="T42" fmla="*/ 31 w 71"/>
                    <a:gd name="T43" fmla="*/ 58 h 85"/>
                    <a:gd name="T44" fmla="*/ 30 w 71"/>
                    <a:gd name="T45" fmla="*/ 57 h 85"/>
                    <a:gd name="T46" fmla="*/ 30 w 71"/>
                    <a:gd name="T47" fmla="*/ 57 h 85"/>
                    <a:gd name="T48" fmla="*/ 29 w 71"/>
                    <a:gd name="T49" fmla="*/ 56 h 85"/>
                    <a:gd name="T50" fmla="*/ 32 w 71"/>
                    <a:gd name="T51" fmla="*/ 41 h 85"/>
                    <a:gd name="T52" fmla="*/ 27 w 71"/>
                    <a:gd name="T53" fmla="*/ 37 h 85"/>
                    <a:gd name="T54" fmla="*/ 26 w 71"/>
                    <a:gd name="T55" fmla="*/ 37 h 85"/>
                    <a:gd name="T56" fmla="*/ 28 w 71"/>
                    <a:gd name="T57" fmla="*/ 36 h 85"/>
                    <a:gd name="T58" fmla="*/ 39 w 71"/>
                    <a:gd name="T59" fmla="*/ 47 h 85"/>
                    <a:gd name="T60" fmla="*/ 50 w 71"/>
                    <a:gd name="T61" fmla="*/ 53 h 85"/>
                    <a:gd name="T62" fmla="*/ 49 w 71"/>
                    <a:gd name="T63" fmla="*/ 54 h 85"/>
                    <a:gd name="T64" fmla="*/ 58 w 71"/>
                    <a:gd name="T65" fmla="*/ 69 h 85"/>
                    <a:gd name="T66" fmla="*/ 57 w 71"/>
                    <a:gd name="T67" fmla="*/ 70 h 85"/>
                    <a:gd name="T68" fmla="*/ 55 w 71"/>
                    <a:gd name="T69" fmla="*/ 68 h 85"/>
                    <a:gd name="T70" fmla="*/ 55 w 71"/>
                    <a:gd name="T71" fmla="*/ 62 h 85"/>
                    <a:gd name="T72" fmla="*/ 53 w 71"/>
                    <a:gd name="T73" fmla="*/ 69 h 85"/>
                    <a:gd name="T74" fmla="*/ 52 w 71"/>
                    <a:gd name="T75" fmla="*/ 66 h 85"/>
                    <a:gd name="T76" fmla="*/ 51 w 71"/>
                    <a:gd name="T77" fmla="*/ 71 h 85"/>
                    <a:gd name="T78" fmla="*/ 51 w 71"/>
                    <a:gd name="T79" fmla="*/ 71 h 85"/>
                    <a:gd name="T80" fmla="*/ 50 w 71"/>
                    <a:gd name="T81" fmla="*/ 69 h 85"/>
                    <a:gd name="T82" fmla="*/ 49 w 71"/>
                    <a:gd name="T83" fmla="*/ 71 h 85"/>
                    <a:gd name="T84" fmla="*/ 49 w 71"/>
                    <a:gd name="T85" fmla="*/ 71 h 85"/>
                    <a:gd name="T86" fmla="*/ 53 w 71"/>
                    <a:gd name="T87" fmla="*/ 55 h 85"/>
                    <a:gd name="T88" fmla="*/ 48 w 71"/>
                    <a:gd name="T89" fmla="*/ 46 h 85"/>
                    <a:gd name="T90" fmla="*/ 40 w 71"/>
                    <a:gd name="T91" fmla="*/ 45 h 85"/>
                    <a:gd name="T92" fmla="*/ 40 w 71"/>
                    <a:gd name="T93" fmla="*/ 45 h 85"/>
                    <a:gd name="T94" fmla="*/ 39 w 71"/>
                    <a:gd name="T95" fmla="*/ 45 h 85"/>
                    <a:gd name="T96" fmla="*/ 38 w 71"/>
                    <a:gd name="T97" fmla="*/ 44 h 85"/>
                    <a:gd name="T98" fmla="*/ 34 w 71"/>
                    <a:gd name="T99" fmla="*/ 36 h 85"/>
                    <a:gd name="T100" fmla="*/ 32 w 71"/>
                    <a:gd name="T101" fmla="*/ 35 h 85"/>
                    <a:gd name="T102" fmla="*/ 34 w 71"/>
                    <a:gd name="T103" fmla="*/ 34 h 85"/>
                    <a:gd name="T104" fmla="*/ 39 w 71"/>
                    <a:gd name="T105" fmla="*/ 29 h 85"/>
                    <a:gd name="T106" fmla="*/ 41 w 71"/>
                    <a:gd name="T107" fmla="*/ 31 h 85"/>
                    <a:gd name="T108" fmla="*/ 41 w 71"/>
                    <a:gd name="T109" fmla="*/ 31 h 85"/>
                    <a:gd name="T110" fmla="*/ 41 w 71"/>
                    <a:gd name="T111" fmla="*/ 38 h 85"/>
                    <a:gd name="T112" fmla="*/ 42 w 71"/>
                    <a:gd name="T113" fmla="*/ 39 h 85"/>
                    <a:gd name="T114" fmla="*/ 55 w 71"/>
                    <a:gd name="T115" fmla="*/ 48 h 85"/>
                    <a:gd name="T116" fmla="*/ 56 w 71"/>
                    <a:gd name="T117" fmla="*/ 58 h 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71" h="85">
                      <a:moveTo>
                        <a:pt x="65" y="65"/>
                      </a:moveTo>
                      <a:cubicBezTo>
                        <a:pt x="64" y="63"/>
                        <a:pt x="61" y="47"/>
                        <a:pt x="55" y="41"/>
                      </a:cubicBezTo>
                      <a:cubicBezTo>
                        <a:pt x="48" y="34"/>
                        <a:pt x="42" y="33"/>
                        <a:pt x="45" y="30"/>
                      </a:cubicBezTo>
                      <a:cubicBezTo>
                        <a:pt x="47" y="28"/>
                        <a:pt x="44" y="22"/>
                        <a:pt x="44" y="22"/>
                      </a:cubicBezTo>
                      <a:cubicBezTo>
                        <a:pt x="42" y="16"/>
                        <a:pt x="43" y="15"/>
                        <a:pt x="43" y="15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5" y="13"/>
                        <a:pt x="35" y="13"/>
                        <a:pt x="35" y="13"/>
                      </a:cubicBezTo>
                      <a:cubicBezTo>
                        <a:pt x="34" y="21"/>
                        <a:pt x="34" y="21"/>
                        <a:pt x="34" y="21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20" y="9"/>
                        <a:pt x="20" y="9"/>
                        <a:pt x="20" y="9"/>
                      </a:cubicBezTo>
                      <a:cubicBezTo>
                        <a:pt x="20" y="9"/>
                        <a:pt x="24" y="16"/>
                        <a:pt x="25" y="18"/>
                      </a:cubicBezTo>
                      <a:cubicBezTo>
                        <a:pt x="26" y="19"/>
                        <a:pt x="25" y="22"/>
                        <a:pt x="21" y="23"/>
                      </a:cubicBezTo>
                      <a:cubicBezTo>
                        <a:pt x="17" y="24"/>
                        <a:pt x="17" y="13"/>
                        <a:pt x="17" y="13"/>
                      </a:cubicBezTo>
                      <a:cubicBezTo>
                        <a:pt x="9" y="16"/>
                        <a:pt x="9" y="16"/>
                        <a:pt x="9" y="16"/>
                      </a:cubicBezTo>
                      <a:cubicBezTo>
                        <a:pt x="10" y="25"/>
                        <a:pt x="10" y="25"/>
                        <a:pt x="10" y="25"/>
                      </a:cubicBezTo>
                      <a:cubicBezTo>
                        <a:pt x="13" y="39"/>
                        <a:pt x="7" y="45"/>
                        <a:pt x="7" y="45"/>
                      </a:cubicBezTo>
                      <a:cubicBezTo>
                        <a:pt x="0" y="55"/>
                        <a:pt x="2" y="62"/>
                        <a:pt x="2" y="62"/>
                      </a:cubicBezTo>
                      <a:cubicBezTo>
                        <a:pt x="3" y="73"/>
                        <a:pt x="15" y="77"/>
                        <a:pt x="15" y="77"/>
                      </a:cubicBezTo>
                      <a:cubicBezTo>
                        <a:pt x="28" y="82"/>
                        <a:pt x="45" y="85"/>
                        <a:pt x="58" y="81"/>
                      </a:cubicBezTo>
                      <a:cubicBezTo>
                        <a:pt x="71" y="77"/>
                        <a:pt x="66" y="67"/>
                        <a:pt x="65" y="65"/>
                      </a:cubicBezTo>
                      <a:close/>
                      <a:moveTo>
                        <a:pt x="48" y="54"/>
                      </a:moveTo>
                      <a:cubicBezTo>
                        <a:pt x="46" y="50"/>
                        <a:pt x="44" y="49"/>
                        <a:pt x="42" y="49"/>
                      </a:cubicBezTo>
                      <a:cubicBezTo>
                        <a:pt x="41" y="49"/>
                        <a:pt x="40" y="49"/>
                        <a:pt x="40" y="49"/>
                      </a:cubicBezTo>
                      <a:cubicBezTo>
                        <a:pt x="40" y="50"/>
                        <a:pt x="41" y="51"/>
                        <a:pt x="41" y="52"/>
                      </a:cubicBezTo>
                      <a:cubicBezTo>
                        <a:pt x="47" y="62"/>
                        <a:pt x="39" y="72"/>
                        <a:pt x="39" y="72"/>
                      </a:cubicBezTo>
                      <a:cubicBezTo>
                        <a:pt x="39" y="72"/>
                        <a:pt x="39" y="72"/>
                        <a:pt x="39" y="72"/>
                      </a:cubicBezTo>
                      <a:cubicBezTo>
                        <a:pt x="39" y="73"/>
                        <a:pt x="39" y="73"/>
                        <a:pt x="39" y="73"/>
                      </a:cubicBezTo>
                      <a:cubicBezTo>
                        <a:pt x="39" y="73"/>
                        <a:pt x="39" y="73"/>
                        <a:pt x="39" y="73"/>
                      </a:cubicBezTo>
                      <a:cubicBezTo>
                        <a:pt x="38" y="73"/>
                        <a:pt x="38" y="73"/>
                        <a:pt x="38" y="73"/>
                      </a:cubicBezTo>
                      <a:cubicBezTo>
                        <a:pt x="38" y="73"/>
                        <a:pt x="38" y="73"/>
                        <a:pt x="38" y="73"/>
                      </a:cubicBezTo>
                      <a:cubicBezTo>
                        <a:pt x="37" y="72"/>
                        <a:pt x="37" y="71"/>
                        <a:pt x="38" y="71"/>
                      </a:cubicBezTo>
                      <a:cubicBezTo>
                        <a:pt x="38" y="70"/>
                        <a:pt x="44" y="62"/>
                        <a:pt x="39" y="53"/>
                      </a:cubicBezTo>
                      <a:cubicBezTo>
                        <a:pt x="38" y="50"/>
                        <a:pt x="37" y="48"/>
                        <a:pt x="36" y="47"/>
                      </a:cubicBezTo>
                      <a:cubicBezTo>
                        <a:pt x="35" y="48"/>
                        <a:pt x="35" y="50"/>
                        <a:pt x="34" y="52"/>
                      </a:cubicBezTo>
                      <a:cubicBezTo>
                        <a:pt x="35" y="53"/>
                        <a:pt x="37" y="57"/>
                        <a:pt x="36" y="63"/>
                      </a:cubicBezTo>
                      <a:cubicBezTo>
                        <a:pt x="36" y="63"/>
                        <a:pt x="36" y="63"/>
                        <a:pt x="36" y="63"/>
                      </a:cubicBezTo>
                      <a:cubicBezTo>
                        <a:pt x="35" y="63"/>
                        <a:pt x="35" y="63"/>
                        <a:pt x="35" y="63"/>
                      </a:cubicBezTo>
                      <a:cubicBezTo>
                        <a:pt x="35" y="64"/>
                        <a:pt x="35" y="64"/>
                        <a:pt x="35" y="64"/>
                      </a:cubicBezTo>
                      <a:cubicBezTo>
                        <a:pt x="34" y="64"/>
                        <a:pt x="34" y="64"/>
                        <a:pt x="34" y="64"/>
                      </a:cubicBezTo>
                      <a:cubicBezTo>
                        <a:pt x="34" y="64"/>
                        <a:pt x="34" y="64"/>
                        <a:pt x="34" y="64"/>
                      </a:cubicBezTo>
                      <a:cubicBezTo>
                        <a:pt x="34" y="63"/>
                        <a:pt x="33" y="63"/>
                        <a:pt x="33" y="62"/>
                      </a:cubicBezTo>
                      <a:cubicBezTo>
                        <a:pt x="35" y="58"/>
                        <a:pt x="34" y="56"/>
                        <a:pt x="33" y="54"/>
                      </a:cubicBezTo>
                      <a:cubicBezTo>
                        <a:pt x="32" y="56"/>
                        <a:pt x="32" y="57"/>
                        <a:pt x="31" y="58"/>
                      </a:cubicBezTo>
                      <a:cubicBezTo>
                        <a:pt x="31" y="58"/>
                        <a:pt x="31" y="58"/>
                        <a:pt x="31" y="58"/>
                      </a:cubicBezTo>
                      <a:cubicBezTo>
                        <a:pt x="30" y="57"/>
                        <a:pt x="30" y="57"/>
                        <a:pt x="30" y="57"/>
                      </a:cubicBezTo>
                      <a:cubicBezTo>
                        <a:pt x="30" y="57"/>
                        <a:pt x="30" y="57"/>
                        <a:pt x="30" y="57"/>
                      </a:cubicBezTo>
                      <a:cubicBezTo>
                        <a:pt x="30" y="57"/>
                        <a:pt x="30" y="57"/>
                        <a:pt x="30" y="57"/>
                      </a:cubicBezTo>
                      <a:cubicBezTo>
                        <a:pt x="30" y="57"/>
                        <a:pt x="29" y="58"/>
                        <a:pt x="29" y="57"/>
                      </a:cubicBezTo>
                      <a:cubicBezTo>
                        <a:pt x="29" y="57"/>
                        <a:pt x="29" y="56"/>
                        <a:pt x="29" y="56"/>
                      </a:cubicBezTo>
                      <a:cubicBezTo>
                        <a:pt x="33" y="51"/>
                        <a:pt x="34" y="44"/>
                        <a:pt x="34" y="43"/>
                      </a:cubicBezTo>
                      <a:cubicBezTo>
                        <a:pt x="33" y="43"/>
                        <a:pt x="33" y="42"/>
                        <a:pt x="32" y="41"/>
                      </a:cubicBezTo>
                      <a:cubicBezTo>
                        <a:pt x="31" y="39"/>
                        <a:pt x="29" y="38"/>
                        <a:pt x="28" y="38"/>
                      </a:cubicBezTo>
                      <a:cubicBezTo>
                        <a:pt x="28" y="38"/>
                        <a:pt x="28" y="37"/>
                        <a:pt x="27" y="37"/>
                      </a:cubicBezTo>
                      <a:cubicBezTo>
                        <a:pt x="27" y="37"/>
                        <a:pt x="27" y="37"/>
                        <a:pt x="27" y="37"/>
                      </a:cubicBezTo>
                      <a:cubicBezTo>
                        <a:pt x="27" y="37"/>
                        <a:pt x="26" y="37"/>
                        <a:pt x="26" y="37"/>
                      </a:cubicBezTo>
                      <a:cubicBezTo>
                        <a:pt x="26" y="36"/>
                        <a:pt x="26" y="36"/>
                        <a:pt x="27" y="36"/>
                      </a:cubicBezTo>
                      <a:cubicBezTo>
                        <a:pt x="27" y="36"/>
                        <a:pt x="28" y="36"/>
                        <a:pt x="28" y="36"/>
                      </a:cubicBezTo>
                      <a:cubicBezTo>
                        <a:pt x="30" y="36"/>
                        <a:pt x="32" y="37"/>
                        <a:pt x="34" y="40"/>
                      </a:cubicBezTo>
                      <a:cubicBezTo>
                        <a:pt x="36" y="42"/>
                        <a:pt x="37" y="44"/>
                        <a:pt x="39" y="47"/>
                      </a:cubicBezTo>
                      <a:cubicBezTo>
                        <a:pt x="39" y="47"/>
                        <a:pt x="40" y="47"/>
                        <a:pt x="42" y="47"/>
                      </a:cubicBezTo>
                      <a:cubicBezTo>
                        <a:pt x="44" y="47"/>
                        <a:pt x="48" y="48"/>
                        <a:pt x="50" y="53"/>
                      </a:cubicBezTo>
                      <a:cubicBezTo>
                        <a:pt x="50" y="53"/>
                        <a:pt x="50" y="54"/>
                        <a:pt x="50" y="54"/>
                      </a:cubicBezTo>
                      <a:cubicBezTo>
                        <a:pt x="49" y="54"/>
                        <a:pt x="49" y="54"/>
                        <a:pt x="49" y="54"/>
                      </a:cubicBezTo>
                      <a:cubicBezTo>
                        <a:pt x="48" y="54"/>
                        <a:pt x="48" y="54"/>
                        <a:pt x="48" y="54"/>
                      </a:cubicBezTo>
                      <a:close/>
                      <a:moveTo>
                        <a:pt x="58" y="69"/>
                      </a:moveTo>
                      <a:cubicBezTo>
                        <a:pt x="58" y="69"/>
                        <a:pt x="58" y="69"/>
                        <a:pt x="58" y="69"/>
                      </a:cubicBezTo>
                      <a:cubicBezTo>
                        <a:pt x="57" y="70"/>
                        <a:pt x="57" y="70"/>
                        <a:pt x="57" y="70"/>
                      </a:cubicBezTo>
                      <a:cubicBezTo>
                        <a:pt x="56" y="69"/>
                        <a:pt x="56" y="69"/>
                        <a:pt x="56" y="69"/>
                      </a:cubicBezTo>
                      <a:cubicBezTo>
                        <a:pt x="56" y="69"/>
                        <a:pt x="55" y="69"/>
                        <a:pt x="55" y="68"/>
                      </a:cubicBezTo>
                      <a:cubicBezTo>
                        <a:pt x="56" y="64"/>
                        <a:pt x="56" y="62"/>
                        <a:pt x="55" y="61"/>
                      </a:cubicBezTo>
                      <a:cubicBezTo>
                        <a:pt x="55" y="61"/>
                        <a:pt x="55" y="62"/>
                        <a:pt x="55" y="62"/>
                      </a:cubicBezTo>
                      <a:cubicBezTo>
                        <a:pt x="55" y="63"/>
                        <a:pt x="54" y="66"/>
                        <a:pt x="54" y="66"/>
                      </a:cubicBezTo>
                      <a:cubicBezTo>
                        <a:pt x="55" y="67"/>
                        <a:pt x="54" y="69"/>
                        <a:pt x="53" y="69"/>
                      </a:cubicBezTo>
                      <a:cubicBezTo>
                        <a:pt x="53" y="69"/>
                        <a:pt x="53" y="69"/>
                        <a:pt x="53" y="69"/>
                      </a:cubicBezTo>
                      <a:cubicBezTo>
                        <a:pt x="53" y="69"/>
                        <a:pt x="52" y="67"/>
                        <a:pt x="52" y="66"/>
                      </a:cubicBezTo>
                      <a:cubicBezTo>
                        <a:pt x="52" y="66"/>
                        <a:pt x="52" y="65"/>
                        <a:pt x="52" y="65"/>
                      </a:cubicBezTo>
                      <a:cubicBezTo>
                        <a:pt x="51" y="66"/>
                        <a:pt x="50" y="68"/>
                        <a:pt x="51" y="71"/>
                      </a:cubicBezTo>
                      <a:cubicBezTo>
                        <a:pt x="51" y="71"/>
                        <a:pt x="51" y="71"/>
                        <a:pt x="51" y="71"/>
                      </a:cubicBezTo>
                      <a:cubicBezTo>
                        <a:pt x="51" y="71"/>
                        <a:pt x="51" y="71"/>
                        <a:pt x="51" y="71"/>
                      </a:cubicBezTo>
                      <a:cubicBezTo>
                        <a:pt x="51" y="70"/>
                        <a:pt x="51" y="70"/>
                        <a:pt x="51" y="70"/>
                      </a:cubicBezTo>
                      <a:cubicBezTo>
                        <a:pt x="50" y="70"/>
                        <a:pt x="50" y="69"/>
                        <a:pt x="50" y="69"/>
                      </a:cubicBezTo>
                      <a:cubicBezTo>
                        <a:pt x="50" y="69"/>
                        <a:pt x="50" y="69"/>
                        <a:pt x="50" y="69"/>
                      </a:cubicBezTo>
                      <a:cubicBezTo>
                        <a:pt x="49" y="71"/>
                        <a:pt x="49" y="71"/>
                        <a:pt x="49" y="71"/>
                      </a:cubicBezTo>
                      <a:cubicBezTo>
                        <a:pt x="49" y="71"/>
                        <a:pt x="49" y="71"/>
                        <a:pt x="49" y="71"/>
                      </a:cubicBezTo>
                      <a:cubicBezTo>
                        <a:pt x="49" y="71"/>
                        <a:pt x="49" y="71"/>
                        <a:pt x="49" y="71"/>
                      </a:cubicBezTo>
                      <a:cubicBezTo>
                        <a:pt x="48" y="63"/>
                        <a:pt x="52" y="61"/>
                        <a:pt x="53" y="61"/>
                      </a:cubicBezTo>
                      <a:cubicBezTo>
                        <a:pt x="53" y="59"/>
                        <a:pt x="53" y="57"/>
                        <a:pt x="53" y="55"/>
                      </a:cubicBezTo>
                      <a:cubicBezTo>
                        <a:pt x="54" y="53"/>
                        <a:pt x="53" y="51"/>
                        <a:pt x="53" y="50"/>
                      </a:cubicBezTo>
                      <a:cubicBezTo>
                        <a:pt x="52" y="48"/>
                        <a:pt x="50" y="47"/>
                        <a:pt x="48" y="46"/>
                      </a:cubicBezTo>
                      <a:cubicBezTo>
                        <a:pt x="44" y="45"/>
                        <a:pt x="42" y="43"/>
                        <a:pt x="41" y="42"/>
                      </a:cubicBezTo>
                      <a:cubicBezTo>
                        <a:pt x="41" y="43"/>
                        <a:pt x="41" y="44"/>
                        <a:pt x="40" y="45"/>
                      </a:cubicBezTo>
                      <a:cubicBezTo>
                        <a:pt x="40" y="45"/>
                        <a:pt x="40" y="45"/>
                        <a:pt x="40" y="45"/>
                      </a:cubicBezTo>
                      <a:cubicBezTo>
                        <a:pt x="40" y="45"/>
                        <a:pt x="40" y="45"/>
                        <a:pt x="40" y="45"/>
                      </a:cubicBezTo>
                      <a:cubicBezTo>
                        <a:pt x="40" y="45"/>
                        <a:pt x="40" y="45"/>
                        <a:pt x="40" y="45"/>
                      </a:cubicBezTo>
                      <a:cubicBezTo>
                        <a:pt x="39" y="45"/>
                        <a:pt x="39" y="45"/>
                        <a:pt x="39" y="45"/>
                      </a:cubicBezTo>
                      <a:cubicBezTo>
                        <a:pt x="39" y="45"/>
                        <a:pt x="39" y="45"/>
                        <a:pt x="39" y="45"/>
                      </a:cubicBezTo>
                      <a:cubicBezTo>
                        <a:pt x="38" y="45"/>
                        <a:pt x="38" y="44"/>
                        <a:pt x="38" y="44"/>
                      </a:cubicBezTo>
                      <a:cubicBezTo>
                        <a:pt x="40" y="38"/>
                        <a:pt x="38" y="36"/>
                        <a:pt x="37" y="35"/>
                      </a:cubicBezTo>
                      <a:cubicBezTo>
                        <a:pt x="36" y="36"/>
                        <a:pt x="35" y="36"/>
                        <a:pt x="34" y="36"/>
                      </a:cubicBezTo>
                      <a:cubicBezTo>
                        <a:pt x="33" y="36"/>
                        <a:pt x="33" y="36"/>
                        <a:pt x="33" y="36"/>
                      </a:cubicBezTo>
                      <a:cubicBezTo>
                        <a:pt x="33" y="36"/>
                        <a:pt x="32" y="35"/>
                        <a:pt x="32" y="35"/>
                      </a:cubicBezTo>
                      <a:cubicBezTo>
                        <a:pt x="32" y="34"/>
                        <a:pt x="33" y="33"/>
                        <a:pt x="33" y="33"/>
                      </a:cubicBezTo>
                      <a:cubicBezTo>
                        <a:pt x="34" y="34"/>
                        <a:pt x="34" y="34"/>
                        <a:pt x="34" y="34"/>
                      </a:cubicBezTo>
                      <a:cubicBezTo>
                        <a:pt x="37" y="34"/>
                        <a:pt x="38" y="32"/>
                        <a:pt x="39" y="30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cubicBezTo>
                        <a:pt x="40" y="29"/>
                        <a:pt x="40" y="29"/>
                        <a:pt x="40" y="29"/>
                      </a:cubicBezTo>
                      <a:cubicBezTo>
                        <a:pt x="40" y="29"/>
                        <a:pt x="40" y="30"/>
                        <a:pt x="41" y="31"/>
                      </a:cubicBezTo>
                      <a:cubicBezTo>
                        <a:pt x="41" y="31"/>
                        <a:pt x="41" y="31"/>
                        <a:pt x="41" y="31"/>
                      </a:cubicBezTo>
                      <a:cubicBezTo>
                        <a:pt x="41" y="31"/>
                        <a:pt x="41" y="31"/>
                        <a:pt x="41" y="31"/>
                      </a:cubicBezTo>
                      <a:cubicBezTo>
                        <a:pt x="41" y="32"/>
                        <a:pt x="40" y="33"/>
                        <a:pt x="39" y="34"/>
                      </a:cubicBezTo>
                      <a:cubicBezTo>
                        <a:pt x="40" y="35"/>
                        <a:pt x="40" y="36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1" y="39"/>
                        <a:pt x="41" y="39"/>
                        <a:pt x="42" y="39"/>
                      </a:cubicBezTo>
                      <a:cubicBezTo>
                        <a:pt x="43" y="41"/>
                        <a:pt x="44" y="42"/>
                        <a:pt x="48" y="44"/>
                      </a:cubicBezTo>
                      <a:cubicBezTo>
                        <a:pt x="51" y="45"/>
                        <a:pt x="53" y="46"/>
                        <a:pt x="55" y="48"/>
                      </a:cubicBezTo>
                      <a:cubicBezTo>
                        <a:pt x="56" y="50"/>
                        <a:pt x="56" y="53"/>
                        <a:pt x="56" y="55"/>
                      </a:cubicBezTo>
                      <a:cubicBezTo>
                        <a:pt x="56" y="56"/>
                        <a:pt x="56" y="57"/>
                        <a:pt x="56" y="58"/>
                      </a:cubicBezTo>
                      <a:cubicBezTo>
                        <a:pt x="57" y="59"/>
                        <a:pt x="60" y="62"/>
                        <a:pt x="58" y="69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88" name="Freeform 511">
                  <a:extLst>
                    <a:ext uri="{FF2B5EF4-FFF2-40B4-BE49-F238E27FC236}">
                      <a16:creationId xmlns:a16="http://schemas.microsoft.com/office/drawing/2014/main" id="{C12898A1-A7F7-C827-E58E-D5665EB42E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81963" y="3014663"/>
                  <a:ext cx="9525" cy="6350"/>
                </a:xfrm>
                <a:custGeom>
                  <a:avLst/>
                  <a:gdLst>
                    <a:gd name="T0" fmla="*/ 7 w 7"/>
                    <a:gd name="T1" fmla="*/ 1 h 5"/>
                    <a:gd name="T2" fmla="*/ 3 w 7"/>
                    <a:gd name="T3" fmla="*/ 1 h 5"/>
                    <a:gd name="T4" fmla="*/ 1 w 7"/>
                    <a:gd name="T5" fmla="*/ 4 h 5"/>
                    <a:gd name="T6" fmla="*/ 5 w 7"/>
                    <a:gd name="T7" fmla="*/ 4 h 5"/>
                    <a:gd name="T8" fmla="*/ 7 w 7"/>
                    <a:gd name="T9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5">
                      <a:moveTo>
                        <a:pt x="7" y="1"/>
                      </a:moveTo>
                      <a:cubicBezTo>
                        <a:pt x="7" y="0"/>
                        <a:pt x="5" y="0"/>
                        <a:pt x="3" y="1"/>
                      </a:cubicBezTo>
                      <a:cubicBezTo>
                        <a:pt x="1" y="2"/>
                        <a:pt x="0" y="3"/>
                        <a:pt x="1" y="4"/>
                      </a:cubicBezTo>
                      <a:cubicBezTo>
                        <a:pt x="1" y="5"/>
                        <a:pt x="3" y="4"/>
                        <a:pt x="5" y="4"/>
                      </a:cubicBezTo>
                      <a:cubicBezTo>
                        <a:pt x="6" y="3"/>
                        <a:pt x="7" y="2"/>
                        <a:pt x="7" y="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89" name="Freeform 512">
                  <a:extLst>
                    <a:ext uri="{FF2B5EF4-FFF2-40B4-BE49-F238E27FC236}">
                      <a16:creationId xmlns:a16="http://schemas.microsoft.com/office/drawing/2014/main" id="{3DAC9D6E-5D30-68CB-6885-103CBA707F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66088" y="3025776"/>
                  <a:ext cx="12700" cy="4763"/>
                </a:xfrm>
                <a:custGeom>
                  <a:avLst/>
                  <a:gdLst>
                    <a:gd name="T0" fmla="*/ 9 w 9"/>
                    <a:gd name="T1" fmla="*/ 0 h 4"/>
                    <a:gd name="T2" fmla="*/ 4 w 9"/>
                    <a:gd name="T3" fmla="*/ 0 h 4"/>
                    <a:gd name="T4" fmla="*/ 1 w 9"/>
                    <a:gd name="T5" fmla="*/ 3 h 4"/>
                    <a:gd name="T6" fmla="*/ 6 w 9"/>
                    <a:gd name="T7" fmla="*/ 3 h 4"/>
                    <a:gd name="T8" fmla="*/ 9 w 9"/>
                    <a:gd name="T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4">
                      <a:moveTo>
                        <a:pt x="9" y="0"/>
                      </a:moveTo>
                      <a:cubicBezTo>
                        <a:pt x="8" y="0"/>
                        <a:pt x="6" y="0"/>
                        <a:pt x="4" y="0"/>
                      </a:cubicBezTo>
                      <a:cubicBezTo>
                        <a:pt x="2" y="1"/>
                        <a:pt x="0" y="3"/>
                        <a:pt x="1" y="3"/>
                      </a:cubicBezTo>
                      <a:cubicBezTo>
                        <a:pt x="1" y="4"/>
                        <a:pt x="3" y="4"/>
                        <a:pt x="6" y="3"/>
                      </a:cubicBezTo>
                      <a:cubicBezTo>
                        <a:pt x="8" y="2"/>
                        <a:pt x="9" y="1"/>
                        <a:pt x="9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90" name="Freeform 513">
                  <a:extLst>
                    <a:ext uri="{FF2B5EF4-FFF2-40B4-BE49-F238E27FC236}">
                      <a16:creationId xmlns:a16="http://schemas.microsoft.com/office/drawing/2014/main" id="{936054BC-E52D-99A7-AD7D-BD9280F382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04188" y="3006726"/>
                  <a:ext cx="9525" cy="3175"/>
                </a:xfrm>
                <a:custGeom>
                  <a:avLst/>
                  <a:gdLst>
                    <a:gd name="T0" fmla="*/ 7 w 7"/>
                    <a:gd name="T1" fmla="*/ 1 h 3"/>
                    <a:gd name="T2" fmla="*/ 3 w 7"/>
                    <a:gd name="T3" fmla="*/ 0 h 3"/>
                    <a:gd name="T4" fmla="*/ 0 w 7"/>
                    <a:gd name="T5" fmla="*/ 1 h 3"/>
                    <a:gd name="T6" fmla="*/ 3 w 7"/>
                    <a:gd name="T7" fmla="*/ 3 h 3"/>
                    <a:gd name="T8" fmla="*/ 7 w 7"/>
                    <a:gd name="T9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3">
                      <a:moveTo>
                        <a:pt x="7" y="1"/>
                      </a:moveTo>
                      <a:cubicBezTo>
                        <a:pt x="6" y="0"/>
                        <a:pt x="5" y="0"/>
                        <a:pt x="3" y="0"/>
                      </a:cubicBezTo>
                      <a:cubicBezTo>
                        <a:pt x="1" y="0"/>
                        <a:pt x="0" y="0"/>
                        <a:pt x="0" y="1"/>
                      </a:cubicBezTo>
                      <a:cubicBezTo>
                        <a:pt x="0" y="2"/>
                        <a:pt x="2" y="3"/>
                        <a:pt x="3" y="3"/>
                      </a:cubicBezTo>
                      <a:cubicBezTo>
                        <a:pt x="5" y="3"/>
                        <a:pt x="7" y="2"/>
                        <a:pt x="7" y="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91" name="Oval 514">
                  <a:extLst>
                    <a:ext uri="{FF2B5EF4-FFF2-40B4-BE49-F238E27FC236}">
                      <a16:creationId xmlns:a16="http://schemas.microsoft.com/office/drawing/2014/main" id="{30C53A71-84DE-4D40-16E8-BC749668A9D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70801" y="2532063"/>
                  <a:ext cx="201613" cy="203200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92" name="Oval 515">
                  <a:extLst>
                    <a:ext uri="{FF2B5EF4-FFF2-40B4-BE49-F238E27FC236}">
                      <a16:creationId xmlns:a16="http://schemas.microsoft.com/office/drawing/2014/main" id="{8D96433E-741E-AB3B-FDAC-19584BA660B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70801" y="2532063"/>
                  <a:ext cx="201613" cy="203200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93" name="Freeform 516">
                  <a:extLst>
                    <a:ext uri="{FF2B5EF4-FFF2-40B4-BE49-F238E27FC236}">
                      <a16:creationId xmlns:a16="http://schemas.microsoft.com/office/drawing/2014/main" id="{ADA078B3-31CB-AFFB-6326-3F7FE2EAE06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726363" y="2598738"/>
                  <a:ext cx="114300" cy="71438"/>
                </a:xfrm>
                <a:custGeom>
                  <a:avLst/>
                  <a:gdLst>
                    <a:gd name="T0" fmla="*/ 78 w 84"/>
                    <a:gd name="T1" fmla="*/ 52 h 52"/>
                    <a:gd name="T2" fmla="*/ 0 w 84"/>
                    <a:gd name="T3" fmla="*/ 52 h 52"/>
                    <a:gd name="T4" fmla="*/ 0 w 84"/>
                    <a:gd name="T5" fmla="*/ 0 h 52"/>
                    <a:gd name="T6" fmla="*/ 84 w 84"/>
                    <a:gd name="T7" fmla="*/ 0 h 52"/>
                    <a:gd name="T8" fmla="*/ 84 w 84"/>
                    <a:gd name="T9" fmla="*/ 48 h 52"/>
                    <a:gd name="T10" fmla="*/ 78 w 84"/>
                    <a:gd name="T11" fmla="*/ 52 h 52"/>
                    <a:gd name="T12" fmla="*/ 0 w 84"/>
                    <a:gd name="T13" fmla="*/ 52 h 52"/>
                    <a:gd name="T14" fmla="*/ 78 w 84"/>
                    <a:gd name="T15" fmla="*/ 52 h 52"/>
                    <a:gd name="T16" fmla="*/ 80 w 84"/>
                    <a:gd name="T17" fmla="*/ 48 h 52"/>
                    <a:gd name="T18" fmla="*/ 80 w 84"/>
                    <a:gd name="T19" fmla="*/ 0 h 52"/>
                    <a:gd name="T20" fmla="*/ 0 w 84"/>
                    <a:gd name="T21" fmla="*/ 0 h 52"/>
                    <a:gd name="T22" fmla="*/ 0 w 84"/>
                    <a:gd name="T23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4" h="52">
                      <a:moveTo>
                        <a:pt x="78" y="52"/>
                      </a:moveTo>
                      <a:cubicBezTo>
                        <a:pt x="0" y="52"/>
                        <a:pt x="0" y="52"/>
                        <a:pt x="0" y="52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48"/>
                        <a:pt x="84" y="48"/>
                        <a:pt x="84" y="48"/>
                      </a:cubicBezTo>
                      <a:cubicBezTo>
                        <a:pt x="84" y="51"/>
                        <a:pt x="81" y="52"/>
                        <a:pt x="78" y="52"/>
                      </a:cubicBezTo>
                      <a:close/>
                      <a:moveTo>
                        <a:pt x="0" y="52"/>
                      </a:moveTo>
                      <a:cubicBezTo>
                        <a:pt x="78" y="52"/>
                        <a:pt x="78" y="52"/>
                        <a:pt x="78" y="52"/>
                      </a:cubicBezTo>
                      <a:cubicBezTo>
                        <a:pt x="80" y="52"/>
                        <a:pt x="80" y="50"/>
                        <a:pt x="80" y="48"/>
                      </a:cubicBezTo>
                      <a:cubicBezTo>
                        <a:pt x="80" y="0"/>
                        <a:pt x="80" y="0"/>
                        <a:pt x="8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94" name="Freeform 517">
                  <a:extLst>
                    <a:ext uri="{FF2B5EF4-FFF2-40B4-BE49-F238E27FC236}">
                      <a16:creationId xmlns:a16="http://schemas.microsoft.com/office/drawing/2014/main" id="{719952A4-4EFD-DC78-EA04-571BCB380BD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704138" y="2609851"/>
                  <a:ext cx="22225" cy="60325"/>
                </a:xfrm>
                <a:custGeom>
                  <a:avLst/>
                  <a:gdLst>
                    <a:gd name="T0" fmla="*/ 16 w 16"/>
                    <a:gd name="T1" fmla="*/ 44 h 44"/>
                    <a:gd name="T2" fmla="*/ 4 w 16"/>
                    <a:gd name="T3" fmla="*/ 44 h 44"/>
                    <a:gd name="T4" fmla="*/ 0 w 16"/>
                    <a:gd name="T5" fmla="*/ 40 h 44"/>
                    <a:gd name="T6" fmla="*/ 0 w 16"/>
                    <a:gd name="T7" fmla="*/ 0 h 44"/>
                    <a:gd name="T8" fmla="*/ 16 w 16"/>
                    <a:gd name="T9" fmla="*/ 0 h 44"/>
                    <a:gd name="T10" fmla="*/ 16 w 16"/>
                    <a:gd name="T11" fmla="*/ 44 h 44"/>
                    <a:gd name="T12" fmla="*/ 0 w 16"/>
                    <a:gd name="T13" fmla="*/ 0 h 44"/>
                    <a:gd name="T14" fmla="*/ 0 w 16"/>
                    <a:gd name="T15" fmla="*/ 40 h 44"/>
                    <a:gd name="T16" fmla="*/ 4 w 16"/>
                    <a:gd name="T17" fmla="*/ 44 h 44"/>
                    <a:gd name="T18" fmla="*/ 16 w 16"/>
                    <a:gd name="T19" fmla="*/ 44 h 44"/>
                    <a:gd name="T20" fmla="*/ 16 w 16"/>
                    <a:gd name="T21" fmla="*/ 0 h 44"/>
                    <a:gd name="T22" fmla="*/ 0 w 16"/>
                    <a:gd name="T23" fmla="*/ 0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6" h="44">
                      <a:moveTo>
                        <a:pt x="16" y="44"/>
                      </a:moveTo>
                      <a:cubicBezTo>
                        <a:pt x="4" y="44"/>
                        <a:pt x="4" y="44"/>
                        <a:pt x="4" y="44"/>
                      </a:cubicBezTo>
                      <a:cubicBezTo>
                        <a:pt x="1" y="44"/>
                        <a:pt x="0" y="43"/>
                        <a:pt x="0" y="4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6" y="0"/>
                        <a:pt x="16" y="0"/>
                        <a:pt x="16" y="0"/>
                      </a:cubicBezTo>
                      <a:lnTo>
                        <a:pt x="16" y="44"/>
                      </a:lnTo>
                      <a:close/>
                      <a:moveTo>
                        <a:pt x="0" y="0"/>
                      </a:move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2"/>
                        <a:pt x="2" y="44"/>
                        <a:pt x="4" y="44"/>
                      </a:cubicBezTo>
                      <a:cubicBezTo>
                        <a:pt x="16" y="44"/>
                        <a:pt x="16" y="44"/>
                        <a:pt x="16" y="44"/>
                      </a:cubicBezTo>
                      <a:cubicBezTo>
                        <a:pt x="16" y="0"/>
                        <a:pt x="16" y="0"/>
                        <a:pt x="16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95" name="Rectangle 518">
                  <a:extLst>
                    <a:ext uri="{FF2B5EF4-FFF2-40B4-BE49-F238E27FC236}">
                      <a16:creationId xmlns:a16="http://schemas.microsoft.com/office/drawing/2014/main" id="{F5378ECE-754C-55CD-5665-D9966D8B6B0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66051" y="2609851"/>
                  <a:ext cx="3175" cy="4921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96" name="Rectangle 519">
                  <a:extLst>
                    <a:ext uri="{FF2B5EF4-FFF2-40B4-BE49-F238E27FC236}">
                      <a16:creationId xmlns:a16="http://schemas.microsoft.com/office/drawing/2014/main" id="{CBE5BE5B-C45D-5936-2DFF-E5460E3367F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75576" y="2643188"/>
                  <a:ext cx="22225" cy="158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97" name="Rectangle 520">
                  <a:extLst>
                    <a:ext uri="{FF2B5EF4-FFF2-40B4-BE49-F238E27FC236}">
                      <a16:creationId xmlns:a16="http://schemas.microsoft.com/office/drawing/2014/main" id="{A3DD6756-428C-9D59-C465-5F3A48F6EC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802563" y="2643188"/>
                  <a:ext cx="26988" cy="158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98" name="Freeform 521">
                  <a:extLst>
                    <a:ext uri="{FF2B5EF4-FFF2-40B4-BE49-F238E27FC236}">
                      <a16:creationId xmlns:a16="http://schemas.microsoft.com/office/drawing/2014/main" id="{B8C4F254-B301-541F-3267-7EF3E0D600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42238" y="2611438"/>
                  <a:ext cx="11113" cy="9525"/>
                </a:xfrm>
                <a:custGeom>
                  <a:avLst/>
                  <a:gdLst>
                    <a:gd name="T0" fmla="*/ 3 w 8"/>
                    <a:gd name="T1" fmla="*/ 0 h 7"/>
                    <a:gd name="T2" fmla="*/ 7 w 8"/>
                    <a:gd name="T3" fmla="*/ 4 h 7"/>
                    <a:gd name="T4" fmla="*/ 2 w 8"/>
                    <a:gd name="T5" fmla="*/ 5 h 7"/>
                    <a:gd name="T6" fmla="*/ 3 w 8"/>
                    <a:gd name="T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7">
                      <a:moveTo>
                        <a:pt x="3" y="0"/>
                      </a:moveTo>
                      <a:cubicBezTo>
                        <a:pt x="5" y="0"/>
                        <a:pt x="8" y="2"/>
                        <a:pt x="7" y="4"/>
                      </a:cubicBezTo>
                      <a:cubicBezTo>
                        <a:pt x="6" y="6"/>
                        <a:pt x="3" y="7"/>
                        <a:pt x="2" y="5"/>
                      </a:cubicBezTo>
                      <a:cubicBezTo>
                        <a:pt x="0" y="4"/>
                        <a:pt x="1" y="1"/>
                        <a:pt x="3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99" name="Freeform 522">
                  <a:extLst>
                    <a:ext uri="{FF2B5EF4-FFF2-40B4-BE49-F238E27FC236}">
                      <a16:creationId xmlns:a16="http://schemas.microsoft.com/office/drawing/2014/main" id="{BA04777F-B392-C1B6-5477-4D66D9DB7C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39063" y="2619376"/>
                  <a:ext cx="19050" cy="39688"/>
                </a:xfrm>
                <a:custGeom>
                  <a:avLst/>
                  <a:gdLst>
                    <a:gd name="T0" fmla="*/ 2 w 14"/>
                    <a:gd name="T1" fmla="*/ 1 h 29"/>
                    <a:gd name="T2" fmla="*/ 8 w 14"/>
                    <a:gd name="T3" fmla="*/ 1 h 29"/>
                    <a:gd name="T4" fmla="*/ 13 w 14"/>
                    <a:gd name="T5" fmla="*/ 1 h 29"/>
                    <a:gd name="T6" fmla="*/ 14 w 14"/>
                    <a:gd name="T7" fmla="*/ 5 h 29"/>
                    <a:gd name="T8" fmla="*/ 14 w 14"/>
                    <a:gd name="T9" fmla="*/ 13 h 29"/>
                    <a:gd name="T10" fmla="*/ 13 w 14"/>
                    <a:gd name="T11" fmla="*/ 15 h 29"/>
                    <a:gd name="T12" fmla="*/ 11 w 14"/>
                    <a:gd name="T13" fmla="*/ 13 h 29"/>
                    <a:gd name="T14" fmla="*/ 11 w 14"/>
                    <a:gd name="T15" fmla="*/ 5 h 29"/>
                    <a:gd name="T16" fmla="*/ 10 w 14"/>
                    <a:gd name="T17" fmla="*/ 5 h 29"/>
                    <a:gd name="T18" fmla="*/ 10 w 14"/>
                    <a:gd name="T19" fmla="*/ 28 h 29"/>
                    <a:gd name="T20" fmla="*/ 7 w 14"/>
                    <a:gd name="T21" fmla="*/ 27 h 29"/>
                    <a:gd name="T22" fmla="*/ 7 w 14"/>
                    <a:gd name="T23" fmla="*/ 13 h 29"/>
                    <a:gd name="T24" fmla="*/ 6 w 14"/>
                    <a:gd name="T25" fmla="*/ 13 h 29"/>
                    <a:gd name="T26" fmla="*/ 7 w 14"/>
                    <a:gd name="T27" fmla="*/ 25 h 29"/>
                    <a:gd name="T28" fmla="*/ 6 w 14"/>
                    <a:gd name="T29" fmla="*/ 28 h 29"/>
                    <a:gd name="T30" fmla="*/ 3 w 14"/>
                    <a:gd name="T31" fmla="*/ 27 h 29"/>
                    <a:gd name="T32" fmla="*/ 3 w 14"/>
                    <a:gd name="T33" fmla="*/ 5 h 29"/>
                    <a:gd name="T34" fmla="*/ 2 w 14"/>
                    <a:gd name="T35" fmla="*/ 5 h 29"/>
                    <a:gd name="T36" fmla="*/ 2 w 14"/>
                    <a:gd name="T37" fmla="*/ 13 h 29"/>
                    <a:gd name="T38" fmla="*/ 1 w 14"/>
                    <a:gd name="T39" fmla="*/ 14 h 29"/>
                    <a:gd name="T40" fmla="*/ 0 w 14"/>
                    <a:gd name="T41" fmla="*/ 13 h 29"/>
                    <a:gd name="T42" fmla="*/ 0 w 14"/>
                    <a:gd name="T43" fmla="*/ 4 h 29"/>
                    <a:gd name="T44" fmla="*/ 2 w 14"/>
                    <a:gd name="T45" fmla="*/ 1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4" h="29">
                      <a:moveTo>
                        <a:pt x="2" y="1"/>
                      </a:moveTo>
                      <a:cubicBezTo>
                        <a:pt x="4" y="0"/>
                        <a:pt x="6" y="1"/>
                        <a:pt x="8" y="1"/>
                      </a:cubicBezTo>
                      <a:cubicBezTo>
                        <a:pt x="9" y="1"/>
                        <a:pt x="11" y="0"/>
                        <a:pt x="13" y="1"/>
                      </a:cubicBezTo>
                      <a:cubicBezTo>
                        <a:pt x="14" y="2"/>
                        <a:pt x="14" y="4"/>
                        <a:pt x="14" y="5"/>
                      </a:cubicBezTo>
                      <a:cubicBezTo>
                        <a:pt x="14" y="8"/>
                        <a:pt x="14" y="10"/>
                        <a:pt x="14" y="13"/>
                      </a:cubicBezTo>
                      <a:cubicBezTo>
                        <a:pt x="14" y="14"/>
                        <a:pt x="13" y="15"/>
                        <a:pt x="13" y="15"/>
                      </a:cubicBezTo>
                      <a:cubicBezTo>
                        <a:pt x="12" y="15"/>
                        <a:pt x="11" y="14"/>
                        <a:pt x="11" y="13"/>
                      </a:cubicBezTo>
                      <a:cubicBezTo>
                        <a:pt x="11" y="10"/>
                        <a:pt x="11" y="8"/>
                        <a:pt x="11" y="5"/>
                      </a:cubicBezTo>
                      <a:cubicBezTo>
                        <a:pt x="11" y="5"/>
                        <a:pt x="11" y="5"/>
                        <a:pt x="10" y="5"/>
                      </a:cubicBezTo>
                      <a:cubicBezTo>
                        <a:pt x="10" y="13"/>
                        <a:pt x="10" y="20"/>
                        <a:pt x="10" y="28"/>
                      </a:cubicBezTo>
                      <a:cubicBezTo>
                        <a:pt x="11" y="29"/>
                        <a:pt x="7" y="29"/>
                        <a:pt x="7" y="27"/>
                      </a:cubicBezTo>
                      <a:cubicBezTo>
                        <a:pt x="7" y="23"/>
                        <a:pt x="7" y="21"/>
                        <a:pt x="7" y="13"/>
                      </a:cubicBezTo>
                      <a:cubicBezTo>
                        <a:pt x="7" y="13"/>
                        <a:pt x="7" y="13"/>
                        <a:pt x="6" y="13"/>
                      </a:cubicBezTo>
                      <a:cubicBezTo>
                        <a:pt x="7" y="21"/>
                        <a:pt x="6" y="22"/>
                        <a:pt x="7" y="25"/>
                      </a:cubicBezTo>
                      <a:cubicBezTo>
                        <a:pt x="7" y="26"/>
                        <a:pt x="6" y="28"/>
                        <a:pt x="6" y="28"/>
                      </a:cubicBezTo>
                      <a:cubicBezTo>
                        <a:pt x="5" y="29"/>
                        <a:pt x="3" y="29"/>
                        <a:pt x="3" y="27"/>
                      </a:cubicBezTo>
                      <a:cubicBezTo>
                        <a:pt x="3" y="20"/>
                        <a:pt x="3" y="13"/>
                        <a:pt x="3" y="5"/>
                      </a:cubicBezTo>
                      <a:cubicBezTo>
                        <a:pt x="3" y="5"/>
                        <a:pt x="3" y="5"/>
                        <a:pt x="2" y="5"/>
                      </a:cubicBezTo>
                      <a:cubicBezTo>
                        <a:pt x="2" y="9"/>
                        <a:pt x="2" y="10"/>
                        <a:pt x="2" y="13"/>
                      </a:cubicBezTo>
                      <a:cubicBezTo>
                        <a:pt x="2" y="13"/>
                        <a:pt x="2" y="15"/>
                        <a:pt x="1" y="14"/>
                      </a:cubicBezTo>
                      <a:cubicBezTo>
                        <a:pt x="0" y="15"/>
                        <a:pt x="0" y="14"/>
                        <a:pt x="0" y="13"/>
                      </a:cubicBezTo>
                      <a:cubicBezTo>
                        <a:pt x="0" y="10"/>
                        <a:pt x="0" y="7"/>
                        <a:pt x="0" y="4"/>
                      </a:cubicBezTo>
                      <a:cubicBezTo>
                        <a:pt x="0" y="3"/>
                        <a:pt x="1" y="1"/>
                        <a:pt x="2" y="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00" name="Rectangle 523">
                  <a:extLst>
                    <a:ext uri="{FF2B5EF4-FFF2-40B4-BE49-F238E27FC236}">
                      <a16:creationId xmlns:a16="http://schemas.microsoft.com/office/drawing/2014/main" id="{CFFD6CC7-D6CE-CAA6-53DC-42E66DE55DA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75576" y="2609851"/>
                  <a:ext cx="53975" cy="6350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01" name="Rectangle 524">
                  <a:extLst>
                    <a:ext uri="{FF2B5EF4-FFF2-40B4-BE49-F238E27FC236}">
                      <a16:creationId xmlns:a16="http://schemas.microsoft.com/office/drawing/2014/main" id="{ED85A108-6545-3BA6-3D85-DA3DAEF241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75576" y="2638426"/>
                  <a:ext cx="53975" cy="158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02" name="Rectangle 525">
                  <a:extLst>
                    <a:ext uri="{FF2B5EF4-FFF2-40B4-BE49-F238E27FC236}">
                      <a16:creationId xmlns:a16="http://schemas.microsoft.com/office/drawing/2014/main" id="{5B51608B-01F2-4C48-2C0D-0CD3BF83601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75576" y="2620963"/>
                  <a:ext cx="53975" cy="6350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03" name="Oval 526">
                  <a:extLst>
                    <a:ext uri="{FF2B5EF4-FFF2-40B4-BE49-F238E27FC236}">
                      <a16:creationId xmlns:a16="http://schemas.microsoft.com/office/drawing/2014/main" id="{A4B17ACB-66BE-EC11-5439-0AC73DBB2B9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46838" y="3013076"/>
                  <a:ext cx="196850" cy="198438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04" name="Freeform 527">
                  <a:extLst>
                    <a:ext uri="{FF2B5EF4-FFF2-40B4-BE49-F238E27FC236}">
                      <a16:creationId xmlns:a16="http://schemas.microsoft.com/office/drawing/2014/main" id="{968B34A0-59E5-8BB9-690F-6501709BAAE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02401" y="3052763"/>
                  <a:ext cx="93663" cy="76200"/>
                </a:xfrm>
                <a:custGeom>
                  <a:avLst/>
                  <a:gdLst>
                    <a:gd name="T0" fmla="*/ 59 w 68"/>
                    <a:gd name="T1" fmla="*/ 4 h 56"/>
                    <a:gd name="T2" fmla="*/ 64 w 68"/>
                    <a:gd name="T3" fmla="*/ 9 h 56"/>
                    <a:gd name="T4" fmla="*/ 64 w 68"/>
                    <a:gd name="T5" fmla="*/ 48 h 56"/>
                    <a:gd name="T6" fmla="*/ 60 w 68"/>
                    <a:gd name="T7" fmla="*/ 52 h 56"/>
                    <a:gd name="T8" fmla="*/ 6 w 68"/>
                    <a:gd name="T9" fmla="*/ 52 h 56"/>
                    <a:gd name="T10" fmla="*/ 4 w 68"/>
                    <a:gd name="T11" fmla="*/ 48 h 56"/>
                    <a:gd name="T12" fmla="*/ 4 w 68"/>
                    <a:gd name="T13" fmla="*/ 9 h 56"/>
                    <a:gd name="T14" fmla="*/ 6 w 68"/>
                    <a:gd name="T15" fmla="*/ 4 h 56"/>
                    <a:gd name="T16" fmla="*/ 60 w 68"/>
                    <a:gd name="T17" fmla="*/ 4 h 56"/>
                    <a:gd name="T18" fmla="*/ 60 w 68"/>
                    <a:gd name="T19" fmla="*/ 0 h 56"/>
                    <a:gd name="T20" fmla="*/ 6 w 68"/>
                    <a:gd name="T21" fmla="*/ 0 h 56"/>
                    <a:gd name="T22" fmla="*/ 0 w 68"/>
                    <a:gd name="T23" fmla="*/ 9 h 56"/>
                    <a:gd name="T24" fmla="*/ 0 w 68"/>
                    <a:gd name="T25" fmla="*/ 48 h 56"/>
                    <a:gd name="T26" fmla="*/ 6 w 68"/>
                    <a:gd name="T27" fmla="*/ 56 h 56"/>
                    <a:gd name="T28" fmla="*/ 60 w 68"/>
                    <a:gd name="T29" fmla="*/ 56 h 56"/>
                    <a:gd name="T30" fmla="*/ 68 w 68"/>
                    <a:gd name="T31" fmla="*/ 48 h 56"/>
                    <a:gd name="T32" fmla="*/ 68 w 68"/>
                    <a:gd name="T33" fmla="*/ 9 h 56"/>
                    <a:gd name="T34" fmla="*/ 60 w 68"/>
                    <a:gd name="T35" fmla="*/ 0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8" h="56">
                      <a:moveTo>
                        <a:pt x="59" y="4"/>
                      </a:moveTo>
                      <a:cubicBezTo>
                        <a:pt x="62" y="4"/>
                        <a:pt x="64" y="7"/>
                        <a:pt x="64" y="9"/>
                      </a:cubicBezTo>
                      <a:cubicBezTo>
                        <a:pt x="64" y="48"/>
                        <a:pt x="64" y="48"/>
                        <a:pt x="64" y="48"/>
                      </a:cubicBezTo>
                      <a:cubicBezTo>
                        <a:pt x="64" y="51"/>
                        <a:pt x="63" y="52"/>
                        <a:pt x="60" y="52"/>
                      </a:cubicBezTo>
                      <a:cubicBezTo>
                        <a:pt x="6" y="52"/>
                        <a:pt x="6" y="52"/>
                        <a:pt x="6" y="52"/>
                      </a:cubicBezTo>
                      <a:cubicBezTo>
                        <a:pt x="4" y="52"/>
                        <a:pt x="4" y="51"/>
                        <a:pt x="4" y="48"/>
                      </a:cubicBezTo>
                      <a:cubicBezTo>
                        <a:pt x="4" y="9"/>
                        <a:pt x="4" y="9"/>
                        <a:pt x="4" y="9"/>
                      </a:cubicBezTo>
                      <a:cubicBezTo>
                        <a:pt x="4" y="7"/>
                        <a:pt x="4" y="4"/>
                        <a:pt x="6" y="4"/>
                      </a:cubicBezTo>
                      <a:cubicBezTo>
                        <a:pt x="60" y="4"/>
                        <a:pt x="60" y="4"/>
                        <a:pt x="60" y="4"/>
                      </a:cubicBezTo>
                      <a:moveTo>
                        <a:pt x="60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6"/>
                        <a:pt x="0" y="9"/>
                      </a:cubicBezTo>
                      <a:cubicBezTo>
                        <a:pt x="0" y="48"/>
                        <a:pt x="0" y="48"/>
                        <a:pt x="0" y="48"/>
                      </a:cubicBezTo>
                      <a:cubicBezTo>
                        <a:pt x="0" y="52"/>
                        <a:pt x="3" y="56"/>
                        <a:pt x="6" y="56"/>
                      </a:cubicBezTo>
                      <a:cubicBezTo>
                        <a:pt x="60" y="56"/>
                        <a:pt x="60" y="56"/>
                        <a:pt x="60" y="56"/>
                      </a:cubicBezTo>
                      <a:cubicBezTo>
                        <a:pt x="64" y="56"/>
                        <a:pt x="68" y="52"/>
                        <a:pt x="68" y="48"/>
                      </a:cubicBezTo>
                      <a:cubicBezTo>
                        <a:pt x="68" y="9"/>
                        <a:pt x="68" y="9"/>
                        <a:pt x="68" y="9"/>
                      </a:cubicBezTo>
                      <a:cubicBezTo>
                        <a:pt x="68" y="6"/>
                        <a:pt x="64" y="0"/>
                        <a:pt x="60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05" name="Freeform 528">
                  <a:extLst>
                    <a:ext uri="{FF2B5EF4-FFF2-40B4-BE49-F238E27FC236}">
                      <a16:creationId xmlns:a16="http://schemas.microsoft.com/office/drawing/2014/main" id="{6EB15204-3FF4-A141-F450-991C22492A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80176" y="3135313"/>
                  <a:ext cx="131763" cy="31750"/>
                </a:xfrm>
                <a:custGeom>
                  <a:avLst/>
                  <a:gdLst>
                    <a:gd name="T0" fmla="*/ 95 w 96"/>
                    <a:gd name="T1" fmla="*/ 14 h 24"/>
                    <a:gd name="T2" fmla="*/ 83 w 96"/>
                    <a:gd name="T3" fmla="*/ 1 h 24"/>
                    <a:gd name="T4" fmla="*/ 80 w 96"/>
                    <a:gd name="T5" fmla="*/ 0 h 24"/>
                    <a:gd name="T6" fmla="*/ 19 w 96"/>
                    <a:gd name="T7" fmla="*/ 0 h 24"/>
                    <a:gd name="T8" fmla="*/ 15 w 96"/>
                    <a:gd name="T9" fmla="*/ 1 h 24"/>
                    <a:gd name="T10" fmla="*/ 2 w 96"/>
                    <a:gd name="T11" fmla="*/ 15 h 24"/>
                    <a:gd name="T12" fmla="*/ 0 w 96"/>
                    <a:gd name="T13" fmla="*/ 19 h 24"/>
                    <a:gd name="T14" fmla="*/ 0 w 96"/>
                    <a:gd name="T15" fmla="*/ 20 h 24"/>
                    <a:gd name="T16" fmla="*/ 4 w 96"/>
                    <a:gd name="T17" fmla="*/ 24 h 24"/>
                    <a:gd name="T18" fmla="*/ 95 w 96"/>
                    <a:gd name="T19" fmla="*/ 24 h 24"/>
                    <a:gd name="T20" fmla="*/ 96 w 96"/>
                    <a:gd name="T21" fmla="*/ 20 h 24"/>
                    <a:gd name="T22" fmla="*/ 96 w 96"/>
                    <a:gd name="T23" fmla="*/ 19 h 24"/>
                    <a:gd name="T24" fmla="*/ 95 w 96"/>
                    <a:gd name="T25" fmla="*/ 1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6" h="24">
                      <a:moveTo>
                        <a:pt x="95" y="14"/>
                      </a:moveTo>
                      <a:cubicBezTo>
                        <a:pt x="83" y="1"/>
                        <a:pt x="83" y="1"/>
                        <a:pt x="83" y="1"/>
                      </a:cubicBezTo>
                      <a:cubicBezTo>
                        <a:pt x="82" y="0"/>
                        <a:pt x="81" y="0"/>
                        <a:pt x="80" y="0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18" y="0"/>
                        <a:pt x="16" y="0"/>
                        <a:pt x="15" y="1"/>
                      </a:cubicBezTo>
                      <a:cubicBezTo>
                        <a:pt x="2" y="15"/>
                        <a:pt x="2" y="15"/>
                        <a:pt x="2" y="15"/>
                      </a:cubicBezTo>
                      <a:cubicBezTo>
                        <a:pt x="1" y="16"/>
                        <a:pt x="0" y="17"/>
                        <a:pt x="0" y="19"/>
                      </a:cubicBezTo>
                      <a:cubicBezTo>
                        <a:pt x="0" y="20"/>
                        <a:pt x="0" y="20"/>
                        <a:pt x="0" y="20"/>
                      </a:cubicBezTo>
                      <a:cubicBezTo>
                        <a:pt x="0" y="21"/>
                        <a:pt x="3" y="24"/>
                        <a:pt x="4" y="24"/>
                      </a:cubicBezTo>
                      <a:cubicBezTo>
                        <a:pt x="95" y="24"/>
                        <a:pt x="95" y="24"/>
                        <a:pt x="95" y="24"/>
                      </a:cubicBezTo>
                      <a:cubicBezTo>
                        <a:pt x="96" y="24"/>
                        <a:pt x="96" y="21"/>
                        <a:pt x="96" y="20"/>
                      </a:cubicBezTo>
                      <a:cubicBezTo>
                        <a:pt x="96" y="19"/>
                        <a:pt x="96" y="19"/>
                        <a:pt x="96" y="19"/>
                      </a:cubicBezTo>
                      <a:cubicBezTo>
                        <a:pt x="96" y="17"/>
                        <a:pt x="96" y="15"/>
                        <a:pt x="95" y="1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06" name="Rectangle 529">
                  <a:extLst>
                    <a:ext uri="{FF2B5EF4-FFF2-40B4-BE49-F238E27FC236}">
                      <a16:creationId xmlns:a16="http://schemas.microsoft.com/office/drawing/2014/main" id="{CCB8D769-4D39-DB41-4C11-DC68260499E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46851" y="3063876"/>
                  <a:ext cx="31750" cy="222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07" name="Rectangle 530">
                  <a:extLst>
                    <a:ext uri="{FF2B5EF4-FFF2-40B4-BE49-F238E27FC236}">
                      <a16:creationId xmlns:a16="http://schemas.microsoft.com/office/drawing/2014/main" id="{4A63BB12-1DEA-D05C-29AA-0966E4A958F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46851" y="3079751"/>
                  <a:ext cx="31750" cy="222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08" name="Rectangle 531">
                  <a:extLst>
                    <a:ext uri="{FF2B5EF4-FFF2-40B4-BE49-F238E27FC236}">
                      <a16:creationId xmlns:a16="http://schemas.microsoft.com/office/drawing/2014/main" id="{C2A70D17-C37B-F2C3-3D07-DE6FBD259B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46851" y="3090863"/>
                  <a:ext cx="31750" cy="222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09" name="Rectangle 532">
                  <a:extLst>
                    <a:ext uri="{FF2B5EF4-FFF2-40B4-BE49-F238E27FC236}">
                      <a16:creationId xmlns:a16="http://schemas.microsoft.com/office/drawing/2014/main" id="{88D2F1BD-6FF3-3754-E3B5-BED9DBAEF12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19863" y="3074988"/>
                  <a:ext cx="20638" cy="2698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10" name="Oval 533">
                  <a:extLst>
                    <a:ext uri="{FF2B5EF4-FFF2-40B4-BE49-F238E27FC236}">
                      <a16:creationId xmlns:a16="http://schemas.microsoft.com/office/drawing/2014/main" id="{AA7E6355-6BC4-D5CE-51C9-98DB109C4D5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18326" y="2555876"/>
                  <a:ext cx="107950" cy="109538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11" name="Freeform 534">
                  <a:extLst>
                    <a:ext uri="{FF2B5EF4-FFF2-40B4-BE49-F238E27FC236}">
                      <a16:creationId xmlns:a16="http://schemas.microsoft.com/office/drawing/2014/main" id="{1106F375-6521-439F-1435-F0B215F1FAF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945313" y="2589213"/>
                  <a:ext cx="71438" cy="42863"/>
                </a:xfrm>
                <a:custGeom>
                  <a:avLst/>
                  <a:gdLst>
                    <a:gd name="T0" fmla="*/ 46 w 52"/>
                    <a:gd name="T1" fmla="*/ 32 h 32"/>
                    <a:gd name="T2" fmla="*/ 0 w 52"/>
                    <a:gd name="T3" fmla="*/ 32 h 32"/>
                    <a:gd name="T4" fmla="*/ 0 w 52"/>
                    <a:gd name="T5" fmla="*/ 0 h 32"/>
                    <a:gd name="T6" fmla="*/ 52 w 52"/>
                    <a:gd name="T7" fmla="*/ 0 h 32"/>
                    <a:gd name="T8" fmla="*/ 52 w 52"/>
                    <a:gd name="T9" fmla="*/ 30 h 32"/>
                    <a:gd name="T10" fmla="*/ 46 w 52"/>
                    <a:gd name="T11" fmla="*/ 32 h 32"/>
                    <a:gd name="T12" fmla="*/ 0 w 52"/>
                    <a:gd name="T13" fmla="*/ 32 h 32"/>
                    <a:gd name="T14" fmla="*/ 46 w 52"/>
                    <a:gd name="T15" fmla="*/ 32 h 32"/>
                    <a:gd name="T16" fmla="*/ 48 w 52"/>
                    <a:gd name="T17" fmla="*/ 30 h 32"/>
                    <a:gd name="T18" fmla="*/ 48 w 52"/>
                    <a:gd name="T19" fmla="*/ 4 h 32"/>
                    <a:gd name="T20" fmla="*/ 0 w 52"/>
                    <a:gd name="T21" fmla="*/ 4 h 32"/>
                    <a:gd name="T22" fmla="*/ 0 w 52"/>
                    <a:gd name="T23" fmla="*/ 32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2" h="32">
                      <a:moveTo>
                        <a:pt x="46" y="32"/>
                      </a:move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31"/>
                        <a:pt x="48" y="32"/>
                        <a:pt x="46" y="32"/>
                      </a:cubicBezTo>
                      <a:close/>
                      <a:moveTo>
                        <a:pt x="0" y="32"/>
                      </a:moveTo>
                      <a:cubicBezTo>
                        <a:pt x="46" y="32"/>
                        <a:pt x="46" y="32"/>
                        <a:pt x="46" y="32"/>
                      </a:cubicBezTo>
                      <a:cubicBezTo>
                        <a:pt x="47" y="32"/>
                        <a:pt x="48" y="31"/>
                        <a:pt x="48" y="30"/>
                      </a:cubicBezTo>
                      <a:cubicBezTo>
                        <a:pt x="48" y="4"/>
                        <a:pt x="48" y="4"/>
                        <a:pt x="48" y="4"/>
                      </a:cubicBezTo>
                      <a:cubicBezTo>
                        <a:pt x="0" y="4"/>
                        <a:pt x="0" y="4"/>
                        <a:pt x="0" y="4"/>
                      </a:cubicBezTo>
                      <a:lnTo>
                        <a:pt x="0" y="3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12" name="Freeform 535">
                  <a:extLst>
                    <a:ext uri="{FF2B5EF4-FFF2-40B4-BE49-F238E27FC236}">
                      <a16:creationId xmlns:a16="http://schemas.microsoft.com/office/drawing/2014/main" id="{2EF4C64E-8AD6-C507-3DC0-7563E4453FF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934201" y="2598738"/>
                  <a:ext cx="11113" cy="33338"/>
                </a:xfrm>
                <a:custGeom>
                  <a:avLst/>
                  <a:gdLst>
                    <a:gd name="T0" fmla="*/ 8 w 8"/>
                    <a:gd name="T1" fmla="*/ 24 h 24"/>
                    <a:gd name="T2" fmla="*/ 2 w 8"/>
                    <a:gd name="T3" fmla="*/ 24 h 24"/>
                    <a:gd name="T4" fmla="*/ 0 w 8"/>
                    <a:gd name="T5" fmla="*/ 22 h 24"/>
                    <a:gd name="T6" fmla="*/ 0 w 8"/>
                    <a:gd name="T7" fmla="*/ 0 h 24"/>
                    <a:gd name="T8" fmla="*/ 8 w 8"/>
                    <a:gd name="T9" fmla="*/ 0 h 24"/>
                    <a:gd name="T10" fmla="*/ 8 w 8"/>
                    <a:gd name="T11" fmla="*/ 24 h 24"/>
                    <a:gd name="T12" fmla="*/ 0 w 8"/>
                    <a:gd name="T13" fmla="*/ 0 h 24"/>
                    <a:gd name="T14" fmla="*/ 0 w 8"/>
                    <a:gd name="T15" fmla="*/ 22 h 24"/>
                    <a:gd name="T16" fmla="*/ 2 w 8"/>
                    <a:gd name="T17" fmla="*/ 24 h 24"/>
                    <a:gd name="T18" fmla="*/ 8 w 8"/>
                    <a:gd name="T19" fmla="*/ 24 h 24"/>
                    <a:gd name="T20" fmla="*/ 8 w 8"/>
                    <a:gd name="T21" fmla="*/ 0 h 24"/>
                    <a:gd name="T22" fmla="*/ 0 w 8"/>
                    <a:gd name="T23" fmla="*/ 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" h="24">
                      <a:moveTo>
                        <a:pt x="8" y="24"/>
                      </a:moveTo>
                      <a:cubicBezTo>
                        <a:pt x="2" y="24"/>
                        <a:pt x="2" y="24"/>
                        <a:pt x="2" y="24"/>
                      </a:cubicBezTo>
                      <a:cubicBezTo>
                        <a:pt x="0" y="24"/>
                        <a:pt x="0" y="23"/>
                        <a:pt x="0" y="22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8" y="0"/>
                        <a:pt x="8" y="0"/>
                        <a:pt x="8" y="0"/>
                      </a:cubicBezTo>
                      <a:lnTo>
                        <a:pt x="8" y="24"/>
                      </a:lnTo>
                      <a:close/>
                      <a:moveTo>
                        <a:pt x="0" y="0"/>
                      </a:moveTo>
                      <a:cubicBezTo>
                        <a:pt x="0" y="22"/>
                        <a:pt x="0" y="22"/>
                        <a:pt x="0" y="22"/>
                      </a:cubicBezTo>
                      <a:cubicBezTo>
                        <a:pt x="0" y="23"/>
                        <a:pt x="1" y="24"/>
                        <a:pt x="2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8" y="0"/>
                        <a:pt x="8" y="0"/>
                        <a:pt x="8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13" name="Rectangle 536">
                  <a:extLst>
                    <a:ext uri="{FF2B5EF4-FFF2-40B4-BE49-F238E27FC236}">
                      <a16:creationId xmlns:a16="http://schemas.microsoft.com/office/drawing/2014/main" id="{3E02EF53-97E2-24AD-45C7-50C68A80CFE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69126" y="2598738"/>
                  <a:ext cx="1588" cy="222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14" name="Rectangle 537">
                  <a:extLst>
                    <a:ext uri="{FF2B5EF4-FFF2-40B4-BE49-F238E27FC236}">
                      <a16:creationId xmlns:a16="http://schemas.microsoft.com/office/drawing/2014/main" id="{4B643A56-FA7B-5041-6FB3-4A4A83C17C4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78651" y="2598738"/>
                  <a:ext cx="26988" cy="158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15" name="Rectangle 538">
                  <a:extLst>
                    <a:ext uri="{FF2B5EF4-FFF2-40B4-BE49-F238E27FC236}">
                      <a16:creationId xmlns:a16="http://schemas.microsoft.com/office/drawing/2014/main" id="{7439769B-2C2F-34FA-2E11-A164A3EC9C9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77063" y="2609851"/>
                  <a:ext cx="30163" cy="158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16" name="Rectangle 539">
                  <a:extLst>
                    <a:ext uri="{FF2B5EF4-FFF2-40B4-BE49-F238E27FC236}">
                      <a16:creationId xmlns:a16="http://schemas.microsoft.com/office/drawing/2014/main" id="{2461A6A2-58FD-34A8-17D5-4990FDA2EC6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75476" y="2605088"/>
                  <a:ext cx="30163" cy="158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17" name="Rectangle 540">
                  <a:extLst>
                    <a:ext uri="{FF2B5EF4-FFF2-40B4-BE49-F238E27FC236}">
                      <a16:creationId xmlns:a16="http://schemas.microsoft.com/office/drawing/2014/main" id="{01CCEEA3-56D1-D67B-1D75-42A5C29F335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75476" y="2620963"/>
                  <a:ext cx="30163" cy="158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18" name="Rectangle 541">
                  <a:extLst>
                    <a:ext uri="{FF2B5EF4-FFF2-40B4-BE49-F238E27FC236}">
                      <a16:creationId xmlns:a16="http://schemas.microsoft.com/office/drawing/2014/main" id="{73384873-CEE1-FDD4-B41D-50465ED516C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78651" y="2616201"/>
                  <a:ext cx="26988" cy="47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19" name="Freeform 542">
                  <a:extLst>
                    <a:ext uri="{FF2B5EF4-FFF2-40B4-BE49-F238E27FC236}">
                      <a16:creationId xmlns:a16="http://schemas.microsoft.com/office/drawing/2014/main" id="{9DC5E768-85D6-9D86-AAD8-1929C9E572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56426" y="2598738"/>
                  <a:ext cx="4763" cy="4763"/>
                </a:xfrm>
                <a:custGeom>
                  <a:avLst/>
                  <a:gdLst>
                    <a:gd name="T0" fmla="*/ 2 w 4"/>
                    <a:gd name="T1" fmla="*/ 0 h 4"/>
                    <a:gd name="T2" fmla="*/ 4 w 4"/>
                    <a:gd name="T3" fmla="*/ 2 h 4"/>
                    <a:gd name="T4" fmla="*/ 1 w 4"/>
                    <a:gd name="T5" fmla="*/ 3 h 4"/>
                    <a:gd name="T6" fmla="*/ 2 w 4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4">
                      <a:moveTo>
                        <a:pt x="2" y="0"/>
                      </a:moveTo>
                      <a:cubicBezTo>
                        <a:pt x="3" y="0"/>
                        <a:pt x="4" y="1"/>
                        <a:pt x="4" y="2"/>
                      </a:cubicBezTo>
                      <a:cubicBezTo>
                        <a:pt x="4" y="4"/>
                        <a:pt x="1" y="4"/>
                        <a:pt x="1" y="3"/>
                      </a:cubicBezTo>
                      <a:cubicBezTo>
                        <a:pt x="0" y="2"/>
                        <a:pt x="1" y="1"/>
                        <a:pt x="2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20" name="Freeform 543">
                  <a:extLst>
                    <a:ext uri="{FF2B5EF4-FFF2-40B4-BE49-F238E27FC236}">
                      <a16:creationId xmlns:a16="http://schemas.microsoft.com/office/drawing/2014/main" id="{74ABC691-B3A0-E2EF-79E8-8577335EE8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51663" y="2603501"/>
                  <a:ext cx="14288" cy="22225"/>
                </a:xfrm>
                <a:custGeom>
                  <a:avLst/>
                  <a:gdLst>
                    <a:gd name="T0" fmla="*/ 10 w 10"/>
                    <a:gd name="T1" fmla="*/ 7 h 16"/>
                    <a:gd name="T2" fmla="*/ 9 w 10"/>
                    <a:gd name="T3" fmla="*/ 7 h 16"/>
                    <a:gd name="T4" fmla="*/ 7 w 10"/>
                    <a:gd name="T5" fmla="*/ 3 h 16"/>
                    <a:gd name="T6" fmla="*/ 7 w 10"/>
                    <a:gd name="T7" fmla="*/ 2 h 16"/>
                    <a:gd name="T8" fmla="*/ 9 w 10"/>
                    <a:gd name="T9" fmla="*/ 10 h 16"/>
                    <a:gd name="T10" fmla="*/ 7 w 10"/>
                    <a:gd name="T11" fmla="*/ 10 h 16"/>
                    <a:gd name="T12" fmla="*/ 7 w 10"/>
                    <a:gd name="T13" fmla="*/ 15 h 16"/>
                    <a:gd name="T14" fmla="*/ 6 w 10"/>
                    <a:gd name="T15" fmla="*/ 16 h 16"/>
                    <a:gd name="T16" fmla="*/ 5 w 10"/>
                    <a:gd name="T17" fmla="*/ 15 h 16"/>
                    <a:gd name="T18" fmla="*/ 5 w 10"/>
                    <a:gd name="T19" fmla="*/ 10 h 16"/>
                    <a:gd name="T20" fmla="*/ 5 w 10"/>
                    <a:gd name="T21" fmla="*/ 10 h 16"/>
                    <a:gd name="T22" fmla="*/ 5 w 10"/>
                    <a:gd name="T23" fmla="*/ 16 h 16"/>
                    <a:gd name="T24" fmla="*/ 3 w 10"/>
                    <a:gd name="T25" fmla="*/ 16 h 16"/>
                    <a:gd name="T26" fmla="*/ 3 w 10"/>
                    <a:gd name="T27" fmla="*/ 10 h 16"/>
                    <a:gd name="T28" fmla="*/ 1 w 10"/>
                    <a:gd name="T29" fmla="*/ 10 h 16"/>
                    <a:gd name="T30" fmla="*/ 3 w 10"/>
                    <a:gd name="T31" fmla="*/ 2 h 16"/>
                    <a:gd name="T32" fmla="*/ 3 w 10"/>
                    <a:gd name="T33" fmla="*/ 2 h 16"/>
                    <a:gd name="T34" fmla="*/ 2 w 10"/>
                    <a:gd name="T35" fmla="*/ 7 h 16"/>
                    <a:gd name="T36" fmla="*/ 0 w 10"/>
                    <a:gd name="T37" fmla="*/ 6 h 16"/>
                    <a:gd name="T38" fmla="*/ 1 w 10"/>
                    <a:gd name="T39" fmla="*/ 3 h 16"/>
                    <a:gd name="T40" fmla="*/ 2 w 10"/>
                    <a:gd name="T41" fmla="*/ 1 h 16"/>
                    <a:gd name="T42" fmla="*/ 6 w 10"/>
                    <a:gd name="T43" fmla="*/ 0 h 16"/>
                    <a:gd name="T44" fmla="*/ 8 w 10"/>
                    <a:gd name="T45" fmla="*/ 1 h 16"/>
                    <a:gd name="T46" fmla="*/ 9 w 10"/>
                    <a:gd name="T47" fmla="*/ 4 h 16"/>
                    <a:gd name="T48" fmla="*/ 10 w 10"/>
                    <a:gd name="T49" fmla="*/ 7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0" h="16">
                      <a:moveTo>
                        <a:pt x="10" y="7"/>
                      </a:moveTo>
                      <a:cubicBezTo>
                        <a:pt x="9" y="7"/>
                        <a:pt x="9" y="7"/>
                        <a:pt x="9" y="7"/>
                      </a:cubicBezTo>
                      <a:cubicBezTo>
                        <a:pt x="8" y="5"/>
                        <a:pt x="8" y="4"/>
                        <a:pt x="7" y="3"/>
                      </a:cubicBezTo>
                      <a:cubicBezTo>
                        <a:pt x="7" y="2"/>
                        <a:pt x="7" y="2"/>
                        <a:pt x="7" y="2"/>
                      </a:cubicBezTo>
                      <a:cubicBezTo>
                        <a:pt x="7" y="5"/>
                        <a:pt x="8" y="7"/>
                        <a:pt x="9" y="10"/>
                      </a:cubicBezTo>
                      <a:cubicBezTo>
                        <a:pt x="8" y="10"/>
                        <a:pt x="8" y="10"/>
                        <a:pt x="7" y="10"/>
                      </a:cubicBezTo>
                      <a:cubicBezTo>
                        <a:pt x="7" y="12"/>
                        <a:pt x="7" y="14"/>
                        <a:pt x="7" y="15"/>
                      </a:cubicBezTo>
                      <a:cubicBezTo>
                        <a:pt x="7" y="16"/>
                        <a:pt x="7" y="16"/>
                        <a:pt x="6" y="16"/>
                      </a:cubicBezTo>
                      <a:cubicBezTo>
                        <a:pt x="6" y="16"/>
                        <a:pt x="5" y="16"/>
                        <a:pt x="5" y="15"/>
                      </a:cubicBezTo>
                      <a:cubicBezTo>
                        <a:pt x="5" y="14"/>
                        <a:pt x="5" y="12"/>
                        <a:pt x="5" y="10"/>
                      </a:cubicBezTo>
                      <a:cubicBezTo>
                        <a:pt x="5" y="10"/>
                        <a:pt x="5" y="10"/>
                        <a:pt x="5" y="10"/>
                      </a:cubicBezTo>
                      <a:cubicBezTo>
                        <a:pt x="5" y="12"/>
                        <a:pt x="5" y="14"/>
                        <a:pt x="5" y="16"/>
                      </a:cubicBezTo>
                      <a:cubicBezTo>
                        <a:pt x="5" y="16"/>
                        <a:pt x="3" y="16"/>
                        <a:pt x="3" y="16"/>
                      </a:cubicBezTo>
                      <a:cubicBezTo>
                        <a:pt x="3" y="14"/>
                        <a:pt x="3" y="12"/>
                        <a:pt x="3" y="10"/>
                      </a:cubicBezTo>
                      <a:cubicBezTo>
                        <a:pt x="3" y="10"/>
                        <a:pt x="2" y="10"/>
                        <a:pt x="1" y="10"/>
                      </a:cubicBezTo>
                      <a:cubicBezTo>
                        <a:pt x="2" y="7"/>
                        <a:pt x="3" y="5"/>
                        <a:pt x="3" y="2"/>
                      </a:cubicBezTo>
                      <a:cubicBezTo>
                        <a:pt x="3" y="2"/>
                        <a:pt x="3" y="2"/>
                        <a:pt x="3" y="2"/>
                      </a:cubicBezTo>
                      <a:cubicBezTo>
                        <a:pt x="2" y="4"/>
                        <a:pt x="2" y="5"/>
                        <a:pt x="2" y="7"/>
                      </a:cubicBezTo>
                      <a:cubicBezTo>
                        <a:pt x="2" y="7"/>
                        <a:pt x="0" y="7"/>
                        <a:pt x="0" y="6"/>
                      </a:cubicBezTo>
                      <a:cubicBezTo>
                        <a:pt x="0" y="5"/>
                        <a:pt x="1" y="4"/>
                        <a:pt x="1" y="3"/>
                      </a:cubicBezTo>
                      <a:cubicBezTo>
                        <a:pt x="2" y="2"/>
                        <a:pt x="2" y="1"/>
                        <a:pt x="2" y="1"/>
                      </a:cubicBezTo>
                      <a:cubicBezTo>
                        <a:pt x="3" y="0"/>
                        <a:pt x="5" y="0"/>
                        <a:pt x="6" y="0"/>
                      </a:cubicBezTo>
                      <a:cubicBezTo>
                        <a:pt x="6" y="0"/>
                        <a:pt x="8" y="0"/>
                        <a:pt x="8" y="1"/>
                      </a:cubicBezTo>
                      <a:cubicBezTo>
                        <a:pt x="9" y="2"/>
                        <a:pt x="9" y="3"/>
                        <a:pt x="9" y="4"/>
                      </a:cubicBezTo>
                      <a:cubicBezTo>
                        <a:pt x="10" y="5"/>
                        <a:pt x="10" y="6"/>
                        <a:pt x="10" y="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21" name="Oval 544">
                  <a:extLst>
                    <a:ext uri="{FF2B5EF4-FFF2-40B4-BE49-F238E27FC236}">
                      <a16:creationId xmlns:a16="http://schemas.microsoft.com/office/drawing/2014/main" id="{6A287236-8BDE-753C-3CB4-E16B03C6E78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897813" y="3348038"/>
                  <a:ext cx="111125" cy="109538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22" name="Freeform 545">
                  <a:extLst>
                    <a:ext uri="{FF2B5EF4-FFF2-40B4-BE49-F238E27FC236}">
                      <a16:creationId xmlns:a16="http://schemas.microsoft.com/office/drawing/2014/main" id="{0010325D-1EB9-64F7-1872-66C303E07EB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27976" y="3386138"/>
                  <a:ext cx="65088" cy="38100"/>
                </a:xfrm>
                <a:custGeom>
                  <a:avLst/>
                  <a:gdLst>
                    <a:gd name="T0" fmla="*/ 45 w 48"/>
                    <a:gd name="T1" fmla="*/ 28 h 28"/>
                    <a:gd name="T2" fmla="*/ 0 w 48"/>
                    <a:gd name="T3" fmla="*/ 28 h 28"/>
                    <a:gd name="T4" fmla="*/ 0 w 48"/>
                    <a:gd name="T5" fmla="*/ 0 h 28"/>
                    <a:gd name="T6" fmla="*/ 48 w 48"/>
                    <a:gd name="T7" fmla="*/ 0 h 28"/>
                    <a:gd name="T8" fmla="*/ 48 w 48"/>
                    <a:gd name="T9" fmla="*/ 26 h 28"/>
                    <a:gd name="T10" fmla="*/ 45 w 48"/>
                    <a:gd name="T11" fmla="*/ 28 h 28"/>
                    <a:gd name="T12" fmla="*/ 0 w 48"/>
                    <a:gd name="T13" fmla="*/ 28 h 28"/>
                    <a:gd name="T14" fmla="*/ 45 w 48"/>
                    <a:gd name="T15" fmla="*/ 28 h 28"/>
                    <a:gd name="T16" fmla="*/ 48 w 48"/>
                    <a:gd name="T17" fmla="*/ 26 h 28"/>
                    <a:gd name="T18" fmla="*/ 48 w 48"/>
                    <a:gd name="T19" fmla="*/ 0 h 28"/>
                    <a:gd name="T20" fmla="*/ 0 w 48"/>
                    <a:gd name="T21" fmla="*/ 0 h 28"/>
                    <a:gd name="T22" fmla="*/ 0 w 48"/>
                    <a:gd name="T23" fmla="*/ 28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8" h="28">
                      <a:moveTo>
                        <a:pt x="45" y="28"/>
                      </a:move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26"/>
                        <a:pt x="48" y="26"/>
                        <a:pt x="48" y="26"/>
                      </a:cubicBezTo>
                      <a:cubicBezTo>
                        <a:pt x="48" y="27"/>
                        <a:pt x="46" y="28"/>
                        <a:pt x="45" y="28"/>
                      </a:cubicBezTo>
                      <a:close/>
                      <a:moveTo>
                        <a:pt x="0" y="28"/>
                      </a:moveTo>
                      <a:cubicBezTo>
                        <a:pt x="45" y="28"/>
                        <a:pt x="45" y="28"/>
                        <a:pt x="45" y="28"/>
                      </a:cubicBezTo>
                      <a:cubicBezTo>
                        <a:pt x="46" y="28"/>
                        <a:pt x="48" y="27"/>
                        <a:pt x="48" y="26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2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23" name="Freeform 546">
                  <a:extLst>
                    <a:ext uri="{FF2B5EF4-FFF2-40B4-BE49-F238E27FC236}">
                      <a16:creationId xmlns:a16="http://schemas.microsoft.com/office/drawing/2014/main" id="{D7457FBA-C150-DCED-34B0-B7E0F57F0BF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15276" y="3390901"/>
                  <a:ext cx="12700" cy="33338"/>
                </a:xfrm>
                <a:custGeom>
                  <a:avLst/>
                  <a:gdLst>
                    <a:gd name="T0" fmla="*/ 9 w 9"/>
                    <a:gd name="T1" fmla="*/ 24 h 24"/>
                    <a:gd name="T2" fmla="*/ 1 w 9"/>
                    <a:gd name="T3" fmla="*/ 24 h 24"/>
                    <a:gd name="T4" fmla="*/ 1 w 9"/>
                    <a:gd name="T5" fmla="*/ 22 h 24"/>
                    <a:gd name="T6" fmla="*/ 1 w 9"/>
                    <a:gd name="T7" fmla="*/ 0 h 24"/>
                    <a:gd name="T8" fmla="*/ 9 w 9"/>
                    <a:gd name="T9" fmla="*/ 0 h 24"/>
                    <a:gd name="T10" fmla="*/ 9 w 9"/>
                    <a:gd name="T11" fmla="*/ 24 h 24"/>
                    <a:gd name="T12" fmla="*/ 1 w 9"/>
                    <a:gd name="T13" fmla="*/ 0 h 24"/>
                    <a:gd name="T14" fmla="*/ 1 w 9"/>
                    <a:gd name="T15" fmla="*/ 22 h 24"/>
                    <a:gd name="T16" fmla="*/ 1 w 9"/>
                    <a:gd name="T17" fmla="*/ 24 h 24"/>
                    <a:gd name="T18" fmla="*/ 9 w 9"/>
                    <a:gd name="T19" fmla="*/ 24 h 24"/>
                    <a:gd name="T20" fmla="*/ 9 w 9"/>
                    <a:gd name="T21" fmla="*/ 0 h 24"/>
                    <a:gd name="T22" fmla="*/ 1 w 9"/>
                    <a:gd name="T23" fmla="*/ 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9" h="24">
                      <a:moveTo>
                        <a:pt x="9" y="24"/>
                      </a:moveTo>
                      <a:cubicBezTo>
                        <a:pt x="1" y="24"/>
                        <a:pt x="1" y="24"/>
                        <a:pt x="1" y="24"/>
                      </a:cubicBezTo>
                      <a:cubicBezTo>
                        <a:pt x="0" y="24"/>
                        <a:pt x="1" y="23"/>
                        <a:pt x="1" y="22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9" y="0"/>
                        <a:pt x="9" y="0"/>
                        <a:pt x="9" y="0"/>
                      </a:cubicBezTo>
                      <a:lnTo>
                        <a:pt x="9" y="24"/>
                      </a:lnTo>
                      <a:close/>
                      <a:moveTo>
                        <a:pt x="1" y="0"/>
                      </a:moveTo>
                      <a:cubicBezTo>
                        <a:pt x="1" y="22"/>
                        <a:pt x="1" y="22"/>
                        <a:pt x="1" y="22"/>
                      </a:cubicBezTo>
                      <a:cubicBezTo>
                        <a:pt x="1" y="23"/>
                        <a:pt x="0" y="24"/>
                        <a:pt x="1" y="24"/>
                      </a:cubicBezTo>
                      <a:cubicBezTo>
                        <a:pt x="9" y="24"/>
                        <a:pt x="9" y="24"/>
                        <a:pt x="9" y="24"/>
                      </a:cubicBezTo>
                      <a:cubicBezTo>
                        <a:pt x="9" y="0"/>
                        <a:pt x="9" y="0"/>
                        <a:pt x="9" y="0"/>
                      </a:cubicBez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24" name="Rectangle 547">
                  <a:extLst>
                    <a:ext uri="{FF2B5EF4-FFF2-40B4-BE49-F238E27FC236}">
                      <a16:creationId xmlns:a16="http://schemas.microsoft.com/office/drawing/2014/main" id="{5673C630-FE38-711A-2C7E-B2A4C75A01C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50201" y="3390901"/>
                  <a:ext cx="1588" cy="2698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25" name="Rectangle 548">
                  <a:extLst>
                    <a:ext uri="{FF2B5EF4-FFF2-40B4-BE49-F238E27FC236}">
                      <a16:creationId xmlns:a16="http://schemas.microsoft.com/office/drawing/2014/main" id="{8A27E40C-443B-A264-AB11-DFA2BC7FCFA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56551" y="3390901"/>
                  <a:ext cx="31750" cy="158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26" name="Rectangle 549">
                  <a:extLst>
                    <a:ext uri="{FF2B5EF4-FFF2-40B4-BE49-F238E27FC236}">
                      <a16:creationId xmlns:a16="http://schemas.microsoft.com/office/drawing/2014/main" id="{C15BACA9-B3CB-D0EF-6407-69D0B69FE48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54963" y="3402013"/>
                  <a:ext cx="33338" cy="6350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27" name="Rectangle 550">
                  <a:extLst>
                    <a:ext uri="{FF2B5EF4-FFF2-40B4-BE49-F238E27FC236}">
                      <a16:creationId xmlns:a16="http://schemas.microsoft.com/office/drawing/2014/main" id="{E51298E3-B063-0D28-FB27-EB073F907B6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56551" y="3397251"/>
                  <a:ext cx="28575" cy="158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28" name="Rectangle 551">
                  <a:extLst>
                    <a:ext uri="{FF2B5EF4-FFF2-40B4-BE49-F238E27FC236}">
                      <a16:creationId xmlns:a16="http://schemas.microsoft.com/office/drawing/2014/main" id="{870A0722-5228-A373-B0CE-75D9EC0061A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56551" y="3417888"/>
                  <a:ext cx="28575" cy="158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29" name="Rectangle 552">
                  <a:extLst>
                    <a:ext uri="{FF2B5EF4-FFF2-40B4-BE49-F238E27FC236}">
                      <a16:creationId xmlns:a16="http://schemas.microsoft.com/office/drawing/2014/main" id="{E052A052-1C3A-AA09-0E94-85CA7FB770E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56551" y="3408363"/>
                  <a:ext cx="31750" cy="158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30" name="Freeform 553">
                  <a:extLst>
                    <a:ext uri="{FF2B5EF4-FFF2-40B4-BE49-F238E27FC236}">
                      <a16:creationId xmlns:a16="http://schemas.microsoft.com/office/drawing/2014/main" id="{FA7B3610-B488-32FD-E586-AE525FDB1B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35913" y="3389313"/>
                  <a:ext cx="7938" cy="6350"/>
                </a:xfrm>
                <a:custGeom>
                  <a:avLst/>
                  <a:gdLst>
                    <a:gd name="T0" fmla="*/ 2 w 5"/>
                    <a:gd name="T1" fmla="*/ 0 h 4"/>
                    <a:gd name="T2" fmla="*/ 4 w 5"/>
                    <a:gd name="T3" fmla="*/ 2 h 4"/>
                    <a:gd name="T4" fmla="*/ 1 w 5"/>
                    <a:gd name="T5" fmla="*/ 3 h 4"/>
                    <a:gd name="T6" fmla="*/ 2 w 5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4">
                      <a:moveTo>
                        <a:pt x="2" y="0"/>
                      </a:moveTo>
                      <a:cubicBezTo>
                        <a:pt x="3" y="0"/>
                        <a:pt x="5" y="1"/>
                        <a:pt x="4" y="2"/>
                      </a:cubicBezTo>
                      <a:cubicBezTo>
                        <a:pt x="4" y="4"/>
                        <a:pt x="2" y="4"/>
                        <a:pt x="1" y="3"/>
                      </a:cubicBezTo>
                      <a:cubicBezTo>
                        <a:pt x="0" y="2"/>
                        <a:pt x="1" y="1"/>
                        <a:pt x="2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31" name="Freeform 554">
                  <a:extLst>
                    <a:ext uri="{FF2B5EF4-FFF2-40B4-BE49-F238E27FC236}">
                      <a16:creationId xmlns:a16="http://schemas.microsoft.com/office/drawing/2014/main" id="{5DF4DD40-E85D-A0F1-C22F-BA22CF37BD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34326" y="3395663"/>
                  <a:ext cx="12700" cy="22225"/>
                </a:xfrm>
                <a:custGeom>
                  <a:avLst/>
                  <a:gdLst>
                    <a:gd name="T0" fmla="*/ 9 w 10"/>
                    <a:gd name="T1" fmla="*/ 7 h 16"/>
                    <a:gd name="T2" fmla="*/ 8 w 10"/>
                    <a:gd name="T3" fmla="*/ 7 h 16"/>
                    <a:gd name="T4" fmla="*/ 7 w 10"/>
                    <a:gd name="T5" fmla="*/ 3 h 16"/>
                    <a:gd name="T6" fmla="*/ 6 w 10"/>
                    <a:gd name="T7" fmla="*/ 2 h 16"/>
                    <a:gd name="T8" fmla="*/ 9 w 10"/>
                    <a:gd name="T9" fmla="*/ 10 h 16"/>
                    <a:gd name="T10" fmla="*/ 7 w 10"/>
                    <a:gd name="T11" fmla="*/ 10 h 16"/>
                    <a:gd name="T12" fmla="*/ 7 w 10"/>
                    <a:gd name="T13" fmla="*/ 15 h 16"/>
                    <a:gd name="T14" fmla="*/ 6 w 10"/>
                    <a:gd name="T15" fmla="*/ 16 h 16"/>
                    <a:gd name="T16" fmla="*/ 5 w 10"/>
                    <a:gd name="T17" fmla="*/ 15 h 16"/>
                    <a:gd name="T18" fmla="*/ 5 w 10"/>
                    <a:gd name="T19" fmla="*/ 10 h 16"/>
                    <a:gd name="T20" fmla="*/ 5 w 10"/>
                    <a:gd name="T21" fmla="*/ 10 h 16"/>
                    <a:gd name="T22" fmla="*/ 5 w 10"/>
                    <a:gd name="T23" fmla="*/ 16 h 16"/>
                    <a:gd name="T24" fmla="*/ 3 w 10"/>
                    <a:gd name="T25" fmla="*/ 16 h 16"/>
                    <a:gd name="T26" fmla="*/ 3 w 10"/>
                    <a:gd name="T27" fmla="*/ 10 h 16"/>
                    <a:gd name="T28" fmla="*/ 1 w 10"/>
                    <a:gd name="T29" fmla="*/ 10 h 16"/>
                    <a:gd name="T30" fmla="*/ 3 w 10"/>
                    <a:gd name="T31" fmla="*/ 2 h 16"/>
                    <a:gd name="T32" fmla="*/ 3 w 10"/>
                    <a:gd name="T33" fmla="*/ 2 h 16"/>
                    <a:gd name="T34" fmla="*/ 1 w 10"/>
                    <a:gd name="T35" fmla="*/ 7 h 16"/>
                    <a:gd name="T36" fmla="*/ 0 w 10"/>
                    <a:gd name="T37" fmla="*/ 6 h 16"/>
                    <a:gd name="T38" fmla="*/ 1 w 10"/>
                    <a:gd name="T39" fmla="*/ 3 h 16"/>
                    <a:gd name="T40" fmla="*/ 2 w 10"/>
                    <a:gd name="T41" fmla="*/ 1 h 16"/>
                    <a:gd name="T42" fmla="*/ 5 w 10"/>
                    <a:gd name="T43" fmla="*/ 0 h 16"/>
                    <a:gd name="T44" fmla="*/ 8 w 10"/>
                    <a:gd name="T45" fmla="*/ 1 h 16"/>
                    <a:gd name="T46" fmla="*/ 9 w 10"/>
                    <a:gd name="T47" fmla="*/ 4 h 16"/>
                    <a:gd name="T48" fmla="*/ 9 w 10"/>
                    <a:gd name="T49" fmla="*/ 7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0" h="16">
                      <a:moveTo>
                        <a:pt x="9" y="7"/>
                      </a:moveTo>
                      <a:cubicBezTo>
                        <a:pt x="9" y="7"/>
                        <a:pt x="8" y="7"/>
                        <a:pt x="8" y="7"/>
                      </a:cubicBezTo>
                      <a:cubicBezTo>
                        <a:pt x="8" y="5"/>
                        <a:pt x="7" y="4"/>
                        <a:pt x="7" y="3"/>
                      </a:cubicBezTo>
                      <a:cubicBezTo>
                        <a:pt x="7" y="2"/>
                        <a:pt x="7" y="2"/>
                        <a:pt x="6" y="2"/>
                      </a:cubicBezTo>
                      <a:cubicBezTo>
                        <a:pt x="7" y="5"/>
                        <a:pt x="8" y="7"/>
                        <a:pt x="9" y="10"/>
                      </a:cubicBezTo>
                      <a:cubicBezTo>
                        <a:pt x="8" y="10"/>
                        <a:pt x="7" y="10"/>
                        <a:pt x="7" y="10"/>
                      </a:cubicBezTo>
                      <a:cubicBezTo>
                        <a:pt x="7" y="12"/>
                        <a:pt x="7" y="13"/>
                        <a:pt x="7" y="15"/>
                      </a:cubicBezTo>
                      <a:cubicBezTo>
                        <a:pt x="7" y="16"/>
                        <a:pt x="6" y="16"/>
                        <a:pt x="6" y="16"/>
                      </a:cubicBezTo>
                      <a:cubicBezTo>
                        <a:pt x="5" y="16"/>
                        <a:pt x="5" y="16"/>
                        <a:pt x="5" y="15"/>
                      </a:cubicBezTo>
                      <a:cubicBezTo>
                        <a:pt x="5" y="14"/>
                        <a:pt x="5" y="12"/>
                        <a:pt x="5" y="10"/>
                      </a:cubicBezTo>
                      <a:cubicBezTo>
                        <a:pt x="5" y="10"/>
                        <a:pt x="5" y="10"/>
                        <a:pt x="5" y="10"/>
                      </a:cubicBezTo>
                      <a:cubicBezTo>
                        <a:pt x="5" y="12"/>
                        <a:pt x="5" y="14"/>
                        <a:pt x="5" y="16"/>
                      </a:cubicBezTo>
                      <a:cubicBezTo>
                        <a:pt x="4" y="16"/>
                        <a:pt x="3" y="16"/>
                        <a:pt x="3" y="16"/>
                      </a:cubicBezTo>
                      <a:cubicBezTo>
                        <a:pt x="3" y="14"/>
                        <a:pt x="3" y="12"/>
                        <a:pt x="3" y="10"/>
                      </a:cubicBezTo>
                      <a:cubicBezTo>
                        <a:pt x="2" y="10"/>
                        <a:pt x="2" y="10"/>
                        <a:pt x="1" y="10"/>
                      </a:cubicBezTo>
                      <a:cubicBezTo>
                        <a:pt x="2" y="7"/>
                        <a:pt x="2" y="5"/>
                        <a:pt x="3" y="2"/>
                      </a:cubicBezTo>
                      <a:cubicBezTo>
                        <a:pt x="3" y="2"/>
                        <a:pt x="3" y="2"/>
                        <a:pt x="3" y="2"/>
                      </a:cubicBezTo>
                      <a:cubicBezTo>
                        <a:pt x="2" y="4"/>
                        <a:pt x="2" y="5"/>
                        <a:pt x="1" y="7"/>
                      </a:cubicBezTo>
                      <a:cubicBezTo>
                        <a:pt x="1" y="7"/>
                        <a:pt x="0" y="7"/>
                        <a:pt x="0" y="6"/>
                      </a:cubicBezTo>
                      <a:cubicBezTo>
                        <a:pt x="0" y="5"/>
                        <a:pt x="0" y="4"/>
                        <a:pt x="1" y="3"/>
                      </a:cubicBezTo>
                      <a:cubicBezTo>
                        <a:pt x="1" y="2"/>
                        <a:pt x="1" y="1"/>
                        <a:pt x="2" y="1"/>
                      </a:cubicBezTo>
                      <a:cubicBezTo>
                        <a:pt x="3" y="0"/>
                        <a:pt x="4" y="0"/>
                        <a:pt x="5" y="0"/>
                      </a:cubicBezTo>
                      <a:cubicBezTo>
                        <a:pt x="6" y="0"/>
                        <a:pt x="7" y="0"/>
                        <a:pt x="8" y="1"/>
                      </a:cubicBezTo>
                      <a:cubicBezTo>
                        <a:pt x="8" y="2"/>
                        <a:pt x="8" y="3"/>
                        <a:pt x="9" y="4"/>
                      </a:cubicBezTo>
                      <a:cubicBezTo>
                        <a:pt x="9" y="5"/>
                        <a:pt x="10" y="6"/>
                        <a:pt x="9" y="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32" name="Oval 555">
                  <a:extLst>
                    <a:ext uri="{FF2B5EF4-FFF2-40B4-BE49-F238E27FC236}">
                      <a16:creationId xmlns:a16="http://schemas.microsoft.com/office/drawing/2014/main" id="{B420A489-D149-321E-0F60-0C3BDDD901A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42163" y="3863976"/>
                  <a:ext cx="107950" cy="107950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33" name="Oval 556">
                  <a:extLst>
                    <a:ext uri="{FF2B5EF4-FFF2-40B4-BE49-F238E27FC236}">
                      <a16:creationId xmlns:a16="http://schemas.microsoft.com/office/drawing/2014/main" id="{6C26BAD4-F906-B6C6-9F25-9066D86B62B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42163" y="3863976"/>
                  <a:ext cx="107950" cy="107950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34" name="Freeform 557">
                  <a:extLst>
                    <a:ext uri="{FF2B5EF4-FFF2-40B4-BE49-F238E27FC236}">
                      <a16:creationId xmlns:a16="http://schemas.microsoft.com/office/drawing/2014/main" id="{76340E92-F7EA-F02D-354C-639BC703839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169151" y="3898901"/>
                  <a:ext cx="61913" cy="44450"/>
                </a:xfrm>
                <a:custGeom>
                  <a:avLst/>
                  <a:gdLst>
                    <a:gd name="T0" fmla="*/ 44 w 45"/>
                    <a:gd name="T1" fmla="*/ 32 h 32"/>
                    <a:gd name="T2" fmla="*/ 0 w 45"/>
                    <a:gd name="T3" fmla="*/ 32 h 32"/>
                    <a:gd name="T4" fmla="*/ 0 w 45"/>
                    <a:gd name="T5" fmla="*/ 0 h 32"/>
                    <a:gd name="T6" fmla="*/ 44 w 45"/>
                    <a:gd name="T7" fmla="*/ 0 h 32"/>
                    <a:gd name="T8" fmla="*/ 44 w 45"/>
                    <a:gd name="T9" fmla="*/ 26 h 32"/>
                    <a:gd name="T10" fmla="*/ 44 w 45"/>
                    <a:gd name="T11" fmla="*/ 32 h 32"/>
                    <a:gd name="T12" fmla="*/ 4 w 45"/>
                    <a:gd name="T13" fmla="*/ 28 h 32"/>
                    <a:gd name="T14" fmla="*/ 44 w 45"/>
                    <a:gd name="T15" fmla="*/ 28 h 32"/>
                    <a:gd name="T16" fmla="*/ 44 w 45"/>
                    <a:gd name="T17" fmla="*/ 26 h 32"/>
                    <a:gd name="T18" fmla="*/ 44 w 45"/>
                    <a:gd name="T19" fmla="*/ 0 h 32"/>
                    <a:gd name="T20" fmla="*/ 4 w 45"/>
                    <a:gd name="T21" fmla="*/ 0 h 32"/>
                    <a:gd name="T22" fmla="*/ 4 w 45"/>
                    <a:gd name="T23" fmla="*/ 28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5" h="32">
                      <a:moveTo>
                        <a:pt x="44" y="32"/>
                      </a:move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4" y="26"/>
                        <a:pt x="44" y="26"/>
                        <a:pt x="44" y="26"/>
                      </a:cubicBezTo>
                      <a:cubicBezTo>
                        <a:pt x="44" y="28"/>
                        <a:pt x="45" y="32"/>
                        <a:pt x="44" y="32"/>
                      </a:cubicBezTo>
                      <a:close/>
                      <a:moveTo>
                        <a:pt x="4" y="28"/>
                      </a:moveTo>
                      <a:cubicBezTo>
                        <a:pt x="44" y="28"/>
                        <a:pt x="44" y="28"/>
                        <a:pt x="44" y="28"/>
                      </a:cubicBezTo>
                      <a:cubicBezTo>
                        <a:pt x="44" y="28"/>
                        <a:pt x="44" y="27"/>
                        <a:pt x="44" y="26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lnTo>
                        <a:pt x="4" y="2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35" name="Freeform 558">
                  <a:extLst>
                    <a:ext uri="{FF2B5EF4-FFF2-40B4-BE49-F238E27FC236}">
                      <a16:creationId xmlns:a16="http://schemas.microsoft.com/office/drawing/2014/main" id="{2C5B4FCD-C15D-B2FA-10DF-6E4E50ABE21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158038" y="3905251"/>
                  <a:ext cx="15875" cy="38100"/>
                </a:xfrm>
                <a:custGeom>
                  <a:avLst/>
                  <a:gdLst>
                    <a:gd name="T0" fmla="*/ 12 w 12"/>
                    <a:gd name="T1" fmla="*/ 28 h 28"/>
                    <a:gd name="T2" fmla="*/ 4 w 12"/>
                    <a:gd name="T3" fmla="*/ 28 h 28"/>
                    <a:gd name="T4" fmla="*/ 0 w 12"/>
                    <a:gd name="T5" fmla="*/ 22 h 28"/>
                    <a:gd name="T6" fmla="*/ 0 w 12"/>
                    <a:gd name="T7" fmla="*/ 0 h 28"/>
                    <a:gd name="T8" fmla="*/ 12 w 12"/>
                    <a:gd name="T9" fmla="*/ 0 h 28"/>
                    <a:gd name="T10" fmla="*/ 12 w 12"/>
                    <a:gd name="T11" fmla="*/ 28 h 28"/>
                    <a:gd name="T12" fmla="*/ 4 w 12"/>
                    <a:gd name="T13" fmla="*/ 0 h 28"/>
                    <a:gd name="T14" fmla="*/ 4 w 12"/>
                    <a:gd name="T15" fmla="*/ 22 h 28"/>
                    <a:gd name="T16" fmla="*/ 4 w 12"/>
                    <a:gd name="T17" fmla="*/ 24 h 28"/>
                    <a:gd name="T18" fmla="*/ 8 w 12"/>
                    <a:gd name="T19" fmla="*/ 24 h 28"/>
                    <a:gd name="T20" fmla="*/ 8 w 12"/>
                    <a:gd name="T21" fmla="*/ 0 h 28"/>
                    <a:gd name="T22" fmla="*/ 4 w 12"/>
                    <a:gd name="T23" fmla="*/ 0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2" h="28">
                      <a:moveTo>
                        <a:pt x="12" y="28"/>
                      </a:move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2" y="28"/>
                        <a:pt x="0" y="24"/>
                        <a:pt x="0" y="22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lnTo>
                        <a:pt x="12" y="28"/>
                      </a:lnTo>
                      <a:close/>
                      <a:moveTo>
                        <a:pt x="4" y="0"/>
                      </a:moveTo>
                      <a:cubicBezTo>
                        <a:pt x="4" y="22"/>
                        <a:pt x="4" y="22"/>
                        <a:pt x="4" y="22"/>
                      </a:cubicBezTo>
                      <a:cubicBezTo>
                        <a:pt x="4" y="23"/>
                        <a:pt x="3" y="24"/>
                        <a:pt x="4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8" y="0"/>
                        <a:pt x="8" y="0"/>
                        <a:pt x="8" y="0"/>
                      </a:cubicBez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36" name="Rectangle 559">
                  <a:extLst>
                    <a:ext uri="{FF2B5EF4-FFF2-40B4-BE49-F238E27FC236}">
                      <a16:creationId xmlns:a16="http://schemas.microsoft.com/office/drawing/2014/main" id="{EC1CBABF-82C5-26ED-734F-C79FE6AB3E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92963" y="3905251"/>
                  <a:ext cx="1588" cy="206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37" name="Rectangle 560">
                  <a:extLst>
                    <a:ext uri="{FF2B5EF4-FFF2-40B4-BE49-F238E27FC236}">
                      <a16:creationId xmlns:a16="http://schemas.microsoft.com/office/drawing/2014/main" id="{94B958B3-7AA2-FCDD-32C1-8BF7B26766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96138" y="3921126"/>
                  <a:ext cx="11113" cy="47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38" name="Rectangle 561">
                  <a:extLst>
                    <a:ext uri="{FF2B5EF4-FFF2-40B4-BE49-F238E27FC236}">
                      <a16:creationId xmlns:a16="http://schemas.microsoft.com/office/drawing/2014/main" id="{D9A52F92-C565-6ECC-03ED-8C840AACE7B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12013" y="3921126"/>
                  <a:ext cx="11113" cy="47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39" name="Freeform 562">
                  <a:extLst>
                    <a:ext uri="{FF2B5EF4-FFF2-40B4-BE49-F238E27FC236}">
                      <a16:creationId xmlns:a16="http://schemas.microsoft.com/office/drawing/2014/main" id="{001397AD-BE91-5DFC-4C4D-1C802C3122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81851" y="3906838"/>
                  <a:ext cx="4763" cy="4763"/>
                </a:xfrm>
                <a:custGeom>
                  <a:avLst/>
                  <a:gdLst>
                    <a:gd name="T0" fmla="*/ 1 w 4"/>
                    <a:gd name="T1" fmla="*/ 0 h 4"/>
                    <a:gd name="T2" fmla="*/ 3 w 4"/>
                    <a:gd name="T3" fmla="*/ 2 h 4"/>
                    <a:gd name="T4" fmla="*/ 1 w 4"/>
                    <a:gd name="T5" fmla="*/ 3 h 4"/>
                    <a:gd name="T6" fmla="*/ 1 w 4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4">
                      <a:moveTo>
                        <a:pt x="1" y="0"/>
                      </a:moveTo>
                      <a:cubicBezTo>
                        <a:pt x="2" y="0"/>
                        <a:pt x="4" y="1"/>
                        <a:pt x="3" y="2"/>
                      </a:cubicBezTo>
                      <a:cubicBezTo>
                        <a:pt x="3" y="3"/>
                        <a:pt x="1" y="4"/>
                        <a:pt x="1" y="3"/>
                      </a:cubicBezTo>
                      <a:cubicBezTo>
                        <a:pt x="0" y="2"/>
                        <a:pt x="0" y="1"/>
                        <a:pt x="1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40" name="Freeform 563">
                  <a:extLst>
                    <a:ext uri="{FF2B5EF4-FFF2-40B4-BE49-F238E27FC236}">
                      <a16:creationId xmlns:a16="http://schemas.microsoft.com/office/drawing/2014/main" id="{CCCE0B52-AF4D-B80A-C975-DB82E91213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78676" y="3911601"/>
                  <a:ext cx="9525" cy="20638"/>
                </a:xfrm>
                <a:custGeom>
                  <a:avLst/>
                  <a:gdLst>
                    <a:gd name="T0" fmla="*/ 1 w 7"/>
                    <a:gd name="T1" fmla="*/ 0 h 15"/>
                    <a:gd name="T2" fmla="*/ 4 w 7"/>
                    <a:gd name="T3" fmla="*/ 0 h 15"/>
                    <a:gd name="T4" fmla="*/ 7 w 7"/>
                    <a:gd name="T5" fmla="*/ 0 h 15"/>
                    <a:gd name="T6" fmla="*/ 7 w 7"/>
                    <a:gd name="T7" fmla="*/ 2 h 15"/>
                    <a:gd name="T8" fmla="*/ 7 w 7"/>
                    <a:gd name="T9" fmla="*/ 6 h 15"/>
                    <a:gd name="T10" fmla="*/ 7 w 7"/>
                    <a:gd name="T11" fmla="*/ 7 h 15"/>
                    <a:gd name="T12" fmla="*/ 6 w 7"/>
                    <a:gd name="T13" fmla="*/ 6 h 15"/>
                    <a:gd name="T14" fmla="*/ 6 w 7"/>
                    <a:gd name="T15" fmla="*/ 2 h 15"/>
                    <a:gd name="T16" fmla="*/ 6 w 7"/>
                    <a:gd name="T17" fmla="*/ 2 h 15"/>
                    <a:gd name="T18" fmla="*/ 6 w 7"/>
                    <a:gd name="T19" fmla="*/ 14 h 15"/>
                    <a:gd name="T20" fmla="*/ 4 w 7"/>
                    <a:gd name="T21" fmla="*/ 14 h 15"/>
                    <a:gd name="T22" fmla="*/ 4 w 7"/>
                    <a:gd name="T23" fmla="*/ 7 h 15"/>
                    <a:gd name="T24" fmla="*/ 3 w 7"/>
                    <a:gd name="T25" fmla="*/ 7 h 15"/>
                    <a:gd name="T26" fmla="*/ 3 w 7"/>
                    <a:gd name="T27" fmla="*/ 13 h 15"/>
                    <a:gd name="T28" fmla="*/ 3 w 7"/>
                    <a:gd name="T29" fmla="*/ 15 h 15"/>
                    <a:gd name="T30" fmla="*/ 2 w 7"/>
                    <a:gd name="T31" fmla="*/ 15 h 15"/>
                    <a:gd name="T32" fmla="*/ 2 w 7"/>
                    <a:gd name="T33" fmla="*/ 3 h 15"/>
                    <a:gd name="T34" fmla="*/ 1 w 7"/>
                    <a:gd name="T35" fmla="*/ 3 h 15"/>
                    <a:gd name="T36" fmla="*/ 1 w 7"/>
                    <a:gd name="T37" fmla="*/ 7 h 15"/>
                    <a:gd name="T38" fmla="*/ 1 w 7"/>
                    <a:gd name="T39" fmla="*/ 7 h 15"/>
                    <a:gd name="T40" fmla="*/ 0 w 7"/>
                    <a:gd name="T41" fmla="*/ 7 h 15"/>
                    <a:gd name="T42" fmla="*/ 0 w 7"/>
                    <a:gd name="T43" fmla="*/ 2 h 15"/>
                    <a:gd name="T44" fmla="*/ 1 w 7"/>
                    <a:gd name="T45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7" h="15">
                      <a:moveTo>
                        <a:pt x="1" y="0"/>
                      </a:moveTo>
                      <a:cubicBezTo>
                        <a:pt x="2" y="0"/>
                        <a:pt x="3" y="0"/>
                        <a:pt x="4" y="0"/>
                      </a:cubicBezTo>
                      <a:cubicBezTo>
                        <a:pt x="5" y="0"/>
                        <a:pt x="6" y="0"/>
                        <a:pt x="7" y="0"/>
                      </a:cubicBezTo>
                      <a:cubicBezTo>
                        <a:pt x="7" y="1"/>
                        <a:pt x="7" y="1"/>
                        <a:pt x="7" y="2"/>
                      </a:cubicBezTo>
                      <a:cubicBezTo>
                        <a:pt x="7" y="3"/>
                        <a:pt x="7" y="5"/>
                        <a:pt x="7" y="6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6" y="7"/>
                        <a:pt x="6" y="7"/>
                        <a:pt x="6" y="6"/>
                      </a:cubicBezTo>
                      <a:cubicBezTo>
                        <a:pt x="6" y="5"/>
                        <a:pt x="6" y="4"/>
                        <a:pt x="6" y="2"/>
                      </a:cubicBezTo>
                      <a:cubicBezTo>
                        <a:pt x="6" y="2"/>
                        <a:pt x="6" y="2"/>
                        <a:pt x="6" y="2"/>
                      </a:cubicBezTo>
                      <a:cubicBezTo>
                        <a:pt x="6" y="6"/>
                        <a:pt x="6" y="10"/>
                        <a:pt x="6" y="14"/>
                      </a:cubicBezTo>
                      <a:cubicBezTo>
                        <a:pt x="6" y="15"/>
                        <a:pt x="4" y="15"/>
                        <a:pt x="4" y="14"/>
                      </a:cubicBezTo>
                      <a:cubicBezTo>
                        <a:pt x="4" y="12"/>
                        <a:pt x="4" y="11"/>
                        <a:pt x="4" y="7"/>
                      </a:cubicBezTo>
                      <a:cubicBezTo>
                        <a:pt x="4" y="7"/>
                        <a:pt x="4" y="7"/>
                        <a:pt x="3" y="7"/>
                      </a:cubicBezTo>
                      <a:cubicBezTo>
                        <a:pt x="3" y="11"/>
                        <a:pt x="3" y="11"/>
                        <a:pt x="3" y="13"/>
                      </a:cubicBezTo>
                      <a:cubicBezTo>
                        <a:pt x="3" y="14"/>
                        <a:pt x="3" y="14"/>
                        <a:pt x="3" y="15"/>
                      </a:cubicBezTo>
                      <a:cubicBezTo>
                        <a:pt x="3" y="15"/>
                        <a:pt x="2" y="15"/>
                        <a:pt x="2" y="15"/>
                      </a:cubicBezTo>
                      <a:cubicBezTo>
                        <a:pt x="2" y="11"/>
                        <a:pt x="2" y="7"/>
                        <a:pt x="2" y="3"/>
                      </a:cubicBezTo>
                      <a:cubicBezTo>
                        <a:pt x="2" y="3"/>
                        <a:pt x="1" y="3"/>
                        <a:pt x="1" y="3"/>
                      </a:cubicBezTo>
                      <a:cubicBezTo>
                        <a:pt x="1" y="3"/>
                        <a:pt x="1" y="5"/>
                        <a:pt x="1" y="7"/>
                      </a:cubicBezTo>
                      <a:cubicBezTo>
                        <a:pt x="1" y="7"/>
                        <a:pt x="1" y="7"/>
                        <a:pt x="1" y="7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5"/>
                        <a:pt x="0" y="3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41" name="Rectangle 564">
                  <a:extLst>
                    <a:ext uri="{FF2B5EF4-FFF2-40B4-BE49-F238E27FC236}">
                      <a16:creationId xmlns:a16="http://schemas.microsoft.com/office/drawing/2014/main" id="{F3521A5B-9093-625C-373D-90E7010812D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96138" y="3905251"/>
                  <a:ext cx="26988" cy="47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42" name="Rectangle 566">
                  <a:extLst>
                    <a:ext uri="{FF2B5EF4-FFF2-40B4-BE49-F238E27FC236}">
                      <a16:creationId xmlns:a16="http://schemas.microsoft.com/office/drawing/2014/main" id="{455D5746-38BE-A2FB-17D5-9059A8E0C5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99313" y="3921125"/>
                  <a:ext cx="26987" cy="158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43" name="Rectangle 567">
                  <a:extLst>
                    <a:ext uri="{FF2B5EF4-FFF2-40B4-BE49-F238E27FC236}">
                      <a16:creationId xmlns:a16="http://schemas.microsoft.com/office/drawing/2014/main" id="{BDBB3E36-B907-CD0D-88E0-8A0A400677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97725" y="3916363"/>
                  <a:ext cx="25400" cy="158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44" name="Oval 568">
                  <a:extLst>
                    <a:ext uri="{FF2B5EF4-FFF2-40B4-BE49-F238E27FC236}">
                      <a16:creationId xmlns:a16="http://schemas.microsoft.com/office/drawing/2014/main" id="{37CCC892-7363-A01D-035E-51BC03ACFD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50125" y="3319463"/>
                  <a:ext cx="203200" cy="201613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45" name="Oval 569">
                  <a:extLst>
                    <a:ext uri="{FF2B5EF4-FFF2-40B4-BE49-F238E27FC236}">
                      <a16:creationId xmlns:a16="http://schemas.microsoft.com/office/drawing/2014/main" id="{5A40C5CB-7C4D-D31E-4C49-5454E827570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50125" y="3319463"/>
                  <a:ext cx="203200" cy="201613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46" name="Freeform 570">
                  <a:extLst>
                    <a:ext uri="{FF2B5EF4-FFF2-40B4-BE49-F238E27FC236}">
                      <a16:creationId xmlns:a16="http://schemas.microsoft.com/office/drawing/2014/main" id="{659AC3FC-5110-18E8-8B22-3AF033D49B3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404100" y="3386138"/>
                  <a:ext cx="114300" cy="71438"/>
                </a:xfrm>
                <a:custGeom>
                  <a:avLst/>
                  <a:gdLst>
                    <a:gd name="T0" fmla="*/ 80 w 84"/>
                    <a:gd name="T1" fmla="*/ 52 h 52"/>
                    <a:gd name="T2" fmla="*/ 0 w 84"/>
                    <a:gd name="T3" fmla="*/ 52 h 52"/>
                    <a:gd name="T4" fmla="*/ 0 w 84"/>
                    <a:gd name="T5" fmla="*/ 0 h 52"/>
                    <a:gd name="T6" fmla="*/ 84 w 84"/>
                    <a:gd name="T7" fmla="*/ 0 h 52"/>
                    <a:gd name="T8" fmla="*/ 84 w 84"/>
                    <a:gd name="T9" fmla="*/ 48 h 52"/>
                    <a:gd name="T10" fmla="*/ 80 w 84"/>
                    <a:gd name="T11" fmla="*/ 52 h 52"/>
                    <a:gd name="T12" fmla="*/ 4 w 84"/>
                    <a:gd name="T13" fmla="*/ 52 h 52"/>
                    <a:gd name="T14" fmla="*/ 80 w 84"/>
                    <a:gd name="T15" fmla="*/ 52 h 52"/>
                    <a:gd name="T16" fmla="*/ 84 w 84"/>
                    <a:gd name="T17" fmla="*/ 48 h 52"/>
                    <a:gd name="T18" fmla="*/ 84 w 84"/>
                    <a:gd name="T19" fmla="*/ 0 h 52"/>
                    <a:gd name="T20" fmla="*/ 4 w 84"/>
                    <a:gd name="T21" fmla="*/ 0 h 52"/>
                    <a:gd name="T22" fmla="*/ 4 w 84"/>
                    <a:gd name="T23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4" h="52">
                      <a:moveTo>
                        <a:pt x="80" y="52"/>
                      </a:moveTo>
                      <a:cubicBezTo>
                        <a:pt x="0" y="52"/>
                        <a:pt x="0" y="52"/>
                        <a:pt x="0" y="52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48"/>
                        <a:pt x="84" y="48"/>
                        <a:pt x="84" y="48"/>
                      </a:cubicBezTo>
                      <a:cubicBezTo>
                        <a:pt x="84" y="51"/>
                        <a:pt x="83" y="52"/>
                        <a:pt x="80" y="52"/>
                      </a:cubicBezTo>
                      <a:close/>
                      <a:moveTo>
                        <a:pt x="4" y="52"/>
                      </a:moveTo>
                      <a:cubicBezTo>
                        <a:pt x="80" y="52"/>
                        <a:pt x="80" y="52"/>
                        <a:pt x="80" y="52"/>
                      </a:cubicBezTo>
                      <a:cubicBezTo>
                        <a:pt x="82" y="52"/>
                        <a:pt x="84" y="50"/>
                        <a:pt x="84" y="48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lnTo>
                        <a:pt x="4" y="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47" name="Freeform 571">
                  <a:extLst>
                    <a:ext uri="{FF2B5EF4-FFF2-40B4-BE49-F238E27FC236}">
                      <a16:creationId xmlns:a16="http://schemas.microsoft.com/office/drawing/2014/main" id="{21DE6C25-74F4-7FC3-8A2C-0BC40B2B51E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381875" y="3397250"/>
                  <a:ext cx="26987" cy="60325"/>
                </a:xfrm>
                <a:custGeom>
                  <a:avLst/>
                  <a:gdLst>
                    <a:gd name="T0" fmla="*/ 20 w 20"/>
                    <a:gd name="T1" fmla="*/ 44 h 44"/>
                    <a:gd name="T2" fmla="*/ 5 w 20"/>
                    <a:gd name="T3" fmla="*/ 44 h 44"/>
                    <a:gd name="T4" fmla="*/ 0 w 20"/>
                    <a:gd name="T5" fmla="*/ 40 h 44"/>
                    <a:gd name="T6" fmla="*/ 0 w 20"/>
                    <a:gd name="T7" fmla="*/ 0 h 44"/>
                    <a:gd name="T8" fmla="*/ 20 w 20"/>
                    <a:gd name="T9" fmla="*/ 0 h 44"/>
                    <a:gd name="T10" fmla="*/ 20 w 20"/>
                    <a:gd name="T11" fmla="*/ 44 h 44"/>
                    <a:gd name="T12" fmla="*/ 0 w 20"/>
                    <a:gd name="T13" fmla="*/ 0 h 44"/>
                    <a:gd name="T14" fmla="*/ 0 w 20"/>
                    <a:gd name="T15" fmla="*/ 40 h 44"/>
                    <a:gd name="T16" fmla="*/ 5 w 20"/>
                    <a:gd name="T17" fmla="*/ 44 h 44"/>
                    <a:gd name="T18" fmla="*/ 16 w 20"/>
                    <a:gd name="T19" fmla="*/ 44 h 44"/>
                    <a:gd name="T20" fmla="*/ 16 w 20"/>
                    <a:gd name="T21" fmla="*/ 0 h 44"/>
                    <a:gd name="T22" fmla="*/ 0 w 20"/>
                    <a:gd name="T23" fmla="*/ 0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0" h="44">
                      <a:moveTo>
                        <a:pt x="20" y="44"/>
                      </a:moveTo>
                      <a:cubicBezTo>
                        <a:pt x="5" y="44"/>
                        <a:pt x="5" y="44"/>
                        <a:pt x="5" y="44"/>
                      </a:cubicBezTo>
                      <a:cubicBezTo>
                        <a:pt x="3" y="44"/>
                        <a:pt x="0" y="43"/>
                        <a:pt x="0" y="4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lnTo>
                        <a:pt x="20" y="44"/>
                      </a:lnTo>
                      <a:close/>
                      <a:moveTo>
                        <a:pt x="0" y="0"/>
                      </a:move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2"/>
                        <a:pt x="4" y="44"/>
                        <a:pt x="5" y="44"/>
                      </a:cubicBezTo>
                      <a:cubicBezTo>
                        <a:pt x="16" y="44"/>
                        <a:pt x="16" y="44"/>
                        <a:pt x="16" y="44"/>
                      </a:cubicBezTo>
                      <a:cubicBezTo>
                        <a:pt x="16" y="0"/>
                        <a:pt x="16" y="0"/>
                        <a:pt x="16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48" name="Rectangle 572">
                  <a:extLst>
                    <a:ext uri="{FF2B5EF4-FFF2-40B4-BE49-F238E27FC236}">
                      <a16:creationId xmlns:a16="http://schemas.microsoft.com/office/drawing/2014/main" id="{CA045C2A-D4D2-BA66-1F56-9ECEDF2C66A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45375" y="3397250"/>
                  <a:ext cx="1587" cy="4921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49" name="Rectangle 573">
                  <a:extLst>
                    <a:ext uri="{FF2B5EF4-FFF2-40B4-BE49-F238E27FC236}">
                      <a16:creationId xmlns:a16="http://schemas.microsoft.com/office/drawing/2014/main" id="{25F6A705-30AD-6873-AF89-114E148D853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58075" y="3429000"/>
                  <a:ext cx="17462" cy="174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50" name="Rectangle 574">
                  <a:extLst>
                    <a:ext uri="{FF2B5EF4-FFF2-40B4-BE49-F238E27FC236}">
                      <a16:creationId xmlns:a16="http://schemas.microsoft.com/office/drawing/2014/main" id="{2A209F99-43B5-9002-7855-FF305FE7ED0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85063" y="3429000"/>
                  <a:ext cx="22225" cy="174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51" name="Freeform 575">
                  <a:extLst>
                    <a:ext uri="{FF2B5EF4-FFF2-40B4-BE49-F238E27FC236}">
                      <a16:creationId xmlns:a16="http://schemas.microsoft.com/office/drawing/2014/main" id="{FC770FB5-1E62-557F-53AF-AC2DDFAB7F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23150" y="3398838"/>
                  <a:ext cx="9525" cy="9525"/>
                </a:xfrm>
                <a:custGeom>
                  <a:avLst/>
                  <a:gdLst>
                    <a:gd name="T0" fmla="*/ 3 w 7"/>
                    <a:gd name="T1" fmla="*/ 1 h 7"/>
                    <a:gd name="T2" fmla="*/ 6 w 7"/>
                    <a:gd name="T3" fmla="*/ 4 h 7"/>
                    <a:gd name="T4" fmla="*/ 2 w 7"/>
                    <a:gd name="T5" fmla="*/ 5 h 7"/>
                    <a:gd name="T6" fmla="*/ 3 w 7"/>
                    <a:gd name="T7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7">
                      <a:moveTo>
                        <a:pt x="3" y="1"/>
                      </a:moveTo>
                      <a:cubicBezTo>
                        <a:pt x="5" y="0"/>
                        <a:pt x="7" y="2"/>
                        <a:pt x="6" y="4"/>
                      </a:cubicBezTo>
                      <a:cubicBezTo>
                        <a:pt x="6" y="6"/>
                        <a:pt x="3" y="7"/>
                        <a:pt x="2" y="5"/>
                      </a:cubicBezTo>
                      <a:cubicBezTo>
                        <a:pt x="0" y="4"/>
                        <a:pt x="1" y="1"/>
                        <a:pt x="3" y="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52" name="Freeform 576">
                  <a:extLst>
                    <a:ext uri="{FF2B5EF4-FFF2-40B4-BE49-F238E27FC236}">
                      <a16:creationId xmlns:a16="http://schemas.microsoft.com/office/drawing/2014/main" id="{68FD8D27-E7DB-B282-60F5-D3C98804BA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18388" y="3406775"/>
                  <a:ext cx="19050" cy="39688"/>
                </a:xfrm>
                <a:custGeom>
                  <a:avLst/>
                  <a:gdLst>
                    <a:gd name="T0" fmla="*/ 1 w 13"/>
                    <a:gd name="T1" fmla="*/ 1 h 29"/>
                    <a:gd name="T2" fmla="*/ 7 w 13"/>
                    <a:gd name="T3" fmla="*/ 1 h 29"/>
                    <a:gd name="T4" fmla="*/ 12 w 13"/>
                    <a:gd name="T5" fmla="*/ 2 h 29"/>
                    <a:gd name="T6" fmla="*/ 13 w 13"/>
                    <a:gd name="T7" fmla="*/ 5 h 29"/>
                    <a:gd name="T8" fmla="*/ 13 w 13"/>
                    <a:gd name="T9" fmla="*/ 13 h 29"/>
                    <a:gd name="T10" fmla="*/ 12 w 13"/>
                    <a:gd name="T11" fmla="*/ 15 h 29"/>
                    <a:gd name="T12" fmla="*/ 11 w 13"/>
                    <a:gd name="T13" fmla="*/ 13 h 29"/>
                    <a:gd name="T14" fmla="*/ 11 w 13"/>
                    <a:gd name="T15" fmla="*/ 5 h 29"/>
                    <a:gd name="T16" fmla="*/ 10 w 13"/>
                    <a:gd name="T17" fmla="*/ 5 h 29"/>
                    <a:gd name="T18" fmla="*/ 10 w 13"/>
                    <a:gd name="T19" fmla="*/ 28 h 29"/>
                    <a:gd name="T20" fmla="*/ 7 w 13"/>
                    <a:gd name="T21" fmla="*/ 27 h 29"/>
                    <a:gd name="T22" fmla="*/ 7 w 13"/>
                    <a:gd name="T23" fmla="*/ 13 h 29"/>
                    <a:gd name="T24" fmla="*/ 6 w 13"/>
                    <a:gd name="T25" fmla="*/ 13 h 29"/>
                    <a:gd name="T26" fmla="*/ 6 w 13"/>
                    <a:gd name="T27" fmla="*/ 25 h 29"/>
                    <a:gd name="T28" fmla="*/ 6 w 13"/>
                    <a:gd name="T29" fmla="*/ 28 h 29"/>
                    <a:gd name="T30" fmla="*/ 3 w 13"/>
                    <a:gd name="T31" fmla="*/ 27 h 29"/>
                    <a:gd name="T32" fmla="*/ 3 w 13"/>
                    <a:gd name="T33" fmla="*/ 5 h 29"/>
                    <a:gd name="T34" fmla="*/ 2 w 13"/>
                    <a:gd name="T35" fmla="*/ 5 h 29"/>
                    <a:gd name="T36" fmla="*/ 2 w 13"/>
                    <a:gd name="T37" fmla="*/ 13 h 29"/>
                    <a:gd name="T38" fmla="*/ 1 w 13"/>
                    <a:gd name="T39" fmla="*/ 14 h 29"/>
                    <a:gd name="T40" fmla="*/ 0 w 13"/>
                    <a:gd name="T41" fmla="*/ 13 h 29"/>
                    <a:gd name="T42" fmla="*/ 0 w 13"/>
                    <a:gd name="T43" fmla="*/ 4 h 29"/>
                    <a:gd name="T44" fmla="*/ 1 w 13"/>
                    <a:gd name="T45" fmla="*/ 1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3" h="29">
                      <a:moveTo>
                        <a:pt x="1" y="1"/>
                      </a:moveTo>
                      <a:cubicBezTo>
                        <a:pt x="3" y="0"/>
                        <a:pt x="5" y="1"/>
                        <a:pt x="7" y="1"/>
                      </a:cubicBezTo>
                      <a:cubicBezTo>
                        <a:pt x="9" y="1"/>
                        <a:pt x="11" y="0"/>
                        <a:pt x="12" y="2"/>
                      </a:cubicBezTo>
                      <a:cubicBezTo>
                        <a:pt x="13" y="2"/>
                        <a:pt x="13" y="4"/>
                        <a:pt x="13" y="5"/>
                      </a:cubicBezTo>
                      <a:cubicBezTo>
                        <a:pt x="13" y="8"/>
                        <a:pt x="13" y="10"/>
                        <a:pt x="13" y="13"/>
                      </a:cubicBezTo>
                      <a:cubicBezTo>
                        <a:pt x="13" y="14"/>
                        <a:pt x="13" y="15"/>
                        <a:pt x="12" y="15"/>
                      </a:cubicBezTo>
                      <a:cubicBezTo>
                        <a:pt x="11" y="15"/>
                        <a:pt x="11" y="14"/>
                        <a:pt x="11" y="13"/>
                      </a:cubicBezTo>
                      <a:cubicBezTo>
                        <a:pt x="11" y="10"/>
                        <a:pt x="11" y="8"/>
                        <a:pt x="11" y="5"/>
                      </a:cubicBezTo>
                      <a:cubicBezTo>
                        <a:pt x="11" y="5"/>
                        <a:pt x="10" y="5"/>
                        <a:pt x="10" y="5"/>
                      </a:cubicBezTo>
                      <a:cubicBezTo>
                        <a:pt x="10" y="13"/>
                        <a:pt x="10" y="20"/>
                        <a:pt x="10" y="28"/>
                      </a:cubicBezTo>
                      <a:cubicBezTo>
                        <a:pt x="10" y="29"/>
                        <a:pt x="7" y="29"/>
                        <a:pt x="7" y="27"/>
                      </a:cubicBezTo>
                      <a:cubicBezTo>
                        <a:pt x="7" y="23"/>
                        <a:pt x="7" y="21"/>
                        <a:pt x="7" y="13"/>
                      </a:cubicBezTo>
                      <a:cubicBezTo>
                        <a:pt x="7" y="13"/>
                        <a:pt x="6" y="13"/>
                        <a:pt x="6" y="13"/>
                      </a:cubicBezTo>
                      <a:cubicBezTo>
                        <a:pt x="6" y="21"/>
                        <a:pt x="6" y="22"/>
                        <a:pt x="6" y="25"/>
                      </a:cubicBezTo>
                      <a:cubicBezTo>
                        <a:pt x="6" y="26"/>
                        <a:pt x="6" y="28"/>
                        <a:pt x="6" y="28"/>
                      </a:cubicBezTo>
                      <a:cubicBezTo>
                        <a:pt x="5" y="29"/>
                        <a:pt x="3" y="29"/>
                        <a:pt x="3" y="27"/>
                      </a:cubicBezTo>
                      <a:cubicBezTo>
                        <a:pt x="3" y="20"/>
                        <a:pt x="3" y="13"/>
                        <a:pt x="3" y="5"/>
                      </a:cubicBezTo>
                      <a:cubicBezTo>
                        <a:pt x="3" y="5"/>
                        <a:pt x="2" y="5"/>
                        <a:pt x="2" y="5"/>
                      </a:cubicBezTo>
                      <a:cubicBezTo>
                        <a:pt x="2" y="9"/>
                        <a:pt x="2" y="10"/>
                        <a:pt x="2" y="13"/>
                      </a:cubicBezTo>
                      <a:cubicBezTo>
                        <a:pt x="2" y="13"/>
                        <a:pt x="2" y="15"/>
                        <a:pt x="1" y="14"/>
                      </a:cubicBezTo>
                      <a:cubicBezTo>
                        <a:pt x="0" y="15"/>
                        <a:pt x="0" y="14"/>
                        <a:pt x="0" y="13"/>
                      </a:cubicBezTo>
                      <a:cubicBezTo>
                        <a:pt x="0" y="10"/>
                        <a:pt x="0" y="7"/>
                        <a:pt x="0" y="4"/>
                      </a:cubicBezTo>
                      <a:cubicBezTo>
                        <a:pt x="0" y="3"/>
                        <a:pt x="0" y="2"/>
                        <a:pt x="1" y="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53" name="Rectangle 577">
                  <a:extLst>
                    <a:ext uri="{FF2B5EF4-FFF2-40B4-BE49-F238E27FC236}">
                      <a16:creationId xmlns:a16="http://schemas.microsoft.com/office/drawing/2014/main" id="{B3CB8C95-160C-1156-202C-ADF42651898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58075" y="3397250"/>
                  <a:ext cx="49212" cy="47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54" name="Rectangle 578">
                  <a:extLst>
                    <a:ext uri="{FF2B5EF4-FFF2-40B4-BE49-F238E27FC236}">
                      <a16:creationId xmlns:a16="http://schemas.microsoft.com/office/drawing/2014/main" id="{8546C79A-BC53-2B91-537B-6139D25F4C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58075" y="3417888"/>
                  <a:ext cx="49212" cy="6350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55" name="Rectangle 579">
                  <a:extLst>
                    <a:ext uri="{FF2B5EF4-FFF2-40B4-BE49-F238E27FC236}">
                      <a16:creationId xmlns:a16="http://schemas.microsoft.com/office/drawing/2014/main" id="{243A6A1B-1417-8CB2-AE39-B34704A6839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58075" y="3408363"/>
                  <a:ext cx="49212" cy="47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56" name="Oval 580">
                  <a:extLst>
                    <a:ext uri="{FF2B5EF4-FFF2-40B4-BE49-F238E27FC236}">
                      <a16:creationId xmlns:a16="http://schemas.microsoft.com/office/drawing/2014/main" id="{F560A8AE-AD0D-037E-F488-E2CBC607F60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384925" y="2114550"/>
                  <a:ext cx="123825" cy="12382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57" name="Oval 581">
                  <a:extLst>
                    <a:ext uri="{FF2B5EF4-FFF2-40B4-BE49-F238E27FC236}">
                      <a16:creationId xmlns:a16="http://schemas.microsoft.com/office/drawing/2014/main" id="{171266D5-424F-32C9-C79E-83896295AC7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384925" y="2114550"/>
                  <a:ext cx="123825" cy="12382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58" name="Freeform 582">
                  <a:extLst>
                    <a:ext uri="{FF2B5EF4-FFF2-40B4-BE49-F238E27FC236}">
                      <a16:creationId xmlns:a16="http://schemas.microsoft.com/office/drawing/2014/main" id="{E7D7D7AC-6C58-6DBD-467D-C4AC56EDA53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421438" y="2151063"/>
                  <a:ext cx="65087" cy="46038"/>
                </a:xfrm>
                <a:custGeom>
                  <a:avLst/>
                  <a:gdLst>
                    <a:gd name="T0" fmla="*/ 47 w 48"/>
                    <a:gd name="T1" fmla="*/ 32 h 33"/>
                    <a:gd name="T2" fmla="*/ 0 w 48"/>
                    <a:gd name="T3" fmla="*/ 32 h 33"/>
                    <a:gd name="T4" fmla="*/ 0 w 48"/>
                    <a:gd name="T5" fmla="*/ 0 h 33"/>
                    <a:gd name="T6" fmla="*/ 48 w 48"/>
                    <a:gd name="T7" fmla="*/ 0 h 33"/>
                    <a:gd name="T8" fmla="*/ 48 w 48"/>
                    <a:gd name="T9" fmla="*/ 32 h 33"/>
                    <a:gd name="T10" fmla="*/ 47 w 48"/>
                    <a:gd name="T11" fmla="*/ 32 h 33"/>
                    <a:gd name="T12" fmla="*/ 0 w 48"/>
                    <a:gd name="T13" fmla="*/ 32 h 33"/>
                    <a:gd name="T14" fmla="*/ 47 w 48"/>
                    <a:gd name="T15" fmla="*/ 32 h 33"/>
                    <a:gd name="T16" fmla="*/ 48 w 48"/>
                    <a:gd name="T17" fmla="*/ 32 h 33"/>
                    <a:gd name="T18" fmla="*/ 48 w 48"/>
                    <a:gd name="T19" fmla="*/ 0 h 33"/>
                    <a:gd name="T20" fmla="*/ 0 w 48"/>
                    <a:gd name="T21" fmla="*/ 0 h 33"/>
                    <a:gd name="T22" fmla="*/ 0 w 48"/>
                    <a:gd name="T23" fmla="*/ 32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8" h="33">
                      <a:moveTo>
                        <a:pt x="47" y="32"/>
                      </a:move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32"/>
                        <a:pt x="48" y="32"/>
                        <a:pt x="48" y="32"/>
                      </a:cubicBezTo>
                      <a:cubicBezTo>
                        <a:pt x="48" y="33"/>
                        <a:pt x="48" y="32"/>
                        <a:pt x="47" y="32"/>
                      </a:cubicBezTo>
                      <a:close/>
                      <a:moveTo>
                        <a:pt x="0" y="32"/>
                      </a:moveTo>
                      <a:cubicBezTo>
                        <a:pt x="47" y="32"/>
                        <a:pt x="47" y="32"/>
                        <a:pt x="47" y="32"/>
                      </a:cubicBezTo>
                      <a:cubicBezTo>
                        <a:pt x="48" y="32"/>
                        <a:pt x="48" y="33"/>
                        <a:pt x="48" y="32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3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59" name="Freeform 583">
                  <a:extLst>
                    <a:ext uri="{FF2B5EF4-FFF2-40B4-BE49-F238E27FC236}">
                      <a16:creationId xmlns:a16="http://schemas.microsoft.com/office/drawing/2014/main" id="{982FA275-97B8-2768-3553-9A53A651E25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403975" y="2162175"/>
                  <a:ext cx="17462" cy="34925"/>
                </a:xfrm>
                <a:custGeom>
                  <a:avLst/>
                  <a:gdLst>
                    <a:gd name="T0" fmla="*/ 12 w 12"/>
                    <a:gd name="T1" fmla="*/ 24 h 25"/>
                    <a:gd name="T2" fmla="*/ 3 w 12"/>
                    <a:gd name="T3" fmla="*/ 24 h 25"/>
                    <a:gd name="T4" fmla="*/ 0 w 12"/>
                    <a:gd name="T5" fmla="*/ 24 h 25"/>
                    <a:gd name="T6" fmla="*/ 0 w 12"/>
                    <a:gd name="T7" fmla="*/ 0 h 25"/>
                    <a:gd name="T8" fmla="*/ 12 w 12"/>
                    <a:gd name="T9" fmla="*/ 0 h 25"/>
                    <a:gd name="T10" fmla="*/ 12 w 12"/>
                    <a:gd name="T11" fmla="*/ 24 h 25"/>
                    <a:gd name="T12" fmla="*/ 0 w 12"/>
                    <a:gd name="T13" fmla="*/ 0 h 25"/>
                    <a:gd name="T14" fmla="*/ 0 w 12"/>
                    <a:gd name="T15" fmla="*/ 24 h 25"/>
                    <a:gd name="T16" fmla="*/ 3 w 12"/>
                    <a:gd name="T17" fmla="*/ 24 h 25"/>
                    <a:gd name="T18" fmla="*/ 12 w 12"/>
                    <a:gd name="T19" fmla="*/ 24 h 25"/>
                    <a:gd name="T20" fmla="*/ 12 w 12"/>
                    <a:gd name="T21" fmla="*/ 0 h 25"/>
                    <a:gd name="T22" fmla="*/ 0 w 12"/>
                    <a:gd name="T23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2" h="25">
                      <a:moveTo>
                        <a:pt x="12" y="24"/>
                      </a:moveTo>
                      <a:cubicBezTo>
                        <a:pt x="3" y="24"/>
                        <a:pt x="3" y="24"/>
                        <a:pt x="3" y="24"/>
                      </a:cubicBezTo>
                      <a:cubicBezTo>
                        <a:pt x="2" y="24"/>
                        <a:pt x="0" y="25"/>
                        <a:pt x="0" y="24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lnTo>
                        <a:pt x="12" y="24"/>
                      </a:lnTo>
                      <a:close/>
                      <a:moveTo>
                        <a:pt x="0" y="0"/>
                      </a:move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5"/>
                        <a:pt x="2" y="24"/>
                        <a:pt x="3" y="24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0"/>
                        <a:pt x="12" y="0"/>
                        <a:pt x="1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60" name="Rectangle 584">
                  <a:extLst>
                    <a:ext uri="{FF2B5EF4-FFF2-40B4-BE49-F238E27FC236}">
                      <a16:creationId xmlns:a16="http://schemas.microsoft.com/office/drawing/2014/main" id="{F521E9BD-3D79-E0D5-07D3-DAED28481FD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42075" y="2162175"/>
                  <a:ext cx="3175" cy="2698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61" name="Rectangle 585">
                  <a:extLst>
                    <a:ext uri="{FF2B5EF4-FFF2-40B4-BE49-F238E27FC236}">
                      <a16:creationId xmlns:a16="http://schemas.microsoft.com/office/drawing/2014/main" id="{92359840-40D3-E950-B275-371D719B8BF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48425" y="2179638"/>
                  <a:ext cx="15875" cy="95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62" name="Rectangle 586">
                  <a:extLst>
                    <a:ext uri="{FF2B5EF4-FFF2-40B4-BE49-F238E27FC236}">
                      <a16:creationId xmlns:a16="http://schemas.microsoft.com/office/drawing/2014/main" id="{017F4884-57EA-AD13-94CE-5D0673CBD77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64300" y="2179638"/>
                  <a:ext cx="15875" cy="95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63" name="Freeform 587">
                  <a:extLst>
                    <a:ext uri="{FF2B5EF4-FFF2-40B4-BE49-F238E27FC236}">
                      <a16:creationId xmlns:a16="http://schemas.microsoft.com/office/drawing/2014/main" id="{C39FFBD7-D480-E6C5-9ED5-D598CA4F13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29375" y="2162175"/>
                  <a:ext cx="6350" cy="6350"/>
                </a:xfrm>
                <a:custGeom>
                  <a:avLst/>
                  <a:gdLst>
                    <a:gd name="T0" fmla="*/ 2 w 5"/>
                    <a:gd name="T1" fmla="*/ 0 h 4"/>
                    <a:gd name="T2" fmla="*/ 4 w 5"/>
                    <a:gd name="T3" fmla="*/ 2 h 4"/>
                    <a:gd name="T4" fmla="*/ 1 w 5"/>
                    <a:gd name="T5" fmla="*/ 3 h 4"/>
                    <a:gd name="T6" fmla="*/ 2 w 5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4">
                      <a:moveTo>
                        <a:pt x="2" y="0"/>
                      </a:moveTo>
                      <a:cubicBezTo>
                        <a:pt x="3" y="0"/>
                        <a:pt x="5" y="1"/>
                        <a:pt x="4" y="2"/>
                      </a:cubicBezTo>
                      <a:cubicBezTo>
                        <a:pt x="4" y="3"/>
                        <a:pt x="2" y="4"/>
                        <a:pt x="1" y="3"/>
                      </a:cubicBezTo>
                      <a:cubicBezTo>
                        <a:pt x="0" y="2"/>
                        <a:pt x="1" y="0"/>
                        <a:pt x="2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64" name="Freeform 588">
                  <a:extLst>
                    <a:ext uri="{FF2B5EF4-FFF2-40B4-BE49-F238E27FC236}">
                      <a16:creationId xmlns:a16="http://schemas.microsoft.com/office/drawing/2014/main" id="{9B533142-2F49-AF4E-131C-82B2CB83CB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26200" y="2168525"/>
                  <a:ext cx="12700" cy="22225"/>
                </a:xfrm>
                <a:custGeom>
                  <a:avLst/>
                  <a:gdLst>
                    <a:gd name="T0" fmla="*/ 1 w 9"/>
                    <a:gd name="T1" fmla="*/ 0 h 17"/>
                    <a:gd name="T2" fmla="*/ 5 w 9"/>
                    <a:gd name="T3" fmla="*/ 0 h 17"/>
                    <a:gd name="T4" fmla="*/ 8 w 9"/>
                    <a:gd name="T5" fmla="*/ 0 h 17"/>
                    <a:gd name="T6" fmla="*/ 9 w 9"/>
                    <a:gd name="T7" fmla="*/ 2 h 17"/>
                    <a:gd name="T8" fmla="*/ 9 w 9"/>
                    <a:gd name="T9" fmla="*/ 7 h 17"/>
                    <a:gd name="T10" fmla="*/ 8 w 9"/>
                    <a:gd name="T11" fmla="*/ 8 h 17"/>
                    <a:gd name="T12" fmla="*/ 7 w 9"/>
                    <a:gd name="T13" fmla="*/ 7 h 17"/>
                    <a:gd name="T14" fmla="*/ 7 w 9"/>
                    <a:gd name="T15" fmla="*/ 3 h 17"/>
                    <a:gd name="T16" fmla="*/ 7 w 9"/>
                    <a:gd name="T17" fmla="*/ 3 h 17"/>
                    <a:gd name="T18" fmla="*/ 7 w 9"/>
                    <a:gd name="T19" fmla="*/ 16 h 17"/>
                    <a:gd name="T20" fmla="*/ 5 w 9"/>
                    <a:gd name="T21" fmla="*/ 16 h 17"/>
                    <a:gd name="T22" fmla="*/ 5 w 9"/>
                    <a:gd name="T23" fmla="*/ 8 h 17"/>
                    <a:gd name="T24" fmla="*/ 4 w 9"/>
                    <a:gd name="T25" fmla="*/ 8 h 17"/>
                    <a:gd name="T26" fmla="*/ 4 w 9"/>
                    <a:gd name="T27" fmla="*/ 15 h 17"/>
                    <a:gd name="T28" fmla="*/ 4 w 9"/>
                    <a:gd name="T29" fmla="*/ 17 h 17"/>
                    <a:gd name="T30" fmla="*/ 2 w 9"/>
                    <a:gd name="T31" fmla="*/ 15 h 17"/>
                    <a:gd name="T32" fmla="*/ 2 w 9"/>
                    <a:gd name="T33" fmla="*/ 0 h 17"/>
                    <a:gd name="T34" fmla="*/ 2 w 9"/>
                    <a:gd name="T35" fmla="*/ 0 h 17"/>
                    <a:gd name="T36" fmla="*/ 2 w 9"/>
                    <a:gd name="T37" fmla="*/ 6 h 17"/>
                    <a:gd name="T38" fmla="*/ 1 w 9"/>
                    <a:gd name="T39" fmla="*/ 8 h 17"/>
                    <a:gd name="T40" fmla="*/ 0 w 9"/>
                    <a:gd name="T41" fmla="*/ 7 h 17"/>
                    <a:gd name="T42" fmla="*/ 0 w 9"/>
                    <a:gd name="T43" fmla="*/ 2 h 17"/>
                    <a:gd name="T44" fmla="*/ 1 w 9"/>
                    <a:gd name="T45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9" h="17">
                      <a:moveTo>
                        <a:pt x="1" y="0"/>
                      </a:moveTo>
                      <a:cubicBezTo>
                        <a:pt x="3" y="0"/>
                        <a:pt x="4" y="0"/>
                        <a:pt x="5" y="0"/>
                      </a:cubicBezTo>
                      <a:cubicBezTo>
                        <a:pt x="6" y="0"/>
                        <a:pt x="7" y="0"/>
                        <a:pt x="8" y="0"/>
                      </a:cubicBezTo>
                      <a:cubicBezTo>
                        <a:pt x="9" y="1"/>
                        <a:pt x="9" y="2"/>
                        <a:pt x="9" y="2"/>
                      </a:cubicBezTo>
                      <a:cubicBezTo>
                        <a:pt x="9" y="4"/>
                        <a:pt x="9" y="6"/>
                        <a:pt x="9" y="7"/>
                      </a:cubicBezTo>
                      <a:cubicBezTo>
                        <a:pt x="9" y="8"/>
                        <a:pt x="9" y="8"/>
                        <a:pt x="8" y="8"/>
                      </a:cubicBezTo>
                      <a:cubicBezTo>
                        <a:pt x="8" y="8"/>
                        <a:pt x="7" y="8"/>
                        <a:pt x="7" y="7"/>
                      </a:cubicBezTo>
                      <a:cubicBezTo>
                        <a:pt x="7" y="6"/>
                        <a:pt x="7" y="4"/>
                        <a:pt x="7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7" y="7"/>
                        <a:pt x="7" y="12"/>
                        <a:pt x="7" y="16"/>
                      </a:cubicBezTo>
                      <a:cubicBezTo>
                        <a:pt x="7" y="17"/>
                        <a:pt x="5" y="17"/>
                        <a:pt x="5" y="16"/>
                      </a:cubicBezTo>
                      <a:cubicBezTo>
                        <a:pt x="5" y="14"/>
                        <a:pt x="5" y="8"/>
                        <a:pt x="5" y="8"/>
                      </a:cubicBezTo>
                      <a:cubicBezTo>
                        <a:pt x="5" y="8"/>
                        <a:pt x="4" y="8"/>
                        <a:pt x="4" y="8"/>
                      </a:cubicBezTo>
                      <a:cubicBezTo>
                        <a:pt x="4" y="8"/>
                        <a:pt x="4" y="13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cubicBezTo>
                        <a:pt x="3" y="17"/>
                        <a:pt x="2" y="16"/>
                        <a:pt x="2" y="15"/>
                      </a:cubicBezTo>
                      <a:cubicBezTo>
                        <a:pt x="2" y="10"/>
                        <a:pt x="2" y="8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4"/>
                        <a:pt x="2" y="6"/>
                      </a:cubicBezTo>
                      <a:cubicBezTo>
                        <a:pt x="2" y="6"/>
                        <a:pt x="2" y="8"/>
                        <a:pt x="1" y="8"/>
                      </a:cubicBezTo>
                      <a:cubicBezTo>
                        <a:pt x="1" y="8"/>
                        <a:pt x="0" y="8"/>
                        <a:pt x="0" y="7"/>
                      </a:cubicBezTo>
                      <a:cubicBezTo>
                        <a:pt x="0" y="5"/>
                        <a:pt x="0" y="4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65" name="Rectangle 589">
                  <a:extLst>
                    <a:ext uri="{FF2B5EF4-FFF2-40B4-BE49-F238E27FC236}">
                      <a16:creationId xmlns:a16="http://schemas.microsoft.com/office/drawing/2014/main" id="{A4ABDB2B-A885-98F2-0659-9F95D41EC12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48425" y="2162175"/>
                  <a:ext cx="31750" cy="6350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66" name="Rectangle 590">
                  <a:extLst>
                    <a:ext uri="{FF2B5EF4-FFF2-40B4-BE49-F238E27FC236}">
                      <a16:creationId xmlns:a16="http://schemas.microsoft.com/office/drawing/2014/main" id="{D86CB87C-ADEC-B1FF-A625-8A4843B00C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48425" y="2179638"/>
                  <a:ext cx="31750" cy="158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67" name="Rectangle 591">
                  <a:extLst>
                    <a:ext uri="{FF2B5EF4-FFF2-40B4-BE49-F238E27FC236}">
                      <a16:creationId xmlns:a16="http://schemas.microsoft.com/office/drawing/2014/main" id="{C9B9DD65-1C05-9EE4-C1E6-CA5EEAFE1EC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50013" y="2168525"/>
                  <a:ext cx="33337" cy="158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68" name="Freeform 595">
                  <a:extLst>
                    <a:ext uri="{FF2B5EF4-FFF2-40B4-BE49-F238E27FC236}">
                      <a16:creationId xmlns:a16="http://schemas.microsoft.com/office/drawing/2014/main" id="{2AEB3F62-9CA7-2DF2-04A6-FF193582E37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337550" y="2844800"/>
                  <a:ext cx="22225" cy="60325"/>
                </a:xfrm>
                <a:custGeom>
                  <a:avLst/>
                  <a:gdLst>
                    <a:gd name="T0" fmla="*/ 16 w 16"/>
                    <a:gd name="T1" fmla="*/ 44 h 44"/>
                    <a:gd name="T2" fmla="*/ 4 w 16"/>
                    <a:gd name="T3" fmla="*/ 44 h 44"/>
                    <a:gd name="T4" fmla="*/ 0 w 16"/>
                    <a:gd name="T5" fmla="*/ 40 h 44"/>
                    <a:gd name="T6" fmla="*/ 0 w 16"/>
                    <a:gd name="T7" fmla="*/ 0 h 44"/>
                    <a:gd name="T8" fmla="*/ 16 w 16"/>
                    <a:gd name="T9" fmla="*/ 0 h 44"/>
                    <a:gd name="T10" fmla="*/ 16 w 16"/>
                    <a:gd name="T11" fmla="*/ 44 h 44"/>
                    <a:gd name="T12" fmla="*/ 0 w 16"/>
                    <a:gd name="T13" fmla="*/ 4 h 44"/>
                    <a:gd name="T14" fmla="*/ 0 w 16"/>
                    <a:gd name="T15" fmla="*/ 40 h 44"/>
                    <a:gd name="T16" fmla="*/ 4 w 16"/>
                    <a:gd name="T17" fmla="*/ 44 h 44"/>
                    <a:gd name="T18" fmla="*/ 16 w 16"/>
                    <a:gd name="T19" fmla="*/ 44 h 44"/>
                    <a:gd name="T20" fmla="*/ 16 w 16"/>
                    <a:gd name="T21" fmla="*/ 4 h 44"/>
                    <a:gd name="T22" fmla="*/ 0 w 16"/>
                    <a:gd name="T23" fmla="*/ 4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6" h="44">
                      <a:moveTo>
                        <a:pt x="16" y="44"/>
                      </a:moveTo>
                      <a:cubicBezTo>
                        <a:pt x="4" y="44"/>
                        <a:pt x="4" y="44"/>
                        <a:pt x="4" y="44"/>
                      </a:cubicBezTo>
                      <a:cubicBezTo>
                        <a:pt x="2" y="44"/>
                        <a:pt x="0" y="43"/>
                        <a:pt x="0" y="4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6" y="0"/>
                        <a:pt x="16" y="0"/>
                        <a:pt x="16" y="0"/>
                      </a:cubicBezTo>
                      <a:lnTo>
                        <a:pt x="16" y="44"/>
                      </a:lnTo>
                      <a:close/>
                      <a:moveTo>
                        <a:pt x="0" y="4"/>
                      </a:move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2"/>
                        <a:pt x="3" y="44"/>
                        <a:pt x="4" y="44"/>
                      </a:cubicBezTo>
                      <a:cubicBezTo>
                        <a:pt x="16" y="44"/>
                        <a:pt x="16" y="44"/>
                        <a:pt x="16" y="44"/>
                      </a:cubicBezTo>
                      <a:cubicBezTo>
                        <a:pt x="16" y="4"/>
                        <a:pt x="16" y="4"/>
                        <a:pt x="16" y="4"/>
                      </a:cubicBez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69" name="Rectangle 596">
                  <a:extLst>
                    <a:ext uri="{FF2B5EF4-FFF2-40B4-BE49-F238E27FC236}">
                      <a16:creationId xmlns:a16="http://schemas.microsoft.com/office/drawing/2014/main" id="{1D938A3A-E98B-AED6-FBAC-28B1113E010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399463" y="2851150"/>
                  <a:ext cx="3175" cy="428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70" name="Rectangle 598">
                  <a:extLst>
                    <a:ext uri="{FF2B5EF4-FFF2-40B4-BE49-F238E27FC236}">
                      <a16:creationId xmlns:a16="http://schemas.microsoft.com/office/drawing/2014/main" id="{E193C27C-DCAD-3CE8-A9E3-5255A45205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435975" y="2878138"/>
                  <a:ext cx="26987" cy="158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71" name="Rectangle 601">
                  <a:extLst>
                    <a:ext uri="{FF2B5EF4-FFF2-40B4-BE49-F238E27FC236}">
                      <a16:creationId xmlns:a16="http://schemas.microsoft.com/office/drawing/2014/main" id="{91282BFC-E126-C690-EB46-0417016B131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408988" y="2851150"/>
                  <a:ext cx="53975" cy="158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72" name="Rectangle 603">
                  <a:extLst>
                    <a:ext uri="{FF2B5EF4-FFF2-40B4-BE49-F238E27FC236}">
                      <a16:creationId xmlns:a16="http://schemas.microsoft.com/office/drawing/2014/main" id="{00D01310-B87C-0441-B198-2E2C3B3F17E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412163" y="2862263"/>
                  <a:ext cx="49212" cy="158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73" name="Oval 604">
                  <a:extLst>
                    <a:ext uri="{FF2B5EF4-FFF2-40B4-BE49-F238E27FC236}">
                      <a16:creationId xmlns:a16="http://schemas.microsoft.com/office/drawing/2014/main" id="{5778D4CD-43B2-51AC-9B79-C54BFB8564E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677025" y="3486150"/>
                  <a:ext cx="288925" cy="28892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74" name="Freeform 605">
                  <a:extLst>
                    <a:ext uri="{FF2B5EF4-FFF2-40B4-BE49-F238E27FC236}">
                      <a16:creationId xmlns:a16="http://schemas.microsoft.com/office/drawing/2014/main" id="{94F22E7B-C24A-F777-5F10-9346794AB28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748463" y="3571875"/>
                  <a:ext cx="180975" cy="114300"/>
                </a:xfrm>
                <a:custGeom>
                  <a:avLst/>
                  <a:gdLst>
                    <a:gd name="T0" fmla="*/ 122 w 132"/>
                    <a:gd name="T1" fmla="*/ 84 h 84"/>
                    <a:gd name="T2" fmla="*/ 0 w 132"/>
                    <a:gd name="T3" fmla="*/ 84 h 84"/>
                    <a:gd name="T4" fmla="*/ 0 w 132"/>
                    <a:gd name="T5" fmla="*/ 0 h 84"/>
                    <a:gd name="T6" fmla="*/ 132 w 132"/>
                    <a:gd name="T7" fmla="*/ 0 h 84"/>
                    <a:gd name="T8" fmla="*/ 132 w 132"/>
                    <a:gd name="T9" fmla="*/ 79 h 84"/>
                    <a:gd name="T10" fmla="*/ 122 w 132"/>
                    <a:gd name="T11" fmla="*/ 84 h 84"/>
                    <a:gd name="T12" fmla="*/ 4 w 132"/>
                    <a:gd name="T13" fmla="*/ 84 h 84"/>
                    <a:gd name="T14" fmla="*/ 122 w 132"/>
                    <a:gd name="T15" fmla="*/ 84 h 84"/>
                    <a:gd name="T16" fmla="*/ 128 w 132"/>
                    <a:gd name="T17" fmla="*/ 79 h 84"/>
                    <a:gd name="T18" fmla="*/ 128 w 132"/>
                    <a:gd name="T19" fmla="*/ 4 h 84"/>
                    <a:gd name="T20" fmla="*/ 4 w 132"/>
                    <a:gd name="T21" fmla="*/ 4 h 84"/>
                    <a:gd name="T22" fmla="*/ 4 w 132"/>
                    <a:gd name="T23" fmla="*/ 84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32" h="84">
                      <a:moveTo>
                        <a:pt x="122" y="84"/>
                      </a:moveTo>
                      <a:cubicBezTo>
                        <a:pt x="0" y="84"/>
                        <a:pt x="0" y="84"/>
                        <a:pt x="0" y="84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2" y="0"/>
                        <a:pt x="132" y="0"/>
                        <a:pt x="132" y="0"/>
                      </a:cubicBezTo>
                      <a:cubicBezTo>
                        <a:pt x="132" y="79"/>
                        <a:pt x="132" y="79"/>
                        <a:pt x="132" y="79"/>
                      </a:cubicBezTo>
                      <a:cubicBezTo>
                        <a:pt x="132" y="83"/>
                        <a:pt x="126" y="84"/>
                        <a:pt x="122" y="84"/>
                      </a:cubicBezTo>
                      <a:close/>
                      <a:moveTo>
                        <a:pt x="4" y="84"/>
                      </a:moveTo>
                      <a:cubicBezTo>
                        <a:pt x="122" y="84"/>
                        <a:pt x="122" y="84"/>
                        <a:pt x="122" y="84"/>
                      </a:cubicBezTo>
                      <a:cubicBezTo>
                        <a:pt x="125" y="84"/>
                        <a:pt x="128" y="81"/>
                        <a:pt x="128" y="79"/>
                      </a:cubicBezTo>
                      <a:cubicBezTo>
                        <a:pt x="128" y="4"/>
                        <a:pt x="128" y="4"/>
                        <a:pt x="128" y="4"/>
                      </a:cubicBezTo>
                      <a:cubicBezTo>
                        <a:pt x="4" y="4"/>
                        <a:pt x="4" y="4"/>
                        <a:pt x="4" y="4"/>
                      </a:cubicBezTo>
                      <a:lnTo>
                        <a:pt x="4" y="8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75" name="Freeform 606">
                  <a:extLst>
                    <a:ext uri="{FF2B5EF4-FFF2-40B4-BE49-F238E27FC236}">
                      <a16:creationId xmlns:a16="http://schemas.microsoft.com/office/drawing/2014/main" id="{0CBB137A-C6E8-833A-C8A1-26E27FC39B2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715125" y="3594100"/>
                  <a:ext cx="38100" cy="92075"/>
                </a:xfrm>
                <a:custGeom>
                  <a:avLst/>
                  <a:gdLst>
                    <a:gd name="T0" fmla="*/ 28 w 28"/>
                    <a:gd name="T1" fmla="*/ 68 h 68"/>
                    <a:gd name="T2" fmla="*/ 9 w 28"/>
                    <a:gd name="T3" fmla="*/ 68 h 68"/>
                    <a:gd name="T4" fmla="*/ 0 w 28"/>
                    <a:gd name="T5" fmla="*/ 63 h 68"/>
                    <a:gd name="T6" fmla="*/ 0 w 28"/>
                    <a:gd name="T7" fmla="*/ 0 h 68"/>
                    <a:gd name="T8" fmla="*/ 28 w 28"/>
                    <a:gd name="T9" fmla="*/ 0 h 68"/>
                    <a:gd name="T10" fmla="*/ 28 w 28"/>
                    <a:gd name="T11" fmla="*/ 68 h 68"/>
                    <a:gd name="T12" fmla="*/ 4 w 28"/>
                    <a:gd name="T13" fmla="*/ 4 h 68"/>
                    <a:gd name="T14" fmla="*/ 4 w 28"/>
                    <a:gd name="T15" fmla="*/ 63 h 68"/>
                    <a:gd name="T16" fmla="*/ 9 w 28"/>
                    <a:gd name="T17" fmla="*/ 68 h 68"/>
                    <a:gd name="T18" fmla="*/ 24 w 28"/>
                    <a:gd name="T19" fmla="*/ 68 h 68"/>
                    <a:gd name="T20" fmla="*/ 24 w 28"/>
                    <a:gd name="T21" fmla="*/ 4 h 68"/>
                    <a:gd name="T22" fmla="*/ 4 w 28"/>
                    <a:gd name="T23" fmla="*/ 4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8" h="68">
                      <a:moveTo>
                        <a:pt x="28" y="68"/>
                      </a:moveTo>
                      <a:cubicBezTo>
                        <a:pt x="9" y="68"/>
                        <a:pt x="9" y="68"/>
                        <a:pt x="9" y="68"/>
                      </a:cubicBezTo>
                      <a:cubicBezTo>
                        <a:pt x="4" y="68"/>
                        <a:pt x="0" y="67"/>
                        <a:pt x="0" y="63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8" y="0"/>
                        <a:pt x="28" y="0"/>
                        <a:pt x="28" y="0"/>
                      </a:cubicBezTo>
                      <a:lnTo>
                        <a:pt x="28" y="68"/>
                      </a:lnTo>
                      <a:close/>
                      <a:moveTo>
                        <a:pt x="4" y="4"/>
                      </a:moveTo>
                      <a:cubicBezTo>
                        <a:pt x="4" y="63"/>
                        <a:pt x="4" y="63"/>
                        <a:pt x="4" y="63"/>
                      </a:cubicBezTo>
                      <a:cubicBezTo>
                        <a:pt x="4" y="65"/>
                        <a:pt x="6" y="68"/>
                        <a:pt x="9" y="68"/>
                      </a:cubicBezTo>
                      <a:cubicBezTo>
                        <a:pt x="24" y="68"/>
                        <a:pt x="24" y="68"/>
                        <a:pt x="24" y="68"/>
                      </a:cubicBezTo>
                      <a:cubicBezTo>
                        <a:pt x="24" y="4"/>
                        <a:pt x="24" y="4"/>
                        <a:pt x="24" y="4"/>
                      </a:cubicBez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76" name="Rectangle 607">
                  <a:extLst>
                    <a:ext uri="{FF2B5EF4-FFF2-40B4-BE49-F238E27FC236}">
                      <a16:creationId xmlns:a16="http://schemas.microsoft.com/office/drawing/2014/main" id="{7D83144F-B758-5E11-AAB8-CA60A3BE460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11963" y="3598863"/>
                  <a:ext cx="4762" cy="714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77" name="Rectangle 608">
                  <a:extLst>
                    <a:ext uri="{FF2B5EF4-FFF2-40B4-BE49-F238E27FC236}">
                      <a16:creationId xmlns:a16="http://schemas.microsoft.com/office/drawing/2014/main" id="{F6BCD3C7-1A41-8A53-4256-4FC9A174F33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31013" y="3598863"/>
                  <a:ext cx="76200" cy="47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78" name="Rectangle 609">
                  <a:extLst>
                    <a:ext uri="{FF2B5EF4-FFF2-40B4-BE49-F238E27FC236}">
                      <a16:creationId xmlns:a16="http://schemas.microsoft.com/office/drawing/2014/main" id="{4A54EB19-B4C9-FFAE-9EFC-D9656A0CE84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31013" y="3632200"/>
                  <a:ext cx="76200" cy="47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79" name="Rectangle 610">
                  <a:extLst>
                    <a:ext uri="{FF2B5EF4-FFF2-40B4-BE49-F238E27FC236}">
                      <a16:creationId xmlns:a16="http://schemas.microsoft.com/office/drawing/2014/main" id="{9C7451CC-2BA7-C78E-942F-81C183157C4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31013" y="3614738"/>
                  <a:ext cx="76200" cy="6350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80" name="Rectangle 611">
                  <a:extLst>
                    <a:ext uri="{FF2B5EF4-FFF2-40B4-BE49-F238E27FC236}">
                      <a16:creationId xmlns:a16="http://schemas.microsoft.com/office/drawing/2014/main" id="{6DE0708B-1AA5-D84F-B558-13C07F6A04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31013" y="3663950"/>
                  <a:ext cx="76200" cy="6350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81" name="Rectangle 612">
                  <a:extLst>
                    <a:ext uri="{FF2B5EF4-FFF2-40B4-BE49-F238E27FC236}">
                      <a16:creationId xmlns:a16="http://schemas.microsoft.com/office/drawing/2014/main" id="{C34E6B99-A7E1-EC28-8569-A286D5E2E0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31013" y="3648075"/>
                  <a:ext cx="76200" cy="47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82" name="Freeform 613">
                  <a:extLst>
                    <a:ext uri="{FF2B5EF4-FFF2-40B4-BE49-F238E27FC236}">
                      <a16:creationId xmlns:a16="http://schemas.microsoft.com/office/drawing/2014/main" id="{5C89C014-A276-E259-99CA-19FE4B491D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78625" y="3597275"/>
                  <a:ext cx="14287" cy="15875"/>
                </a:xfrm>
                <a:custGeom>
                  <a:avLst/>
                  <a:gdLst>
                    <a:gd name="T0" fmla="*/ 4 w 11"/>
                    <a:gd name="T1" fmla="*/ 1 h 11"/>
                    <a:gd name="T2" fmla="*/ 10 w 11"/>
                    <a:gd name="T3" fmla="*/ 6 h 11"/>
                    <a:gd name="T4" fmla="*/ 2 w 11"/>
                    <a:gd name="T5" fmla="*/ 8 h 11"/>
                    <a:gd name="T6" fmla="*/ 4 w 11"/>
                    <a:gd name="T7" fmla="*/ 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" h="11">
                      <a:moveTo>
                        <a:pt x="4" y="1"/>
                      </a:moveTo>
                      <a:cubicBezTo>
                        <a:pt x="7" y="0"/>
                        <a:pt x="11" y="3"/>
                        <a:pt x="10" y="6"/>
                      </a:cubicBezTo>
                      <a:cubicBezTo>
                        <a:pt x="10" y="10"/>
                        <a:pt x="4" y="11"/>
                        <a:pt x="2" y="8"/>
                      </a:cubicBezTo>
                      <a:cubicBezTo>
                        <a:pt x="0" y="5"/>
                        <a:pt x="1" y="2"/>
                        <a:pt x="4" y="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83" name="Freeform 614">
                  <a:extLst>
                    <a:ext uri="{FF2B5EF4-FFF2-40B4-BE49-F238E27FC236}">
                      <a16:creationId xmlns:a16="http://schemas.microsoft.com/office/drawing/2014/main" id="{2AF9263E-2ABC-DE8D-1C83-679DCFA21D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69100" y="3611563"/>
                  <a:ext cx="33337" cy="60325"/>
                </a:xfrm>
                <a:custGeom>
                  <a:avLst/>
                  <a:gdLst>
                    <a:gd name="T0" fmla="*/ 25 w 25"/>
                    <a:gd name="T1" fmla="*/ 19 h 44"/>
                    <a:gd name="T2" fmla="*/ 22 w 25"/>
                    <a:gd name="T3" fmla="*/ 18 h 44"/>
                    <a:gd name="T4" fmla="*/ 18 w 25"/>
                    <a:gd name="T5" fmla="*/ 7 h 44"/>
                    <a:gd name="T6" fmla="*/ 17 w 25"/>
                    <a:gd name="T7" fmla="*/ 6 h 44"/>
                    <a:gd name="T8" fmla="*/ 23 w 25"/>
                    <a:gd name="T9" fmla="*/ 26 h 44"/>
                    <a:gd name="T10" fmla="*/ 18 w 25"/>
                    <a:gd name="T11" fmla="*/ 26 h 44"/>
                    <a:gd name="T12" fmla="*/ 17 w 25"/>
                    <a:gd name="T13" fmla="*/ 41 h 44"/>
                    <a:gd name="T14" fmla="*/ 15 w 25"/>
                    <a:gd name="T15" fmla="*/ 43 h 44"/>
                    <a:gd name="T16" fmla="*/ 13 w 25"/>
                    <a:gd name="T17" fmla="*/ 41 h 44"/>
                    <a:gd name="T18" fmla="*/ 13 w 25"/>
                    <a:gd name="T19" fmla="*/ 26 h 44"/>
                    <a:gd name="T20" fmla="*/ 12 w 25"/>
                    <a:gd name="T21" fmla="*/ 26 h 44"/>
                    <a:gd name="T22" fmla="*/ 12 w 25"/>
                    <a:gd name="T23" fmla="*/ 42 h 44"/>
                    <a:gd name="T24" fmla="*/ 8 w 25"/>
                    <a:gd name="T25" fmla="*/ 42 h 44"/>
                    <a:gd name="T26" fmla="*/ 8 w 25"/>
                    <a:gd name="T27" fmla="*/ 26 h 44"/>
                    <a:gd name="T28" fmla="*/ 2 w 25"/>
                    <a:gd name="T29" fmla="*/ 26 h 44"/>
                    <a:gd name="T30" fmla="*/ 8 w 25"/>
                    <a:gd name="T31" fmla="*/ 6 h 44"/>
                    <a:gd name="T32" fmla="*/ 7 w 25"/>
                    <a:gd name="T33" fmla="*/ 7 h 44"/>
                    <a:gd name="T34" fmla="*/ 3 w 25"/>
                    <a:gd name="T35" fmla="*/ 18 h 44"/>
                    <a:gd name="T36" fmla="*/ 0 w 25"/>
                    <a:gd name="T37" fmla="*/ 18 h 44"/>
                    <a:gd name="T38" fmla="*/ 2 w 25"/>
                    <a:gd name="T39" fmla="*/ 10 h 44"/>
                    <a:gd name="T40" fmla="*/ 5 w 25"/>
                    <a:gd name="T41" fmla="*/ 2 h 44"/>
                    <a:gd name="T42" fmla="*/ 14 w 25"/>
                    <a:gd name="T43" fmla="*/ 1 h 44"/>
                    <a:gd name="T44" fmla="*/ 20 w 25"/>
                    <a:gd name="T45" fmla="*/ 3 h 44"/>
                    <a:gd name="T46" fmla="*/ 23 w 25"/>
                    <a:gd name="T47" fmla="*/ 11 h 44"/>
                    <a:gd name="T48" fmla="*/ 25 w 25"/>
                    <a:gd name="T49" fmla="*/ 19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5" h="44">
                      <a:moveTo>
                        <a:pt x="25" y="19"/>
                      </a:moveTo>
                      <a:cubicBezTo>
                        <a:pt x="24" y="19"/>
                        <a:pt x="22" y="19"/>
                        <a:pt x="22" y="18"/>
                      </a:cubicBezTo>
                      <a:cubicBezTo>
                        <a:pt x="20" y="14"/>
                        <a:pt x="19" y="11"/>
                        <a:pt x="18" y="7"/>
                      </a:cubicBezTo>
                      <a:cubicBezTo>
                        <a:pt x="18" y="7"/>
                        <a:pt x="17" y="7"/>
                        <a:pt x="17" y="6"/>
                      </a:cubicBezTo>
                      <a:cubicBezTo>
                        <a:pt x="19" y="13"/>
                        <a:pt x="21" y="20"/>
                        <a:pt x="23" y="26"/>
                      </a:cubicBezTo>
                      <a:cubicBezTo>
                        <a:pt x="21" y="26"/>
                        <a:pt x="19" y="26"/>
                        <a:pt x="18" y="26"/>
                      </a:cubicBezTo>
                      <a:cubicBezTo>
                        <a:pt x="17" y="31"/>
                        <a:pt x="18" y="36"/>
                        <a:pt x="17" y="41"/>
                      </a:cubicBezTo>
                      <a:cubicBezTo>
                        <a:pt x="18" y="42"/>
                        <a:pt x="17" y="43"/>
                        <a:pt x="15" y="43"/>
                      </a:cubicBezTo>
                      <a:cubicBezTo>
                        <a:pt x="14" y="43"/>
                        <a:pt x="13" y="42"/>
                        <a:pt x="13" y="41"/>
                      </a:cubicBezTo>
                      <a:cubicBezTo>
                        <a:pt x="13" y="36"/>
                        <a:pt x="13" y="31"/>
                        <a:pt x="13" y="26"/>
                      </a:cubicBezTo>
                      <a:cubicBezTo>
                        <a:pt x="13" y="26"/>
                        <a:pt x="12" y="26"/>
                        <a:pt x="12" y="26"/>
                      </a:cubicBezTo>
                      <a:cubicBezTo>
                        <a:pt x="12" y="31"/>
                        <a:pt x="12" y="37"/>
                        <a:pt x="12" y="42"/>
                      </a:cubicBezTo>
                      <a:cubicBezTo>
                        <a:pt x="12" y="44"/>
                        <a:pt x="8" y="44"/>
                        <a:pt x="8" y="42"/>
                      </a:cubicBezTo>
                      <a:cubicBezTo>
                        <a:pt x="8" y="37"/>
                        <a:pt x="8" y="31"/>
                        <a:pt x="8" y="26"/>
                      </a:cubicBezTo>
                      <a:cubicBezTo>
                        <a:pt x="6" y="26"/>
                        <a:pt x="4" y="26"/>
                        <a:pt x="2" y="26"/>
                      </a:cubicBezTo>
                      <a:cubicBezTo>
                        <a:pt x="4" y="20"/>
                        <a:pt x="6" y="13"/>
                        <a:pt x="8" y="6"/>
                      </a:cubicBezTo>
                      <a:cubicBezTo>
                        <a:pt x="8" y="7"/>
                        <a:pt x="7" y="7"/>
                        <a:pt x="7" y="7"/>
                      </a:cubicBezTo>
                      <a:cubicBezTo>
                        <a:pt x="6" y="11"/>
                        <a:pt x="5" y="14"/>
                        <a:pt x="3" y="18"/>
                      </a:cubicBezTo>
                      <a:cubicBezTo>
                        <a:pt x="3" y="19"/>
                        <a:pt x="0" y="19"/>
                        <a:pt x="0" y="18"/>
                      </a:cubicBezTo>
                      <a:cubicBezTo>
                        <a:pt x="0" y="15"/>
                        <a:pt x="1" y="12"/>
                        <a:pt x="2" y="10"/>
                      </a:cubicBezTo>
                      <a:cubicBezTo>
                        <a:pt x="3" y="7"/>
                        <a:pt x="3" y="4"/>
                        <a:pt x="5" y="2"/>
                      </a:cubicBezTo>
                      <a:cubicBezTo>
                        <a:pt x="7" y="0"/>
                        <a:pt x="11" y="1"/>
                        <a:pt x="14" y="1"/>
                      </a:cubicBezTo>
                      <a:cubicBezTo>
                        <a:pt x="16" y="1"/>
                        <a:pt x="19" y="1"/>
                        <a:pt x="20" y="3"/>
                      </a:cubicBezTo>
                      <a:cubicBezTo>
                        <a:pt x="22" y="5"/>
                        <a:pt x="22" y="9"/>
                        <a:pt x="23" y="11"/>
                      </a:cubicBezTo>
                      <a:cubicBezTo>
                        <a:pt x="24" y="14"/>
                        <a:pt x="25" y="16"/>
                        <a:pt x="25" y="19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84" name="Oval 615">
                  <a:extLst>
                    <a:ext uri="{FF2B5EF4-FFF2-40B4-BE49-F238E27FC236}">
                      <a16:creationId xmlns:a16="http://schemas.microsoft.com/office/drawing/2014/main" id="{5CC3FDCD-DD20-FB48-3CD8-666A9E12F4E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99338" y="4213225"/>
                  <a:ext cx="215900" cy="215900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85" name="Freeform 616">
                  <a:extLst>
                    <a:ext uri="{FF2B5EF4-FFF2-40B4-BE49-F238E27FC236}">
                      <a16:creationId xmlns:a16="http://schemas.microsoft.com/office/drawing/2014/main" id="{353B5F9F-F6BB-A340-15CE-8103972C990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458075" y="4259263"/>
                  <a:ext cx="104775" cy="76200"/>
                </a:xfrm>
                <a:custGeom>
                  <a:avLst/>
                  <a:gdLst>
                    <a:gd name="T0" fmla="*/ 68 w 76"/>
                    <a:gd name="T1" fmla="*/ 3 h 56"/>
                    <a:gd name="T2" fmla="*/ 72 w 76"/>
                    <a:gd name="T3" fmla="*/ 7 h 56"/>
                    <a:gd name="T4" fmla="*/ 72 w 76"/>
                    <a:gd name="T5" fmla="*/ 50 h 56"/>
                    <a:gd name="T6" fmla="*/ 68 w 76"/>
                    <a:gd name="T7" fmla="*/ 56 h 56"/>
                    <a:gd name="T8" fmla="*/ 9 w 76"/>
                    <a:gd name="T9" fmla="*/ 56 h 56"/>
                    <a:gd name="T10" fmla="*/ 4 w 76"/>
                    <a:gd name="T11" fmla="*/ 50 h 56"/>
                    <a:gd name="T12" fmla="*/ 4 w 76"/>
                    <a:gd name="T13" fmla="*/ 7 h 56"/>
                    <a:gd name="T14" fmla="*/ 9 w 76"/>
                    <a:gd name="T15" fmla="*/ 4 h 56"/>
                    <a:gd name="T16" fmla="*/ 68 w 76"/>
                    <a:gd name="T17" fmla="*/ 4 h 56"/>
                    <a:gd name="T18" fmla="*/ 68 w 76"/>
                    <a:gd name="T19" fmla="*/ 0 h 56"/>
                    <a:gd name="T20" fmla="*/ 9 w 76"/>
                    <a:gd name="T21" fmla="*/ 0 h 56"/>
                    <a:gd name="T22" fmla="*/ 0 w 76"/>
                    <a:gd name="T23" fmla="*/ 7 h 56"/>
                    <a:gd name="T24" fmla="*/ 0 w 76"/>
                    <a:gd name="T25" fmla="*/ 50 h 56"/>
                    <a:gd name="T26" fmla="*/ 9 w 76"/>
                    <a:gd name="T27" fmla="*/ 56 h 56"/>
                    <a:gd name="T28" fmla="*/ 68 w 76"/>
                    <a:gd name="T29" fmla="*/ 56 h 56"/>
                    <a:gd name="T30" fmla="*/ 76 w 76"/>
                    <a:gd name="T31" fmla="*/ 50 h 56"/>
                    <a:gd name="T32" fmla="*/ 76 w 76"/>
                    <a:gd name="T33" fmla="*/ 7 h 56"/>
                    <a:gd name="T34" fmla="*/ 68 w 76"/>
                    <a:gd name="T35" fmla="*/ 0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6" h="56">
                      <a:moveTo>
                        <a:pt x="68" y="3"/>
                      </a:moveTo>
                      <a:cubicBezTo>
                        <a:pt x="70" y="3"/>
                        <a:pt x="72" y="4"/>
                        <a:pt x="72" y="7"/>
                      </a:cubicBezTo>
                      <a:cubicBezTo>
                        <a:pt x="72" y="50"/>
                        <a:pt x="72" y="50"/>
                        <a:pt x="72" y="50"/>
                      </a:cubicBezTo>
                      <a:cubicBezTo>
                        <a:pt x="72" y="53"/>
                        <a:pt x="71" y="56"/>
                        <a:pt x="68" y="56"/>
                      </a:cubicBezTo>
                      <a:cubicBezTo>
                        <a:pt x="9" y="56"/>
                        <a:pt x="9" y="56"/>
                        <a:pt x="9" y="56"/>
                      </a:cubicBezTo>
                      <a:cubicBezTo>
                        <a:pt x="6" y="56"/>
                        <a:pt x="4" y="53"/>
                        <a:pt x="4" y="50"/>
                      </a:cubicBezTo>
                      <a:cubicBezTo>
                        <a:pt x="4" y="7"/>
                        <a:pt x="4" y="7"/>
                        <a:pt x="4" y="7"/>
                      </a:cubicBezTo>
                      <a:cubicBezTo>
                        <a:pt x="4" y="4"/>
                        <a:pt x="6" y="4"/>
                        <a:pt x="9" y="4"/>
                      </a:cubicBezTo>
                      <a:cubicBezTo>
                        <a:pt x="68" y="4"/>
                        <a:pt x="68" y="4"/>
                        <a:pt x="68" y="4"/>
                      </a:cubicBezTo>
                      <a:moveTo>
                        <a:pt x="68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0"/>
                        <a:pt x="0" y="3"/>
                        <a:pt x="0" y="7"/>
                      </a:cubicBezTo>
                      <a:cubicBezTo>
                        <a:pt x="0" y="50"/>
                        <a:pt x="0" y="50"/>
                        <a:pt x="0" y="50"/>
                      </a:cubicBezTo>
                      <a:cubicBezTo>
                        <a:pt x="0" y="54"/>
                        <a:pt x="5" y="56"/>
                        <a:pt x="9" y="56"/>
                      </a:cubicBezTo>
                      <a:cubicBezTo>
                        <a:pt x="68" y="56"/>
                        <a:pt x="68" y="56"/>
                        <a:pt x="68" y="56"/>
                      </a:cubicBezTo>
                      <a:cubicBezTo>
                        <a:pt x="72" y="56"/>
                        <a:pt x="76" y="54"/>
                        <a:pt x="76" y="50"/>
                      </a:cubicBezTo>
                      <a:cubicBezTo>
                        <a:pt x="76" y="7"/>
                        <a:pt x="76" y="7"/>
                        <a:pt x="76" y="7"/>
                      </a:cubicBezTo>
                      <a:cubicBezTo>
                        <a:pt x="76" y="3"/>
                        <a:pt x="72" y="0"/>
                        <a:pt x="68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86" name="Freeform 617">
                  <a:extLst>
                    <a:ext uri="{FF2B5EF4-FFF2-40B4-BE49-F238E27FC236}">
                      <a16:creationId xmlns:a16="http://schemas.microsoft.com/office/drawing/2014/main" id="{B9E046C2-6FE7-C00B-71A1-F5D7C1B8AA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37438" y="4344988"/>
                  <a:ext cx="146050" cy="34925"/>
                </a:xfrm>
                <a:custGeom>
                  <a:avLst/>
                  <a:gdLst>
                    <a:gd name="T0" fmla="*/ 106 w 108"/>
                    <a:gd name="T1" fmla="*/ 16 h 25"/>
                    <a:gd name="T2" fmla="*/ 92 w 108"/>
                    <a:gd name="T3" fmla="*/ 2 h 25"/>
                    <a:gd name="T4" fmla="*/ 87 w 108"/>
                    <a:gd name="T5" fmla="*/ 1 h 25"/>
                    <a:gd name="T6" fmla="*/ 21 w 108"/>
                    <a:gd name="T7" fmla="*/ 1 h 25"/>
                    <a:gd name="T8" fmla="*/ 17 w 108"/>
                    <a:gd name="T9" fmla="*/ 2 h 25"/>
                    <a:gd name="T10" fmla="*/ 3 w 108"/>
                    <a:gd name="T11" fmla="*/ 16 h 25"/>
                    <a:gd name="T12" fmla="*/ 0 w 108"/>
                    <a:gd name="T13" fmla="*/ 20 h 25"/>
                    <a:gd name="T14" fmla="*/ 0 w 108"/>
                    <a:gd name="T15" fmla="*/ 22 h 25"/>
                    <a:gd name="T16" fmla="*/ 5 w 108"/>
                    <a:gd name="T17" fmla="*/ 25 h 25"/>
                    <a:gd name="T18" fmla="*/ 104 w 108"/>
                    <a:gd name="T19" fmla="*/ 25 h 25"/>
                    <a:gd name="T20" fmla="*/ 108 w 108"/>
                    <a:gd name="T21" fmla="*/ 22 h 25"/>
                    <a:gd name="T22" fmla="*/ 108 w 108"/>
                    <a:gd name="T23" fmla="*/ 20 h 25"/>
                    <a:gd name="T24" fmla="*/ 106 w 108"/>
                    <a:gd name="T25" fmla="*/ 16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08" h="25">
                      <a:moveTo>
                        <a:pt x="106" y="16"/>
                      </a:moveTo>
                      <a:cubicBezTo>
                        <a:pt x="92" y="2"/>
                        <a:pt x="92" y="2"/>
                        <a:pt x="92" y="2"/>
                      </a:cubicBezTo>
                      <a:cubicBezTo>
                        <a:pt x="91" y="0"/>
                        <a:pt x="89" y="1"/>
                        <a:pt x="87" y="1"/>
                      </a:cubicBezTo>
                      <a:cubicBezTo>
                        <a:pt x="21" y="1"/>
                        <a:pt x="21" y="1"/>
                        <a:pt x="21" y="1"/>
                      </a:cubicBezTo>
                      <a:cubicBezTo>
                        <a:pt x="20" y="1"/>
                        <a:pt x="18" y="0"/>
                        <a:pt x="17" y="2"/>
                      </a:cubicBezTo>
                      <a:cubicBezTo>
                        <a:pt x="3" y="16"/>
                        <a:pt x="3" y="16"/>
                        <a:pt x="3" y="16"/>
                      </a:cubicBezTo>
                      <a:cubicBezTo>
                        <a:pt x="2" y="17"/>
                        <a:pt x="0" y="19"/>
                        <a:pt x="0" y="20"/>
                      </a:cubicBezTo>
                      <a:cubicBezTo>
                        <a:pt x="0" y="22"/>
                        <a:pt x="0" y="22"/>
                        <a:pt x="0" y="22"/>
                      </a:cubicBezTo>
                      <a:cubicBezTo>
                        <a:pt x="0" y="23"/>
                        <a:pt x="3" y="25"/>
                        <a:pt x="5" y="25"/>
                      </a:cubicBezTo>
                      <a:cubicBezTo>
                        <a:pt x="104" y="25"/>
                        <a:pt x="104" y="25"/>
                        <a:pt x="104" y="25"/>
                      </a:cubicBezTo>
                      <a:cubicBezTo>
                        <a:pt x="106" y="25"/>
                        <a:pt x="108" y="23"/>
                        <a:pt x="108" y="22"/>
                      </a:cubicBezTo>
                      <a:cubicBezTo>
                        <a:pt x="108" y="20"/>
                        <a:pt x="108" y="20"/>
                        <a:pt x="108" y="20"/>
                      </a:cubicBezTo>
                      <a:cubicBezTo>
                        <a:pt x="108" y="19"/>
                        <a:pt x="107" y="17"/>
                        <a:pt x="106" y="16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87" name="Rectangle 618">
                  <a:extLst>
                    <a:ext uri="{FF2B5EF4-FFF2-40B4-BE49-F238E27FC236}">
                      <a16:creationId xmlns:a16="http://schemas.microsoft.com/office/drawing/2014/main" id="{19DFB70B-677C-67B3-CE7E-D5E7885AC7A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13638" y="4270375"/>
                  <a:ext cx="31750" cy="222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88" name="Rectangle 619">
                  <a:extLst>
                    <a:ext uri="{FF2B5EF4-FFF2-40B4-BE49-F238E27FC236}">
                      <a16:creationId xmlns:a16="http://schemas.microsoft.com/office/drawing/2014/main" id="{D2FC98B4-29FE-A9EE-94F9-BDEFA305BF0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13638" y="4281488"/>
                  <a:ext cx="31750" cy="222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89" name="Rectangle 620">
                  <a:extLst>
                    <a:ext uri="{FF2B5EF4-FFF2-40B4-BE49-F238E27FC236}">
                      <a16:creationId xmlns:a16="http://schemas.microsoft.com/office/drawing/2014/main" id="{F2E8F1FC-5BA3-B271-0AF8-9F5767F7D8A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13638" y="4297363"/>
                  <a:ext cx="31750" cy="222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90" name="Rectangle 621">
                  <a:extLst>
                    <a:ext uri="{FF2B5EF4-FFF2-40B4-BE49-F238E27FC236}">
                      <a16:creationId xmlns:a16="http://schemas.microsoft.com/office/drawing/2014/main" id="{C0FABA44-9386-2F9A-3D7E-87F58DD0AC7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75538" y="4281488"/>
                  <a:ext cx="26987" cy="2698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91" name="Oval 622">
                  <a:extLst>
                    <a:ext uri="{FF2B5EF4-FFF2-40B4-BE49-F238E27FC236}">
                      <a16:creationId xmlns:a16="http://schemas.microsoft.com/office/drawing/2014/main" id="{A26865EF-8AD9-FF9C-EA27-5C87B9B7811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246813" y="2641600"/>
                  <a:ext cx="193675" cy="19367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92" name="Freeform 623">
                  <a:extLst>
                    <a:ext uri="{FF2B5EF4-FFF2-40B4-BE49-F238E27FC236}">
                      <a16:creationId xmlns:a16="http://schemas.microsoft.com/office/drawing/2014/main" id="{C9548343-FBF9-9C52-2A95-39CD3E1474C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305550" y="2687638"/>
                  <a:ext cx="87312" cy="65088"/>
                </a:xfrm>
                <a:custGeom>
                  <a:avLst/>
                  <a:gdLst>
                    <a:gd name="T0" fmla="*/ 56 w 64"/>
                    <a:gd name="T1" fmla="*/ 0 h 48"/>
                    <a:gd name="T2" fmla="*/ 60 w 64"/>
                    <a:gd name="T3" fmla="*/ 4 h 48"/>
                    <a:gd name="T4" fmla="*/ 60 w 64"/>
                    <a:gd name="T5" fmla="*/ 43 h 48"/>
                    <a:gd name="T6" fmla="*/ 56 w 64"/>
                    <a:gd name="T7" fmla="*/ 44 h 48"/>
                    <a:gd name="T8" fmla="*/ 3 w 64"/>
                    <a:gd name="T9" fmla="*/ 44 h 48"/>
                    <a:gd name="T10" fmla="*/ 0 w 64"/>
                    <a:gd name="T11" fmla="*/ 43 h 48"/>
                    <a:gd name="T12" fmla="*/ 0 w 64"/>
                    <a:gd name="T13" fmla="*/ 4 h 48"/>
                    <a:gd name="T14" fmla="*/ 3 w 64"/>
                    <a:gd name="T15" fmla="*/ 0 h 48"/>
                    <a:gd name="T16" fmla="*/ 56 w 64"/>
                    <a:gd name="T17" fmla="*/ 0 h 48"/>
                    <a:gd name="T18" fmla="*/ 56 w 64"/>
                    <a:gd name="T19" fmla="*/ 0 h 48"/>
                    <a:gd name="T20" fmla="*/ 3 w 64"/>
                    <a:gd name="T21" fmla="*/ 0 h 48"/>
                    <a:gd name="T22" fmla="*/ 0 w 64"/>
                    <a:gd name="T23" fmla="*/ 4 h 48"/>
                    <a:gd name="T24" fmla="*/ 0 w 64"/>
                    <a:gd name="T25" fmla="*/ 43 h 48"/>
                    <a:gd name="T26" fmla="*/ 3 w 64"/>
                    <a:gd name="T27" fmla="*/ 48 h 48"/>
                    <a:gd name="T28" fmla="*/ 56 w 64"/>
                    <a:gd name="T29" fmla="*/ 48 h 48"/>
                    <a:gd name="T30" fmla="*/ 64 w 64"/>
                    <a:gd name="T31" fmla="*/ 43 h 48"/>
                    <a:gd name="T32" fmla="*/ 64 w 64"/>
                    <a:gd name="T33" fmla="*/ 4 h 48"/>
                    <a:gd name="T34" fmla="*/ 56 w 64"/>
                    <a:gd name="T35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48">
                      <a:moveTo>
                        <a:pt x="56" y="0"/>
                      </a:moveTo>
                      <a:cubicBezTo>
                        <a:pt x="58" y="0"/>
                        <a:pt x="60" y="2"/>
                        <a:pt x="60" y="4"/>
                      </a:cubicBezTo>
                      <a:cubicBezTo>
                        <a:pt x="60" y="43"/>
                        <a:pt x="60" y="43"/>
                        <a:pt x="60" y="43"/>
                      </a:cubicBezTo>
                      <a:cubicBezTo>
                        <a:pt x="60" y="45"/>
                        <a:pt x="59" y="44"/>
                        <a:pt x="56" y="44"/>
                      </a:cubicBezTo>
                      <a:cubicBezTo>
                        <a:pt x="3" y="44"/>
                        <a:pt x="3" y="44"/>
                        <a:pt x="3" y="44"/>
                      </a:cubicBezTo>
                      <a:cubicBezTo>
                        <a:pt x="1" y="44"/>
                        <a:pt x="0" y="45"/>
                        <a:pt x="0" y="43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2"/>
                        <a:pt x="1" y="0"/>
                        <a:pt x="3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56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0" y="0"/>
                        <a:pt x="0" y="1"/>
                        <a:pt x="0" y="4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46"/>
                        <a:pt x="0" y="48"/>
                        <a:pt x="3" y="48"/>
                      </a:cubicBezTo>
                      <a:cubicBezTo>
                        <a:pt x="56" y="48"/>
                        <a:pt x="56" y="48"/>
                        <a:pt x="56" y="48"/>
                      </a:cubicBezTo>
                      <a:cubicBezTo>
                        <a:pt x="60" y="48"/>
                        <a:pt x="64" y="46"/>
                        <a:pt x="64" y="43"/>
                      </a:cubicBezTo>
                      <a:cubicBezTo>
                        <a:pt x="64" y="4"/>
                        <a:pt x="64" y="4"/>
                        <a:pt x="64" y="4"/>
                      </a:cubicBezTo>
                      <a:cubicBezTo>
                        <a:pt x="64" y="1"/>
                        <a:pt x="60" y="0"/>
                        <a:pt x="56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93" name="Freeform 624">
                  <a:extLst>
                    <a:ext uri="{FF2B5EF4-FFF2-40B4-BE49-F238E27FC236}">
                      <a16:creationId xmlns:a16="http://schemas.microsoft.com/office/drawing/2014/main" id="{0BCDE160-6587-2170-B200-1D1F9B5247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78563" y="2757488"/>
                  <a:ext cx="131762" cy="31750"/>
                </a:xfrm>
                <a:custGeom>
                  <a:avLst/>
                  <a:gdLst>
                    <a:gd name="T0" fmla="*/ 95 w 96"/>
                    <a:gd name="T1" fmla="*/ 16 h 23"/>
                    <a:gd name="T2" fmla="*/ 83 w 96"/>
                    <a:gd name="T3" fmla="*/ 2 h 23"/>
                    <a:gd name="T4" fmla="*/ 79 w 96"/>
                    <a:gd name="T5" fmla="*/ 0 h 23"/>
                    <a:gd name="T6" fmla="*/ 20 w 96"/>
                    <a:gd name="T7" fmla="*/ 0 h 23"/>
                    <a:gd name="T8" fmla="*/ 16 w 96"/>
                    <a:gd name="T9" fmla="*/ 2 h 23"/>
                    <a:gd name="T10" fmla="*/ 3 w 96"/>
                    <a:gd name="T11" fmla="*/ 16 h 23"/>
                    <a:gd name="T12" fmla="*/ 0 w 96"/>
                    <a:gd name="T13" fmla="*/ 20 h 23"/>
                    <a:gd name="T14" fmla="*/ 0 w 96"/>
                    <a:gd name="T15" fmla="*/ 22 h 23"/>
                    <a:gd name="T16" fmla="*/ 6 w 96"/>
                    <a:gd name="T17" fmla="*/ 20 h 23"/>
                    <a:gd name="T18" fmla="*/ 94 w 96"/>
                    <a:gd name="T19" fmla="*/ 20 h 23"/>
                    <a:gd name="T20" fmla="*/ 96 w 96"/>
                    <a:gd name="T21" fmla="*/ 22 h 23"/>
                    <a:gd name="T22" fmla="*/ 96 w 96"/>
                    <a:gd name="T23" fmla="*/ 20 h 23"/>
                    <a:gd name="T24" fmla="*/ 95 w 96"/>
                    <a:gd name="T25" fmla="*/ 16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6" h="23">
                      <a:moveTo>
                        <a:pt x="95" y="16"/>
                      </a:moveTo>
                      <a:cubicBezTo>
                        <a:pt x="83" y="2"/>
                        <a:pt x="83" y="2"/>
                        <a:pt x="83" y="2"/>
                      </a:cubicBezTo>
                      <a:cubicBezTo>
                        <a:pt x="82" y="1"/>
                        <a:pt x="81" y="0"/>
                        <a:pt x="79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9" y="0"/>
                        <a:pt x="17" y="1"/>
                        <a:pt x="16" y="2"/>
                      </a:cubicBezTo>
                      <a:cubicBezTo>
                        <a:pt x="3" y="16"/>
                        <a:pt x="3" y="16"/>
                        <a:pt x="3" y="16"/>
                      </a:cubicBezTo>
                      <a:cubicBezTo>
                        <a:pt x="2" y="17"/>
                        <a:pt x="0" y="19"/>
                        <a:pt x="0" y="20"/>
                      </a:cubicBezTo>
                      <a:cubicBezTo>
                        <a:pt x="0" y="22"/>
                        <a:pt x="0" y="22"/>
                        <a:pt x="0" y="22"/>
                      </a:cubicBezTo>
                      <a:cubicBezTo>
                        <a:pt x="0" y="23"/>
                        <a:pt x="4" y="20"/>
                        <a:pt x="6" y="20"/>
                      </a:cubicBezTo>
                      <a:cubicBezTo>
                        <a:pt x="94" y="20"/>
                        <a:pt x="94" y="20"/>
                        <a:pt x="94" y="20"/>
                      </a:cubicBezTo>
                      <a:cubicBezTo>
                        <a:pt x="96" y="20"/>
                        <a:pt x="96" y="23"/>
                        <a:pt x="96" y="22"/>
                      </a:cubicBezTo>
                      <a:cubicBezTo>
                        <a:pt x="96" y="20"/>
                        <a:pt x="96" y="20"/>
                        <a:pt x="96" y="20"/>
                      </a:cubicBezTo>
                      <a:cubicBezTo>
                        <a:pt x="96" y="19"/>
                        <a:pt x="96" y="17"/>
                        <a:pt x="95" y="16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94" name="Rectangle 625">
                  <a:extLst>
                    <a:ext uri="{FF2B5EF4-FFF2-40B4-BE49-F238E27FC236}">
                      <a16:creationId xmlns:a16="http://schemas.microsoft.com/office/drawing/2014/main" id="{C256E1C9-DA69-E845-935C-B6A0F95C23D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343650" y="2692400"/>
                  <a:ext cx="33337" cy="222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95" name="Rectangle 626">
                  <a:extLst>
                    <a:ext uri="{FF2B5EF4-FFF2-40B4-BE49-F238E27FC236}">
                      <a16:creationId xmlns:a16="http://schemas.microsoft.com/office/drawing/2014/main" id="{321FE0D9-4699-D19D-5BF2-D6DD3DEF9C3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343650" y="2703513"/>
                  <a:ext cx="33337" cy="222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96" name="Rectangle 627">
                  <a:extLst>
                    <a:ext uri="{FF2B5EF4-FFF2-40B4-BE49-F238E27FC236}">
                      <a16:creationId xmlns:a16="http://schemas.microsoft.com/office/drawing/2014/main" id="{55464754-73F7-4B58-55B0-91BF984F100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343650" y="2714625"/>
                  <a:ext cx="33337" cy="206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97" name="Rectangle 628">
                  <a:extLst>
                    <a:ext uri="{FF2B5EF4-FFF2-40B4-BE49-F238E27FC236}">
                      <a16:creationId xmlns:a16="http://schemas.microsoft.com/office/drawing/2014/main" id="{42A8A97A-34D1-006E-926C-1F376E6828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316663" y="2697163"/>
                  <a:ext cx="26987" cy="285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98" name="Oval 629">
                  <a:extLst>
                    <a:ext uri="{FF2B5EF4-FFF2-40B4-BE49-F238E27FC236}">
                      <a16:creationId xmlns:a16="http://schemas.microsoft.com/office/drawing/2014/main" id="{E95F8057-E4C0-0A0D-B2EC-9AB1FE4C133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035925" y="3408363"/>
                  <a:ext cx="250825" cy="247650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99" name="Freeform 630">
                  <a:extLst>
                    <a:ext uri="{FF2B5EF4-FFF2-40B4-BE49-F238E27FC236}">
                      <a16:creationId xmlns:a16="http://schemas.microsoft.com/office/drawing/2014/main" id="{65DB3466-BB04-241A-963C-60586DECC5F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108950" y="3457575"/>
                  <a:ext cx="114300" cy="92075"/>
                </a:xfrm>
                <a:custGeom>
                  <a:avLst/>
                  <a:gdLst>
                    <a:gd name="T0" fmla="*/ 73 w 84"/>
                    <a:gd name="T1" fmla="*/ 5 h 68"/>
                    <a:gd name="T2" fmla="*/ 80 w 84"/>
                    <a:gd name="T3" fmla="*/ 12 h 68"/>
                    <a:gd name="T4" fmla="*/ 80 w 84"/>
                    <a:gd name="T5" fmla="*/ 61 h 68"/>
                    <a:gd name="T6" fmla="*/ 75 w 84"/>
                    <a:gd name="T7" fmla="*/ 68 h 68"/>
                    <a:gd name="T8" fmla="*/ 7 w 84"/>
                    <a:gd name="T9" fmla="*/ 68 h 68"/>
                    <a:gd name="T10" fmla="*/ 0 w 84"/>
                    <a:gd name="T11" fmla="*/ 61 h 68"/>
                    <a:gd name="T12" fmla="*/ 0 w 84"/>
                    <a:gd name="T13" fmla="*/ 12 h 68"/>
                    <a:gd name="T14" fmla="*/ 7 w 84"/>
                    <a:gd name="T15" fmla="*/ 4 h 68"/>
                    <a:gd name="T16" fmla="*/ 72 w 84"/>
                    <a:gd name="T17" fmla="*/ 4 h 68"/>
                    <a:gd name="T18" fmla="*/ 75 w 84"/>
                    <a:gd name="T19" fmla="*/ 0 h 68"/>
                    <a:gd name="T20" fmla="*/ 7 w 84"/>
                    <a:gd name="T21" fmla="*/ 0 h 68"/>
                    <a:gd name="T22" fmla="*/ 0 w 84"/>
                    <a:gd name="T23" fmla="*/ 12 h 68"/>
                    <a:gd name="T24" fmla="*/ 0 w 84"/>
                    <a:gd name="T25" fmla="*/ 61 h 68"/>
                    <a:gd name="T26" fmla="*/ 7 w 84"/>
                    <a:gd name="T27" fmla="*/ 68 h 68"/>
                    <a:gd name="T28" fmla="*/ 75 w 84"/>
                    <a:gd name="T29" fmla="*/ 68 h 68"/>
                    <a:gd name="T30" fmla="*/ 84 w 84"/>
                    <a:gd name="T31" fmla="*/ 61 h 68"/>
                    <a:gd name="T32" fmla="*/ 84 w 84"/>
                    <a:gd name="T33" fmla="*/ 12 h 68"/>
                    <a:gd name="T34" fmla="*/ 75 w 84"/>
                    <a:gd name="T35" fmla="*/ 0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84" h="68">
                      <a:moveTo>
                        <a:pt x="73" y="5"/>
                      </a:moveTo>
                      <a:cubicBezTo>
                        <a:pt x="76" y="5"/>
                        <a:pt x="80" y="9"/>
                        <a:pt x="80" y="12"/>
                      </a:cubicBezTo>
                      <a:cubicBezTo>
                        <a:pt x="80" y="61"/>
                        <a:pt x="80" y="61"/>
                        <a:pt x="80" y="61"/>
                      </a:cubicBezTo>
                      <a:cubicBezTo>
                        <a:pt x="80" y="64"/>
                        <a:pt x="78" y="68"/>
                        <a:pt x="75" y="68"/>
                      </a:cubicBezTo>
                      <a:cubicBezTo>
                        <a:pt x="7" y="68"/>
                        <a:pt x="7" y="68"/>
                        <a:pt x="7" y="68"/>
                      </a:cubicBezTo>
                      <a:cubicBezTo>
                        <a:pt x="4" y="68"/>
                        <a:pt x="0" y="64"/>
                        <a:pt x="0" y="61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9"/>
                        <a:pt x="4" y="4"/>
                        <a:pt x="7" y="4"/>
                      </a:cubicBezTo>
                      <a:cubicBezTo>
                        <a:pt x="72" y="4"/>
                        <a:pt x="72" y="4"/>
                        <a:pt x="72" y="4"/>
                      </a:cubicBezTo>
                      <a:moveTo>
                        <a:pt x="75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7"/>
                        <a:pt x="0" y="12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0" y="66"/>
                        <a:pt x="3" y="68"/>
                        <a:pt x="7" y="68"/>
                      </a:cubicBezTo>
                      <a:cubicBezTo>
                        <a:pt x="75" y="68"/>
                        <a:pt x="75" y="68"/>
                        <a:pt x="75" y="68"/>
                      </a:cubicBezTo>
                      <a:cubicBezTo>
                        <a:pt x="80" y="68"/>
                        <a:pt x="84" y="66"/>
                        <a:pt x="84" y="61"/>
                      </a:cubicBezTo>
                      <a:cubicBezTo>
                        <a:pt x="84" y="12"/>
                        <a:pt x="84" y="12"/>
                        <a:pt x="84" y="12"/>
                      </a:cubicBezTo>
                      <a:cubicBezTo>
                        <a:pt x="84" y="7"/>
                        <a:pt x="80" y="0"/>
                        <a:pt x="75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00" name="Freeform 631">
                  <a:extLst>
                    <a:ext uri="{FF2B5EF4-FFF2-40B4-BE49-F238E27FC236}">
                      <a16:creationId xmlns:a16="http://schemas.microsoft.com/office/drawing/2014/main" id="{D9325940-1A9A-9DC2-54C4-BBD54B571E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81963" y="3560763"/>
                  <a:ext cx="168275" cy="38100"/>
                </a:xfrm>
                <a:custGeom>
                  <a:avLst/>
                  <a:gdLst>
                    <a:gd name="T0" fmla="*/ 121 w 124"/>
                    <a:gd name="T1" fmla="*/ 18 h 28"/>
                    <a:gd name="T2" fmla="*/ 105 w 124"/>
                    <a:gd name="T3" fmla="*/ 1 h 28"/>
                    <a:gd name="T4" fmla="*/ 99 w 124"/>
                    <a:gd name="T5" fmla="*/ 0 h 28"/>
                    <a:gd name="T6" fmla="*/ 23 w 124"/>
                    <a:gd name="T7" fmla="*/ 0 h 28"/>
                    <a:gd name="T8" fmla="*/ 18 w 124"/>
                    <a:gd name="T9" fmla="*/ 1 h 28"/>
                    <a:gd name="T10" fmla="*/ 2 w 124"/>
                    <a:gd name="T11" fmla="*/ 18 h 28"/>
                    <a:gd name="T12" fmla="*/ 0 w 124"/>
                    <a:gd name="T13" fmla="*/ 23 h 28"/>
                    <a:gd name="T14" fmla="*/ 0 w 124"/>
                    <a:gd name="T15" fmla="*/ 25 h 28"/>
                    <a:gd name="T16" fmla="*/ 4 w 124"/>
                    <a:gd name="T17" fmla="*/ 28 h 28"/>
                    <a:gd name="T18" fmla="*/ 119 w 124"/>
                    <a:gd name="T19" fmla="*/ 28 h 28"/>
                    <a:gd name="T20" fmla="*/ 124 w 124"/>
                    <a:gd name="T21" fmla="*/ 25 h 28"/>
                    <a:gd name="T22" fmla="*/ 124 w 124"/>
                    <a:gd name="T23" fmla="*/ 23 h 28"/>
                    <a:gd name="T24" fmla="*/ 121 w 124"/>
                    <a:gd name="T25" fmla="*/ 18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24" h="28">
                      <a:moveTo>
                        <a:pt x="121" y="18"/>
                      </a:moveTo>
                      <a:cubicBezTo>
                        <a:pt x="105" y="1"/>
                        <a:pt x="105" y="1"/>
                        <a:pt x="105" y="1"/>
                      </a:cubicBezTo>
                      <a:cubicBezTo>
                        <a:pt x="104" y="0"/>
                        <a:pt x="101" y="0"/>
                        <a:pt x="99" y="0"/>
                      </a:cubicBezTo>
                      <a:cubicBezTo>
                        <a:pt x="23" y="0"/>
                        <a:pt x="23" y="0"/>
                        <a:pt x="23" y="0"/>
                      </a:cubicBezTo>
                      <a:cubicBezTo>
                        <a:pt x="22" y="0"/>
                        <a:pt x="19" y="0"/>
                        <a:pt x="18" y="1"/>
                      </a:cubicBezTo>
                      <a:cubicBezTo>
                        <a:pt x="2" y="18"/>
                        <a:pt x="2" y="18"/>
                        <a:pt x="2" y="18"/>
                      </a:cubicBezTo>
                      <a:cubicBezTo>
                        <a:pt x="1" y="20"/>
                        <a:pt x="0" y="22"/>
                        <a:pt x="0" y="23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7"/>
                        <a:pt x="2" y="28"/>
                        <a:pt x="4" y="28"/>
                      </a:cubicBezTo>
                      <a:cubicBezTo>
                        <a:pt x="119" y="28"/>
                        <a:pt x="119" y="28"/>
                        <a:pt x="119" y="28"/>
                      </a:cubicBezTo>
                      <a:cubicBezTo>
                        <a:pt x="120" y="28"/>
                        <a:pt x="124" y="27"/>
                        <a:pt x="124" y="25"/>
                      </a:cubicBezTo>
                      <a:cubicBezTo>
                        <a:pt x="124" y="23"/>
                        <a:pt x="124" y="23"/>
                        <a:pt x="124" y="23"/>
                      </a:cubicBezTo>
                      <a:cubicBezTo>
                        <a:pt x="124" y="22"/>
                        <a:pt x="122" y="19"/>
                        <a:pt x="121" y="18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01" name="Rectangle 632">
                  <a:extLst>
                    <a:ext uri="{FF2B5EF4-FFF2-40B4-BE49-F238E27FC236}">
                      <a16:creationId xmlns:a16="http://schemas.microsoft.com/office/drawing/2014/main" id="{D3AA748A-F477-29FB-9F6A-6B1BF44D0E8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158163" y="3473450"/>
                  <a:ext cx="49212" cy="222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02" name="Rectangle 633">
                  <a:extLst>
                    <a:ext uri="{FF2B5EF4-FFF2-40B4-BE49-F238E27FC236}">
                      <a16:creationId xmlns:a16="http://schemas.microsoft.com/office/drawing/2014/main" id="{852BD44E-0664-7197-3C70-953A133E67B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158163" y="3489325"/>
                  <a:ext cx="49212" cy="222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03" name="Rectangle 634">
                  <a:extLst>
                    <a:ext uri="{FF2B5EF4-FFF2-40B4-BE49-F238E27FC236}">
                      <a16:creationId xmlns:a16="http://schemas.microsoft.com/office/drawing/2014/main" id="{E8C70AA1-9BDD-BC64-76D5-5C9F604CC5A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158163" y="3506788"/>
                  <a:ext cx="49212" cy="206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04" name="Rectangle 635">
                  <a:extLst>
                    <a:ext uri="{FF2B5EF4-FFF2-40B4-BE49-F238E27FC236}">
                      <a16:creationId xmlns:a16="http://schemas.microsoft.com/office/drawing/2014/main" id="{F6B0CFE1-35C3-21C7-3948-9831FC7F508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120063" y="3484563"/>
                  <a:ext cx="38100" cy="31750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05" name="Oval 636">
                  <a:extLst>
                    <a:ext uri="{FF2B5EF4-FFF2-40B4-BE49-F238E27FC236}">
                      <a16:creationId xmlns:a16="http://schemas.microsoft.com/office/drawing/2014/main" id="{BAF594B0-3797-370C-C32D-38DCFFE719F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175375" y="3260725"/>
                  <a:ext cx="161925" cy="16192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06" name="Freeform 637">
                  <a:extLst>
                    <a:ext uri="{FF2B5EF4-FFF2-40B4-BE49-F238E27FC236}">
                      <a16:creationId xmlns:a16="http://schemas.microsoft.com/office/drawing/2014/main" id="{9D6753E2-E881-7859-716D-13EE1EAF5B4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224588" y="3292475"/>
                  <a:ext cx="69850" cy="66675"/>
                </a:xfrm>
                <a:custGeom>
                  <a:avLst/>
                  <a:gdLst>
                    <a:gd name="T0" fmla="*/ 48 w 52"/>
                    <a:gd name="T1" fmla="*/ 2 h 48"/>
                    <a:gd name="T2" fmla="*/ 52 w 52"/>
                    <a:gd name="T3" fmla="*/ 7 h 48"/>
                    <a:gd name="T4" fmla="*/ 52 w 52"/>
                    <a:gd name="T5" fmla="*/ 39 h 48"/>
                    <a:gd name="T6" fmla="*/ 48 w 52"/>
                    <a:gd name="T7" fmla="*/ 40 h 48"/>
                    <a:gd name="T8" fmla="*/ 3 w 52"/>
                    <a:gd name="T9" fmla="*/ 40 h 48"/>
                    <a:gd name="T10" fmla="*/ 0 w 52"/>
                    <a:gd name="T11" fmla="*/ 39 h 48"/>
                    <a:gd name="T12" fmla="*/ 0 w 52"/>
                    <a:gd name="T13" fmla="*/ 7 h 48"/>
                    <a:gd name="T14" fmla="*/ 3 w 52"/>
                    <a:gd name="T15" fmla="*/ 0 h 48"/>
                    <a:gd name="T16" fmla="*/ 48 w 52"/>
                    <a:gd name="T17" fmla="*/ 0 h 48"/>
                    <a:gd name="T18" fmla="*/ 48 w 52"/>
                    <a:gd name="T19" fmla="*/ 0 h 48"/>
                    <a:gd name="T20" fmla="*/ 3 w 52"/>
                    <a:gd name="T21" fmla="*/ 0 h 48"/>
                    <a:gd name="T22" fmla="*/ 0 w 52"/>
                    <a:gd name="T23" fmla="*/ 7 h 48"/>
                    <a:gd name="T24" fmla="*/ 0 w 52"/>
                    <a:gd name="T25" fmla="*/ 39 h 48"/>
                    <a:gd name="T26" fmla="*/ 3 w 52"/>
                    <a:gd name="T27" fmla="*/ 48 h 48"/>
                    <a:gd name="T28" fmla="*/ 48 w 52"/>
                    <a:gd name="T29" fmla="*/ 48 h 48"/>
                    <a:gd name="T30" fmla="*/ 52 w 52"/>
                    <a:gd name="T31" fmla="*/ 39 h 48"/>
                    <a:gd name="T32" fmla="*/ 52 w 52"/>
                    <a:gd name="T33" fmla="*/ 7 h 48"/>
                    <a:gd name="T34" fmla="*/ 48 w 52"/>
                    <a:gd name="T35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2" h="48">
                      <a:moveTo>
                        <a:pt x="48" y="2"/>
                      </a:moveTo>
                      <a:cubicBezTo>
                        <a:pt x="50" y="2"/>
                        <a:pt x="52" y="5"/>
                        <a:pt x="52" y="7"/>
                      </a:cubicBezTo>
                      <a:cubicBezTo>
                        <a:pt x="52" y="39"/>
                        <a:pt x="52" y="39"/>
                        <a:pt x="52" y="39"/>
                      </a:cubicBezTo>
                      <a:cubicBezTo>
                        <a:pt x="52" y="41"/>
                        <a:pt x="49" y="40"/>
                        <a:pt x="48" y="40"/>
                      </a:cubicBezTo>
                      <a:cubicBezTo>
                        <a:pt x="3" y="40"/>
                        <a:pt x="3" y="40"/>
                        <a:pt x="3" y="40"/>
                      </a:cubicBezTo>
                      <a:cubicBezTo>
                        <a:pt x="1" y="40"/>
                        <a:pt x="0" y="41"/>
                        <a:pt x="0" y="39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5"/>
                        <a:pt x="1" y="0"/>
                        <a:pt x="3" y="0"/>
                      </a:cubicBezTo>
                      <a:cubicBezTo>
                        <a:pt x="48" y="0"/>
                        <a:pt x="48" y="0"/>
                        <a:pt x="48" y="0"/>
                      </a:cubicBezTo>
                      <a:moveTo>
                        <a:pt x="48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0" y="0"/>
                        <a:pt x="0" y="4"/>
                        <a:pt x="0" y="7"/>
                      </a:cubicBezTo>
                      <a:cubicBezTo>
                        <a:pt x="0" y="39"/>
                        <a:pt x="0" y="39"/>
                        <a:pt x="0" y="39"/>
                      </a:cubicBezTo>
                      <a:cubicBezTo>
                        <a:pt x="0" y="42"/>
                        <a:pt x="0" y="48"/>
                        <a:pt x="3" y="48"/>
                      </a:cubicBezTo>
                      <a:cubicBezTo>
                        <a:pt x="48" y="48"/>
                        <a:pt x="48" y="48"/>
                        <a:pt x="48" y="48"/>
                      </a:cubicBezTo>
                      <a:cubicBezTo>
                        <a:pt x="51" y="48"/>
                        <a:pt x="52" y="42"/>
                        <a:pt x="52" y="39"/>
                      </a:cubicBezTo>
                      <a:cubicBezTo>
                        <a:pt x="52" y="7"/>
                        <a:pt x="52" y="7"/>
                        <a:pt x="52" y="7"/>
                      </a:cubicBezTo>
                      <a:cubicBezTo>
                        <a:pt x="52" y="4"/>
                        <a:pt x="51" y="0"/>
                        <a:pt x="48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07" name="Freeform 638">
                  <a:extLst>
                    <a:ext uri="{FF2B5EF4-FFF2-40B4-BE49-F238E27FC236}">
                      <a16:creationId xmlns:a16="http://schemas.microsoft.com/office/drawing/2014/main" id="{3BBA8B1C-8AAE-181B-A122-E8CFC556B6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02363" y="3359150"/>
                  <a:ext cx="114300" cy="26988"/>
                </a:xfrm>
                <a:custGeom>
                  <a:avLst/>
                  <a:gdLst>
                    <a:gd name="T0" fmla="*/ 81 w 84"/>
                    <a:gd name="T1" fmla="*/ 12 h 20"/>
                    <a:gd name="T2" fmla="*/ 70 w 84"/>
                    <a:gd name="T3" fmla="*/ 1 h 20"/>
                    <a:gd name="T4" fmla="*/ 66 w 84"/>
                    <a:gd name="T5" fmla="*/ 0 h 20"/>
                    <a:gd name="T6" fmla="*/ 17 w 84"/>
                    <a:gd name="T7" fmla="*/ 0 h 20"/>
                    <a:gd name="T8" fmla="*/ 13 w 84"/>
                    <a:gd name="T9" fmla="*/ 1 h 20"/>
                    <a:gd name="T10" fmla="*/ 2 w 84"/>
                    <a:gd name="T11" fmla="*/ 13 h 20"/>
                    <a:gd name="T12" fmla="*/ 0 w 84"/>
                    <a:gd name="T13" fmla="*/ 16 h 20"/>
                    <a:gd name="T14" fmla="*/ 0 w 84"/>
                    <a:gd name="T15" fmla="*/ 17 h 20"/>
                    <a:gd name="T16" fmla="*/ 4 w 84"/>
                    <a:gd name="T17" fmla="*/ 20 h 20"/>
                    <a:gd name="T18" fmla="*/ 79 w 84"/>
                    <a:gd name="T19" fmla="*/ 20 h 20"/>
                    <a:gd name="T20" fmla="*/ 84 w 84"/>
                    <a:gd name="T21" fmla="*/ 17 h 20"/>
                    <a:gd name="T22" fmla="*/ 84 w 84"/>
                    <a:gd name="T23" fmla="*/ 16 h 20"/>
                    <a:gd name="T24" fmla="*/ 81 w 84"/>
                    <a:gd name="T25" fmla="*/ 12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84" h="20">
                      <a:moveTo>
                        <a:pt x="81" y="12"/>
                      </a:moveTo>
                      <a:cubicBezTo>
                        <a:pt x="70" y="1"/>
                        <a:pt x="70" y="1"/>
                        <a:pt x="70" y="1"/>
                      </a:cubicBezTo>
                      <a:cubicBezTo>
                        <a:pt x="70" y="0"/>
                        <a:pt x="67" y="0"/>
                        <a:pt x="66" y="0"/>
                      </a:cubicBez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6" y="0"/>
                        <a:pt x="14" y="0"/>
                        <a:pt x="13" y="1"/>
                      </a:cubicBezTo>
                      <a:cubicBezTo>
                        <a:pt x="2" y="13"/>
                        <a:pt x="2" y="13"/>
                        <a:pt x="2" y="13"/>
                      </a:cubicBezTo>
                      <a:cubicBezTo>
                        <a:pt x="2" y="13"/>
                        <a:pt x="0" y="15"/>
                        <a:pt x="0" y="16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18"/>
                        <a:pt x="3" y="20"/>
                        <a:pt x="4" y="20"/>
                      </a:cubicBezTo>
                      <a:cubicBezTo>
                        <a:pt x="79" y="20"/>
                        <a:pt x="79" y="20"/>
                        <a:pt x="79" y="20"/>
                      </a:cubicBezTo>
                      <a:cubicBezTo>
                        <a:pt x="80" y="20"/>
                        <a:pt x="84" y="18"/>
                        <a:pt x="84" y="17"/>
                      </a:cubicBezTo>
                      <a:cubicBezTo>
                        <a:pt x="84" y="16"/>
                        <a:pt x="84" y="16"/>
                        <a:pt x="84" y="16"/>
                      </a:cubicBezTo>
                      <a:cubicBezTo>
                        <a:pt x="84" y="15"/>
                        <a:pt x="82" y="13"/>
                        <a:pt x="81" y="1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08" name="Rectangle 639">
                  <a:extLst>
                    <a:ext uri="{FF2B5EF4-FFF2-40B4-BE49-F238E27FC236}">
                      <a16:creationId xmlns:a16="http://schemas.microsoft.com/office/drawing/2014/main" id="{A08818BA-EAF7-D9E5-E868-187D09715D0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256338" y="3298825"/>
                  <a:ext cx="28575" cy="222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09" name="Rectangle 640">
                  <a:extLst>
                    <a:ext uri="{FF2B5EF4-FFF2-40B4-BE49-F238E27FC236}">
                      <a16:creationId xmlns:a16="http://schemas.microsoft.com/office/drawing/2014/main" id="{8944890B-54E7-43A6-6855-CADF76C12B3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256338" y="3309938"/>
                  <a:ext cx="28575" cy="206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10" name="Rectangle 641">
                  <a:extLst>
                    <a:ext uri="{FF2B5EF4-FFF2-40B4-BE49-F238E27FC236}">
                      <a16:creationId xmlns:a16="http://schemas.microsoft.com/office/drawing/2014/main" id="{DE8E1A8F-0389-AB64-2B0B-6C76BDC0E23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256338" y="3321050"/>
                  <a:ext cx="28575" cy="206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11" name="Rectangle 642">
                  <a:extLst>
                    <a:ext uri="{FF2B5EF4-FFF2-40B4-BE49-F238E27FC236}">
                      <a16:creationId xmlns:a16="http://schemas.microsoft.com/office/drawing/2014/main" id="{E823720E-7E1A-EDDC-09B2-C77B9AF89E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229350" y="3309938"/>
                  <a:ext cx="26987" cy="206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12" name="Oval 643">
                  <a:extLst>
                    <a:ext uri="{FF2B5EF4-FFF2-40B4-BE49-F238E27FC236}">
                      <a16:creationId xmlns:a16="http://schemas.microsoft.com/office/drawing/2014/main" id="{7566BB06-2E13-F778-1469-CC4FD84FC0A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054975" y="2190750"/>
                  <a:ext cx="169862" cy="169863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13" name="Freeform 644">
                  <a:extLst>
                    <a:ext uri="{FF2B5EF4-FFF2-40B4-BE49-F238E27FC236}">
                      <a16:creationId xmlns:a16="http://schemas.microsoft.com/office/drawing/2014/main" id="{333B8B01-EA43-D272-2422-1DBF8B852F6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102600" y="2228850"/>
                  <a:ext cx="82550" cy="65088"/>
                </a:xfrm>
                <a:custGeom>
                  <a:avLst/>
                  <a:gdLst>
                    <a:gd name="T0" fmla="*/ 50 w 60"/>
                    <a:gd name="T1" fmla="*/ 1 h 48"/>
                    <a:gd name="T2" fmla="*/ 56 w 60"/>
                    <a:gd name="T3" fmla="*/ 6 h 48"/>
                    <a:gd name="T4" fmla="*/ 56 w 60"/>
                    <a:gd name="T5" fmla="*/ 39 h 48"/>
                    <a:gd name="T6" fmla="*/ 52 w 60"/>
                    <a:gd name="T7" fmla="*/ 40 h 48"/>
                    <a:gd name="T8" fmla="*/ 6 w 60"/>
                    <a:gd name="T9" fmla="*/ 40 h 48"/>
                    <a:gd name="T10" fmla="*/ 0 w 60"/>
                    <a:gd name="T11" fmla="*/ 39 h 48"/>
                    <a:gd name="T12" fmla="*/ 0 w 60"/>
                    <a:gd name="T13" fmla="*/ 6 h 48"/>
                    <a:gd name="T14" fmla="*/ 6 w 60"/>
                    <a:gd name="T15" fmla="*/ 0 h 48"/>
                    <a:gd name="T16" fmla="*/ 48 w 60"/>
                    <a:gd name="T17" fmla="*/ 0 h 48"/>
                    <a:gd name="T18" fmla="*/ 52 w 60"/>
                    <a:gd name="T19" fmla="*/ 0 h 48"/>
                    <a:gd name="T20" fmla="*/ 6 w 60"/>
                    <a:gd name="T21" fmla="*/ 0 h 48"/>
                    <a:gd name="T22" fmla="*/ 0 w 60"/>
                    <a:gd name="T23" fmla="*/ 6 h 48"/>
                    <a:gd name="T24" fmla="*/ 0 w 60"/>
                    <a:gd name="T25" fmla="*/ 39 h 48"/>
                    <a:gd name="T26" fmla="*/ 6 w 60"/>
                    <a:gd name="T27" fmla="*/ 48 h 48"/>
                    <a:gd name="T28" fmla="*/ 52 w 60"/>
                    <a:gd name="T29" fmla="*/ 48 h 48"/>
                    <a:gd name="T30" fmla="*/ 60 w 60"/>
                    <a:gd name="T31" fmla="*/ 39 h 48"/>
                    <a:gd name="T32" fmla="*/ 60 w 60"/>
                    <a:gd name="T33" fmla="*/ 6 h 48"/>
                    <a:gd name="T34" fmla="*/ 52 w 60"/>
                    <a:gd name="T35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0" h="48">
                      <a:moveTo>
                        <a:pt x="50" y="1"/>
                      </a:moveTo>
                      <a:cubicBezTo>
                        <a:pt x="52" y="1"/>
                        <a:pt x="56" y="4"/>
                        <a:pt x="56" y="6"/>
                      </a:cubicBezTo>
                      <a:cubicBezTo>
                        <a:pt x="56" y="39"/>
                        <a:pt x="56" y="39"/>
                        <a:pt x="56" y="39"/>
                      </a:cubicBezTo>
                      <a:cubicBezTo>
                        <a:pt x="56" y="41"/>
                        <a:pt x="54" y="40"/>
                        <a:pt x="52" y="40"/>
                      </a:cubicBezTo>
                      <a:cubicBezTo>
                        <a:pt x="6" y="40"/>
                        <a:pt x="6" y="40"/>
                        <a:pt x="6" y="40"/>
                      </a:cubicBezTo>
                      <a:cubicBezTo>
                        <a:pt x="4" y="40"/>
                        <a:pt x="0" y="41"/>
                        <a:pt x="0" y="39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4"/>
                        <a:pt x="4" y="0"/>
                        <a:pt x="6" y="0"/>
                      </a:cubicBezTo>
                      <a:cubicBezTo>
                        <a:pt x="48" y="0"/>
                        <a:pt x="48" y="0"/>
                        <a:pt x="48" y="0"/>
                      </a:cubicBezTo>
                      <a:moveTo>
                        <a:pt x="52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39"/>
                        <a:pt x="0" y="39"/>
                        <a:pt x="0" y="39"/>
                      </a:cubicBezTo>
                      <a:cubicBezTo>
                        <a:pt x="0" y="42"/>
                        <a:pt x="3" y="48"/>
                        <a:pt x="6" y="48"/>
                      </a:cubicBezTo>
                      <a:cubicBezTo>
                        <a:pt x="52" y="48"/>
                        <a:pt x="52" y="48"/>
                        <a:pt x="52" y="48"/>
                      </a:cubicBezTo>
                      <a:cubicBezTo>
                        <a:pt x="55" y="48"/>
                        <a:pt x="60" y="42"/>
                        <a:pt x="60" y="39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3"/>
                        <a:pt x="55" y="0"/>
                        <a:pt x="52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14" name="Freeform 645">
                  <a:extLst>
                    <a:ext uri="{FF2B5EF4-FFF2-40B4-BE49-F238E27FC236}">
                      <a16:creationId xmlns:a16="http://schemas.microsoft.com/office/drawing/2014/main" id="{AF136647-4661-AC13-201D-8AA71E8AB1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86725" y="2293938"/>
                  <a:ext cx="111125" cy="26988"/>
                </a:xfrm>
                <a:custGeom>
                  <a:avLst/>
                  <a:gdLst>
                    <a:gd name="T0" fmla="*/ 80 w 81"/>
                    <a:gd name="T1" fmla="*/ 14 h 20"/>
                    <a:gd name="T2" fmla="*/ 70 w 81"/>
                    <a:gd name="T3" fmla="*/ 2 h 20"/>
                    <a:gd name="T4" fmla="*/ 67 w 81"/>
                    <a:gd name="T5" fmla="*/ 0 h 20"/>
                    <a:gd name="T6" fmla="*/ 15 w 81"/>
                    <a:gd name="T7" fmla="*/ 0 h 20"/>
                    <a:gd name="T8" fmla="*/ 11 w 81"/>
                    <a:gd name="T9" fmla="*/ 2 h 20"/>
                    <a:gd name="T10" fmla="*/ 1 w 81"/>
                    <a:gd name="T11" fmla="*/ 14 h 20"/>
                    <a:gd name="T12" fmla="*/ 0 w 81"/>
                    <a:gd name="T13" fmla="*/ 17 h 20"/>
                    <a:gd name="T14" fmla="*/ 0 w 81"/>
                    <a:gd name="T15" fmla="*/ 18 h 20"/>
                    <a:gd name="T16" fmla="*/ 2 w 81"/>
                    <a:gd name="T17" fmla="*/ 20 h 20"/>
                    <a:gd name="T18" fmla="*/ 80 w 81"/>
                    <a:gd name="T19" fmla="*/ 20 h 20"/>
                    <a:gd name="T20" fmla="*/ 80 w 81"/>
                    <a:gd name="T21" fmla="*/ 18 h 20"/>
                    <a:gd name="T22" fmla="*/ 80 w 81"/>
                    <a:gd name="T23" fmla="*/ 17 h 20"/>
                    <a:gd name="T24" fmla="*/ 80 w 81"/>
                    <a:gd name="T25" fmla="*/ 14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81" h="20">
                      <a:moveTo>
                        <a:pt x="80" y="14"/>
                      </a:moveTo>
                      <a:cubicBezTo>
                        <a:pt x="70" y="2"/>
                        <a:pt x="70" y="2"/>
                        <a:pt x="70" y="2"/>
                      </a:cubicBezTo>
                      <a:cubicBezTo>
                        <a:pt x="69" y="1"/>
                        <a:pt x="68" y="0"/>
                        <a:pt x="67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4" y="0"/>
                        <a:pt x="12" y="1"/>
                        <a:pt x="11" y="2"/>
                      </a:cubicBezTo>
                      <a:cubicBezTo>
                        <a:pt x="1" y="14"/>
                        <a:pt x="1" y="14"/>
                        <a:pt x="1" y="14"/>
                      </a:cubicBezTo>
                      <a:cubicBezTo>
                        <a:pt x="1" y="15"/>
                        <a:pt x="0" y="16"/>
                        <a:pt x="0" y="17"/>
                      </a:cubicBezTo>
                      <a:cubicBezTo>
                        <a:pt x="0" y="18"/>
                        <a:pt x="0" y="18"/>
                        <a:pt x="0" y="18"/>
                      </a:cubicBezTo>
                      <a:cubicBezTo>
                        <a:pt x="0" y="20"/>
                        <a:pt x="1" y="20"/>
                        <a:pt x="2" y="20"/>
                      </a:cubicBezTo>
                      <a:cubicBezTo>
                        <a:pt x="80" y="20"/>
                        <a:pt x="80" y="20"/>
                        <a:pt x="80" y="20"/>
                      </a:cubicBezTo>
                      <a:cubicBezTo>
                        <a:pt x="81" y="20"/>
                        <a:pt x="80" y="20"/>
                        <a:pt x="80" y="18"/>
                      </a:cubicBezTo>
                      <a:cubicBezTo>
                        <a:pt x="80" y="17"/>
                        <a:pt x="80" y="17"/>
                        <a:pt x="80" y="17"/>
                      </a:cubicBezTo>
                      <a:cubicBezTo>
                        <a:pt x="80" y="16"/>
                        <a:pt x="80" y="15"/>
                        <a:pt x="80" y="1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15" name="Rectangle 646">
                  <a:extLst>
                    <a:ext uri="{FF2B5EF4-FFF2-40B4-BE49-F238E27FC236}">
                      <a16:creationId xmlns:a16="http://schemas.microsoft.com/office/drawing/2014/main" id="{D4563868-6F51-7A81-2578-103FC7E7EA4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135938" y="2233613"/>
                  <a:ext cx="33337" cy="222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16" name="Rectangle 647">
                  <a:extLst>
                    <a:ext uri="{FF2B5EF4-FFF2-40B4-BE49-F238E27FC236}">
                      <a16:creationId xmlns:a16="http://schemas.microsoft.com/office/drawing/2014/main" id="{2BC30657-97D8-7173-FBE0-3C8169BAB28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135938" y="2244725"/>
                  <a:ext cx="33337" cy="222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17" name="Rectangle 648">
                  <a:extLst>
                    <a:ext uri="{FF2B5EF4-FFF2-40B4-BE49-F238E27FC236}">
                      <a16:creationId xmlns:a16="http://schemas.microsoft.com/office/drawing/2014/main" id="{8192B345-F3DF-7052-95FD-92491F5A5D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135938" y="2255838"/>
                  <a:ext cx="33337" cy="222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18" name="Rectangle 649">
                  <a:extLst>
                    <a:ext uri="{FF2B5EF4-FFF2-40B4-BE49-F238E27FC236}">
                      <a16:creationId xmlns:a16="http://schemas.microsoft.com/office/drawing/2014/main" id="{0F941175-EA1A-4647-D330-877BD00F989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113713" y="2244725"/>
                  <a:ext cx="22225" cy="222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19" name="Oval 650">
                  <a:extLst>
                    <a:ext uri="{FF2B5EF4-FFF2-40B4-BE49-F238E27FC236}">
                      <a16:creationId xmlns:a16="http://schemas.microsoft.com/office/drawing/2014/main" id="{105AA5E3-1CC7-A234-2189-3240CF562E5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73875" y="4264025"/>
                  <a:ext cx="117475" cy="119063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20" name="Freeform 651">
                  <a:extLst>
                    <a:ext uri="{FF2B5EF4-FFF2-40B4-BE49-F238E27FC236}">
                      <a16:creationId xmlns:a16="http://schemas.microsoft.com/office/drawing/2014/main" id="{70C0D623-77CF-2D1F-0278-4B53E9F976F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907213" y="4286250"/>
                  <a:ext cx="60325" cy="49213"/>
                </a:xfrm>
                <a:custGeom>
                  <a:avLst/>
                  <a:gdLst>
                    <a:gd name="T0" fmla="*/ 37 w 44"/>
                    <a:gd name="T1" fmla="*/ 4 h 36"/>
                    <a:gd name="T2" fmla="*/ 40 w 44"/>
                    <a:gd name="T3" fmla="*/ 6 h 36"/>
                    <a:gd name="T4" fmla="*/ 40 w 44"/>
                    <a:gd name="T5" fmla="*/ 29 h 36"/>
                    <a:gd name="T6" fmla="*/ 36 w 44"/>
                    <a:gd name="T7" fmla="*/ 32 h 36"/>
                    <a:gd name="T8" fmla="*/ 4 w 44"/>
                    <a:gd name="T9" fmla="*/ 32 h 36"/>
                    <a:gd name="T10" fmla="*/ 0 w 44"/>
                    <a:gd name="T11" fmla="*/ 29 h 36"/>
                    <a:gd name="T12" fmla="*/ 0 w 44"/>
                    <a:gd name="T13" fmla="*/ 6 h 36"/>
                    <a:gd name="T14" fmla="*/ 4 w 44"/>
                    <a:gd name="T15" fmla="*/ 4 h 36"/>
                    <a:gd name="T16" fmla="*/ 36 w 44"/>
                    <a:gd name="T17" fmla="*/ 4 h 36"/>
                    <a:gd name="T18" fmla="*/ 36 w 44"/>
                    <a:gd name="T19" fmla="*/ 0 h 36"/>
                    <a:gd name="T20" fmla="*/ 4 w 44"/>
                    <a:gd name="T21" fmla="*/ 0 h 36"/>
                    <a:gd name="T22" fmla="*/ 0 w 44"/>
                    <a:gd name="T23" fmla="*/ 6 h 36"/>
                    <a:gd name="T24" fmla="*/ 0 w 44"/>
                    <a:gd name="T25" fmla="*/ 29 h 36"/>
                    <a:gd name="T26" fmla="*/ 4 w 44"/>
                    <a:gd name="T27" fmla="*/ 36 h 36"/>
                    <a:gd name="T28" fmla="*/ 36 w 44"/>
                    <a:gd name="T29" fmla="*/ 36 h 36"/>
                    <a:gd name="T30" fmla="*/ 44 w 44"/>
                    <a:gd name="T31" fmla="*/ 29 h 36"/>
                    <a:gd name="T32" fmla="*/ 44 w 44"/>
                    <a:gd name="T33" fmla="*/ 6 h 36"/>
                    <a:gd name="T34" fmla="*/ 36 w 44"/>
                    <a:gd name="T35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4" h="36">
                      <a:moveTo>
                        <a:pt x="37" y="4"/>
                      </a:moveTo>
                      <a:cubicBezTo>
                        <a:pt x="38" y="4"/>
                        <a:pt x="40" y="4"/>
                        <a:pt x="40" y="6"/>
                      </a:cubicBezTo>
                      <a:cubicBezTo>
                        <a:pt x="40" y="29"/>
                        <a:pt x="40" y="29"/>
                        <a:pt x="40" y="29"/>
                      </a:cubicBezTo>
                      <a:cubicBezTo>
                        <a:pt x="40" y="31"/>
                        <a:pt x="38" y="32"/>
                        <a:pt x="36" y="32"/>
                      </a:cubicBezTo>
                      <a:cubicBezTo>
                        <a:pt x="4" y="32"/>
                        <a:pt x="4" y="32"/>
                        <a:pt x="4" y="32"/>
                      </a:cubicBezTo>
                      <a:cubicBezTo>
                        <a:pt x="3" y="32"/>
                        <a:pt x="0" y="31"/>
                        <a:pt x="0" y="29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4"/>
                        <a:pt x="3" y="4"/>
                        <a:pt x="4" y="4"/>
                      </a:cubicBezTo>
                      <a:cubicBezTo>
                        <a:pt x="36" y="4"/>
                        <a:pt x="36" y="4"/>
                        <a:pt x="36" y="4"/>
                      </a:cubicBezTo>
                      <a:moveTo>
                        <a:pt x="3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2" y="0"/>
                        <a:pt x="0" y="4"/>
                        <a:pt x="0" y="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31"/>
                        <a:pt x="2" y="36"/>
                        <a:pt x="4" y="36"/>
                      </a:cubicBezTo>
                      <a:cubicBezTo>
                        <a:pt x="36" y="36"/>
                        <a:pt x="36" y="36"/>
                        <a:pt x="36" y="36"/>
                      </a:cubicBezTo>
                      <a:cubicBezTo>
                        <a:pt x="39" y="36"/>
                        <a:pt x="44" y="31"/>
                        <a:pt x="44" y="29"/>
                      </a:cubicBezTo>
                      <a:cubicBezTo>
                        <a:pt x="44" y="6"/>
                        <a:pt x="44" y="6"/>
                        <a:pt x="44" y="6"/>
                      </a:cubicBezTo>
                      <a:cubicBezTo>
                        <a:pt x="44" y="4"/>
                        <a:pt x="39" y="0"/>
                        <a:pt x="36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21" name="Freeform 652">
                  <a:extLst>
                    <a:ext uri="{FF2B5EF4-FFF2-40B4-BE49-F238E27FC236}">
                      <a16:creationId xmlns:a16="http://schemas.microsoft.com/office/drawing/2014/main" id="{E1FFF317-043C-95B3-D962-3BD8279A2B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96100" y="4335463"/>
                  <a:ext cx="82550" cy="19050"/>
                </a:xfrm>
                <a:custGeom>
                  <a:avLst/>
                  <a:gdLst>
                    <a:gd name="T0" fmla="*/ 57 w 60"/>
                    <a:gd name="T1" fmla="*/ 9 h 13"/>
                    <a:gd name="T2" fmla="*/ 50 w 60"/>
                    <a:gd name="T3" fmla="*/ 1 h 13"/>
                    <a:gd name="T4" fmla="*/ 46 w 60"/>
                    <a:gd name="T5" fmla="*/ 0 h 13"/>
                    <a:gd name="T6" fmla="*/ 10 w 60"/>
                    <a:gd name="T7" fmla="*/ 0 h 13"/>
                    <a:gd name="T8" fmla="*/ 8 w 60"/>
                    <a:gd name="T9" fmla="*/ 1 h 13"/>
                    <a:gd name="T10" fmla="*/ 1 w 60"/>
                    <a:gd name="T11" fmla="*/ 9 h 13"/>
                    <a:gd name="T12" fmla="*/ 0 w 60"/>
                    <a:gd name="T13" fmla="*/ 11 h 13"/>
                    <a:gd name="T14" fmla="*/ 0 w 60"/>
                    <a:gd name="T15" fmla="*/ 12 h 13"/>
                    <a:gd name="T16" fmla="*/ 1 w 60"/>
                    <a:gd name="T17" fmla="*/ 12 h 13"/>
                    <a:gd name="T18" fmla="*/ 55 w 60"/>
                    <a:gd name="T19" fmla="*/ 12 h 13"/>
                    <a:gd name="T20" fmla="*/ 60 w 60"/>
                    <a:gd name="T21" fmla="*/ 12 h 13"/>
                    <a:gd name="T22" fmla="*/ 60 w 60"/>
                    <a:gd name="T23" fmla="*/ 11 h 13"/>
                    <a:gd name="T24" fmla="*/ 57 w 60"/>
                    <a:gd name="T25" fmla="*/ 9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60" h="13">
                      <a:moveTo>
                        <a:pt x="57" y="9"/>
                      </a:moveTo>
                      <a:cubicBezTo>
                        <a:pt x="50" y="1"/>
                        <a:pt x="50" y="1"/>
                        <a:pt x="50" y="1"/>
                      </a:cubicBezTo>
                      <a:cubicBezTo>
                        <a:pt x="49" y="0"/>
                        <a:pt x="47" y="0"/>
                        <a:pt x="46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8" y="0"/>
                        <a:pt x="8" y="1"/>
                      </a:cubicBezTo>
                      <a:cubicBezTo>
                        <a:pt x="1" y="9"/>
                        <a:pt x="1" y="9"/>
                        <a:pt x="1" y="9"/>
                      </a:cubicBezTo>
                      <a:cubicBezTo>
                        <a:pt x="0" y="10"/>
                        <a:pt x="0" y="10"/>
                        <a:pt x="0" y="11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13"/>
                        <a:pt x="0" y="12"/>
                        <a:pt x="1" y="12"/>
                      </a:cubicBezTo>
                      <a:cubicBezTo>
                        <a:pt x="55" y="12"/>
                        <a:pt x="55" y="12"/>
                        <a:pt x="55" y="12"/>
                      </a:cubicBezTo>
                      <a:cubicBezTo>
                        <a:pt x="56" y="12"/>
                        <a:pt x="60" y="13"/>
                        <a:pt x="60" y="12"/>
                      </a:cubicBezTo>
                      <a:cubicBezTo>
                        <a:pt x="60" y="11"/>
                        <a:pt x="60" y="11"/>
                        <a:pt x="60" y="11"/>
                      </a:cubicBezTo>
                      <a:cubicBezTo>
                        <a:pt x="60" y="10"/>
                        <a:pt x="58" y="9"/>
                        <a:pt x="57" y="9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22" name="Rectangle 653">
                  <a:extLst>
                    <a:ext uri="{FF2B5EF4-FFF2-40B4-BE49-F238E27FC236}">
                      <a16:creationId xmlns:a16="http://schemas.microsoft.com/office/drawing/2014/main" id="{7CA827E4-8EC1-2E9D-94D9-9836202C6A0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34200" y="4292600"/>
                  <a:ext cx="15875" cy="222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23" name="Rectangle 654">
                  <a:extLst>
                    <a:ext uri="{FF2B5EF4-FFF2-40B4-BE49-F238E27FC236}">
                      <a16:creationId xmlns:a16="http://schemas.microsoft.com/office/drawing/2014/main" id="{AE4B1C8D-8438-EFA3-913D-FD564170B0F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34200" y="4297363"/>
                  <a:ext cx="15875" cy="222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24" name="Rectangle 655">
                  <a:extLst>
                    <a:ext uri="{FF2B5EF4-FFF2-40B4-BE49-F238E27FC236}">
                      <a16:creationId xmlns:a16="http://schemas.microsoft.com/office/drawing/2014/main" id="{A4A9BA58-CF83-0D15-554A-9B66742C60A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34200" y="4308475"/>
                  <a:ext cx="15875" cy="222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25" name="Rectangle 656">
                  <a:extLst>
                    <a:ext uri="{FF2B5EF4-FFF2-40B4-BE49-F238E27FC236}">
                      <a16:creationId xmlns:a16="http://schemas.microsoft.com/office/drawing/2014/main" id="{3785C1A6-3FBC-2FFF-61B2-9986C7AB995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11975" y="4297363"/>
                  <a:ext cx="17462" cy="222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26" name="Oval 657">
                  <a:extLst>
                    <a:ext uri="{FF2B5EF4-FFF2-40B4-BE49-F238E27FC236}">
                      <a16:creationId xmlns:a16="http://schemas.microsoft.com/office/drawing/2014/main" id="{6A369B5F-9EC5-5165-1099-5EBFB66F66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26200" y="4019550"/>
                  <a:ext cx="131762" cy="13017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    </a:t>
                  </a:r>
                </a:p>
              </p:txBody>
            </p:sp>
            <p:sp>
              <p:nvSpPr>
                <p:cNvPr id="727" name="Freeform 658">
                  <a:extLst>
                    <a:ext uri="{FF2B5EF4-FFF2-40B4-BE49-F238E27FC236}">
                      <a16:creationId xmlns:a16="http://schemas.microsoft.com/office/drawing/2014/main" id="{352B5D44-1F88-674D-EC6B-E9C479C559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75413" y="4038600"/>
                  <a:ext cx="31750" cy="98425"/>
                </a:xfrm>
                <a:custGeom>
                  <a:avLst/>
                  <a:gdLst>
                    <a:gd name="T0" fmla="*/ 22 w 23"/>
                    <a:gd name="T1" fmla="*/ 21 h 72"/>
                    <a:gd name="T2" fmla="*/ 21 w 23"/>
                    <a:gd name="T3" fmla="*/ 12 h 72"/>
                    <a:gd name="T4" fmla="*/ 14 w 23"/>
                    <a:gd name="T5" fmla="*/ 10 h 72"/>
                    <a:gd name="T6" fmla="*/ 14 w 23"/>
                    <a:gd name="T7" fmla="*/ 8 h 72"/>
                    <a:gd name="T8" fmla="*/ 14 w 23"/>
                    <a:gd name="T9" fmla="*/ 6 h 72"/>
                    <a:gd name="T10" fmla="*/ 14 w 23"/>
                    <a:gd name="T11" fmla="*/ 2 h 72"/>
                    <a:gd name="T12" fmla="*/ 7 w 23"/>
                    <a:gd name="T13" fmla="*/ 4 h 72"/>
                    <a:gd name="T14" fmla="*/ 7 w 23"/>
                    <a:gd name="T15" fmla="*/ 6 h 72"/>
                    <a:gd name="T16" fmla="*/ 8 w 23"/>
                    <a:gd name="T17" fmla="*/ 9 h 72"/>
                    <a:gd name="T18" fmla="*/ 4 w 23"/>
                    <a:gd name="T19" fmla="*/ 12 h 72"/>
                    <a:gd name="T20" fmla="*/ 1 w 23"/>
                    <a:gd name="T21" fmla="*/ 20 h 72"/>
                    <a:gd name="T22" fmla="*/ 0 w 23"/>
                    <a:gd name="T23" fmla="*/ 26 h 72"/>
                    <a:gd name="T24" fmla="*/ 1 w 23"/>
                    <a:gd name="T25" fmla="*/ 31 h 72"/>
                    <a:gd name="T26" fmla="*/ 1 w 23"/>
                    <a:gd name="T27" fmla="*/ 34 h 72"/>
                    <a:gd name="T28" fmla="*/ 4 w 23"/>
                    <a:gd name="T29" fmla="*/ 37 h 72"/>
                    <a:gd name="T30" fmla="*/ 5 w 23"/>
                    <a:gd name="T31" fmla="*/ 48 h 72"/>
                    <a:gd name="T32" fmla="*/ 5 w 23"/>
                    <a:gd name="T33" fmla="*/ 53 h 72"/>
                    <a:gd name="T34" fmla="*/ 5 w 23"/>
                    <a:gd name="T35" fmla="*/ 56 h 72"/>
                    <a:gd name="T36" fmla="*/ 6 w 23"/>
                    <a:gd name="T37" fmla="*/ 62 h 72"/>
                    <a:gd name="T38" fmla="*/ 5 w 23"/>
                    <a:gd name="T39" fmla="*/ 65 h 72"/>
                    <a:gd name="T40" fmla="*/ 6 w 23"/>
                    <a:gd name="T41" fmla="*/ 68 h 72"/>
                    <a:gd name="T42" fmla="*/ 7 w 23"/>
                    <a:gd name="T43" fmla="*/ 69 h 72"/>
                    <a:gd name="T44" fmla="*/ 5 w 23"/>
                    <a:gd name="T45" fmla="*/ 71 h 72"/>
                    <a:gd name="T46" fmla="*/ 11 w 23"/>
                    <a:gd name="T47" fmla="*/ 71 h 72"/>
                    <a:gd name="T48" fmla="*/ 11 w 23"/>
                    <a:gd name="T49" fmla="*/ 67 h 72"/>
                    <a:gd name="T50" fmla="*/ 11 w 23"/>
                    <a:gd name="T51" fmla="*/ 58 h 72"/>
                    <a:gd name="T52" fmla="*/ 11 w 23"/>
                    <a:gd name="T53" fmla="*/ 54 h 72"/>
                    <a:gd name="T54" fmla="*/ 12 w 23"/>
                    <a:gd name="T55" fmla="*/ 51 h 72"/>
                    <a:gd name="T56" fmla="*/ 12 w 23"/>
                    <a:gd name="T57" fmla="*/ 43 h 72"/>
                    <a:gd name="T58" fmla="*/ 12 w 23"/>
                    <a:gd name="T59" fmla="*/ 45 h 72"/>
                    <a:gd name="T60" fmla="*/ 13 w 23"/>
                    <a:gd name="T61" fmla="*/ 52 h 72"/>
                    <a:gd name="T62" fmla="*/ 13 w 23"/>
                    <a:gd name="T63" fmla="*/ 55 h 72"/>
                    <a:gd name="T64" fmla="*/ 12 w 23"/>
                    <a:gd name="T65" fmla="*/ 64 h 72"/>
                    <a:gd name="T66" fmla="*/ 13 w 23"/>
                    <a:gd name="T67" fmla="*/ 68 h 72"/>
                    <a:gd name="T68" fmla="*/ 13 w 23"/>
                    <a:gd name="T69" fmla="*/ 71 h 72"/>
                    <a:gd name="T70" fmla="*/ 17 w 23"/>
                    <a:gd name="T71" fmla="*/ 71 h 72"/>
                    <a:gd name="T72" fmla="*/ 17 w 23"/>
                    <a:gd name="T73" fmla="*/ 69 h 72"/>
                    <a:gd name="T74" fmla="*/ 17 w 23"/>
                    <a:gd name="T75" fmla="*/ 68 h 72"/>
                    <a:gd name="T76" fmla="*/ 18 w 23"/>
                    <a:gd name="T77" fmla="*/ 65 h 72"/>
                    <a:gd name="T78" fmla="*/ 18 w 23"/>
                    <a:gd name="T79" fmla="*/ 62 h 72"/>
                    <a:gd name="T80" fmla="*/ 18 w 23"/>
                    <a:gd name="T81" fmla="*/ 55 h 72"/>
                    <a:gd name="T82" fmla="*/ 18 w 23"/>
                    <a:gd name="T83" fmla="*/ 53 h 72"/>
                    <a:gd name="T84" fmla="*/ 18 w 23"/>
                    <a:gd name="T85" fmla="*/ 52 h 72"/>
                    <a:gd name="T86" fmla="*/ 19 w 23"/>
                    <a:gd name="T87" fmla="*/ 41 h 72"/>
                    <a:gd name="T88" fmla="*/ 19 w 23"/>
                    <a:gd name="T89" fmla="*/ 37 h 72"/>
                    <a:gd name="T90" fmla="*/ 21 w 23"/>
                    <a:gd name="T91" fmla="*/ 32 h 72"/>
                    <a:gd name="T92" fmla="*/ 23 w 23"/>
                    <a:gd name="T93" fmla="*/ 27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23" h="72">
                      <a:moveTo>
                        <a:pt x="23" y="25"/>
                      </a:move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3" y="24"/>
                        <a:pt x="22" y="22"/>
                        <a:pt x="22" y="21"/>
                      </a:cubicBezTo>
                      <a:cubicBezTo>
                        <a:pt x="22" y="20"/>
                        <a:pt x="22" y="19"/>
                        <a:pt x="22" y="18"/>
                      </a:cubicBezTo>
                      <a:cubicBezTo>
                        <a:pt x="22" y="17"/>
                        <a:pt x="22" y="15"/>
                        <a:pt x="21" y="14"/>
                      </a:cubicBezTo>
                      <a:cubicBezTo>
                        <a:pt x="21" y="13"/>
                        <a:pt x="21" y="12"/>
                        <a:pt x="21" y="12"/>
                      </a:cubicBezTo>
                      <a:cubicBezTo>
                        <a:pt x="20" y="11"/>
                        <a:pt x="18" y="11"/>
                        <a:pt x="18" y="11"/>
                      </a:cubicBezTo>
                      <a:cubicBezTo>
                        <a:pt x="17" y="11"/>
                        <a:pt x="15" y="10"/>
                        <a:pt x="15" y="10"/>
                      </a:cubicBezTo>
                      <a:cubicBezTo>
                        <a:pt x="15" y="10"/>
                        <a:pt x="14" y="10"/>
                        <a:pt x="14" y="10"/>
                      </a:cubicBezTo>
                      <a:cubicBezTo>
                        <a:pt x="14" y="9"/>
                        <a:pt x="14" y="9"/>
                        <a:pt x="14" y="9"/>
                      </a:cubicBezTo>
                      <a:cubicBezTo>
                        <a:pt x="14" y="9"/>
                        <a:pt x="14" y="9"/>
                        <a:pt x="14" y="9"/>
                      </a:cubicBezTo>
                      <a:cubicBezTo>
                        <a:pt x="14" y="9"/>
                        <a:pt x="13" y="8"/>
                        <a:pt x="14" y="8"/>
                      </a:cubicBezTo>
                      <a:cubicBezTo>
                        <a:pt x="14" y="8"/>
                        <a:pt x="14" y="7"/>
                        <a:pt x="14" y="7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14" y="5"/>
                        <a:pt x="15" y="5"/>
                        <a:pt x="15" y="4"/>
                      </a:cubicBezTo>
                      <a:cubicBezTo>
                        <a:pt x="14" y="4"/>
                        <a:pt x="14" y="4"/>
                        <a:pt x="14" y="4"/>
                      </a:cubicBezTo>
                      <a:cubicBezTo>
                        <a:pt x="14" y="4"/>
                        <a:pt x="14" y="3"/>
                        <a:pt x="14" y="2"/>
                      </a:cubicBezTo>
                      <a:cubicBezTo>
                        <a:pt x="14" y="1"/>
                        <a:pt x="13" y="0"/>
                        <a:pt x="11" y="0"/>
                      </a:cubicBezTo>
                      <a:cubicBezTo>
                        <a:pt x="9" y="0"/>
                        <a:pt x="7" y="2"/>
                        <a:pt x="7" y="3"/>
                      </a:cubicBezTo>
                      <a:cubicBezTo>
                        <a:pt x="7" y="4"/>
                        <a:pt x="7" y="4"/>
                        <a:pt x="7" y="4"/>
                      </a:cubicBezTo>
                      <a:cubicBezTo>
                        <a:pt x="7" y="4"/>
                        <a:pt x="7" y="4"/>
                        <a:pt x="7" y="4"/>
                      </a:cubicBezTo>
                      <a:cubicBezTo>
                        <a:pt x="7" y="5"/>
                        <a:pt x="7" y="5"/>
                        <a:pt x="7" y="5"/>
                      </a:cubicBezTo>
                      <a:cubicBezTo>
                        <a:pt x="7" y="5"/>
                        <a:pt x="7" y="6"/>
                        <a:pt x="7" y="6"/>
                      </a:cubicBezTo>
                      <a:cubicBezTo>
                        <a:pt x="7" y="6"/>
                        <a:pt x="7" y="6"/>
                        <a:pt x="8" y="6"/>
                      </a:cubicBezTo>
                      <a:cubicBezTo>
                        <a:pt x="8" y="7"/>
                        <a:pt x="8" y="8"/>
                        <a:pt x="8" y="8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10"/>
                        <a:pt x="8" y="10"/>
                      </a:cubicBezTo>
                      <a:cubicBezTo>
                        <a:pt x="8" y="10"/>
                        <a:pt x="8" y="10"/>
                        <a:pt x="7" y="10"/>
                      </a:cubicBezTo>
                      <a:cubicBezTo>
                        <a:pt x="7" y="11"/>
                        <a:pt x="5" y="11"/>
                        <a:pt x="4" y="12"/>
                      </a:cubicBezTo>
                      <a:cubicBezTo>
                        <a:pt x="3" y="12"/>
                        <a:pt x="2" y="13"/>
                        <a:pt x="2" y="13"/>
                      </a:cubicBezTo>
                      <a:cubicBezTo>
                        <a:pt x="2" y="13"/>
                        <a:pt x="1" y="16"/>
                        <a:pt x="1" y="17"/>
                      </a:cubicBezTo>
                      <a:cubicBezTo>
                        <a:pt x="1" y="19"/>
                        <a:pt x="1" y="19"/>
                        <a:pt x="1" y="20"/>
                      </a:cubicBezTo>
                      <a:cubicBezTo>
                        <a:pt x="0" y="21"/>
                        <a:pt x="1" y="22"/>
                        <a:pt x="0" y="22"/>
                      </a:cubicBezTo>
                      <a:cubicBezTo>
                        <a:pt x="0" y="22"/>
                        <a:pt x="0" y="23"/>
                        <a:pt x="0" y="24"/>
                      </a:cubicBezTo>
                      <a:cubicBezTo>
                        <a:pt x="0" y="25"/>
                        <a:pt x="0" y="25"/>
                        <a:pt x="0" y="26"/>
                      </a:cubicBezTo>
                      <a:cubicBezTo>
                        <a:pt x="0" y="26"/>
                        <a:pt x="0" y="28"/>
                        <a:pt x="0" y="29"/>
                      </a:cubicBezTo>
                      <a:cubicBezTo>
                        <a:pt x="0" y="29"/>
                        <a:pt x="0" y="29"/>
                        <a:pt x="0" y="30"/>
                      </a:cubicBezTo>
                      <a:cubicBezTo>
                        <a:pt x="0" y="31"/>
                        <a:pt x="1" y="31"/>
                        <a:pt x="1" y="31"/>
                      </a:cubicBezTo>
                      <a:cubicBezTo>
                        <a:pt x="1" y="31"/>
                        <a:pt x="1" y="32"/>
                        <a:pt x="1" y="32"/>
                      </a:cubicBezTo>
                      <a:cubicBezTo>
                        <a:pt x="1" y="33"/>
                        <a:pt x="1" y="33"/>
                        <a:pt x="1" y="33"/>
                      </a:cubicBezTo>
                      <a:cubicBezTo>
                        <a:pt x="1" y="34"/>
                        <a:pt x="1" y="34"/>
                        <a:pt x="1" y="34"/>
                      </a:cubicBezTo>
                      <a:cubicBezTo>
                        <a:pt x="2" y="34"/>
                        <a:pt x="2" y="35"/>
                        <a:pt x="2" y="35"/>
                      </a:cubicBezTo>
                      <a:cubicBezTo>
                        <a:pt x="2" y="36"/>
                        <a:pt x="3" y="37"/>
                        <a:pt x="3" y="37"/>
                      </a:cubicBezTo>
                      <a:cubicBezTo>
                        <a:pt x="4" y="37"/>
                        <a:pt x="4" y="37"/>
                        <a:pt x="4" y="37"/>
                      </a:cubicBezTo>
                      <a:cubicBezTo>
                        <a:pt x="4" y="37"/>
                        <a:pt x="4" y="37"/>
                        <a:pt x="4" y="37"/>
                      </a:cubicBezTo>
                      <a:cubicBezTo>
                        <a:pt x="4" y="37"/>
                        <a:pt x="4" y="39"/>
                        <a:pt x="4" y="42"/>
                      </a:cubicBezTo>
                      <a:cubicBezTo>
                        <a:pt x="4" y="44"/>
                        <a:pt x="4" y="47"/>
                        <a:pt x="5" y="48"/>
                      </a:cubicBezTo>
                      <a:cubicBezTo>
                        <a:pt x="5" y="49"/>
                        <a:pt x="5" y="50"/>
                        <a:pt x="5" y="50"/>
                      </a:cubicBezTo>
                      <a:cubicBezTo>
                        <a:pt x="5" y="51"/>
                        <a:pt x="5" y="52"/>
                        <a:pt x="5" y="52"/>
                      </a:cubicBezTo>
                      <a:cubicBezTo>
                        <a:pt x="5" y="53"/>
                        <a:pt x="5" y="53"/>
                        <a:pt x="5" y="53"/>
                      </a:cubicBezTo>
                      <a:cubicBezTo>
                        <a:pt x="5" y="54"/>
                        <a:pt x="4" y="54"/>
                        <a:pt x="5" y="54"/>
                      </a:cubicBezTo>
                      <a:cubicBezTo>
                        <a:pt x="5" y="55"/>
                        <a:pt x="5" y="55"/>
                        <a:pt x="5" y="55"/>
                      </a:cubicBezTo>
                      <a:cubicBezTo>
                        <a:pt x="5" y="56"/>
                        <a:pt x="4" y="56"/>
                        <a:pt x="5" y="56"/>
                      </a:cubicBezTo>
                      <a:cubicBezTo>
                        <a:pt x="5" y="57"/>
                        <a:pt x="5" y="57"/>
                        <a:pt x="5" y="58"/>
                      </a:cubicBezTo>
                      <a:cubicBezTo>
                        <a:pt x="5" y="59"/>
                        <a:pt x="5" y="59"/>
                        <a:pt x="5" y="60"/>
                      </a:cubicBezTo>
                      <a:cubicBezTo>
                        <a:pt x="5" y="61"/>
                        <a:pt x="5" y="62"/>
                        <a:pt x="6" y="62"/>
                      </a:cubicBezTo>
                      <a:cubicBezTo>
                        <a:pt x="6" y="63"/>
                        <a:pt x="6" y="63"/>
                        <a:pt x="6" y="63"/>
                      </a:cubicBezTo>
                      <a:cubicBezTo>
                        <a:pt x="6" y="63"/>
                        <a:pt x="6" y="63"/>
                        <a:pt x="6" y="64"/>
                      </a:cubicBezTo>
                      <a:cubicBezTo>
                        <a:pt x="5" y="64"/>
                        <a:pt x="5" y="65"/>
                        <a:pt x="5" y="65"/>
                      </a:cubicBezTo>
                      <a:cubicBezTo>
                        <a:pt x="5" y="65"/>
                        <a:pt x="5" y="65"/>
                        <a:pt x="5" y="65"/>
                      </a:cubicBezTo>
                      <a:cubicBezTo>
                        <a:pt x="5" y="66"/>
                        <a:pt x="5" y="66"/>
                        <a:pt x="5" y="66"/>
                      </a:cubicBezTo>
                      <a:cubicBezTo>
                        <a:pt x="5" y="66"/>
                        <a:pt x="6" y="67"/>
                        <a:pt x="6" y="68"/>
                      </a:cubicBezTo>
                      <a:cubicBezTo>
                        <a:pt x="6" y="68"/>
                        <a:pt x="6" y="68"/>
                        <a:pt x="6" y="68"/>
                      </a:cubicBezTo>
                      <a:cubicBezTo>
                        <a:pt x="6" y="68"/>
                        <a:pt x="6" y="68"/>
                        <a:pt x="6" y="69"/>
                      </a:cubicBezTo>
                      <a:cubicBezTo>
                        <a:pt x="6" y="69"/>
                        <a:pt x="7" y="69"/>
                        <a:pt x="7" y="69"/>
                      </a:cubicBezTo>
                      <a:cubicBezTo>
                        <a:pt x="7" y="69"/>
                        <a:pt x="7" y="69"/>
                        <a:pt x="6" y="69"/>
                      </a:cubicBezTo>
                      <a:cubicBezTo>
                        <a:pt x="6" y="70"/>
                        <a:pt x="5" y="70"/>
                        <a:pt x="5" y="70"/>
                      </a:cubicBezTo>
                      <a:cubicBezTo>
                        <a:pt x="5" y="71"/>
                        <a:pt x="5" y="71"/>
                        <a:pt x="5" y="71"/>
                      </a:cubicBezTo>
                      <a:cubicBezTo>
                        <a:pt x="5" y="71"/>
                        <a:pt x="5" y="71"/>
                        <a:pt x="5" y="71"/>
                      </a:cubicBezTo>
                      <a:cubicBezTo>
                        <a:pt x="6" y="71"/>
                        <a:pt x="9" y="71"/>
                        <a:pt x="10" y="71"/>
                      </a:cubicBezTo>
                      <a:cubicBezTo>
                        <a:pt x="10" y="71"/>
                        <a:pt x="11" y="72"/>
                        <a:pt x="11" y="71"/>
                      </a:cubicBezTo>
                      <a:cubicBezTo>
                        <a:pt x="11" y="71"/>
                        <a:pt x="11" y="69"/>
                        <a:pt x="11" y="68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11" y="68"/>
                        <a:pt x="11" y="67"/>
                        <a:pt x="11" y="67"/>
                      </a:cubicBezTo>
                      <a:cubicBezTo>
                        <a:pt x="11" y="66"/>
                        <a:pt x="11" y="65"/>
                        <a:pt x="11" y="65"/>
                      </a:cubicBezTo>
                      <a:cubicBezTo>
                        <a:pt x="11" y="65"/>
                        <a:pt x="11" y="65"/>
                        <a:pt x="11" y="64"/>
                      </a:cubicBezTo>
                      <a:cubicBezTo>
                        <a:pt x="11" y="64"/>
                        <a:pt x="11" y="59"/>
                        <a:pt x="11" y="58"/>
                      </a:cubicBezTo>
                      <a:cubicBezTo>
                        <a:pt x="11" y="57"/>
                        <a:pt x="11" y="56"/>
                        <a:pt x="11" y="55"/>
                      </a:cubicBezTo>
                      <a:cubicBezTo>
                        <a:pt x="11" y="55"/>
                        <a:pt x="11" y="55"/>
                        <a:pt x="11" y="55"/>
                      </a:cubicBezTo>
                      <a:cubicBezTo>
                        <a:pt x="11" y="55"/>
                        <a:pt x="11" y="54"/>
                        <a:pt x="11" y="54"/>
                      </a:cubicBezTo>
                      <a:cubicBezTo>
                        <a:pt x="10" y="53"/>
                        <a:pt x="11" y="53"/>
                        <a:pt x="11" y="53"/>
                      </a:cubicBezTo>
                      <a:cubicBezTo>
                        <a:pt x="11" y="53"/>
                        <a:pt x="12" y="52"/>
                        <a:pt x="12" y="52"/>
                      </a:cubicBezTo>
                      <a:cubicBezTo>
                        <a:pt x="12" y="51"/>
                        <a:pt x="12" y="51"/>
                        <a:pt x="12" y="51"/>
                      </a:cubicBezTo>
                      <a:cubicBezTo>
                        <a:pt x="12" y="51"/>
                        <a:pt x="12" y="50"/>
                        <a:pt x="12" y="48"/>
                      </a:cubicBezTo>
                      <a:cubicBezTo>
                        <a:pt x="12" y="47"/>
                        <a:pt x="12" y="44"/>
                        <a:pt x="12" y="43"/>
                      </a:cubicBezTo>
                      <a:cubicBezTo>
                        <a:pt x="12" y="43"/>
                        <a:pt x="12" y="43"/>
                        <a:pt x="12" y="43"/>
                      </a:cubicBezTo>
                      <a:cubicBezTo>
                        <a:pt x="12" y="43"/>
                        <a:pt x="12" y="43"/>
                        <a:pt x="12" y="43"/>
                      </a:cubicBezTo>
                      <a:cubicBezTo>
                        <a:pt x="12" y="43"/>
                        <a:pt x="12" y="43"/>
                        <a:pt x="12" y="43"/>
                      </a:cubicBezTo>
                      <a:cubicBezTo>
                        <a:pt x="12" y="43"/>
                        <a:pt x="12" y="45"/>
                        <a:pt x="12" y="45"/>
                      </a:cubicBezTo>
                      <a:cubicBezTo>
                        <a:pt x="12" y="46"/>
                        <a:pt x="12" y="47"/>
                        <a:pt x="12" y="48"/>
                      </a:cubicBezTo>
                      <a:cubicBezTo>
                        <a:pt x="12" y="48"/>
                        <a:pt x="12" y="50"/>
                        <a:pt x="13" y="51"/>
                      </a:cubicBezTo>
                      <a:cubicBezTo>
                        <a:pt x="13" y="51"/>
                        <a:pt x="13" y="52"/>
                        <a:pt x="13" y="52"/>
                      </a:cubicBezTo>
                      <a:cubicBezTo>
                        <a:pt x="13" y="52"/>
                        <a:pt x="13" y="53"/>
                        <a:pt x="13" y="53"/>
                      </a:cubicBezTo>
                      <a:cubicBezTo>
                        <a:pt x="13" y="53"/>
                        <a:pt x="13" y="53"/>
                        <a:pt x="13" y="53"/>
                      </a:cubicBezTo>
                      <a:cubicBezTo>
                        <a:pt x="13" y="53"/>
                        <a:pt x="13" y="54"/>
                        <a:pt x="13" y="55"/>
                      </a:cubicBezTo>
                      <a:cubicBezTo>
                        <a:pt x="13" y="55"/>
                        <a:pt x="13" y="56"/>
                        <a:pt x="13" y="57"/>
                      </a:cubicBezTo>
                      <a:cubicBezTo>
                        <a:pt x="13" y="58"/>
                        <a:pt x="13" y="62"/>
                        <a:pt x="13" y="63"/>
                      </a:cubicBezTo>
                      <a:cubicBezTo>
                        <a:pt x="13" y="63"/>
                        <a:pt x="12" y="64"/>
                        <a:pt x="12" y="64"/>
                      </a:cubicBezTo>
                      <a:cubicBezTo>
                        <a:pt x="12" y="65"/>
                        <a:pt x="12" y="66"/>
                        <a:pt x="12" y="66"/>
                      </a:cubicBezTo>
                      <a:cubicBezTo>
                        <a:pt x="12" y="67"/>
                        <a:pt x="12" y="67"/>
                        <a:pt x="13" y="68"/>
                      </a:cubicBezTo>
                      <a:cubicBezTo>
                        <a:pt x="13" y="68"/>
                        <a:pt x="13" y="68"/>
                        <a:pt x="13" y="68"/>
                      </a:cubicBezTo>
                      <a:cubicBezTo>
                        <a:pt x="13" y="68"/>
                        <a:pt x="13" y="68"/>
                        <a:pt x="13" y="68"/>
                      </a:cubicBezTo>
                      <a:cubicBezTo>
                        <a:pt x="13" y="69"/>
                        <a:pt x="13" y="69"/>
                        <a:pt x="13" y="69"/>
                      </a:cubicBezTo>
                      <a:cubicBezTo>
                        <a:pt x="13" y="69"/>
                        <a:pt x="12" y="71"/>
                        <a:pt x="13" y="71"/>
                      </a:cubicBezTo>
                      <a:cubicBezTo>
                        <a:pt x="13" y="71"/>
                        <a:pt x="13" y="71"/>
                        <a:pt x="13" y="71"/>
                      </a:cubicBezTo>
                      <a:cubicBezTo>
                        <a:pt x="14" y="71"/>
                        <a:pt x="14" y="71"/>
                        <a:pt x="14" y="71"/>
                      </a:cubicBezTo>
                      <a:cubicBezTo>
                        <a:pt x="15" y="71"/>
                        <a:pt x="16" y="71"/>
                        <a:pt x="17" y="71"/>
                      </a:cubicBezTo>
                      <a:cubicBezTo>
                        <a:pt x="18" y="71"/>
                        <a:pt x="19" y="71"/>
                        <a:pt x="19" y="71"/>
                      </a:cubicBezTo>
                      <a:cubicBezTo>
                        <a:pt x="19" y="71"/>
                        <a:pt x="19" y="71"/>
                        <a:pt x="19" y="71"/>
                      </a:cubicBezTo>
                      <a:cubicBezTo>
                        <a:pt x="19" y="70"/>
                        <a:pt x="17" y="70"/>
                        <a:pt x="17" y="69"/>
                      </a:cubicBezTo>
                      <a:cubicBezTo>
                        <a:pt x="17" y="69"/>
                        <a:pt x="17" y="69"/>
                        <a:pt x="17" y="69"/>
                      </a:cubicBezTo>
                      <a:cubicBezTo>
                        <a:pt x="17" y="69"/>
                        <a:pt x="17" y="68"/>
                        <a:pt x="17" y="68"/>
                      </a:cubicBez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7" y="68"/>
                        <a:pt x="18" y="66"/>
                        <a:pt x="18" y="66"/>
                      </a:cubicBezTo>
                      <a:cubicBezTo>
                        <a:pt x="18" y="66"/>
                        <a:pt x="18" y="65"/>
                        <a:pt x="18" y="65"/>
                      </a:cubicBezTo>
                      <a:cubicBezTo>
                        <a:pt x="18" y="65"/>
                        <a:pt x="18" y="64"/>
                        <a:pt x="18" y="64"/>
                      </a:cubicBezTo>
                      <a:cubicBezTo>
                        <a:pt x="18" y="63"/>
                        <a:pt x="18" y="63"/>
                        <a:pt x="18" y="63"/>
                      </a:cubicBezTo>
                      <a:cubicBezTo>
                        <a:pt x="18" y="63"/>
                        <a:pt x="18" y="62"/>
                        <a:pt x="18" y="62"/>
                      </a:cubicBezTo>
                      <a:cubicBezTo>
                        <a:pt x="18" y="62"/>
                        <a:pt x="18" y="59"/>
                        <a:pt x="18" y="58"/>
                      </a:cubicBezTo>
                      <a:cubicBezTo>
                        <a:pt x="18" y="57"/>
                        <a:pt x="18" y="57"/>
                        <a:pt x="18" y="56"/>
                      </a:cubicBezTo>
                      <a:cubicBezTo>
                        <a:pt x="18" y="56"/>
                        <a:pt x="18" y="55"/>
                        <a:pt x="18" y="55"/>
                      </a:cubicBezTo>
                      <a:cubicBezTo>
                        <a:pt x="18" y="55"/>
                        <a:pt x="18" y="55"/>
                        <a:pt x="18" y="55"/>
                      </a:cubicBezTo>
                      <a:cubicBezTo>
                        <a:pt x="18" y="55"/>
                        <a:pt x="19" y="54"/>
                        <a:pt x="18" y="53"/>
                      </a:cubicBezTo>
                      <a:cubicBezTo>
                        <a:pt x="18" y="53"/>
                        <a:pt x="18" y="53"/>
                        <a:pt x="18" y="53"/>
                      </a:cubicBezTo>
                      <a:cubicBezTo>
                        <a:pt x="18" y="53"/>
                        <a:pt x="18" y="53"/>
                        <a:pt x="18" y="53"/>
                      </a:cubicBezTo>
                      <a:cubicBezTo>
                        <a:pt x="18" y="53"/>
                        <a:pt x="18" y="53"/>
                        <a:pt x="18" y="53"/>
                      </a:cubicBezTo>
                      <a:cubicBezTo>
                        <a:pt x="18" y="53"/>
                        <a:pt x="18" y="52"/>
                        <a:pt x="18" y="52"/>
                      </a:cubicBezTo>
                      <a:cubicBezTo>
                        <a:pt x="18" y="52"/>
                        <a:pt x="18" y="50"/>
                        <a:pt x="18" y="50"/>
                      </a:cubicBezTo>
                      <a:cubicBezTo>
                        <a:pt x="18" y="49"/>
                        <a:pt x="18" y="48"/>
                        <a:pt x="18" y="46"/>
                      </a:cubicBezTo>
                      <a:cubicBezTo>
                        <a:pt x="19" y="45"/>
                        <a:pt x="19" y="42"/>
                        <a:pt x="19" y="41"/>
                      </a:cubicBezTo>
                      <a:cubicBezTo>
                        <a:pt x="19" y="41"/>
                        <a:pt x="19" y="40"/>
                        <a:pt x="19" y="40"/>
                      </a:cubicBezTo>
                      <a:cubicBezTo>
                        <a:pt x="19" y="40"/>
                        <a:pt x="19" y="38"/>
                        <a:pt x="19" y="38"/>
                      </a:cubicBezTo>
                      <a:cubicBezTo>
                        <a:pt x="19" y="37"/>
                        <a:pt x="19" y="37"/>
                        <a:pt x="19" y="37"/>
                      </a:cubicBezTo>
                      <a:cubicBezTo>
                        <a:pt x="19" y="37"/>
                        <a:pt x="20" y="35"/>
                        <a:pt x="20" y="35"/>
                      </a:cubicBezTo>
                      <a:cubicBezTo>
                        <a:pt x="20" y="35"/>
                        <a:pt x="21" y="34"/>
                        <a:pt x="21" y="34"/>
                      </a:cubicBezTo>
                      <a:cubicBezTo>
                        <a:pt x="21" y="34"/>
                        <a:pt x="21" y="32"/>
                        <a:pt x="21" y="32"/>
                      </a:cubicBezTo>
                      <a:cubicBezTo>
                        <a:pt x="21" y="31"/>
                        <a:pt x="21" y="31"/>
                        <a:pt x="21" y="31"/>
                      </a:cubicBezTo>
                      <a:cubicBezTo>
                        <a:pt x="22" y="30"/>
                        <a:pt x="22" y="30"/>
                        <a:pt x="22" y="29"/>
                      </a:cubicBezTo>
                      <a:cubicBezTo>
                        <a:pt x="22" y="29"/>
                        <a:pt x="22" y="28"/>
                        <a:pt x="23" y="27"/>
                      </a:cubicBezTo>
                      <a:cubicBezTo>
                        <a:pt x="23" y="27"/>
                        <a:pt x="23" y="25"/>
                        <a:pt x="23" y="25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28" name="Oval 659">
                  <a:extLst>
                    <a:ext uri="{FF2B5EF4-FFF2-40B4-BE49-F238E27FC236}">
                      <a16:creationId xmlns:a16="http://schemas.microsoft.com/office/drawing/2014/main" id="{A2EAA19C-D591-40DD-E05A-4B7FFE3AD1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10463" y="2160588"/>
                  <a:ext cx="131762" cy="131763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29" name="Freeform 660">
                  <a:extLst>
                    <a:ext uri="{FF2B5EF4-FFF2-40B4-BE49-F238E27FC236}">
                      <a16:creationId xmlns:a16="http://schemas.microsoft.com/office/drawing/2014/main" id="{53002369-F57A-9A7B-63EC-0D96F2D48E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59675" y="2179638"/>
                  <a:ext cx="31750" cy="98425"/>
                </a:xfrm>
                <a:custGeom>
                  <a:avLst/>
                  <a:gdLst>
                    <a:gd name="T0" fmla="*/ 22 w 23"/>
                    <a:gd name="T1" fmla="*/ 21 h 72"/>
                    <a:gd name="T2" fmla="*/ 21 w 23"/>
                    <a:gd name="T3" fmla="*/ 12 h 72"/>
                    <a:gd name="T4" fmla="*/ 14 w 23"/>
                    <a:gd name="T5" fmla="*/ 10 h 72"/>
                    <a:gd name="T6" fmla="*/ 14 w 23"/>
                    <a:gd name="T7" fmla="*/ 8 h 72"/>
                    <a:gd name="T8" fmla="*/ 14 w 23"/>
                    <a:gd name="T9" fmla="*/ 6 h 72"/>
                    <a:gd name="T10" fmla="*/ 14 w 23"/>
                    <a:gd name="T11" fmla="*/ 2 h 72"/>
                    <a:gd name="T12" fmla="*/ 7 w 23"/>
                    <a:gd name="T13" fmla="*/ 4 h 72"/>
                    <a:gd name="T14" fmla="*/ 7 w 23"/>
                    <a:gd name="T15" fmla="*/ 6 h 72"/>
                    <a:gd name="T16" fmla="*/ 8 w 23"/>
                    <a:gd name="T17" fmla="*/ 10 h 72"/>
                    <a:gd name="T18" fmla="*/ 4 w 23"/>
                    <a:gd name="T19" fmla="*/ 12 h 72"/>
                    <a:gd name="T20" fmla="*/ 1 w 23"/>
                    <a:gd name="T21" fmla="*/ 21 h 72"/>
                    <a:gd name="T22" fmla="*/ 0 w 23"/>
                    <a:gd name="T23" fmla="*/ 26 h 72"/>
                    <a:gd name="T24" fmla="*/ 1 w 23"/>
                    <a:gd name="T25" fmla="*/ 32 h 72"/>
                    <a:gd name="T26" fmla="*/ 1 w 23"/>
                    <a:gd name="T27" fmla="*/ 35 h 72"/>
                    <a:gd name="T28" fmla="*/ 4 w 23"/>
                    <a:gd name="T29" fmla="*/ 37 h 72"/>
                    <a:gd name="T30" fmla="*/ 5 w 23"/>
                    <a:gd name="T31" fmla="*/ 49 h 72"/>
                    <a:gd name="T32" fmla="*/ 5 w 23"/>
                    <a:gd name="T33" fmla="*/ 54 h 72"/>
                    <a:gd name="T34" fmla="*/ 5 w 23"/>
                    <a:gd name="T35" fmla="*/ 57 h 72"/>
                    <a:gd name="T36" fmla="*/ 6 w 23"/>
                    <a:gd name="T37" fmla="*/ 63 h 72"/>
                    <a:gd name="T38" fmla="*/ 5 w 23"/>
                    <a:gd name="T39" fmla="*/ 66 h 72"/>
                    <a:gd name="T40" fmla="*/ 6 w 23"/>
                    <a:gd name="T41" fmla="*/ 68 h 72"/>
                    <a:gd name="T42" fmla="*/ 7 w 23"/>
                    <a:gd name="T43" fmla="*/ 69 h 72"/>
                    <a:gd name="T44" fmla="*/ 5 w 23"/>
                    <a:gd name="T45" fmla="*/ 71 h 72"/>
                    <a:gd name="T46" fmla="*/ 11 w 23"/>
                    <a:gd name="T47" fmla="*/ 71 h 72"/>
                    <a:gd name="T48" fmla="*/ 11 w 23"/>
                    <a:gd name="T49" fmla="*/ 67 h 72"/>
                    <a:gd name="T50" fmla="*/ 11 w 23"/>
                    <a:gd name="T51" fmla="*/ 58 h 72"/>
                    <a:gd name="T52" fmla="*/ 11 w 23"/>
                    <a:gd name="T53" fmla="*/ 54 h 72"/>
                    <a:gd name="T54" fmla="*/ 10 w 23"/>
                    <a:gd name="T55" fmla="*/ 52 h 72"/>
                    <a:gd name="T56" fmla="*/ 11 w 23"/>
                    <a:gd name="T57" fmla="*/ 44 h 72"/>
                    <a:gd name="T58" fmla="*/ 12 w 23"/>
                    <a:gd name="T59" fmla="*/ 46 h 72"/>
                    <a:gd name="T60" fmla="*/ 13 w 23"/>
                    <a:gd name="T61" fmla="*/ 52 h 72"/>
                    <a:gd name="T62" fmla="*/ 13 w 23"/>
                    <a:gd name="T63" fmla="*/ 55 h 72"/>
                    <a:gd name="T64" fmla="*/ 12 w 23"/>
                    <a:gd name="T65" fmla="*/ 65 h 72"/>
                    <a:gd name="T66" fmla="*/ 13 w 23"/>
                    <a:gd name="T67" fmla="*/ 69 h 72"/>
                    <a:gd name="T68" fmla="*/ 13 w 23"/>
                    <a:gd name="T69" fmla="*/ 72 h 72"/>
                    <a:gd name="T70" fmla="*/ 17 w 23"/>
                    <a:gd name="T71" fmla="*/ 72 h 72"/>
                    <a:gd name="T72" fmla="*/ 17 w 23"/>
                    <a:gd name="T73" fmla="*/ 69 h 72"/>
                    <a:gd name="T74" fmla="*/ 17 w 23"/>
                    <a:gd name="T75" fmla="*/ 69 h 72"/>
                    <a:gd name="T76" fmla="*/ 18 w 23"/>
                    <a:gd name="T77" fmla="*/ 66 h 72"/>
                    <a:gd name="T78" fmla="*/ 18 w 23"/>
                    <a:gd name="T79" fmla="*/ 62 h 72"/>
                    <a:gd name="T80" fmla="*/ 18 w 23"/>
                    <a:gd name="T81" fmla="*/ 56 h 72"/>
                    <a:gd name="T82" fmla="*/ 18 w 23"/>
                    <a:gd name="T83" fmla="*/ 53 h 72"/>
                    <a:gd name="T84" fmla="*/ 18 w 23"/>
                    <a:gd name="T85" fmla="*/ 52 h 72"/>
                    <a:gd name="T86" fmla="*/ 19 w 23"/>
                    <a:gd name="T87" fmla="*/ 42 h 72"/>
                    <a:gd name="T88" fmla="*/ 19 w 23"/>
                    <a:gd name="T89" fmla="*/ 37 h 72"/>
                    <a:gd name="T90" fmla="*/ 21 w 23"/>
                    <a:gd name="T91" fmla="*/ 32 h 72"/>
                    <a:gd name="T92" fmla="*/ 23 w 23"/>
                    <a:gd name="T93" fmla="*/ 28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23" h="72">
                      <a:moveTo>
                        <a:pt x="23" y="25"/>
                      </a:move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3" y="24"/>
                        <a:pt x="23" y="22"/>
                        <a:pt x="22" y="21"/>
                      </a:cubicBezTo>
                      <a:cubicBezTo>
                        <a:pt x="22" y="21"/>
                        <a:pt x="22" y="19"/>
                        <a:pt x="22" y="18"/>
                      </a:cubicBezTo>
                      <a:cubicBezTo>
                        <a:pt x="22" y="17"/>
                        <a:pt x="22" y="16"/>
                        <a:pt x="21" y="15"/>
                      </a:cubicBezTo>
                      <a:cubicBezTo>
                        <a:pt x="21" y="13"/>
                        <a:pt x="21" y="12"/>
                        <a:pt x="21" y="12"/>
                      </a:cubicBezTo>
                      <a:cubicBezTo>
                        <a:pt x="20" y="12"/>
                        <a:pt x="18" y="11"/>
                        <a:pt x="18" y="11"/>
                      </a:cubicBezTo>
                      <a:cubicBezTo>
                        <a:pt x="17" y="11"/>
                        <a:pt x="15" y="11"/>
                        <a:pt x="15" y="11"/>
                      </a:cubicBezTo>
                      <a:cubicBezTo>
                        <a:pt x="15" y="11"/>
                        <a:pt x="14" y="11"/>
                        <a:pt x="14" y="10"/>
                      </a:cubicBezTo>
                      <a:cubicBezTo>
                        <a:pt x="14" y="10"/>
                        <a:pt x="14" y="10"/>
                        <a:pt x="14" y="10"/>
                      </a:cubicBezTo>
                      <a:cubicBezTo>
                        <a:pt x="14" y="10"/>
                        <a:pt x="14" y="10"/>
                        <a:pt x="14" y="10"/>
                      </a:cubicBezTo>
                      <a:cubicBezTo>
                        <a:pt x="14" y="9"/>
                        <a:pt x="13" y="9"/>
                        <a:pt x="14" y="8"/>
                      </a:cubicBezTo>
                      <a:cubicBezTo>
                        <a:pt x="14" y="8"/>
                        <a:pt x="14" y="8"/>
                        <a:pt x="14" y="7"/>
                      </a:cubicBezTo>
                      <a:cubicBezTo>
                        <a:pt x="14" y="7"/>
                        <a:pt x="14" y="7"/>
                        <a:pt x="14" y="7"/>
                      </a:cubicBezTo>
                      <a:cubicBezTo>
                        <a:pt x="14" y="7"/>
                        <a:pt x="14" y="7"/>
                        <a:pt x="14" y="6"/>
                      </a:cubicBezTo>
                      <a:cubicBezTo>
                        <a:pt x="15" y="6"/>
                        <a:pt x="15" y="5"/>
                        <a:pt x="15" y="4"/>
                      </a:cubicBezTo>
                      <a:cubicBezTo>
                        <a:pt x="14" y="4"/>
                        <a:pt x="14" y="4"/>
                        <a:pt x="14" y="4"/>
                      </a:cubicBezTo>
                      <a:cubicBezTo>
                        <a:pt x="14" y="4"/>
                        <a:pt x="14" y="3"/>
                        <a:pt x="14" y="2"/>
                      </a:cubicBezTo>
                      <a:cubicBezTo>
                        <a:pt x="14" y="2"/>
                        <a:pt x="13" y="0"/>
                        <a:pt x="11" y="0"/>
                      </a:cubicBezTo>
                      <a:cubicBezTo>
                        <a:pt x="9" y="0"/>
                        <a:pt x="7" y="2"/>
                        <a:pt x="7" y="3"/>
                      </a:cubicBezTo>
                      <a:cubicBezTo>
                        <a:pt x="7" y="4"/>
                        <a:pt x="7" y="4"/>
                        <a:pt x="7" y="4"/>
                      </a:cubicBezTo>
                      <a:cubicBezTo>
                        <a:pt x="7" y="4"/>
                        <a:pt x="7" y="4"/>
                        <a:pt x="7" y="4"/>
                      </a:cubicBezTo>
                      <a:cubicBezTo>
                        <a:pt x="7" y="5"/>
                        <a:pt x="7" y="5"/>
                        <a:pt x="7" y="6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7" y="7"/>
                        <a:pt x="7" y="7"/>
                        <a:pt x="8" y="7"/>
                      </a:cubicBezTo>
                      <a:cubicBezTo>
                        <a:pt x="8" y="8"/>
                        <a:pt x="8" y="9"/>
                        <a:pt x="9" y="9"/>
                      </a:cubicBezTo>
                      <a:cubicBezTo>
                        <a:pt x="8" y="9"/>
                        <a:pt x="8" y="9"/>
                        <a:pt x="8" y="10"/>
                      </a:cubicBezTo>
                      <a:cubicBezTo>
                        <a:pt x="8" y="10"/>
                        <a:pt x="8" y="10"/>
                        <a:pt x="8" y="10"/>
                      </a:cubicBezTo>
                      <a:cubicBezTo>
                        <a:pt x="8" y="10"/>
                        <a:pt x="8" y="11"/>
                        <a:pt x="7" y="11"/>
                      </a:cubicBezTo>
                      <a:cubicBezTo>
                        <a:pt x="7" y="11"/>
                        <a:pt x="5" y="12"/>
                        <a:pt x="4" y="12"/>
                      </a:cubicBezTo>
                      <a:cubicBezTo>
                        <a:pt x="3" y="13"/>
                        <a:pt x="2" y="13"/>
                        <a:pt x="2" y="13"/>
                      </a:cubicBezTo>
                      <a:cubicBezTo>
                        <a:pt x="2" y="14"/>
                        <a:pt x="1" y="17"/>
                        <a:pt x="1" y="18"/>
                      </a:cubicBezTo>
                      <a:cubicBezTo>
                        <a:pt x="1" y="19"/>
                        <a:pt x="1" y="20"/>
                        <a:pt x="1" y="21"/>
                      </a:cubicBezTo>
                      <a:cubicBezTo>
                        <a:pt x="0" y="22"/>
                        <a:pt x="1" y="22"/>
                        <a:pt x="0" y="22"/>
                      </a:cubicBezTo>
                      <a:cubicBezTo>
                        <a:pt x="0" y="23"/>
                        <a:pt x="0" y="24"/>
                        <a:pt x="0" y="25"/>
                      </a:cubicBezTo>
                      <a:cubicBezTo>
                        <a:pt x="0" y="25"/>
                        <a:pt x="0" y="26"/>
                        <a:pt x="0" y="26"/>
                      </a:cubicBezTo>
                      <a:cubicBezTo>
                        <a:pt x="0" y="27"/>
                        <a:pt x="0" y="28"/>
                        <a:pt x="0" y="29"/>
                      </a:cubicBezTo>
                      <a:cubicBezTo>
                        <a:pt x="0" y="29"/>
                        <a:pt x="1" y="30"/>
                        <a:pt x="0" y="30"/>
                      </a:cubicBezTo>
                      <a:cubicBezTo>
                        <a:pt x="0" y="31"/>
                        <a:pt x="1" y="31"/>
                        <a:pt x="1" y="32"/>
                      </a:cubicBezTo>
                      <a:cubicBezTo>
                        <a:pt x="1" y="32"/>
                        <a:pt x="1" y="32"/>
                        <a:pt x="1" y="33"/>
                      </a:cubicBezTo>
                      <a:cubicBezTo>
                        <a:pt x="1" y="33"/>
                        <a:pt x="1" y="33"/>
                        <a:pt x="1" y="34"/>
                      </a:cubicBezTo>
                      <a:cubicBezTo>
                        <a:pt x="1" y="34"/>
                        <a:pt x="1" y="34"/>
                        <a:pt x="1" y="35"/>
                      </a:cubicBezTo>
                      <a:cubicBezTo>
                        <a:pt x="2" y="35"/>
                        <a:pt x="2" y="35"/>
                        <a:pt x="2" y="36"/>
                      </a:cubicBezTo>
                      <a:cubicBezTo>
                        <a:pt x="2" y="36"/>
                        <a:pt x="3" y="37"/>
                        <a:pt x="3" y="37"/>
                      </a:cubicBezTo>
                      <a:cubicBezTo>
                        <a:pt x="4" y="37"/>
                        <a:pt x="4" y="37"/>
                        <a:pt x="4" y="37"/>
                      </a:cubicBezTo>
                      <a:cubicBezTo>
                        <a:pt x="4" y="37"/>
                        <a:pt x="4" y="37"/>
                        <a:pt x="4" y="37"/>
                      </a:cubicBezTo>
                      <a:cubicBezTo>
                        <a:pt x="4" y="37"/>
                        <a:pt x="4" y="39"/>
                        <a:pt x="4" y="42"/>
                      </a:cubicBezTo>
                      <a:cubicBezTo>
                        <a:pt x="4" y="45"/>
                        <a:pt x="4" y="47"/>
                        <a:pt x="5" y="49"/>
                      </a:cubicBezTo>
                      <a:cubicBezTo>
                        <a:pt x="5" y="50"/>
                        <a:pt x="5" y="50"/>
                        <a:pt x="5" y="50"/>
                      </a:cubicBezTo>
                      <a:cubicBezTo>
                        <a:pt x="5" y="51"/>
                        <a:pt x="5" y="52"/>
                        <a:pt x="5" y="53"/>
                      </a:cubicBezTo>
                      <a:cubicBezTo>
                        <a:pt x="5" y="53"/>
                        <a:pt x="5" y="54"/>
                        <a:pt x="5" y="54"/>
                      </a:cubicBezTo>
                      <a:cubicBezTo>
                        <a:pt x="5" y="54"/>
                        <a:pt x="4" y="54"/>
                        <a:pt x="5" y="55"/>
                      </a:cubicBezTo>
                      <a:cubicBezTo>
                        <a:pt x="5" y="55"/>
                        <a:pt x="5" y="56"/>
                        <a:pt x="5" y="56"/>
                      </a:cubicBezTo>
                      <a:cubicBezTo>
                        <a:pt x="5" y="56"/>
                        <a:pt x="5" y="56"/>
                        <a:pt x="5" y="57"/>
                      </a:cubicBezTo>
                      <a:cubicBezTo>
                        <a:pt x="5" y="57"/>
                        <a:pt x="5" y="57"/>
                        <a:pt x="5" y="58"/>
                      </a:cubicBezTo>
                      <a:cubicBezTo>
                        <a:pt x="5" y="59"/>
                        <a:pt x="5" y="60"/>
                        <a:pt x="5" y="61"/>
                      </a:cubicBezTo>
                      <a:cubicBezTo>
                        <a:pt x="5" y="62"/>
                        <a:pt x="5" y="62"/>
                        <a:pt x="6" y="63"/>
                      </a:cubicBezTo>
                      <a:cubicBezTo>
                        <a:pt x="6" y="63"/>
                        <a:pt x="6" y="63"/>
                        <a:pt x="6" y="63"/>
                      </a:cubicBezTo>
                      <a:cubicBezTo>
                        <a:pt x="6" y="64"/>
                        <a:pt x="6" y="64"/>
                        <a:pt x="6" y="64"/>
                      </a:cubicBezTo>
                      <a:cubicBezTo>
                        <a:pt x="5" y="65"/>
                        <a:pt x="5" y="66"/>
                        <a:pt x="5" y="66"/>
                      </a:cubicBezTo>
                      <a:cubicBezTo>
                        <a:pt x="5" y="66"/>
                        <a:pt x="5" y="66"/>
                        <a:pt x="5" y="66"/>
                      </a:cubicBezTo>
                      <a:cubicBezTo>
                        <a:pt x="5" y="66"/>
                        <a:pt x="5" y="66"/>
                        <a:pt x="5" y="66"/>
                      </a:cubicBezTo>
                      <a:cubicBezTo>
                        <a:pt x="5" y="67"/>
                        <a:pt x="6" y="68"/>
                        <a:pt x="6" y="68"/>
                      </a:cubicBezTo>
                      <a:cubicBezTo>
                        <a:pt x="6" y="68"/>
                        <a:pt x="6" y="69"/>
                        <a:pt x="6" y="69"/>
                      </a:cubicBezTo>
                      <a:cubicBezTo>
                        <a:pt x="6" y="69"/>
                        <a:pt x="6" y="69"/>
                        <a:pt x="6" y="69"/>
                      </a:cubicBezTo>
                      <a:cubicBezTo>
                        <a:pt x="7" y="69"/>
                        <a:pt x="7" y="69"/>
                        <a:pt x="7" y="69"/>
                      </a:cubicBezTo>
                      <a:cubicBezTo>
                        <a:pt x="7" y="69"/>
                        <a:pt x="7" y="69"/>
                        <a:pt x="6" y="70"/>
                      </a:cubicBezTo>
                      <a:cubicBezTo>
                        <a:pt x="6" y="70"/>
                        <a:pt x="5" y="70"/>
                        <a:pt x="5" y="70"/>
                      </a:cubicBezTo>
                      <a:cubicBezTo>
                        <a:pt x="5" y="71"/>
                        <a:pt x="5" y="71"/>
                        <a:pt x="5" y="71"/>
                      </a:cubicBezTo>
                      <a:cubicBezTo>
                        <a:pt x="5" y="71"/>
                        <a:pt x="5" y="72"/>
                        <a:pt x="5" y="72"/>
                      </a:cubicBezTo>
                      <a:cubicBezTo>
                        <a:pt x="6" y="72"/>
                        <a:pt x="9" y="72"/>
                        <a:pt x="10" y="72"/>
                      </a:cubicBezTo>
                      <a:cubicBezTo>
                        <a:pt x="10" y="72"/>
                        <a:pt x="11" y="72"/>
                        <a:pt x="11" y="71"/>
                      </a:cubicBezTo>
                      <a:cubicBezTo>
                        <a:pt x="11" y="71"/>
                        <a:pt x="11" y="69"/>
                        <a:pt x="11" y="69"/>
                      </a:cubicBezTo>
                      <a:cubicBezTo>
                        <a:pt x="11" y="69"/>
                        <a:pt x="11" y="69"/>
                        <a:pt x="11" y="69"/>
                      </a:cubicBezTo>
                      <a:cubicBezTo>
                        <a:pt x="11" y="68"/>
                        <a:pt x="11" y="67"/>
                        <a:pt x="11" y="67"/>
                      </a:cubicBezTo>
                      <a:cubicBezTo>
                        <a:pt x="11" y="67"/>
                        <a:pt x="11" y="66"/>
                        <a:pt x="11" y="66"/>
                      </a:cubicBezTo>
                      <a:cubicBezTo>
                        <a:pt x="11" y="65"/>
                        <a:pt x="11" y="65"/>
                        <a:pt x="11" y="64"/>
                      </a:cubicBezTo>
                      <a:cubicBezTo>
                        <a:pt x="11" y="64"/>
                        <a:pt x="11" y="59"/>
                        <a:pt x="11" y="58"/>
                      </a:cubicBezTo>
                      <a:cubicBezTo>
                        <a:pt x="11" y="58"/>
                        <a:pt x="11" y="56"/>
                        <a:pt x="11" y="56"/>
                      </a:cubicBezTo>
                      <a:cubicBezTo>
                        <a:pt x="11" y="55"/>
                        <a:pt x="11" y="55"/>
                        <a:pt x="11" y="55"/>
                      </a:cubicBezTo>
                      <a:cubicBezTo>
                        <a:pt x="11" y="55"/>
                        <a:pt x="11" y="54"/>
                        <a:pt x="11" y="54"/>
                      </a:cubicBezTo>
                      <a:cubicBezTo>
                        <a:pt x="11" y="54"/>
                        <a:pt x="10" y="53"/>
                        <a:pt x="10" y="53"/>
                      </a:cubicBezTo>
                      <a:cubicBezTo>
                        <a:pt x="10" y="53"/>
                        <a:pt x="10" y="53"/>
                        <a:pt x="10" y="53"/>
                      </a:cubicBezTo>
                      <a:cubicBezTo>
                        <a:pt x="10" y="52"/>
                        <a:pt x="10" y="52"/>
                        <a:pt x="10" y="52"/>
                      </a:cubicBezTo>
                      <a:cubicBezTo>
                        <a:pt x="10" y="52"/>
                        <a:pt x="11" y="50"/>
                        <a:pt x="11" y="49"/>
                      </a:cubicBezTo>
                      <a:cubicBezTo>
                        <a:pt x="11" y="47"/>
                        <a:pt x="11" y="44"/>
                        <a:pt x="11" y="44"/>
                      </a:cubicBezTo>
                      <a:cubicBezTo>
                        <a:pt x="11" y="44"/>
                        <a:pt x="11" y="44"/>
                        <a:pt x="11" y="44"/>
                      </a:cubicBezTo>
                      <a:cubicBezTo>
                        <a:pt x="12" y="44"/>
                        <a:pt x="12" y="44"/>
                        <a:pt x="12" y="44"/>
                      </a:cubicBezTo>
                      <a:cubicBezTo>
                        <a:pt x="12" y="43"/>
                        <a:pt x="12" y="43"/>
                        <a:pt x="12" y="44"/>
                      </a:cubicBezTo>
                      <a:cubicBezTo>
                        <a:pt x="12" y="44"/>
                        <a:pt x="12" y="45"/>
                        <a:pt x="12" y="46"/>
                      </a:cubicBezTo>
                      <a:cubicBezTo>
                        <a:pt x="12" y="46"/>
                        <a:pt x="12" y="47"/>
                        <a:pt x="12" y="48"/>
                      </a:cubicBezTo>
                      <a:cubicBezTo>
                        <a:pt x="12" y="49"/>
                        <a:pt x="12" y="50"/>
                        <a:pt x="13" y="51"/>
                      </a:cubicBezTo>
                      <a:cubicBezTo>
                        <a:pt x="13" y="51"/>
                        <a:pt x="13" y="52"/>
                        <a:pt x="13" y="52"/>
                      </a:cubicBezTo>
                      <a:cubicBezTo>
                        <a:pt x="13" y="52"/>
                        <a:pt x="13" y="53"/>
                        <a:pt x="13" y="53"/>
                      </a:cubicBezTo>
                      <a:cubicBezTo>
                        <a:pt x="13" y="54"/>
                        <a:pt x="13" y="54"/>
                        <a:pt x="13" y="54"/>
                      </a:cubicBezTo>
                      <a:cubicBezTo>
                        <a:pt x="13" y="54"/>
                        <a:pt x="13" y="54"/>
                        <a:pt x="13" y="55"/>
                      </a:cubicBezTo>
                      <a:cubicBezTo>
                        <a:pt x="13" y="55"/>
                        <a:pt x="13" y="57"/>
                        <a:pt x="13" y="58"/>
                      </a:cubicBezTo>
                      <a:cubicBezTo>
                        <a:pt x="13" y="59"/>
                        <a:pt x="13" y="62"/>
                        <a:pt x="13" y="63"/>
                      </a:cubicBezTo>
                      <a:cubicBezTo>
                        <a:pt x="13" y="64"/>
                        <a:pt x="12" y="64"/>
                        <a:pt x="12" y="65"/>
                      </a:cubicBezTo>
                      <a:cubicBezTo>
                        <a:pt x="12" y="65"/>
                        <a:pt x="12" y="66"/>
                        <a:pt x="12" y="67"/>
                      </a:cubicBezTo>
                      <a:cubicBezTo>
                        <a:pt x="12" y="67"/>
                        <a:pt x="12" y="68"/>
                        <a:pt x="13" y="68"/>
                      </a:cubicBezTo>
                      <a:cubicBezTo>
                        <a:pt x="13" y="68"/>
                        <a:pt x="13" y="68"/>
                        <a:pt x="13" y="69"/>
                      </a:cubicBezTo>
                      <a:cubicBezTo>
                        <a:pt x="13" y="69"/>
                        <a:pt x="13" y="69"/>
                        <a:pt x="13" y="69"/>
                      </a:cubicBezTo>
                      <a:cubicBezTo>
                        <a:pt x="13" y="69"/>
                        <a:pt x="13" y="69"/>
                        <a:pt x="13" y="69"/>
                      </a:cubicBezTo>
                      <a:cubicBezTo>
                        <a:pt x="13" y="69"/>
                        <a:pt x="13" y="71"/>
                        <a:pt x="13" y="72"/>
                      </a:cubicBezTo>
                      <a:cubicBezTo>
                        <a:pt x="13" y="72"/>
                        <a:pt x="13" y="72"/>
                        <a:pt x="14" y="72"/>
                      </a:cubicBezTo>
                      <a:cubicBezTo>
                        <a:pt x="14" y="72"/>
                        <a:pt x="14" y="72"/>
                        <a:pt x="14" y="72"/>
                      </a:cubicBezTo>
                      <a:cubicBezTo>
                        <a:pt x="15" y="72"/>
                        <a:pt x="16" y="72"/>
                        <a:pt x="17" y="72"/>
                      </a:cubicBezTo>
                      <a:cubicBezTo>
                        <a:pt x="18" y="72"/>
                        <a:pt x="19" y="72"/>
                        <a:pt x="19" y="71"/>
                      </a:cubicBezTo>
                      <a:cubicBezTo>
                        <a:pt x="19" y="71"/>
                        <a:pt x="19" y="71"/>
                        <a:pt x="19" y="71"/>
                      </a:cubicBezTo>
                      <a:cubicBezTo>
                        <a:pt x="19" y="70"/>
                        <a:pt x="17" y="70"/>
                        <a:pt x="17" y="69"/>
                      </a:cubicBezTo>
                      <a:cubicBezTo>
                        <a:pt x="17" y="69"/>
                        <a:pt x="17" y="69"/>
                        <a:pt x="17" y="69"/>
                      </a:cubicBezTo>
                      <a:cubicBezTo>
                        <a:pt x="17" y="69"/>
                        <a:pt x="17" y="69"/>
                        <a:pt x="17" y="69"/>
                      </a:cubicBezTo>
                      <a:cubicBezTo>
                        <a:pt x="17" y="69"/>
                        <a:pt x="17" y="69"/>
                        <a:pt x="17" y="69"/>
                      </a:cubicBezTo>
                      <a:cubicBezTo>
                        <a:pt x="17" y="69"/>
                        <a:pt x="17" y="68"/>
                        <a:pt x="17" y="68"/>
                      </a:cubicBezTo>
                      <a:cubicBezTo>
                        <a:pt x="17" y="68"/>
                        <a:pt x="18" y="67"/>
                        <a:pt x="18" y="66"/>
                      </a:cubicBezTo>
                      <a:cubicBezTo>
                        <a:pt x="18" y="66"/>
                        <a:pt x="18" y="66"/>
                        <a:pt x="18" y="66"/>
                      </a:cubicBezTo>
                      <a:cubicBezTo>
                        <a:pt x="18" y="65"/>
                        <a:pt x="18" y="64"/>
                        <a:pt x="18" y="64"/>
                      </a:cubicBezTo>
                      <a:cubicBezTo>
                        <a:pt x="18" y="63"/>
                        <a:pt x="18" y="63"/>
                        <a:pt x="18" y="63"/>
                      </a:cubicBezTo>
                      <a:cubicBezTo>
                        <a:pt x="18" y="63"/>
                        <a:pt x="18" y="63"/>
                        <a:pt x="18" y="62"/>
                      </a:cubicBezTo>
                      <a:cubicBezTo>
                        <a:pt x="18" y="62"/>
                        <a:pt x="18" y="59"/>
                        <a:pt x="18" y="59"/>
                      </a:cubicBezTo>
                      <a:cubicBezTo>
                        <a:pt x="18" y="58"/>
                        <a:pt x="18" y="57"/>
                        <a:pt x="18" y="57"/>
                      </a:cubicBezTo>
                      <a:cubicBezTo>
                        <a:pt x="18" y="56"/>
                        <a:pt x="18" y="56"/>
                        <a:pt x="18" y="56"/>
                      </a:cubicBezTo>
                      <a:cubicBezTo>
                        <a:pt x="18" y="55"/>
                        <a:pt x="18" y="55"/>
                        <a:pt x="18" y="55"/>
                      </a:cubicBezTo>
                      <a:cubicBezTo>
                        <a:pt x="18" y="55"/>
                        <a:pt x="19" y="54"/>
                        <a:pt x="18" y="53"/>
                      </a:cubicBezTo>
                      <a:cubicBezTo>
                        <a:pt x="18" y="53"/>
                        <a:pt x="18" y="53"/>
                        <a:pt x="18" y="53"/>
                      </a:cubicBezTo>
                      <a:cubicBezTo>
                        <a:pt x="18" y="53"/>
                        <a:pt x="18" y="53"/>
                        <a:pt x="18" y="53"/>
                      </a:cubicBezTo>
                      <a:cubicBezTo>
                        <a:pt x="18" y="53"/>
                        <a:pt x="18" y="53"/>
                        <a:pt x="18" y="53"/>
                      </a:cubicBezTo>
                      <a:cubicBezTo>
                        <a:pt x="18" y="53"/>
                        <a:pt x="18" y="53"/>
                        <a:pt x="18" y="52"/>
                      </a:cubicBezTo>
                      <a:cubicBezTo>
                        <a:pt x="18" y="52"/>
                        <a:pt x="18" y="51"/>
                        <a:pt x="18" y="50"/>
                      </a:cubicBezTo>
                      <a:cubicBezTo>
                        <a:pt x="18" y="49"/>
                        <a:pt x="18" y="48"/>
                        <a:pt x="19" y="47"/>
                      </a:cubicBezTo>
                      <a:cubicBezTo>
                        <a:pt x="19" y="45"/>
                        <a:pt x="19" y="42"/>
                        <a:pt x="19" y="42"/>
                      </a:cubicBezTo>
                      <a:cubicBezTo>
                        <a:pt x="19" y="41"/>
                        <a:pt x="19" y="41"/>
                        <a:pt x="19" y="40"/>
                      </a:cubicBezTo>
                      <a:cubicBezTo>
                        <a:pt x="19" y="40"/>
                        <a:pt x="19" y="39"/>
                        <a:pt x="19" y="38"/>
                      </a:cubicBezTo>
                      <a:cubicBezTo>
                        <a:pt x="19" y="37"/>
                        <a:pt x="19" y="37"/>
                        <a:pt x="19" y="37"/>
                      </a:cubicBezTo>
                      <a:cubicBezTo>
                        <a:pt x="19" y="37"/>
                        <a:pt x="20" y="36"/>
                        <a:pt x="20" y="36"/>
                      </a:cubicBezTo>
                      <a:cubicBezTo>
                        <a:pt x="20" y="35"/>
                        <a:pt x="21" y="34"/>
                        <a:pt x="21" y="34"/>
                      </a:cubicBezTo>
                      <a:cubicBezTo>
                        <a:pt x="21" y="34"/>
                        <a:pt x="21" y="33"/>
                        <a:pt x="21" y="32"/>
                      </a:cubicBezTo>
                      <a:cubicBezTo>
                        <a:pt x="21" y="32"/>
                        <a:pt x="22" y="31"/>
                        <a:pt x="21" y="31"/>
                      </a:cubicBezTo>
                      <a:cubicBezTo>
                        <a:pt x="22" y="31"/>
                        <a:pt x="22" y="30"/>
                        <a:pt x="22" y="30"/>
                      </a:cubicBezTo>
                      <a:cubicBezTo>
                        <a:pt x="22" y="29"/>
                        <a:pt x="23" y="28"/>
                        <a:pt x="23" y="28"/>
                      </a:cubicBezTo>
                      <a:cubicBezTo>
                        <a:pt x="23" y="27"/>
                        <a:pt x="23" y="26"/>
                        <a:pt x="23" y="25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30" name="Oval 661">
                  <a:extLst>
                    <a:ext uri="{FF2B5EF4-FFF2-40B4-BE49-F238E27FC236}">
                      <a16:creationId xmlns:a16="http://schemas.microsoft.com/office/drawing/2014/main" id="{E32648C8-1169-446E-EADF-F349FBC1E0B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08750" y="2541588"/>
                  <a:ext cx="131762" cy="131763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31" name="Freeform 662">
                  <a:extLst>
                    <a:ext uri="{FF2B5EF4-FFF2-40B4-BE49-F238E27FC236}">
                      <a16:creationId xmlns:a16="http://schemas.microsoft.com/office/drawing/2014/main" id="{7E485385-DAA6-EF24-72B2-1401078650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57963" y="2560638"/>
                  <a:ext cx="33337" cy="96838"/>
                </a:xfrm>
                <a:custGeom>
                  <a:avLst/>
                  <a:gdLst>
                    <a:gd name="T0" fmla="*/ 23 w 24"/>
                    <a:gd name="T1" fmla="*/ 21 h 71"/>
                    <a:gd name="T2" fmla="*/ 21 w 24"/>
                    <a:gd name="T3" fmla="*/ 12 h 71"/>
                    <a:gd name="T4" fmla="*/ 15 w 24"/>
                    <a:gd name="T5" fmla="*/ 10 h 71"/>
                    <a:gd name="T6" fmla="*/ 14 w 24"/>
                    <a:gd name="T7" fmla="*/ 8 h 71"/>
                    <a:gd name="T8" fmla="*/ 15 w 24"/>
                    <a:gd name="T9" fmla="*/ 6 h 71"/>
                    <a:gd name="T10" fmla="*/ 14 w 24"/>
                    <a:gd name="T11" fmla="*/ 2 h 71"/>
                    <a:gd name="T12" fmla="*/ 8 w 24"/>
                    <a:gd name="T13" fmla="*/ 4 h 71"/>
                    <a:gd name="T14" fmla="*/ 8 w 24"/>
                    <a:gd name="T15" fmla="*/ 6 h 71"/>
                    <a:gd name="T16" fmla="*/ 9 w 24"/>
                    <a:gd name="T17" fmla="*/ 9 h 71"/>
                    <a:gd name="T18" fmla="*/ 4 w 24"/>
                    <a:gd name="T19" fmla="*/ 12 h 71"/>
                    <a:gd name="T20" fmla="*/ 1 w 24"/>
                    <a:gd name="T21" fmla="*/ 20 h 71"/>
                    <a:gd name="T22" fmla="*/ 0 w 24"/>
                    <a:gd name="T23" fmla="*/ 26 h 71"/>
                    <a:gd name="T24" fmla="*/ 2 w 24"/>
                    <a:gd name="T25" fmla="*/ 31 h 71"/>
                    <a:gd name="T26" fmla="*/ 2 w 24"/>
                    <a:gd name="T27" fmla="*/ 34 h 71"/>
                    <a:gd name="T28" fmla="*/ 4 w 24"/>
                    <a:gd name="T29" fmla="*/ 37 h 71"/>
                    <a:gd name="T30" fmla="*/ 5 w 24"/>
                    <a:gd name="T31" fmla="*/ 48 h 71"/>
                    <a:gd name="T32" fmla="*/ 5 w 24"/>
                    <a:gd name="T33" fmla="*/ 53 h 71"/>
                    <a:gd name="T34" fmla="*/ 5 w 24"/>
                    <a:gd name="T35" fmla="*/ 56 h 71"/>
                    <a:gd name="T36" fmla="*/ 6 w 24"/>
                    <a:gd name="T37" fmla="*/ 62 h 71"/>
                    <a:gd name="T38" fmla="*/ 6 w 24"/>
                    <a:gd name="T39" fmla="*/ 65 h 71"/>
                    <a:gd name="T40" fmla="*/ 6 w 24"/>
                    <a:gd name="T41" fmla="*/ 68 h 71"/>
                    <a:gd name="T42" fmla="*/ 7 w 24"/>
                    <a:gd name="T43" fmla="*/ 69 h 71"/>
                    <a:gd name="T44" fmla="*/ 5 w 24"/>
                    <a:gd name="T45" fmla="*/ 71 h 71"/>
                    <a:gd name="T46" fmla="*/ 11 w 24"/>
                    <a:gd name="T47" fmla="*/ 71 h 71"/>
                    <a:gd name="T48" fmla="*/ 12 w 24"/>
                    <a:gd name="T49" fmla="*/ 66 h 71"/>
                    <a:gd name="T50" fmla="*/ 12 w 24"/>
                    <a:gd name="T51" fmla="*/ 58 h 71"/>
                    <a:gd name="T52" fmla="*/ 11 w 24"/>
                    <a:gd name="T53" fmla="*/ 54 h 71"/>
                    <a:gd name="T54" fmla="*/ 11 w 24"/>
                    <a:gd name="T55" fmla="*/ 51 h 71"/>
                    <a:gd name="T56" fmla="*/ 12 w 24"/>
                    <a:gd name="T57" fmla="*/ 43 h 71"/>
                    <a:gd name="T58" fmla="*/ 12 w 24"/>
                    <a:gd name="T59" fmla="*/ 45 h 71"/>
                    <a:gd name="T60" fmla="*/ 13 w 24"/>
                    <a:gd name="T61" fmla="*/ 52 h 71"/>
                    <a:gd name="T62" fmla="*/ 13 w 24"/>
                    <a:gd name="T63" fmla="*/ 55 h 71"/>
                    <a:gd name="T64" fmla="*/ 13 w 24"/>
                    <a:gd name="T65" fmla="*/ 64 h 71"/>
                    <a:gd name="T66" fmla="*/ 13 w 24"/>
                    <a:gd name="T67" fmla="*/ 68 h 71"/>
                    <a:gd name="T68" fmla="*/ 13 w 24"/>
                    <a:gd name="T69" fmla="*/ 71 h 71"/>
                    <a:gd name="T70" fmla="*/ 17 w 24"/>
                    <a:gd name="T71" fmla="*/ 71 h 71"/>
                    <a:gd name="T72" fmla="*/ 17 w 24"/>
                    <a:gd name="T73" fmla="*/ 69 h 71"/>
                    <a:gd name="T74" fmla="*/ 17 w 24"/>
                    <a:gd name="T75" fmla="*/ 68 h 71"/>
                    <a:gd name="T76" fmla="*/ 19 w 24"/>
                    <a:gd name="T77" fmla="*/ 65 h 71"/>
                    <a:gd name="T78" fmla="*/ 18 w 24"/>
                    <a:gd name="T79" fmla="*/ 62 h 71"/>
                    <a:gd name="T80" fmla="*/ 19 w 24"/>
                    <a:gd name="T81" fmla="*/ 55 h 71"/>
                    <a:gd name="T82" fmla="*/ 19 w 24"/>
                    <a:gd name="T83" fmla="*/ 53 h 71"/>
                    <a:gd name="T84" fmla="*/ 18 w 24"/>
                    <a:gd name="T85" fmla="*/ 52 h 71"/>
                    <a:gd name="T86" fmla="*/ 19 w 24"/>
                    <a:gd name="T87" fmla="*/ 41 h 71"/>
                    <a:gd name="T88" fmla="*/ 20 w 24"/>
                    <a:gd name="T89" fmla="*/ 36 h 71"/>
                    <a:gd name="T90" fmla="*/ 22 w 24"/>
                    <a:gd name="T91" fmla="*/ 32 h 71"/>
                    <a:gd name="T92" fmla="*/ 23 w 24"/>
                    <a:gd name="T93" fmla="*/ 27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24" h="71">
                      <a:moveTo>
                        <a:pt x="23" y="25"/>
                      </a:move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3" y="24"/>
                        <a:pt x="23" y="22"/>
                        <a:pt x="23" y="21"/>
                      </a:cubicBezTo>
                      <a:cubicBezTo>
                        <a:pt x="23" y="20"/>
                        <a:pt x="22" y="19"/>
                        <a:pt x="22" y="18"/>
                      </a:cubicBezTo>
                      <a:cubicBezTo>
                        <a:pt x="22" y="17"/>
                        <a:pt x="22" y="15"/>
                        <a:pt x="22" y="14"/>
                      </a:cubicBezTo>
                      <a:cubicBezTo>
                        <a:pt x="22" y="13"/>
                        <a:pt x="21" y="12"/>
                        <a:pt x="21" y="12"/>
                      </a:cubicBezTo>
                      <a:cubicBezTo>
                        <a:pt x="21" y="11"/>
                        <a:pt x="19" y="11"/>
                        <a:pt x="18" y="11"/>
                      </a:cubicBezTo>
                      <a:cubicBezTo>
                        <a:pt x="17" y="11"/>
                        <a:pt x="16" y="10"/>
                        <a:pt x="16" y="10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4" y="9"/>
                        <a:pt x="14" y="9"/>
                        <a:pt x="14" y="9"/>
                      </a:cubicBezTo>
                      <a:cubicBezTo>
                        <a:pt x="14" y="9"/>
                        <a:pt x="14" y="9"/>
                        <a:pt x="14" y="9"/>
                      </a:cubicBezTo>
                      <a:cubicBezTo>
                        <a:pt x="14" y="9"/>
                        <a:pt x="14" y="8"/>
                        <a:pt x="14" y="8"/>
                      </a:cubicBezTo>
                      <a:cubicBezTo>
                        <a:pt x="14" y="8"/>
                        <a:pt x="15" y="7"/>
                        <a:pt x="15" y="7"/>
                      </a:cubicBezTo>
                      <a:cubicBezTo>
                        <a:pt x="15" y="6"/>
                        <a:pt x="15" y="6"/>
                        <a:pt x="15" y="6"/>
                      </a:cubicBezTo>
                      <a:cubicBezTo>
                        <a:pt x="15" y="6"/>
                        <a:pt x="15" y="6"/>
                        <a:pt x="15" y="6"/>
                      </a:cubicBezTo>
                      <a:cubicBezTo>
                        <a:pt x="15" y="5"/>
                        <a:pt x="15" y="5"/>
                        <a:pt x="15" y="4"/>
                      </a:cubicBezTo>
                      <a:cubicBezTo>
                        <a:pt x="15" y="4"/>
                        <a:pt x="15" y="4"/>
                        <a:pt x="15" y="4"/>
                      </a:cubicBezTo>
                      <a:cubicBezTo>
                        <a:pt x="15" y="4"/>
                        <a:pt x="15" y="3"/>
                        <a:pt x="14" y="2"/>
                      </a:cubicBezTo>
                      <a:cubicBezTo>
                        <a:pt x="14" y="1"/>
                        <a:pt x="13" y="0"/>
                        <a:pt x="11" y="0"/>
                      </a:cubicBezTo>
                      <a:cubicBezTo>
                        <a:pt x="9" y="0"/>
                        <a:pt x="8" y="2"/>
                        <a:pt x="8" y="3"/>
                      </a:cubicBezTo>
                      <a:cubicBezTo>
                        <a:pt x="8" y="4"/>
                        <a:pt x="8" y="4"/>
                        <a:pt x="8" y="4"/>
                      </a:cubicBezTo>
                      <a:cubicBezTo>
                        <a:pt x="8" y="4"/>
                        <a:pt x="7" y="4"/>
                        <a:pt x="7" y="4"/>
                      </a:cubicBezTo>
                      <a:cubicBezTo>
                        <a:pt x="7" y="5"/>
                        <a:pt x="7" y="5"/>
                        <a:pt x="7" y="5"/>
                      </a:cubicBezTo>
                      <a:cubicBezTo>
                        <a:pt x="7" y="5"/>
                        <a:pt x="7" y="6"/>
                        <a:pt x="8" y="6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8" y="7"/>
                        <a:pt x="9" y="8"/>
                        <a:pt x="9" y="8"/>
                      </a:cubicBezTo>
                      <a:cubicBezTo>
                        <a:pt x="9" y="9"/>
                        <a:pt x="9" y="9"/>
                        <a:pt x="9" y="9"/>
                      </a:cubicBezTo>
                      <a:cubicBezTo>
                        <a:pt x="9" y="9"/>
                        <a:pt x="9" y="10"/>
                        <a:pt x="9" y="10"/>
                      </a:cubicBezTo>
                      <a:cubicBezTo>
                        <a:pt x="9" y="10"/>
                        <a:pt x="8" y="10"/>
                        <a:pt x="8" y="10"/>
                      </a:cubicBezTo>
                      <a:cubicBezTo>
                        <a:pt x="7" y="11"/>
                        <a:pt x="6" y="11"/>
                        <a:pt x="4" y="12"/>
                      </a:cubicBezTo>
                      <a:cubicBezTo>
                        <a:pt x="3" y="12"/>
                        <a:pt x="2" y="13"/>
                        <a:pt x="2" y="13"/>
                      </a:cubicBezTo>
                      <a:cubicBezTo>
                        <a:pt x="2" y="13"/>
                        <a:pt x="2" y="16"/>
                        <a:pt x="1" y="17"/>
                      </a:cubicBezTo>
                      <a:cubicBezTo>
                        <a:pt x="1" y="19"/>
                        <a:pt x="1" y="19"/>
                        <a:pt x="1" y="20"/>
                      </a:cubicBezTo>
                      <a:cubicBezTo>
                        <a:pt x="1" y="21"/>
                        <a:pt x="1" y="22"/>
                        <a:pt x="1" y="22"/>
                      </a:cubicBezTo>
                      <a:cubicBezTo>
                        <a:pt x="1" y="22"/>
                        <a:pt x="0" y="23"/>
                        <a:pt x="1" y="24"/>
                      </a:cubicBezTo>
                      <a:cubicBezTo>
                        <a:pt x="1" y="25"/>
                        <a:pt x="0" y="25"/>
                        <a:pt x="0" y="26"/>
                      </a:cubicBezTo>
                      <a:cubicBezTo>
                        <a:pt x="0" y="26"/>
                        <a:pt x="0" y="28"/>
                        <a:pt x="1" y="29"/>
                      </a:cubicBezTo>
                      <a:cubicBezTo>
                        <a:pt x="1" y="29"/>
                        <a:pt x="1" y="29"/>
                        <a:pt x="1" y="30"/>
                      </a:cubicBezTo>
                      <a:cubicBezTo>
                        <a:pt x="1" y="31"/>
                        <a:pt x="1" y="31"/>
                        <a:pt x="2" y="31"/>
                      </a:cubicBezTo>
                      <a:cubicBezTo>
                        <a:pt x="2" y="31"/>
                        <a:pt x="2" y="32"/>
                        <a:pt x="2" y="32"/>
                      </a:cubicBezTo>
                      <a:cubicBezTo>
                        <a:pt x="2" y="33"/>
                        <a:pt x="2" y="33"/>
                        <a:pt x="2" y="33"/>
                      </a:cubicBezTo>
                      <a:cubicBezTo>
                        <a:pt x="2" y="34"/>
                        <a:pt x="2" y="34"/>
                        <a:pt x="2" y="34"/>
                      </a:cubicBezTo>
                      <a:cubicBezTo>
                        <a:pt x="2" y="34"/>
                        <a:pt x="2" y="35"/>
                        <a:pt x="3" y="35"/>
                      </a:cubicBezTo>
                      <a:cubicBezTo>
                        <a:pt x="3" y="36"/>
                        <a:pt x="4" y="37"/>
                        <a:pt x="4" y="37"/>
                      </a:cubicBezTo>
                      <a:cubicBezTo>
                        <a:pt x="4" y="37"/>
                        <a:pt x="4" y="37"/>
                        <a:pt x="4" y="37"/>
                      </a:cubicBezTo>
                      <a:cubicBezTo>
                        <a:pt x="4" y="37"/>
                        <a:pt x="4" y="37"/>
                        <a:pt x="4" y="37"/>
                      </a:cubicBezTo>
                      <a:cubicBezTo>
                        <a:pt x="4" y="37"/>
                        <a:pt x="4" y="39"/>
                        <a:pt x="5" y="42"/>
                      </a:cubicBezTo>
                      <a:cubicBezTo>
                        <a:pt x="5" y="44"/>
                        <a:pt x="5" y="47"/>
                        <a:pt x="5" y="48"/>
                      </a:cubicBezTo>
                      <a:cubicBezTo>
                        <a:pt x="5" y="49"/>
                        <a:pt x="5" y="50"/>
                        <a:pt x="6" y="50"/>
                      </a:cubicBezTo>
                      <a:cubicBezTo>
                        <a:pt x="6" y="51"/>
                        <a:pt x="6" y="52"/>
                        <a:pt x="6" y="52"/>
                      </a:cubicBezTo>
                      <a:cubicBezTo>
                        <a:pt x="6" y="53"/>
                        <a:pt x="6" y="53"/>
                        <a:pt x="5" y="53"/>
                      </a:cubicBezTo>
                      <a:cubicBezTo>
                        <a:pt x="5" y="54"/>
                        <a:pt x="5" y="54"/>
                        <a:pt x="5" y="54"/>
                      </a:cubicBezTo>
                      <a:cubicBezTo>
                        <a:pt x="5" y="55"/>
                        <a:pt x="5" y="55"/>
                        <a:pt x="5" y="55"/>
                      </a:cubicBezTo>
                      <a:cubicBezTo>
                        <a:pt x="5" y="56"/>
                        <a:pt x="5" y="56"/>
                        <a:pt x="5" y="56"/>
                      </a:cubicBezTo>
                      <a:cubicBezTo>
                        <a:pt x="5" y="57"/>
                        <a:pt x="6" y="57"/>
                        <a:pt x="6" y="58"/>
                      </a:cubicBezTo>
                      <a:cubicBezTo>
                        <a:pt x="6" y="59"/>
                        <a:pt x="6" y="59"/>
                        <a:pt x="6" y="60"/>
                      </a:cubicBezTo>
                      <a:cubicBezTo>
                        <a:pt x="6" y="61"/>
                        <a:pt x="6" y="62"/>
                        <a:pt x="6" y="62"/>
                      </a:cubicBezTo>
                      <a:cubicBezTo>
                        <a:pt x="6" y="63"/>
                        <a:pt x="6" y="63"/>
                        <a:pt x="6" y="63"/>
                      </a:cubicBezTo>
                      <a:cubicBezTo>
                        <a:pt x="6" y="63"/>
                        <a:pt x="6" y="63"/>
                        <a:pt x="6" y="64"/>
                      </a:cubicBezTo>
                      <a:cubicBezTo>
                        <a:pt x="6" y="64"/>
                        <a:pt x="6" y="65"/>
                        <a:pt x="6" y="65"/>
                      </a:cubicBezTo>
                      <a:cubicBezTo>
                        <a:pt x="6" y="65"/>
                        <a:pt x="6" y="65"/>
                        <a:pt x="6" y="65"/>
                      </a:cubicBezTo>
                      <a:cubicBezTo>
                        <a:pt x="6" y="66"/>
                        <a:pt x="6" y="66"/>
                        <a:pt x="6" y="66"/>
                      </a:cubicBezTo>
                      <a:cubicBezTo>
                        <a:pt x="6" y="66"/>
                        <a:pt x="6" y="67"/>
                        <a:pt x="6" y="68"/>
                      </a:cubicBezTo>
                      <a:cubicBezTo>
                        <a:pt x="7" y="68"/>
                        <a:pt x="7" y="68"/>
                        <a:pt x="7" y="68"/>
                      </a:cubicBezTo>
                      <a:cubicBezTo>
                        <a:pt x="7" y="68"/>
                        <a:pt x="7" y="68"/>
                        <a:pt x="7" y="69"/>
                      </a:cubicBezTo>
                      <a:cubicBezTo>
                        <a:pt x="7" y="69"/>
                        <a:pt x="7" y="69"/>
                        <a:pt x="7" y="69"/>
                      </a:cubicBezTo>
                      <a:cubicBezTo>
                        <a:pt x="7" y="69"/>
                        <a:pt x="7" y="69"/>
                        <a:pt x="7" y="69"/>
                      </a:cubicBezTo>
                      <a:cubicBezTo>
                        <a:pt x="6" y="70"/>
                        <a:pt x="5" y="70"/>
                        <a:pt x="5" y="70"/>
                      </a:cubicBezTo>
                      <a:cubicBezTo>
                        <a:pt x="5" y="71"/>
                        <a:pt x="5" y="71"/>
                        <a:pt x="5" y="71"/>
                      </a:cubicBezTo>
                      <a:cubicBezTo>
                        <a:pt x="5" y="71"/>
                        <a:pt x="5" y="71"/>
                        <a:pt x="6" y="71"/>
                      </a:cubicBezTo>
                      <a:cubicBezTo>
                        <a:pt x="6" y="71"/>
                        <a:pt x="10" y="71"/>
                        <a:pt x="10" y="71"/>
                      </a:cubicBezTo>
                      <a:cubicBezTo>
                        <a:pt x="10" y="71"/>
                        <a:pt x="11" y="71"/>
                        <a:pt x="11" y="71"/>
                      </a:cubicBezTo>
                      <a:cubicBezTo>
                        <a:pt x="12" y="71"/>
                        <a:pt x="11" y="69"/>
                        <a:pt x="11" y="68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11" y="68"/>
                        <a:pt x="12" y="67"/>
                        <a:pt x="12" y="66"/>
                      </a:cubicBezTo>
                      <a:cubicBezTo>
                        <a:pt x="12" y="66"/>
                        <a:pt x="11" y="65"/>
                        <a:pt x="11" y="65"/>
                      </a:cubicBezTo>
                      <a:cubicBezTo>
                        <a:pt x="11" y="65"/>
                        <a:pt x="12" y="65"/>
                        <a:pt x="12" y="64"/>
                      </a:cubicBezTo>
                      <a:cubicBezTo>
                        <a:pt x="12" y="64"/>
                        <a:pt x="12" y="59"/>
                        <a:pt x="12" y="58"/>
                      </a:cubicBezTo>
                      <a:cubicBezTo>
                        <a:pt x="11" y="57"/>
                        <a:pt x="11" y="56"/>
                        <a:pt x="11" y="55"/>
                      </a:cubicBezTo>
                      <a:cubicBezTo>
                        <a:pt x="11" y="55"/>
                        <a:pt x="11" y="55"/>
                        <a:pt x="11" y="55"/>
                      </a:cubicBezTo>
                      <a:cubicBezTo>
                        <a:pt x="11" y="55"/>
                        <a:pt x="11" y="54"/>
                        <a:pt x="11" y="54"/>
                      </a:cubicBezTo>
                      <a:cubicBezTo>
                        <a:pt x="11" y="53"/>
                        <a:pt x="11" y="53"/>
                        <a:pt x="11" y="53"/>
                      </a:cubicBezTo>
                      <a:cubicBezTo>
                        <a:pt x="11" y="53"/>
                        <a:pt x="11" y="52"/>
                        <a:pt x="11" y="52"/>
                      </a:cubicBezTo>
                      <a:cubicBezTo>
                        <a:pt x="11" y="51"/>
                        <a:pt x="11" y="51"/>
                        <a:pt x="11" y="51"/>
                      </a:cubicBezTo>
                      <a:cubicBezTo>
                        <a:pt x="11" y="51"/>
                        <a:pt x="12" y="50"/>
                        <a:pt x="12" y="48"/>
                      </a:cubicBezTo>
                      <a:cubicBezTo>
                        <a:pt x="12" y="47"/>
                        <a:pt x="12" y="44"/>
                        <a:pt x="12" y="43"/>
                      </a:cubicBezTo>
                      <a:cubicBezTo>
                        <a:pt x="12" y="43"/>
                        <a:pt x="12" y="43"/>
                        <a:pt x="12" y="43"/>
                      </a:cubicBezTo>
                      <a:cubicBezTo>
                        <a:pt x="12" y="43"/>
                        <a:pt x="12" y="43"/>
                        <a:pt x="12" y="43"/>
                      </a:cubicBezTo>
                      <a:cubicBezTo>
                        <a:pt x="12" y="43"/>
                        <a:pt x="12" y="43"/>
                        <a:pt x="12" y="43"/>
                      </a:cubicBezTo>
                      <a:cubicBezTo>
                        <a:pt x="12" y="43"/>
                        <a:pt x="12" y="45"/>
                        <a:pt x="12" y="45"/>
                      </a:cubicBezTo>
                      <a:cubicBezTo>
                        <a:pt x="12" y="46"/>
                        <a:pt x="13" y="47"/>
                        <a:pt x="13" y="48"/>
                      </a:cubicBezTo>
                      <a:cubicBezTo>
                        <a:pt x="13" y="48"/>
                        <a:pt x="13" y="50"/>
                        <a:pt x="13" y="51"/>
                      </a:cubicBezTo>
                      <a:cubicBezTo>
                        <a:pt x="13" y="51"/>
                        <a:pt x="13" y="51"/>
                        <a:pt x="13" y="52"/>
                      </a:cubicBezTo>
                      <a:cubicBezTo>
                        <a:pt x="14" y="52"/>
                        <a:pt x="13" y="52"/>
                        <a:pt x="13" y="53"/>
                      </a:cubicBezTo>
                      <a:cubicBezTo>
                        <a:pt x="14" y="53"/>
                        <a:pt x="13" y="53"/>
                        <a:pt x="13" y="53"/>
                      </a:cubicBezTo>
                      <a:cubicBezTo>
                        <a:pt x="13" y="53"/>
                        <a:pt x="13" y="54"/>
                        <a:pt x="13" y="55"/>
                      </a:cubicBezTo>
                      <a:cubicBezTo>
                        <a:pt x="13" y="55"/>
                        <a:pt x="13" y="56"/>
                        <a:pt x="13" y="57"/>
                      </a:cubicBezTo>
                      <a:cubicBezTo>
                        <a:pt x="13" y="58"/>
                        <a:pt x="13" y="62"/>
                        <a:pt x="13" y="63"/>
                      </a:cubicBezTo>
                      <a:cubicBezTo>
                        <a:pt x="13" y="63"/>
                        <a:pt x="13" y="64"/>
                        <a:pt x="13" y="64"/>
                      </a:cubicBezTo>
                      <a:cubicBezTo>
                        <a:pt x="13" y="65"/>
                        <a:pt x="13" y="66"/>
                        <a:pt x="13" y="66"/>
                      </a:cubicBezTo>
                      <a:cubicBezTo>
                        <a:pt x="13" y="67"/>
                        <a:pt x="13" y="67"/>
                        <a:pt x="13" y="67"/>
                      </a:cubicBezTo>
                      <a:cubicBezTo>
                        <a:pt x="13" y="68"/>
                        <a:pt x="13" y="68"/>
                        <a:pt x="13" y="68"/>
                      </a:cubicBezTo>
                      <a:cubicBezTo>
                        <a:pt x="13" y="68"/>
                        <a:pt x="13" y="68"/>
                        <a:pt x="13" y="68"/>
                      </a:cubicBezTo>
                      <a:cubicBezTo>
                        <a:pt x="13" y="69"/>
                        <a:pt x="13" y="69"/>
                        <a:pt x="13" y="69"/>
                      </a:cubicBezTo>
                      <a:cubicBezTo>
                        <a:pt x="13" y="69"/>
                        <a:pt x="13" y="71"/>
                        <a:pt x="13" y="71"/>
                      </a:cubicBezTo>
                      <a:cubicBezTo>
                        <a:pt x="13" y="71"/>
                        <a:pt x="14" y="71"/>
                        <a:pt x="14" y="71"/>
                      </a:cubicBezTo>
                      <a:cubicBezTo>
                        <a:pt x="14" y="71"/>
                        <a:pt x="14" y="71"/>
                        <a:pt x="15" y="71"/>
                      </a:cubicBezTo>
                      <a:cubicBezTo>
                        <a:pt x="15" y="71"/>
                        <a:pt x="16" y="71"/>
                        <a:pt x="17" y="71"/>
                      </a:cubicBezTo>
                      <a:cubicBezTo>
                        <a:pt x="18" y="71"/>
                        <a:pt x="19" y="71"/>
                        <a:pt x="19" y="71"/>
                      </a:cubicBezTo>
                      <a:cubicBezTo>
                        <a:pt x="19" y="71"/>
                        <a:pt x="19" y="71"/>
                        <a:pt x="19" y="71"/>
                      </a:cubicBezTo>
                      <a:cubicBezTo>
                        <a:pt x="20" y="70"/>
                        <a:pt x="18" y="70"/>
                        <a:pt x="17" y="69"/>
                      </a:cubicBezTo>
                      <a:cubicBezTo>
                        <a:pt x="17" y="69"/>
                        <a:pt x="17" y="69"/>
                        <a:pt x="17" y="69"/>
                      </a:cubicBezTo>
                      <a:cubicBezTo>
                        <a:pt x="17" y="69"/>
                        <a:pt x="17" y="68"/>
                        <a:pt x="17" y="68"/>
                      </a:cubicBez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7" y="68"/>
                        <a:pt x="18" y="68"/>
                        <a:pt x="18" y="68"/>
                      </a:cubicBezTo>
                      <a:cubicBezTo>
                        <a:pt x="18" y="68"/>
                        <a:pt x="18" y="66"/>
                        <a:pt x="18" y="66"/>
                      </a:cubicBezTo>
                      <a:cubicBezTo>
                        <a:pt x="18" y="66"/>
                        <a:pt x="19" y="65"/>
                        <a:pt x="19" y="65"/>
                      </a:cubicBezTo>
                      <a:cubicBezTo>
                        <a:pt x="19" y="65"/>
                        <a:pt x="18" y="64"/>
                        <a:pt x="18" y="64"/>
                      </a:cubicBezTo>
                      <a:cubicBezTo>
                        <a:pt x="18" y="63"/>
                        <a:pt x="18" y="63"/>
                        <a:pt x="18" y="63"/>
                      </a:cubicBezTo>
                      <a:cubicBezTo>
                        <a:pt x="18" y="63"/>
                        <a:pt x="18" y="62"/>
                        <a:pt x="18" y="62"/>
                      </a:cubicBezTo>
                      <a:cubicBezTo>
                        <a:pt x="18" y="62"/>
                        <a:pt x="19" y="59"/>
                        <a:pt x="19" y="58"/>
                      </a:cubicBezTo>
                      <a:cubicBezTo>
                        <a:pt x="19" y="57"/>
                        <a:pt x="19" y="57"/>
                        <a:pt x="19" y="56"/>
                      </a:cubicBezTo>
                      <a:cubicBezTo>
                        <a:pt x="19" y="56"/>
                        <a:pt x="19" y="55"/>
                        <a:pt x="19" y="55"/>
                      </a:cubicBezTo>
                      <a:cubicBezTo>
                        <a:pt x="19" y="55"/>
                        <a:pt x="19" y="55"/>
                        <a:pt x="19" y="55"/>
                      </a:cubicBezTo>
                      <a:cubicBezTo>
                        <a:pt x="19" y="55"/>
                        <a:pt x="19" y="54"/>
                        <a:pt x="19" y="53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8" y="53"/>
                        <a:pt x="18" y="52"/>
                        <a:pt x="18" y="52"/>
                      </a:cubicBezTo>
                      <a:cubicBezTo>
                        <a:pt x="18" y="52"/>
                        <a:pt x="18" y="50"/>
                        <a:pt x="18" y="50"/>
                      </a:cubicBezTo>
                      <a:cubicBezTo>
                        <a:pt x="19" y="49"/>
                        <a:pt x="19" y="48"/>
                        <a:pt x="19" y="46"/>
                      </a:cubicBezTo>
                      <a:cubicBezTo>
                        <a:pt x="19" y="45"/>
                        <a:pt x="19" y="42"/>
                        <a:pt x="19" y="41"/>
                      </a:cubicBezTo>
                      <a:cubicBezTo>
                        <a:pt x="19" y="41"/>
                        <a:pt x="20" y="40"/>
                        <a:pt x="20" y="40"/>
                      </a:cubicBezTo>
                      <a:cubicBezTo>
                        <a:pt x="20" y="40"/>
                        <a:pt x="19" y="38"/>
                        <a:pt x="20" y="38"/>
                      </a:cubicBezTo>
                      <a:cubicBezTo>
                        <a:pt x="20" y="37"/>
                        <a:pt x="20" y="36"/>
                        <a:pt x="20" y="36"/>
                      </a:cubicBezTo>
                      <a:cubicBezTo>
                        <a:pt x="20" y="36"/>
                        <a:pt x="21" y="35"/>
                        <a:pt x="21" y="35"/>
                      </a:cubicBezTo>
                      <a:cubicBezTo>
                        <a:pt x="21" y="35"/>
                        <a:pt x="22" y="34"/>
                        <a:pt x="22" y="34"/>
                      </a:cubicBezTo>
                      <a:cubicBezTo>
                        <a:pt x="22" y="34"/>
                        <a:pt x="22" y="32"/>
                        <a:pt x="22" y="32"/>
                      </a:cubicBezTo>
                      <a:cubicBezTo>
                        <a:pt x="22" y="31"/>
                        <a:pt x="22" y="31"/>
                        <a:pt x="22" y="31"/>
                      </a:cubicBezTo>
                      <a:cubicBezTo>
                        <a:pt x="22" y="30"/>
                        <a:pt x="23" y="30"/>
                        <a:pt x="23" y="29"/>
                      </a:cubicBezTo>
                      <a:cubicBezTo>
                        <a:pt x="23" y="29"/>
                        <a:pt x="23" y="28"/>
                        <a:pt x="23" y="27"/>
                      </a:cubicBezTo>
                      <a:cubicBezTo>
                        <a:pt x="23" y="27"/>
                        <a:pt x="24" y="25"/>
                        <a:pt x="23" y="25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32" name="Oval 663">
                  <a:extLst>
                    <a:ext uri="{FF2B5EF4-FFF2-40B4-BE49-F238E27FC236}">
                      <a16:creationId xmlns:a16="http://schemas.microsoft.com/office/drawing/2014/main" id="{5C9D6AEA-9CDF-EC45-25A3-60FE423794E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78650" y="2209800"/>
                  <a:ext cx="131762" cy="131763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33" name="Freeform 664">
                  <a:extLst>
                    <a:ext uri="{FF2B5EF4-FFF2-40B4-BE49-F238E27FC236}">
                      <a16:creationId xmlns:a16="http://schemas.microsoft.com/office/drawing/2014/main" id="{C8AABD82-FFE0-A79D-BD10-C2E98EE9B9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27863" y="2228850"/>
                  <a:ext cx="31750" cy="96838"/>
                </a:xfrm>
                <a:custGeom>
                  <a:avLst/>
                  <a:gdLst>
                    <a:gd name="T0" fmla="*/ 23 w 23"/>
                    <a:gd name="T1" fmla="*/ 21 h 71"/>
                    <a:gd name="T2" fmla="*/ 21 w 23"/>
                    <a:gd name="T3" fmla="*/ 11 h 71"/>
                    <a:gd name="T4" fmla="*/ 14 w 23"/>
                    <a:gd name="T5" fmla="*/ 9 h 71"/>
                    <a:gd name="T6" fmla="*/ 14 w 23"/>
                    <a:gd name="T7" fmla="*/ 8 h 71"/>
                    <a:gd name="T8" fmla="*/ 15 w 23"/>
                    <a:gd name="T9" fmla="*/ 5 h 71"/>
                    <a:gd name="T10" fmla="*/ 14 w 23"/>
                    <a:gd name="T11" fmla="*/ 2 h 71"/>
                    <a:gd name="T12" fmla="*/ 8 w 23"/>
                    <a:gd name="T13" fmla="*/ 3 h 71"/>
                    <a:gd name="T14" fmla="*/ 7 w 23"/>
                    <a:gd name="T15" fmla="*/ 6 h 71"/>
                    <a:gd name="T16" fmla="*/ 9 w 23"/>
                    <a:gd name="T17" fmla="*/ 9 h 71"/>
                    <a:gd name="T18" fmla="*/ 4 w 23"/>
                    <a:gd name="T19" fmla="*/ 11 h 71"/>
                    <a:gd name="T20" fmla="*/ 1 w 23"/>
                    <a:gd name="T21" fmla="*/ 20 h 71"/>
                    <a:gd name="T22" fmla="*/ 0 w 23"/>
                    <a:gd name="T23" fmla="*/ 26 h 71"/>
                    <a:gd name="T24" fmla="*/ 1 w 23"/>
                    <a:gd name="T25" fmla="*/ 31 h 71"/>
                    <a:gd name="T26" fmla="*/ 2 w 23"/>
                    <a:gd name="T27" fmla="*/ 34 h 71"/>
                    <a:gd name="T28" fmla="*/ 4 w 23"/>
                    <a:gd name="T29" fmla="*/ 36 h 71"/>
                    <a:gd name="T30" fmla="*/ 5 w 23"/>
                    <a:gd name="T31" fmla="*/ 48 h 71"/>
                    <a:gd name="T32" fmla="*/ 5 w 23"/>
                    <a:gd name="T33" fmla="*/ 53 h 71"/>
                    <a:gd name="T34" fmla="*/ 5 w 23"/>
                    <a:gd name="T35" fmla="*/ 56 h 71"/>
                    <a:gd name="T36" fmla="*/ 6 w 23"/>
                    <a:gd name="T37" fmla="*/ 62 h 71"/>
                    <a:gd name="T38" fmla="*/ 6 w 23"/>
                    <a:gd name="T39" fmla="*/ 65 h 71"/>
                    <a:gd name="T40" fmla="*/ 6 w 23"/>
                    <a:gd name="T41" fmla="*/ 67 h 71"/>
                    <a:gd name="T42" fmla="*/ 7 w 23"/>
                    <a:gd name="T43" fmla="*/ 68 h 71"/>
                    <a:gd name="T44" fmla="*/ 5 w 23"/>
                    <a:gd name="T45" fmla="*/ 70 h 71"/>
                    <a:gd name="T46" fmla="*/ 11 w 23"/>
                    <a:gd name="T47" fmla="*/ 71 h 71"/>
                    <a:gd name="T48" fmla="*/ 12 w 23"/>
                    <a:gd name="T49" fmla="*/ 66 h 71"/>
                    <a:gd name="T50" fmla="*/ 11 w 23"/>
                    <a:gd name="T51" fmla="*/ 58 h 71"/>
                    <a:gd name="T52" fmla="*/ 11 w 23"/>
                    <a:gd name="T53" fmla="*/ 53 h 71"/>
                    <a:gd name="T54" fmla="*/ 11 w 23"/>
                    <a:gd name="T55" fmla="*/ 51 h 71"/>
                    <a:gd name="T56" fmla="*/ 11 w 23"/>
                    <a:gd name="T57" fmla="*/ 43 h 71"/>
                    <a:gd name="T58" fmla="*/ 12 w 23"/>
                    <a:gd name="T59" fmla="*/ 45 h 71"/>
                    <a:gd name="T60" fmla="*/ 13 w 23"/>
                    <a:gd name="T61" fmla="*/ 51 h 71"/>
                    <a:gd name="T62" fmla="*/ 13 w 23"/>
                    <a:gd name="T63" fmla="*/ 54 h 71"/>
                    <a:gd name="T64" fmla="*/ 13 w 23"/>
                    <a:gd name="T65" fmla="*/ 64 h 71"/>
                    <a:gd name="T66" fmla="*/ 13 w 23"/>
                    <a:gd name="T67" fmla="*/ 68 h 71"/>
                    <a:gd name="T68" fmla="*/ 13 w 23"/>
                    <a:gd name="T69" fmla="*/ 71 h 71"/>
                    <a:gd name="T70" fmla="*/ 17 w 23"/>
                    <a:gd name="T71" fmla="*/ 71 h 71"/>
                    <a:gd name="T72" fmla="*/ 17 w 23"/>
                    <a:gd name="T73" fmla="*/ 69 h 71"/>
                    <a:gd name="T74" fmla="*/ 17 w 23"/>
                    <a:gd name="T75" fmla="*/ 68 h 71"/>
                    <a:gd name="T76" fmla="*/ 19 w 23"/>
                    <a:gd name="T77" fmla="*/ 65 h 71"/>
                    <a:gd name="T78" fmla="*/ 18 w 23"/>
                    <a:gd name="T79" fmla="*/ 62 h 71"/>
                    <a:gd name="T80" fmla="*/ 19 w 23"/>
                    <a:gd name="T81" fmla="*/ 55 h 71"/>
                    <a:gd name="T82" fmla="*/ 19 w 23"/>
                    <a:gd name="T83" fmla="*/ 53 h 71"/>
                    <a:gd name="T84" fmla="*/ 18 w 23"/>
                    <a:gd name="T85" fmla="*/ 52 h 71"/>
                    <a:gd name="T86" fmla="*/ 19 w 23"/>
                    <a:gd name="T87" fmla="*/ 41 h 71"/>
                    <a:gd name="T88" fmla="*/ 20 w 23"/>
                    <a:gd name="T89" fmla="*/ 36 h 71"/>
                    <a:gd name="T90" fmla="*/ 22 w 23"/>
                    <a:gd name="T91" fmla="*/ 32 h 71"/>
                    <a:gd name="T92" fmla="*/ 23 w 23"/>
                    <a:gd name="T93" fmla="*/ 27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23" h="71">
                      <a:moveTo>
                        <a:pt x="23" y="24"/>
                      </a:moveTo>
                      <a:cubicBezTo>
                        <a:pt x="23" y="24"/>
                        <a:pt x="23" y="23"/>
                        <a:pt x="23" y="23"/>
                      </a:cubicBezTo>
                      <a:cubicBezTo>
                        <a:pt x="23" y="23"/>
                        <a:pt x="23" y="21"/>
                        <a:pt x="23" y="21"/>
                      </a:cubicBezTo>
                      <a:cubicBezTo>
                        <a:pt x="23" y="20"/>
                        <a:pt x="22" y="19"/>
                        <a:pt x="22" y="18"/>
                      </a:cubicBezTo>
                      <a:cubicBezTo>
                        <a:pt x="22" y="16"/>
                        <a:pt x="22" y="15"/>
                        <a:pt x="22" y="14"/>
                      </a:cubicBezTo>
                      <a:cubicBezTo>
                        <a:pt x="21" y="13"/>
                        <a:pt x="21" y="12"/>
                        <a:pt x="21" y="11"/>
                      </a:cubicBezTo>
                      <a:cubicBezTo>
                        <a:pt x="20" y="11"/>
                        <a:pt x="19" y="11"/>
                        <a:pt x="18" y="10"/>
                      </a:cubicBezTo>
                      <a:cubicBezTo>
                        <a:pt x="17" y="10"/>
                        <a:pt x="16" y="10"/>
                        <a:pt x="15" y="10"/>
                      </a:cubicBezTo>
                      <a:cubicBezTo>
                        <a:pt x="15" y="10"/>
                        <a:pt x="15" y="10"/>
                        <a:pt x="14" y="9"/>
                      </a:cubicBezTo>
                      <a:cubicBezTo>
                        <a:pt x="14" y="9"/>
                        <a:pt x="14" y="9"/>
                        <a:pt x="14" y="9"/>
                      </a:cubicBezTo>
                      <a:cubicBezTo>
                        <a:pt x="14" y="9"/>
                        <a:pt x="14" y="9"/>
                        <a:pt x="14" y="9"/>
                      </a:cubicBezTo>
                      <a:cubicBezTo>
                        <a:pt x="14" y="9"/>
                        <a:pt x="14" y="8"/>
                        <a:pt x="14" y="8"/>
                      </a:cubicBezTo>
                      <a:cubicBezTo>
                        <a:pt x="14" y="7"/>
                        <a:pt x="15" y="7"/>
                        <a:pt x="15" y="6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14" y="6"/>
                        <a:pt x="15" y="6"/>
                        <a:pt x="15" y="5"/>
                      </a:cubicBezTo>
                      <a:cubicBezTo>
                        <a:pt x="15" y="5"/>
                        <a:pt x="15" y="4"/>
                        <a:pt x="15" y="4"/>
                      </a:cubicBezTo>
                      <a:cubicBezTo>
                        <a:pt x="15" y="3"/>
                        <a:pt x="14" y="3"/>
                        <a:pt x="14" y="3"/>
                      </a:cubicBezTo>
                      <a:cubicBezTo>
                        <a:pt x="14" y="3"/>
                        <a:pt x="15" y="3"/>
                        <a:pt x="14" y="2"/>
                      </a:cubicBezTo>
                      <a:cubicBezTo>
                        <a:pt x="14" y="1"/>
                        <a:pt x="13" y="0"/>
                        <a:pt x="11" y="0"/>
                      </a:cubicBezTo>
                      <a:cubicBezTo>
                        <a:pt x="9" y="0"/>
                        <a:pt x="8" y="1"/>
                        <a:pt x="8" y="2"/>
                      </a:cubicBezTo>
                      <a:cubicBezTo>
                        <a:pt x="8" y="4"/>
                        <a:pt x="8" y="3"/>
                        <a:pt x="8" y="3"/>
                      </a:cubicBezTo>
                      <a:cubicBezTo>
                        <a:pt x="8" y="3"/>
                        <a:pt x="7" y="3"/>
                        <a:pt x="7" y="4"/>
                      </a:cubicBezTo>
                      <a:cubicBezTo>
                        <a:pt x="7" y="4"/>
                        <a:pt x="7" y="5"/>
                        <a:pt x="7" y="5"/>
                      </a:cubicBezTo>
                      <a:cubicBezTo>
                        <a:pt x="7" y="5"/>
                        <a:pt x="7" y="6"/>
                        <a:pt x="7" y="6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8" y="7"/>
                        <a:pt x="9" y="8"/>
                        <a:pt x="9" y="8"/>
                      </a:cubicBezTo>
                      <a:cubicBezTo>
                        <a:pt x="9" y="9"/>
                        <a:pt x="9" y="9"/>
                        <a:pt x="9" y="9"/>
                      </a:cubicBezTo>
                      <a:cubicBezTo>
                        <a:pt x="9" y="9"/>
                        <a:pt x="9" y="9"/>
                        <a:pt x="9" y="9"/>
                      </a:cubicBezTo>
                      <a:cubicBezTo>
                        <a:pt x="9" y="10"/>
                        <a:pt x="8" y="10"/>
                        <a:pt x="8" y="10"/>
                      </a:cubicBezTo>
                      <a:cubicBezTo>
                        <a:pt x="7" y="10"/>
                        <a:pt x="6" y="11"/>
                        <a:pt x="4" y="11"/>
                      </a:cubicBezTo>
                      <a:cubicBezTo>
                        <a:pt x="3" y="12"/>
                        <a:pt x="2" y="12"/>
                        <a:pt x="2" y="13"/>
                      </a:cubicBezTo>
                      <a:cubicBezTo>
                        <a:pt x="2" y="13"/>
                        <a:pt x="1" y="16"/>
                        <a:pt x="1" y="17"/>
                      </a:cubicBezTo>
                      <a:cubicBezTo>
                        <a:pt x="1" y="19"/>
                        <a:pt x="1" y="19"/>
                        <a:pt x="1" y="20"/>
                      </a:cubicBezTo>
                      <a:cubicBezTo>
                        <a:pt x="1" y="21"/>
                        <a:pt x="1" y="21"/>
                        <a:pt x="1" y="22"/>
                      </a:cubicBezTo>
                      <a:cubicBezTo>
                        <a:pt x="1" y="22"/>
                        <a:pt x="0" y="23"/>
                        <a:pt x="0" y="24"/>
                      </a:cubicBezTo>
                      <a:cubicBezTo>
                        <a:pt x="1" y="25"/>
                        <a:pt x="0" y="25"/>
                        <a:pt x="0" y="26"/>
                      </a:cubicBezTo>
                      <a:cubicBezTo>
                        <a:pt x="0" y="26"/>
                        <a:pt x="0" y="27"/>
                        <a:pt x="1" y="29"/>
                      </a:cubicBezTo>
                      <a:cubicBezTo>
                        <a:pt x="1" y="29"/>
                        <a:pt x="1" y="29"/>
                        <a:pt x="1" y="30"/>
                      </a:cubicBezTo>
                      <a:cubicBezTo>
                        <a:pt x="1" y="30"/>
                        <a:pt x="1" y="31"/>
                        <a:pt x="1" y="31"/>
                      </a:cubicBezTo>
                      <a:cubicBezTo>
                        <a:pt x="2" y="31"/>
                        <a:pt x="2" y="31"/>
                        <a:pt x="2" y="32"/>
                      </a:cubicBezTo>
                      <a:cubicBezTo>
                        <a:pt x="1" y="32"/>
                        <a:pt x="1" y="33"/>
                        <a:pt x="2" y="33"/>
                      </a:cubicBezTo>
                      <a:cubicBezTo>
                        <a:pt x="2" y="33"/>
                        <a:pt x="2" y="34"/>
                        <a:pt x="2" y="34"/>
                      </a:cubicBezTo>
                      <a:cubicBezTo>
                        <a:pt x="2" y="34"/>
                        <a:pt x="2" y="35"/>
                        <a:pt x="2" y="35"/>
                      </a:cubicBezTo>
                      <a:cubicBezTo>
                        <a:pt x="3" y="35"/>
                        <a:pt x="3" y="37"/>
                        <a:pt x="3" y="37"/>
                      </a:cubicBezTo>
                      <a:cubicBezTo>
                        <a:pt x="4" y="36"/>
                        <a:pt x="4" y="36"/>
                        <a:pt x="4" y="36"/>
                      </a:cubicBezTo>
                      <a:cubicBezTo>
                        <a:pt x="4" y="37"/>
                        <a:pt x="4" y="37"/>
                        <a:pt x="4" y="37"/>
                      </a:cubicBezTo>
                      <a:cubicBezTo>
                        <a:pt x="4" y="37"/>
                        <a:pt x="4" y="38"/>
                        <a:pt x="4" y="41"/>
                      </a:cubicBezTo>
                      <a:cubicBezTo>
                        <a:pt x="5" y="44"/>
                        <a:pt x="5" y="47"/>
                        <a:pt x="5" y="48"/>
                      </a:cubicBezTo>
                      <a:cubicBezTo>
                        <a:pt x="5" y="49"/>
                        <a:pt x="5" y="49"/>
                        <a:pt x="5" y="50"/>
                      </a:cubicBezTo>
                      <a:cubicBezTo>
                        <a:pt x="6" y="50"/>
                        <a:pt x="5" y="52"/>
                        <a:pt x="5" y="52"/>
                      </a:cubicBezTo>
                      <a:cubicBezTo>
                        <a:pt x="6" y="53"/>
                        <a:pt x="6" y="53"/>
                        <a:pt x="5" y="53"/>
                      </a:cubicBezTo>
                      <a:cubicBezTo>
                        <a:pt x="5" y="53"/>
                        <a:pt x="5" y="53"/>
                        <a:pt x="5" y="54"/>
                      </a:cubicBezTo>
                      <a:cubicBezTo>
                        <a:pt x="5" y="55"/>
                        <a:pt x="5" y="55"/>
                        <a:pt x="5" y="55"/>
                      </a:cubicBezTo>
                      <a:cubicBezTo>
                        <a:pt x="5" y="55"/>
                        <a:pt x="5" y="56"/>
                        <a:pt x="5" y="56"/>
                      </a:cubicBezTo>
                      <a:cubicBezTo>
                        <a:pt x="5" y="57"/>
                        <a:pt x="5" y="57"/>
                        <a:pt x="5" y="58"/>
                      </a:cubicBezTo>
                      <a:cubicBezTo>
                        <a:pt x="6" y="59"/>
                        <a:pt x="6" y="59"/>
                        <a:pt x="6" y="60"/>
                      </a:cubicBezTo>
                      <a:cubicBezTo>
                        <a:pt x="6" y="61"/>
                        <a:pt x="6" y="62"/>
                        <a:pt x="6" y="62"/>
                      </a:cubicBezTo>
                      <a:cubicBezTo>
                        <a:pt x="6" y="62"/>
                        <a:pt x="6" y="62"/>
                        <a:pt x="6" y="63"/>
                      </a:cubicBezTo>
                      <a:cubicBezTo>
                        <a:pt x="6" y="63"/>
                        <a:pt x="6" y="63"/>
                        <a:pt x="6" y="64"/>
                      </a:cubicBezTo>
                      <a:cubicBezTo>
                        <a:pt x="6" y="64"/>
                        <a:pt x="6" y="65"/>
                        <a:pt x="6" y="65"/>
                      </a:cubicBezTo>
                      <a:cubicBezTo>
                        <a:pt x="6" y="65"/>
                        <a:pt x="6" y="65"/>
                        <a:pt x="6" y="65"/>
                      </a:cubicBezTo>
                      <a:cubicBezTo>
                        <a:pt x="6" y="65"/>
                        <a:pt x="5" y="66"/>
                        <a:pt x="6" y="66"/>
                      </a:cubicBezTo>
                      <a:cubicBezTo>
                        <a:pt x="6" y="66"/>
                        <a:pt x="6" y="67"/>
                        <a:pt x="6" y="67"/>
                      </a:cubicBezTo>
                      <a:cubicBezTo>
                        <a:pt x="7" y="68"/>
                        <a:pt x="7" y="68"/>
                        <a:pt x="7" y="68"/>
                      </a:cubicBezTo>
                      <a:cubicBezTo>
                        <a:pt x="7" y="68"/>
                        <a:pt x="7" y="68"/>
                        <a:pt x="7" y="68"/>
                      </a:cubicBezTo>
                      <a:cubicBezTo>
                        <a:pt x="7" y="68"/>
                        <a:pt x="7" y="68"/>
                        <a:pt x="7" y="68"/>
                      </a:cubicBezTo>
                      <a:cubicBezTo>
                        <a:pt x="7" y="68"/>
                        <a:pt x="7" y="69"/>
                        <a:pt x="7" y="69"/>
                      </a:cubicBezTo>
                      <a:cubicBezTo>
                        <a:pt x="6" y="70"/>
                        <a:pt x="5" y="69"/>
                        <a:pt x="5" y="70"/>
                      </a:cubicBezTo>
                      <a:cubicBezTo>
                        <a:pt x="5" y="70"/>
                        <a:pt x="5" y="70"/>
                        <a:pt x="5" y="70"/>
                      </a:cubicBezTo>
                      <a:cubicBezTo>
                        <a:pt x="5" y="70"/>
                        <a:pt x="5" y="71"/>
                        <a:pt x="6" y="71"/>
                      </a:cubicBezTo>
                      <a:cubicBezTo>
                        <a:pt x="6" y="71"/>
                        <a:pt x="10" y="71"/>
                        <a:pt x="10" y="71"/>
                      </a:cubicBezTo>
                      <a:cubicBezTo>
                        <a:pt x="10" y="71"/>
                        <a:pt x="11" y="71"/>
                        <a:pt x="11" y="71"/>
                      </a:cubicBezTo>
                      <a:cubicBezTo>
                        <a:pt x="11" y="70"/>
                        <a:pt x="11" y="69"/>
                        <a:pt x="11" y="68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11" y="68"/>
                        <a:pt x="12" y="67"/>
                        <a:pt x="12" y="66"/>
                      </a:cubicBezTo>
                      <a:cubicBezTo>
                        <a:pt x="12" y="66"/>
                        <a:pt x="11" y="65"/>
                        <a:pt x="11" y="65"/>
                      </a:cubicBezTo>
                      <a:cubicBezTo>
                        <a:pt x="11" y="65"/>
                        <a:pt x="12" y="64"/>
                        <a:pt x="12" y="64"/>
                      </a:cubicBezTo>
                      <a:cubicBezTo>
                        <a:pt x="12" y="63"/>
                        <a:pt x="12" y="59"/>
                        <a:pt x="11" y="58"/>
                      </a:cubicBezTo>
                      <a:cubicBezTo>
                        <a:pt x="11" y="57"/>
                        <a:pt x="11" y="55"/>
                        <a:pt x="11" y="55"/>
                      </a:cubicBezTo>
                      <a:cubicBezTo>
                        <a:pt x="11" y="55"/>
                        <a:pt x="11" y="54"/>
                        <a:pt x="11" y="54"/>
                      </a:cubicBezTo>
                      <a:cubicBezTo>
                        <a:pt x="11" y="54"/>
                        <a:pt x="11" y="54"/>
                        <a:pt x="11" y="53"/>
                      </a:cubicBezTo>
                      <a:cubicBezTo>
                        <a:pt x="11" y="53"/>
                        <a:pt x="11" y="53"/>
                        <a:pt x="11" y="53"/>
                      </a:cubicBezTo>
                      <a:cubicBezTo>
                        <a:pt x="11" y="52"/>
                        <a:pt x="11" y="52"/>
                        <a:pt x="11" y="52"/>
                      </a:cubicBezTo>
                      <a:cubicBezTo>
                        <a:pt x="11" y="51"/>
                        <a:pt x="11" y="51"/>
                        <a:pt x="11" y="51"/>
                      </a:cubicBezTo>
                      <a:cubicBezTo>
                        <a:pt x="11" y="51"/>
                        <a:pt x="11" y="50"/>
                        <a:pt x="11" y="48"/>
                      </a:cubicBezTo>
                      <a:cubicBezTo>
                        <a:pt x="11" y="46"/>
                        <a:pt x="11" y="44"/>
                        <a:pt x="11" y="43"/>
                      </a:cubicBezTo>
                      <a:cubicBezTo>
                        <a:pt x="11" y="43"/>
                        <a:pt x="11" y="43"/>
                        <a:pt x="11" y="43"/>
                      </a:cubicBezTo>
                      <a:cubicBezTo>
                        <a:pt x="11" y="43"/>
                        <a:pt x="12" y="43"/>
                        <a:pt x="12" y="43"/>
                      </a:cubicBezTo>
                      <a:cubicBezTo>
                        <a:pt x="12" y="43"/>
                        <a:pt x="12" y="43"/>
                        <a:pt x="12" y="43"/>
                      </a:cubicBezTo>
                      <a:cubicBezTo>
                        <a:pt x="12" y="43"/>
                        <a:pt x="12" y="45"/>
                        <a:pt x="12" y="45"/>
                      </a:cubicBezTo>
                      <a:cubicBezTo>
                        <a:pt x="12" y="45"/>
                        <a:pt x="12" y="47"/>
                        <a:pt x="13" y="47"/>
                      </a:cubicBezTo>
                      <a:cubicBezTo>
                        <a:pt x="13" y="48"/>
                        <a:pt x="13" y="50"/>
                        <a:pt x="13" y="50"/>
                      </a:cubicBezTo>
                      <a:cubicBezTo>
                        <a:pt x="13" y="51"/>
                        <a:pt x="13" y="51"/>
                        <a:pt x="13" y="51"/>
                      </a:cubicBezTo>
                      <a:cubicBezTo>
                        <a:pt x="13" y="52"/>
                        <a:pt x="13" y="52"/>
                        <a:pt x="13" y="53"/>
                      </a:cubicBezTo>
                      <a:cubicBezTo>
                        <a:pt x="13" y="53"/>
                        <a:pt x="13" y="53"/>
                        <a:pt x="13" y="53"/>
                      </a:cubicBezTo>
                      <a:cubicBezTo>
                        <a:pt x="13" y="53"/>
                        <a:pt x="13" y="54"/>
                        <a:pt x="13" y="54"/>
                      </a:cubicBezTo>
                      <a:cubicBezTo>
                        <a:pt x="13" y="55"/>
                        <a:pt x="13" y="56"/>
                        <a:pt x="13" y="57"/>
                      </a:cubicBezTo>
                      <a:cubicBezTo>
                        <a:pt x="13" y="58"/>
                        <a:pt x="13" y="61"/>
                        <a:pt x="13" y="62"/>
                      </a:cubicBezTo>
                      <a:cubicBezTo>
                        <a:pt x="13" y="63"/>
                        <a:pt x="13" y="64"/>
                        <a:pt x="13" y="64"/>
                      </a:cubicBezTo>
                      <a:cubicBezTo>
                        <a:pt x="13" y="65"/>
                        <a:pt x="12" y="66"/>
                        <a:pt x="12" y="66"/>
                      </a:cubicBezTo>
                      <a:cubicBezTo>
                        <a:pt x="12" y="66"/>
                        <a:pt x="13" y="67"/>
                        <a:pt x="13" y="67"/>
                      </a:cubicBezTo>
                      <a:cubicBezTo>
                        <a:pt x="13" y="68"/>
                        <a:pt x="13" y="68"/>
                        <a:pt x="13" y="68"/>
                      </a:cubicBezTo>
                      <a:cubicBezTo>
                        <a:pt x="13" y="68"/>
                        <a:pt x="13" y="68"/>
                        <a:pt x="13" y="68"/>
                      </a:cubicBezTo>
                      <a:cubicBezTo>
                        <a:pt x="13" y="68"/>
                        <a:pt x="13" y="69"/>
                        <a:pt x="13" y="69"/>
                      </a:cubicBezTo>
                      <a:cubicBezTo>
                        <a:pt x="13" y="69"/>
                        <a:pt x="13" y="71"/>
                        <a:pt x="13" y="71"/>
                      </a:cubicBezTo>
                      <a:cubicBezTo>
                        <a:pt x="13" y="71"/>
                        <a:pt x="14" y="71"/>
                        <a:pt x="14" y="71"/>
                      </a:cubicBezTo>
                      <a:cubicBezTo>
                        <a:pt x="14" y="71"/>
                        <a:pt x="14" y="71"/>
                        <a:pt x="15" y="71"/>
                      </a:cubicBezTo>
                      <a:cubicBezTo>
                        <a:pt x="15" y="71"/>
                        <a:pt x="16" y="71"/>
                        <a:pt x="17" y="71"/>
                      </a:cubicBezTo>
                      <a:cubicBezTo>
                        <a:pt x="18" y="71"/>
                        <a:pt x="19" y="71"/>
                        <a:pt x="19" y="71"/>
                      </a:cubicBezTo>
                      <a:cubicBezTo>
                        <a:pt x="19" y="71"/>
                        <a:pt x="19" y="71"/>
                        <a:pt x="19" y="70"/>
                      </a:cubicBezTo>
                      <a:cubicBezTo>
                        <a:pt x="19" y="69"/>
                        <a:pt x="17" y="70"/>
                        <a:pt x="17" y="69"/>
                      </a:cubicBez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7" y="68"/>
                        <a:pt x="18" y="67"/>
                        <a:pt x="18" y="67"/>
                      </a:cubicBezTo>
                      <a:cubicBezTo>
                        <a:pt x="18" y="67"/>
                        <a:pt x="18" y="66"/>
                        <a:pt x="18" y="66"/>
                      </a:cubicBezTo>
                      <a:cubicBezTo>
                        <a:pt x="18" y="65"/>
                        <a:pt x="19" y="65"/>
                        <a:pt x="19" y="65"/>
                      </a:cubicBezTo>
                      <a:cubicBezTo>
                        <a:pt x="18" y="65"/>
                        <a:pt x="18" y="64"/>
                        <a:pt x="18" y="63"/>
                      </a:cubicBezTo>
                      <a:cubicBezTo>
                        <a:pt x="18" y="63"/>
                        <a:pt x="18" y="62"/>
                        <a:pt x="18" y="62"/>
                      </a:cubicBezTo>
                      <a:cubicBezTo>
                        <a:pt x="18" y="62"/>
                        <a:pt x="18" y="62"/>
                        <a:pt x="18" y="62"/>
                      </a:cubicBezTo>
                      <a:cubicBezTo>
                        <a:pt x="18" y="61"/>
                        <a:pt x="18" y="59"/>
                        <a:pt x="18" y="58"/>
                      </a:cubicBezTo>
                      <a:cubicBezTo>
                        <a:pt x="18" y="57"/>
                        <a:pt x="19" y="57"/>
                        <a:pt x="19" y="56"/>
                      </a:cubicBezTo>
                      <a:cubicBezTo>
                        <a:pt x="19" y="55"/>
                        <a:pt x="19" y="55"/>
                        <a:pt x="19" y="55"/>
                      </a:cubicBezTo>
                      <a:cubicBezTo>
                        <a:pt x="19" y="55"/>
                        <a:pt x="19" y="54"/>
                        <a:pt x="19" y="54"/>
                      </a:cubicBezTo>
                      <a:cubicBezTo>
                        <a:pt x="19" y="54"/>
                        <a:pt x="19" y="53"/>
                        <a:pt x="19" y="53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8" y="52"/>
                        <a:pt x="18" y="52"/>
                        <a:pt x="18" y="52"/>
                      </a:cubicBezTo>
                      <a:cubicBezTo>
                        <a:pt x="18" y="51"/>
                        <a:pt x="18" y="50"/>
                        <a:pt x="18" y="49"/>
                      </a:cubicBezTo>
                      <a:cubicBezTo>
                        <a:pt x="19" y="49"/>
                        <a:pt x="19" y="47"/>
                        <a:pt x="19" y="46"/>
                      </a:cubicBezTo>
                      <a:cubicBezTo>
                        <a:pt x="19" y="45"/>
                        <a:pt x="19" y="41"/>
                        <a:pt x="19" y="41"/>
                      </a:cubicBezTo>
                      <a:cubicBezTo>
                        <a:pt x="19" y="41"/>
                        <a:pt x="19" y="40"/>
                        <a:pt x="20" y="40"/>
                      </a:cubicBezTo>
                      <a:cubicBezTo>
                        <a:pt x="20" y="39"/>
                        <a:pt x="19" y="38"/>
                        <a:pt x="19" y="37"/>
                      </a:cubicBezTo>
                      <a:cubicBezTo>
                        <a:pt x="20" y="37"/>
                        <a:pt x="20" y="36"/>
                        <a:pt x="20" y="36"/>
                      </a:cubicBezTo>
                      <a:cubicBezTo>
                        <a:pt x="20" y="36"/>
                        <a:pt x="21" y="35"/>
                        <a:pt x="21" y="35"/>
                      </a:cubicBezTo>
                      <a:cubicBezTo>
                        <a:pt x="21" y="35"/>
                        <a:pt x="22" y="33"/>
                        <a:pt x="22" y="33"/>
                      </a:cubicBezTo>
                      <a:cubicBezTo>
                        <a:pt x="22" y="33"/>
                        <a:pt x="22" y="32"/>
                        <a:pt x="22" y="32"/>
                      </a:cubicBezTo>
                      <a:cubicBezTo>
                        <a:pt x="22" y="31"/>
                        <a:pt x="22" y="31"/>
                        <a:pt x="22" y="30"/>
                      </a:cubicBezTo>
                      <a:cubicBezTo>
                        <a:pt x="22" y="30"/>
                        <a:pt x="22" y="30"/>
                        <a:pt x="23" y="29"/>
                      </a:cubicBezTo>
                      <a:cubicBezTo>
                        <a:pt x="23" y="29"/>
                        <a:pt x="23" y="27"/>
                        <a:pt x="23" y="27"/>
                      </a:cubicBezTo>
                      <a:cubicBezTo>
                        <a:pt x="23" y="26"/>
                        <a:pt x="23" y="25"/>
                        <a:pt x="23" y="2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34" name="Oval 665">
                  <a:extLst>
                    <a:ext uri="{FF2B5EF4-FFF2-40B4-BE49-F238E27FC236}">
                      <a16:creationId xmlns:a16="http://schemas.microsoft.com/office/drawing/2014/main" id="{5BBC94A2-7651-C0EE-8A5E-D2D0817BD39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613525" y="2000250"/>
                  <a:ext cx="130175" cy="13017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35" name="Freeform 666">
                  <a:extLst>
                    <a:ext uri="{FF2B5EF4-FFF2-40B4-BE49-F238E27FC236}">
                      <a16:creationId xmlns:a16="http://schemas.microsoft.com/office/drawing/2014/main" id="{93C8294E-5CA7-0CA2-F97A-CCDECCFB39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62738" y="2019300"/>
                  <a:ext cx="31750" cy="96838"/>
                </a:xfrm>
                <a:custGeom>
                  <a:avLst/>
                  <a:gdLst>
                    <a:gd name="T0" fmla="*/ 22 w 23"/>
                    <a:gd name="T1" fmla="*/ 21 h 71"/>
                    <a:gd name="T2" fmla="*/ 21 w 23"/>
                    <a:gd name="T3" fmla="*/ 12 h 71"/>
                    <a:gd name="T4" fmla="*/ 14 w 23"/>
                    <a:gd name="T5" fmla="*/ 10 h 71"/>
                    <a:gd name="T6" fmla="*/ 14 w 23"/>
                    <a:gd name="T7" fmla="*/ 8 h 71"/>
                    <a:gd name="T8" fmla="*/ 14 w 23"/>
                    <a:gd name="T9" fmla="*/ 6 h 71"/>
                    <a:gd name="T10" fmla="*/ 14 w 23"/>
                    <a:gd name="T11" fmla="*/ 2 h 71"/>
                    <a:gd name="T12" fmla="*/ 7 w 23"/>
                    <a:gd name="T13" fmla="*/ 4 h 71"/>
                    <a:gd name="T14" fmla="*/ 7 w 23"/>
                    <a:gd name="T15" fmla="*/ 6 h 71"/>
                    <a:gd name="T16" fmla="*/ 8 w 23"/>
                    <a:gd name="T17" fmla="*/ 9 h 71"/>
                    <a:gd name="T18" fmla="*/ 4 w 23"/>
                    <a:gd name="T19" fmla="*/ 12 h 71"/>
                    <a:gd name="T20" fmla="*/ 1 w 23"/>
                    <a:gd name="T21" fmla="*/ 20 h 71"/>
                    <a:gd name="T22" fmla="*/ 0 w 23"/>
                    <a:gd name="T23" fmla="*/ 26 h 71"/>
                    <a:gd name="T24" fmla="*/ 1 w 23"/>
                    <a:gd name="T25" fmla="*/ 31 h 71"/>
                    <a:gd name="T26" fmla="*/ 1 w 23"/>
                    <a:gd name="T27" fmla="*/ 34 h 71"/>
                    <a:gd name="T28" fmla="*/ 4 w 23"/>
                    <a:gd name="T29" fmla="*/ 37 h 71"/>
                    <a:gd name="T30" fmla="*/ 5 w 23"/>
                    <a:gd name="T31" fmla="*/ 48 h 71"/>
                    <a:gd name="T32" fmla="*/ 5 w 23"/>
                    <a:gd name="T33" fmla="*/ 53 h 71"/>
                    <a:gd name="T34" fmla="*/ 5 w 23"/>
                    <a:gd name="T35" fmla="*/ 56 h 71"/>
                    <a:gd name="T36" fmla="*/ 6 w 23"/>
                    <a:gd name="T37" fmla="*/ 62 h 71"/>
                    <a:gd name="T38" fmla="*/ 5 w 23"/>
                    <a:gd name="T39" fmla="*/ 65 h 71"/>
                    <a:gd name="T40" fmla="*/ 6 w 23"/>
                    <a:gd name="T41" fmla="*/ 67 h 71"/>
                    <a:gd name="T42" fmla="*/ 7 w 23"/>
                    <a:gd name="T43" fmla="*/ 69 h 71"/>
                    <a:gd name="T44" fmla="*/ 5 w 23"/>
                    <a:gd name="T45" fmla="*/ 71 h 71"/>
                    <a:gd name="T46" fmla="*/ 11 w 23"/>
                    <a:gd name="T47" fmla="*/ 71 h 71"/>
                    <a:gd name="T48" fmla="*/ 11 w 23"/>
                    <a:gd name="T49" fmla="*/ 66 h 71"/>
                    <a:gd name="T50" fmla="*/ 11 w 23"/>
                    <a:gd name="T51" fmla="*/ 58 h 71"/>
                    <a:gd name="T52" fmla="*/ 11 w 23"/>
                    <a:gd name="T53" fmla="*/ 54 h 71"/>
                    <a:gd name="T54" fmla="*/ 11 w 23"/>
                    <a:gd name="T55" fmla="*/ 51 h 71"/>
                    <a:gd name="T56" fmla="*/ 12 w 23"/>
                    <a:gd name="T57" fmla="*/ 43 h 71"/>
                    <a:gd name="T58" fmla="*/ 12 w 23"/>
                    <a:gd name="T59" fmla="*/ 45 h 71"/>
                    <a:gd name="T60" fmla="*/ 13 w 23"/>
                    <a:gd name="T61" fmla="*/ 52 h 71"/>
                    <a:gd name="T62" fmla="*/ 13 w 23"/>
                    <a:gd name="T63" fmla="*/ 55 h 71"/>
                    <a:gd name="T64" fmla="*/ 12 w 23"/>
                    <a:gd name="T65" fmla="*/ 64 h 71"/>
                    <a:gd name="T66" fmla="*/ 13 w 23"/>
                    <a:gd name="T67" fmla="*/ 68 h 71"/>
                    <a:gd name="T68" fmla="*/ 13 w 23"/>
                    <a:gd name="T69" fmla="*/ 71 h 71"/>
                    <a:gd name="T70" fmla="*/ 17 w 23"/>
                    <a:gd name="T71" fmla="*/ 71 h 71"/>
                    <a:gd name="T72" fmla="*/ 17 w 23"/>
                    <a:gd name="T73" fmla="*/ 69 h 71"/>
                    <a:gd name="T74" fmla="*/ 17 w 23"/>
                    <a:gd name="T75" fmla="*/ 68 h 71"/>
                    <a:gd name="T76" fmla="*/ 18 w 23"/>
                    <a:gd name="T77" fmla="*/ 65 h 71"/>
                    <a:gd name="T78" fmla="*/ 18 w 23"/>
                    <a:gd name="T79" fmla="*/ 62 h 71"/>
                    <a:gd name="T80" fmla="*/ 18 w 23"/>
                    <a:gd name="T81" fmla="*/ 55 h 71"/>
                    <a:gd name="T82" fmla="*/ 18 w 23"/>
                    <a:gd name="T83" fmla="*/ 53 h 71"/>
                    <a:gd name="T84" fmla="*/ 18 w 23"/>
                    <a:gd name="T85" fmla="*/ 52 h 71"/>
                    <a:gd name="T86" fmla="*/ 19 w 23"/>
                    <a:gd name="T87" fmla="*/ 41 h 71"/>
                    <a:gd name="T88" fmla="*/ 19 w 23"/>
                    <a:gd name="T89" fmla="*/ 36 h 71"/>
                    <a:gd name="T90" fmla="*/ 21 w 23"/>
                    <a:gd name="T91" fmla="*/ 32 h 71"/>
                    <a:gd name="T92" fmla="*/ 23 w 23"/>
                    <a:gd name="T93" fmla="*/ 27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23" h="71">
                      <a:moveTo>
                        <a:pt x="23" y="25"/>
                      </a:move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3" y="24"/>
                        <a:pt x="22" y="22"/>
                        <a:pt x="22" y="21"/>
                      </a:cubicBezTo>
                      <a:cubicBezTo>
                        <a:pt x="22" y="20"/>
                        <a:pt x="22" y="19"/>
                        <a:pt x="22" y="18"/>
                      </a:cubicBezTo>
                      <a:cubicBezTo>
                        <a:pt x="22" y="17"/>
                        <a:pt x="22" y="15"/>
                        <a:pt x="21" y="14"/>
                      </a:cubicBezTo>
                      <a:cubicBezTo>
                        <a:pt x="21" y="13"/>
                        <a:pt x="21" y="12"/>
                        <a:pt x="21" y="12"/>
                      </a:cubicBezTo>
                      <a:cubicBezTo>
                        <a:pt x="20" y="11"/>
                        <a:pt x="18" y="11"/>
                        <a:pt x="18" y="11"/>
                      </a:cubicBezTo>
                      <a:cubicBezTo>
                        <a:pt x="17" y="11"/>
                        <a:pt x="15" y="10"/>
                        <a:pt x="15" y="10"/>
                      </a:cubicBezTo>
                      <a:cubicBezTo>
                        <a:pt x="15" y="10"/>
                        <a:pt x="14" y="10"/>
                        <a:pt x="14" y="10"/>
                      </a:cubicBezTo>
                      <a:cubicBezTo>
                        <a:pt x="14" y="9"/>
                        <a:pt x="14" y="9"/>
                        <a:pt x="14" y="9"/>
                      </a:cubicBezTo>
                      <a:cubicBezTo>
                        <a:pt x="14" y="9"/>
                        <a:pt x="14" y="9"/>
                        <a:pt x="14" y="9"/>
                      </a:cubicBezTo>
                      <a:cubicBezTo>
                        <a:pt x="14" y="9"/>
                        <a:pt x="13" y="8"/>
                        <a:pt x="14" y="8"/>
                      </a:cubicBezTo>
                      <a:cubicBezTo>
                        <a:pt x="14" y="8"/>
                        <a:pt x="14" y="7"/>
                        <a:pt x="14" y="7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14" y="5"/>
                        <a:pt x="15" y="4"/>
                        <a:pt x="15" y="4"/>
                      </a:cubicBezTo>
                      <a:cubicBezTo>
                        <a:pt x="14" y="3"/>
                        <a:pt x="14" y="4"/>
                        <a:pt x="14" y="4"/>
                      </a:cubicBezTo>
                      <a:cubicBezTo>
                        <a:pt x="14" y="4"/>
                        <a:pt x="14" y="3"/>
                        <a:pt x="14" y="2"/>
                      </a:cubicBezTo>
                      <a:cubicBezTo>
                        <a:pt x="14" y="1"/>
                        <a:pt x="13" y="0"/>
                        <a:pt x="11" y="0"/>
                      </a:cubicBezTo>
                      <a:cubicBezTo>
                        <a:pt x="9" y="0"/>
                        <a:pt x="7" y="2"/>
                        <a:pt x="7" y="3"/>
                      </a:cubicBezTo>
                      <a:cubicBezTo>
                        <a:pt x="7" y="4"/>
                        <a:pt x="7" y="4"/>
                        <a:pt x="7" y="4"/>
                      </a:cubicBezTo>
                      <a:cubicBezTo>
                        <a:pt x="7" y="4"/>
                        <a:pt x="7" y="4"/>
                        <a:pt x="7" y="4"/>
                      </a:cubicBezTo>
                      <a:cubicBezTo>
                        <a:pt x="7" y="5"/>
                        <a:pt x="7" y="5"/>
                        <a:pt x="7" y="5"/>
                      </a:cubicBezTo>
                      <a:cubicBezTo>
                        <a:pt x="7" y="5"/>
                        <a:pt x="7" y="6"/>
                        <a:pt x="7" y="6"/>
                      </a:cubicBezTo>
                      <a:cubicBezTo>
                        <a:pt x="7" y="6"/>
                        <a:pt x="7" y="6"/>
                        <a:pt x="8" y="6"/>
                      </a:cubicBezTo>
                      <a:cubicBezTo>
                        <a:pt x="8" y="7"/>
                        <a:pt x="8" y="8"/>
                        <a:pt x="8" y="8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10"/>
                        <a:pt x="8" y="10"/>
                      </a:cubicBezTo>
                      <a:cubicBezTo>
                        <a:pt x="8" y="10"/>
                        <a:pt x="8" y="10"/>
                        <a:pt x="7" y="10"/>
                      </a:cubicBezTo>
                      <a:cubicBezTo>
                        <a:pt x="7" y="11"/>
                        <a:pt x="5" y="11"/>
                        <a:pt x="4" y="12"/>
                      </a:cubicBezTo>
                      <a:cubicBezTo>
                        <a:pt x="3" y="12"/>
                        <a:pt x="2" y="13"/>
                        <a:pt x="2" y="13"/>
                      </a:cubicBezTo>
                      <a:cubicBezTo>
                        <a:pt x="2" y="13"/>
                        <a:pt x="1" y="16"/>
                        <a:pt x="1" y="17"/>
                      </a:cubicBezTo>
                      <a:cubicBezTo>
                        <a:pt x="1" y="19"/>
                        <a:pt x="1" y="19"/>
                        <a:pt x="1" y="20"/>
                      </a:cubicBezTo>
                      <a:cubicBezTo>
                        <a:pt x="0" y="21"/>
                        <a:pt x="1" y="22"/>
                        <a:pt x="0" y="22"/>
                      </a:cubicBezTo>
                      <a:cubicBezTo>
                        <a:pt x="0" y="22"/>
                        <a:pt x="0" y="23"/>
                        <a:pt x="0" y="24"/>
                      </a:cubicBezTo>
                      <a:cubicBezTo>
                        <a:pt x="0" y="25"/>
                        <a:pt x="0" y="25"/>
                        <a:pt x="0" y="26"/>
                      </a:cubicBezTo>
                      <a:cubicBezTo>
                        <a:pt x="0" y="26"/>
                        <a:pt x="0" y="28"/>
                        <a:pt x="0" y="29"/>
                      </a:cubicBezTo>
                      <a:cubicBezTo>
                        <a:pt x="0" y="29"/>
                        <a:pt x="0" y="29"/>
                        <a:pt x="0" y="30"/>
                      </a:cubicBezTo>
                      <a:cubicBezTo>
                        <a:pt x="0" y="31"/>
                        <a:pt x="1" y="31"/>
                        <a:pt x="1" y="31"/>
                      </a:cubicBezTo>
                      <a:cubicBezTo>
                        <a:pt x="1" y="31"/>
                        <a:pt x="1" y="32"/>
                        <a:pt x="1" y="32"/>
                      </a:cubicBezTo>
                      <a:cubicBezTo>
                        <a:pt x="1" y="33"/>
                        <a:pt x="1" y="33"/>
                        <a:pt x="1" y="33"/>
                      </a:cubicBezTo>
                      <a:cubicBezTo>
                        <a:pt x="1" y="33"/>
                        <a:pt x="1" y="34"/>
                        <a:pt x="1" y="34"/>
                      </a:cubicBezTo>
                      <a:cubicBezTo>
                        <a:pt x="2" y="34"/>
                        <a:pt x="2" y="35"/>
                        <a:pt x="2" y="35"/>
                      </a:cubicBezTo>
                      <a:cubicBezTo>
                        <a:pt x="2" y="36"/>
                        <a:pt x="3" y="37"/>
                        <a:pt x="3" y="37"/>
                      </a:cubicBezTo>
                      <a:cubicBezTo>
                        <a:pt x="4" y="37"/>
                        <a:pt x="4" y="37"/>
                        <a:pt x="4" y="37"/>
                      </a:cubicBezTo>
                      <a:cubicBezTo>
                        <a:pt x="4" y="37"/>
                        <a:pt x="4" y="37"/>
                        <a:pt x="4" y="37"/>
                      </a:cubicBezTo>
                      <a:cubicBezTo>
                        <a:pt x="4" y="37"/>
                        <a:pt x="4" y="39"/>
                        <a:pt x="4" y="41"/>
                      </a:cubicBezTo>
                      <a:cubicBezTo>
                        <a:pt x="4" y="44"/>
                        <a:pt x="4" y="47"/>
                        <a:pt x="5" y="48"/>
                      </a:cubicBezTo>
                      <a:cubicBezTo>
                        <a:pt x="5" y="49"/>
                        <a:pt x="5" y="50"/>
                        <a:pt x="5" y="50"/>
                      </a:cubicBezTo>
                      <a:cubicBezTo>
                        <a:pt x="5" y="51"/>
                        <a:pt x="5" y="52"/>
                        <a:pt x="5" y="52"/>
                      </a:cubicBezTo>
                      <a:cubicBezTo>
                        <a:pt x="5" y="53"/>
                        <a:pt x="5" y="53"/>
                        <a:pt x="5" y="53"/>
                      </a:cubicBezTo>
                      <a:cubicBezTo>
                        <a:pt x="5" y="54"/>
                        <a:pt x="4" y="54"/>
                        <a:pt x="5" y="54"/>
                      </a:cubicBezTo>
                      <a:cubicBezTo>
                        <a:pt x="5" y="55"/>
                        <a:pt x="5" y="55"/>
                        <a:pt x="5" y="55"/>
                      </a:cubicBezTo>
                      <a:cubicBezTo>
                        <a:pt x="5" y="56"/>
                        <a:pt x="4" y="56"/>
                        <a:pt x="5" y="56"/>
                      </a:cubicBezTo>
                      <a:cubicBezTo>
                        <a:pt x="5" y="57"/>
                        <a:pt x="5" y="57"/>
                        <a:pt x="5" y="58"/>
                      </a:cubicBezTo>
                      <a:cubicBezTo>
                        <a:pt x="5" y="59"/>
                        <a:pt x="5" y="59"/>
                        <a:pt x="5" y="60"/>
                      </a:cubicBezTo>
                      <a:cubicBezTo>
                        <a:pt x="5" y="61"/>
                        <a:pt x="5" y="62"/>
                        <a:pt x="6" y="62"/>
                      </a:cubicBezTo>
                      <a:cubicBezTo>
                        <a:pt x="6" y="63"/>
                        <a:pt x="6" y="63"/>
                        <a:pt x="6" y="63"/>
                      </a:cubicBezTo>
                      <a:cubicBezTo>
                        <a:pt x="6" y="63"/>
                        <a:pt x="6" y="63"/>
                        <a:pt x="6" y="64"/>
                      </a:cubicBezTo>
                      <a:cubicBezTo>
                        <a:pt x="5" y="64"/>
                        <a:pt x="5" y="65"/>
                        <a:pt x="5" y="65"/>
                      </a:cubicBezTo>
                      <a:cubicBezTo>
                        <a:pt x="5" y="65"/>
                        <a:pt x="5" y="65"/>
                        <a:pt x="5" y="65"/>
                      </a:cubicBezTo>
                      <a:cubicBezTo>
                        <a:pt x="5" y="66"/>
                        <a:pt x="5" y="66"/>
                        <a:pt x="5" y="66"/>
                      </a:cubicBezTo>
                      <a:cubicBezTo>
                        <a:pt x="5" y="66"/>
                        <a:pt x="6" y="67"/>
                        <a:pt x="6" y="67"/>
                      </a:cubicBezTo>
                      <a:cubicBezTo>
                        <a:pt x="6" y="68"/>
                        <a:pt x="6" y="68"/>
                        <a:pt x="6" y="68"/>
                      </a:cubicBezTo>
                      <a:cubicBezTo>
                        <a:pt x="6" y="68"/>
                        <a:pt x="6" y="68"/>
                        <a:pt x="6" y="68"/>
                      </a:cubicBezTo>
                      <a:cubicBezTo>
                        <a:pt x="6" y="69"/>
                        <a:pt x="7" y="69"/>
                        <a:pt x="7" y="69"/>
                      </a:cubicBezTo>
                      <a:cubicBezTo>
                        <a:pt x="7" y="69"/>
                        <a:pt x="7" y="69"/>
                        <a:pt x="6" y="69"/>
                      </a:cubicBezTo>
                      <a:cubicBezTo>
                        <a:pt x="6" y="70"/>
                        <a:pt x="5" y="69"/>
                        <a:pt x="5" y="70"/>
                      </a:cubicBezTo>
                      <a:cubicBezTo>
                        <a:pt x="5" y="71"/>
                        <a:pt x="5" y="71"/>
                        <a:pt x="5" y="71"/>
                      </a:cubicBezTo>
                      <a:cubicBezTo>
                        <a:pt x="5" y="71"/>
                        <a:pt x="5" y="71"/>
                        <a:pt x="5" y="71"/>
                      </a:cubicBezTo>
                      <a:cubicBezTo>
                        <a:pt x="6" y="71"/>
                        <a:pt x="9" y="71"/>
                        <a:pt x="10" y="71"/>
                      </a:cubicBezTo>
                      <a:cubicBezTo>
                        <a:pt x="10" y="71"/>
                        <a:pt x="11" y="71"/>
                        <a:pt x="11" y="71"/>
                      </a:cubicBezTo>
                      <a:cubicBezTo>
                        <a:pt x="11" y="71"/>
                        <a:pt x="11" y="69"/>
                        <a:pt x="11" y="68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11" y="68"/>
                        <a:pt x="11" y="67"/>
                        <a:pt x="11" y="66"/>
                      </a:cubicBezTo>
                      <a:cubicBezTo>
                        <a:pt x="11" y="66"/>
                        <a:pt x="11" y="65"/>
                        <a:pt x="11" y="65"/>
                      </a:cubicBezTo>
                      <a:cubicBezTo>
                        <a:pt x="11" y="65"/>
                        <a:pt x="11" y="65"/>
                        <a:pt x="11" y="64"/>
                      </a:cubicBezTo>
                      <a:cubicBezTo>
                        <a:pt x="11" y="63"/>
                        <a:pt x="11" y="59"/>
                        <a:pt x="11" y="58"/>
                      </a:cubicBezTo>
                      <a:cubicBezTo>
                        <a:pt x="11" y="57"/>
                        <a:pt x="11" y="55"/>
                        <a:pt x="11" y="55"/>
                      </a:cubicBezTo>
                      <a:cubicBezTo>
                        <a:pt x="11" y="55"/>
                        <a:pt x="11" y="55"/>
                        <a:pt x="11" y="55"/>
                      </a:cubicBezTo>
                      <a:cubicBezTo>
                        <a:pt x="11" y="55"/>
                        <a:pt x="11" y="54"/>
                        <a:pt x="11" y="54"/>
                      </a:cubicBezTo>
                      <a:cubicBezTo>
                        <a:pt x="10" y="53"/>
                        <a:pt x="10" y="53"/>
                        <a:pt x="11" y="53"/>
                      </a:cubicBezTo>
                      <a:cubicBezTo>
                        <a:pt x="11" y="53"/>
                        <a:pt x="11" y="52"/>
                        <a:pt x="11" y="52"/>
                      </a:cubicBezTo>
                      <a:cubicBezTo>
                        <a:pt x="11" y="51"/>
                        <a:pt x="11" y="51"/>
                        <a:pt x="11" y="51"/>
                      </a:cubicBezTo>
                      <a:cubicBezTo>
                        <a:pt x="11" y="51"/>
                        <a:pt x="11" y="50"/>
                        <a:pt x="11" y="48"/>
                      </a:cubicBezTo>
                      <a:cubicBezTo>
                        <a:pt x="11" y="46"/>
                        <a:pt x="12" y="44"/>
                        <a:pt x="12" y="43"/>
                      </a:cubicBezTo>
                      <a:cubicBezTo>
                        <a:pt x="12" y="43"/>
                        <a:pt x="12" y="43"/>
                        <a:pt x="12" y="43"/>
                      </a:cubicBezTo>
                      <a:cubicBezTo>
                        <a:pt x="12" y="43"/>
                        <a:pt x="12" y="43"/>
                        <a:pt x="12" y="43"/>
                      </a:cubicBezTo>
                      <a:cubicBezTo>
                        <a:pt x="12" y="43"/>
                        <a:pt x="12" y="43"/>
                        <a:pt x="12" y="43"/>
                      </a:cubicBezTo>
                      <a:cubicBezTo>
                        <a:pt x="12" y="43"/>
                        <a:pt x="12" y="45"/>
                        <a:pt x="12" y="45"/>
                      </a:cubicBezTo>
                      <a:cubicBezTo>
                        <a:pt x="12" y="46"/>
                        <a:pt x="12" y="47"/>
                        <a:pt x="12" y="48"/>
                      </a:cubicBezTo>
                      <a:cubicBezTo>
                        <a:pt x="12" y="48"/>
                        <a:pt x="12" y="50"/>
                        <a:pt x="13" y="51"/>
                      </a:cubicBezTo>
                      <a:cubicBezTo>
                        <a:pt x="13" y="51"/>
                        <a:pt x="13" y="51"/>
                        <a:pt x="13" y="52"/>
                      </a:cubicBezTo>
                      <a:cubicBezTo>
                        <a:pt x="13" y="52"/>
                        <a:pt x="13" y="52"/>
                        <a:pt x="13" y="53"/>
                      </a:cubicBezTo>
                      <a:cubicBezTo>
                        <a:pt x="13" y="53"/>
                        <a:pt x="13" y="53"/>
                        <a:pt x="13" y="53"/>
                      </a:cubicBezTo>
                      <a:cubicBezTo>
                        <a:pt x="13" y="53"/>
                        <a:pt x="13" y="54"/>
                        <a:pt x="13" y="55"/>
                      </a:cubicBezTo>
                      <a:cubicBezTo>
                        <a:pt x="13" y="55"/>
                        <a:pt x="13" y="56"/>
                        <a:pt x="13" y="57"/>
                      </a:cubicBezTo>
                      <a:cubicBezTo>
                        <a:pt x="13" y="58"/>
                        <a:pt x="13" y="62"/>
                        <a:pt x="13" y="62"/>
                      </a:cubicBezTo>
                      <a:cubicBezTo>
                        <a:pt x="13" y="63"/>
                        <a:pt x="12" y="64"/>
                        <a:pt x="12" y="64"/>
                      </a:cubicBezTo>
                      <a:cubicBezTo>
                        <a:pt x="12" y="65"/>
                        <a:pt x="12" y="66"/>
                        <a:pt x="12" y="66"/>
                      </a:cubicBezTo>
                      <a:cubicBezTo>
                        <a:pt x="12" y="67"/>
                        <a:pt x="12" y="67"/>
                        <a:pt x="13" y="67"/>
                      </a:cubicBezTo>
                      <a:cubicBezTo>
                        <a:pt x="13" y="68"/>
                        <a:pt x="13" y="68"/>
                        <a:pt x="13" y="68"/>
                      </a:cubicBezTo>
                      <a:cubicBezTo>
                        <a:pt x="13" y="68"/>
                        <a:pt x="13" y="68"/>
                        <a:pt x="13" y="68"/>
                      </a:cubicBezTo>
                      <a:cubicBezTo>
                        <a:pt x="13" y="69"/>
                        <a:pt x="13" y="69"/>
                        <a:pt x="13" y="69"/>
                      </a:cubicBezTo>
                      <a:cubicBezTo>
                        <a:pt x="13" y="69"/>
                        <a:pt x="12" y="71"/>
                        <a:pt x="13" y="71"/>
                      </a:cubicBezTo>
                      <a:cubicBezTo>
                        <a:pt x="13" y="71"/>
                        <a:pt x="13" y="71"/>
                        <a:pt x="13" y="71"/>
                      </a:cubicBezTo>
                      <a:cubicBezTo>
                        <a:pt x="14" y="71"/>
                        <a:pt x="14" y="71"/>
                        <a:pt x="14" y="71"/>
                      </a:cubicBezTo>
                      <a:cubicBezTo>
                        <a:pt x="15" y="71"/>
                        <a:pt x="16" y="71"/>
                        <a:pt x="17" y="71"/>
                      </a:cubicBezTo>
                      <a:cubicBezTo>
                        <a:pt x="18" y="71"/>
                        <a:pt x="19" y="71"/>
                        <a:pt x="19" y="71"/>
                      </a:cubicBezTo>
                      <a:cubicBezTo>
                        <a:pt x="19" y="71"/>
                        <a:pt x="19" y="71"/>
                        <a:pt x="19" y="71"/>
                      </a:cubicBezTo>
                      <a:cubicBezTo>
                        <a:pt x="19" y="70"/>
                        <a:pt x="17" y="70"/>
                        <a:pt x="17" y="69"/>
                      </a:cubicBezTo>
                      <a:cubicBezTo>
                        <a:pt x="17" y="69"/>
                        <a:pt x="17" y="69"/>
                        <a:pt x="17" y="69"/>
                      </a:cubicBezTo>
                      <a:cubicBezTo>
                        <a:pt x="17" y="69"/>
                        <a:pt x="17" y="68"/>
                        <a:pt x="17" y="68"/>
                      </a:cubicBez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7" y="68"/>
                        <a:pt x="18" y="66"/>
                        <a:pt x="18" y="66"/>
                      </a:cubicBezTo>
                      <a:cubicBezTo>
                        <a:pt x="18" y="66"/>
                        <a:pt x="18" y="65"/>
                        <a:pt x="18" y="65"/>
                      </a:cubicBezTo>
                      <a:cubicBezTo>
                        <a:pt x="18" y="65"/>
                        <a:pt x="18" y="64"/>
                        <a:pt x="18" y="63"/>
                      </a:cubicBezTo>
                      <a:cubicBezTo>
                        <a:pt x="18" y="63"/>
                        <a:pt x="18" y="63"/>
                        <a:pt x="18" y="63"/>
                      </a:cubicBezTo>
                      <a:cubicBezTo>
                        <a:pt x="18" y="63"/>
                        <a:pt x="18" y="62"/>
                        <a:pt x="18" y="62"/>
                      </a:cubicBezTo>
                      <a:cubicBezTo>
                        <a:pt x="18" y="62"/>
                        <a:pt x="18" y="59"/>
                        <a:pt x="18" y="58"/>
                      </a:cubicBezTo>
                      <a:cubicBezTo>
                        <a:pt x="18" y="57"/>
                        <a:pt x="18" y="57"/>
                        <a:pt x="18" y="56"/>
                      </a:cubicBezTo>
                      <a:cubicBezTo>
                        <a:pt x="18" y="56"/>
                        <a:pt x="18" y="55"/>
                        <a:pt x="18" y="55"/>
                      </a:cubicBezTo>
                      <a:cubicBezTo>
                        <a:pt x="18" y="55"/>
                        <a:pt x="18" y="55"/>
                        <a:pt x="18" y="55"/>
                      </a:cubicBezTo>
                      <a:cubicBezTo>
                        <a:pt x="18" y="55"/>
                        <a:pt x="19" y="53"/>
                        <a:pt x="18" y="53"/>
                      </a:cubicBezTo>
                      <a:cubicBezTo>
                        <a:pt x="18" y="53"/>
                        <a:pt x="18" y="53"/>
                        <a:pt x="18" y="53"/>
                      </a:cubicBezTo>
                      <a:cubicBezTo>
                        <a:pt x="18" y="53"/>
                        <a:pt x="18" y="53"/>
                        <a:pt x="18" y="53"/>
                      </a:cubicBezTo>
                      <a:cubicBezTo>
                        <a:pt x="18" y="53"/>
                        <a:pt x="18" y="53"/>
                        <a:pt x="18" y="53"/>
                      </a:cubicBezTo>
                      <a:cubicBezTo>
                        <a:pt x="18" y="53"/>
                        <a:pt x="18" y="52"/>
                        <a:pt x="18" y="52"/>
                      </a:cubicBezTo>
                      <a:cubicBezTo>
                        <a:pt x="18" y="52"/>
                        <a:pt x="18" y="50"/>
                        <a:pt x="18" y="50"/>
                      </a:cubicBezTo>
                      <a:cubicBezTo>
                        <a:pt x="18" y="49"/>
                        <a:pt x="18" y="48"/>
                        <a:pt x="18" y="46"/>
                      </a:cubicBezTo>
                      <a:cubicBezTo>
                        <a:pt x="19" y="45"/>
                        <a:pt x="19" y="42"/>
                        <a:pt x="19" y="41"/>
                      </a:cubicBezTo>
                      <a:cubicBezTo>
                        <a:pt x="19" y="41"/>
                        <a:pt x="19" y="40"/>
                        <a:pt x="19" y="40"/>
                      </a:cubicBezTo>
                      <a:cubicBezTo>
                        <a:pt x="19" y="40"/>
                        <a:pt x="19" y="38"/>
                        <a:pt x="19" y="38"/>
                      </a:cubicBezTo>
                      <a:cubicBezTo>
                        <a:pt x="19" y="37"/>
                        <a:pt x="19" y="36"/>
                        <a:pt x="19" y="36"/>
                      </a:cubicBezTo>
                      <a:cubicBezTo>
                        <a:pt x="19" y="36"/>
                        <a:pt x="20" y="35"/>
                        <a:pt x="20" y="35"/>
                      </a:cubicBezTo>
                      <a:cubicBezTo>
                        <a:pt x="20" y="35"/>
                        <a:pt x="21" y="34"/>
                        <a:pt x="21" y="34"/>
                      </a:cubicBezTo>
                      <a:cubicBezTo>
                        <a:pt x="21" y="34"/>
                        <a:pt x="21" y="32"/>
                        <a:pt x="21" y="32"/>
                      </a:cubicBezTo>
                      <a:cubicBezTo>
                        <a:pt x="21" y="31"/>
                        <a:pt x="21" y="31"/>
                        <a:pt x="21" y="30"/>
                      </a:cubicBezTo>
                      <a:cubicBezTo>
                        <a:pt x="22" y="30"/>
                        <a:pt x="22" y="30"/>
                        <a:pt x="22" y="29"/>
                      </a:cubicBezTo>
                      <a:cubicBezTo>
                        <a:pt x="22" y="29"/>
                        <a:pt x="22" y="28"/>
                        <a:pt x="23" y="27"/>
                      </a:cubicBezTo>
                      <a:cubicBezTo>
                        <a:pt x="23" y="27"/>
                        <a:pt x="23" y="25"/>
                        <a:pt x="23" y="25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36" name="Oval 667">
                  <a:extLst>
                    <a:ext uri="{FF2B5EF4-FFF2-40B4-BE49-F238E27FC236}">
                      <a16:creationId xmlns:a16="http://schemas.microsoft.com/office/drawing/2014/main" id="{B668ED97-E3AE-E706-5BC5-BD49131FC6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162925" y="3867150"/>
                  <a:ext cx="131762" cy="13017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37" name="Freeform 668">
                  <a:extLst>
                    <a:ext uri="{FF2B5EF4-FFF2-40B4-BE49-F238E27FC236}">
                      <a16:creationId xmlns:a16="http://schemas.microsoft.com/office/drawing/2014/main" id="{A78077A8-1B42-CF3A-D449-7651BF413B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12138" y="3886200"/>
                  <a:ext cx="31750" cy="98425"/>
                </a:xfrm>
                <a:custGeom>
                  <a:avLst/>
                  <a:gdLst>
                    <a:gd name="T0" fmla="*/ 23 w 23"/>
                    <a:gd name="T1" fmla="*/ 21 h 72"/>
                    <a:gd name="T2" fmla="*/ 21 w 23"/>
                    <a:gd name="T3" fmla="*/ 12 h 72"/>
                    <a:gd name="T4" fmla="*/ 14 w 23"/>
                    <a:gd name="T5" fmla="*/ 10 h 72"/>
                    <a:gd name="T6" fmla="*/ 14 w 23"/>
                    <a:gd name="T7" fmla="*/ 8 h 72"/>
                    <a:gd name="T8" fmla="*/ 15 w 23"/>
                    <a:gd name="T9" fmla="*/ 6 h 72"/>
                    <a:gd name="T10" fmla="*/ 14 w 23"/>
                    <a:gd name="T11" fmla="*/ 2 h 72"/>
                    <a:gd name="T12" fmla="*/ 8 w 23"/>
                    <a:gd name="T13" fmla="*/ 4 h 72"/>
                    <a:gd name="T14" fmla="*/ 7 w 23"/>
                    <a:gd name="T15" fmla="*/ 6 h 72"/>
                    <a:gd name="T16" fmla="*/ 9 w 23"/>
                    <a:gd name="T17" fmla="*/ 9 h 72"/>
                    <a:gd name="T18" fmla="*/ 4 w 23"/>
                    <a:gd name="T19" fmla="*/ 12 h 72"/>
                    <a:gd name="T20" fmla="*/ 1 w 23"/>
                    <a:gd name="T21" fmla="*/ 20 h 72"/>
                    <a:gd name="T22" fmla="*/ 0 w 23"/>
                    <a:gd name="T23" fmla="*/ 26 h 72"/>
                    <a:gd name="T24" fmla="*/ 1 w 23"/>
                    <a:gd name="T25" fmla="*/ 31 h 72"/>
                    <a:gd name="T26" fmla="*/ 2 w 23"/>
                    <a:gd name="T27" fmla="*/ 34 h 72"/>
                    <a:gd name="T28" fmla="*/ 4 w 23"/>
                    <a:gd name="T29" fmla="*/ 37 h 72"/>
                    <a:gd name="T30" fmla="*/ 5 w 23"/>
                    <a:gd name="T31" fmla="*/ 48 h 72"/>
                    <a:gd name="T32" fmla="*/ 5 w 23"/>
                    <a:gd name="T33" fmla="*/ 54 h 72"/>
                    <a:gd name="T34" fmla="*/ 5 w 23"/>
                    <a:gd name="T35" fmla="*/ 57 h 72"/>
                    <a:gd name="T36" fmla="*/ 6 w 23"/>
                    <a:gd name="T37" fmla="*/ 63 h 72"/>
                    <a:gd name="T38" fmla="*/ 5 w 23"/>
                    <a:gd name="T39" fmla="*/ 66 h 72"/>
                    <a:gd name="T40" fmla="*/ 6 w 23"/>
                    <a:gd name="T41" fmla="*/ 68 h 72"/>
                    <a:gd name="T42" fmla="*/ 7 w 23"/>
                    <a:gd name="T43" fmla="*/ 69 h 72"/>
                    <a:gd name="T44" fmla="*/ 5 w 23"/>
                    <a:gd name="T45" fmla="*/ 71 h 72"/>
                    <a:gd name="T46" fmla="*/ 11 w 23"/>
                    <a:gd name="T47" fmla="*/ 71 h 72"/>
                    <a:gd name="T48" fmla="*/ 11 w 23"/>
                    <a:gd name="T49" fmla="*/ 67 h 72"/>
                    <a:gd name="T50" fmla="*/ 11 w 23"/>
                    <a:gd name="T51" fmla="*/ 58 h 72"/>
                    <a:gd name="T52" fmla="*/ 11 w 23"/>
                    <a:gd name="T53" fmla="*/ 54 h 72"/>
                    <a:gd name="T54" fmla="*/ 12 w 23"/>
                    <a:gd name="T55" fmla="*/ 51 h 72"/>
                    <a:gd name="T56" fmla="*/ 12 w 23"/>
                    <a:gd name="T57" fmla="*/ 44 h 72"/>
                    <a:gd name="T58" fmla="*/ 12 w 23"/>
                    <a:gd name="T59" fmla="*/ 45 h 72"/>
                    <a:gd name="T60" fmla="*/ 13 w 23"/>
                    <a:gd name="T61" fmla="*/ 52 h 72"/>
                    <a:gd name="T62" fmla="*/ 13 w 23"/>
                    <a:gd name="T63" fmla="*/ 55 h 72"/>
                    <a:gd name="T64" fmla="*/ 12 w 23"/>
                    <a:gd name="T65" fmla="*/ 65 h 72"/>
                    <a:gd name="T66" fmla="*/ 13 w 23"/>
                    <a:gd name="T67" fmla="*/ 68 h 72"/>
                    <a:gd name="T68" fmla="*/ 13 w 23"/>
                    <a:gd name="T69" fmla="*/ 71 h 72"/>
                    <a:gd name="T70" fmla="*/ 17 w 23"/>
                    <a:gd name="T71" fmla="*/ 71 h 72"/>
                    <a:gd name="T72" fmla="*/ 17 w 23"/>
                    <a:gd name="T73" fmla="*/ 69 h 72"/>
                    <a:gd name="T74" fmla="*/ 17 w 23"/>
                    <a:gd name="T75" fmla="*/ 68 h 72"/>
                    <a:gd name="T76" fmla="*/ 18 w 23"/>
                    <a:gd name="T77" fmla="*/ 65 h 72"/>
                    <a:gd name="T78" fmla="*/ 18 w 23"/>
                    <a:gd name="T79" fmla="*/ 62 h 72"/>
                    <a:gd name="T80" fmla="*/ 18 w 23"/>
                    <a:gd name="T81" fmla="*/ 55 h 72"/>
                    <a:gd name="T82" fmla="*/ 18 w 23"/>
                    <a:gd name="T83" fmla="*/ 53 h 72"/>
                    <a:gd name="T84" fmla="*/ 18 w 23"/>
                    <a:gd name="T85" fmla="*/ 52 h 72"/>
                    <a:gd name="T86" fmla="*/ 19 w 23"/>
                    <a:gd name="T87" fmla="*/ 41 h 72"/>
                    <a:gd name="T88" fmla="*/ 20 w 23"/>
                    <a:gd name="T89" fmla="*/ 37 h 72"/>
                    <a:gd name="T90" fmla="*/ 22 w 23"/>
                    <a:gd name="T91" fmla="*/ 32 h 72"/>
                    <a:gd name="T92" fmla="*/ 23 w 23"/>
                    <a:gd name="T93" fmla="*/ 27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23" h="72">
                      <a:moveTo>
                        <a:pt x="23" y="25"/>
                      </a:move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3" y="24"/>
                        <a:pt x="23" y="22"/>
                        <a:pt x="23" y="21"/>
                      </a:cubicBezTo>
                      <a:cubicBezTo>
                        <a:pt x="22" y="20"/>
                        <a:pt x="22" y="19"/>
                        <a:pt x="22" y="18"/>
                      </a:cubicBezTo>
                      <a:cubicBezTo>
                        <a:pt x="22" y="17"/>
                        <a:pt x="22" y="15"/>
                        <a:pt x="22" y="14"/>
                      </a:cubicBezTo>
                      <a:cubicBezTo>
                        <a:pt x="21" y="13"/>
                        <a:pt x="21" y="12"/>
                        <a:pt x="21" y="12"/>
                      </a:cubicBezTo>
                      <a:cubicBezTo>
                        <a:pt x="20" y="12"/>
                        <a:pt x="19" y="11"/>
                        <a:pt x="18" y="11"/>
                      </a:cubicBezTo>
                      <a:cubicBezTo>
                        <a:pt x="17" y="11"/>
                        <a:pt x="15" y="11"/>
                        <a:pt x="15" y="10"/>
                      </a:cubicBezTo>
                      <a:cubicBezTo>
                        <a:pt x="15" y="10"/>
                        <a:pt x="14" y="10"/>
                        <a:pt x="14" y="10"/>
                      </a:cubicBezTo>
                      <a:cubicBezTo>
                        <a:pt x="14" y="10"/>
                        <a:pt x="14" y="10"/>
                        <a:pt x="14" y="9"/>
                      </a:cubicBezTo>
                      <a:cubicBezTo>
                        <a:pt x="14" y="9"/>
                        <a:pt x="14" y="9"/>
                        <a:pt x="14" y="9"/>
                      </a:cubicBezTo>
                      <a:cubicBezTo>
                        <a:pt x="14" y="9"/>
                        <a:pt x="14" y="9"/>
                        <a:pt x="14" y="8"/>
                      </a:cubicBezTo>
                      <a:cubicBezTo>
                        <a:pt x="14" y="8"/>
                        <a:pt x="14" y="7"/>
                        <a:pt x="14" y="7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14" y="6"/>
                        <a:pt x="15" y="6"/>
                        <a:pt x="15" y="6"/>
                      </a:cubicBezTo>
                      <a:cubicBezTo>
                        <a:pt x="15" y="5"/>
                        <a:pt x="15" y="5"/>
                        <a:pt x="15" y="4"/>
                      </a:cubicBezTo>
                      <a:cubicBezTo>
                        <a:pt x="14" y="4"/>
                        <a:pt x="14" y="4"/>
                        <a:pt x="14" y="4"/>
                      </a:cubicBezTo>
                      <a:cubicBezTo>
                        <a:pt x="14" y="4"/>
                        <a:pt x="14" y="3"/>
                        <a:pt x="14" y="2"/>
                      </a:cubicBezTo>
                      <a:cubicBezTo>
                        <a:pt x="14" y="1"/>
                        <a:pt x="13" y="0"/>
                        <a:pt x="11" y="0"/>
                      </a:cubicBezTo>
                      <a:cubicBezTo>
                        <a:pt x="9" y="0"/>
                        <a:pt x="8" y="2"/>
                        <a:pt x="8" y="3"/>
                      </a:cubicBezTo>
                      <a:cubicBezTo>
                        <a:pt x="8" y="4"/>
                        <a:pt x="8" y="4"/>
                        <a:pt x="8" y="4"/>
                      </a:cubicBezTo>
                      <a:cubicBezTo>
                        <a:pt x="8" y="4"/>
                        <a:pt x="7" y="4"/>
                        <a:pt x="7" y="4"/>
                      </a:cubicBezTo>
                      <a:cubicBezTo>
                        <a:pt x="7" y="5"/>
                        <a:pt x="7" y="5"/>
                        <a:pt x="7" y="5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7" y="6"/>
                        <a:pt x="7" y="7"/>
                        <a:pt x="8" y="6"/>
                      </a:cubicBezTo>
                      <a:cubicBezTo>
                        <a:pt x="8" y="7"/>
                        <a:pt x="8" y="8"/>
                        <a:pt x="9" y="9"/>
                      </a:cubicBezTo>
                      <a:cubicBezTo>
                        <a:pt x="9" y="9"/>
                        <a:pt x="9" y="9"/>
                        <a:pt x="9" y="9"/>
                      </a:cubicBezTo>
                      <a:cubicBezTo>
                        <a:pt x="8" y="10"/>
                        <a:pt x="8" y="10"/>
                        <a:pt x="8" y="10"/>
                      </a:cubicBezTo>
                      <a:cubicBezTo>
                        <a:pt x="8" y="10"/>
                        <a:pt x="8" y="10"/>
                        <a:pt x="8" y="11"/>
                      </a:cubicBezTo>
                      <a:cubicBezTo>
                        <a:pt x="7" y="11"/>
                        <a:pt x="5" y="11"/>
                        <a:pt x="4" y="12"/>
                      </a:cubicBezTo>
                      <a:cubicBezTo>
                        <a:pt x="3" y="13"/>
                        <a:pt x="2" y="13"/>
                        <a:pt x="2" y="13"/>
                      </a:cubicBezTo>
                      <a:cubicBezTo>
                        <a:pt x="2" y="14"/>
                        <a:pt x="1" y="16"/>
                        <a:pt x="1" y="18"/>
                      </a:cubicBezTo>
                      <a:cubicBezTo>
                        <a:pt x="1" y="19"/>
                        <a:pt x="1" y="19"/>
                        <a:pt x="1" y="20"/>
                      </a:cubicBezTo>
                      <a:cubicBezTo>
                        <a:pt x="0" y="21"/>
                        <a:pt x="1" y="22"/>
                        <a:pt x="1" y="22"/>
                      </a:cubicBezTo>
                      <a:cubicBezTo>
                        <a:pt x="0" y="23"/>
                        <a:pt x="0" y="24"/>
                        <a:pt x="0" y="24"/>
                      </a:cubicBezTo>
                      <a:cubicBezTo>
                        <a:pt x="0" y="25"/>
                        <a:pt x="0" y="25"/>
                        <a:pt x="0" y="26"/>
                      </a:cubicBezTo>
                      <a:cubicBezTo>
                        <a:pt x="0" y="27"/>
                        <a:pt x="0" y="28"/>
                        <a:pt x="0" y="29"/>
                      </a:cubicBezTo>
                      <a:cubicBezTo>
                        <a:pt x="0" y="29"/>
                        <a:pt x="1" y="30"/>
                        <a:pt x="1" y="30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2"/>
                        <a:pt x="1" y="32"/>
                        <a:pt x="1" y="32"/>
                      </a:cubicBezTo>
                      <a:cubicBezTo>
                        <a:pt x="1" y="33"/>
                        <a:pt x="1" y="33"/>
                        <a:pt x="1" y="33"/>
                      </a:cubicBezTo>
                      <a:cubicBezTo>
                        <a:pt x="2" y="34"/>
                        <a:pt x="1" y="34"/>
                        <a:pt x="2" y="34"/>
                      </a:cubicBezTo>
                      <a:cubicBezTo>
                        <a:pt x="2" y="35"/>
                        <a:pt x="2" y="35"/>
                        <a:pt x="2" y="35"/>
                      </a:cubicBezTo>
                      <a:cubicBezTo>
                        <a:pt x="2" y="36"/>
                        <a:pt x="3" y="37"/>
                        <a:pt x="3" y="37"/>
                      </a:cubicBezTo>
                      <a:cubicBezTo>
                        <a:pt x="4" y="37"/>
                        <a:pt x="4" y="37"/>
                        <a:pt x="4" y="37"/>
                      </a:cubicBezTo>
                      <a:cubicBezTo>
                        <a:pt x="4" y="37"/>
                        <a:pt x="4" y="37"/>
                        <a:pt x="4" y="37"/>
                      </a:cubicBezTo>
                      <a:cubicBezTo>
                        <a:pt x="4" y="37"/>
                        <a:pt x="4" y="39"/>
                        <a:pt x="4" y="42"/>
                      </a:cubicBezTo>
                      <a:cubicBezTo>
                        <a:pt x="4" y="44"/>
                        <a:pt x="4" y="47"/>
                        <a:pt x="5" y="48"/>
                      </a:cubicBezTo>
                      <a:cubicBezTo>
                        <a:pt x="5" y="49"/>
                        <a:pt x="5" y="50"/>
                        <a:pt x="5" y="50"/>
                      </a:cubicBezTo>
                      <a:cubicBezTo>
                        <a:pt x="5" y="51"/>
                        <a:pt x="5" y="52"/>
                        <a:pt x="5" y="53"/>
                      </a:cubicBezTo>
                      <a:cubicBezTo>
                        <a:pt x="5" y="53"/>
                        <a:pt x="5" y="53"/>
                        <a:pt x="5" y="54"/>
                      </a:cubicBezTo>
                      <a:cubicBezTo>
                        <a:pt x="5" y="54"/>
                        <a:pt x="4" y="54"/>
                        <a:pt x="5" y="55"/>
                      </a:cubicBezTo>
                      <a:cubicBezTo>
                        <a:pt x="5" y="55"/>
                        <a:pt x="5" y="55"/>
                        <a:pt x="5" y="56"/>
                      </a:cubicBezTo>
                      <a:cubicBezTo>
                        <a:pt x="5" y="56"/>
                        <a:pt x="5" y="56"/>
                        <a:pt x="5" y="57"/>
                      </a:cubicBezTo>
                      <a:cubicBezTo>
                        <a:pt x="5" y="57"/>
                        <a:pt x="5" y="57"/>
                        <a:pt x="5" y="58"/>
                      </a:cubicBezTo>
                      <a:cubicBezTo>
                        <a:pt x="5" y="59"/>
                        <a:pt x="5" y="60"/>
                        <a:pt x="5" y="61"/>
                      </a:cubicBezTo>
                      <a:cubicBezTo>
                        <a:pt x="5" y="61"/>
                        <a:pt x="5" y="62"/>
                        <a:pt x="6" y="63"/>
                      </a:cubicBezTo>
                      <a:cubicBezTo>
                        <a:pt x="6" y="63"/>
                        <a:pt x="6" y="63"/>
                        <a:pt x="6" y="63"/>
                      </a:cubicBezTo>
                      <a:cubicBezTo>
                        <a:pt x="6" y="63"/>
                        <a:pt x="6" y="63"/>
                        <a:pt x="6" y="64"/>
                      </a:cubicBezTo>
                      <a:cubicBezTo>
                        <a:pt x="5" y="65"/>
                        <a:pt x="5" y="66"/>
                        <a:pt x="5" y="66"/>
                      </a:cubicBezTo>
                      <a:cubicBezTo>
                        <a:pt x="5" y="66"/>
                        <a:pt x="5" y="66"/>
                        <a:pt x="5" y="66"/>
                      </a:cubicBezTo>
                      <a:cubicBezTo>
                        <a:pt x="5" y="66"/>
                        <a:pt x="5" y="66"/>
                        <a:pt x="5" y="66"/>
                      </a:cubicBezTo>
                      <a:cubicBezTo>
                        <a:pt x="6" y="66"/>
                        <a:pt x="6" y="67"/>
                        <a:pt x="6" y="68"/>
                      </a:cubicBezTo>
                      <a:cubicBezTo>
                        <a:pt x="6" y="68"/>
                        <a:pt x="6" y="68"/>
                        <a:pt x="7" y="69"/>
                      </a:cubicBezTo>
                      <a:cubicBezTo>
                        <a:pt x="7" y="69"/>
                        <a:pt x="7" y="69"/>
                        <a:pt x="7" y="69"/>
                      </a:cubicBezTo>
                      <a:cubicBezTo>
                        <a:pt x="7" y="69"/>
                        <a:pt x="7" y="69"/>
                        <a:pt x="7" y="69"/>
                      </a:cubicBezTo>
                      <a:cubicBezTo>
                        <a:pt x="7" y="69"/>
                        <a:pt x="7" y="69"/>
                        <a:pt x="6" y="69"/>
                      </a:cubicBezTo>
                      <a:cubicBezTo>
                        <a:pt x="6" y="70"/>
                        <a:pt x="5" y="70"/>
                        <a:pt x="5" y="70"/>
                      </a:cubicBezTo>
                      <a:cubicBezTo>
                        <a:pt x="5" y="71"/>
                        <a:pt x="5" y="71"/>
                        <a:pt x="5" y="71"/>
                      </a:cubicBezTo>
                      <a:cubicBezTo>
                        <a:pt x="5" y="71"/>
                        <a:pt x="5" y="71"/>
                        <a:pt x="5" y="71"/>
                      </a:cubicBezTo>
                      <a:cubicBezTo>
                        <a:pt x="6" y="71"/>
                        <a:pt x="10" y="71"/>
                        <a:pt x="10" y="71"/>
                      </a:cubicBezTo>
                      <a:cubicBezTo>
                        <a:pt x="10" y="71"/>
                        <a:pt x="11" y="72"/>
                        <a:pt x="11" y="71"/>
                      </a:cubicBezTo>
                      <a:cubicBezTo>
                        <a:pt x="11" y="71"/>
                        <a:pt x="11" y="69"/>
                        <a:pt x="11" y="69"/>
                      </a:cubicBezTo>
                      <a:cubicBezTo>
                        <a:pt x="11" y="69"/>
                        <a:pt x="11" y="69"/>
                        <a:pt x="11" y="69"/>
                      </a:cubicBezTo>
                      <a:cubicBezTo>
                        <a:pt x="11" y="68"/>
                        <a:pt x="11" y="67"/>
                        <a:pt x="11" y="67"/>
                      </a:cubicBezTo>
                      <a:cubicBezTo>
                        <a:pt x="11" y="66"/>
                        <a:pt x="11" y="66"/>
                        <a:pt x="11" y="65"/>
                      </a:cubicBezTo>
                      <a:cubicBezTo>
                        <a:pt x="11" y="65"/>
                        <a:pt x="11" y="65"/>
                        <a:pt x="11" y="64"/>
                      </a:cubicBezTo>
                      <a:cubicBezTo>
                        <a:pt x="11" y="64"/>
                        <a:pt x="11" y="59"/>
                        <a:pt x="11" y="58"/>
                      </a:cubicBezTo>
                      <a:cubicBezTo>
                        <a:pt x="11" y="58"/>
                        <a:pt x="11" y="56"/>
                        <a:pt x="11" y="55"/>
                      </a:cubicBezTo>
                      <a:cubicBezTo>
                        <a:pt x="11" y="55"/>
                        <a:pt x="11" y="55"/>
                        <a:pt x="11" y="55"/>
                      </a:cubicBezTo>
                      <a:cubicBezTo>
                        <a:pt x="11" y="55"/>
                        <a:pt x="11" y="54"/>
                        <a:pt x="11" y="54"/>
                      </a:cubicBezTo>
                      <a:cubicBezTo>
                        <a:pt x="11" y="53"/>
                        <a:pt x="11" y="53"/>
                        <a:pt x="11" y="53"/>
                      </a:cubicBezTo>
                      <a:cubicBezTo>
                        <a:pt x="11" y="53"/>
                        <a:pt x="12" y="52"/>
                        <a:pt x="12" y="52"/>
                      </a:cubicBezTo>
                      <a:cubicBezTo>
                        <a:pt x="12" y="51"/>
                        <a:pt x="12" y="51"/>
                        <a:pt x="12" y="51"/>
                      </a:cubicBezTo>
                      <a:cubicBezTo>
                        <a:pt x="12" y="51"/>
                        <a:pt x="12" y="50"/>
                        <a:pt x="12" y="48"/>
                      </a:cubicBezTo>
                      <a:cubicBezTo>
                        <a:pt x="12" y="47"/>
                        <a:pt x="12" y="44"/>
                        <a:pt x="12" y="44"/>
                      </a:cubicBezTo>
                      <a:cubicBezTo>
                        <a:pt x="12" y="44"/>
                        <a:pt x="12" y="44"/>
                        <a:pt x="12" y="44"/>
                      </a:cubicBezTo>
                      <a:cubicBezTo>
                        <a:pt x="12" y="43"/>
                        <a:pt x="12" y="43"/>
                        <a:pt x="12" y="43"/>
                      </a:cubicBezTo>
                      <a:cubicBezTo>
                        <a:pt x="12" y="43"/>
                        <a:pt x="12" y="43"/>
                        <a:pt x="12" y="43"/>
                      </a:cubicBezTo>
                      <a:cubicBezTo>
                        <a:pt x="12" y="44"/>
                        <a:pt x="12" y="45"/>
                        <a:pt x="12" y="45"/>
                      </a:cubicBezTo>
                      <a:cubicBezTo>
                        <a:pt x="12" y="46"/>
                        <a:pt x="12" y="47"/>
                        <a:pt x="12" y="48"/>
                      </a:cubicBezTo>
                      <a:cubicBezTo>
                        <a:pt x="12" y="49"/>
                        <a:pt x="13" y="50"/>
                        <a:pt x="13" y="51"/>
                      </a:cubicBezTo>
                      <a:cubicBezTo>
                        <a:pt x="13" y="51"/>
                        <a:pt x="13" y="52"/>
                        <a:pt x="13" y="52"/>
                      </a:cubicBezTo>
                      <a:cubicBezTo>
                        <a:pt x="13" y="52"/>
                        <a:pt x="13" y="53"/>
                        <a:pt x="13" y="53"/>
                      </a:cubicBezTo>
                      <a:cubicBezTo>
                        <a:pt x="13" y="53"/>
                        <a:pt x="13" y="54"/>
                        <a:pt x="13" y="54"/>
                      </a:cubicBezTo>
                      <a:cubicBezTo>
                        <a:pt x="13" y="54"/>
                        <a:pt x="13" y="54"/>
                        <a:pt x="13" y="55"/>
                      </a:cubicBezTo>
                      <a:cubicBezTo>
                        <a:pt x="13" y="55"/>
                        <a:pt x="13" y="57"/>
                        <a:pt x="13" y="57"/>
                      </a:cubicBezTo>
                      <a:cubicBezTo>
                        <a:pt x="13" y="58"/>
                        <a:pt x="13" y="62"/>
                        <a:pt x="13" y="63"/>
                      </a:cubicBezTo>
                      <a:cubicBezTo>
                        <a:pt x="13" y="64"/>
                        <a:pt x="13" y="64"/>
                        <a:pt x="12" y="65"/>
                      </a:cubicBezTo>
                      <a:cubicBezTo>
                        <a:pt x="12" y="65"/>
                        <a:pt x="12" y="66"/>
                        <a:pt x="12" y="66"/>
                      </a:cubicBezTo>
                      <a:cubicBezTo>
                        <a:pt x="12" y="67"/>
                        <a:pt x="13" y="67"/>
                        <a:pt x="13" y="68"/>
                      </a:cubicBezTo>
                      <a:cubicBezTo>
                        <a:pt x="13" y="68"/>
                        <a:pt x="13" y="68"/>
                        <a:pt x="13" y="68"/>
                      </a:cubicBezTo>
                      <a:cubicBezTo>
                        <a:pt x="13" y="68"/>
                        <a:pt x="13" y="69"/>
                        <a:pt x="13" y="69"/>
                      </a:cubicBezTo>
                      <a:cubicBezTo>
                        <a:pt x="13" y="69"/>
                        <a:pt x="13" y="69"/>
                        <a:pt x="13" y="69"/>
                      </a:cubicBezTo>
                      <a:cubicBezTo>
                        <a:pt x="13" y="69"/>
                        <a:pt x="13" y="71"/>
                        <a:pt x="13" y="71"/>
                      </a:cubicBezTo>
                      <a:cubicBezTo>
                        <a:pt x="13" y="72"/>
                        <a:pt x="13" y="71"/>
                        <a:pt x="14" y="71"/>
                      </a:cubicBezTo>
                      <a:cubicBezTo>
                        <a:pt x="14" y="71"/>
                        <a:pt x="14" y="71"/>
                        <a:pt x="15" y="71"/>
                      </a:cubicBezTo>
                      <a:cubicBezTo>
                        <a:pt x="15" y="71"/>
                        <a:pt x="16" y="71"/>
                        <a:pt x="17" y="71"/>
                      </a:cubicBezTo>
                      <a:cubicBezTo>
                        <a:pt x="18" y="71"/>
                        <a:pt x="19" y="72"/>
                        <a:pt x="19" y="71"/>
                      </a:cubicBezTo>
                      <a:cubicBezTo>
                        <a:pt x="19" y="71"/>
                        <a:pt x="19" y="71"/>
                        <a:pt x="19" y="71"/>
                      </a:cubicBezTo>
                      <a:cubicBezTo>
                        <a:pt x="19" y="70"/>
                        <a:pt x="17" y="70"/>
                        <a:pt x="17" y="69"/>
                      </a:cubicBezTo>
                      <a:cubicBezTo>
                        <a:pt x="17" y="69"/>
                        <a:pt x="17" y="69"/>
                        <a:pt x="17" y="69"/>
                      </a:cubicBezTo>
                      <a:cubicBezTo>
                        <a:pt x="17" y="69"/>
                        <a:pt x="17" y="69"/>
                        <a:pt x="17" y="69"/>
                      </a:cubicBez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7" y="68"/>
                        <a:pt x="18" y="67"/>
                        <a:pt x="18" y="66"/>
                      </a:cubicBezTo>
                      <a:cubicBezTo>
                        <a:pt x="18" y="66"/>
                        <a:pt x="18" y="66"/>
                        <a:pt x="18" y="65"/>
                      </a:cubicBezTo>
                      <a:cubicBezTo>
                        <a:pt x="18" y="65"/>
                        <a:pt x="18" y="64"/>
                        <a:pt x="18" y="64"/>
                      </a:cubicBezTo>
                      <a:cubicBezTo>
                        <a:pt x="18" y="63"/>
                        <a:pt x="18" y="63"/>
                        <a:pt x="18" y="63"/>
                      </a:cubicBezTo>
                      <a:cubicBezTo>
                        <a:pt x="18" y="63"/>
                        <a:pt x="18" y="62"/>
                        <a:pt x="18" y="62"/>
                      </a:cubicBezTo>
                      <a:cubicBezTo>
                        <a:pt x="18" y="62"/>
                        <a:pt x="18" y="59"/>
                        <a:pt x="18" y="58"/>
                      </a:cubicBezTo>
                      <a:cubicBezTo>
                        <a:pt x="18" y="58"/>
                        <a:pt x="18" y="57"/>
                        <a:pt x="18" y="56"/>
                      </a:cubicBezTo>
                      <a:cubicBezTo>
                        <a:pt x="19" y="56"/>
                        <a:pt x="18" y="56"/>
                        <a:pt x="18" y="55"/>
                      </a:cubicBezTo>
                      <a:cubicBezTo>
                        <a:pt x="18" y="55"/>
                        <a:pt x="18" y="55"/>
                        <a:pt x="18" y="55"/>
                      </a:cubicBezTo>
                      <a:cubicBezTo>
                        <a:pt x="18" y="55"/>
                        <a:pt x="19" y="54"/>
                        <a:pt x="18" y="53"/>
                      </a:cubicBezTo>
                      <a:cubicBezTo>
                        <a:pt x="18" y="53"/>
                        <a:pt x="18" y="53"/>
                        <a:pt x="18" y="53"/>
                      </a:cubicBezTo>
                      <a:cubicBezTo>
                        <a:pt x="18" y="53"/>
                        <a:pt x="18" y="53"/>
                        <a:pt x="18" y="53"/>
                      </a:cubicBezTo>
                      <a:cubicBezTo>
                        <a:pt x="18" y="53"/>
                        <a:pt x="18" y="53"/>
                        <a:pt x="18" y="53"/>
                      </a:cubicBezTo>
                      <a:cubicBezTo>
                        <a:pt x="18" y="53"/>
                        <a:pt x="18" y="52"/>
                        <a:pt x="18" y="52"/>
                      </a:cubicBezTo>
                      <a:cubicBezTo>
                        <a:pt x="18" y="52"/>
                        <a:pt x="18" y="50"/>
                        <a:pt x="18" y="50"/>
                      </a:cubicBezTo>
                      <a:cubicBezTo>
                        <a:pt x="18" y="49"/>
                        <a:pt x="19" y="48"/>
                        <a:pt x="19" y="47"/>
                      </a:cubicBezTo>
                      <a:cubicBezTo>
                        <a:pt x="19" y="45"/>
                        <a:pt x="19" y="42"/>
                        <a:pt x="19" y="41"/>
                      </a:cubicBezTo>
                      <a:cubicBezTo>
                        <a:pt x="19" y="41"/>
                        <a:pt x="19" y="40"/>
                        <a:pt x="19" y="40"/>
                      </a:cubicBezTo>
                      <a:cubicBezTo>
                        <a:pt x="19" y="40"/>
                        <a:pt x="19" y="38"/>
                        <a:pt x="19" y="38"/>
                      </a:cubicBezTo>
                      <a:cubicBezTo>
                        <a:pt x="19" y="37"/>
                        <a:pt x="20" y="37"/>
                        <a:pt x="20" y="37"/>
                      </a:cubicBezTo>
                      <a:cubicBezTo>
                        <a:pt x="20" y="37"/>
                        <a:pt x="20" y="36"/>
                        <a:pt x="20" y="35"/>
                      </a:cubicBezTo>
                      <a:cubicBezTo>
                        <a:pt x="20" y="35"/>
                        <a:pt x="21" y="34"/>
                        <a:pt x="21" y="34"/>
                      </a:cubicBezTo>
                      <a:cubicBezTo>
                        <a:pt x="21" y="34"/>
                        <a:pt x="21" y="33"/>
                        <a:pt x="22" y="32"/>
                      </a:cubicBezTo>
                      <a:cubicBezTo>
                        <a:pt x="22" y="31"/>
                        <a:pt x="22" y="31"/>
                        <a:pt x="22" y="31"/>
                      </a:cubicBezTo>
                      <a:cubicBezTo>
                        <a:pt x="22" y="30"/>
                        <a:pt x="22" y="30"/>
                        <a:pt x="22" y="29"/>
                      </a:cubicBezTo>
                      <a:cubicBezTo>
                        <a:pt x="22" y="29"/>
                        <a:pt x="23" y="28"/>
                        <a:pt x="23" y="27"/>
                      </a:cubicBezTo>
                      <a:cubicBezTo>
                        <a:pt x="23" y="27"/>
                        <a:pt x="23" y="25"/>
                        <a:pt x="23" y="25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38" name="Oval 671">
                  <a:extLst>
                    <a:ext uri="{FF2B5EF4-FFF2-40B4-BE49-F238E27FC236}">
                      <a16:creationId xmlns:a16="http://schemas.microsoft.com/office/drawing/2014/main" id="{1670EB05-0E20-CC8A-E6B9-F424A29CA10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23213" y="2033588"/>
                  <a:ext cx="96837" cy="96838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39" name="Freeform 672">
                  <a:extLst>
                    <a:ext uri="{FF2B5EF4-FFF2-40B4-BE49-F238E27FC236}">
                      <a16:creationId xmlns:a16="http://schemas.microsoft.com/office/drawing/2014/main" id="{9078B62A-BB92-0658-B670-46C49A22F2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58138" y="2047875"/>
                  <a:ext cx="25400" cy="73025"/>
                </a:xfrm>
                <a:custGeom>
                  <a:avLst/>
                  <a:gdLst>
                    <a:gd name="T0" fmla="*/ 17 w 18"/>
                    <a:gd name="T1" fmla="*/ 16 h 53"/>
                    <a:gd name="T2" fmla="*/ 16 w 18"/>
                    <a:gd name="T3" fmla="*/ 9 h 53"/>
                    <a:gd name="T4" fmla="*/ 11 w 18"/>
                    <a:gd name="T5" fmla="*/ 8 h 53"/>
                    <a:gd name="T6" fmla="*/ 11 w 18"/>
                    <a:gd name="T7" fmla="*/ 6 h 53"/>
                    <a:gd name="T8" fmla="*/ 11 w 18"/>
                    <a:gd name="T9" fmla="*/ 5 h 53"/>
                    <a:gd name="T10" fmla="*/ 11 w 18"/>
                    <a:gd name="T11" fmla="*/ 2 h 53"/>
                    <a:gd name="T12" fmla="*/ 6 w 18"/>
                    <a:gd name="T13" fmla="*/ 3 h 53"/>
                    <a:gd name="T14" fmla="*/ 6 w 18"/>
                    <a:gd name="T15" fmla="*/ 5 h 53"/>
                    <a:gd name="T16" fmla="*/ 7 w 18"/>
                    <a:gd name="T17" fmla="*/ 7 h 53"/>
                    <a:gd name="T18" fmla="*/ 3 w 18"/>
                    <a:gd name="T19" fmla="*/ 9 h 53"/>
                    <a:gd name="T20" fmla="*/ 1 w 18"/>
                    <a:gd name="T21" fmla="*/ 15 h 53"/>
                    <a:gd name="T22" fmla="*/ 0 w 18"/>
                    <a:gd name="T23" fmla="*/ 20 h 53"/>
                    <a:gd name="T24" fmla="*/ 1 w 18"/>
                    <a:gd name="T25" fmla="*/ 23 h 53"/>
                    <a:gd name="T26" fmla="*/ 2 w 18"/>
                    <a:gd name="T27" fmla="*/ 26 h 53"/>
                    <a:gd name="T28" fmla="*/ 3 w 18"/>
                    <a:gd name="T29" fmla="*/ 27 h 53"/>
                    <a:gd name="T30" fmla="*/ 4 w 18"/>
                    <a:gd name="T31" fmla="*/ 36 h 53"/>
                    <a:gd name="T32" fmla="*/ 4 w 18"/>
                    <a:gd name="T33" fmla="*/ 40 h 53"/>
                    <a:gd name="T34" fmla="*/ 4 w 18"/>
                    <a:gd name="T35" fmla="*/ 42 h 53"/>
                    <a:gd name="T36" fmla="*/ 5 w 18"/>
                    <a:gd name="T37" fmla="*/ 47 h 53"/>
                    <a:gd name="T38" fmla="*/ 4 w 18"/>
                    <a:gd name="T39" fmla="*/ 49 h 53"/>
                    <a:gd name="T40" fmla="*/ 5 w 18"/>
                    <a:gd name="T41" fmla="*/ 50 h 53"/>
                    <a:gd name="T42" fmla="*/ 5 w 18"/>
                    <a:gd name="T43" fmla="*/ 51 h 53"/>
                    <a:gd name="T44" fmla="*/ 4 w 18"/>
                    <a:gd name="T45" fmla="*/ 53 h 53"/>
                    <a:gd name="T46" fmla="*/ 9 w 18"/>
                    <a:gd name="T47" fmla="*/ 53 h 53"/>
                    <a:gd name="T48" fmla="*/ 9 w 18"/>
                    <a:gd name="T49" fmla="*/ 50 h 53"/>
                    <a:gd name="T50" fmla="*/ 9 w 18"/>
                    <a:gd name="T51" fmla="*/ 43 h 53"/>
                    <a:gd name="T52" fmla="*/ 8 w 18"/>
                    <a:gd name="T53" fmla="*/ 40 h 53"/>
                    <a:gd name="T54" fmla="*/ 10 w 18"/>
                    <a:gd name="T55" fmla="*/ 38 h 53"/>
                    <a:gd name="T56" fmla="*/ 9 w 18"/>
                    <a:gd name="T57" fmla="*/ 32 h 53"/>
                    <a:gd name="T58" fmla="*/ 9 w 18"/>
                    <a:gd name="T59" fmla="*/ 34 h 53"/>
                    <a:gd name="T60" fmla="*/ 10 w 18"/>
                    <a:gd name="T61" fmla="*/ 39 h 53"/>
                    <a:gd name="T62" fmla="*/ 10 w 18"/>
                    <a:gd name="T63" fmla="*/ 41 h 53"/>
                    <a:gd name="T64" fmla="*/ 10 w 18"/>
                    <a:gd name="T65" fmla="*/ 48 h 53"/>
                    <a:gd name="T66" fmla="*/ 10 w 18"/>
                    <a:gd name="T67" fmla="*/ 51 h 53"/>
                    <a:gd name="T68" fmla="*/ 10 w 18"/>
                    <a:gd name="T69" fmla="*/ 53 h 53"/>
                    <a:gd name="T70" fmla="*/ 13 w 18"/>
                    <a:gd name="T71" fmla="*/ 52 h 53"/>
                    <a:gd name="T72" fmla="*/ 13 w 18"/>
                    <a:gd name="T73" fmla="*/ 51 h 53"/>
                    <a:gd name="T74" fmla="*/ 13 w 18"/>
                    <a:gd name="T75" fmla="*/ 51 h 53"/>
                    <a:gd name="T76" fmla="*/ 14 w 18"/>
                    <a:gd name="T77" fmla="*/ 49 h 53"/>
                    <a:gd name="T78" fmla="*/ 14 w 18"/>
                    <a:gd name="T79" fmla="*/ 46 h 53"/>
                    <a:gd name="T80" fmla="*/ 14 w 18"/>
                    <a:gd name="T81" fmla="*/ 41 h 53"/>
                    <a:gd name="T82" fmla="*/ 14 w 18"/>
                    <a:gd name="T83" fmla="*/ 40 h 53"/>
                    <a:gd name="T84" fmla="*/ 14 w 18"/>
                    <a:gd name="T85" fmla="*/ 39 h 53"/>
                    <a:gd name="T86" fmla="*/ 14 w 18"/>
                    <a:gd name="T87" fmla="*/ 31 h 53"/>
                    <a:gd name="T88" fmla="*/ 15 w 18"/>
                    <a:gd name="T89" fmla="*/ 27 h 53"/>
                    <a:gd name="T90" fmla="*/ 16 w 18"/>
                    <a:gd name="T91" fmla="*/ 24 h 53"/>
                    <a:gd name="T92" fmla="*/ 17 w 18"/>
                    <a:gd name="T93" fmla="*/ 20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8" h="53">
                      <a:moveTo>
                        <a:pt x="17" y="19"/>
                      </a:moveTo>
                      <a:cubicBezTo>
                        <a:pt x="17" y="18"/>
                        <a:pt x="17" y="18"/>
                        <a:pt x="17" y="18"/>
                      </a:cubicBezTo>
                      <a:cubicBezTo>
                        <a:pt x="17" y="18"/>
                        <a:pt x="17" y="17"/>
                        <a:pt x="17" y="16"/>
                      </a:cubicBezTo>
                      <a:cubicBezTo>
                        <a:pt x="17" y="15"/>
                        <a:pt x="17" y="14"/>
                        <a:pt x="17" y="14"/>
                      </a:cubicBezTo>
                      <a:cubicBezTo>
                        <a:pt x="17" y="13"/>
                        <a:pt x="17" y="12"/>
                        <a:pt x="16" y="11"/>
                      </a:cubicBezTo>
                      <a:cubicBezTo>
                        <a:pt x="16" y="10"/>
                        <a:pt x="16" y="9"/>
                        <a:pt x="16" y="9"/>
                      </a:cubicBezTo>
                      <a:cubicBezTo>
                        <a:pt x="15" y="9"/>
                        <a:pt x="14" y="8"/>
                        <a:pt x="14" y="8"/>
                      </a:cubicBezTo>
                      <a:cubicBezTo>
                        <a:pt x="13" y="8"/>
                        <a:pt x="12" y="8"/>
                        <a:pt x="12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11" y="7"/>
                        <a:pt x="10" y="7"/>
                        <a:pt x="11" y="6"/>
                      </a:cubicBezTo>
                      <a:cubicBezTo>
                        <a:pt x="11" y="6"/>
                        <a:pt x="11" y="6"/>
                        <a:pt x="11" y="5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1" y="4"/>
                        <a:pt x="11" y="4"/>
                        <a:pt x="11" y="3"/>
                      </a:cubicBezTo>
                      <a:cubicBezTo>
                        <a:pt x="11" y="3"/>
                        <a:pt x="11" y="3"/>
                        <a:pt x="11" y="3"/>
                      </a:cubicBezTo>
                      <a:cubicBezTo>
                        <a:pt x="11" y="3"/>
                        <a:pt x="11" y="3"/>
                        <a:pt x="11" y="2"/>
                      </a:cubicBezTo>
                      <a:cubicBezTo>
                        <a:pt x="11" y="1"/>
                        <a:pt x="10" y="0"/>
                        <a:pt x="8" y="0"/>
                      </a:cubicBezTo>
                      <a:cubicBezTo>
                        <a:pt x="7" y="0"/>
                        <a:pt x="6" y="2"/>
                        <a:pt x="6" y="2"/>
                      </a:cubicBezTo>
                      <a:cubicBezTo>
                        <a:pt x="6" y="3"/>
                        <a:pt x="6" y="3"/>
                        <a:pt x="6" y="3"/>
                      </a:cubicBezTo>
                      <a:cubicBezTo>
                        <a:pt x="6" y="3"/>
                        <a:pt x="5" y="3"/>
                        <a:pt x="5" y="3"/>
                      </a:cubicBezTo>
                      <a:cubicBezTo>
                        <a:pt x="5" y="4"/>
                        <a:pt x="6" y="4"/>
                        <a:pt x="6" y="4"/>
                      </a:cubicBezTo>
                      <a:cubicBezTo>
                        <a:pt x="6" y="4"/>
                        <a:pt x="6" y="5"/>
                        <a:pt x="6" y="5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6" y="6"/>
                        <a:pt x="7" y="7"/>
                        <a:pt x="7" y="7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7" y="7"/>
                        <a:pt x="7" y="7"/>
                        <a:pt x="7" y="8"/>
                      </a:cubicBezTo>
                      <a:cubicBezTo>
                        <a:pt x="7" y="8"/>
                        <a:pt x="6" y="8"/>
                        <a:pt x="6" y="8"/>
                      </a:cubicBezTo>
                      <a:cubicBezTo>
                        <a:pt x="6" y="8"/>
                        <a:pt x="4" y="9"/>
                        <a:pt x="3" y="9"/>
                      </a:cubicBezTo>
                      <a:cubicBezTo>
                        <a:pt x="2" y="10"/>
                        <a:pt x="2" y="10"/>
                        <a:pt x="2" y="10"/>
                      </a:cubicBezTo>
                      <a:cubicBezTo>
                        <a:pt x="2" y="10"/>
                        <a:pt x="1" y="12"/>
                        <a:pt x="1" y="13"/>
                      </a:cubicBezTo>
                      <a:cubicBezTo>
                        <a:pt x="1" y="14"/>
                        <a:pt x="1" y="15"/>
                        <a:pt x="1" y="15"/>
                      </a:cubicBezTo>
                      <a:cubicBezTo>
                        <a:pt x="1" y="16"/>
                        <a:pt x="1" y="16"/>
                        <a:pt x="1" y="17"/>
                      </a:cubicBezTo>
                      <a:cubicBezTo>
                        <a:pt x="1" y="17"/>
                        <a:pt x="1" y="18"/>
                        <a:pt x="1" y="18"/>
                      </a:cubicBezTo>
                      <a:cubicBezTo>
                        <a:pt x="1" y="19"/>
                        <a:pt x="0" y="19"/>
                        <a:pt x="0" y="20"/>
                      </a:cubicBezTo>
                      <a:cubicBezTo>
                        <a:pt x="0" y="20"/>
                        <a:pt x="0" y="21"/>
                        <a:pt x="1" y="22"/>
                      </a:cubicBezTo>
                      <a:cubicBezTo>
                        <a:pt x="1" y="22"/>
                        <a:pt x="1" y="22"/>
                        <a:pt x="1" y="23"/>
                      </a:cubicBezTo>
                      <a:cubicBezTo>
                        <a:pt x="1" y="23"/>
                        <a:pt x="1" y="23"/>
                        <a:pt x="1" y="23"/>
                      </a:cubicBezTo>
                      <a:cubicBezTo>
                        <a:pt x="1" y="24"/>
                        <a:pt x="1" y="24"/>
                        <a:pt x="1" y="24"/>
                      </a:cubicBezTo>
                      <a:cubicBezTo>
                        <a:pt x="1" y="25"/>
                        <a:pt x="1" y="25"/>
                        <a:pt x="1" y="25"/>
                      </a:cubicBezTo>
                      <a:cubicBezTo>
                        <a:pt x="2" y="25"/>
                        <a:pt x="1" y="25"/>
                        <a:pt x="2" y="26"/>
                      </a:cubicBezTo>
                      <a:cubicBezTo>
                        <a:pt x="2" y="26"/>
                        <a:pt x="2" y="26"/>
                        <a:pt x="2" y="27"/>
                      </a:cubicBezTo>
                      <a:cubicBezTo>
                        <a:pt x="2" y="27"/>
                        <a:pt x="3" y="28"/>
                        <a:pt x="3" y="28"/>
                      </a:cubicBezTo>
                      <a:cubicBezTo>
                        <a:pt x="3" y="27"/>
                        <a:pt x="3" y="27"/>
                        <a:pt x="3" y="27"/>
                      </a:cubicBezTo>
                      <a:cubicBezTo>
                        <a:pt x="3" y="28"/>
                        <a:pt x="3" y="28"/>
                        <a:pt x="3" y="28"/>
                      </a:cubicBezTo>
                      <a:cubicBezTo>
                        <a:pt x="3" y="28"/>
                        <a:pt x="3" y="29"/>
                        <a:pt x="4" y="31"/>
                      </a:cubicBezTo>
                      <a:cubicBezTo>
                        <a:pt x="4" y="33"/>
                        <a:pt x="4" y="35"/>
                        <a:pt x="4" y="36"/>
                      </a:cubicBezTo>
                      <a:cubicBezTo>
                        <a:pt x="4" y="37"/>
                        <a:pt x="4" y="37"/>
                        <a:pt x="4" y="37"/>
                      </a:cubicBezTo>
                      <a:cubicBezTo>
                        <a:pt x="4" y="38"/>
                        <a:pt x="4" y="39"/>
                        <a:pt x="4" y="39"/>
                      </a:cubicBezTo>
                      <a:cubicBezTo>
                        <a:pt x="4" y="40"/>
                        <a:pt x="4" y="40"/>
                        <a:pt x="4" y="40"/>
                      </a:cubicBezTo>
                      <a:cubicBezTo>
                        <a:pt x="4" y="40"/>
                        <a:pt x="4" y="40"/>
                        <a:pt x="4" y="41"/>
                      </a:cubicBezTo>
                      <a:cubicBezTo>
                        <a:pt x="4" y="41"/>
                        <a:pt x="4" y="41"/>
                        <a:pt x="4" y="41"/>
                      </a:cubicBezTo>
                      <a:cubicBezTo>
                        <a:pt x="4" y="42"/>
                        <a:pt x="4" y="42"/>
                        <a:pt x="4" y="42"/>
                      </a:cubicBezTo>
                      <a:cubicBezTo>
                        <a:pt x="4" y="43"/>
                        <a:pt x="4" y="43"/>
                        <a:pt x="4" y="43"/>
                      </a:cubicBezTo>
                      <a:cubicBezTo>
                        <a:pt x="4" y="44"/>
                        <a:pt x="4" y="44"/>
                        <a:pt x="4" y="45"/>
                      </a:cubicBezTo>
                      <a:cubicBezTo>
                        <a:pt x="4" y="46"/>
                        <a:pt x="4" y="46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8"/>
                      </a:cubicBezTo>
                      <a:cubicBezTo>
                        <a:pt x="4" y="48"/>
                        <a:pt x="4" y="49"/>
                        <a:pt x="4" y="49"/>
                      </a:cubicBezTo>
                      <a:cubicBezTo>
                        <a:pt x="4" y="49"/>
                        <a:pt x="4" y="49"/>
                        <a:pt x="4" y="49"/>
                      </a:cubicBezTo>
                      <a:cubicBezTo>
                        <a:pt x="4" y="49"/>
                        <a:pt x="4" y="49"/>
                        <a:pt x="4" y="49"/>
                      </a:cubicBezTo>
                      <a:cubicBezTo>
                        <a:pt x="5" y="49"/>
                        <a:pt x="5" y="50"/>
                        <a:pt x="5" y="50"/>
                      </a:cubicBezTo>
                      <a:cubicBezTo>
                        <a:pt x="5" y="51"/>
                        <a:pt x="5" y="51"/>
                        <a:pt x="5" y="51"/>
                      </a:cubicBezTo>
                      <a:cubicBezTo>
                        <a:pt x="5" y="51"/>
                        <a:pt x="5" y="51"/>
                        <a:pt x="5" y="51"/>
                      </a:cubicBezTo>
                      <a:cubicBezTo>
                        <a:pt x="5" y="51"/>
                        <a:pt x="5" y="51"/>
                        <a:pt x="5" y="51"/>
                      </a:cubicBezTo>
                      <a:cubicBezTo>
                        <a:pt x="5" y="51"/>
                        <a:pt x="6" y="51"/>
                        <a:pt x="5" y="52"/>
                      </a:cubicBezTo>
                      <a:cubicBezTo>
                        <a:pt x="5" y="52"/>
                        <a:pt x="4" y="52"/>
                        <a:pt x="4" y="52"/>
                      </a:cubicBezTo>
                      <a:cubicBezTo>
                        <a:pt x="4" y="53"/>
                        <a:pt x="4" y="53"/>
                        <a:pt x="4" y="53"/>
                      </a:cubicBezTo>
                      <a:cubicBezTo>
                        <a:pt x="4" y="53"/>
                        <a:pt x="4" y="53"/>
                        <a:pt x="4" y="53"/>
                      </a:cubicBezTo>
                      <a:cubicBezTo>
                        <a:pt x="5" y="53"/>
                        <a:pt x="8" y="53"/>
                        <a:pt x="8" y="53"/>
                      </a:cubicBezTo>
                      <a:cubicBezTo>
                        <a:pt x="8" y="53"/>
                        <a:pt x="8" y="53"/>
                        <a:pt x="9" y="53"/>
                      </a:cubicBezTo>
                      <a:cubicBezTo>
                        <a:pt x="9" y="53"/>
                        <a:pt x="8" y="51"/>
                        <a:pt x="8" y="51"/>
                      </a:cubicBezTo>
                      <a:cubicBezTo>
                        <a:pt x="8" y="51"/>
                        <a:pt x="8" y="51"/>
                        <a:pt x="8" y="51"/>
                      </a:cubicBezTo>
                      <a:cubicBezTo>
                        <a:pt x="8" y="51"/>
                        <a:pt x="9" y="50"/>
                        <a:pt x="9" y="50"/>
                      </a:cubicBezTo>
                      <a:cubicBezTo>
                        <a:pt x="9" y="49"/>
                        <a:pt x="8" y="49"/>
                        <a:pt x="9" y="49"/>
                      </a:cubicBezTo>
                      <a:cubicBezTo>
                        <a:pt x="9" y="48"/>
                        <a:pt x="9" y="48"/>
                        <a:pt x="9" y="48"/>
                      </a:cubicBezTo>
                      <a:cubicBezTo>
                        <a:pt x="9" y="47"/>
                        <a:pt x="9" y="44"/>
                        <a:pt x="9" y="43"/>
                      </a:cubicBezTo>
                      <a:cubicBezTo>
                        <a:pt x="9" y="43"/>
                        <a:pt x="9" y="41"/>
                        <a:pt x="8" y="41"/>
                      </a:cubicBezTo>
                      <a:cubicBezTo>
                        <a:pt x="8" y="41"/>
                        <a:pt x="8" y="41"/>
                        <a:pt x="8" y="41"/>
                      </a:cubicBezTo>
                      <a:cubicBezTo>
                        <a:pt x="8" y="41"/>
                        <a:pt x="8" y="40"/>
                        <a:pt x="8" y="40"/>
                      </a:cubicBezTo>
                      <a:cubicBezTo>
                        <a:pt x="8" y="40"/>
                        <a:pt x="9" y="40"/>
                        <a:pt x="9" y="39"/>
                      </a:cubicBezTo>
                      <a:cubicBezTo>
                        <a:pt x="9" y="39"/>
                        <a:pt x="10" y="39"/>
                        <a:pt x="10" y="39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10" y="38"/>
                        <a:pt x="10" y="37"/>
                        <a:pt x="10" y="36"/>
                      </a:cubicBezTo>
                      <a:cubicBezTo>
                        <a:pt x="10" y="35"/>
                        <a:pt x="9" y="33"/>
                        <a:pt x="9" y="33"/>
                      </a:cubicBezTo>
                      <a:cubicBezTo>
                        <a:pt x="9" y="33"/>
                        <a:pt x="9" y="33"/>
                        <a:pt x="9" y="32"/>
                      </a:cubicBezTo>
                      <a:cubicBezTo>
                        <a:pt x="9" y="32"/>
                        <a:pt x="9" y="32"/>
                        <a:pt x="9" y="32"/>
                      </a:cubicBezTo>
                      <a:cubicBezTo>
                        <a:pt x="9" y="32"/>
                        <a:pt x="9" y="32"/>
                        <a:pt x="9" y="32"/>
                      </a:cubicBezTo>
                      <a:cubicBezTo>
                        <a:pt x="9" y="33"/>
                        <a:pt x="9" y="34"/>
                        <a:pt x="9" y="34"/>
                      </a:cubicBezTo>
                      <a:cubicBezTo>
                        <a:pt x="9" y="34"/>
                        <a:pt x="9" y="35"/>
                        <a:pt x="10" y="36"/>
                      </a:cubicBezTo>
                      <a:cubicBezTo>
                        <a:pt x="10" y="36"/>
                        <a:pt x="10" y="37"/>
                        <a:pt x="10" y="38"/>
                      </a:cubicBezTo>
                      <a:cubicBezTo>
                        <a:pt x="10" y="38"/>
                        <a:pt x="10" y="38"/>
                        <a:pt x="10" y="39"/>
                      </a:cubicBezTo>
                      <a:cubicBezTo>
                        <a:pt x="10" y="39"/>
                        <a:pt x="10" y="39"/>
                        <a:pt x="10" y="39"/>
                      </a:cubicBezTo>
                      <a:cubicBezTo>
                        <a:pt x="10" y="40"/>
                        <a:pt x="10" y="40"/>
                        <a:pt x="10" y="40"/>
                      </a:cubicBezTo>
                      <a:cubicBezTo>
                        <a:pt x="10" y="40"/>
                        <a:pt x="10" y="40"/>
                        <a:pt x="10" y="41"/>
                      </a:cubicBezTo>
                      <a:cubicBezTo>
                        <a:pt x="10" y="41"/>
                        <a:pt x="10" y="42"/>
                        <a:pt x="10" y="43"/>
                      </a:cubicBezTo>
                      <a:cubicBezTo>
                        <a:pt x="10" y="43"/>
                        <a:pt x="10" y="46"/>
                        <a:pt x="10" y="47"/>
                      </a:cubicBezTo>
                      <a:cubicBezTo>
                        <a:pt x="10" y="47"/>
                        <a:pt x="10" y="48"/>
                        <a:pt x="10" y="48"/>
                      </a:cubicBezTo>
                      <a:cubicBezTo>
                        <a:pt x="10" y="48"/>
                        <a:pt x="9" y="49"/>
                        <a:pt x="9" y="49"/>
                      </a:cubicBezTo>
                      <a:cubicBezTo>
                        <a:pt x="9" y="50"/>
                        <a:pt x="10" y="50"/>
                        <a:pt x="10" y="50"/>
                      </a:cubicBezTo>
                      <a:cubicBezTo>
                        <a:pt x="10" y="51"/>
                        <a:pt x="10" y="51"/>
                        <a:pt x="10" y="51"/>
                      </a:cubicBezTo>
                      <a:cubicBezTo>
                        <a:pt x="10" y="51"/>
                        <a:pt x="10" y="51"/>
                        <a:pt x="10" y="51"/>
                      </a:cubicBezTo>
                      <a:cubicBezTo>
                        <a:pt x="10" y="51"/>
                        <a:pt x="10" y="51"/>
                        <a:pt x="10" y="51"/>
                      </a:cubicBezTo>
                      <a:cubicBezTo>
                        <a:pt x="10" y="51"/>
                        <a:pt x="10" y="53"/>
                        <a:pt x="10" y="53"/>
                      </a:cubicBezTo>
                      <a:cubicBezTo>
                        <a:pt x="10" y="53"/>
                        <a:pt x="10" y="53"/>
                        <a:pt x="11" y="53"/>
                      </a:cubicBezTo>
                      <a:cubicBezTo>
                        <a:pt x="11" y="53"/>
                        <a:pt x="11" y="52"/>
                        <a:pt x="11" y="52"/>
                      </a:cubicBezTo>
                      <a:cubicBezTo>
                        <a:pt x="11" y="52"/>
                        <a:pt x="12" y="52"/>
                        <a:pt x="13" y="52"/>
                      </a:cubicBezTo>
                      <a:cubicBezTo>
                        <a:pt x="14" y="52"/>
                        <a:pt x="14" y="53"/>
                        <a:pt x="14" y="52"/>
                      </a:cubicBezTo>
                      <a:cubicBezTo>
                        <a:pt x="14" y="52"/>
                        <a:pt x="14" y="53"/>
                        <a:pt x="14" y="52"/>
                      </a:cubicBezTo>
                      <a:cubicBezTo>
                        <a:pt x="15" y="52"/>
                        <a:pt x="13" y="52"/>
                        <a:pt x="13" y="51"/>
                      </a:cubicBezTo>
                      <a:cubicBezTo>
                        <a:pt x="13" y="51"/>
                        <a:pt x="13" y="51"/>
                        <a:pt x="13" y="51"/>
                      </a:cubicBezTo>
                      <a:cubicBezTo>
                        <a:pt x="13" y="51"/>
                        <a:pt x="13" y="51"/>
                        <a:pt x="13" y="51"/>
                      </a:cubicBezTo>
                      <a:cubicBezTo>
                        <a:pt x="13" y="51"/>
                        <a:pt x="13" y="51"/>
                        <a:pt x="13" y="51"/>
                      </a:cubicBezTo>
                      <a:cubicBezTo>
                        <a:pt x="13" y="51"/>
                        <a:pt x="13" y="50"/>
                        <a:pt x="13" y="50"/>
                      </a:cubicBezTo>
                      <a:cubicBezTo>
                        <a:pt x="13" y="50"/>
                        <a:pt x="14" y="50"/>
                        <a:pt x="14" y="49"/>
                      </a:cubicBezTo>
                      <a:cubicBezTo>
                        <a:pt x="14" y="49"/>
                        <a:pt x="14" y="49"/>
                        <a:pt x="14" y="49"/>
                      </a:cubicBezTo>
                      <a:cubicBezTo>
                        <a:pt x="14" y="48"/>
                        <a:pt x="14" y="48"/>
                        <a:pt x="14" y="47"/>
                      </a:cubicBezTo>
                      <a:cubicBezTo>
                        <a:pt x="14" y="47"/>
                        <a:pt x="14" y="47"/>
                        <a:pt x="14" y="47"/>
                      </a:cubicBezTo>
                      <a:cubicBezTo>
                        <a:pt x="14" y="47"/>
                        <a:pt x="14" y="46"/>
                        <a:pt x="14" y="46"/>
                      </a:cubicBezTo>
                      <a:cubicBezTo>
                        <a:pt x="14" y="46"/>
                        <a:pt x="14" y="44"/>
                        <a:pt x="14" y="43"/>
                      </a:cubicBezTo>
                      <a:cubicBezTo>
                        <a:pt x="14" y="43"/>
                        <a:pt x="14" y="42"/>
                        <a:pt x="14" y="42"/>
                      </a:cubicBezTo>
                      <a:cubicBezTo>
                        <a:pt x="14" y="42"/>
                        <a:pt x="14" y="41"/>
                        <a:pt x="14" y="41"/>
                      </a:cubicBezTo>
                      <a:cubicBezTo>
                        <a:pt x="14" y="41"/>
                        <a:pt x="14" y="41"/>
                        <a:pt x="14" y="41"/>
                      </a:cubicBezTo>
                      <a:cubicBezTo>
                        <a:pt x="14" y="41"/>
                        <a:pt x="14" y="40"/>
                        <a:pt x="14" y="40"/>
                      </a:cubicBezTo>
                      <a:cubicBezTo>
                        <a:pt x="14" y="40"/>
                        <a:pt x="14" y="40"/>
                        <a:pt x="14" y="40"/>
                      </a:cubicBezTo>
                      <a:cubicBezTo>
                        <a:pt x="14" y="40"/>
                        <a:pt x="14" y="40"/>
                        <a:pt x="14" y="40"/>
                      </a:cubicBezTo>
                      <a:cubicBezTo>
                        <a:pt x="14" y="40"/>
                        <a:pt x="14" y="40"/>
                        <a:pt x="14" y="40"/>
                      </a:cubicBezTo>
                      <a:cubicBezTo>
                        <a:pt x="14" y="39"/>
                        <a:pt x="14" y="39"/>
                        <a:pt x="14" y="39"/>
                      </a:cubicBezTo>
                      <a:cubicBezTo>
                        <a:pt x="14" y="39"/>
                        <a:pt x="14" y="38"/>
                        <a:pt x="14" y="37"/>
                      </a:cubicBezTo>
                      <a:cubicBezTo>
                        <a:pt x="14" y="37"/>
                        <a:pt x="14" y="36"/>
                        <a:pt x="14" y="35"/>
                      </a:cubicBezTo>
                      <a:cubicBezTo>
                        <a:pt x="14" y="34"/>
                        <a:pt x="14" y="31"/>
                        <a:pt x="14" y="31"/>
                      </a:cubicBezTo>
                      <a:cubicBezTo>
                        <a:pt x="14" y="31"/>
                        <a:pt x="15" y="30"/>
                        <a:pt x="15" y="30"/>
                      </a:cubicBezTo>
                      <a:cubicBezTo>
                        <a:pt x="15" y="30"/>
                        <a:pt x="14" y="29"/>
                        <a:pt x="15" y="28"/>
                      </a:cubicBezTo>
                      <a:cubicBezTo>
                        <a:pt x="15" y="28"/>
                        <a:pt x="15" y="27"/>
                        <a:pt x="15" y="27"/>
                      </a:cubicBezTo>
                      <a:cubicBezTo>
                        <a:pt x="15" y="27"/>
                        <a:pt x="15" y="27"/>
                        <a:pt x="16" y="26"/>
                      </a:cubicBezTo>
                      <a:cubicBezTo>
                        <a:pt x="16" y="26"/>
                        <a:pt x="16" y="25"/>
                        <a:pt x="16" y="25"/>
                      </a:cubicBezTo>
                      <a:cubicBezTo>
                        <a:pt x="16" y="25"/>
                        <a:pt x="16" y="24"/>
                        <a:pt x="16" y="24"/>
                      </a:cubicBezTo>
                      <a:cubicBezTo>
                        <a:pt x="16" y="24"/>
                        <a:pt x="16" y="23"/>
                        <a:pt x="16" y="23"/>
                      </a:cubicBezTo>
                      <a:cubicBezTo>
                        <a:pt x="17" y="23"/>
                        <a:pt x="17" y="22"/>
                        <a:pt x="17" y="22"/>
                      </a:cubicBezTo>
                      <a:cubicBezTo>
                        <a:pt x="17" y="22"/>
                        <a:pt x="17" y="21"/>
                        <a:pt x="17" y="20"/>
                      </a:cubicBezTo>
                      <a:cubicBezTo>
                        <a:pt x="17" y="20"/>
                        <a:pt x="18" y="19"/>
                        <a:pt x="17" y="19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40" name="Oval 673">
                  <a:extLst>
                    <a:ext uri="{FF2B5EF4-FFF2-40B4-BE49-F238E27FC236}">
                      <a16:creationId xmlns:a16="http://schemas.microsoft.com/office/drawing/2014/main" id="{2B8EFA8E-6EBC-11E7-6304-CE62BFDC90E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85025" y="2347913"/>
                  <a:ext cx="107950" cy="107950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41" name="Freeform 674">
                  <a:extLst>
                    <a:ext uri="{FF2B5EF4-FFF2-40B4-BE49-F238E27FC236}">
                      <a16:creationId xmlns:a16="http://schemas.microsoft.com/office/drawing/2014/main" id="{899EBB91-0E69-D286-49EC-BDC75D23B0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26300" y="2363788"/>
                  <a:ext cx="25400" cy="79375"/>
                </a:xfrm>
                <a:custGeom>
                  <a:avLst/>
                  <a:gdLst>
                    <a:gd name="T0" fmla="*/ 19 w 19"/>
                    <a:gd name="T1" fmla="*/ 17 h 59"/>
                    <a:gd name="T2" fmla="*/ 17 w 19"/>
                    <a:gd name="T3" fmla="*/ 10 h 59"/>
                    <a:gd name="T4" fmla="*/ 12 w 19"/>
                    <a:gd name="T5" fmla="*/ 8 h 59"/>
                    <a:gd name="T6" fmla="*/ 11 w 19"/>
                    <a:gd name="T7" fmla="*/ 7 h 59"/>
                    <a:gd name="T8" fmla="*/ 12 w 19"/>
                    <a:gd name="T9" fmla="*/ 5 h 59"/>
                    <a:gd name="T10" fmla="*/ 12 w 19"/>
                    <a:gd name="T11" fmla="*/ 2 h 59"/>
                    <a:gd name="T12" fmla="*/ 6 w 19"/>
                    <a:gd name="T13" fmla="*/ 3 h 59"/>
                    <a:gd name="T14" fmla="*/ 6 w 19"/>
                    <a:gd name="T15" fmla="*/ 5 h 59"/>
                    <a:gd name="T16" fmla="*/ 7 w 19"/>
                    <a:gd name="T17" fmla="*/ 8 h 59"/>
                    <a:gd name="T18" fmla="*/ 3 w 19"/>
                    <a:gd name="T19" fmla="*/ 10 h 59"/>
                    <a:gd name="T20" fmla="*/ 1 w 19"/>
                    <a:gd name="T21" fmla="*/ 17 h 59"/>
                    <a:gd name="T22" fmla="*/ 0 w 19"/>
                    <a:gd name="T23" fmla="*/ 21 h 59"/>
                    <a:gd name="T24" fmla="*/ 1 w 19"/>
                    <a:gd name="T25" fmla="*/ 26 h 59"/>
                    <a:gd name="T26" fmla="*/ 1 w 19"/>
                    <a:gd name="T27" fmla="*/ 28 h 59"/>
                    <a:gd name="T28" fmla="*/ 3 w 19"/>
                    <a:gd name="T29" fmla="*/ 30 h 59"/>
                    <a:gd name="T30" fmla="*/ 4 w 19"/>
                    <a:gd name="T31" fmla="*/ 40 h 59"/>
                    <a:gd name="T32" fmla="*/ 4 w 19"/>
                    <a:gd name="T33" fmla="*/ 44 h 59"/>
                    <a:gd name="T34" fmla="*/ 4 w 19"/>
                    <a:gd name="T35" fmla="*/ 47 h 59"/>
                    <a:gd name="T36" fmla="*/ 5 w 19"/>
                    <a:gd name="T37" fmla="*/ 51 h 59"/>
                    <a:gd name="T38" fmla="*/ 4 w 19"/>
                    <a:gd name="T39" fmla="*/ 54 h 59"/>
                    <a:gd name="T40" fmla="*/ 5 w 19"/>
                    <a:gd name="T41" fmla="*/ 56 h 59"/>
                    <a:gd name="T42" fmla="*/ 5 w 19"/>
                    <a:gd name="T43" fmla="*/ 57 h 59"/>
                    <a:gd name="T44" fmla="*/ 4 w 19"/>
                    <a:gd name="T45" fmla="*/ 58 h 59"/>
                    <a:gd name="T46" fmla="*/ 9 w 19"/>
                    <a:gd name="T47" fmla="*/ 59 h 59"/>
                    <a:gd name="T48" fmla="*/ 9 w 19"/>
                    <a:gd name="T49" fmla="*/ 55 h 59"/>
                    <a:gd name="T50" fmla="*/ 9 w 19"/>
                    <a:gd name="T51" fmla="*/ 48 h 59"/>
                    <a:gd name="T52" fmla="*/ 9 w 19"/>
                    <a:gd name="T53" fmla="*/ 44 h 59"/>
                    <a:gd name="T54" fmla="*/ 10 w 19"/>
                    <a:gd name="T55" fmla="*/ 42 h 59"/>
                    <a:gd name="T56" fmla="*/ 10 w 19"/>
                    <a:gd name="T57" fmla="*/ 36 h 59"/>
                    <a:gd name="T58" fmla="*/ 10 w 19"/>
                    <a:gd name="T59" fmla="*/ 37 h 59"/>
                    <a:gd name="T60" fmla="*/ 11 w 19"/>
                    <a:gd name="T61" fmla="*/ 43 h 59"/>
                    <a:gd name="T62" fmla="*/ 11 w 19"/>
                    <a:gd name="T63" fmla="*/ 45 h 59"/>
                    <a:gd name="T64" fmla="*/ 10 w 19"/>
                    <a:gd name="T65" fmla="*/ 53 h 59"/>
                    <a:gd name="T66" fmla="*/ 11 w 19"/>
                    <a:gd name="T67" fmla="*/ 56 h 59"/>
                    <a:gd name="T68" fmla="*/ 11 w 19"/>
                    <a:gd name="T69" fmla="*/ 59 h 59"/>
                    <a:gd name="T70" fmla="*/ 14 w 19"/>
                    <a:gd name="T71" fmla="*/ 57 h 59"/>
                    <a:gd name="T72" fmla="*/ 14 w 19"/>
                    <a:gd name="T73" fmla="*/ 57 h 59"/>
                    <a:gd name="T74" fmla="*/ 14 w 19"/>
                    <a:gd name="T75" fmla="*/ 56 h 59"/>
                    <a:gd name="T76" fmla="*/ 15 w 19"/>
                    <a:gd name="T77" fmla="*/ 54 h 59"/>
                    <a:gd name="T78" fmla="*/ 15 w 19"/>
                    <a:gd name="T79" fmla="*/ 51 h 59"/>
                    <a:gd name="T80" fmla="*/ 15 w 19"/>
                    <a:gd name="T81" fmla="*/ 45 h 59"/>
                    <a:gd name="T82" fmla="*/ 15 w 19"/>
                    <a:gd name="T83" fmla="*/ 44 h 59"/>
                    <a:gd name="T84" fmla="*/ 15 w 19"/>
                    <a:gd name="T85" fmla="*/ 43 h 59"/>
                    <a:gd name="T86" fmla="*/ 15 w 19"/>
                    <a:gd name="T87" fmla="*/ 34 h 59"/>
                    <a:gd name="T88" fmla="*/ 16 w 19"/>
                    <a:gd name="T89" fmla="*/ 30 h 59"/>
                    <a:gd name="T90" fmla="*/ 18 w 19"/>
                    <a:gd name="T91" fmla="*/ 26 h 59"/>
                    <a:gd name="T92" fmla="*/ 19 w 19"/>
                    <a:gd name="T93" fmla="*/ 22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9" h="59">
                      <a:moveTo>
                        <a:pt x="19" y="20"/>
                      </a:moveTo>
                      <a:cubicBezTo>
                        <a:pt x="19" y="20"/>
                        <a:pt x="19" y="19"/>
                        <a:pt x="19" y="19"/>
                      </a:cubicBezTo>
                      <a:cubicBezTo>
                        <a:pt x="19" y="19"/>
                        <a:pt x="19" y="18"/>
                        <a:pt x="19" y="17"/>
                      </a:cubicBezTo>
                      <a:cubicBezTo>
                        <a:pt x="18" y="17"/>
                        <a:pt x="18" y="16"/>
                        <a:pt x="18" y="15"/>
                      </a:cubicBezTo>
                      <a:cubicBezTo>
                        <a:pt x="18" y="14"/>
                        <a:pt x="18" y="13"/>
                        <a:pt x="18" y="12"/>
                      </a:cubicBezTo>
                      <a:cubicBezTo>
                        <a:pt x="17" y="11"/>
                        <a:pt x="17" y="10"/>
                        <a:pt x="17" y="10"/>
                      </a:cubicBezTo>
                      <a:cubicBezTo>
                        <a:pt x="17" y="9"/>
                        <a:pt x="15" y="9"/>
                        <a:pt x="15" y="9"/>
                      </a:cubicBezTo>
                      <a:cubicBezTo>
                        <a:pt x="14" y="9"/>
                        <a:pt x="13" y="8"/>
                        <a:pt x="13" y="8"/>
                      </a:cubicBezTo>
                      <a:cubicBezTo>
                        <a:pt x="12" y="8"/>
                        <a:pt x="12" y="8"/>
                        <a:pt x="12" y="8"/>
                      </a:cubicBezTo>
                      <a:cubicBezTo>
                        <a:pt x="12" y="8"/>
                        <a:pt x="11" y="8"/>
                        <a:pt x="11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11" y="6"/>
                        <a:pt x="12" y="6"/>
                        <a:pt x="12" y="5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2" y="4"/>
                        <a:pt x="12" y="4"/>
                        <a:pt x="12" y="3"/>
                      </a:cubicBezTo>
                      <a:cubicBezTo>
                        <a:pt x="12" y="3"/>
                        <a:pt x="12" y="3"/>
                        <a:pt x="12" y="3"/>
                      </a:cubicBezTo>
                      <a:cubicBezTo>
                        <a:pt x="12" y="3"/>
                        <a:pt x="12" y="2"/>
                        <a:pt x="12" y="2"/>
                      </a:cubicBezTo>
                      <a:cubicBezTo>
                        <a:pt x="11" y="1"/>
                        <a:pt x="10" y="0"/>
                        <a:pt x="9" y="0"/>
                      </a:cubicBezTo>
                      <a:cubicBezTo>
                        <a:pt x="7" y="0"/>
                        <a:pt x="6" y="1"/>
                        <a:pt x="6" y="2"/>
                      </a:cubicBezTo>
                      <a:cubicBezTo>
                        <a:pt x="6" y="3"/>
                        <a:pt x="6" y="3"/>
                        <a:pt x="6" y="3"/>
                      </a:cubicBezTo>
                      <a:cubicBezTo>
                        <a:pt x="6" y="3"/>
                        <a:pt x="6" y="3"/>
                        <a:pt x="6" y="3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6" y="4"/>
                        <a:pt x="6" y="5"/>
                        <a:pt x="6" y="5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6" y="6"/>
                        <a:pt x="7" y="7"/>
                        <a:pt x="7" y="7"/>
                      </a:cubicBezTo>
                      <a:cubicBezTo>
                        <a:pt x="7" y="7"/>
                        <a:pt x="7" y="7"/>
                        <a:pt x="7" y="8"/>
                      </a:cubicBezTo>
                      <a:cubicBezTo>
                        <a:pt x="7" y="8"/>
                        <a:pt x="7" y="8"/>
                        <a:pt x="7" y="8"/>
                      </a:cubicBezTo>
                      <a:cubicBezTo>
                        <a:pt x="7" y="8"/>
                        <a:pt x="7" y="8"/>
                        <a:pt x="6" y="9"/>
                      </a:cubicBezTo>
                      <a:cubicBezTo>
                        <a:pt x="6" y="9"/>
                        <a:pt x="4" y="9"/>
                        <a:pt x="3" y="10"/>
                      </a:cubicBezTo>
                      <a:cubicBezTo>
                        <a:pt x="2" y="10"/>
                        <a:pt x="2" y="10"/>
                        <a:pt x="2" y="11"/>
                      </a:cubicBezTo>
                      <a:cubicBezTo>
                        <a:pt x="2" y="11"/>
                        <a:pt x="1" y="13"/>
                        <a:pt x="1" y="14"/>
                      </a:cubicBezTo>
                      <a:cubicBezTo>
                        <a:pt x="1" y="15"/>
                        <a:pt x="1" y="16"/>
                        <a:pt x="1" y="17"/>
                      </a:cubicBezTo>
                      <a:cubicBezTo>
                        <a:pt x="0" y="17"/>
                        <a:pt x="1" y="18"/>
                        <a:pt x="0" y="18"/>
                      </a:cubicBezTo>
                      <a:cubicBezTo>
                        <a:pt x="0" y="18"/>
                        <a:pt x="0" y="19"/>
                        <a:pt x="0" y="20"/>
                      </a:cubicBezTo>
                      <a:cubicBezTo>
                        <a:pt x="0" y="20"/>
                        <a:pt x="0" y="21"/>
                        <a:pt x="0" y="21"/>
                      </a:cubicBezTo>
                      <a:cubicBezTo>
                        <a:pt x="0" y="22"/>
                        <a:pt x="0" y="23"/>
                        <a:pt x="0" y="24"/>
                      </a:cubicBezTo>
                      <a:cubicBezTo>
                        <a:pt x="0" y="24"/>
                        <a:pt x="0" y="24"/>
                        <a:pt x="0" y="25"/>
                      </a:cubicBezTo>
                      <a:cubicBezTo>
                        <a:pt x="0" y="25"/>
                        <a:pt x="1" y="25"/>
                        <a:pt x="1" y="26"/>
                      </a:cubicBezTo>
                      <a:cubicBezTo>
                        <a:pt x="1" y="26"/>
                        <a:pt x="1" y="26"/>
                        <a:pt x="1" y="27"/>
                      </a:cubicBezTo>
                      <a:cubicBezTo>
                        <a:pt x="1" y="27"/>
                        <a:pt x="1" y="27"/>
                        <a:pt x="1" y="27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1" y="28"/>
                        <a:pt x="2" y="29"/>
                        <a:pt x="2" y="29"/>
                      </a:cubicBezTo>
                      <a:cubicBezTo>
                        <a:pt x="2" y="29"/>
                        <a:pt x="3" y="30"/>
                        <a:pt x="3" y="30"/>
                      </a:cubicBezTo>
                      <a:cubicBezTo>
                        <a:pt x="3" y="30"/>
                        <a:pt x="3" y="30"/>
                        <a:pt x="3" y="30"/>
                      </a:cubicBezTo>
                      <a:cubicBezTo>
                        <a:pt x="3" y="30"/>
                        <a:pt x="3" y="30"/>
                        <a:pt x="3" y="30"/>
                      </a:cubicBezTo>
                      <a:cubicBezTo>
                        <a:pt x="3" y="30"/>
                        <a:pt x="3" y="32"/>
                        <a:pt x="3" y="34"/>
                      </a:cubicBezTo>
                      <a:cubicBezTo>
                        <a:pt x="4" y="37"/>
                        <a:pt x="4" y="39"/>
                        <a:pt x="4" y="40"/>
                      </a:cubicBezTo>
                      <a:cubicBezTo>
                        <a:pt x="4" y="41"/>
                        <a:pt x="4" y="41"/>
                        <a:pt x="4" y="41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4" y="44"/>
                        <a:pt x="4" y="44"/>
                      </a:cubicBezTo>
                      <a:cubicBezTo>
                        <a:pt x="4" y="44"/>
                        <a:pt x="4" y="44"/>
                        <a:pt x="4" y="45"/>
                      </a:cubicBezTo>
                      <a:cubicBezTo>
                        <a:pt x="4" y="45"/>
                        <a:pt x="4" y="45"/>
                        <a:pt x="4" y="46"/>
                      </a:cubicBezTo>
                      <a:cubicBezTo>
                        <a:pt x="4" y="46"/>
                        <a:pt x="4" y="46"/>
                        <a:pt x="4" y="47"/>
                      </a:cubicBezTo>
                      <a:cubicBezTo>
                        <a:pt x="4" y="47"/>
                        <a:pt x="4" y="47"/>
                        <a:pt x="4" y="48"/>
                      </a:cubicBezTo>
                      <a:cubicBezTo>
                        <a:pt x="4" y="49"/>
                        <a:pt x="4" y="49"/>
                        <a:pt x="4" y="50"/>
                      </a:cubicBezTo>
                      <a:cubicBezTo>
                        <a:pt x="4" y="51"/>
                        <a:pt x="4" y="51"/>
                        <a:pt x="5" y="51"/>
                      </a:cubicBezTo>
                      <a:cubicBezTo>
                        <a:pt x="5" y="52"/>
                        <a:pt x="5" y="52"/>
                        <a:pt x="5" y="52"/>
                      </a:cubicBezTo>
                      <a:cubicBezTo>
                        <a:pt x="5" y="52"/>
                        <a:pt x="5" y="52"/>
                        <a:pt x="5" y="53"/>
                      </a:cubicBezTo>
                      <a:cubicBezTo>
                        <a:pt x="4" y="53"/>
                        <a:pt x="4" y="54"/>
                        <a:pt x="4" y="54"/>
                      </a:cubicBezTo>
                      <a:cubicBezTo>
                        <a:pt x="4" y="54"/>
                        <a:pt x="4" y="54"/>
                        <a:pt x="4" y="54"/>
                      </a:cubicBezTo>
                      <a:cubicBezTo>
                        <a:pt x="4" y="54"/>
                        <a:pt x="4" y="54"/>
                        <a:pt x="4" y="55"/>
                      </a:cubicBezTo>
                      <a:cubicBezTo>
                        <a:pt x="5" y="55"/>
                        <a:pt x="5" y="55"/>
                        <a:pt x="5" y="56"/>
                      </a:cubicBezTo>
                      <a:cubicBezTo>
                        <a:pt x="5" y="56"/>
                        <a:pt x="5" y="56"/>
                        <a:pt x="5" y="56"/>
                      </a:cubicBezTo>
                      <a:cubicBezTo>
                        <a:pt x="5" y="56"/>
                        <a:pt x="5" y="56"/>
                        <a:pt x="5" y="57"/>
                      </a:cubicBezTo>
                      <a:cubicBezTo>
                        <a:pt x="5" y="57"/>
                        <a:pt x="5" y="57"/>
                        <a:pt x="5" y="57"/>
                      </a:cubicBezTo>
                      <a:cubicBezTo>
                        <a:pt x="5" y="57"/>
                        <a:pt x="6" y="57"/>
                        <a:pt x="5" y="57"/>
                      </a:cubicBezTo>
                      <a:cubicBezTo>
                        <a:pt x="5" y="58"/>
                        <a:pt x="4" y="57"/>
                        <a:pt x="4" y="58"/>
                      </a:cubicBezTo>
                      <a:cubicBezTo>
                        <a:pt x="4" y="58"/>
                        <a:pt x="4" y="58"/>
                        <a:pt x="4" y="58"/>
                      </a:cubicBezTo>
                      <a:cubicBezTo>
                        <a:pt x="4" y="58"/>
                        <a:pt x="4" y="59"/>
                        <a:pt x="4" y="59"/>
                      </a:cubicBezTo>
                      <a:cubicBezTo>
                        <a:pt x="5" y="59"/>
                        <a:pt x="8" y="59"/>
                        <a:pt x="8" y="59"/>
                      </a:cubicBezTo>
                      <a:cubicBezTo>
                        <a:pt x="8" y="59"/>
                        <a:pt x="9" y="59"/>
                        <a:pt x="9" y="59"/>
                      </a:cubicBezTo>
                      <a:cubicBezTo>
                        <a:pt x="9" y="58"/>
                        <a:pt x="9" y="57"/>
                        <a:pt x="9" y="56"/>
                      </a:cubicBezTo>
                      <a:cubicBezTo>
                        <a:pt x="9" y="56"/>
                        <a:pt x="9" y="56"/>
                        <a:pt x="9" y="56"/>
                      </a:cubicBezTo>
                      <a:cubicBezTo>
                        <a:pt x="9" y="56"/>
                        <a:pt x="9" y="55"/>
                        <a:pt x="9" y="55"/>
                      </a:cubicBezTo>
                      <a:cubicBezTo>
                        <a:pt x="9" y="55"/>
                        <a:pt x="9" y="54"/>
                        <a:pt x="9" y="54"/>
                      </a:cubicBezTo>
                      <a:cubicBezTo>
                        <a:pt x="9" y="54"/>
                        <a:pt x="9" y="53"/>
                        <a:pt x="9" y="53"/>
                      </a:cubicBezTo>
                      <a:cubicBezTo>
                        <a:pt x="9" y="52"/>
                        <a:pt x="9" y="49"/>
                        <a:pt x="9" y="48"/>
                      </a:cubicBezTo>
                      <a:cubicBezTo>
                        <a:pt x="9" y="47"/>
                        <a:pt x="9" y="46"/>
                        <a:pt x="9" y="46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5"/>
                        <a:pt x="9" y="44"/>
                        <a:pt x="9" y="44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9" y="43"/>
                        <a:pt x="10" y="43"/>
                        <a:pt x="10" y="43"/>
                      </a:cubicBezTo>
                      <a:cubicBezTo>
                        <a:pt x="10" y="42"/>
                        <a:pt x="10" y="42"/>
                        <a:pt x="10" y="42"/>
                      </a:cubicBezTo>
                      <a:cubicBezTo>
                        <a:pt x="10" y="42"/>
                        <a:pt x="10" y="41"/>
                        <a:pt x="10" y="40"/>
                      </a:cubicBezTo>
                      <a:cubicBezTo>
                        <a:pt x="10" y="38"/>
                        <a:pt x="10" y="36"/>
                        <a:pt x="10" y="36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0" y="36"/>
                        <a:pt x="10" y="37"/>
                        <a:pt x="10" y="37"/>
                      </a:cubicBezTo>
                      <a:cubicBezTo>
                        <a:pt x="10" y="38"/>
                        <a:pt x="10" y="39"/>
                        <a:pt x="10" y="39"/>
                      </a:cubicBezTo>
                      <a:cubicBezTo>
                        <a:pt x="10" y="40"/>
                        <a:pt x="10" y="41"/>
                        <a:pt x="10" y="42"/>
                      </a:cubicBezTo>
                      <a:cubicBezTo>
                        <a:pt x="11" y="42"/>
                        <a:pt x="11" y="42"/>
                        <a:pt x="11" y="43"/>
                      </a:cubicBezTo>
                      <a:cubicBezTo>
                        <a:pt x="11" y="43"/>
                        <a:pt x="11" y="43"/>
                        <a:pt x="11" y="44"/>
                      </a:cubicBezTo>
                      <a:cubicBezTo>
                        <a:pt x="11" y="44"/>
                        <a:pt x="11" y="44"/>
                        <a:pt x="11" y="44"/>
                      </a:cubicBezTo>
                      <a:cubicBezTo>
                        <a:pt x="11" y="44"/>
                        <a:pt x="11" y="45"/>
                        <a:pt x="11" y="45"/>
                      </a:cubicBezTo>
                      <a:cubicBezTo>
                        <a:pt x="11" y="45"/>
                        <a:pt x="11" y="47"/>
                        <a:pt x="11" y="47"/>
                      </a:cubicBezTo>
                      <a:cubicBezTo>
                        <a:pt x="11" y="48"/>
                        <a:pt x="11" y="51"/>
                        <a:pt x="10" y="52"/>
                      </a:cubicBezTo>
                      <a:cubicBezTo>
                        <a:pt x="10" y="52"/>
                        <a:pt x="10" y="53"/>
                        <a:pt x="10" y="53"/>
                      </a:cubicBezTo>
                      <a:cubicBezTo>
                        <a:pt x="10" y="53"/>
                        <a:pt x="10" y="54"/>
                        <a:pt x="10" y="55"/>
                      </a:cubicBezTo>
                      <a:cubicBezTo>
                        <a:pt x="10" y="55"/>
                        <a:pt x="10" y="55"/>
                        <a:pt x="10" y="56"/>
                      </a:cubicBezTo>
                      <a:cubicBezTo>
                        <a:pt x="11" y="56"/>
                        <a:pt x="11" y="56"/>
                        <a:pt x="11" y="56"/>
                      </a:cubicBezTo>
                      <a:cubicBezTo>
                        <a:pt x="11" y="56"/>
                        <a:pt x="11" y="56"/>
                        <a:pt x="11" y="56"/>
                      </a:cubicBezTo>
                      <a:cubicBezTo>
                        <a:pt x="10" y="57"/>
                        <a:pt x="10" y="57"/>
                        <a:pt x="10" y="57"/>
                      </a:cubicBezTo>
                      <a:cubicBezTo>
                        <a:pt x="10" y="57"/>
                        <a:pt x="10" y="59"/>
                        <a:pt x="11" y="59"/>
                      </a:cubicBezTo>
                      <a:cubicBezTo>
                        <a:pt x="11" y="59"/>
                        <a:pt x="11" y="58"/>
                        <a:pt x="11" y="58"/>
                      </a:cubicBezTo>
                      <a:cubicBezTo>
                        <a:pt x="11" y="58"/>
                        <a:pt x="12" y="57"/>
                        <a:pt x="12" y="57"/>
                      </a:cubicBezTo>
                      <a:cubicBezTo>
                        <a:pt x="12" y="57"/>
                        <a:pt x="13" y="57"/>
                        <a:pt x="14" y="57"/>
                      </a:cubicBezTo>
                      <a:cubicBezTo>
                        <a:pt x="15" y="57"/>
                        <a:pt x="16" y="58"/>
                        <a:pt x="16" y="58"/>
                      </a:cubicBezTo>
                      <a:cubicBezTo>
                        <a:pt x="16" y="58"/>
                        <a:pt x="15" y="58"/>
                        <a:pt x="16" y="58"/>
                      </a:cubicBezTo>
                      <a:cubicBezTo>
                        <a:pt x="16" y="57"/>
                        <a:pt x="14" y="57"/>
                        <a:pt x="14" y="57"/>
                      </a:cubicBezTo>
                      <a:cubicBezTo>
                        <a:pt x="14" y="56"/>
                        <a:pt x="14" y="57"/>
                        <a:pt x="14" y="57"/>
                      </a:cubicBezTo>
                      <a:cubicBezTo>
                        <a:pt x="14" y="57"/>
                        <a:pt x="14" y="56"/>
                        <a:pt x="14" y="56"/>
                      </a:cubicBezTo>
                      <a:cubicBezTo>
                        <a:pt x="14" y="56"/>
                        <a:pt x="14" y="56"/>
                        <a:pt x="14" y="56"/>
                      </a:cubicBezTo>
                      <a:cubicBezTo>
                        <a:pt x="14" y="56"/>
                        <a:pt x="14" y="56"/>
                        <a:pt x="14" y="56"/>
                      </a:cubicBezTo>
                      <a:cubicBezTo>
                        <a:pt x="14" y="56"/>
                        <a:pt x="15" y="55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5" y="54"/>
                        <a:pt x="15" y="53"/>
                        <a:pt x="15" y="52"/>
                      </a:cubicBezTo>
                      <a:cubicBezTo>
                        <a:pt x="15" y="52"/>
                        <a:pt x="15" y="52"/>
                        <a:pt x="15" y="52"/>
                      </a:cubicBezTo>
                      <a:cubicBezTo>
                        <a:pt x="15" y="52"/>
                        <a:pt x="15" y="51"/>
                        <a:pt x="15" y="51"/>
                      </a:cubicBezTo>
                      <a:cubicBezTo>
                        <a:pt x="15" y="51"/>
                        <a:pt x="15" y="49"/>
                        <a:pt x="15" y="48"/>
                      </a:cubicBezTo>
                      <a:cubicBezTo>
                        <a:pt x="15" y="47"/>
                        <a:pt x="15" y="47"/>
                        <a:pt x="15" y="46"/>
                      </a:cubicBezTo>
                      <a:cubicBezTo>
                        <a:pt x="15" y="46"/>
                        <a:pt x="15" y="46"/>
                        <a:pt x="15" y="45"/>
                      </a:cubicBezTo>
                      <a:cubicBezTo>
                        <a:pt x="15" y="45"/>
                        <a:pt x="15" y="45"/>
                        <a:pt x="15" y="45"/>
                      </a:cubicBezTo>
                      <a:cubicBezTo>
                        <a:pt x="15" y="45"/>
                        <a:pt x="16" y="44"/>
                        <a:pt x="15" y="44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5" y="43"/>
                        <a:pt x="15" y="41"/>
                        <a:pt x="15" y="41"/>
                      </a:cubicBezTo>
                      <a:cubicBezTo>
                        <a:pt x="15" y="40"/>
                        <a:pt x="15" y="39"/>
                        <a:pt x="15" y="38"/>
                      </a:cubicBezTo>
                      <a:cubicBezTo>
                        <a:pt x="15" y="37"/>
                        <a:pt x="15" y="34"/>
                        <a:pt x="15" y="34"/>
                      </a:cubicBezTo>
                      <a:cubicBezTo>
                        <a:pt x="15" y="34"/>
                        <a:pt x="16" y="33"/>
                        <a:pt x="16" y="33"/>
                      </a:cubicBezTo>
                      <a:cubicBezTo>
                        <a:pt x="16" y="33"/>
                        <a:pt x="16" y="31"/>
                        <a:pt x="16" y="31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6" y="30"/>
                        <a:pt x="17" y="29"/>
                        <a:pt x="17" y="29"/>
                      </a:cubicBezTo>
                      <a:cubicBezTo>
                        <a:pt x="17" y="29"/>
                        <a:pt x="18" y="28"/>
                        <a:pt x="18" y="28"/>
                      </a:cubicBezTo>
                      <a:cubicBezTo>
                        <a:pt x="18" y="28"/>
                        <a:pt x="18" y="27"/>
                        <a:pt x="18" y="26"/>
                      </a:cubicBezTo>
                      <a:cubicBezTo>
                        <a:pt x="18" y="26"/>
                        <a:pt x="18" y="26"/>
                        <a:pt x="18" y="25"/>
                      </a:cubicBezTo>
                      <a:cubicBezTo>
                        <a:pt x="18" y="25"/>
                        <a:pt x="18" y="25"/>
                        <a:pt x="18" y="24"/>
                      </a:cubicBezTo>
                      <a:cubicBezTo>
                        <a:pt x="18" y="24"/>
                        <a:pt x="19" y="23"/>
                        <a:pt x="19" y="22"/>
                      </a:cubicBezTo>
                      <a:cubicBezTo>
                        <a:pt x="19" y="22"/>
                        <a:pt x="19" y="21"/>
                        <a:pt x="19" y="2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42" name="Oval 675">
                  <a:extLst>
                    <a:ext uri="{FF2B5EF4-FFF2-40B4-BE49-F238E27FC236}">
                      <a16:creationId xmlns:a16="http://schemas.microsoft.com/office/drawing/2014/main" id="{274A4C9F-4776-5139-F3C8-DD8EA842BA1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05713" y="3856038"/>
                  <a:ext cx="142875" cy="141288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43" name="Freeform 676">
                  <a:extLst>
                    <a:ext uri="{FF2B5EF4-FFF2-40B4-BE49-F238E27FC236}">
                      <a16:creationId xmlns:a16="http://schemas.microsoft.com/office/drawing/2014/main" id="{C5181EE3-2E07-E0BE-3E52-05519A9984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9688" y="3876675"/>
                  <a:ext cx="33337" cy="106363"/>
                </a:xfrm>
                <a:custGeom>
                  <a:avLst/>
                  <a:gdLst>
                    <a:gd name="T0" fmla="*/ 24 w 25"/>
                    <a:gd name="T1" fmla="*/ 23 h 78"/>
                    <a:gd name="T2" fmla="*/ 22 w 25"/>
                    <a:gd name="T3" fmla="*/ 13 h 78"/>
                    <a:gd name="T4" fmla="*/ 15 w 25"/>
                    <a:gd name="T5" fmla="*/ 10 h 78"/>
                    <a:gd name="T6" fmla="*/ 15 w 25"/>
                    <a:gd name="T7" fmla="*/ 9 h 78"/>
                    <a:gd name="T8" fmla="*/ 16 w 25"/>
                    <a:gd name="T9" fmla="*/ 6 h 78"/>
                    <a:gd name="T10" fmla="*/ 15 w 25"/>
                    <a:gd name="T11" fmla="*/ 2 h 78"/>
                    <a:gd name="T12" fmla="*/ 8 w 25"/>
                    <a:gd name="T13" fmla="*/ 4 h 78"/>
                    <a:gd name="T14" fmla="*/ 8 w 25"/>
                    <a:gd name="T15" fmla="*/ 6 h 78"/>
                    <a:gd name="T16" fmla="*/ 9 w 25"/>
                    <a:gd name="T17" fmla="*/ 10 h 78"/>
                    <a:gd name="T18" fmla="*/ 4 w 25"/>
                    <a:gd name="T19" fmla="*/ 13 h 78"/>
                    <a:gd name="T20" fmla="*/ 1 w 25"/>
                    <a:gd name="T21" fmla="*/ 22 h 78"/>
                    <a:gd name="T22" fmla="*/ 0 w 25"/>
                    <a:gd name="T23" fmla="*/ 28 h 78"/>
                    <a:gd name="T24" fmla="*/ 1 w 25"/>
                    <a:gd name="T25" fmla="*/ 34 h 78"/>
                    <a:gd name="T26" fmla="*/ 2 w 25"/>
                    <a:gd name="T27" fmla="*/ 37 h 78"/>
                    <a:gd name="T28" fmla="*/ 4 w 25"/>
                    <a:gd name="T29" fmla="*/ 40 h 78"/>
                    <a:gd name="T30" fmla="*/ 5 w 25"/>
                    <a:gd name="T31" fmla="*/ 52 h 78"/>
                    <a:gd name="T32" fmla="*/ 5 w 25"/>
                    <a:gd name="T33" fmla="*/ 58 h 78"/>
                    <a:gd name="T34" fmla="*/ 5 w 25"/>
                    <a:gd name="T35" fmla="*/ 61 h 78"/>
                    <a:gd name="T36" fmla="*/ 6 w 25"/>
                    <a:gd name="T37" fmla="*/ 68 h 78"/>
                    <a:gd name="T38" fmla="*/ 6 w 25"/>
                    <a:gd name="T39" fmla="*/ 71 h 78"/>
                    <a:gd name="T40" fmla="*/ 7 w 25"/>
                    <a:gd name="T41" fmla="*/ 73 h 78"/>
                    <a:gd name="T42" fmla="*/ 7 w 25"/>
                    <a:gd name="T43" fmla="*/ 75 h 78"/>
                    <a:gd name="T44" fmla="*/ 5 w 25"/>
                    <a:gd name="T45" fmla="*/ 77 h 78"/>
                    <a:gd name="T46" fmla="*/ 12 w 25"/>
                    <a:gd name="T47" fmla="*/ 77 h 78"/>
                    <a:gd name="T48" fmla="*/ 12 w 25"/>
                    <a:gd name="T49" fmla="*/ 72 h 78"/>
                    <a:gd name="T50" fmla="*/ 12 w 25"/>
                    <a:gd name="T51" fmla="*/ 63 h 78"/>
                    <a:gd name="T52" fmla="*/ 12 w 25"/>
                    <a:gd name="T53" fmla="*/ 58 h 78"/>
                    <a:gd name="T54" fmla="*/ 13 w 25"/>
                    <a:gd name="T55" fmla="*/ 56 h 78"/>
                    <a:gd name="T56" fmla="*/ 13 w 25"/>
                    <a:gd name="T57" fmla="*/ 47 h 78"/>
                    <a:gd name="T58" fmla="*/ 13 w 25"/>
                    <a:gd name="T59" fmla="*/ 49 h 78"/>
                    <a:gd name="T60" fmla="*/ 14 w 25"/>
                    <a:gd name="T61" fmla="*/ 56 h 78"/>
                    <a:gd name="T62" fmla="*/ 14 w 25"/>
                    <a:gd name="T63" fmla="*/ 59 h 78"/>
                    <a:gd name="T64" fmla="*/ 13 w 25"/>
                    <a:gd name="T65" fmla="*/ 70 h 78"/>
                    <a:gd name="T66" fmla="*/ 14 w 25"/>
                    <a:gd name="T67" fmla="*/ 74 h 78"/>
                    <a:gd name="T68" fmla="*/ 14 w 25"/>
                    <a:gd name="T69" fmla="*/ 77 h 78"/>
                    <a:gd name="T70" fmla="*/ 18 w 25"/>
                    <a:gd name="T71" fmla="*/ 77 h 78"/>
                    <a:gd name="T72" fmla="*/ 18 w 25"/>
                    <a:gd name="T73" fmla="*/ 75 h 78"/>
                    <a:gd name="T74" fmla="*/ 18 w 25"/>
                    <a:gd name="T75" fmla="*/ 74 h 78"/>
                    <a:gd name="T76" fmla="*/ 20 w 25"/>
                    <a:gd name="T77" fmla="*/ 71 h 78"/>
                    <a:gd name="T78" fmla="*/ 19 w 25"/>
                    <a:gd name="T79" fmla="*/ 67 h 78"/>
                    <a:gd name="T80" fmla="*/ 20 w 25"/>
                    <a:gd name="T81" fmla="*/ 60 h 78"/>
                    <a:gd name="T82" fmla="*/ 20 w 25"/>
                    <a:gd name="T83" fmla="*/ 58 h 78"/>
                    <a:gd name="T84" fmla="*/ 20 w 25"/>
                    <a:gd name="T85" fmla="*/ 56 h 78"/>
                    <a:gd name="T86" fmla="*/ 20 w 25"/>
                    <a:gd name="T87" fmla="*/ 45 h 78"/>
                    <a:gd name="T88" fmla="*/ 21 w 25"/>
                    <a:gd name="T89" fmla="*/ 40 h 78"/>
                    <a:gd name="T90" fmla="*/ 23 w 25"/>
                    <a:gd name="T91" fmla="*/ 35 h 78"/>
                    <a:gd name="T92" fmla="*/ 25 w 25"/>
                    <a:gd name="T93" fmla="*/ 3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25" h="78">
                      <a:moveTo>
                        <a:pt x="25" y="27"/>
                      </a:moveTo>
                      <a:cubicBezTo>
                        <a:pt x="25" y="26"/>
                        <a:pt x="25" y="26"/>
                        <a:pt x="25" y="26"/>
                      </a:cubicBezTo>
                      <a:cubicBezTo>
                        <a:pt x="25" y="26"/>
                        <a:pt x="25" y="24"/>
                        <a:pt x="24" y="23"/>
                      </a:cubicBezTo>
                      <a:cubicBezTo>
                        <a:pt x="24" y="22"/>
                        <a:pt x="24" y="21"/>
                        <a:pt x="24" y="19"/>
                      </a:cubicBezTo>
                      <a:cubicBezTo>
                        <a:pt x="24" y="18"/>
                        <a:pt x="24" y="17"/>
                        <a:pt x="23" y="15"/>
                      </a:cubicBezTo>
                      <a:cubicBezTo>
                        <a:pt x="23" y="14"/>
                        <a:pt x="23" y="13"/>
                        <a:pt x="22" y="13"/>
                      </a:cubicBezTo>
                      <a:cubicBezTo>
                        <a:pt x="22" y="13"/>
                        <a:pt x="20" y="12"/>
                        <a:pt x="19" y="12"/>
                      </a:cubicBezTo>
                      <a:cubicBezTo>
                        <a:pt x="19" y="12"/>
                        <a:pt x="17" y="11"/>
                        <a:pt x="16" y="11"/>
                      </a:cubicBezTo>
                      <a:cubicBezTo>
                        <a:pt x="16" y="11"/>
                        <a:pt x="16" y="11"/>
                        <a:pt x="15" y="10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5" y="10"/>
                        <a:pt x="15" y="9"/>
                        <a:pt x="15" y="9"/>
                      </a:cubicBezTo>
                      <a:cubicBezTo>
                        <a:pt x="15" y="8"/>
                        <a:pt x="15" y="8"/>
                        <a:pt x="15" y="7"/>
                      </a:cubicBezTo>
                      <a:cubicBezTo>
                        <a:pt x="15" y="7"/>
                        <a:pt x="15" y="7"/>
                        <a:pt x="15" y="7"/>
                      </a:cubicBezTo>
                      <a:cubicBezTo>
                        <a:pt x="15" y="7"/>
                        <a:pt x="16" y="7"/>
                        <a:pt x="16" y="6"/>
                      </a:cubicBezTo>
                      <a:cubicBezTo>
                        <a:pt x="16" y="6"/>
                        <a:pt x="16" y="5"/>
                        <a:pt x="16" y="4"/>
                      </a:cubicBezTo>
                      <a:cubicBezTo>
                        <a:pt x="16" y="4"/>
                        <a:pt x="15" y="4"/>
                        <a:pt x="15" y="4"/>
                      </a:cubicBezTo>
                      <a:cubicBezTo>
                        <a:pt x="15" y="4"/>
                        <a:pt x="16" y="3"/>
                        <a:pt x="15" y="2"/>
                      </a:cubicBezTo>
                      <a:cubicBezTo>
                        <a:pt x="15" y="1"/>
                        <a:pt x="14" y="0"/>
                        <a:pt x="12" y="0"/>
                      </a:cubicBezTo>
                      <a:cubicBezTo>
                        <a:pt x="10" y="0"/>
                        <a:pt x="8" y="2"/>
                        <a:pt x="8" y="3"/>
                      </a:cubicBezTo>
                      <a:cubicBezTo>
                        <a:pt x="8" y="4"/>
                        <a:pt x="8" y="4"/>
                        <a:pt x="8" y="4"/>
                      </a:cubicBezTo>
                      <a:cubicBezTo>
                        <a:pt x="8" y="4"/>
                        <a:pt x="7" y="4"/>
                        <a:pt x="7" y="4"/>
                      </a:cubicBezTo>
                      <a:cubicBezTo>
                        <a:pt x="7" y="5"/>
                        <a:pt x="7" y="5"/>
                        <a:pt x="7" y="6"/>
                      </a:cubicBezTo>
                      <a:cubicBezTo>
                        <a:pt x="8" y="6"/>
                        <a:pt x="7" y="6"/>
                        <a:pt x="8" y="6"/>
                      </a:cubicBezTo>
                      <a:cubicBezTo>
                        <a:pt x="8" y="7"/>
                        <a:pt x="8" y="7"/>
                        <a:pt x="8" y="7"/>
                      </a:cubicBezTo>
                      <a:cubicBezTo>
                        <a:pt x="8" y="8"/>
                        <a:pt x="9" y="9"/>
                        <a:pt x="9" y="9"/>
                      </a:cubicBezTo>
                      <a:cubicBezTo>
                        <a:pt x="9" y="10"/>
                        <a:pt x="9" y="10"/>
                        <a:pt x="9" y="10"/>
                      </a:cubicBezTo>
                      <a:cubicBezTo>
                        <a:pt x="9" y="10"/>
                        <a:pt x="9" y="10"/>
                        <a:pt x="9" y="11"/>
                      </a:cubicBezTo>
                      <a:cubicBezTo>
                        <a:pt x="9" y="11"/>
                        <a:pt x="9" y="11"/>
                        <a:pt x="8" y="11"/>
                      </a:cubicBezTo>
                      <a:cubicBezTo>
                        <a:pt x="8" y="12"/>
                        <a:pt x="6" y="12"/>
                        <a:pt x="4" y="13"/>
                      </a:cubicBezTo>
                      <a:cubicBezTo>
                        <a:pt x="3" y="13"/>
                        <a:pt x="2" y="14"/>
                        <a:pt x="2" y="14"/>
                      </a:cubicBezTo>
                      <a:cubicBezTo>
                        <a:pt x="2" y="15"/>
                        <a:pt x="1" y="18"/>
                        <a:pt x="1" y="19"/>
                      </a:cubicBezTo>
                      <a:cubicBezTo>
                        <a:pt x="1" y="20"/>
                        <a:pt x="1" y="21"/>
                        <a:pt x="1" y="22"/>
                      </a:cubicBezTo>
                      <a:cubicBezTo>
                        <a:pt x="0" y="23"/>
                        <a:pt x="1" y="24"/>
                        <a:pt x="1" y="24"/>
                      </a:cubicBezTo>
                      <a:cubicBezTo>
                        <a:pt x="0" y="24"/>
                        <a:pt x="0" y="25"/>
                        <a:pt x="0" y="26"/>
                      </a:cubicBezTo>
                      <a:cubicBezTo>
                        <a:pt x="0" y="27"/>
                        <a:pt x="0" y="28"/>
                        <a:pt x="0" y="28"/>
                      </a:cubicBezTo>
                      <a:cubicBezTo>
                        <a:pt x="0" y="29"/>
                        <a:pt x="0" y="30"/>
                        <a:pt x="0" y="31"/>
                      </a:cubicBezTo>
                      <a:cubicBezTo>
                        <a:pt x="0" y="31"/>
                        <a:pt x="1" y="32"/>
                        <a:pt x="1" y="33"/>
                      </a:cubicBezTo>
                      <a:cubicBezTo>
                        <a:pt x="1" y="33"/>
                        <a:pt x="1" y="34"/>
                        <a:pt x="1" y="34"/>
                      </a:cubicBezTo>
                      <a:cubicBezTo>
                        <a:pt x="1" y="34"/>
                        <a:pt x="1" y="34"/>
                        <a:pt x="1" y="35"/>
                      </a:cubicBezTo>
                      <a:cubicBezTo>
                        <a:pt x="1" y="36"/>
                        <a:pt x="1" y="36"/>
                        <a:pt x="1" y="36"/>
                      </a:cubicBezTo>
                      <a:cubicBezTo>
                        <a:pt x="2" y="36"/>
                        <a:pt x="1" y="37"/>
                        <a:pt x="2" y="37"/>
                      </a:cubicBezTo>
                      <a:cubicBezTo>
                        <a:pt x="2" y="37"/>
                        <a:pt x="2" y="38"/>
                        <a:pt x="2" y="38"/>
                      </a:cubicBezTo>
                      <a:cubicBezTo>
                        <a:pt x="3" y="39"/>
                        <a:pt x="3" y="40"/>
                        <a:pt x="3" y="40"/>
                      </a:cubicBezTo>
                      <a:cubicBezTo>
                        <a:pt x="4" y="40"/>
                        <a:pt x="4" y="40"/>
                        <a:pt x="4" y="40"/>
                      </a:cubicBezTo>
                      <a:cubicBezTo>
                        <a:pt x="4" y="40"/>
                        <a:pt x="4" y="40"/>
                        <a:pt x="4" y="40"/>
                      </a:cubicBezTo>
                      <a:cubicBezTo>
                        <a:pt x="4" y="40"/>
                        <a:pt x="4" y="42"/>
                        <a:pt x="4" y="45"/>
                      </a:cubicBezTo>
                      <a:cubicBezTo>
                        <a:pt x="5" y="48"/>
                        <a:pt x="5" y="51"/>
                        <a:pt x="5" y="52"/>
                      </a:cubicBezTo>
                      <a:cubicBezTo>
                        <a:pt x="5" y="54"/>
                        <a:pt x="6" y="54"/>
                        <a:pt x="6" y="54"/>
                      </a:cubicBezTo>
                      <a:cubicBezTo>
                        <a:pt x="6" y="55"/>
                        <a:pt x="6" y="56"/>
                        <a:pt x="6" y="57"/>
                      </a:cubicBezTo>
                      <a:cubicBezTo>
                        <a:pt x="6" y="58"/>
                        <a:pt x="6" y="58"/>
                        <a:pt x="5" y="58"/>
                      </a:cubicBezTo>
                      <a:cubicBezTo>
                        <a:pt x="5" y="58"/>
                        <a:pt x="5" y="58"/>
                        <a:pt x="5" y="59"/>
                      </a:cubicBezTo>
                      <a:cubicBezTo>
                        <a:pt x="5" y="60"/>
                        <a:pt x="5" y="60"/>
                        <a:pt x="5" y="60"/>
                      </a:cubicBezTo>
                      <a:cubicBezTo>
                        <a:pt x="5" y="60"/>
                        <a:pt x="5" y="61"/>
                        <a:pt x="5" y="61"/>
                      </a:cubicBezTo>
                      <a:cubicBezTo>
                        <a:pt x="5" y="62"/>
                        <a:pt x="6" y="62"/>
                        <a:pt x="6" y="63"/>
                      </a:cubicBezTo>
                      <a:cubicBezTo>
                        <a:pt x="6" y="64"/>
                        <a:pt x="6" y="65"/>
                        <a:pt x="6" y="66"/>
                      </a:cubicBezTo>
                      <a:cubicBezTo>
                        <a:pt x="6" y="67"/>
                        <a:pt x="6" y="67"/>
                        <a:pt x="6" y="68"/>
                      </a:cubicBezTo>
                      <a:cubicBezTo>
                        <a:pt x="6" y="68"/>
                        <a:pt x="6" y="68"/>
                        <a:pt x="6" y="68"/>
                      </a:cubicBezTo>
                      <a:cubicBezTo>
                        <a:pt x="6" y="69"/>
                        <a:pt x="6" y="69"/>
                        <a:pt x="6" y="69"/>
                      </a:cubicBezTo>
                      <a:cubicBezTo>
                        <a:pt x="6" y="70"/>
                        <a:pt x="6" y="71"/>
                        <a:pt x="6" y="71"/>
                      </a:cubicBezTo>
                      <a:cubicBezTo>
                        <a:pt x="6" y="71"/>
                        <a:pt x="6" y="71"/>
                        <a:pt x="6" y="71"/>
                      </a:cubicBezTo>
                      <a:cubicBezTo>
                        <a:pt x="6" y="71"/>
                        <a:pt x="6" y="72"/>
                        <a:pt x="6" y="72"/>
                      </a:cubicBezTo>
                      <a:cubicBezTo>
                        <a:pt x="6" y="72"/>
                        <a:pt x="6" y="73"/>
                        <a:pt x="7" y="73"/>
                      </a:cubicBezTo>
                      <a:cubicBezTo>
                        <a:pt x="7" y="74"/>
                        <a:pt x="7" y="74"/>
                        <a:pt x="7" y="74"/>
                      </a:cubicBezTo>
                      <a:cubicBezTo>
                        <a:pt x="7" y="74"/>
                        <a:pt x="7" y="74"/>
                        <a:pt x="7" y="74"/>
                      </a:cubicBezTo>
                      <a:cubicBezTo>
                        <a:pt x="7" y="75"/>
                        <a:pt x="7" y="75"/>
                        <a:pt x="7" y="75"/>
                      </a:cubicBezTo>
                      <a:cubicBezTo>
                        <a:pt x="7" y="75"/>
                        <a:pt x="7" y="75"/>
                        <a:pt x="7" y="75"/>
                      </a:cubicBezTo>
                      <a:cubicBezTo>
                        <a:pt x="6" y="76"/>
                        <a:pt x="5" y="76"/>
                        <a:pt x="5" y="76"/>
                      </a:cubicBezTo>
                      <a:cubicBezTo>
                        <a:pt x="5" y="77"/>
                        <a:pt x="5" y="77"/>
                        <a:pt x="5" y="77"/>
                      </a:cubicBezTo>
                      <a:cubicBezTo>
                        <a:pt x="5" y="77"/>
                        <a:pt x="5" y="77"/>
                        <a:pt x="6" y="77"/>
                      </a:cubicBezTo>
                      <a:cubicBezTo>
                        <a:pt x="6" y="77"/>
                        <a:pt x="10" y="78"/>
                        <a:pt x="11" y="77"/>
                      </a:cubicBezTo>
                      <a:cubicBezTo>
                        <a:pt x="11" y="77"/>
                        <a:pt x="12" y="78"/>
                        <a:pt x="12" y="77"/>
                      </a:cubicBezTo>
                      <a:cubicBezTo>
                        <a:pt x="12" y="77"/>
                        <a:pt x="12" y="75"/>
                        <a:pt x="12" y="74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74"/>
                        <a:pt x="12" y="73"/>
                        <a:pt x="12" y="72"/>
                      </a:cubicBezTo>
                      <a:cubicBezTo>
                        <a:pt x="12" y="72"/>
                        <a:pt x="12" y="71"/>
                        <a:pt x="12" y="71"/>
                      </a:cubicBezTo>
                      <a:cubicBezTo>
                        <a:pt x="12" y="71"/>
                        <a:pt x="12" y="70"/>
                        <a:pt x="12" y="70"/>
                      </a:cubicBezTo>
                      <a:cubicBezTo>
                        <a:pt x="12" y="69"/>
                        <a:pt x="12" y="64"/>
                        <a:pt x="12" y="63"/>
                      </a:cubicBezTo>
                      <a:cubicBezTo>
                        <a:pt x="12" y="62"/>
                        <a:pt x="12" y="60"/>
                        <a:pt x="12" y="60"/>
                      </a:cubicBezTo>
                      <a:cubicBezTo>
                        <a:pt x="12" y="60"/>
                        <a:pt x="12" y="59"/>
                        <a:pt x="12" y="59"/>
                      </a:cubicBezTo>
                      <a:cubicBezTo>
                        <a:pt x="12" y="59"/>
                        <a:pt x="12" y="59"/>
                        <a:pt x="12" y="58"/>
                      </a:cubicBezTo>
                      <a:cubicBezTo>
                        <a:pt x="11" y="58"/>
                        <a:pt x="12" y="58"/>
                        <a:pt x="12" y="57"/>
                      </a:cubicBezTo>
                      <a:cubicBezTo>
                        <a:pt x="12" y="57"/>
                        <a:pt x="13" y="57"/>
                        <a:pt x="13" y="57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13" y="56"/>
                        <a:pt x="13" y="54"/>
                        <a:pt x="13" y="52"/>
                      </a:cubicBezTo>
                      <a:cubicBezTo>
                        <a:pt x="13" y="51"/>
                        <a:pt x="13" y="48"/>
                        <a:pt x="13" y="47"/>
                      </a:cubicBezTo>
                      <a:cubicBezTo>
                        <a:pt x="13" y="47"/>
                        <a:pt x="13" y="47"/>
                        <a:pt x="13" y="47"/>
                      </a:cubicBezTo>
                      <a:cubicBezTo>
                        <a:pt x="13" y="47"/>
                        <a:pt x="13" y="47"/>
                        <a:pt x="13" y="47"/>
                      </a:cubicBezTo>
                      <a:cubicBezTo>
                        <a:pt x="13" y="47"/>
                        <a:pt x="13" y="47"/>
                        <a:pt x="13" y="47"/>
                      </a:cubicBezTo>
                      <a:cubicBezTo>
                        <a:pt x="13" y="47"/>
                        <a:pt x="13" y="49"/>
                        <a:pt x="13" y="49"/>
                      </a:cubicBezTo>
                      <a:cubicBezTo>
                        <a:pt x="13" y="50"/>
                        <a:pt x="13" y="51"/>
                        <a:pt x="13" y="52"/>
                      </a:cubicBezTo>
                      <a:cubicBezTo>
                        <a:pt x="14" y="53"/>
                        <a:pt x="14" y="54"/>
                        <a:pt x="14" y="55"/>
                      </a:cubicBezTo>
                      <a:cubicBezTo>
                        <a:pt x="14" y="56"/>
                        <a:pt x="14" y="56"/>
                        <a:pt x="14" y="56"/>
                      </a:cubicBezTo>
                      <a:cubicBezTo>
                        <a:pt x="14" y="56"/>
                        <a:pt x="14" y="57"/>
                        <a:pt x="14" y="57"/>
                      </a:cubicBezTo>
                      <a:cubicBezTo>
                        <a:pt x="14" y="58"/>
                        <a:pt x="14" y="58"/>
                        <a:pt x="14" y="58"/>
                      </a:cubicBezTo>
                      <a:cubicBezTo>
                        <a:pt x="14" y="58"/>
                        <a:pt x="14" y="59"/>
                        <a:pt x="14" y="59"/>
                      </a:cubicBezTo>
                      <a:cubicBezTo>
                        <a:pt x="14" y="60"/>
                        <a:pt x="14" y="61"/>
                        <a:pt x="14" y="62"/>
                      </a:cubicBezTo>
                      <a:cubicBezTo>
                        <a:pt x="14" y="63"/>
                        <a:pt x="14" y="67"/>
                        <a:pt x="14" y="68"/>
                      </a:cubicBezTo>
                      <a:cubicBezTo>
                        <a:pt x="14" y="69"/>
                        <a:pt x="14" y="70"/>
                        <a:pt x="13" y="70"/>
                      </a:cubicBezTo>
                      <a:cubicBezTo>
                        <a:pt x="13" y="70"/>
                        <a:pt x="13" y="72"/>
                        <a:pt x="13" y="72"/>
                      </a:cubicBezTo>
                      <a:cubicBezTo>
                        <a:pt x="13" y="72"/>
                        <a:pt x="14" y="73"/>
                        <a:pt x="14" y="73"/>
                      </a:cubicBezTo>
                      <a:cubicBezTo>
                        <a:pt x="14" y="74"/>
                        <a:pt x="14" y="74"/>
                        <a:pt x="14" y="74"/>
                      </a:cubicBezTo>
                      <a:cubicBezTo>
                        <a:pt x="14" y="74"/>
                        <a:pt x="14" y="74"/>
                        <a:pt x="14" y="74"/>
                      </a:cubicBezTo>
                      <a:cubicBezTo>
                        <a:pt x="14" y="75"/>
                        <a:pt x="14" y="75"/>
                        <a:pt x="14" y="75"/>
                      </a:cubicBezTo>
                      <a:cubicBezTo>
                        <a:pt x="14" y="75"/>
                        <a:pt x="14" y="77"/>
                        <a:pt x="14" y="77"/>
                      </a:cubicBezTo>
                      <a:cubicBezTo>
                        <a:pt x="14" y="78"/>
                        <a:pt x="15" y="77"/>
                        <a:pt x="15" y="77"/>
                      </a:cubicBezTo>
                      <a:cubicBezTo>
                        <a:pt x="15" y="77"/>
                        <a:pt x="15" y="77"/>
                        <a:pt x="16" y="77"/>
                      </a:cubicBezTo>
                      <a:cubicBezTo>
                        <a:pt x="16" y="77"/>
                        <a:pt x="17" y="77"/>
                        <a:pt x="18" y="77"/>
                      </a:cubicBezTo>
                      <a:cubicBezTo>
                        <a:pt x="19" y="77"/>
                        <a:pt x="21" y="78"/>
                        <a:pt x="21" y="77"/>
                      </a:cubicBezTo>
                      <a:cubicBezTo>
                        <a:pt x="20" y="77"/>
                        <a:pt x="20" y="77"/>
                        <a:pt x="20" y="77"/>
                      </a:cubicBezTo>
                      <a:cubicBezTo>
                        <a:pt x="21" y="76"/>
                        <a:pt x="19" y="76"/>
                        <a:pt x="18" y="75"/>
                      </a:cubicBezTo>
                      <a:cubicBezTo>
                        <a:pt x="18" y="75"/>
                        <a:pt x="18" y="75"/>
                        <a:pt x="18" y="75"/>
                      </a:cubicBezTo>
                      <a:cubicBezTo>
                        <a:pt x="18" y="75"/>
                        <a:pt x="18" y="74"/>
                        <a:pt x="18" y="74"/>
                      </a:cubicBezTo>
                      <a:cubicBezTo>
                        <a:pt x="18" y="74"/>
                        <a:pt x="18" y="74"/>
                        <a:pt x="18" y="74"/>
                      </a:cubicBezTo>
                      <a:cubicBezTo>
                        <a:pt x="18" y="74"/>
                        <a:pt x="19" y="73"/>
                        <a:pt x="19" y="73"/>
                      </a:cubicBezTo>
                      <a:cubicBezTo>
                        <a:pt x="19" y="73"/>
                        <a:pt x="19" y="72"/>
                        <a:pt x="19" y="72"/>
                      </a:cubicBezTo>
                      <a:cubicBezTo>
                        <a:pt x="20" y="71"/>
                        <a:pt x="20" y="71"/>
                        <a:pt x="20" y="71"/>
                      </a:cubicBezTo>
                      <a:cubicBezTo>
                        <a:pt x="20" y="71"/>
                        <a:pt x="19" y="70"/>
                        <a:pt x="19" y="69"/>
                      </a:cubicBezTo>
                      <a:cubicBezTo>
                        <a:pt x="19" y="69"/>
                        <a:pt x="19" y="68"/>
                        <a:pt x="19" y="68"/>
                      </a:cubicBezTo>
                      <a:cubicBezTo>
                        <a:pt x="19" y="68"/>
                        <a:pt x="19" y="68"/>
                        <a:pt x="19" y="67"/>
                      </a:cubicBezTo>
                      <a:cubicBezTo>
                        <a:pt x="19" y="67"/>
                        <a:pt x="20" y="64"/>
                        <a:pt x="20" y="63"/>
                      </a:cubicBezTo>
                      <a:cubicBezTo>
                        <a:pt x="20" y="62"/>
                        <a:pt x="20" y="62"/>
                        <a:pt x="20" y="61"/>
                      </a:cubicBezTo>
                      <a:cubicBezTo>
                        <a:pt x="20" y="60"/>
                        <a:pt x="20" y="60"/>
                        <a:pt x="20" y="60"/>
                      </a:cubicBezTo>
                      <a:cubicBezTo>
                        <a:pt x="20" y="60"/>
                        <a:pt x="20" y="59"/>
                        <a:pt x="20" y="59"/>
                      </a:cubicBezTo>
                      <a:cubicBezTo>
                        <a:pt x="20" y="59"/>
                        <a:pt x="20" y="58"/>
                        <a:pt x="20" y="58"/>
                      </a:cubicBezTo>
                      <a:cubicBezTo>
                        <a:pt x="20" y="58"/>
                        <a:pt x="20" y="58"/>
                        <a:pt x="20" y="58"/>
                      </a:cubicBezTo>
                      <a:cubicBezTo>
                        <a:pt x="20" y="58"/>
                        <a:pt x="20" y="58"/>
                        <a:pt x="20" y="58"/>
                      </a:cubicBezTo>
                      <a:cubicBezTo>
                        <a:pt x="20" y="58"/>
                        <a:pt x="20" y="58"/>
                        <a:pt x="20" y="58"/>
                      </a:cubicBezTo>
                      <a:cubicBezTo>
                        <a:pt x="19" y="57"/>
                        <a:pt x="19" y="57"/>
                        <a:pt x="20" y="56"/>
                      </a:cubicBezTo>
                      <a:cubicBezTo>
                        <a:pt x="20" y="56"/>
                        <a:pt x="19" y="55"/>
                        <a:pt x="20" y="54"/>
                      </a:cubicBezTo>
                      <a:cubicBezTo>
                        <a:pt x="20" y="53"/>
                        <a:pt x="20" y="52"/>
                        <a:pt x="20" y="50"/>
                      </a:cubicBezTo>
                      <a:cubicBezTo>
                        <a:pt x="20" y="49"/>
                        <a:pt x="20" y="45"/>
                        <a:pt x="20" y="45"/>
                      </a:cubicBezTo>
                      <a:cubicBezTo>
                        <a:pt x="20" y="44"/>
                        <a:pt x="21" y="44"/>
                        <a:pt x="21" y="43"/>
                      </a:cubicBezTo>
                      <a:cubicBezTo>
                        <a:pt x="21" y="43"/>
                        <a:pt x="21" y="41"/>
                        <a:pt x="21" y="41"/>
                      </a:cubicBezTo>
                      <a:cubicBezTo>
                        <a:pt x="21" y="40"/>
                        <a:pt x="21" y="40"/>
                        <a:pt x="21" y="40"/>
                      </a:cubicBezTo>
                      <a:cubicBezTo>
                        <a:pt x="21" y="40"/>
                        <a:pt x="22" y="38"/>
                        <a:pt x="22" y="38"/>
                      </a:cubicBezTo>
                      <a:cubicBezTo>
                        <a:pt x="22" y="38"/>
                        <a:pt x="23" y="37"/>
                        <a:pt x="23" y="37"/>
                      </a:cubicBezTo>
                      <a:cubicBezTo>
                        <a:pt x="23" y="37"/>
                        <a:pt x="23" y="35"/>
                        <a:pt x="23" y="35"/>
                      </a:cubicBezTo>
                      <a:cubicBezTo>
                        <a:pt x="23" y="34"/>
                        <a:pt x="23" y="34"/>
                        <a:pt x="23" y="33"/>
                      </a:cubicBezTo>
                      <a:cubicBezTo>
                        <a:pt x="24" y="33"/>
                        <a:pt x="24" y="32"/>
                        <a:pt x="24" y="32"/>
                      </a:cubicBezTo>
                      <a:cubicBezTo>
                        <a:pt x="24" y="31"/>
                        <a:pt x="25" y="30"/>
                        <a:pt x="25" y="30"/>
                      </a:cubicBezTo>
                      <a:cubicBezTo>
                        <a:pt x="25" y="29"/>
                        <a:pt x="25" y="27"/>
                        <a:pt x="25" y="2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44" name="Oval 677">
                  <a:extLst>
                    <a:ext uri="{FF2B5EF4-FFF2-40B4-BE49-F238E27FC236}">
                      <a16:creationId xmlns:a16="http://schemas.microsoft.com/office/drawing/2014/main" id="{558271CD-641A-4C0E-3022-F36322D4E72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59613" y="2771775"/>
                  <a:ext cx="107950" cy="107950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45" name="Freeform 678">
                  <a:extLst>
                    <a:ext uri="{FF2B5EF4-FFF2-40B4-BE49-F238E27FC236}">
                      <a16:creationId xmlns:a16="http://schemas.microsoft.com/office/drawing/2014/main" id="{5B7E0062-02CC-1714-DDD5-D9921E1A89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00888" y="2786063"/>
                  <a:ext cx="25400" cy="80963"/>
                </a:xfrm>
                <a:custGeom>
                  <a:avLst/>
                  <a:gdLst>
                    <a:gd name="T0" fmla="*/ 18 w 19"/>
                    <a:gd name="T1" fmla="*/ 18 h 59"/>
                    <a:gd name="T2" fmla="*/ 17 w 19"/>
                    <a:gd name="T3" fmla="*/ 10 h 59"/>
                    <a:gd name="T4" fmla="*/ 11 w 19"/>
                    <a:gd name="T5" fmla="*/ 8 h 59"/>
                    <a:gd name="T6" fmla="*/ 11 w 19"/>
                    <a:gd name="T7" fmla="*/ 7 h 59"/>
                    <a:gd name="T8" fmla="*/ 12 w 19"/>
                    <a:gd name="T9" fmla="*/ 5 h 59"/>
                    <a:gd name="T10" fmla="*/ 11 w 19"/>
                    <a:gd name="T11" fmla="*/ 2 h 59"/>
                    <a:gd name="T12" fmla="*/ 6 w 19"/>
                    <a:gd name="T13" fmla="*/ 3 h 59"/>
                    <a:gd name="T14" fmla="*/ 6 w 19"/>
                    <a:gd name="T15" fmla="*/ 5 h 59"/>
                    <a:gd name="T16" fmla="*/ 7 w 19"/>
                    <a:gd name="T17" fmla="*/ 8 h 59"/>
                    <a:gd name="T18" fmla="*/ 3 w 19"/>
                    <a:gd name="T19" fmla="*/ 10 h 59"/>
                    <a:gd name="T20" fmla="*/ 0 w 19"/>
                    <a:gd name="T21" fmla="*/ 17 h 59"/>
                    <a:gd name="T22" fmla="*/ 0 w 19"/>
                    <a:gd name="T23" fmla="*/ 22 h 59"/>
                    <a:gd name="T24" fmla="*/ 1 w 19"/>
                    <a:gd name="T25" fmla="*/ 26 h 59"/>
                    <a:gd name="T26" fmla="*/ 1 w 19"/>
                    <a:gd name="T27" fmla="*/ 28 h 59"/>
                    <a:gd name="T28" fmla="*/ 3 w 19"/>
                    <a:gd name="T29" fmla="*/ 30 h 59"/>
                    <a:gd name="T30" fmla="*/ 4 w 19"/>
                    <a:gd name="T31" fmla="*/ 40 h 59"/>
                    <a:gd name="T32" fmla="*/ 4 w 19"/>
                    <a:gd name="T33" fmla="*/ 44 h 59"/>
                    <a:gd name="T34" fmla="*/ 4 w 19"/>
                    <a:gd name="T35" fmla="*/ 47 h 59"/>
                    <a:gd name="T36" fmla="*/ 4 w 19"/>
                    <a:gd name="T37" fmla="*/ 52 h 59"/>
                    <a:gd name="T38" fmla="*/ 4 w 19"/>
                    <a:gd name="T39" fmla="*/ 54 h 59"/>
                    <a:gd name="T40" fmla="*/ 5 w 19"/>
                    <a:gd name="T41" fmla="*/ 56 h 59"/>
                    <a:gd name="T42" fmla="*/ 5 w 19"/>
                    <a:gd name="T43" fmla="*/ 57 h 59"/>
                    <a:gd name="T44" fmla="*/ 4 w 19"/>
                    <a:gd name="T45" fmla="*/ 59 h 59"/>
                    <a:gd name="T46" fmla="*/ 9 w 19"/>
                    <a:gd name="T47" fmla="*/ 59 h 59"/>
                    <a:gd name="T48" fmla="*/ 9 w 19"/>
                    <a:gd name="T49" fmla="*/ 55 h 59"/>
                    <a:gd name="T50" fmla="*/ 9 w 19"/>
                    <a:gd name="T51" fmla="*/ 48 h 59"/>
                    <a:gd name="T52" fmla="*/ 9 w 19"/>
                    <a:gd name="T53" fmla="*/ 45 h 59"/>
                    <a:gd name="T54" fmla="*/ 10 w 19"/>
                    <a:gd name="T55" fmla="*/ 43 h 59"/>
                    <a:gd name="T56" fmla="*/ 10 w 19"/>
                    <a:gd name="T57" fmla="*/ 36 h 59"/>
                    <a:gd name="T58" fmla="*/ 10 w 19"/>
                    <a:gd name="T59" fmla="*/ 38 h 59"/>
                    <a:gd name="T60" fmla="*/ 10 w 19"/>
                    <a:gd name="T61" fmla="*/ 43 h 59"/>
                    <a:gd name="T62" fmla="*/ 10 w 19"/>
                    <a:gd name="T63" fmla="*/ 45 h 59"/>
                    <a:gd name="T64" fmla="*/ 10 w 19"/>
                    <a:gd name="T65" fmla="*/ 53 h 59"/>
                    <a:gd name="T66" fmla="*/ 10 w 19"/>
                    <a:gd name="T67" fmla="*/ 57 h 59"/>
                    <a:gd name="T68" fmla="*/ 10 w 19"/>
                    <a:gd name="T69" fmla="*/ 59 h 59"/>
                    <a:gd name="T70" fmla="*/ 14 w 19"/>
                    <a:gd name="T71" fmla="*/ 59 h 59"/>
                    <a:gd name="T72" fmla="*/ 14 w 19"/>
                    <a:gd name="T73" fmla="*/ 57 h 59"/>
                    <a:gd name="T74" fmla="*/ 14 w 19"/>
                    <a:gd name="T75" fmla="*/ 57 h 59"/>
                    <a:gd name="T76" fmla="*/ 15 w 19"/>
                    <a:gd name="T77" fmla="*/ 54 h 59"/>
                    <a:gd name="T78" fmla="*/ 14 w 19"/>
                    <a:gd name="T79" fmla="*/ 51 h 59"/>
                    <a:gd name="T80" fmla="*/ 15 w 19"/>
                    <a:gd name="T81" fmla="*/ 46 h 59"/>
                    <a:gd name="T82" fmla="*/ 15 w 19"/>
                    <a:gd name="T83" fmla="*/ 44 h 59"/>
                    <a:gd name="T84" fmla="*/ 15 w 19"/>
                    <a:gd name="T85" fmla="*/ 43 h 59"/>
                    <a:gd name="T86" fmla="*/ 15 w 19"/>
                    <a:gd name="T87" fmla="*/ 34 h 59"/>
                    <a:gd name="T88" fmla="*/ 16 w 19"/>
                    <a:gd name="T89" fmla="*/ 30 h 59"/>
                    <a:gd name="T90" fmla="*/ 17 w 19"/>
                    <a:gd name="T91" fmla="*/ 27 h 59"/>
                    <a:gd name="T92" fmla="*/ 18 w 19"/>
                    <a:gd name="T93" fmla="*/ 23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9" h="59">
                      <a:moveTo>
                        <a:pt x="19" y="21"/>
                      </a:moveTo>
                      <a:cubicBezTo>
                        <a:pt x="19" y="20"/>
                        <a:pt x="18" y="20"/>
                        <a:pt x="18" y="20"/>
                      </a:cubicBezTo>
                      <a:cubicBezTo>
                        <a:pt x="18" y="20"/>
                        <a:pt x="18" y="18"/>
                        <a:pt x="18" y="18"/>
                      </a:cubicBezTo>
                      <a:cubicBezTo>
                        <a:pt x="18" y="17"/>
                        <a:pt x="18" y="16"/>
                        <a:pt x="18" y="15"/>
                      </a:cubicBezTo>
                      <a:cubicBezTo>
                        <a:pt x="18" y="14"/>
                        <a:pt x="18" y="13"/>
                        <a:pt x="17" y="12"/>
                      </a:cubicBezTo>
                      <a:cubicBezTo>
                        <a:pt x="17" y="11"/>
                        <a:pt x="17" y="10"/>
                        <a:pt x="17" y="10"/>
                      </a:cubicBezTo>
                      <a:cubicBezTo>
                        <a:pt x="16" y="10"/>
                        <a:pt x="15" y="9"/>
                        <a:pt x="14" y="9"/>
                      </a:cubicBezTo>
                      <a:cubicBezTo>
                        <a:pt x="14" y="9"/>
                        <a:pt x="12" y="9"/>
                        <a:pt x="12" y="9"/>
                      </a:cubicBezTo>
                      <a:cubicBezTo>
                        <a:pt x="12" y="9"/>
                        <a:pt x="12" y="9"/>
                        <a:pt x="11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1" y="8"/>
                        <a:pt x="11" y="7"/>
                        <a:pt x="11" y="7"/>
                      </a:cubicBezTo>
                      <a:cubicBezTo>
                        <a:pt x="11" y="7"/>
                        <a:pt x="11" y="6"/>
                        <a:pt x="11" y="6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1" y="5"/>
                        <a:pt x="12" y="5"/>
                        <a:pt x="12" y="5"/>
                      </a:cubicBezTo>
                      <a:cubicBezTo>
                        <a:pt x="12" y="5"/>
                        <a:pt x="12" y="4"/>
                        <a:pt x="12" y="4"/>
                      </a:cubicBezTo>
                      <a:cubicBezTo>
                        <a:pt x="12" y="3"/>
                        <a:pt x="11" y="3"/>
                        <a:pt x="11" y="3"/>
                      </a:cubicBezTo>
                      <a:cubicBezTo>
                        <a:pt x="11" y="3"/>
                        <a:pt x="12" y="3"/>
                        <a:pt x="11" y="2"/>
                      </a:cubicBezTo>
                      <a:cubicBezTo>
                        <a:pt x="11" y="1"/>
                        <a:pt x="10" y="0"/>
                        <a:pt x="9" y="0"/>
                      </a:cubicBezTo>
                      <a:cubicBezTo>
                        <a:pt x="7" y="0"/>
                        <a:pt x="6" y="2"/>
                        <a:pt x="6" y="3"/>
                      </a:cubicBezTo>
                      <a:cubicBezTo>
                        <a:pt x="6" y="3"/>
                        <a:pt x="6" y="3"/>
                        <a:pt x="6" y="3"/>
                      </a:cubicBezTo>
                      <a:cubicBezTo>
                        <a:pt x="6" y="3"/>
                        <a:pt x="5" y="3"/>
                        <a:pt x="5" y="4"/>
                      </a:cubicBezTo>
                      <a:cubicBezTo>
                        <a:pt x="5" y="4"/>
                        <a:pt x="5" y="4"/>
                        <a:pt x="5" y="5"/>
                      </a:cubicBezTo>
                      <a:cubicBezTo>
                        <a:pt x="5" y="5"/>
                        <a:pt x="5" y="5"/>
                        <a:pt x="6" y="5"/>
                      </a:cubicBezTo>
                      <a:cubicBezTo>
                        <a:pt x="6" y="5"/>
                        <a:pt x="6" y="6"/>
                        <a:pt x="6" y="6"/>
                      </a:cubicBezTo>
                      <a:cubicBezTo>
                        <a:pt x="6" y="6"/>
                        <a:pt x="7" y="7"/>
                        <a:pt x="7" y="7"/>
                      </a:cubicBezTo>
                      <a:cubicBezTo>
                        <a:pt x="7" y="8"/>
                        <a:pt x="7" y="8"/>
                        <a:pt x="7" y="8"/>
                      </a:cubicBezTo>
                      <a:cubicBezTo>
                        <a:pt x="7" y="8"/>
                        <a:pt x="7" y="8"/>
                        <a:pt x="7" y="8"/>
                      </a:cubicBezTo>
                      <a:cubicBezTo>
                        <a:pt x="7" y="8"/>
                        <a:pt x="6" y="9"/>
                        <a:pt x="6" y="9"/>
                      </a:cubicBezTo>
                      <a:cubicBezTo>
                        <a:pt x="6" y="9"/>
                        <a:pt x="4" y="9"/>
                        <a:pt x="3" y="10"/>
                      </a:cubicBezTo>
                      <a:cubicBezTo>
                        <a:pt x="2" y="10"/>
                        <a:pt x="1" y="11"/>
                        <a:pt x="1" y="11"/>
                      </a:cubicBezTo>
                      <a:cubicBezTo>
                        <a:pt x="1" y="11"/>
                        <a:pt x="1" y="14"/>
                        <a:pt x="1" y="15"/>
                      </a:cubicBezTo>
                      <a:cubicBezTo>
                        <a:pt x="0" y="16"/>
                        <a:pt x="0" y="16"/>
                        <a:pt x="0" y="17"/>
                      </a:cubicBezTo>
                      <a:cubicBezTo>
                        <a:pt x="0" y="18"/>
                        <a:pt x="0" y="18"/>
                        <a:pt x="0" y="18"/>
                      </a:cubicBezTo>
                      <a:cubicBezTo>
                        <a:pt x="0" y="19"/>
                        <a:pt x="0" y="20"/>
                        <a:pt x="0" y="20"/>
                      </a:cubicBezTo>
                      <a:cubicBezTo>
                        <a:pt x="0" y="21"/>
                        <a:pt x="0" y="21"/>
                        <a:pt x="0" y="22"/>
                      </a:cubicBezTo>
                      <a:cubicBezTo>
                        <a:pt x="0" y="22"/>
                        <a:pt x="0" y="23"/>
                        <a:pt x="0" y="24"/>
                      </a:cubicBezTo>
                      <a:cubicBezTo>
                        <a:pt x="0" y="24"/>
                        <a:pt x="0" y="25"/>
                        <a:pt x="0" y="25"/>
                      </a:cubicBezTo>
                      <a:cubicBezTo>
                        <a:pt x="0" y="26"/>
                        <a:pt x="0" y="26"/>
                        <a:pt x="1" y="26"/>
                      </a:cubicBezTo>
                      <a:cubicBezTo>
                        <a:pt x="1" y="26"/>
                        <a:pt x="1" y="26"/>
                        <a:pt x="1" y="27"/>
                      </a:cubicBezTo>
                      <a:cubicBezTo>
                        <a:pt x="1" y="27"/>
                        <a:pt x="1" y="28"/>
                        <a:pt x="1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1" y="29"/>
                        <a:pt x="1" y="29"/>
                        <a:pt x="2" y="29"/>
                      </a:cubicBezTo>
                      <a:cubicBezTo>
                        <a:pt x="2" y="30"/>
                        <a:pt x="2" y="31"/>
                        <a:pt x="2" y="31"/>
                      </a:cubicBezTo>
                      <a:cubicBezTo>
                        <a:pt x="3" y="30"/>
                        <a:pt x="3" y="30"/>
                        <a:pt x="3" y="30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3" y="31"/>
                        <a:pt x="3" y="32"/>
                        <a:pt x="3" y="35"/>
                      </a:cubicBezTo>
                      <a:cubicBezTo>
                        <a:pt x="3" y="37"/>
                        <a:pt x="3" y="39"/>
                        <a:pt x="4" y="40"/>
                      </a:cubicBezTo>
                      <a:cubicBezTo>
                        <a:pt x="4" y="41"/>
                        <a:pt x="4" y="41"/>
                        <a:pt x="4" y="42"/>
                      </a:cubicBezTo>
                      <a:cubicBezTo>
                        <a:pt x="4" y="42"/>
                        <a:pt x="4" y="43"/>
                        <a:pt x="4" y="44"/>
                      </a:cubicBezTo>
                      <a:cubicBezTo>
                        <a:pt x="4" y="44"/>
                        <a:pt x="4" y="44"/>
                        <a:pt x="4" y="44"/>
                      </a:cubicBezTo>
                      <a:cubicBezTo>
                        <a:pt x="4" y="45"/>
                        <a:pt x="3" y="45"/>
                        <a:pt x="4" y="45"/>
                      </a:cubicBezTo>
                      <a:cubicBezTo>
                        <a:pt x="4" y="46"/>
                        <a:pt x="4" y="46"/>
                        <a:pt x="4" y="46"/>
                      </a:cubicBezTo>
                      <a:cubicBezTo>
                        <a:pt x="4" y="46"/>
                        <a:pt x="4" y="46"/>
                        <a:pt x="4" y="47"/>
                      </a:cubicBezTo>
                      <a:cubicBezTo>
                        <a:pt x="4" y="47"/>
                        <a:pt x="4" y="47"/>
                        <a:pt x="4" y="48"/>
                      </a:cubicBezTo>
                      <a:cubicBezTo>
                        <a:pt x="4" y="49"/>
                        <a:pt x="4" y="49"/>
                        <a:pt x="4" y="50"/>
                      </a:cubicBezTo>
                      <a:cubicBezTo>
                        <a:pt x="4" y="51"/>
                        <a:pt x="4" y="51"/>
                        <a:pt x="4" y="52"/>
                      </a:cubicBezTo>
                      <a:cubicBezTo>
                        <a:pt x="5" y="52"/>
                        <a:pt x="5" y="52"/>
                        <a:pt x="4" y="52"/>
                      </a:cubicBezTo>
                      <a:cubicBezTo>
                        <a:pt x="4" y="53"/>
                        <a:pt x="4" y="53"/>
                        <a:pt x="4" y="53"/>
                      </a:cubicBezTo>
                      <a:cubicBezTo>
                        <a:pt x="4" y="54"/>
                        <a:pt x="4" y="54"/>
                        <a:pt x="4" y="54"/>
                      </a:cubicBezTo>
                      <a:cubicBezTo>
                        <a:pt x="4" y="54"/>
                        <a:pt x="4" y="54"/>
                        <a:pt x="4" y="54"/>
                      </a:cubicBezTo>
                      <a:cubicBezTo>
                        <a:pt x="4" y="55"/>
                        <a:pt x="4" y="55"/>
                        <a:pt x="4" y="55"/>
                      </a:cubicBezTo>
                      <a:cubicBezTo>
                        <a:pt x="4" y="55"/>
                        <a:pt x="5" y="56"/>
                        <a:pt x="5" y="56"/>
                      </a:cubicBezTo>
                      <a:cubicBezTo>
                        <a:pt x="5" y="56"/>
                        <a:pt x="5" y="57"/>
                        <a:pt x="5" y="57"/>
                      </a:cubicBezTo>
                      <a:cubicBezTo>
                        <a:pt x="5" y="57"/>
                        <a:pt x="5" y="57"/>
                        <a:pt x="5" y="57"/>
                      </a:cubicBezTo>
                      <a:cubicBezTo>
                        <a:pt x="5" y="57"/>
                        <a:pt x="5" y="57"/>
                        <a:pt x="5" y="57"/>
                      </a:cubicBezTo>
                      <a:cubicBezTo>
                        <a:pt x="5" y="57"/>
                        <a:pt x="5" y="57"/>
                        <a:pt x="5" y="58"/>
                      </a:cubicBezTo>
                      <a:cubicBezTo>
                        <a:pt x="5" y="58"/>
                        <a:pt x="4" y="58"/>
                        <a:pt x="4" y="58"/>
                      </a:cubicBezTo>
                      <a:cubicBezTo>
                        <a:pt x="4" y="59"/>
                        <a:pt x="4" y="59"/>
                        <a:pt x="4" y="59"/>
                      </a:cubicBezTo>
                      <a:cubicBezTo>
                        <a:pt x="4" y="59"/>
                        <a:pt x="4" y="59"/>
                        <a:pt x="4" y="59"/>
                      </a:cubicBezTo>
                      <a:cubicBezTo>
                        <a:pt x="5" y="59"/>
                        <a:pt x="8" y="59"/>
                        <a:pt x="8" y="59"/>
                      </a:cubicBezTo>
                      <a:cubicBezTo>
                        <a:pt x="8" y="59"/>
                        <a:pt x="9" y="59"/>
                        <a:pt x="9" y="59"/>
                      </a:cubicBezTo>
                      <a:cubicBezTo>
                        <a:pt x="9" y="59"/>
                        <a:pt x="9" y="57"/>
                        <a:pt x="9" y="57"/>
                      </a:cubicBezTo>
                      <a:cubicBezTo>
                        <a:pt x="9" y="57"/>
                        <a:pt x="9" y="57"/>
                        <a:pt x="9" y="57"/>
                      </a:cubicBezTo>
                      <a:cubicBezTo>
                        <a:pt x="9" y="56"/>
                        <a:pt x="9" y="55"/>
                        <a:pt x="9" y="55"/>
                      </a:cubicBezTo>
                      <a:cubicBezTo>
                        <a:pt x="9" y="55"/>
                        <a:pt x="9" y="54"/>
                        <a:pt x="9" y="54"/>
                      </a:cubicBezTo>
                      <a:cubicBezTo>
                        <a:pt x="9" y="54"/>
                        <a:pt x="9" y="54"/>
                        <a:pt x="9" y="53"/>
                      </a:cubicBezTo>
                      <a:cubicBezTo>
                        <a:pt x="9" y="53"/>
                        <a:pt x="9" y="49"/>
                        <a:pt x="9" y="48"/>
                      </a:cubicBezTo>
                      <a:cubicBezTo>
                        <a:pt x="9" y="48"/>
                        <a:pt x="9" y="46"/>
                        <a:pt x="9" y="46"/>
                      </a:cubicBezTo>
                      <a:cubicBezTo>
                        <a:pt x="9" y="46"/>
                        <a:pt x="9" y="45"/>
                        <a:pt x="9" y="45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8" y="44"/>
                        <a:pt x="9" y="44"/>
                        <a:pt x="9" y="44"/>
                      </a:cubicBezTo>
                      <a:cubicBezTo>
                        <a:pt x="9" y="44"/>
                        <a:pt x="10" y="43"/>
                        <a:pt x="10" y="43"/>
                      </a:cubicBezTo>
                      <a:cubicBezTo>
                        <a:pt x="10" y="43"/>
                        <a:pt x="10" y="43"/>
                        <a:pt x="10" y="43"/>
                      </a:cubicBezTo>
                      <a:cubicBezTo>
                        <a:pt x="10" y="43"/>
                        <a:pt x="10" y="41"/>
                        <a:pt x="10" y="40"/>
                      </a:cubicBezTo>
                      <a:cubicBezTo>
                        <a:pt x="10" y="39"/>
                        <a:pt x="10" y="36"/>
                        <a:pt x="10" y="36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0" y="36"/>
                        <a:pt x="9" y="36"/>
                        <a:pt x="10" y="36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0" y="36"/>
                        <a:pt x="10" y="37"/>
                        <a:pt x="10" y="38"/>
                      </a:cubicBezTo>
                      <a:cubicBezTo>
                        <a:pt x="10" y="38"/>
                        <a:pt x="10" y="39"/>
                        <a:pt x="10" y="40"/>
                      </a:cubicBezTo>
                      <a:cubicBezTo>
                        <a:pt x="10" y="40"/>
                        <a:pt x="10" y="42"/>
                        <a:pt x="10" y="42"/>
                      </a:cubicBezTo>
                      <a:cubicBezTo>
                        <a:pt x="10" y="42"/>
                        <a:pt x="10" y="43"/>
                        <a:pt x="10" y="43"/>
                      </a:cubicBezTo>
                      <a:cubicBezTo>
                        <a:pt x="11" y="43"/>
                        <a:pt x="10" y="44"/>
                        <a:pt x="11" y="44"/>
                      </a:cubicBezTo>
                      <a:cubicBezTo>
                        <a:pt x="11" y="44"/>
                        <a:pt x="10" y="44"/>
                        <a:pt x="10" y="44"/>
                      </a:cubicBezTo>
                      <a:cubicBezTo>
                        <a:pt x="10" y="44"/>
                        <a:pt x="10" y="45"/>
                        <a:pt x="10" y="45"/>
                      </a:cubicBezTo>
                      <a:cubicBezTo>
                        <a:pt x="10" y="46"/>
                        <a:pt x="10" y="47"/>
                        <a:pt x="10" y="48"/>
                      </a:cubicBezTo>
                      <a:cubicBezTo>
                        <a:pt x="10" y="48"/>
                        <a:pt x="10" y="51"/>
                        <a:pt x="10" y="52"/>
                      </a:cubicBezTo>
                      <a:cubicBezTo>
                        <a:pt x="10" y="53"/>
                        <a:pt x="10" y="53"/>
                        <a:pt x="10" y="53"/>
                      </a:cubicBezTo>
                      <a:cubicBezTo>
                        <a:pt x="10" y="54"/>
                        <a:pt x="10" y="55"/>
                        <a:pt x="10" y="55"/>
                      </a:cubicBezTo>
                      <a:cubicBezTo>
                        <a:pt x="10" y="55"/>
                        <a:pt x="10" y="56"/>
                        <a:pt x="10" y="56"/>
                      </a:cubicBezTo>
                      <a:cubicBezTo>
                        <a:pt x="10" y="56"/>
                        <a:pt x="10" y="56"/>
                        <a:pt x="10" y="57"/>
                      </a:cubicBezTo>
                      <a:cubicBezTo>
                        <a:pt x="10" y="57"/>
                        <a:pt x="10" y="57"/>
                        <a:pt x="10" y="57"/>
                      </a:cubicBezTo>
                      <a:cubicBezTo>
                        <a:pt x="10" y="57"/>
                        <a:pt x="10" y="57"/>
                        <a:pt x="10" y="57"/>
                      </a:cubicBezTo>
                      <a:cubicBezTo>
                        <a:pt x="10" y="57"/>
                        <a:pt x="10" y="59"/>
                        <a:pt x="10" y="59"/>
                      </a:cubicBezTo>
                      <a:cubicBezTo>
                        <a:pt x="10" y="59"/>
                        <a:pt x="11" y="59"/>
                        <a:pt x="11" y="59"/>
                      </a:cubicBezTo>
                      <a:cubicBezTo>
                        <a:pt x="11" y="59"/>
                        <a:pt x="11" y="59"/>
                        <a:pt x="12" y="59"/>
                      </a:cubicBezTo>
                      <a:cubicBezTo>
                        <a:pt x="12" y="59"/>
                        <a:pt x="13" y="59"/>
                        <a:pt x="14" y="59"/>
                      </a:cubicBezTo>
                      <a:cubicBezTo>
                        <a:pt x="14" y="59"/>
                        <a:pt x="15" y="59"/>
                        <a:pt x="15" y="59"/>
                      </a:cubicBezTo>
                      <a:cubicBezTo>
                        <a:pt x="15" y="59"/>
                        <a:pt x="15" y="59"/>
                        <a:pt x="15" y="59"/>
                      </a:cubicBezTo>
                      <a:cubicBezTo>
                        <a:pt x="16" y="58"/>
                        <a:pt x="14" y="58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4" y="56"/>
                        <a:pt x="14" y="56"/>
                      </a:cubicBezTo>
                      <a:cubicBezTo>
                        <a:pt x="14" y="56"/>
                        <a:pt x="14" y="55"/>
                        <a:pt x="15" y="55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5" y="54"/>
                        <a:pt x="14" y="53"/>
                        <a:pt x="14" y="53"/>
                      </a:cubicBezTo>
                      <a:cubicBezTo>
                        <a:pt x="14" y="52"/>
                        <a:pt x="14" y="52"/>
                        <a:pt x="14" y="52"/>
                      </a:cubicBezTo>
                      <a:cubicBezTo>
                        <a:pt x="14" y="52"/>
                        <a:pt x="14" y="52"/>
                        <a:pt x="14" y="51"/>
                      </a:cubicBezTo>
                      <a:cubicBezTo>
                        <a:pt x="15" y="51"/>
                        <a:pt x="15" y="49"/>
                        <a:pt x="15" y="48"/>
                      </a:cubicBezTo>
                      <a:cubicBezTo>
                        <a:pt x="15" y="48"/>
                        <a:pt x="15" y="47"/>
                        <a:pt x="15" y="47"/>
                      </a:cubicBezTo>
                      <a:cubicBezTo>
                        <a:pt x="15" y="46"/>
                        <a:pt x="15" y="46"/>
                        <a:pt x="15" y="46"/>
                      </a:cubicBezTo>
                      <a:cubicBezTo>
                        <a:pt x="15" y="46"/>
                        <a:pt x="15" y="45"/>
                        <a:pt x="15" y="45"/>
                      </a:cubicBezTo>
                      <a:cubicBezTo>
                        <a:pt x="15" y="45"/>
                        <a:pt x="15" y="44"/>
                        <a:pt x="15" y="44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5" y="44"/>
                        <a:pt x="15" y="43"/>
                        <a:pt x="15" y="43"/>
                      </a:cubicBezTo>
                      <a:cubicBezTo>
                        <a:pt x="15" y="43"/>
                        <a:pt x="15" y="42"/>
                        <a:pt x="15" y="41"/>
                      </a:cubicBezTo>
                      <a:cubicBezTo>
                        <a:pt x="15" y="41"/>
                        <a:pt x="15" y="40"/>
                        <a:pt x="15" y="39"/>
                      </a:cubicBezTo>
                      <a:cubicBezTo>
                        <a:pt x="15" y="38"/>
                        <a:pt x="15" y="35"/>
                        <a:pt x="15" y="34"/>
                      </a:cubicBezTo>
                      <a:cubicBezTo>
                        <a:pt x="15" y="34"/>
                        <a:pt x="16" y="34"/>
                        <a:pt x="16" y="33"/>
                      </a:cubicBezTo>
                      <a:cubicBezTo>
                        <a:pt x="16" y="33"/>
                        <a:pt x="15" y="32"/>
                        <a:pt x="16" y="31"/>
                      </a:cubicBezTo>
                      <a:cubicBezTo>
                        <a:pt x="16" y="31"/>
                        <a:pt x="16" y="30"/>
                        <a:pt x="16" y="30"/>
                      </a:cubicBezTo>
                      <a:cubicBezTo>
                        <a:pt x="16" y="30"/>
                        <a:pt x="16" y="29"/>
                        <a:pt x="17" y="29"/>
                      </a:cubicBezTo>
                      <a:cubicBezTo>
                        <a:pt x="17" y="29"/>
                        <a:pt x="17" y="28"/>
                        <a:pt x="17" y="28"/>
                      </a:cubicBezTo>
                      <a:cubicBezTo>
                        <a:pt x="17" y="28"/>
                        <a:pt x="17" y="27"/>
                        <a:pt x="17" y="27"/>
                      </a:cubicBezTo>
                      <a:cubicBezTo>
                        <a:pt x="18" y="26"/>
                        <a:pt x="18" y="26"/>
                        <a:pt x="18" y="25"/>
                      </a:cubicBezTo>
                      <a:cubicBezTo>
                        <a:pt x="18" y="25"/>
                        <a:pt x="18" y="25"/>
                        <a:pt x="18" y="24"/>
                      </a:cubicBezTo>
                      <a:cubicBezTo>
                        <a:pt x="18" y="24"/>
                        <a:pt x="18" y="23"/>
                        <a:pt x="18" y="23"/>
                      </a:cubicBezTo>
                      <a:cubicBezTo>
                        <a:pt x="19" y="22"/>
                        <a:pt x="19" y="21"/>
                        <a:pt x="19" y="2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46" name="Oval 679">
                  <a:extLst>
                    <a:ext uri="{FF2B5EF4-FFF2-40B4-BE49-F238E27FC236}">
                      <a16:creationId xmlns:a16="http://schemas.microsoft.com/office/drawing/2014/main" id="{50692CC1-828C-7D55-573B-2541D9C72A3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024563" y="3155950"/>
                  <a:ext cx="107950" cy="109538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47" name="Freeform 680">
                  <a:extLst>
                    <a:ext uri="{FF2B5EF4-FFF2-40B4-BE49-F238E27FC236}">
                      <a16:creationId xmlns:a16="http://schemas.microsoft.com/office/drawing/2014/main" id="{211BFF01-265B-1FBA-0941-5690B299F2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65838" y="3173413"/>
                  <a:ext cx="25400" cy="80963"/>
                </a:xfrm>
                <a:custGeom>
                  <a:avLst/>
                  <a:gdLst>
                    <a:gd name="T0" fmla="*/ 19 w 19"/>
                    <a:gd name="T1" fmla="*/ 17 h 60"/>
                    <a:gd name="T2" fmla="*/ 17 w 19"/>
                    <a:gd name="T3" fmla="*/ 9 h 60"/>
                    <a:gd name="T4" fmla="*/ 12 w 19"/>
                    <a:gd name="T5" fmla="*/ 8 h 60"/>
                    <a:gd name="T6" fmla="*/ 11 w 19"/>
                    <a:gd name="T7" fmla="*/ 6 h 60"/>
                    <a:gd name="T8" fmla="*/ 12 w 19"/>
                    <a:gd name="T9" fmla="*/ 4 h 60"/>
                    <a:gd name="T10" fmla="*/ 12 w 19"/>
                    <a:gd name="T11" fmla="*/ 1 h 60"/>
                    <a:gd name="T12" fmla="*/ 6 w 19"/>
                    <a:gd name="T13" fmla="*/ 3 h 60"/>
                    <a:gd name="T14" fmla="*/ 6 w 19"/>
                    <a:gd name="T15" fmla="*/ 5 h 60"/>
                    <a:gd name="T16" fmla="*/ 7 w 19"/>
                    <a:gd name="T17" fmla="*/ 7 h 60"/>
                    <a:gd name="T18" fmla="*/ 3 w 19"/>
                    <a:gd name="T19" fmla="*/ 9 h 60"/>
                    <a:gd name="T20" fmla="*/ 1 w 19"/>
                    <a:gd name="T21" fmla="*/ 16 h 60"/>
                    <a:gd name="T22" fmla="*/ 0 w 19"/>
                    <a:gd name="T23" fmla="*/ 21 h 60"/>
                    <a:gd name="T24" fmla="*/ 1 w 19"/>
                    <a:gd name="T25" fmla="*/ 25 h 60"/>
                    <a:gd name="T26" fmla="*/ 1 w 19"/>
                    <a:gd name="T27" fmla="*/ 28 h 60"/>
                    <a:gd name="T28" fmla="*/ 3 w 19"/>
                    <a:gd name="T29" fmla="*/ 30 h 60"/>
                    <a:gd name="T30" fmla="*/ 4 w 19"/>
                    <a:gd name="T31" fmla="*/ 39 h 60"/>
                    <a:gd name="T32" fmla="*/ 4 w 19"/>
                    <a:gd name="T33" fmla="*/ 44 h 60"/>
                    <a:gd name="T34" fmla="*/ 4 w 19"/>
                    <a:gd name="T35" fmla="*/ 46 h 60"/>
                    <a:gd name="T36" fmla="*/ 5 w 19"/>
                    <a:gd name="T37" fmla="*/ 51 h 60"/>
                    <a:gd name="T38" fmla="*/ 4 w 19"/>
                    <a:gd name="T39" fmla="*/ 54 h 60"/>
                    <a:gd name="T40" fmla="*/ 5 w 19"/>
                    <a:gd name="T41" fmla="*/ 55 h 60"/>
                    <a:gd name="T42" fmla="*/ 6 w 19"/>
                    <a:gd name="T43" fmla="*/ 56 h 60"/>
                    <a:gd name="T44" fmla="*/ 4 w 19"/>
                    <a:gd name="T45" fmla="*/ 58 h 60"/>
                    <a:gd name="T46" fmla="*/ 9 w 19"/>
                    <a:gd name="T47" fmla="*/ 58 h 60"/>
                    <a:gd name="T48" fmla="*/ 9 w 19"/>
                    <a:gd name="T49" fmla="*/ 55 h 60"/>
                    <a:gd name="T50" fmla="*/ 9 w 19"/>
                    <a:gd name="T51" fmla="*/ 48 h 60"/>
                    <a:gd name="T52" fmla="*/ 9 w 19"/>
                    <a:gd name="T53" fmla="*/ 44 h 60"/>
                    <a:gd name="T54" fmla="*/ 8 w 19"/>
                    <a:gd name="T55" fmla="*/ 42 h 60"/>
                    <a:gd name="T56" fmla="*/ 10 w 19"/>
                    <a:gd name="T57" fmla="*/ 35 h 60"/>
                    <a:gd name="T58" fmla="*/ 10 w 19"/>
                    <a:gd name="T59" fmla="*/ 37 h 60"/>
                    <a:gd name="T60" fmla="*/ 11 w 19"/>
                    <a:gd name="T61" fmla="*/ 42 h 60"/>
                    <a:gd name="T62" fmla="*/ 11 w 19"/>
                    <a:gd name="T63" fmla="*/ 45 h 60"/>
                    <a:gd name="T64" fmla="*/ 10 w 19"/>
                    <a:gd name="T65" fmla="*/ 53 h 60"/>
                    <a:gd name="T66" fmla="*/ 11 w 19"/>
                    <a:gd name="T67" fmla="*/ 56 h 60"/>
                    <a:gd name="T68" fmla="*/ 11 w 19"/>
                    <a:gd name="T69" fmla="*/ 58 h 60"/>
                    <a:gd name="T70" fmla="*/ 14 w 19"/>
                    <a:gd name="T71" fmla="*/ 60 h 60"/>
                    <a:gd name="T72" fmla="*/ 14 w 19"/>
                    <a:gd name="T73" fmla="*/ 57 h 60"/>
                    <a:gd name="T74" fmla="*/ 14 w 19"/>
                    <a:gd name="T75" fmla="*/ 56 h 60"/>
                    <a:gd name="T76" fmla="*/ 15 w 19"/>
                    <a:gd name="T77" fmla="*/ 54 h 60"/>
                    <a:gd name="T78" fmla="*/ 15 w 19"/>
                    <a:gd name="T79" fmla="*/ 51 h 60"/>
                    <a:gd name="T80" fmla="*/ 15 w 19"/>
                    <a:gd name="T81" fmla="*/ 45 h 60"/>
                    <a:gd name="T82" fmla="*/ 15 w 19"/>
                    <a:gd name="T83" fmla="*/ 43 h 60"/>
                    <a:gd name="T84" fmla="*/ 15 w 19"/>
                    <a:gd name="T85" fmla="*/ 43 h 60"/>
                    <a:gd name="T86" fmla="*/ 15 w 19"/>
                    <a:gd name="T87" fmla="*/ 34 h 60"/>
                    <a:gd name="T88" fmla="*/ 16 w 19"/>
                    <a:gd name="T89" fmla="*/ 30 h 60"/>
                    <a:gd name="T90" fmla="*/ 18 w 19"/>
                    <a:gd name="T91" fmla="*/ 26 h 60"/>
                    <a:gd name="T92" fmla="*/ 19 w 19"/>
                    <a:gd name="T93" fmla="*/ 22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9" h="60">
                      <a:moveTo>
                        <a:pt x="19" y="20"/>
                      </a:move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19" y="19"/>
                        <a:pt x="19" y="18"/>
                        <a:pt x="19" y="17"/>
                      </a:cubicBezTo>
                      <a:cubicBezTo>
                        <a:pt x="19" y="16"/>
                        <a:pt x="18" y="15"/>
                        <a:pt x="18" y="14"/>
                      </a:cubicBezTo>
                      <a:cubicBezTo>
                        <a:pt x="18" y="13"/>
                        <a:pt x="18" y="12"/>
                        <a:pt x="18" y="11"/>
                      </a:cubicBezTo>
                      <a:cubicBezTo>
                        <a:pt x="18" y="10"/>
                        <a:pt x="17" y="10"/>
                        <a:pt x="17" y="9"/>
                      </a:cubicBezTo>
                      <a:cubicBezTo>
                        <a:pt x="17" y="9"/>
                        <a:pt x="15" y="9"/>
                        <a:pt x="15" y="9"/>
                      </a:cubicBezTo>
                      <a:cubicBezTo>
                        <a:pt x="14" y="8"/>
                        <a:pt x="13" y="8"/>
                        <a:pt x="13" y="8"/>
                      </a:cubicBezTo>
                      <a:cubicBezTo>
                        <a:pt x="12" y="8"/>
                        <a:pt x="12" y="8"/>
                        <a:pt x="12" y="8"/>
                      </a:cubicBezTo>
                      <a:cubicBezTo>
                        <a:pt x="12" y="8"/>
                        <a:pt x="11" y="7"/>
                        <a:pt x="11" y="7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11" y="7"/>
                        <a:pt x="11" y="7"/>
                        <a:pt x="11" y="6"/>
                      </a:cubicBezTo>
                      <a:cubicBezTo>
                        <a:pt x="11" y="6"/>
                        <a:pt x="12" y="6"/>
                        <a:pt x="12" y="5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2" y="5"/>
                        <a:pt x="12" y="5"/>
                        <a:pt x="12" y="4"/>
                      </a:cubicBezTo>
                      <a:cubicBezTo>
                        <a:pt x="12" y="4"/>
                        <a:pt x="12" y="3"/>
                        <a:pt x="12" y="3"/>
                      </a:cubicBezTo>
                      <a:cubicBezTo>
                        <a:pt x="12" y="3"/>
                        <a:pt x="12" y="3"/>
                        <a:pt x="12" y="3"/>
                      </a:cubicBezTo>
                      <a:cubicBezTo>
                        <a:pt x="12" y="3"/>
                        <a:pt x="12" y="2"/>
                        <a:pt x="12" y="1"/>
                      </a:cubicBezTo>
                      <a:cubicBezTo>
                        <a:pt x="11" y="1"/>
                        <a:pt x="10" y="0"/>
                        <a:pt x="9" y="0"/>
                      </a:cubicBezTo>
                      <a:cubicBezTo>
                        <a:pt x="7" y="0"/>
                        <a:pt x="6" y="1"/>
                        <a:pt x="6" y="2"/>
                      </a:cubicBezTo>
                      <a:cubicBezTo>
                        <a:pt x="6" y="3"/>
                        <a:pt x="6" y="3"/>
                        <a:pt x="6" y="3"/>
                      </a:cubicBezTo>
                      <a:cubicBezTo>
                        <a:pt x="6" y="3"/>
                        <a:pt x="6" y="3"/>
                        <a:pt x="6" y="3"/>
                      </a:cubicBezTo>
                      <a:cubicBezTo>
                        <a:pt x="6" y="3"/>
                        <a:pt x="6" y="4"/>
                        <a:pt x="6" y="4"/>
                      </a:cubicBezTo>
                      <a:cubicBezTo>
                        <a:pt x="6" y="4"/>
                        <a:pt x="6" y="4"/>
                        <a:pt x="6" y="5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6" y="6"/>
                        <a:pt x="7" y="6"/>
                        <a:pt x="7" y="7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7" y="7"/>
                        <a:pt x="7" y="8"/>
                        <a:pt x="7" y="8"/>
                      </a:cubicBezTo>
                      <a:cubicBezTo>
                        <a:pt x="7" y="8"/>
                        <a:pt x="7" y="8"/>
                        <a:pt x="6" y="8"/>
                      </a:cubicBezTo>
                      <a:cubicBezTo>
                        <a:pt x="6" y="9"/>
                        <a:pt x="4" y="9"/>
                        <a:pt x="3" y="9"/>
                      </a:cubicBezTo>
                      <a:cubicBezTo>
                        <a:pt x="2" y="10"/>
                        <a:pt x="2" y="10"/>
                        <a:pt x="2" y="10"/>
                      </a:cubicBezTo>
                      <a:cubicBezTo>
                        <a:pt x="2" y="11"/>
                        <a:pt x="1" y="13"/>
                        <a:pt x="1" y="14"/>
                      </a:cubicBezTo>
                      <a:cubicBezTo>
                        <a:pt x="1" y="15"/>
                        <a:pt x="1" y="15"/>
                        <a:pt x="1" y="16"/>
                      </a:cubicBezTo>
                      <a:cubicBezTo>
                        <a:pt x="0" y="17"/>
                        <a:pt x="1" y="18"/>
                        <a:pt x="0" y="18"/>
                      </a:cubicBezTo>
                      <a:cubicBezTo>
                        <a:pt x="0" y="18"/>
                        <a:pt x="0" y="19"/>
                        <a:pt x="0" y="20"/>
                      </a:cubicBezTo>
                      <a:cubicBezTo>
                        <a:pt x="0" y="20"/>
                        <a:pt x="0" y="21"/>
                        <a:pt x="0" y="21"/>
                      </a:cubicBezTo>
                      <a:cubicBezTo>
                        <a:pt x="0" y="22"/>
                        <a:pt x="0" y="23"/>
                        <a:pt x="0" y="24"/>
                      </a:cubicBezTo>
                      <a:cubicBezTo>
                        <a:pt x="0" y="24"/>
                        <a:pt x="1" y="24"/>
                        <a:pt x="0" y="24"/>
                      </a:cubicBezTo>
                      <a:cubicBezTo>
                        <a:pt x="0" y="25"/>
                        <a:pt x="1" y="25"/>
                        <a:pt x="1" y="25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1" y="27"/>
                        <a:pt x="1" y="27"/>
                        <a:pt x="1" y="27"/>
                      </a:cubicBezTo>
                      <a:cubicBezTo>
                        <a:pt x="1" y="27"/>
                        <a:pt x="1" y="28"/>
                        <a:pt x="1" y="28"/>
                      </a:cubicBezTo>
                      <a:cubicBezTo>
                        <a:pt x="1" y="28"/>
                        <a:pt x="2" y="29"/>
                        <a:pt x="2" y="29"/>
                      </a:cubicBezTo>
                      <a:cubicBezTo>
                        <a:pt x="2" y="29"/>
                        <a:pt x="3" y="30"/>
                        <a:pt x="3" y="30"/>
                      </a:cubicBezTo>
                      <a:cubicBezTo>
                        <a:pt x="3" y="30"/>
                        <a:pt x="3" y="30"/>
                        <a:pt x="3" y="30"/>
                      </a:cubicBezTo>
                      <a:cubicBezTo>
                        <a:pt x="3" y="30"/>
                        <a:pt x="3" y="30"/>
                        <a:pt x="3" y="30"/>
                      </a:cubicBezTo>
                      <a:cubicBezTo>
                        <a:pt x="3" y="30"/>
                        <a:pt x="3" y="32"/>
                        <a:pt x="3" y="34"/>
                      </a:cubicBezTo>
                      <a:cubicBezTo>
                        <a:pt x="4" y="36"/>
                        <a:pt x="4" y="39"/>
                        <a:pt x="4" y="39"/>
                      </a:cubicBezTo>
                      <a:cubicBezTo>
                        <a:pt x="4" y="40"/>
                        <a:pt x="4" y="41"/>
                        <a:pt x="4" y="41"/>
                      </a:cubicBezTo>
                      <a:cubicBezTo>
                        <a:pt x="4" y="41"/>
                        <a:pt x="4" y="42"/>
                        <a:pt x="4" y="43"/>
                      </a:cubicBezTo>
                      <a:cubicBezTo>
                        <a:pt x="4" y="43"/>
                        <a:pt x="4" y="44"/>
                        <a:pt x="4" y="44"/>
                      </a:cubicBezTo>
                      <a:cubicBezTo>
                        <a:pt x="4" y="44"/>
                        <a:pt x="4" y="44"/>
                        <a:pt x="4" y="45"/>
                      </a:cubicBez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6"/>
                        <a:pt x="4" y="46"/>
                        <a:pt x="4" y="46"/>
                      </a:cubicBezTo>
                      <a:cubicBezTo>
                        <a:pt x="4" y="47"/>
                        <a:pt x="4" y="47"/>
                        <a:pt x="4" y="48"/>
                      </a:cubicBezTo>
                      <a:cubicBezTo>
                        <a:pt x="4" y="48"/>
                        <a:pt x="4" y="49"/>
                        <a:pt x="4" y="50"/>
                      </a:cubicBezTo>
                      <a:cubicBezTo>
                        <a:pt x="5" y="50"/>
                        <a:pt x="5" y="51"/>
                        <a:pt x="5" y="51"/>
                      </a:cubicBezTo>
                      <a:cubicBezTo>
                        <a:pt x="5" y="51"/>
                        <a:pt x="5" y="51"/>
                        <a:pt x="5" y="52"/>
                      </a:cubicBezTo>
                      <a:cubicBezTo>
                        <a:pt x="5" y="52"/>
                        <a:pt x="5" y="52"/>
                        <a:pt x="5" y="52"/>
                      </a:cubicBezTo>
                      <a:cubicBezTo>
                        <a:pt x="5" y="53"/>
                        <a:pt x="4" y="54"/>
                        <a:pt x="4" y="54"/>
                      </a:cubicBezTo>
                      <a:cubicBezTo>
                        <a:pt x="4" y="54"/>
                        <a:pt x="4" y="54"/>
                        <a:pt x="4" y="54"/>
                      </a:cubicBezTo>
                      <a:cubicBezTo>
                        <a:pt x="4" y="54"/>
                        <a:pt x="4" y="54"/>
                        <a:pt x="4" y="54"/>
                      </a:cubicBezTo>
                      <a:cubicBezTo>
                        <a:pt x="5" y="54"/>
                        <a:pt x="5" y="55"/>
                        <a:pt x="5" y="55"/>
                      </a:cubicBezTo>
                      <a:cubicBezTo>
                        <a:pt x="5" y="56"/>
                        <a:pt x="5" y="56"/>
                        <a:pt x="5" y="56"/>
                      </a:cubicBezTo>
                      <a:cubicBezTo>
                        <a:pt x="5" y="56"/>
                        <a:pt x="5" y="56"/>
                        <a:pt x="5" y="56"/>
                      </a:cubicBezTo>
                      <a:cubicBezTo>
                        <a:pt x="5" y="56"/>
                        <a:pt x="6" y="56"/>
                        <a:pt x="6" y="56"/>
                      </a:cubicBezTo>
                      <a:cubicBezTo>
                        <a:pt x="6" y="56"/>
                        <a:pt x="6" y="57"/>
                        <a:pt x="5" y="57"/>
                      </a:cubicBezTo>
                      <a:cubicBezTo>
                        <a:pt x="5" y="57"/>
                        <a:pt x="4" y="57"/>
                        <a:pt x="4" y="58"/>
                      </a:cubicBezTo>
                      <a:cubicBezTo>
                        <a:pt x="4" y="58"/>
                        <a:pt x="4" y="58"/>
                        <a:pt x="4" y="58"/>
                      </a:cubicBezTo>
                      <a:cubicBezTo>
                        <a:pt x="4" y="58"/>
                        <a:pt x="4" y="58"/>
                        <a:pt x="4" y="58"/>
                      </a:cubicBezTo>
                      <a:cubicBezTo>
                        <a:pt x="5" y="58"/>
                        <a:pt x="8" y="59"/>
                        <a:pt x="8" y="59"/>
                      </a:cubicBezTo>
                      <a:cubicBezTo>
                        <a:pt x="8" y="59"/>
                        <a:pt x="9" y="59"/>
                        <a:pt x="9" y="58"/>
                      </a:cubicBezTo>
                      <a:cubicBezTo>
                        <a:pt x="9" y="58"/>
                        <a:pt x="9" y="57"/>
                        <a:pt x="9" y="56"/>
                      </a:cubicBezTo>
                      <a:cubicBezTo>
                        <a:pt x="9" y="56"/>
                        <a:pt x="9" y="56"/>
                        <a:pt x="9" y="56"/>
                      </a:cubicBezTo>
                      <a:cubicBezTo>
                        <a:pt x="9" y="56"/>
                        <a:pt x="9" y="55"/>
                        <a:pt x="9" y="55"/>
                      </a:cubicBezTo>
                      <a:cubicBezTo>
                        <a:pt x="9" y="54"/>
                        <a:pt x="9" y="54"/>
                        <a:pt x="9" y="53"/>
                      </a:cubicBezTo>
                      <a:cubicBezTo>
                        <a:pt x="9" y="53"/>
                        <a:pt x="9" y="53"/>
                        <a:pt x="9" y="53"/>
                      </a:cubicBezTo>
                      <a:cubicBezTo>
                        <a:pt x="9" y="52"/>
                        <a:pt x="9" y="48"/>
                        <a:pt x="9" y="48"/>
                      </a:cubicBezTo>
                      <a:cubicBezTo>
                        <a:pt x="9" y="47"/>
                        <a:pt x="9" y="46"/>
                        <a:pt x="9" y="45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5"/>
                        <a:pt x="9" y="44"/>
                        <a:pt x="9" y="44"/>
                      </a:cubicBezTo>
                      <a:cubicBezTo>
                        <a:pt x="9" y="44"/>
                        <a:pt x="8" y="43"/>
                        <a:pt x="8" y="43"/>
                      </a:cubicBezTo>
                      <a:cubicBezTo>
                        <a:pt x="8" y="43"/>
                        <a:pt x="8" y="43"/>
                        <a:pt x="8" y="43"/>
                      </a:cubicBezTo>
                      <a:cubicBezTo>
                        <a:pt x="8" y="42"/>
                        <a:pt x="8" y="42"/>
                        <a:pt x="8" y="42"/>
                      </a:cubicBezTo>
                      <a:cubicBezTo>
                        <a:pt x="8" y="42"/>
                        <a:pt x="9" y="41"/>
                        <a:pt x="9" y="39"/>
                      </a:cubicBezTo>
                      <a:cubicBezTo>
                        <a:pt x="9" y="38"/>
                        <a:pt x="9" y="36"/>
                        <a:pt x="9" y="36"/>
                      </a:cubicBezTo>
                      <a:cubicBezTo>
                        <a:pt x="9" y="36"/>
                        <a:pt x="10" y="36"/>
                        <a:pt x="10" y="35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10" y="36"/>
                        <a:pt x="10" y="37"/>
                        <a:pt x="10" y="37"/>
                      </a:cubicBezTo>
                      <a:cubicBezTo>
                        <a:pt x="10" y="37"/>
                        <a:pt x="10" y="38"/>
                        <a:pt x="10" y="39"/>
                      </a:cubicBezTo>
                      <a:cubicBezTo>
                        <a:pt x="10" y="40"/>
                        <a:pt x="10" y="41"/>
                        <a:pt x="11" y="41"/>
                      </a:cubicBezTo>
                      <a:cubicBezTo>
                        <a:pt x="11" y="42"/>
                        <a:pt x="11" y="42"/>
                        <a:pt x="11" y="42"/>
                      </a:cubicBezTo>
                      <a:cubicBezTo>
                        <a:pt x="11" y="43"/>
                        <a:pt x="11" y="43"/>
                        <a:pt x="11" y="43"/>
                      </a:cubicBezTo>
                      <a:cubicBezTo>
                        <a:pt x="11" y="44"/>
                        <a:pt x="11" y="44"/>
                        <a:pt x="11" y="44"/>
                      </a:cubicBezTo>
                      <a:cubicBezTo>
                        <a:pt x="11" y="44"/>
                        <a:pt x="11" y="44"/>
                        <a:pt x="11" y="45"/>
                      </a:cubicBezTo>
                      <a:cubicBezTo>
                        <a:pt x="11" y="45"/>
                        <a:pt x="11" y="46"/>
                        <a:pt x="11" y="47"/>
                      </a:cubicBezTo>
                      <a:cubicBezTo>
                        <a:pt x="11" y="48"/>
                        <a:pt x="11" y="51"/>
                        <a:pt x="11" y="51"/>
                      </a:cubicBezTo>
                      <a:cubicBezTo>
                        <a:pt x="11" y="52"/>
                        <a:pt x="10" y="53"/>
                        <a:pt x="10" y="53"/>
                      </a:cubicBezTo>
                      <a:cubicBezTo>
                        <a:pt x="10" y="53"/>
                        <a:pt x="10" y="54"/>
                        <a:pt x="10" y="54"/>
                      </a:cubicBezTo>
                      <a:cubicBezTo>
                        <a:pt x="10" y="55"/>
                        <a:pt x="10" y="55"/>
                        <a:pt x="10" y="55"/>
                      </a:cubicBezTo>
                      <a:cubicBezTo>
                        <a:pt x="11" y="56"/>
                        <a:pt x="11" y="56"/>
                        <a:pt x="11" y="56"/>
                      </a:cubicBezTo>
                      <a:cubicBezTo>
                        <a:pt x="11" y="56"/>
                        <a:pt x="11" y="56"/>
                        <a:pt x="11" y="56"/>
                      </a:cubicBezTo>
                      <a:cubicBezTo>
                        <a:pt x="10" y="56"/>
                        <a:pt x="11" y="57"/>
                        <a:pt x="11" y="57"/>
                      </a:cubicBezTo>
                      <a:cubicBezTo>
                        <a:pt x="11" y="57"/>
                        <a:pt x="10" y="58"/>
                        <a:pt x="11" y="58"/>
                      </a:cubicBezTo>
                      <a:cubicBezTo>
                        <a:pt x="11" y="59"/>
                        <a:pt x="11" y="59"/>
                        <a:pt x="11" y="59"/>
                      </a:cubicBezTo>
                      <a:cubicBezTo>
                        <a:pt x="12" y="59"/>
                        <a:pt x="12" y="60"/>
                        <a:pt x="12" y="60"/>
                      </a:cubicBezTo>
                      <a:cubicBezTo>
                        <a:pt x="12" y="60"/>
                        <a:pt x="13" y="60"/>
                        <a:pt x="14" y="60"/>
                      </a:cubicBezTo>
                      <a:cubicBezTo>
                        <a:pt x="15" y="60"/>
                        <a:pt x="16" y="59"/>
                        <a:pt x="16" y="59"/>
                      </a:cubicBezTo>
                      <a:cubicBezTo>
                        <a:pt x="16" y="59"/>
                        <a:pt x="16" y="59"/>
                        <a:pt x="16" y="58"/>
                      </a:cubicBezTo>
                      <a:cubicBezTo>
                        <a:pt x="16" y="58"/>
                        <a:pt x="14" y="58"/>
                        <a:pt x="14" y="57"/>
                      </a:cubicBezTo>
                      <a:cubicBezTo>
                        <a:pt x="14" y="57"/>
                        <a:pt x="14" y="56"/>
                        <a:pt x="14" y="56"/>
                      </a:cubicBezTo>
                      <a:cubicBezTo>
                        <a:pt x="14" y="56"/>
                        <a:pt x="14" y="56"/>
                        <a:pt x="14" y="56"/>
                      </a:cubicBezTo>
                      <a:cubicBezTo>
                        <a:pt x="14" y="56"/>
                        <a:pt x="14" y="56"/>
                        <a:pt x="14" y="56"/>
                      </a:cubicBezTo>
                      <a:cubicBezTo>
                        <a:pt x="14" y="56"/>
                        <a:pt x="14" y="55"/>
                        <a:pt x="14" y="55"/>
                      </a:cubicBezTo>
                      <a:cubicBezTo>
                        <a:pt x="14" y="55"/>
                        <a:pt x="15" y="55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5" y="53"/>
                        <a:pt x="15" y="52"/>
                        <a:pt x="15" y="52"/>
                      </a:cubicBezTo>
                      <a:cubicBezTo>
                        <a:pt x="15" y="52"/>
                        <a:pt x="15" y="51"/>
                        <a:pt x="15" y="51"/>
                      </a:cubicBezTo>
                      <a:cubicBezTo>
                        <a:pt x="15" y="51"/>
                        <a:pt x="15" y="51"/>
                        <a:pt x="15" y="51"/>
                      </a:cubicBezTo>
                      <a:cubicBezTo>
                        <a:pt x="15" y="51"/>
                        <a:pt x="15" y="48"/>
                        <a:pt x="15" y="48"/>
                      </a:cubicBezTo>
                      <a:cubicBezTo>
                        <a:pt x="15" y="47"/>
                        <a:pt x="15" y="47"/>
                        <a:pt x="15" y="46"/>
                      </a:cubicBezTo>
                      <a:cubicBezTo>
                        <a:pt x="15" y="46"/>
                        <a:pt x="15" y="45"/>
                        <a:pt x="15" y="45"/>
                      </a:cubicBezTo>
                      <a:cubicBezTo>
                        <a:pt x="15" y="45"/>
                        <a:pt x="15" y="45"/>
                        <a:pt x="15" y="45"/>
                      </a:cubicBezTo>
                      <a:cubicBezTo>
                        <a:pt x="15" y="45"/>
                        <a:pt x="16" y="44"/>
                        <a:pt x="15" y="43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5" y="42"/>
                        <a:pt x="15" y="41"/>
                        <a:pt x="15" y="41"/>
                      </a:cubicBezTo>
                      <a:cubicBezTo>
                        <a:pt x="15" y="40"/>
                        <a:pt x="15" y="39"/>
                        <a:pt x="15" y="38"/>
                      </a:cubicBezTo>
                      <a:cubicBezTo>
                        <a:pt x="15" y="37"/>
                        <a:pt x="15" y="34"/>
                        <a:pt x="15" y="34"/>
                      </a:cubicBezTo>
                      <a:cubicBezTo>
                        <a:pt x="16" y="33"/>
                        <a:pt x="16" y="33"/>
                        <a:pt x="16" y="33"/>
                      </a:cubicBezTo>
                      <a:cubicBezTo>
                        <a:pt x="16" y="32"/>
                        <a:pt x="16" y="31"/>
                        <a:pt x="16" y="31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6" y="30"/>
                        <a:pt x="17" y="29"/>
                        <a:pt x="17" y="29"/>
                      </a:cubicBezTo>
                      <a:cubicBezTo>
                        <a:pt x="17" y="29"/>
                        <a:pt x="18" y="27"/>
                        <a:pt x="18" y="27"/>
                      </a:cubicBezTo>
                      <a:cubicBezTo>
                        <a:pt x="18" y="27"/>
                        <a:pt x="18" y="26"/>
                        <a:pt x="18" y="26"/>
                      </a:cubicBezTo>
                      <a:cubicBezTo>
                        <a:pt x="18" y="25"/>
                        <a:pt x="18" y="25"/>
                        <a:pt x="18" y="25"/>
                      </a:cubicBezTo>
                      <a:cubicBezTo>
                        <a:pt x="18" y="25"/>
                        <a:pt x="18" y="24"/>
                        <a:pt x="18" y="24"/>
                      </a:cubicBezTo>
                      <a:cubicBezTo>
                        <a:pt x="19" y="23"/>
                        <a:pt x="19" y="23"/>
                        <a:pt x="19" y="22"/>
                      </a:cubicBezTo>
                      <a:cubicBezTo>
                        <a:pt x="19" y="22"/>
                        <a:pt x="19" y="20"/>
                        <a:pt x="19" y="2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48" name="Oval 681">
                  <a:extLst>
                    <a:ext uri="{FF2B5EF4-FFF2-40B4-BE49-F238E27FC236}">
                      <a16:creationId xmlns:a16="http://schemas.microsoft.com/office/drawing/2014/main" id="{7A0A9A4D-17F1-CDEB-68DA-DD3D8D18959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211888" y="3687763"/>
                  <a:ext cx="107950" cy="107950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49" name="Freeform 682">
                  <a:extLst>
                    <a:ext uri="{FF2B5EF4-FFF2-40B4-BE49-F238E27FC236}">
                      <a16:creationId xmlns:a16="http://schemas.microsoft.com/office/drawing/2014/main" id="{F0995CE3-8FB6-AA00-7D7D-CE436D7126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53163" y="3702050"/>
                  <a:ext cx="25400" cy="82550"/>
                </a:xfrm>
                <a:custGeom>
                  <a:avLst/>
                  <a:gdLst>
                    <a:gd name="T0" fmla="*/ 19 w 19"/>
                    <a:gd name="T1" fmla="*/ 18 h 60"/>
                    <a:gd name="T2" fmla="*/ 17 w 19"/>
                    <a:gd name="T3" fmla="*/ 10 h 60"/>
                    <a:gd name="T4" fmla="*/ 12 w 19"/>
                    <a:gd name="T5" fmla="*/ 8 h 60"/>
                    <a:gd name="T6" fmla="*/ 11 w 19"/>
                    <a:gd name="T7" fmla="*/ 7 h 60"/>
                    <a:gd name="T8" fmla="*/ 12 w 19"/>
                    <a:gd name="T9" fmla="*/ 5 h 60"/>
                    <a:gd name="T10" fmla="*/ 12 w 19"/>
                    <a:gd name="T11" fmla="*/ 2 h 60"/>
                    <a:gd name="T12" fmla="*/ 6 w 19"/>
                    <a:gd name="T13" fmla="*/ 3 h 60"/>
                    <a:gd name="T14" fmla="*/ 6 w 19"/>
                    <a:gd name="T15" fmla="*/ 5 h 60"/>
                    <a:gd name="T16" fmla="*/ 7 w 19"/>
                    <a:gd name="T17" fmla="*/ 8 h 60"/>
                    <a:gd name="T18" fmla="*/ 3 w 19"/>
                    <a:gd name="T19" fmla="*/ 10 h 60"/>
                    <a:gd name="T20" fmla="*/ 1 w 19"/>
                    <a:gd name="T21" fmla="*/ 17 h 60"/>
                    <a:gd name="T22" fmla="*/ 0 w 19"/>
                    <a:gd name="T23" fmla="*/ 22 h 60"/>
                    <a:gd name="T24" fmla="*/ 1 w 19"/>
                    <a:gd name="T25" fmla="*/ 26 h 60"/>
                    <a:gd name="T26" fmla="*/ 1 w 19"/>
                    <a:gd name="T27" fmla="*/ 28 h 60"/>
                    <a:gd name="T28" fmla="*/ 3 w 19"/>
                    <a:gd name="T29" fmla="*/ 30 h 60"/>
                    <a:gd name="T30" fmla="*/ 4 w 19"/>
                    <a:gd name="T31" fmla="*/ 40 h 60"/>
                    <a:gd name="T32" fmla="*/ 4 w 19"/>
                    <a:gd name="T33" fmla="*/ 44 h 60"/>
                    <a:gd name="T34" fmla="*/ 4 w 19"/>
                    <a:gd name="T35" fmla="*/ 47 h 60"/>
                    <a:gd name="T36" fmla="*/ 5 w 19"/>
                    <a:gd name="T37" fmla="*/ 52 h 60"/>
                    <a:gd name="T38" fmla="*/ 4 w 19"/>
                    <a:gd name="T39" fmla="*/ 54 h 60"/>
                    <a:gd name="T40" fmla="*/ 5 w 19"/>
                    <a:gd name="T41" fmla="*/ 56 h 60"/>
                    <a:gd name="T42" fmla="*/ 6 w 19"/>
                    <a:gd name="T43" fmla="*/ 57 h 60"/>
                    <a:gd name="T44" fmla="*/ 4 w 19"/>
                    <a:gd name="T45" fmla="*/ 59 h 60"/>
                    <a:gd name="T46" fmla="*/ 9 w 19"/>
                    <a:gd name="T47" fmla="*/ 59 h 60"/>
                    <a:gd name="T48" fmla="*/ 9 w 19"/>
                    <a:gd name="T49" fmla="*/ 55 h 60"/>
                    <a:gd name="T50" fmla="*/ 9 w 19"/>
                    <a:gd name="T51" fmla="*/ 48 h 60"/>
                    <a:gd name="T52" fmla="*/ 9 w 19"/>
                    <a:gd name="T53" fmla="*/ 45 h 60"/>
                    <a:gd name="T54" fmla="*/ 7 w 19"/>
                    <a:gd name="T55" fmla="*/ 43 h 60"/>
                    <a:gd name="T56" fmla="*/ 9 w 19"/>
                    <a:gd name="T57" fmla="*/ 36 h 60"/>
                    <a:gd name="T58" fmla="*/ 10 w 19"/>
                    <a:gd name="T59" fmla="*/ 38 h 60"/>
                    <a:gd name="T60" fmla="*/ 11 w 19"/>
                    <a:gd name="T61" fmla="*/ 43 h 60"/>
                    <a:gd name="T62" fmla="*/ 11 w 19"/>
                    <a:gd name="T63" fmla="*/ 45 h 60"/>
                    <a:gd name="T64" fmla="*/ 10 w 19"/>
                    <a:gd name="T65" fmla="*/ 53 h 60"/>
                    <a:gd name="T66" fmla="*/ 11 w 19"/>
                    <a:gd name="T67" fmla="*/ 57 h 60"/>
                    <a:gd name="T68" fmla="*/ 11 w 19"/>
                    <a:gd name="T69" fmla="*/ 59 h 60"/>
                    <a:gd name="T70" fmla="*/ 14 w 19"/>
                    <a:gd name="T71" fmla="*/ 60 h 60"/>
                    <a:gd name="T72" fmla="*/ 14 w 19"/>
                    <a:gd name="T73" fmla="*/ 57 h 60"/>
                    <a:gd name="T74" fmla="*/ 14 w 19"/>
                    <a:gd name="T75" fmla="*/ 57 h 60"/>
                    <a:gd name="T76" fmla="*/ 15 w 19"/>
                    <a:gd name="T77" fmla="*/ 54 h 60"/>
                    <a:gd name="T78" fmla="*/ 15 w 19"/>
                    <a:gd name="T79" fmla="*/ 51 h 60"/>
                    <a:gd name="T80" fmla="*/ 15 w 19"/>
                    <a:gd name="T81" fmla="*/ 46 h 60"/>
                    <a:gd name="T82" fmla="*/ 15 w 19"/>
                    <a:gd name="T83" fmla="*/ 44 h 60"/>
                    <a:gd name="T84" fmla="*/ 15 w 19"/>
                    <a:gd name="T85" fmla="*/ 43 h 60"/>
                    <a:gd name="T86" fmla="*/ 15 w 19"/>
                    <a:gd name="T87" fmla="*/ 34 h 60"/>
                    <a:gd name="T88" fmla="*/ 16 w 19"/>
                    <a:gd name="T89" fmla="*/ 30 h 60"/>
                    <a:gd name="T90" fmla="*/ 18 w 19"/>
                    <a:gd name="T91" fmla="*/ 27 h 60"/>
                    <a:gd name="T92" fmla="*/ 19 w 19"/>
                    <a:gd name="T93" fmla="*/ 23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9" h="60">
                      <a:moveTo>
                        <a:pt x="19" y="21"/>
                      </a:moveTo>
                      <a:cubicBezTo>
                        <a:pt x="19" y="20"/>
                        <a:pt x="19" y="20"/>
                        <a:pt x="19" y="20"/>
                      </a:cubicBezTo>
                      <a:cubicBezTo>
                        <a:pt x="19" y="20"/>
                        <a:pt x="19" y="18"/>
                        <a:pt x="19" y="18"/>
                      </a:cubicBezTo>
                      <a:cubicBezTo>
                        <a:pt x="19" y="17"/>
                        <a:pt x="18" y="16"/>
                        <a:pt x="18" y="15"/>
                      </a:cubicBezTo>
                      <a:cubicBezTo>
                        <a:pt x="18" y="14"/>
                        <a:pt x="18" y="13"/>
                        <a:pt x="18" y="12"/>
                      </a:cubicBezTo>
                      <a:cubicBezTo>
                        <a:pt x="18" y="11"/>
                        <a:pt x="17" y="10"/>
                        <a:pt x="17" y="10"/>
                      </a:cubicBezTo>
                      <a:cubicBezTo>
                        <a:pt x="17" y="10"/>
                        <a:pt x="15" y="9"/>
                        <a:pt x="15" y="9"/>
                      </a:cubicBezTo>
                      <a:cubicBezTo>
                        <a:pt x="14" y="9"/>
                        <a:pt x="13" y="9"/>
                        <a:pt x="13" y="9"/>
                      </a:cubicBezTo>
                      <a:cubicBezTo>
                        <a:pt x="12" y="9"/>
                        <a:pt x="12" y="9"/>
                        <a:pt x="12" y="8"/>
                      </a:cubicBezTo>
                      <a:cubicBezTo>
                        <a:pt x="12" y="8"/>
                        <a:pt x="11" y="8"/>
                        <a:pt x="11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1" y="8"/>
                        <a:pt x="11" y="7"/>
                        <a:pt x="11" y="7"/>
                      </a:cubicBezTo>
                      <a:cubicBezTo>
                        <a:pt x="11" y="7"/>
                        <a:pt x="12" y="6"/>
                        <a:pt x="12" y="6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2" y="5"/>
                        <a:pt x="12" y="4"/>
                        <a:pt x="12" y="4"/>
                      </a:cubicBezTo>
                      <a:cubicBezTo>
                        <a:pt x="12" y="3"/>
                        <a:pt x="12" y="3"/>
                        <a:pt x="12" y="3"/>
                      </a:cubicBezTo>
                      <a:cubicBezTo>
                        <a:pt x="12" y="3"/>
                        <a:pt x="12" y="3"/>
                        <a:pt x="12" y="2"/>
                      </a:cubicBezTo>
                      <a:cubicBezTo>
                        <a:pt x="11" y="1"/>
                        <a:pt x="10" y="0"/>
                        <a:pt x="9" y="0"/>
                      </a:cubicBezTo>
                      <a:cubicBezTo>
                        <a:pt x="7" y="0"/>
                        <a:pt x="6" y="2"/>
                        <a:pt x="6" y="3"/>
                      </a:cubicBezTo>
                      <a:cubicBezTo>
                        <a:pt x="6" y="3"/>
                        <a:pt x="6" y="3"/>
                        <a:pt x="6" y="3"/>
                      </a:cubicBezTo>
                      <a:cubicBezTo>
                        <a:pt x="6" y="3"/>
                        <a:pt x="6" y="3"/>
                        <a:pt x="6" y="4"/>
                      </a:cubicBezTo>
                      <a:cubicBezTo>
                        <a:pt x="6" y="4"/>
                        <a:pt x="6" y="4"/>
                        <a:pt x="6" y="5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6" y="5"/>
                        <a:pt x="6" y="6"/>
                        <a:pt x="6" y="6"/>
                      </a:cubicBezTo>
                      <a:cubicBezTo>
                        <a:pt x="6" y="6"/>
                        <a:pt x="7" y="7"/>
                        <a:pt x="7" y="7"/>
                      </a:cubicBezTo>
                      <a:cubicBezTo>
                        <a:pt x="7" y="8"/>
                        <a:pt x="7" y="8"/>
                        <a:pt x="7" y="8"/>
                      </a:cubicBezTo>
                      <a:cubicBezTo>
                        <a:pt x="7" y="8"/>
                        <a:pt x="7" y="8"/>
                        <a:pt x="7" y="8"/>
                      </a:cubicBezTo>
                      <a:cubicBezTo>
                        <a:pt x="7" y="8"/>
                        <a:pt x="7" y="9"/>
                        <a:pt x="6" y="9"/>
                      </a:cubicBezTo>
                      <a:cubicBezTo>
                        <a:pt x="6" y="9"/>
                        <a:pt x="4" y="9"/>
                        <a:pt x="3" y="10"/>
                      </a:cubicBezTo>
                      <a:cubicBezTo>
                        <a:pt x="2" y="11"/>
                        <a:pt x="2" y="11"/>
                        <a:pt x="2" y="11"/>
                      </a:cubicBezTo>
                      <a:cubicBezTo>
                        <a:pt x="2" y="11"/>
                        <a:pt x="1" y="14"/>
                        <a:pt x="1" y="15"/>
                      </a:cubicBezTo>
                      <a:cubicBezTo>
                        <a:pt x="1" y="16"/>
                        <a:pt x="1" y="16"/>
                        <a:pt x="1" y="17"/>
                      </a:cubicBezTo>
                      <a:cubicBezTo>
                        <a:pt x="0" y="18"/>
                        <a:pt x="1" y="18"/>
                        <a:pt x="0" y="18"/>
                      </a:cubicBezTo>
                      <a:cubicBezTo>
                        <a:pt x="0" y="19"/>
                        <a:pt x="0" y="20"/>
                        <a:pt x="0" y="20"/>
                      </a:cubicBezTo>
                      <a:cubicBezTo>
                        <a:pt x="0" y="21"/>
                        <a:pt x="0" y="21"/>
                        <a:pt x="0" y="22"/>
                      </a:cubicBezTo>
                      <a:cubicBezTo>
                        <a:pt x="0" y="22"/>
                        <a:pt x="0" y="23"/>
                        <a:pt x="0" y="24"/>
                      </a:cubicBezTo>
                      <a:cubicBezTo>
                        <a:pt x="0" y="24"/>
                        <a:pt x="1" y="25"/>
                        <a:pt x="0" y="25"/>
                      </a:cubicBezTo>
                      <a:cubicBezTo>
                        <a:pt x="0" y="26"/>
                        <a:pt x="1" y="26"/>
                        <a:pt x="1" y="26"/>
                      </a:cubicBezTo>
                      <a:cubicBezTo>
                        <a:pt x="1" y="26"/>
                        <a:pt x="1" y="26"/>
                        <a:pt x="1" y="27"/>
                      </a:cubicBezTo>
                      <a:cubicBezTo>
                        <a:pt x="1" y="27"/>
                        <a:pt x="1" y="28"/>
                        <a:pt x="1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1" y="29"/>
                        <a:pt x="2" y="29"/>
                        <a:pt x="2" y="29"/>
                      </a:cubicBezTo>
                      <a:cubicBezTo>
                        <a:pt x="2" y="30"/>
                        <a:pt x="3" y="31"/>
                        <a:pt x="3" y="31"/>
                      </a:cubicBezTo>
                      <a:cubicBezTo>
                        <a:pt x="3" y="30"/>
                        <a:pt x="3" y="30"/>
                        <a:pt x="3" y="30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3" y="31"/>
                        <a:pt x="3" y="32"/>
                        <a:pt x="3" y="35"/>
                      </a:cubicBezTo>
                      <a:cubicBezTo>
                        <a:pt x="4" y="37"/>
                        <a:pt x="4" y="39"/>
                        <a:pt x="4" y="40"/>
                      </a:cubicBezTo>
                      <a:cubicBezTo>
                        <a:pt x="4" y="41"/>
                        <a:pt x="4" y="41"/>
                        <a:pt x="4" y="42"/>
                      </a:cubicBezTo>
                      <a:cubicBezTo>
                        <a:pt x="4" y="42"/>
                        <a:pt x="4" y="43"/>
                        <a:pt x="4" y="44"/>
                      </a:cubicBezTo>
                      <a:cubicBezTo>
                        <a:pt x="4" y="44"/>
                        <a:pt x="4" y="44"/>
                        <a:pt x="4" y="44"/>
                      </a:cubicBez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6"/>
                        <a:pt x="4" y="46"/>
                        <a:pt x="4" y="46"/>
                      </a:cubicBezTo>
                      <a:cubicBezTo>
                        <a:pt x="4" y="46"/>
                        <a:pt x="4" y="46"/>
                        <a:pt x="4" y="47"/>
                      </a:cubicBezTo>
                      <a:cubicBezTo>
                        <a:pt x="4" y="47"/>
                        <a:pt x="4" y="47"/>
                        <a:pt x="4" y="48"/>
                      </a:cubicBezTo>
                      <a:cubicBezTo>
                        <a:pt x="4" y="49"/>
                        <a:pt x="4" y="49"/>
                        <a:pt x="4" y="50"/>
                      </a:cubicBezTo>
                      <a:cubicBezTo>
                        <a:pt x="5" y="51"/>
                        <a:pt x="5" y="51"/>
                        <a:pt x="5" y="52"/>
                      </a:cubicBezTo>
                      <a:cubicBezTo>
                        <a:pt x="5" y="52"/>
                        <a:pt x="5" y="52"/>
                        <a:pt x="5" y="52"/>
                      </a:cubicBezTo>
                      <a:cubicBezTo>
                        <a:pt x="5" y="53"/>
                        <a:pt x="5" y="53"/>
                        <a:pt x="5" y="53"/>
                      </a:cubicBezTo>
                      <a:cubicBezTo>
                        <a:pt x="5" y="54"/>
                        <a:pt x="4" y="54"/>
                        <a:pt x="4" y="54"/>
                      </a:cubicBezTo>
                      <a:cubicBezTo>
                        <a:pt x="4" y="54"/>
                        <a:pt x="4" y="54"/>
                        <a:pt x="4" y="54"/>
                      </a:cubicBezTo>
                      <a:cubicBezTo>
                        <a:pt x="4" y="55"/>
                        <a:pt x="4" y="55"/>
                        <a:pt x="4" y="55"/>
                      </a:cubicBezTo>
                      <a:cubicBezTo>
                        <a:pt x="5" y="55"/>
                        <a:pt x="5" y="56"/>
                        <a:pt x="5" y="56"/>
                      </a:cubicBezTo>
                      <a:cubicBezTo>
                        <a:pt x="5" y="56"/>
                        <a:pt x="5" y="57"/>
                        <a:pt x="5" y="57"/>
                      </a:cubicBezTo>
                      <a:cubicBezTo>
                        <a:pt x="5" y="57"/>
                        <a:pt x="5" y="57"/>
                        <a:pt x="5" y="57"/>
                      </a:cubicBezTo>
                      <a:cubicBezTo>
                        <a:pt x="5" y="57"/>
                        <a:pt x="6" y="57"/>
                        <a:pt x="6" y="57"/>
                      </a:cubicBezTo>
                      <a:cubicBezTo>
                        <a:pt x="6" y="57"/>
                        <a:pt x="6" y="57"/>
                        <a:pt x="5" y="58"/>
                      </a:cubicBezTo>
                      <a:cubicBezTo>
                        <a:pt x="5" y="58"/>
                        <a:pt x="4" y="58"/>
                        <a:pt x="4" y="58"/>
                      </a:cubicBezTo>
                      <a:cubicBezTo>
                        <a:pt x="4" y="59"/>
                        <a:pt x="4" y="59"/>
                        <a:pt x="4" y="59"/>
                      </a:cubicBezTo>
                      <a:cubicBezTo>
                        <a:pt x="4" y="59"/>
                        <a:pt x="4" y="59"/>
                        <a:pt x="4" y="59"/>
                      </a:cubicBezTo>
                      <a:cubicBezTo>
                        <a:pt x="5" y="59"/>
                        <a:pt x="8" y="59"/>
                        <a:pt x="8" y="59"/>
                      </a:cubicBezTo>
                      <a:cubicBezTo>
                        <a:pt x="8" y="59"/>
                        <a:pt x="9" y="59"/>
                        <a:pt x="9" y="59"/>
                      </a:cubicBezTo>
                      <a:cubicBezTo>
                        <a:pt x="9" y="59"/>
                        <a:pt x="9" y="57"/>
                        <a:pt x="9" y="57"/>
                      </a:cubicBezTo>
                      <a:cubicBezTo>
                        <a:pt x="9" y="57"/>
                        <a:pt x="9" y="57"/>
                        <a:pt x="9" y="57"/>
                      </a:cubicBezTo>
                      <a:cubicBezTo>
                        <a:pt x="9" y="57"/>
                        <a:pt x="9" y="55"/>
                        <a:pt x="9" y="55"/>
                      </a:cubicBezTo>
                      <a:cubicBezTo>
                        <a:pt x="9" y="55"/>
                        <a:pt x="9" y="54"/>
                        <a:pt x="9" y="54"/>
                      </a:cubicBezTo>
                      <a:cubicBezTo>
                        <a:pt x="9" y="54"/>
                        <a:pt x="9" y="54"/>
                        <a:pt x="9" y="53"/>
                      </a:cubicBezTo>
                      <a:cubicBezTo>
                        <a:pt x="9" y="53"/>
                        <a:pt x="9" y="49"/>
                        <a:pt x="9" y="48"/>
                      </a:cubicBezTo>
                      <a:cubicBezTo>
                        <a:pt x="9" y="48"/>
                        <a:pt x="9" y="46"/>
                        <a:pt x="9" y="46"/>
                      </a:cubicBezTo>
                      <a:cubicBezTo>
                        <a:pt x="9" y="46"/>
                        <a:pt x="9" y="45"/>
                        <a:pt x="9" y="45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4"/>
                        <a:pt x="8" y="44"/>
                        <a:pt x="8" y="44"/>
                      </a:cubicBezTo>
                      <a:cubicBezTo>
                        <a:pt x="8" y="44"/>
                        <a:pt x="7" y="44"/>
                        <a:pt x="7" y="44"/>
                      </a:cubicBezTo>
                      <a:cubicBezTo>
                        <a:pt x="7" y="43"/>
                        <a:pt x="7" y="43"/>
                        <a:pt x="7" y="43"/>
                      </a:cubicBezTo>
                      <a:cubicBezTo>
                        <a:pt x="7" y="43"/>
                        <a:pt x="8" y="41"/>
                        <a:pt x="8" y="40"/>
                      </a:cubicBezTo>
                      <a:cubicBezTo>
                        <a:pt x="8" y="39"/>
                        <a:pt x="9" y="36"/>
                        <a:pt x="9" y="36"/>
                      </a:cubicBezTo>
                      <a:cubicBezTo>
                        <a:pt x="9" y="36"/>
                        <a:pt x="9" y="36"/>
                        <a:pt x="9" y="36"/>
                      </a:cubicBezTo>
                      <a:cubicBezTo>
                        <a:pt x="9" y="36"/>
                        <a:pt x="10" y="36"/>
                        <a:pt x="10" y="36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0" y="36"/>
                        <a:pt x="10" y="37"/>
                        <a:pt x="10" y="38"/>
                      </a:cubicBezTo>
                      <a:cubicBezTo>
                        <a:pt x="10" y="38"/>
                        <a:pt x="10" y="39"/>
                        <a:pt x="10" y="40"/>
                      </a:cubicBezTo>
                      <a:cubicBezTo>
                        <a:pt x="10" y="40"/>
                        <a:pt x="10" y="42"/>
                        <a:pt x="11" y="42"/>
                      </a:cubicBezTo>
                      <a:cubicBezTo>
                        <a:pt x="11" y="42"/>
                        <a:pt x="11" y="43"/>
                        <a:pt x="11" y="43"/>
                      </a:cubicBezTo>
                      <a:cubicBezTo>
                        <a:pt x="11" y="43"/>
                        <a:pt x="11" y="44"/>
                        <a:pt x="11" y="44"/>
                      </a:cubicBezTo>
                      <a:cubicBezTo>
                        <a:pt x="11" y="44"/>
                        <a:pt x="11" y="44"/>
                        <a:pt x="11" y="44"/>
                      </a:cubicBezTo>
                      <a:cubicBezTo>
                        <a:pt x="11" y="44"/>
                        <a:pt x="11" y="45"/>
                        <a:pt x="11" y="45"/>
                      </a:cubicBezTo>
                      <a:cubicBezTo>
                        <a:pt x="11" y="46"/>
                        <a:pt x="11" y="47"/>
                        <a:pt x="11" y="48"/>
                      </a:cubicBezTo>
                      <a:cubicBezTo>
                        <a:pt x="11" y="48"/>
                        <a:pt x="11" y="51"/>
                        <a:pt x="11" y="52"/>
                      </a:cubicBezTo>
                      <a:cubicBezTo>
                        <a:pt x="10" y="53"/>
                        <a:pt x="10" y="53"/>
                        <a:pt x="10" y="53"/>
                      </a:cubicBezTo>
                      <a:cubicBezTo>
                        <a:pt x="10" y="54"/>
                        <a:pt x="10" y="55"/>
                        <a:pt x="10" y="55"/>
                      </a:cubicBezTo>
                      <a:cubicBezTo>
                        <a:pt x="10" y="55"/>
                        <a:pt x="10" y="56"/>
                        <a:pt x="10" y="56"/>
                      </a:cubicBezTo>
                      <a:cubicBezTo>
                        <a:pt x="11" y="56"/>
                        <a:pt x="11" y="56"/>
                        <a:pt x="11" y="57"/>
                      </a:cubicBezTo>
                      <a:cubicBezTo>
                        <a:pt x="11" y="57"/>
                        <a:pt x="11" y="57"/>
                        <a:pt x="11" y="57"/>
                      </a:cubicBezTo>
                      <a:cubicBezTo>
                        <a:pt x="10" y="57"/>
                        <a:pt x="11" y="57"/>
                        <a:pt x="11" y="57"/>
                      </a:cubicBezTo>
                      <a:cubicBezTo>
                        <a:pt x="11" y="57"/>
                        <a:pt x="10" y="59"/>
                        <a:pt x="11" y="59"/>
                      </a:cubicBezTo>
                      <a:cubicBezTo>
                        <a:pt x="11" y="59"/>
                        <a:pt x="11" y="60"/>
                        <a:pt x="11" y="6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60"/>
                        <a:pt x="13" y="60"/>
                        <a:pt x="14" y="60"/>
                      </a:cubicBezTo>
                      <a:cubicBezTo>
                        <a:pt x="15" y="60"/>
                        <a:pt x="16" y="60"/>
                        <a:pt x="16" y="59"/>
                      </a:cubicBezTo>
                      <a:cubicBezTo>
                        <a:pt x="16" y="59"/>
                        <a:pt x="16" y="59"/>
                        <a:pt x="16" y="59"/>
                      </a:cubicBezTo>
                      <a:cubicBezTo>
                        <a:pt x="16" y="58"/>
                        <a:pt x="14" y="58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4" y="56"/>
                        <a:pt x="14" y="56"/>
                      </a:cubicBezTo>
                      <a:cubicBezTo>
                        <a:pt x="14" y="56"/>
                        <a:pt x="15" y="55"/>
                        <a:pt x="15" y="55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5" y="54"/>
                        <a:pt x="15" y="53"/>
                        <a:pt x="15" y="53"/>
                      </a:cubicBezTo>
                      <a:cubicBezTo>
                        <a:pt x="15" y="52"/>
                        <a:pt x="15" y="52"/>
                        <a:pt x="15" y="52"/>
                      </a:cubicBezTo>
                      <a:cubicBezTo>
                        <a:pt x="15" y="52"/>
                        <a:pt x="15" y="52"/>
                        <a:pt x="15" y="51"/>
                      </a:cubicBezTo>
                      <a:cubicBezTo>
                        <a:pt x="15" y="51"/>
                        <a:pt x="15" y="49"/>
                        <a:pt x="15" y="48"/>
                      </a:cubicBezTo>
                      <a:cubicBezTo>
                        <a:pt x="15" y="48"/>
                        <a:pt x="15" y="47"/>
                        <a:pt x="15" y="47"/>
                      </a:cubicBezTo>
                      <a:cubicBezTo>
                        <a:pt x="15" y="46"/>
                        <a:pt x="15" y="46"/>
                        <a:pt x="15" y="46"/>
                      </a:cubicBezTo>
                      <a:cubicBezTo>
                        <a:pt x="15" y="46"/>
                        <a:pt x="15" y="45"/>
                        <a:pt x="15" y="45"/>
                      </a:cubicBezTo>
                      <a:cubicBezTo>
                        <a:pt x="15" y="45"/>
                        <a:pt x="16" y="45"/>
                        <a:pt x="15" y="44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5" y="44"/>
                        <a:pt x="15" y="43"/>
                        <a:pt x="15" y="43"/>
                      </a:cubicBezTo>
                      <a:cubicBezTo>
                        <a:pt x="15" y="43"/>
                        <a:pt x="15" y="42"/>
                        <a:pt x="15" y="41"/>
                      </a:cubicBezTo>
                      <a:cubicBezTo>
                        <a:pt x="15" y="41"/>
                        <a:pt x="15" y="40"/>
                        <a:pt x="15" y="39"/>
                      </a:cubicBezTo>
                      <a:cubicBezTo>
                        <a:pt x="15" y="38"/>
                        <a:pt x="15" y="35"/>
                        <a:pt x="15" y="34"/>
                      </a:cubicBezTo>
                      <a:cubicBezTo>
                        <a:pt x="16" y="34"/>
                        <a:pt x="16" y="34"/>
                        <a:pt x="16" y="33"/>
                      </a:cubicBezTo>
                      <a:cubicBezTo>
                        <a:pt x="16" y="33"/>
                        <a:pt x="16" y="32"/>
                        <a:pt x="16" y="31"/>
                      </a:cubicBezTo>
                      <a:cubicBezTo>
                        <a:pt x="16" y="31"/>
                        <a:pt x="16" y="30"/>
                        <a:pt x="16" y="30"/>
                      </a:cubicBezTo>
                      <a:cubicBezTo>
                        <a:pt x="16" y="30"/>
                        <a:pt x="17" y="30"/>
                        <a:pt x="17" y="29"/>
                      </a:cubicBezTo>
                      <a:cubicBezTo>
                        <a:pt x="17" y="29"/>
                        <a:pt x="18" y="28"/>
                        <a:pt x="18" y="28"/>
                      </a:cubicBezTo>
                      <a:cubicBezTo>
                        <a:pt x="18" y="28"/>
                        <a:pt x="18" y="27"/>
                        <a:pt x="18" y="27"/>
                      </a:cubicBezTo>
                      <a:cubicBezTo>
                        <a:pt x="18" y="26"/>
                        <a:pt x="18" y="26"/>
                        <a:pt x="18" y="26"/>
                      </a:cubicBezTo>
                      <a:cubicBezTo>
                        <a:pt x="18" y="25"/>
                        <a:pt x="18" y="25"/>
                        <a:pt x="18" y="24"/>
                      </a:cubicBezTo>
                      <a:cubicBezTo>
                        <a:pt x="19" y="24"/>
                        <a:pt x="19" y="23"/>
                        <a:pt x="19" y="23"/>
                      </a:cubicBezTo>
                      <a:cubicBezTo>
                        <a:pt x="19" y="22"/>
                        <a:pt x="19" y="21"/>
                        <a:pt x="19" y="2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50" name="Oval 685">
                  <a:extLst>
                    <a:ext uri="{FF2B5EF4-FFF2-40B4-BE49-F238E27FC236}">
                      <a16:creationId xmlns:a16="http://schemas.microsoft.com/office/drawing/2014/main" id="{DB0A131F-6775-3A4D-73D6-CBAF2B70D0E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34275" y="3144838"/>
                  <a:ext cx="107950" cy="107950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51" name="Freeform 686">
                  <a:extLst>
                    <a:ext uri="{FF2B5EF4-FFF2-40B4-BE49-F238E27FC236}">
                      <a16:creationId xmlns:a16="http://schemas.microsoft.com/office/drawing/2014/main" id="{E7C47650-DA42-B15E-1D7E-B182AFCF62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73963" y="3160713"/>
                  <a:ext cx="26987" cy="82550"/>
                </a:xfrm>
                <a:custGeom>
                  <a:avLst/>
                  <a:gdLst>
                    <a:gd name="T0" fmla="*/ 19 w 20"/>
                    <a:gd name="T1" fmla="*/ 18 h 61"/>
                    <a:gd name="T2" fmla="*/ 17 w 20"/>
                    <a:gd name="T3" fmla="*/ 10 h 61"/>
                    <a:gd name="T4" fmla="*/ 12 w 20"/>
                    <a:gd name="T5" fmla="*/ 8 h 61"/>
                    <a:gd name="T6" fmla="*/ 12 w 20"/>
                    <a:gd name="T7" fmla="*/ 7 h 61"/>
                    <a:gd name="T8" fmla="*/ 12 w 20"/>
                    <a:gd name="T9" fmla="*/ 5 h 61"/>
                    <a:gd name="T10" fmla="*/ 12 w 20"/>
                    <a:gd name="T11" fmla="*/ 2 h 61"/>
                    <a:gd name="T12" fmla="*/ 7 w 20"/>
                    <a:gd name="T13" fmla="*/ 3 h 61"/>
                    <a:gd name="T14" fmla="*/ 6 w 20"/>
                    <a:gd name="T15" fmla="*/ 5 h 61"/>
                    <a:gd name="T16" fmla="*/ 7 w 20"/>
                    <a:gd name="T17" fmla="*/ 8 h 61"/>
                    <a:gd name="T18" fmla="*/ 4 w 20"/>
                    <a:gd name="T19" fmla="*/ 10 h 61"/>
                    <a:gd name="T20" fmla="*/ 1 w 20"/>
                    <a:gd name="T21" fmla="*/ 17 h 61"/>
                    <a:gd name="T22" fmla="*/ 0 w 20"/>
                    <a:gd name="T23" fmla="*/ 22 h 61"/>
                    <a:gd name="T24" fmla="*/ 1 w 20"/>
                    <a:gd name="T25" fmla="*/ 26 h 61"/>
                    <a:gd name="T26" fmla="*/ 2 w 20"/>
                    <a:gd name="T27" fmla="*/ 28 h 61"/>
                    <a:gd name="T28" fmla="*/ 3 w 20"/>
                    <a:gd name="T29" fmla="*/ 30 h 61"/>
                    <a:gd name="T30" fmla="*/ 4 w 20"/>
                    <a:gd name="T31" fmla="*/ 40 h 61"/>
                    <a:gd name="T32" fmla="*/ 5 w 20"/>
                    <a:gd name="T33" fmla="*/ 44 h 61"/>
                    <a:gd name="T34" fmla="*/ 4 w 20"/>
                    <a:gd name="T35" fmla="*/ 47 h 61"/>
                    <a:gd name="T36" fmla="*/ 5 w 20"/>
                    <a:gd name="T37" fmla="*/ 52 h 61"/>
                    <a:gd name="T38" fmla="*/ 5 w 20"/>
                    <a:gd name="T39" fmla="*/ 54 h 61"/>
                    <a:gd name="T40" fmla="*/ 5 w 20"/>
                    <a:gd name="T41" fmla="*/ 56 h 61"/>
                    <a:gd name="T42" fmla="*/ 6 w 20"/>
                    <a:gd name="T43" fmla="*/ 57 h 61"/>
                    <a:gd name="T44" fmla="*/ 5 w 20"/>
                    <a:gd name="T45" fmla="*/ 59 h 61"/>
                    <a:gd name="T46" fmla="*/ 9 w 20"/>
                    <a:gd name="T47" fmla="*/ 59 h 61"/>
                    <a:gd name="T48" fmla="*/ 10 w 20"/>
                    <a:gd name="T49" fmla="*/ 55 h 61"/>
                    <a:gd name="T50" fmla="*/ 10 w 20"/>
                    <a:gd name="T51" fmla="*/ 48 h 61"/>
                    <a:gd name="T52" fmla="*/ 9 w 20"/>
                    <a:gd name="T53" fmla="*/ 44 h 61"/>
                    <a:gd name="T54" fmla="*/ 8 w 20"/>
                    <a:gd name="T55" fmla="*/ 43 h 61"/>
                    <a:gd name="T56" fmla="*/ 10 w 20"/>
                    <a:gd name="T57" fmla="*/ 36 h 61"/>
                    <a:gd name="T58" fmla="*/ 10 w 20"/>
                    <a:gd name="T59" fmla="*/ 38 h 61"/>
                    <a:gd name="T60" fmla="*/ 11 w 20"/>
                    <a:gd name="T61" fmla="*/ 43 h 61"/>
                    <a:gd name="T62" fmla="*/ 11 w 20"/>
                    <a:gd name="T63" fmla="*/ 45 h 61"/>
                    <a:gd name="T64" fmla="*/ 11 w 20"/>
                    <a:gd name="T65" fmla="*/ 53 h 61"/>
                    <a:gd name="T66" fmla="*/ 11 w 20"/>
                    <a:gd name="T67" fmla="*/ 57 h 61"/>
                    <a:gd name="T68" fmla="*/ 11 w 20"/>
                    <a:gd name="T69" fmla="*/ 59 h 61"/>
                    <a:gd name="T70" fmla="*/ 14 w 20"/>
                    <a:gd name="T71" fmla="*/ 61 h 61"/>
                    <a:gd name="T72" fmla="*/ 14 w 20"/>
                    <a:gd name="T73" fmla="*/ 57 h 61"/>
                    <a:gd name="T74" fmla="*/ 14 w 20"/>
                    <a:gd name="T75" fmla="*/ 57 h 61"/>
                    <a:gd name="T76" fmla="*/ 15 w 20"/>
                    <a:gd name="T77" fmla="*/ 54 h 61"/>
                    <a:gd name="T78" fmla="*/ 15 w 20"/>
                    <a:gd name="T79" fmla="*/ 51 h 61"/>
                    <a:gd name="T80" fmla="*/ 16 w 20"/>
                    <a:gd name="T81" fmla="*/ 46 h 61"/>
                    <a:gd name="T82" fmla="*/ 16 w 20"/>
                    <a:gd name="T83" fmla="*/ 44 h 61"/>
                    <a:gd name="T84" fmla="*/ 15 w 20"/>
                    <a:gd name="T85" fmla="*/ 43 h 61"/>
                    <a:gd name="T86" fmla="*/ 16 w 20"/>
                    <a:gd name="T87" fmla="*/ 34 h 61"/>
                    <a:gd name="T88" fmla="*/ 17 w 20"/>
                    <a:gd name="T89" fmla="*/ 30 h 61"/>
                    <a:gd name="T90" fmla="*/ 18 w 20"/>
                    <a:gd name="T91" fmla="*/ 27 h 61"/>
                    <a:gd name="T92" fmla="*/ 19 w 20"/>
                    <a:gd name="T93" fmla="*/ 23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20" h="61">
                      <a:moveTo>
                        <a:pt x="19" y="21"/>
                      </a:moveTo>
                      <a:cubicBezTo>
                        <a:pt x="19" y="20"/>
                        <a:pt x="19" y="20"/>
                        <a:pt x="19" y="20"/>
                      </a:cubicBezTo>
                      <a:cubicBezTo>
                        <a:pt x="19" y="20"/>
                        <a:pt x="19" y="18"/>
                        <a:pt x="19" y="18"/>
                      </a:cubicBezTo>
                      <a:cubicBezTo>
                        <a:pt x="19" y="17"/>
                        <a:pt x="19" y="16"/>
                        <a:pt x="19" y="15"/>
                      </a:cubicBezTo>
                      <a:cubicBezTo>
                        <a:pt x="18" y="14"/>
                        <a:pt x="18" y="13"/>
                        <a:pt x="18" y="12"/>
                      </a:cubicBezTo>
                      <a:cubicBezTo>
                        <a:pt x="18" y="11"/>
                        <a:pt x="18" y="10"/>
                        <a:pt x="17" y="10"/>
                      </a:cubicBezTo>
                      <a:cubicBezTo>
                        <a:pt x="17" y="10"/>
                        <a:pt x="16" y="9"/>
                        <a:pt x="15" y="9"/>
                      </a:cubicBezTo>
                      <a:cubicBezTo>
                        <a:pt x="15" y="9"/>
                        <a:pt x="13" y="9"/>
                        <a:pt x="13" y="9"/>
                      </a:cubicBezTo>
                      <a:cubicBezTo>
                        <a:pt x="13" y="9"/>
                        <a:pt x="12" y="9"/>
                        <a:pt x="12" y="8"/>
                      </a:cubicBezTo>
                      <a:cubicBezTo>
                        <a:pt x="12" y="8"/>
                        <a:pt x="12" y="8"/>
                        <a:pt x="12" y="8"/>
                      </a:cubicBezTo>
                      <a:cubicBezTo>
                        <a:pt x="12" y="8"/>
                        <a:pt x="12" y="8"/>
                        <a:pt x="12" y="8"/>
                      </a:cubicBezTo>
                      <a:cubicBezTo>
                        <a:pt x="12" y="8"/>
                        <a:pt x="12" y="7"/>
                        <a:pt x="12" y="7"/>
                      </a:cubicBezTo>
                      <a:cubicBezTo>
                        <a:pt x="12" y="7"/>
                        <a:pt x="12" y="6"/>
                        <a:pt x="12" y="6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2" y="5"/>
                        <a:pt x="13" y="4"/>
                        <a:pt x="13" y="4"/>
                      </a:cubicBezTo>
                      <a:cubicBezTo>
                        <a:pt x="12" y="3"/>
                        <a:pt x="12" y="3"/>
                        <a:pt x="12" y="3"/>
                      </a:cubicBezTo>
                      <a:cubicBezTo>
                        <a:pt x="12" y="3"/>
                        <a:pt x="12" y="3"/>
                        <a:pt x="12" y="2"/>
                      </a:cubicBezTo>
                      <a:cubicBezTo>
                        <a:pt x="12" y="1"/>
                        <a:pt x="11" y="0"/>
                        <a:pt x="9" y="0"/>
                      </a:cubicBezTo>
                      <a:cubicBezTo>
                        <a:pt x="8" y="0"/>
                        <a:pt x="7" y="2"/>
                        <a:pt x="7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7" y="3"/>
                        <a:pt x="6" y="3"/>
                        <a:pt x="6" y="4"/>
                      </a:cubicBezTo>
                      <a:cubicBezTo>
                        <a:pt x="6" y="4"/>
                        <a:pt x="6" y="4"/>
                        <a:pt x="6" y="5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6" y="5"/>
                        <a:pt x="7" y="6"/>
                        <a:pt x="7" y="6"/>
                      </a:cubicBezTo>
                      <a:cubicBezTo>
                        <a:pt x="7" y="6"/>
                        <a:pt x="7" y="7"/>
                        <a:pt x="8" y="7"/>
                      </a:cubicBezTo>
                      <a:cubicBezTo>
                        <a:pt x="7" y="8"/>
                        <a:pt x="7" y="8"/>
                        <a:pt x="7" y="8"/>
                      </a:cubicBezTo>
                      <a:cubicBezTo>
                        <a:pt x="7" y="8"/>
                        <a:pt x="7" y="8"/>
                        <a:pt x="7" y="8"/>
                      </a:cubicBezTo>
                      <a:cubicBezTo>
                        <a:pt x="7" y="8"/>
                        <a:pt x="7" y="9"/>
                        <a:pt x="7" y="9"/>
                      </a:cubicBezTo>
                      <a:cubicBezTo>
                        <a:pt x="6" y="9"/>
                        <a:pt x="5" y="9"/>
                        <a:pt x="4" y="10"/>
                      </a:cubicBezTo>
                      <a:cubicBezTo>
                        <a:pt x="3" y="10"/>
                        <a:pt x="2" y="11"/>
                        <a:pt x="2" y="11"/>
                      </a:cubicBezTo>
                      <a:cubicBezTo>
                        <a:pt x="2" y="11"/>
                        <a:pt x="1" y="14"/>
                        <a:pt x="1" y="15"/>
                      </a:cubicBezTo>
                      <a:cubicBezTo>
                        <a:pt x="1" y="16"/>
                        <a:pt x="1" y="16"/>
                        <a:pt x="1" y="17"/>
                      </a:cubicBezTo>
                      <a:cubicBezTo>
                        <a:pt x="1" y="18"/>
                        <a:pt x="1" y="18"/>
                        <a:pt x="1" y="18"/>
                      </a:cubicBezTo>
                      <a:cubicBezTo>
                        <a:pt x="1" y="19"/>
                        <a:pt x="0" y="20"/>
                        <a:pt x="1" y="20"/>
                      </a:cubicBezTo>
                      <a:cubicBezTo>
                        <a:pt x="1" y="21"/>
                        <a:pt x="0" y="21"/>
                        <a:pt x="0" y="22"/>
                      </a:cubicBezTo>
                      <a:cubicBezTo>
                        <a:pt x="0" y="22"/>
                        <a:pt x="0" y="23"/>
                        <a:pt x="1" y="24"/>
                      </a:cubicBezTo>
                      <a:cubicBezTo>
                        <a:pt x="1" y="24"/>
                        <a:pt x="1" y="25"/>
                        <a:pt x="1" y="25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2" y="26"/>
                        <a:pt x="2" y="26"/>
                        <a:pt x="1" y="27"/>
                      </a:cubicBezTo>
                      <a:cubicBezTo>
                        <a:pt x="1" y="27"/>
                        <a:pt x="1" y="28"/>
                        <a:pt x="2" y="28"/>
                      </a:cubicBezTo>
                      <a:cubicBezTo>
                        <a:pt x="2" y="28"/>
                        <a:pt x="2" y="28"/>
                        <a:pt x="2" y="28"/>
                      </a:cubicBezTo>
                      <a:cubicBezTo>
                        <a:pt x="2" y="29"/>
                        <a:pt x="2" y="29"/>
                        <a:pt x="2" y="29"/>
                      </a:cubicBezTo>
                      <a:cubicBezTo>
                        <a:pt x="2" y="30"/>
                        <a:pt x="3" y="31"/>
                        <a:pt x="3" y="31"/>
                      </a:cubicBezTo>
                      <a:cubicBezTo>
                        <a:pt x="3" y="30"/>
                        <a:pt x="3" y="30"/>
                        <a:pt x="3" y="30"/>
                      </a:cubicBezTo>
                      <a:cubicBezTo>
                        <a:pt x="4" y="31"/>
                        <a:pt x="4" y="31"/>
                        <a:pt x="4" y="31"/>
                      </a:cubicBezTo>
                      <a:cubicBezTo>
                        <a:pt x="4" y="31"/>
                        <a:pt x="4" y="32"/>
                        <a:pt x="4" y="35"/>
                      </a:cubicBezTo>
                      <a:cubicBezTo>
                        <a:pt x="4" y="37"/>
                        <a:pt x="4" y="39"/>
                        <a:pt x="4" y="40"/>
                      </a:cubicBezTo>
                      <a:cubicBezTo>
                        <a:pt x="4" y="41"/>
                        <a:pt x="5" y="41"/>
                        <a:pt x="5" y="42"/>
                      </a:cubicBezTo>
                      <a:cubicBezTo>
                        <a:pt x="5" y="42"/>
                        <a:pt x="5" y="43"/>
                        <a:pt x="5" y="44"/>
                      </a:cubicBezTo>
                      <a:cubicBezTo>
                        <a:pt x="5" y="44"/>
                        <a:pt x="5" y="44"/>
                        <a:pt x="5" y="44"/>
                      </a:cubicBezTo>
                      <a:cubicBezTo>
                        <a:pt x="4" y="44"/>
                        <a:pt x="4" y="45"/>
                        <a:pt x="4" y="45"/>
                      </a:cubicBezTo>
                      <a:cubicBezTo>
                        <a:pt x="4" y="46"/>
                        <a:pt x="5" y="46"/>
                        <a:pt x="4" y="46"/>
                      </a:cubicBezTo>
                      <a:cubicBezTo>
                        <a:pt x="4" y="46"/>
                        <a:pt x="4" y="46"/>
                        <a:pt x="4" y="47"/>
                      </a:cubicBezTo>
                      <a:cubicBezTo>
                        <a:pt x="4" y="47"/>
                        <a:pt x="5" y="47"/>
                        <a:pt x="5" y="48"/>
                      </a:cubicBezTo>
                      <a:cubicBezTo>
                        <a:pt x="5" y="49"/>
                        <a:pt x="5" y="49"/>
                        <a:pt x="5" y="50"/>
                      </a:cubicBezTo>
                      <a:cubicBezTo>
                        <a:pt x="5" y="51"/>
                        <a:pt x="5" y="51"/>
                        <a:pt x="5" y="52"/>
                      </a:cubicBezTo>
                      <a:cubicBezTo>
                        <a:pt x="5" y="52"/>
                        <a:pt x="5" y="52"/>
                        <a:pt x="5" y="52"/>
                      </a:cubicBezTo>
                      <a:cubicBezTo>
                        <a:pt x="5" y="53"/>
                        <a:pt x="5" y="53"/>
                        <a:pt x="5" y="53"/>
                      </a:cubicBezTo>
                      <a:cubicBezTo>
                        <a:pt x="5" y="54"/>
                        <a:pt x="5" y="54"/>
                        <a:pt x="5" y="54"/>
                      </a:cubicBezTo>
                      <a:cubicBezTo>
                        <a:pt x="5" y="54"/>
                        <a:pt x="5" y="54"/>
                        <a:pt x="5" y="54"/>
                      </a:cubicBezTo>
                      <a:cubicBezTo>
                        <a:pt x="5" y="55"/>
                        <a:pt x="5" y="55"/>
                        <a:pt x="5" y="55"/>
                      </a:cubicBezTo>
                      <a:cubicBezTo>
                        <a:pt x="5" y="55"/>
                        <a:pt x="5" y="56"/>
                        <a:pt x="5" y="56"/>
                      </a:cubicBezTo>
                      <a:cubicBezTo>
                        <a:pt x="6" y="56"/>
                        <a:pt x="6" y="57"/>
                        <a:pt x="6" y="57"/>
                      </a:cubicBezTo>
                      <a:cubicBezTo>
                        <a:pt x="6" y="57"/>
                        <a:pt x="6" y="57"/>
                        <a:pt x="6" y="57"/>
                      </a:cubicBezTo>
                      <a:cubicBezTo>
                        <a:pt x="6" y="57"/>
                        <a:pt x="6" y="57"/>
                        <a:pt x="6" y="57"/>
                      </a:cubicBezTo>
                      <a:cubicBezTo>
                        <a:pt x="6" y="57"/>
                        <a:pt x="6" y="57"/>
                        <a:pt x="6" y="58"/>
                      </a:cubicBezTo>
                      <a:cubicBezTo>
                        <a:pt x="5" y="58"/>
                        <a:pt x="4" y="58"/>
                        <a:pt x="4" y="58"/>
                      </a:cubicBezTo>
                      <a:cubicBezTo>
                        <a:pt x="5" y="59"/>
                        <a:pt x="5" y="59"/>
                        <a:pt x="5" y="59"/>
                      </a:cubicBezTo>
                      <a:cubicBezTo>
                        <a:pt x="5" y="59"/>
                        <a:pt x="4" y="59"/>
                        <a:pt x="5" y="59"/>
                      </a:cubicBezTo>
                      <a:cubicBezTo>
                        <a:pt x="5" y="59"/>
                        <a:pt x="8" y="59"/>
                        <a:pt x="8" y="59"/>
                      </a:cubicBezTo>
                      <a:cubicBezTo>
                        <a:pt x="9" y="59"/>
                        <a:pt x="9" y="59"/>
                        <a:pt x="9" y="59"/>
                      </a:cubicBezTo>
                      <a:cubicBezTo>
                        <a:pt x="10" y="59"/>
                        <a:pt x="9" y="57"/>
                        <a:pt x="9" y="57"/>
                      </a:cubicBezTo>
                      <a:cubicBezTo>
                        <a:pt x="9" y="57"/>
                        <a:pt x="9" y="57"/>
                        <a:pt x="9" y="57"/>
                      </a:cubicBezTo>
                      <a:cubicBezTo>
                        <a:pt x="9" y="56"/>
                        <a:pt x="10" y="55"/>
                        <a:pt x="10" y="55"/>
                      </a:cubicBezTo>
                      <a:cubicBezTo>
                        <a:pt x="10" y="55"/>
                        <a:pt x="9" y="54"/>
                        <a:pt x="9" y="54"/>
                      </a:cubicBezTo>
                      <a:cubicBezTo>
                        <a:pt x="10" y="54"/>
                        <a:pt x="10" y="54"/>
                        <a:pt x="10" y="53"/>
                      </a:cubicBezTo>
                      <a:cubicBezTo>
                        <a:pt x="10" y="53"/>
                        <a:pt x="10" y="49"/>
                        <a:pt x="10" y="48"/>
                      </a:cubicBezTo>
                      <a:cubicBezTo>
                        <a:pt x="10" y="48"/>
                        <a:pt x="9" y="46"/>
                        <a:pt x="9" y="46"/>
                      </a:cubicBezTo>
                      <a:cubicBezTo>
                        <a:pt x="9" y="46"/>
                        <a:pt x="9" y="45"/>
                        <a:pt x="9" y="45"/>
                      </a:cubicBezTo>
                      <a:cubicBezTo>
                        <a:pt x="9" y="45"/>
                        <a:pt x="9" y="45"/>
                        <a:pt x="9" y="44"/>
                      </a:cubicBezTo>
                      <a:cubicBezTo>
                        <a:pt x="9" y="44"/>
                        <a:pt x="8" y="44"/>
                        <a:pt x="8" y="44"/>
                      </a:cubicBezTo>
                      <a:cubicBezTo>
                        <a:pt x="8" y="44"/>
                        <a:pt x="8" y="43"/>
                        <a:pt x="8" y="43"/>
                      </a:cubicBezTo>
                      <a:cubicBezTo>
                        <a:pt x="8" y="43"/>
                        <a:pt x="8" y="43"/>
                        <a:pt x="8" y="43"/>
                      </a:cubicBezTo>
                      <a:cubicBezTo>
                        <a:pt x="8" y="43"/>
                        <a:pt x="9" y="41"/>
                        <a:pt x="9" y="40"/>
                      </a:cubicBezTo>
                      <a:cubicBezTo>
                        <a:pt x="9" y="39"/>
                        <a:pt x="10" y="36"/>
                        <a:pt x="10" y="36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0" y="36"/>
                        <a:pt x="10" y="37"/>
                        <a:pt x="10" y="38"/>
                      </a:cubicBezTo>
                      <a:cubicBezTo>
                        <a:pt x="10" y="38"/>
                        <a:pt x="10" y="39"/>
                        <a:pt x="11" y="40"/>
                      </a:cubicBezTo>
                      <a:cubicBezTo>
                        <a:pt x="11" y="40"/>
                        <a:pt x="11" y="42"/>
                        <a:pt x="11" y="42"/>
                      </a:cubicBezTo>
                      <a:cubicBezTo>
                        <a:pt x="11" y="42"/>
                        <a:pt x="11" y="43"/>
                        <a:pt x="11" y="43"/>
                      </a:cubicBezTo>
                      <a:cubicBezTo>
                        <a:pt x="11" y="43"/>
                        <a:pt x="11" y="44"/>
                        <a:pt x="11" y="44"/>
                      </a:cubicBezTo>
                      <a:cubicBezTo>
                        <a:pt x="11" y="44"/>
                        <a:pt x="11" y="44"/>
                        <a:pt x="11" y="44"/>
                      </a:cubicBezTo>
                      <a:cubicBezTo>
                        <a:pt x="11" y="44"/>
                        <a:pt x="11" y="45"/>
                        <a:pt x="11" y="45"/>
                      </a:cubicBezTo>
                      <a:cubicBezTo>
                        <a:pt x="11" y="46"/>
                        <a:pt x="11" y="47"/>
                        <a:pt x="11" y="48"/>
                      </a:cubicBezTo>
                      <a:cubicBezTo>
                        <a:pt x="11" y="48"/>
                        <a:pt x="11" y="51"/>
                        <a:pt x="11" y="52"/>
                      </a:cubicBezTo>
                      <a:cubicBezTo>
                        <a:pt x="11" y="53"/>
                        <a:pt x="11" y="53"/>
                        <a:pt x="11" y="53"/>
                      </a:cubicBezTo>
                      <a:cubicBezTo>
                        <a:pt x="11" y="54"/>
                        <a:pt x="10" y="55"/>
                        <a:pt x="10" y="55"/>
                      </a:cubicBezTo>
                      <a:cubicBezTo>
                        <a:pt x="10" y="55"/>
                        <a:pt x="11" y="56"/>
                        <a:pt x="11" y="56"/>
                      </a:cubicBezTo>
                      <a:cubicBezTo>
                        <a:pt x="11" y="56"/>
                        <a:pt x="11" y="56"/>
                        <a:pt x="11" y="57"/>
                      </a:cubicBezTo>
                      <a:cubicBezTo>
                        <a:pt x="11" y="57"/>
                        <a:pt x="11" y="57"/>
                        <a:pt x="11" y="57"/>
                      </a:cubicBezTo>
                      <a:cubicBezTo>
                        <a:pt x="11" y="57"/>
                        <a:pt x="11" y="57"/>
                        <a:pt x="11" y="57"/>
                      </a:cubicBezTo>
                      <a:cubicBezTo>
                        <a:pt x="11" y="57"/>
                        <a:pt x="11" y="59"/>
                        <a:pt x="11" y="59"/>
                      </a:cubicBezTo>
                      <a:cubicBezTo>
                        <a:pt x="11" y="59"/>
                        <a:pt x="12" y="60"/>
                        <a:pt x="12" y="60"/>
                      </a:cubicBezTo>
                      <a:cubicBezTo>
                        <a:pt x="12" y="60"/>
                        <a:pt x="12" y="61"/>
                        <a:pt x="12" y="61"/>
                      </a:cubicBezTo>
                      <a:cubicBezTo>
                        <a:pt x="13" y="61"/>
                        <a:pt x="13" y="61"/>
                        <a:pt x="14" y="61"/>
                      </a:cubicBezTo>
                      <a:cubicBezTo>
                        <a:pt x="15" y="61"/>
                        <a:pt x="16" y="60"/>
                        <a:pt x="16" y="60"/>
                      </a:cubicBezTo>
                      <a:cubicBezTo>
                        <a:pt x="16" y="60"/>
                        <a:pt x="16" y="59"/>
                        <a:pt x="16" y="59"/>
                      </a:cubicBezTo>
                      <a:cubicBezTo>
                        <a:pt x="16" y="58"/>
                        <a:pt x="15" y="58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5" y="56"/>
                        <a:pt x="15" y="56"/>
                      </a:cubicBezTo>
                      <a:cubicBezTo>
                        <a:pt x="15" y="56"/>
                        <a:pt x="15" y="55"/>
                        <a:pt x="15" y="55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5" y="54"/>
                        <a:pt x="15" y="53"/>
                        <a:pt x="15" y="53"/>
                      </a:cubicBezTo>
                      <a:cubicBezTo>
                        <a:pt x="15" y="52"/>
                        <a:pt x="15" y="52"/>
                        <a:pt x="15" y="52"/>
                      </a:cubicBezTo>
                      <a:cubicBezTo>
                        <a:pt x="15" y="52"/>
                        <a:pt x="15" y="52"/>
                        <a:pt x="15" y="51"/>
                      </a:cubicBezTo>
                      <a:cubicBezTo>
                        <a:pt x="15" y="51"/>
                        <a:pt x="15" y="49"/>
                        <a:pt x="15" y="48"/>
                      </a:cubicBezTo>
                      <a:cubicBezTo>
                        <a:pt x="15" y="48"/>
                        <a:pt x="16" y="47"/>
                        <a:pt x="16" y="47"/>
                      </a:cubicBezTo>
                      <a:cubicBezTo>
                        <a:pt x="16" y="46"/>
                        <a:pt x="16" y="46"/>
                        <a:pt x="16" y="46"/>
                      </a:cubicBezTo>
                      <a:cubicBezTo>
                        <a:pt x="16" y="46"/>
                        <a:pt x="16" y="45"/>
                        <a:pt x="16" y="45"/>
                      </a:cubicBezTo>
                      <a:cubicBezTo>
                        <a:pt x="16" y="45"/>
                        <a:pt x="16" y="44"/>
                        <a:pt x="16" y="44"/>
                      </a:cubicBezTo>
                      <a:cubicBezTo>
                        <a:pt x="16" y="44"/>
                        <a:pt x="16" y="44"/>
                        <a:pt x="16" y="44"/>
                      </a:cubicBezTo>
                      <a:cubicBezTo>
                        <a:pt x="16" y="44"/>
                        <a:pt x="16" y="44"/>
                        <a:pt x="16" y="44"/>
                      </a:cubicBezTo>
                      <a:cubicBezTo>
                        <a:pt x="16" y="44"/>
                        <a:pt x="16" y="44"/>
                        <a:pt x="16" y="44"/>
                      </a:cubicBezTo>
                      <a:cubicBezTo>
                        <a:pt x="15" y="44"/>
                        <a:pt x="15" y="43"/>
                        <a:pt x="15" y="43"/>
                      </a:cubicBezTo>
                      <a:cubicBezTo>
                        <a:pt x="15" y="43"/>
                        <a:pt x="15" y="42"/>
                        <a:pt x="15" y="41"/>
                      </a:cubicBezTo>
                      <a:cubicBezTo>
                        <a:pt x="15" y="41"/>
                        <a:pt x="16" y="40"/>
                        <a:pt x="16" y="39"/>
                      </a:cubicBezTo>
                      <a:cubicBezTo>
                        <a:pt x="16" y="38"/>
                        <a:pt x="16" y="35"/>
                        <a:pt x="16" y="34"/>
                      </a:cubicBezTo>
                      <a:cubicBezTo>
                        <a:pt x="16" y="34"/>
                        <a:pt x="16" y="34"/>
                        <a:pt x="16" y="33"/>
                      </a:cubicBezTo>
                      <a:cubicBezTo>
                        <a:pt x="16" y="33"/>
                        <a:pt x="16" y="32"/>
                        <a:pt x="16" y="31"/>
                      </a:cubicBezTo>
                      <a:cubicBezTo>
                        <a:pt x="16" y="31"/>
                        <a:pt x="17" y="30"/>
                        <a:pt x="17" y="30"/>
                      </a:cubicBezTo>
                      <a:cubicBezTo>
                        <a:pt x="17" y="30"/>
                        <a:pt x="17" y="29"/>
                        <a:pt x="17" y="29"/>
                      </a:cubicBezTo>
                      <a:cubicBezTo>
                        <a:pt x="17" y="29"/>
                        <a:pt x="18" y="28"/>
                        <a:pt x="18" y="28"/>
                      </a:cubicBezTo>
                      <a:cubicBezTo>
                        <a:pt x="18" y="28"/>
                        <a:pt x="18" y="27"/>
                        <a:pt x="18" y="27"/>
                      </a:cubicBezTo>
                      <a:cubicBezTo>
                        <a:pt x="18" y="26"/>
                        <a:pt x="18" y="26"/>
                        <a:pt x="18" y="25"/>
                      </a:cubicBezTo>
                      <a:cubicBezTo>
                        <a:pt x="19" y="25"/>
                        <a:pt x="19" y="25"/>
                        <a:pt x="19" y="24"/>
                      </a:cubicBezTo>
                      <a:cubicBezTo>
                        <a:pt x="19" y="24"/>
                        <a:pt x="19" y="23"/>
                        <a:pt x="19" y="23"/>
                      </a:cubicBezTo>
                      <a:cubicBezTo>
                        <a:pt x="19" y="22"/>
                        <a:pt x="20" y="21"/>
                        <a:pt x="19" y="2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52" name="Oval 687">
                  <a:extLst>
                    <a:ext uri="{FF2B5EF4-FFF2-40B4-BE49-F238E27FC236}">
                      <a16:creationId xmlns:a16="http://schemas.microsoft.com/office/drawing/2014/main" id="{750E2B31-4143-8386-43A5-B5FEFE37AF9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85088" y="3448050"/>
                  <a:ext cx="109537" cy="106363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53" name="Freeform 688">
                  <a:extLst>
                    <a:ext uri="{FF2B5EF4-FFF2-40B4-BE49-F238E27FC236}">
                      <a16:creationId xmlns:a16="http://schemas.microsoft.com/office/drawing/2014/main" id="{3B18B142-59AF-6BB2-9528-5553C5CEEA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26363" y="3462338"/>
                  <a:ext cx="25400" cy="82550"/>
                </a:xfrm>
                <a:custGeom>
                  <a:avLst/>
                  <a:gdLst>
                    <a:gd name="T0" fmla="*/ 19 w 19"/>
                    <a:gd name="T1" fmla="*/ 17 h 60"/>
                    <a:gd name="T2" fmla="*/ 17 w 19"/>
                    <a:gd name="T3" fmla="*/ 10 h 60"/>
                    <a:gd name="T4" fmla="*/ 12 w 19"/>
                    <a:gd name="T5" fmla="*/ 8 h 60"/>
                    <a:gd name="T6" fmla="*/ 12 w 19"/>
                    <a:gd name="T7" fmla="*/ 7 h 60"/>
                    <a:gd name="T8" fmla="*/ 12 w 19"/>
                    <a:gd name="T9" fmla="*/ 5 h 60"/>
                    <a:gd name="T10" fmla="*/ 12 w 19"/>
                    <a:gd name="T11" fmla="*/ 2 h 60"/>
                    <a:gd name="T12" fmla="*/ 6 w 19"/>
                    <a:gd name="T13" fmla="*/ 3 h 60"/>
                    <a:gd name="T14" fmla="*/ 6 w 19"/>
                    <a:gd name="T15" fmla="*/ 5 h 60"/>
                    <a:gd name="T16" fmla="*/ 7 w 19"/>
                    <a:gd name="T17" fmla="*/ 8 h 60"/>
                    <a:gd name="T18" fmla="*/ 4 w 19"/>
                    <a:gd name="T19" fmla="*/ 10 h 60"/>
                    <a:gd name="T20" fmla="*/ 1 w 19"/>
                    <a:gd name="T21" fmla="*/ 17 h 60"/>
                    <a:gd name="T22" fmla="*/ 0 w 19"/>
                    <a:gd name="T23" fmla="*/ 22 h 60"/>
                    <a:gd name="T24" fmla="*/ 1 w 19"/>
                    <a:gd name="T25" fmla="*/ 26 h 60"/>
                    <a:gd name="T26" fmla="*/ 2 w 19"/>
                    <a:gd name="T27" fmla="*/ 28 h 60"/>
                    <a:gd name="T28" fmla="*/ 3 w 19"/>
                    <a:gd name="T29" fmla="*/ 30 h 60"/>
                    <a:gd name="T30" fmla="*/ 4 w 19"/>
                    <a:gd name="T31" fmla="*/ 40 h 60"/>
                    <a:gd name="T32" fmla="*/ 4 w 19"/>
                    <a:gd name="T33" fmla="*/ 44 h 60"/>
                    <a:gd name="T34" fmla="*/ 4 w 19"/>
                    <a:gd name="T35" fmla="*/ 47 h 60"/>
                    <a:gd name="T36" fmla="*/ 5 w 19"/>
                    <a:gd name="T37" fmla="*/ 52 h 60"/>
                    <a:gd name="T38" fmla="*/ 5 w 19"/>
                    <a:gd name="T39" fmla="*/ 54 h 60"/>
                    <a:gd name="T40" fmla="*/ 5 w 19"/>
                    <a:gd name="T41" fmla="*/ 56 h 60"/>
                    <a:gd name="T42" fmla="*/ 6 w 19"/>
                    <a:gd name="T43" fmla="*/ 57 h 60"/>
                    <a:gd name="T44" fmla="*/ 4 w 19"/>
                    <a:gd name="T45" fmla="*/ 59 h 60"/>
                    <a:gd name="T46" fmla="*/ 9 w 19"/>
                    <a:gd name="T47" fmla="*/ 59 h 60"/>
                    <a:gd name="T48" fmla="*/ 10 w 19"/>
                    <a:gd name="T49" fmla="*/ 55 h 60"/>
                    <a:gd name="T50" fmla="*/ 9 w 19"/>
                    <a:gd name="T51" fmla="*/ 48 h 60"/>
                    <a:gd name="T52" fmla="*/ 9 w 19"/>
                    <a:gd name="T53" fmla="*/ 44 h 60"/>
                    <a:gd name="T54" fmla="*/ 8 w 19"/>
                    <a:gd name="T55" fmla="*/ 42 h 60"/>
                    <a:gd name="T56" fmla="*/ 10 w 19"/>
                    <a:gd name="T57" fmla="*/ 36 h 60"/>
                    <a:gd name="T58" fmla="*/ 10 w 19"/>
                    <a:gd name="T59" fmla="*/ 38 h 60"/>
                    <a:gd name="T60" fmla="*/ 11 w 19"/>
                    <a:gd name="T61" fmla="*/ 43 h 60"/>
                    <a:gd name="T62" fmla="*/ 11 w 19"/>
                    <a:gd name="T63" fmla="*/ 45 h 60"/>
                    <a:gd name="T64" fmla="*/ 11 w 19"/>
                    <a:gd name="T65" fmla="*/ 53 h 60"/>
                    <a:gd name="T66" fmla="*/ 11 w 19"/>
                    <a:gd name="T67" fmla="*/ 57 h 60"/>
                    <a:gd name="T68" fmla="*/ 11 w 19"/>
                    <a:gd name="T69" fmla="*/ 59 h 60"/>
                    <a:gd name="T70" fmla="*/ 14 w 19"/>
                    <a:gd name="T71" fmla="*/ 60 h 60"/>
                    <a:gd name="T72" fmla="*/ 14 w 19"/>
                    <a:gd name="T73" fmla="*/ 57 h 60"/>
                    <a:gd name="T74" fmla="*/ 14 w 19"/>
                    <a:gd name="T75" fmla="*/ 57 h 60"/>
                    <a:gd name="T76" fmla="*/ 15 w 19"/>
                    <a:gd name="T77" fmla="*/ 54 h 60"/>
                    <a:gd name="T78" fmla="*/ 15 w 19"/>
                    <a:gd name="T79" fmla="*/ 51 h 60"/>
                    <a:gd name="T80" fmla="*/ 15 w 19"/>
                    <a:gd name="T81" fmla="*/ 46 h 60"/>
                    <a:gd name="T82" fmla="*/ 15 w 19"/>
                    <a:gd name="T83" fmla="*/ 44 h 60"/>
                    <a:gd name="T84" fmla="*/ 15 w 19"/>
                    <a:gd name="T85" fmla="*/ 43 h 60"/>
                    <a:gd name="T86" fmla="*/ 16 w 19"/>
                    <a:gd name="T87" fmla="*/ 34 h 60"/>
                    <a:gd name="T88" fmla="*/ 16 w 19"/>
                    <a:gd name="T89" fmla="*/ 30 h 60"/>
                    <a:gd name="T90" fmla="*/ 18 w 19"/>
                    <a:gd name="T91" fmla="*/ 26 h 60"/>
                    <a:gd name="T92" fmla="*/ 19 w 19"/>
                    <a:gd name="T93" fmla="*/ 23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9" h="60">
                      <a:moveTo>
                        <a:pt x="19" y="20"/>
                      </a:moveTo>
                      <a:cubicBezTo>
                        <a:pt x="19" y="20"/>
                        <a:pt x="19" y="20"/>
                        <a:pt x="19" y="20"/>
                      </a:cubicBezTo>
                      <a:cubicBezTo>
                        <a:pt x="19" y="20"/>
                        <a:pt x="19" y="18"/>
                        <a:pt x="19" y="17"/>
                      </a:cubicBezTo>
                      <a:cubicBezTo>
                        <a:pt x="19" y="17"/>
                        <a:pt x="18" y="16"/>
                        <a:pt x="18" y="15"/>
                      </a:cubicBezTo>
                      <a:cubicBezTo>
                        <a:pt x="18" y="14"/>
                        <a:pt x="18" y="13"/>
                        <a:pt x="18" y="12"/>
                      </a:cubicBezTo>
                      <a:cubicBezTo>
                        <a:pt x="18" y="11"/>
                        <a:pt x="18" y="10"/>
                        <a:pt x="17" y="10"/>
                      </a:cubicBezTo>
                      <a:cubicBezTo>
                        <a:pt x="17" y="10"/>
                        <a:pt x="16" y="9"/>
                        <a:pt x="15" y="9"/>
                      </a:cubicBezTo>
                      <a:cubicBezTo>
                        <a:pt x="14" y="9"/>
                        <a:pt x="13" y="9"/>
                        <a:pt x="13" y="9"/>
                      </a:cubicBezTo>
                      <a:cubicBezTo>
                        <a:pt x="13" y="9"/>
                        <a:pt x="12" y="9"/>
                        <a:pt x="12" y="8"/>
                      </a:cubicBezTo>
                      <a:cubicBezTo>
                        <a:pt x="12" y="8"/>
                        <a:pt x="12" y="8"/>
                        <a:pt x="12" y="8"/>
                      </a:cubicBezTo>
                      <a:cubicBezTo>
                        <a:pt x="12" y="8"/>
                        <a:pt x="12" y="8"/>
                        <a:pt x="12" y="8"/>
                      </a:cubicBezTo>
                      <a:cubicBezTo>
                        <a:pt x="12" y="8"/>
                        <a:pt x="11" y="7"/>
                        <a:pt x="12" y="7"/>
                      </a:cubicBezTo>
                      <a:cubicBezTo>
                        <a:pt x="12" y="6"/>
                        <a:pt x="12" y="6"/>
                        <a:pt x="12" y="6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2" y="5"/>
                        <a:pt x="13" y="4"/>
                        <a:pt x="12" y="3"/>
                      </a:cubicBezTo>
                      <a:cubicBezTo>
                        <a:pt x="12" y="3"/>
                        <a:pt x="12" y="3"/>
                        <a:pt x="12" y="3"/>
                      </a:cubicBezTo>
                      <a:cubicBezTo>
                        <a:pt x="12" y="3"/>
                        <a:pt x="12" y="3"/>
                        <a:pt x="12" y="2"/>
                      </a:cubicBezTo>
                      <a:cubicBezTo>
                        <a:pt x="12" y="1"/>
                        <a:pt x="11" y="0"/>
                        <a:pt x="9" y="0"/>
                      </a:cubicBezTo>
                      <a:cubicBezTo>
                        <a:pt x="8" y="0"/>
                        <a:pt x="6" y="1"/>
                        <a:pt x="6" y="2"/>
                      </a:cubicBezTo>
                      <a:cubicBezTo>
                        <a:pt x="6" y="3"/>
                        <a:pt x="6" y="3"/>
                        <a:pt x="6" y="3"/>
                      </a:cubicBezTo>
                      <a:cubicBezTo>
                        <a:pt x="6" y="3"/>
                        <a:pt x="6" y="3"/>
                        <a:pt x="6" y="4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6" y="5"/>
                        <a:pt x="6" y="5"/>
                        <a:pt x="7" y="5"/>
                      </a:cubicBezTo>
                      <a:cubicBezTo>
                        <a:pt x="7" y="6"/>
                        <a:pt x="7" y="7"/>
                        <a:pt x="7" y="7"/>
                      </a:cubicBezTo>
                      <a:cubicBezTo>
                        <a:pt x="7" y="7"/>
                        <a:pt x="7" y="8"/>
                        <a:pt x="7" y="8"/>
                      </a:cubicBezTo>
                      <a:cubicBezTo>
                        <a:pt x="7" y="8"/>
                        <a:pt x="7" y="8"/>
                        <a:pt x="7" y="8"/>
                      </a:cubicBezTo>
                      <a:cubicBezTo>
                        <a:pt x="7" y="8"/>
                        <a:pt x="7" y="9"/>
                        <a:pt x="6" y="9"/>
                      </a:cubicBezTo>
                      <a:cubicBezTo>
                        <a:pt x="6" y="9"/>
                        <a:pt x="5" y="9"/>
                        <a:pt x="4" y="10"/>
                      </a:cubicBezTo>
                      <a:cubicBezTo>
                        <a:pt x="2" y="10"/>
                        <a:pt x="2" y="11"/>
                        <a:pt x="2" y="11"/>
                      </a:cubicBezTo>
                      <a:cubicBezTo>
                        <a:pt x="2" y="11"/>
                        <a:pt x="1" y="13"/>
                        <a:pt x="1" y="15"/>
                      </a:cubicBezTo>
                      <a:cubicBezTo>
                        <a:pt x="1" y="16"/>
                        <a:pt x="1" y="16"/>
                        <a:pt x="1" y="17"/>
                      </a:cubicBezTo>
                      <a:cubicBezTo>
                        <a:pt x="1" y="18"/>
                        <a:pt x="1" y="18"/>
                        <a:pt x="1" y="18"/>
                      </a:cubicBezTo>
                      <a:cubicBezTo>
                        <a:pt x="1" y="19"/>
                        <a:pt x="0" y="20"/>
                        <a:pt x="0" y="20"/>
                      </a:cubicBezTo>
                      <a:cubicBezTo>
                        <a:pt x="0" y="21"/>
                        <a:pt x="0" y="21"/>
                        <a:pt x="0" y="22"/>
                      </a:cubicBezTo>
                      <a:cubicBezTo>
                        <a:pt x="0" y="22"/>
                        <a:pt x="0" y="23"/>
                        <a:pt x="1" y="24"/>
                      </a:cubicBezTo>
                      <a:cubicBezTo>
                        <a:pt x="1" y="24"/>
                        <a:pt x="1" y="24"/>
                        <a:pt x="1" y="25"/>
                      </a:cubicBezTo>
                      <a:cubicBezTo>
                        <a:pt x="1" y="25"/>
                        <a:pt x="1" y="26"/>
                        <a:pt x="1" y="26"/>
                      </a:cubicBezTo>
                      <a:cubicBezTo>
                        <a:pt x="1" y="26"/>
                        <a:pt x="1" y="26"/>
                        <a:pt x="1" y="27"/>
                      </a:cubicBezTo>
                      <a:cubicBezTo>
                        <a:pt x="1" y="27"/>
                        <a:pt x="1" y="27"/>
                        <a:pt x="1" y="28"/>
                      </a:cubicBezTo>
                      <a:cubicBezTo>
                        <a:pt x="2" y="28"/>
                        <a:pt x="1" y="28"/>
                        <a:pt x="2" y="28"/>
                      </a:cubicBezTo>
                      <a:cubicBezTo>
                        <a:pt x="2" y="29"/>
                        <a:pt x="2" y="29"/>
                        <a:pt x="2" y="29"/>
                      </a:cubicBezTo>
                      <a:cubicBezTo>
                        <a:pt x="2" y="30"/>
                        <a:pt x="3" y="31"/>
                        <a:pt x="3" y="31"/>
                      </a:cubicBezTo>
                      <a:cubicBezTo>
                        <a:pt x="3" y="30"/>
                        <a:pt x="3" y="30"/>
                        <a:pt x="3" y="30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3" y="31"/>
                        <a:pt x="4" y="32"/>
                        <a:pt x="4" y="34"/>
                      </a:cubicBezTo>
                      <a:cubicBezTo>
                        <a:pt x="4" y="37"/>
                        <a:pt x="4" y="39"/>
                        <a:pt x="4" y="40"/>
                      </a:cubicBezTo>
                      <a:cubicBezTo>
                        <a:pt x="4" y="41"/>
                        <a:pt x="4" y="41"/>
                        <a:pt x="5" y="42"/>
                      </a:cubicBezTo>
                      <a:cubicBezTo>
                        <a:pt x="5" y="42"/>
                        <a:pt x="4" y="43"/>
                        <a:pt x="5" y="43"/>
                      </a:cubicBezTo>
                      <a:cubicBezTo>
                        <a:pt x="5" y="44"/>
                        <a:pt x="5" y="44"/>
                        <a:pt x="4" y="44"/>
                      </a:cubicBezTo>
                      <a:cubicBezTo>
                        <a:pt x="4" y="44"/>
                        <a:pt x="4" y="45"/>
                        <a:pt x="4" y="45"/>
                      </a:cubicBezTo>
                      <a:cubicBezTo>
                        <a:pt x="4" y="46"/>
                        <a:pt x="4" y="46"/>
                        <a:pt x="4" y="46"/>
                      </a:cubicBezTo>
                      <a:cubicBezTo>
                        <a:pt x="4" y="46"/>
                        <a:pt x="4" y="46"/>
                        <a:pt x="4" y="47"/>
                      </a:cubicBezTo>
                      <a:cubicBezTo>
                        <a:pt x="4" y="47"/>
                        <a:pt x="5" y="47"/>
                        <a:pt x="5" y="48"/>
                      </a:cubicBezTo>
                      <a:cubicBezTo>
                        <a:pt x="5" y="49"/>
                        <a:pt x="5" y="49"/>
                        <a:pt x="5" y="50"/>
                      </a:cubicBezTo>
                      <a:cubicBezTo>
                        <a:pt x="5" y="51"/>
                        <a:pt x="5" y="51"/>
                        <a:pt x="5" y="52"/>
                      </a:cubicBezTo>
                      <a:cubicBezTo>
                        <a:pt x="5" y="52"/>
                        <a:pt x="5" y="52"/>
                        <a:pt x="5" y="52"/>
                      </a:cubicBezTo>
                      <a:cubicBezTo>
                        <a:pt x="5" y="52"/>
                        <a:pt x="5" y="52"/>
                        <a:pt x="5" y="53"/>
                      </a:cubicBezTo>
                      <a:cubicBezTo>
                        <a:pt x="5" y="53"/>
                        <a:pt x="5" y="54"/>
                        <a:pt x="5" y="54"/>
                      </a:cubicBezTo>
                      <a:cubicBezTo>
                        <a:pt x="5" y="54"/>
                        <a:pt x="5" y="54"/>
                        <a:pt x="5" y="54"/>
                      </a:cubicBezTo>
                      <a:cubicBezTo>
                        <a:pt x="5" y="54"/>
                        <a:pt x="4" y="55"/>
                        <a:pt x="5" y="55"/>
                      </a:cubicBezTo>
                      <a:cubicBezTo>
                        <a:pt x="5" y="55"/>
                        <a:pt x="5" y="56"/>
                        <a:pt x="5" y="56"/>
                      </a:cubicBezTo>
                      <a:cubicBezTo>
                        <a:pt x="5" y="56"/>
                        <a:pt x="6" y="56"/>
                        <a:pt x="6" y="57"/>
                      </a:cubicBezTo>
                      <a:cubicBezTo>
                        <a:pt x="6" y="57"/>
                        <a:pt x="6" y="57"/>
                        <a:pt x="6" y="57"/>
                      </a:cubicBezTo>
                      <a:cubicBezTo>
                        <a:pt x="6" y="57"/>
                        <a:pt x="6" y="57"/>
                        <a:pt x="6" y="57"/>
                      </a:cubicBezTo>
                      <a:cubicBezTo>
                        <a:pt x="6" y="57"/>
                        <a:pt x="6" y="57"/>
                        <a:pt x="6" y="57"/>
                      </a:cubicBezTo>
                      <a:cubicBezTo>
                        <a:pt x="5" y="58"/>
                        <a:pt x="4" y="58"/>
                        <a:pt x="4" y="58"/>
                      </a:cubicBezTo>
                      <a:cubicBezTo>
                        <a:pt x="4" y="59"/>
                        <a:pt x="4" y="59"/>
                        <a:pt x="4" y="59"/>
                      </a:cubicBezTo>
                      <a:cubicBezTo>
                        <a:pt x="4" y="59"/>
                        <a:pt x="4" y="59"/>
                        <a:pt x="5" y="59"/>
                      </a:cubicBezTo>
                      <a:cubicBezTo>
                        <a:pt x="5" y="59"/>
                        <a:pt x="8" y="59"/>
                        <a:pt x="8" y="59"/>
                      </a:cubicBezTo>
                      <a:cubicBezTo>
                        <a:pt x="8" y="59"/>
                        <a:pt x="9" y="59"/>
                        <a:pt x="9" y="59"/>
                      </a:cubicBezTo>
                      <a:cubicBezTo>
                        <a:pt x="9" y="58"/>
                        <a:pt x="9" y="57"/>
                        <a:pt x="9" y="57"/>
                      </a:cubicBezTo>
                      <a:cubicBezTo>
                        <a:pt x="9" y="57"/>
                        <a:pt x="9" y="57"/>
                        <a:pt x="9" y="57"/>
                      </a:cubicBezTo>
                      <a:cubicBezTo>
                        <a:pt x="9" y="56"/>
                        <a:pt x="10" y="55"/>
                        <a:pt x="10" y="55"/>
                      </a:cubicBezTo>
                      <a:cubicBezTo>
                        <a:pt x="10" y="55"/>
                        <a:pt x="9" y="54"/>
                        <a:pt x="9" y="54"/>
                      </a:cubicBezTo>
                      <a:cubicBezTo>
                        <a:pt x="9" y="54"/>
                        <a:pt x="10" y="54"/>
                        <a:pt x="10" y="53"/>
                      </a:cubicBezTo>
                      <a:cubicBezTo>
                        <a:pt x="10" y="53"/>
                        <a:pt x="10" y="49"/>
                        <a:pt x="9" y="48"/>
                      </a:cubicBezTo>
                      <a:cubicBezTo>
                        <a:pt x="9" y="48"/>
                        <a:pt x="9" y="46"/>
                        <a:pt x="9" y="46"/>
                      </a:cubicBezTo>
                      <a:cubicBezTo>
                        <a:pt x="9" y="46"/>
                        <a:pt x="9" y="45"/>
                        <a:pt x="9" y="45"/>
                      </a:cubicBezTo>
                      <a:cubicBezTo>
                        <a:pt x="9" y="45"/>
                        <a:pt x="9" y="45"/>
                        <a:pt x="9" y="44"/>
                      </a:cubicBezTo>
                      <a:cubicBezTo>
                        <a:pt x="9" y="44"/>
                        <a:pt x="8" y="44"/>
                        <a:pt x="8" y="44"/>
                      </a:cubicBezTo>
                      <a:cubicBezTo>
                        <a:pt x="8" y="44"/>
                        <a:pt x="8" y="43"/>
                        <a:pt x="8" y="43"/>
                      </a:cubicBezTo>
                      <a:cubicBezTo>
                        <a:pt x="8" y="42"/>
                        <a:pt x="8" y="42"/>
                        <a:pt x="8" y="42"/>
                      </a:cubicBezTo>
                      <a:cubicBezTo>
                        <a:pt x="8" y="42"/>
                        <a:pt x="9" y="41"/>
                        <a:pt x="9" y="40"/>
                      </a:cubicBezTo>
                      <a:cubicBezTo>
                        <a:pt x="9" y="39"/>
                        <a:pt x="10" y="36"/>
                        <a:pt x="10" y="36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0" y="36"/>
                        <a:pt x="10" y="37"/>
                        <a:pt x="10" y="38"/>
                      </a:cubicBezTo>
                      <a:cubicBezTo>
                        <a:pt x="10" y="38"/>
                        <a:pt x="10" y="39"/>
                        <a:pt x="10" y="40"/>
                      </a:cubicBezTo>
                      <a:cubicBezTo>
                        <a:pt x="11" y="40"/>
                        <a:pt x="11" y="41"/>
                        <a:pt x="11" y="42"/>
                      </a:cubicBezTo>
                      <a:cubicBezTo>
                        <a:pt x="11" y="42"/>
                        <a:pt x="11" y="43"/>
                        <a:pt x="11" y="43"/>
                      </a:cubicBezTo>
                      <a:cubicBezTo>
                        <a:pt x="11" y="43"/>
                        <a:pt x="11" y="44"/>
                        <a:pt x="11" y="44"/>
                      </a:cubicBezTo>
                      <a:cubicBezTo>
                        <a:pt x="11" y="44"/>
                        <a:pt x="11" y="44"/>
                        <a:pt x="11" y="44"/>
                      </a:cubicBezTo>
                      <a:cubicBezTo>
                        <a:pt x="11" y="44"/>
                        <a:pt x="11" y="45"/>
                        <a:pt x="11" y="45"/>
                      </a:cubicBezTo>
                      <a:cubicBezTo>
                        <a:pt x="11" y="46"/>
                        <a:pt x="11" y="47"/>
                        <a:pt x="11" y="47"/>
                      </a:cubicBezTo>
                      <a:cubicBezTo>
                        <a:pt x="11" y="48"/>
                        <a:pt x="11" y="51"/>
                        <a:pt x="11" y="52"/>
                      </a:cubicBezTo>
                      <a:cubicBezTo>
                        <a:pt x="11" y="52"/>
                        <a:pt x="11" y="53"/>
                        <a:pt x="11" y="53"/>
                      </a:cubicBezTo>
                      <a:cubicBezTo>
                        <a:pt x="10" y="54"/>
                        <a:pt x="10" y="55"/>
                        <a:pt x="10" y="55"/>
                      </a:cubicBezTo>
                      <a:cubicBezTo>
                        <a:pt x="10" y="55"/>
                        <a:pt x="11" y="56"/>
                        <a:pt x="11" y="56"/>
                      </a:cubicBezTo>
                      <a:cubicBezTo>
                        <a:pt x="11" y="56"/>
                        <a:pt x="11" y="56"/>
                        <a:pt x="11" y="57"/>
                      </a:cubicBezTo>
                      <a:cubicBezTo>
                        <a:pt x="11" y="57"/>
                        <a:pt x="11" y="57"/>
                        <a:pt x="11" y="57"/>
                      </a:cubicBezTo>
                      <a:cubicBezTo>
                        <a:pt x="11" y="57"/>
                        <a:pt x="11" y="57"/>
                        <a:pt x="11" y="57"/>
                      </a:cubicBezTo>
                      <a:cubicBezTo>
                        <a:pt x="11" y="57"/>
                        <a:pt x="11" y="59"/>
                        <a:pt x="11" y="59"/>
                      </a:cubicBezTo>
                      <a:cubicBezTo>
                        <a:pt x="11" y="59"/>
                        <a:pt x="11" y="60"/>
                        <a:pt x="11" y="6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3" y="60"/>
                        <a:pt x="13" y="60"/>
                        <a:pt x="14" y="60"/>
                      </a:cubicBezTo>
                      <a:cubicBezTo>
                        <a:pt x="15" y="60"/>
                        <a:pt x="16" y="60"/>
                        <a:pt x="16" y="59"/>
                      </a:cubicBezTo>
                      <a:cubicBezTo>
                        <a:pt x="16" y="59"/>
                        <a:pt x="16" y="59"/>
                        <a:pt x="16" y="59"/>
                      </a:cubicBezTo>
                      <a:cubicBezTo>
                        <a:pt x="16" y="58"/>
                        <a:pt x="14" y="58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6"/>
                        <a:pt x="14" y="56"/>
                        <a:pt x="14" y="56"/>
                      </a:cubicBezTo>
                      <a:cubicBezTo>
                        <a:pt x="14" y="56"/>
                        <a:pt x="15" y="55"/>
                        <a:pt x="15" y="55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5" y="54"/>
                        <a:pt x="15" y="53"/>
                        <a:pt x="15" y="53"/>
                      </a:cubicBezTo>
                      <a:cubicBezTo>
                        <a:pt x="15" y="52"/>
                        <a:pt x="15" y="52"/>
                        <a:pt x="15" y="52"/>
                      </a:cubicBezTo>
                      <a:cubicBezTo>
                        <a:pt x="15" y="52"/>
                        <a:pt x="15" y="52"/>
                        <a:pt x="15" y="51"/>
                      </a:cubicBezTo>
                      <a:cubicBezTo>
                        <a:pt x="15" y="51"/>
                        <a:pt x="15" y="49"/>
                        <a:pt x="15" y="48"/>
                      </a:cubicBezTo>
                      <a:cubicBezTo>
                        <a:pt x="15" y="48"/>
                        <a:pt x="15" y="47"/>
                        <a:pt x="15" y="47"/>
                      </a:cubicBezTo>
                      <a:cubicBezTo>
                        <a:pt x="16" y="46"/>
                        <a:pt x="15" y="46"/>
                        <a:pt x="15" y="46"/>
                      </a:cubicBezTo>
                      <a:cubicBezTo>
                        <a:pt x="15" y="45"/>
                        <a:pt x="15" y="45"/>
                        <a:pt x="15" y="45"/>
                      </a:cubicBezTo>
                      <a:cubicBezTo>
                        <a:pt x="15" y="45"/>
                        <a:pt x="16" y="44"/>
                        <a:pt x="15" y="44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5" y="44"/>
                        <a:pt x="15" y="43"/>
                        <a:pt x="15" y="43"/>
                      </a:cubicBezTo>
                      <a:cubicBezTo>
                        <a:pt x="15" y="43"/>
                        <a:pt x="15" y="42"/>
                        <a:pt x="15" y="41"/>
                      </a:cubicBezTo>
                      <a:cubicBezTo>
                        <a:pt x="15" y="41"/>
                        <a:pt x="16" y="40"/>
                        <a:pt x="16" y="38"/>
                      </a:cubicBezTo>
                      <a:cubicBezTo>
                        <a:pt x="16" y="37"/>
                        <a:pt x="16" y="35"/>
                        <a:pt x="16" y="34"/>
                      </a:cubicBezTo>
                      <a:cubicBezTo>
                        <a:pt x="16" y="34"/>
                        <a:pt x="16" y="33"/>
                        <a:pt x="16" y="33"/>
                      </a:cubicBezTo>
                      <a:cubicBezTo>
                        <a:pt x="16" y="33"/>
                        <a:pt x="16" y="32"/>
                        <a:pt x="16" y="31"/>
                      </a:cubicBezTo>
                      <a:cubicBezTo>
                        <a:pt x="16" y="31"/>
                        <a:pt x="16" y="30"/>
                        <a:pt x="16" y="30"/>
                      </a:cubicBezTo>
                      <a:cubicBezTo>
                        <a:pt x="16" y="30"/>
                        <a:pt x="17" y="29"/>
                        <a:pt x="17" y="29"/>
                      </a:cubicBezTo>
                      <a:cubicBezTo>
                        <a:pt x="17" y="29"/>
                        <a:pt x="18" y="28"/>
                        <a:pt x="18" y="28"/>
                      </a:cubicBezTo>
                      <a:cubicBezTo>
                        <a:pt x="18" y="28"/>
                        <a:pt x="18" y="27"/>
                        <a:pt x="18" y="26"/>
                      </a:cubicBezTo>
                      <a:cubicBezTo>
                        <a:pt x="18" y="26"/>
                        <a:pt x="18" y="26"/>
                        <a:pt x="18" y="25"/>
                      </a:cubicBezTo>
                      <a:cubicBezTo>
                        <a:pt x="18" y="25"/>
                        <a:pt x="19" y="25"/>
                        <a:pt x="19" y="24"/>
                      </a:cubicBezTo>
                      <a:cubicBezTo>
                        <a:pt x="19" y="24"/>
                        <a:pt x="19" y="23"/>
                        <a:pt x="19" y="23"/>
                      </a:cubicBezTo>
                      <a:cubicBezTo>
                        <a:pt x="19" y="22"/>
                        <a:pt x="19" y="21"/>
                        <a:pt x="19" y="2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54" name="Oval 689">
                  <a:extLst>
                    <a:ext uri="{FF2B5EF4-FFF2-40B4-BE49-F238E27FC236}">
                      <a16:creationId xmlns:a16="http://schemas.microsoft.com/office/drawing/2014/main" id="{93E900ED-7FB2-0C9E-EC13-637E847D749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624638" y="2763838"/>
                  <a:ext cx="107950" cy="107950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55" name="Freeform 690">
                  <a:extLst>
                    <a:ext uri="{FF2B5EF4-FFF2-40B4-BE49-F238E27FC236}">
                      <a16:creationId xmlns:a16="http://schemas.microsoft.com/office/drawing/2014/main" id="{76093E0A-CD24-E2D0-3CAD-96CC478775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65913" y="2779713"/>
                  <a:ext cx="25400" cy="82550"/>
                </a:xfrm>
                <a:custGeom>
                  <a:avLst/>
                  <a:gdLst>
                    <a:gd name="T0" fmla="*/ 19 w 19"/>
                    <a:gd name="T1" fmla="*/ 17 h 60"/>
                    <a:gd name="T2" fmla="*/ 17 w 19"/>
                    <a:gd name="T3" fmla="*/ 9 h 60"/>
                    <a:gd name="T4" fmla="*/ 12 w 19"/>
                    <a:gd name="T5" fmla="*/ 8 h 60"/>
                    <a:gd name="T6" fmla="*/ 11 w 19"/>
                    <a:gd name="T7" fmla="*/ 6 h 60"/>
                    <a:gd name="T8" fmla="*/ 12 w 19"/>
                    <a:gd name="T9" fmla="*/ 4 h 60"/>
                    <a:gd name="T10" fmla="*/ 12 w 19"/>
                    <a:gd name="T11" fmla="*/ 1 h 60"/>
                    <a:gd name="T12" fmla="*/ 6 w 19"/>
                    <a:gd name="T13" fmla="*/ 3 h 60"/>
                    <a:gd name="T14" fmla="*/ 6 w 19"/>
                    <a:gd name="T15" fmla="*/ 5 h 60"/>
                    <a:gd name="T16" fmla="*/ 7 w 19"/>
                    <a:gd name="T17" fmla="*/ 7 h 60"/>
                    <a:gd name="T18" fmla="*/ 3 w 19"/>
                    <a:gd name="T19" fmla="*/ 9 h 60"/>
                    <a:gd name="T20" fmla="*/ 1 w 19"/>
                    <a:gd name="T21" fmla="*/ 16 h 60"/>
                    <a:gd name="T22" fmla="*/ 0 w 19"/>
                    <a:gd name="T23" fmla="*/ 21 h 60"/>
                    <a:gd name="T24" fmla="*/ 1 w 19"/>
                    <a:gd name="T25" fmla="*/ 25 h 60"/>
                    <a:gd name="T26" fmla="*/ 1 w 19"/>
                    <a:gd name="T27" fmla="*/ 28 h 60"/>
                    <a:gd name="T28" fmla="*/ 3 w 19"/>
                    <a:gd name="T29" fmla="*/ 30 h 60"/>
                    <a:gd name="T30" fmla="*/ 4 w 19"/>
                    <a:gd name="T31" fmla="*/ 39 h 60"/>
                    <a:gd name="T32" fmla="*/ 4 w 19"/>
                    <a:gd name="T33" fmla="*/ 44 h 60"/>
                    <a:gd name="T34" fmla="*/ 4 w 19"/>
                    <a:gd name="T35" fmla="*/ 46 h 60"/>
                    <a:gd name="T36" fmla="*/ 5 w 19"/>
                    <a:gd name="T37" fmla="*/ 51 h 60"/>
                    <a:gd name="T38" fmla="*/ 4 w 19"/>
                    <a:gd name="T39" fmla="*/ 54 h 60"/>
                    <a:gd name="T40" fmla="*/ 5 w 19"/>
                    <a:gd name="T41" fmla="*/ 55 h 60"/>
                    <a:gd name="T42" fmla="*/ 5 w 19"/>
                    <a:gd name="T43" fmla="*/ 56 h 60"/>
                    <a:gd name="T44" fmla="*/ 4 w 19"/>
                    <a:gd name="T45" fmla="*/ 58 h 60"/>
                    <a:gd name="T46" fmla="*/ 9 w 19"/>
                    <a:gd name="T47" fmla="*/ 58 h 60"/>
                    <a:gd name="T48" fmla="*/ 9 w 19"/>
                    <a:gd name="T49" fmla="*/ 55 h 60"/>
                    <a:gd name="T50" fmla="*/ 9 w 19"/>
                    <a:gd name="T51" fmla="*/ 48 h 60"/>
                    <a:gd name="T52" fmla="*/ 9 w 19"/>
                    <a:gd name="T53" fmla="*/ 44 h 60"/>
                    <a:gd name="T54" fmla="*/ 9 w 19"/>
                    <a:gd name="T55" fmla="*/ 42 h 60"/>
                    <a:gd name="T56" fmla="*/ 10 w 19"/>
                    <a:gd name="T57" fmla="*/ 36 h 60"/>
                    <a:gd name="T58" fmla="*/ 10 w 19"/>
                    <a:gd name="T59" fmla="*/ 37 h 60"/>
                    <a:gd name="T60" fmla="*/ 11 w 19"/>
                    <a:gd name="T61" fmla="*/ 42 h 60"/>
                    <a:gd name="T62" fmla="*/ 11 w 19"/>
                    <a:gd name="T63" fmla="*/ 45 h 60"/>
                    <a:gd name="T64" fmla="*/ 10 w 19"/>
                    <a:gd name="T65" fmla="*/ 53 h 60"/>
                    <a:gd name="T66" fmla="*/ 11 w 19"/>
                    <a:gd name="T67" fmla="*/ 56 h 60"/>
                    <a:gd name="T68" fmla="*/ 11 w 19"/>
                    <a:gd name="T69" fmla="*/ 59 h 60"/>
                    <a:gd name="T70" fmla="*/ 14 w 19"/>
                    <a:gd name="T71" fmla="*/ 60 h 60"/>
                    <a:gd name="T72" fmla="*/ 14 w 19"/>
                    <a:gd name="T73" fmla="*/ 57 h 60"/>
                    <a:gd name="T74" fmla="*/ 14 w 19"/>
                    <a:gd name="T75" fmla="*/ 56 h 60"/>
                    <a:gd name="T76" fmla="*/ 15 w 19"/>
                    <a:gd name="T77" fmla="*/ 54 h 60"/>
                    <a:gd name="T78" fmla="*/ 15 w 19"/>
                    <a:gd name="T79" fmla="*/ 51 h 60"/>
                    <a:gd name="T80" fmla="*/ 15 w 19"/>
                    <a:gd name="T81" fmla="*/ 45 h 60"/>
                    <a:gd name="T82" fmla="*/ 15 w 19"/>
                    <a:gd name="T83" fmla="*/ 43 h 60"/>
                    <a:gd name="T84" fmla="*/ 15 w 19"/>
                    <a:gd name="T85" fmla="*/ 43 h 60"/>
                    <a:gd name="T86" fmla="*/ 15 w 19"/>
                    <a:gd name="T87" fmla="*/ 34 h 60"/>
                    <a:gd name="T88" fmla="*/ 16 w 19"/>
                    <a:gd name="T89" fmla="*/ 30 h 60"/>
                    <a:gd name="T90" fmla="*/ 18 w 19"/>
                    <a:gd name="T91" fmla="*/ 26 h 60"/>
                    <a:gd name="T92" fmla="*/ 19 w 19"/>
                    <a:gd name="T93" fmla="*/ 22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9" h="60">
                      <a:moveTo>
                        <a:pt x="19" y="20"/>
                      </a:move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19" y="19"/>
                        <a:pt x="19" y="18"/>
                        <a:pt x="19" y="17"/>
                      </a:cubicBezTo>
                      <a:cubicBezTo>
                        <a:pt x="18" y="16"/>
                        <a:pt x="18" y="15"/>
                        <a:pt x="18" y="14"/>
                      </a:cubicBezTo>
                      <a:cubicBezTo>
                        <a:pt x="18" y="13"/>
                        <a:pt x="18" y="12"/>
                        <a:pt x="18" y="11"/>
                      </a:cubicBezTo>
                      <a:cubicBezTo>
                        <a:pt x="17" y="10"/>
                        <a:pt x="17" y="10"/>
                        <a:pt x="17" y="9"/>
                      </a:cubicBezTo>
                      <a:cubicBezTo>
                        <a:pt x="17" y="9"/>
                        <a:pt x="15" y="9"/>
                        <a:pt x="15" y="9"/>
                      </a:cubicBezTo>
                      <a:cubicBezTo>
                        <a:pt x="14" y="8"/>
                        <a:pt x="13" y="8"/>
                        <a:pt x="13" y="8"/>
                      </a:cubicBezTo>
                      <a:cubicBezTo>
                        <a:pt x="12" y="8"/>
                        <a:pt x="12" y="8"/>
                        <a:pt x="12" y="8"/>
                      </a:cubicBezTo>
                      <a:cubicBezTo>
                        <a:pt x="12" y="8"/>
                        <a:pt x="11" y="7"/>
                        <a:pt x="11" y="7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11" y="7"/>
                        <a:pt x="11" y="7"/>
                        <a:pt x="11" y="6"/>
                      </a:cubicBezTo>
                      <a:cubicBezTo>
                        <a:pt x="11" y="6"/>
                        <a:pt x="12" y="6"/>
                        <a:pt x="12" y="5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2" y="5"/>
                        <a:pt x="12" y="5"/>
                        <a:pt x="12" y="4"/>
                      </a:cubicBezTo>
                      <a:cubicBezTo>
                        <a:pt x="12" y="4"/>
                        <a:pt x="12" y="3"/>
                        <a:pt x="12" y="3"/>
                      </a:cubicBezTo>
                      <a:cubicBezTo>
                        <a:pt x="12" y="3"/>
                        <a:pt x="12" y="3"/>
                        <a:pt x="12" y="3"/>
                      </a:cubicBezTo>
                      <a:cubicBezTo>
                        <a:pt x="12" y="3"/>
                        <a:pt x="12" y="2"/>
                        <a:pt x="12" y="1"/>
                      </a:cubicBezTo>
                      <a:cubicBezTo>
                        <a:pt x="11" y="1"/>
                        <a:pt x="10" y="0"/>
                        <a:pt x="9" y="0"/>
                      </a:cubicBezTo>
                      <a:cubicBezTo>
                        <a:pt x="7" y="0"/>
                        <a:pt x="6" y="1"/>
                        <a:pt x="6" y="2"/>
                      </a:cubicBezTo>
                      <a:cubicBezTo>
                        <a:pt x="6" y="3"/>
                        <a:pt x="6" y="3"/>
                        <a:pt x="6" y="3"/>
                      </a:cubicBezTo>
                      <a:cubicBezTo>
                        <a:pt x="6" y="3"/>
                        <a:pt x="6" y="3"/>
                        <a:pt x="6" y="3"/>
                      </a:cubicBezTo>
                      <a:cubicBezTo>
                        <a:pt x="6" y="3"/>
                        <a:pt x="6" y="4"/>
                        <a:pt x="6" y="4"/>
                      </a:cubicBezTo>
                      <a:cubicBezTo>
                        <a:pt x="6" y="4"/>
                        <a:pt x="6" y="4"/>
                        <a:pt x="6" y="5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6" y="6"/>
                        <a:pt x="7" y="6"/>
                        <a:pt x="7" y="7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7" y="7"/>
                        <a:pt x="7" y="8"/>
                        <a:pt x="7" y="8"/>
                      </a:cubicBezTo>
                      <a:cubicBezTo>
                        <a:pt x="7" y="8"/>
                        <a:pt x="7" y="8"/>
                        <a:pt x="6" y="8"/>
                      </a:cubicBezTo>
                      <a:cubicBezTo>
                        <a:pt x="6" y="9"/>
                        <a:pt x="4" y="9"/>
                        <a:pt x="3" y="9"/>
                      </a:cubicBezTo>
                      <a:cubicBezTo>
                        <a:pt x="2" y="10"/>
                        <a:pt x="2" y="10"/>
                        <a:pt x="2" y="10"/>
                      </a:cubicBezTo>
                      <a:cubicBezTo>
                        <a:pt x="2" y="11"/>
                        <a:pt x="1" y="13"/>
                        <a:pt x="1" y="14"/>
                      </a:cubicBezTo>
                      <a:cubicBezTo>
                        <a:pt x="1" y="15"/>
                        <a:pt x="1" y="16"/>
                        <a:pt x="1" y="16"/>
                      </a:cubicBezTo>
                      <a:cubicBezTo>
                        <a:pt x="0" y="17"/>
                        <a:pt x="1" y="18"/>
                        <a:pt x="0" y="18"/>
                      </a:cubicBezTo>
                      <a:cubicBezTo>
                        <a:pt x="0" y="18"/>
                        <a:pt x="0" y="19"/>
                        <a:pt x="0" y="20"/>
                      </a:cubicBezTo>
                      <a:cubicBezTo>
                        <a:pt x="0" y="20"/>
                        <a:pt x="0" y="21"/>
                        <a:pt x="0" y="21"/>
                      </a:cubicBezTo>
                      <a:cubicBezTo>
                        <a:pt x="0" y="22"/>
                        <a:pt x="0" y="23"/>
                        <a:pt x="0" y="24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5"/>
                        <a:pt x="1" y="25"/>
                        <a:pt x="1" y="25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1" y="27"/>
                        <a:pt x="1" y="27"/>
                        <a:pt x="1" y="27"/>
                      </a:cubicBezTo>
                      <a:cubicBezTo>
                        <a:pt x="1" y="27"/>
                        <a:pt x="1" y="28"/>
                        <a:pt x="1" y="28"/>
                      </a:cubicBezTo>
                      <a:cubicBezTo>
                        <a:pt x="1" y="28"/>
                        <a:pt x="2" y="29"/>
                        <a:pt x="2" y="29"/>
                      </a:cubicBezTo>
                      <a:cubicBezTo>
                        <a:pt x="2" y="29"/>
                        <a:pt x="3" y="30"/>
                        <a:pt x="3" y="30"/>
                      </a:cubicBezTo>
                      <a:cubicBezTo>
                        <a:pt x="3" y="30"/>
                        <a:pt x="3" y="30"/>
                        <a:pt x="3" y="30"/>
                      </a:cubicBezTo>
                      <a:cubicBezTo>
                        <a:pt x="3" y="30"/>
                        <a:pt x="3" y="30"/>
                        <a:pt x="3" y="30"/>
                      </a:cubicBezTo>
                      <a:cubicBezTo>
                        <a:pt x="3" y="30"/>
                        <a:pt x="3" y="32"/>
                        <a:pt x="3" y="34"/>
                      </a:cubicBezTo>
                      <a:cubicBezTo>
                        <a:pt x="4" y="36"/>
                        <a:pt x="4" y="39"/>
                        <a:pt x="4" y="39"/>
                      </a:cubicBezTo>
                      <a:cubicBezTo>
                        <a:pt x="4" y="40"/>
                        <a:pt x="4" y="41"/>
                        <a:pt x="4" y="41"/>
                      </a:cubicBezTo>
                      <a:cubicBezTo>
                        <a:pt x="4" y="42"/>
                        <a:pt x="4" y="42"/>
                        <a:pt x="4" y="43"/>
                      </a:cubicBezTo>
                      <a:cubicBezTo>
                        <a:pt x="4" y="43"/>
                        <a:pt x="4" y="44"/>
                        <a:pt x="4" y="44"/>
                      </a:cubicBezTo>
                      <a:cubicBezTo>
                        <a:pt x="4" y="44"/>
                        <a:pt x="4" y="44"/>
                        <a:pt x="4" y="45"/>
                      </a:cubicBez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6"/>
                        <a:pt x="4" y="46"/>
                        <a:pt x="4" y="46"/>
                      </a:cubicBezTo>
                      <a:cubicBezTo>
                        <a:pt x="4" y="47"/>
                        <a:pt x="4" y="47"/>
                        <a:pt x="4" y="48"/>
                      </a:cubicBezTo>
                      <a:cubicBezTo>
                        <a:pt x="4" y="48"/>
                        <a:pt x="4" y="49"/>
                        <a:pt x="4" y="50"/>
                      </a:cubicBezTo>
                      <a:cubicBezTo>
                        <a:pt x="4" y="50"/>
                        <a:pt x="4" y="51"/>
                        <a:pt x="5" y="51"/>
                      </a:cubicBezTo>
                      <a:cubicBezTo>
                        <a:pt x="5" y="51"/>
                        <a:pt x="5" y="51"/>
                        <a:pt x="5" y="52"/>
                      </a:cubicBezTo>
                      <a:cubicBezTo>
                        <a:pt x="5" y="52"/>
                        <a:pt x="5" y="52"/>
                        <a:pt x="5" y="52"/>
                      </a:cubicBezTo>
                      <a:cubicBezTo>
                        <a:pt x="4" y="53"/>
                        <a:pt x="4" y="54"/>
                        <a:pt x="4" y="54"/>
                      </a:cubicBezTo>
                      <a:cubicBezTo>
                        <a:pt x="4" y="54"/>
                        <a:pt x="4" y="54"/>
                        <a:pt x="4" y="54"/>
                      </a:cubicBezTo>
                      <a:cubicBezTo>
                        <a:pt x="4" y="54"/>
                        <a:pt x="4" y="54"/>
                        <a:pt x="4" y="54"/>
                      </a:cubicBezTo>
                      <a:cubicBezTo>
                        <a:pt x="5" y="54"/>
                        <a:pt x="5" y="55"/>
                        <a:pt x="5" y="55"/>
                      </a:cubicBezTo>
                      <a:cubicBezTo>
                        <a:pt x="5" y="56"/>
                        <a:pt x="5" y="56"/>
                        <a:pt x="5" y="56"/>
                      </a:cubicBezTo>
                      <a:cubicBezTo>
                        <a:pt x="5" y="56"/>
                        <a:pt x="5" y="56"/>
                        <a:pt x="5" y="56"/>
                      </a:cubicBezTo>
                      <a:cubicBezTo>
                        <a:pt x="5" y="56"/>
                        <a:pt x="5" y="56"/>
                        <a:pt x="5" y="56"/>
                      </a:cubicBezTo>
                      <a:cubicBezTo>
                        <a:pt x="5" y="56"/>
                        <a:pt x="6" y="57"/>
                        <a:pt x="5" y="57"/>
                      </a:cubicBezTo>
                      <a:cubicBezTo>
                        <a:pt x="5" y="57"/>
                        <a:pt x="4" y="57"/>
                        <a:pt x="4" y="58"/>
                      </a:cubicBezTo>
                      <a:cubicBezTo>
                        <a:pt x="4" y="58"/>
                        <a:pt x="4" y="58"/>
                        <a:pt x="4" y="58"/>
                      </a:cubicBezTo>
                      <a:cubicBezTo>
                        <a:pt x="4" y="58"/>
                        <a:pt x="4" y="58"/>
                        <a:pt x="4" y="58"/>
                      </a:cubicBezTo>
                      <a:cubicBezTo>
                        <a:pt x="5" y="58"/>
                        <a:pt x="8" y="59"/>
                        <a:pt x="8" y="59"/>
                      </a:cubicBezTo>
                      <a:cubicBezTo>
                        <a:pt x="8" y="59"/>
                        <a:pt x="9" y="59"/>
                        <a:pt x="9" y="58"/>
                      </a:cubicBezTo>
                      <a:cubicBezTo>
                        <a:pt x="9" y="58"/>
                        <a:pt x="9" y="57"/>
                        <a:pt x="9" y="56"/>
                      </a:cubicBezTo>
                      <a:cubicBezTo>
                        <a:pt x="9" y="56"/>
                        <a:pt x="9" y="56"/>
                        <a:pt x="9" y="56"/>
                      </a:cubicBezTo>
                      <a:cubicBezTo>
                        <a:pt x="9" y="56"/>
                        <a:pt x="9" y="55"/>
                        <a:pt x="9" y="55"/>
                      </a:cubicBezTo>
                      <a:cubicBezTo>
                        <a:pt x="9" y="54"/>
                        <a:pt x="9" y="54"/>
                        <a:pt x="9" y="54"/>
                      </a:cubicBezTo>
                      <a:cubicBezTo>
                        <a:pt x="9" y="53"/>
                        <a:pt x="9" y="53"/>
                        <a:pt x="9" y="53"/>
                      </a:cubicBezTo>
                      <a:cubicBezTo>
                        <a:pt x="9" y="52"/>
                        <a:pt x="9" y="48"/>
                        <a:pt x="9" y="48"/>
                      </a:cubicBezTo>
                      <a:cubicBezTo>
                        <a:pt x="9" y="47"/>
                        <a:pt x="9" y="46"/>
                        <a:pt x="9" y="45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5"/>
                        <a:pt x="9" y="44"/>
                        <a:pt x="9" y="44"/>
                      </a:cubicBezTo>
                      <a:cubicBezTo>
                        <a:pt x="9" y="44"/>
                        <a:pt x="9" y="43"/>
                        <a:pt x="9" y="43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2"/>
                        <a:pt x="9" y="42"/>
                        <a:pt x="9" y="42"/>
                      </a:cubicBezTo>
                      <a:cubicBezTo>
                        <a:pt x="9" y="42"/>
                        <a:pt x="9" y="41"/>
                        <a:pt x="9" y="39"/>
                      </a:cubicBezTo>
                      <a:cubicBezTo>
                        <a:pt x="9" y="38"/>
                        <a:pt x="10" y="36"/>
                        <a:pt x="10" y="36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10" y="36"/>
                        <a:pt x="10" y="37"/>
                        <a:pt x="10" y="37"/>
                      </a:cubicBezTo>
                      <a:cubicBezTo>
                        <a:pt x="10" y="37"/>
                        <a:pt x="10" y="38"/>
                        <a:pt x="10" y="39"/>
                      </a:cubicBezTo>
                      <a:cubicBezTo>
                        <a:pt x="10" y="40"/>
                        <a:pt x="10" y="41"/>
                        <a:pt x="10" y="41"/>
                      </a:cubicBezTo>
                      <a:cubicBezTo>
                        <a:pt x="11" y="42"/>
                        <a:pt x="11" y="42"/>
                        <a:pt x="11" y="42"/>
                      </a:cubicBezTo>
                      <a:cubicBezTo>
                        <a:pt x="11" y="43"/>
                        <a:pt x="11" y="43"/>
                        <a:pt x="11" y="43"/>
                      </a:cubicBezTo>
                      <a:cubicBezTo>
                        <a:pt x="11" y="44"/>
                        <a:pt x="11" y="44"/>
                        <a:pt x="11" y="44"/>
                      </a:cubicBezTo>
                      <a:cubicBezTo>
                        <a:pt x="11" y="44"/>
                        <a:pt x="11" y="44"/>
                        <a:pt x="11" y="45"/>
                      </a:cubicBezTo>
                      <a:cubicBezTo>
                        <a:pt x="11" y="45"/>
                        <a:pt x="11" y="46"/>
                        <a:pt x="11" y="47"/>
                      </a:cubicBezTo>
                      <a:cubicBezTo>
                        <a:pt x="11" y="48"/>
                        <a:pt x="11" y="51"/>
                        <a:pt x="10" y="51"/>
                      </a:cubicBezTo>
                      <a:cubicBezTo>
                        <a:pt x="10" y="52"/>
                        <a:pt x="10" y="53"/>
                        <a:pt x="10" y="53"/>
                      </a:cubicBezTo>
                      <a:cubicBezTo>
                        <a:pt x="10" y="53"/>
                        <a:pt x="10" y="54"/>
                        <a:pt x="10" y="54"/>
                      </a:cubicBezTo>
                      <a:cubicBezTo>
                        <a:pt x="10" y="55"/>
                        <a:pt x="10" y="55"/>
                        <a:pt x="10" y="55"/>
                      </a:cubicBezTo>
                      <a:cubicBezTo>
                        <a:pt x="11" y="56"/>
                        <a:pt x="11" y="56"/>
                        <a:pt x="11" y="56"/>
                      </a:cubicBezTo>
                      <a:cubicBezTo>
                        <a:pt x="11" y="56"/>
                        <a:pt x="11" y="56"/>
                        <a:pt x="11" y="56"/>
                      </a:cubicBezTo>
                      <a:cubicBezTo>
                        <a:pt x="10" y="56"/>
                        <a:pt x="10" y="57"/>
                        <a:pt x="10" y="57"/>
                      </a:cubicBezTo>
                      <a:cubicBezTo>
                        <a:pt x="10" y="57"/>
                        <a:pt x="10" y="58"/>
                        <a:pt x="11" y="59"/>
                      </a:cubicBezTo>
                      <a:cubicBezTo>
                        <a:pt x="11" y="59"/>
                        <a:pt x="11" y="59"/>
                        <a:pt x="11" y="59"/>
                      </a:cubicBezTo>
                      <a:cubicBezTo>
                        <a:pt x="11" y="59"/>
                        <a:pt x="12" y="60"/>
                        <a:pt x="12" y="60"/>
                      </a:cubicBezTo>
                      <a:cubicBezTo>
                        <a:pt x="12" y="60"/>
                        <a:pt x="13" y="60"/>
                        <a:pt x="14" y="60"/>
                      </a:cubicBezTo>
                      <a:cubicBezTo>
                        <a:pt x="15" y="60"/>
                        <a:pt x="16" y="59"/>
                        <a:pt x="16" y="59"/>
                      </a:cubicBezTo>
                      <a:cubicBezTo>
                        <a:pt x="16" y="59"/>
                        <a:pt x="15" y="59"/>
                        <a:pt x="16" y="58"/>
                      </a:cubicBezTo>
                      <a:cubicBezTo>
                        <a:pt x="16" y="58"/>
                        <a:pt x="14" y="58"/>
                        <a:pt x="14" y="57"/>
                      </a:cubicBezTo>
                      <a:cubicBezTo>
                        <a:pt x="14" y="57"/>
                        <a:pt x="14" y="56"/>
                        <a:pt x="14" y="56"/>
                      </a:cubicBezTo>
                      <a:cubicBezTo>
                        <a:pt x="14" y="56"/>
                        <a:pt x="14" y="56"/>
                        <a:pt x="14" y="56"/>
                      </a:cubicBezTo>
                      <a:cubicBezTo>
                        <a:pt x="14" y="56"/>
                        <a:pt x="14" y="56"/>
                        <a:pt x="14" y="56"/>
                      </a:cubicBezTo>
                      <a:cubicBezTo>
                        <a:pt x="14" y="56"/>
                        <a:pt x="14" y="56"/>
                        <a:pt x="14" y="56"/>
                      </a:cubicBezTo>
                      <a:cubicBezTo>
                        <a:pt x="14" y="56"/>
                        <a:pt x="15" y="55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5" y="53"/>
                        <a:pt x="15" y="52"/>
                        <a:pt x="15" y="52"/>
                      </a:cubicBezTo>
                      <a:cubicBezTo>
                        <a:pt x="15" y="52"/>
                        <a:pt x="15" y="51"/>
                        <a:pt x="15" y="51"/>
                      </a:cubicBezTo>
                      <a:cubicBezTo>
                        <a:pt x="15" y="51"/>
                        <a:pt x="15" y="51"/>
                        <a:pt x="15" y="51"/>
                      </a:cubicBezTo>
                      <a:cubicBezTo>
                        <a:pt x="15" y="51"/>
                        <a:pt x="15" y="48"/>
                        <a:pt x="15" y="48"/>
                      </a:cubicBezTo>
                      <a:cubicBezTo>
                        <a:pt x="15" y="47"/>
                        <a:pt x="15" y="47"/>
                        <a:pt x="15" y="46"/>
                      </a:cubicBezTo>
                      <a:cubicBezTo>
                        <a:pt x="15" y="46"/>
                        <a:pt x="15" y="45"/>
                        <a:pt x="15" y="45"/>
                      </a:cubicBezTo>
                      <a:cubicBezTo>
                        <a:pt x="15" y="45"/>
                        <a:pt x="15" y="45"/>
                        <a:pt x="15" y="45"/>
                      </a:cubicBezTo>
                      <a:cubicBezTo>
                        <a:pt x="15" y="45"/>
                        <a:pt x="16" y="44"/>
                        <a:pt x="15" y="43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5" y="42"/>
                        <a:pt x="15" y="41"/>
                        <a:pt x="15" y="41"/>
                      </a:cubicBezTo>
                      <a:cubicBezTo>
                        <a:pt x="15" y="40"/>
                        <a:pt x="15" y="39"/>
                        <a:pt x="15" y="38"/>
                      </a:cubicBezTo>
                      <a:cubicBezTo>
                        <a:pt x="15" y="37"/>
                        <a:pt x="15" y="34"/>
                        <a:pt x="15" y="34"/>
                      </a:cubicBezTo>
                      <a:cubicBezTo>
                        <a:pt x="15" y="33"/>
                        <a:pt x="16" y="33"/>
                        <a:pt x="16" y="33"/>
                      </a:cubicBezTo>
                      <a:cubicBezTo>
                        <a:pt x="16" y="32"/>
                        <a:pt x="16" y="31"/>
                        <a:pt x="16" y="31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6" y="30"/>
                        <a:pt x="17" y="29"/>
                        <a:pt x="17" y="29"/>
                      </a:cubicBezTo>
                      <a:cubicBezTo>
                        <a:pt x="17" y="29"/>
                        <a:pt x="18" y="28"/>
                        <a:pt x="18" y="28"/>
                      </a:cubicBezTo>
                      <a:cubicBezTo>
                        <a:pt x="18" y="28"/>
                        <a:pt x="18" y="26"/>
                        <a:pt x="18" y="26"/>
                      </a:cubicBezTo>
                      <a:cubicBezTo>
                        <a:pt x="18" y="25"/>
                        <a:pt x="18" y="25"/>
                        <a:pt x="18" y="25"/>
                      </a:cubicBezTo>
                      <a:cubicBezTo>
                        <a:pt x="18" y="25"/>
                        <a:pt x="18" y="24"/>
                        <a:pt x="18" y="24"/>
                      </a:cubicBezTo>
                      <a:cubicBezTo>
                        <a:pt x="18" y="23"/>
                        <a:pt x="19" y="23"/>
                        <a:pt x="19" y="22"/>
                      </a:cubicBezTo>
                      <a:cubicBezTo>
                        <a:pt x="19" y="22"/>
                        <a:pt x="19" y="21"/>
                        <a:pt x="19" y="2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56" name="Oval 691">
                  <a:extLst>
                    <a:ext uri="{FF2B5EF4-FFF2-40B4-BE49-F238E27FC236}">
                      <a16:creationId xmlns:a16="http://schemas.microsoft.com/office/drawing/2014/main" id="{4108E199-163A-8D65-B5E2-1E6569F7F60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04025" y="2921000"/>
                  <a:ext cx="107950" cy="107950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57" name="Freeform 692">
                  <a:extLst>
                    <a:ext uri="{FF2B5EF4-FFF2-40B4-BE49-F238E27FC236}">
                      <a16:creationId xmlns:a16="http://schemas.microsoft.com/office/drawing/2014/main" id="{649F4DA7-85DB-DA67-E48E-9E09A18FA4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43713" y="2935288"/>
                  <a:ext cx="26987" cy="80963"/>
                </a:xfrm>
                <a:custGeom>
                  <a:avLst/>
                  <a:gdLst>
                    <a:gd name="T0" fmla="*/ 19 w 19"/>
                    <a:gd name="T1" fmla="*/ 18 h 59"/>
                    <a:gd name="T2" fmla="*/ 17 w 19"/>
                    <a:gd name="T3" fmla="*/ 10 h 59"/>
                    <a:gd name="T4" fmla="*/ 12 w 19"/>
                    <a:gd name="T5" fmla="*/ 8 h 59"/>
                    <a:gd name="T6" fmla="*/ 12 w 19"/>
                    <a:gd name="T7" fmla="*/ 7 h 59"/>
                    <a:gd name="T8" fmla="*/ 12 w 19"/>
                    <a:gd name="T9" fmla="*/ 5 h 59"/>
                    <a:gd name="T10" fmla="*/ 12 w 19"/>
                    <a:gd name="T11" fmla="*/ 2 h 59"/>
                    <a:gd name="T12" fmla="*/ 7 w 19"/>
                    <a:gd name="T13" fmla="*/ 3 h 59"/>
                    <a:gd name="T14" fmla="*/ 6 w 19"/>
                    <a:gd name="T15" fmla="*/ 5 h 59"/>
                    <a:gd name="T16" fmla="*/ 7 w 19"/>
                    <a:gd name="T17" fmla="*/ 8 h 59"/>
                    <a:gd name="T18" fmla="*/ 4 w 19"/>
                    <a:gd name="T19" fmla="*/ 10 h 59"/>
                    <a:gd name="T20" fmla="*/ 1 w 19"/>
                    <a:gd name="T21" fmla="*/ 17 h 59"/>
                    <a:gd name="T22" fmla="*/ 0 w 19"/>
                    <a:gd name="T23" fmla="*/ 22 h 59"/>
                    <a:gd name="T24" fmla="*/ 1 w 19"/>
                    <a:gd name="T25" fmla="*/ 26 h 59"/>
                    <a:gd name="T26" fmla="*/ 2 w 19"/>
                    <a:gd name="T27" fmla="*/ 29 h 59"/>
                    <a:gd name="T28" fmla="*/ 3 w 19"/>
                    <a:gd name="T29" fmla="*/ 31 h 59"/>
                    <a:gd name="T30" fmla="*/ 4 w 19"/>
                    <a:gd name="T31" fmla="*/ 40 h 59"/>
                    <a:gd name="T32" fmla="*/ 5 w 19"/>
                    <a:gd name="T33" fmla="*/ 44 h 59"/>
                    <a:gd name="T34" fmla="*/ 4 w 19"/>
                    <a:gd name="T35" fmla="*/ 47 h 59"/>
                    <a:gd name="T36" fmla="*/ 5 w 19"/>
                    <a:gd name="T37" fmla="*/ 52 h 59"/>
                    <a:gd name="T38" fmla="*/ 5 w 19"/>
                    <a:gd name="T39" fmla="*/ 54 h 59"/>
                    <a:gd name="T40" fmla="*/ 5 w 19"/>
                    <a:gd name="T41" fmla="*/ 56 h 59"/>
                    <a:gd name="T42" fmla="*/ 6 w 19"/>
                    <a:gd name="T43" fmla="*/ 57 h 59"/>
                    <a:gd name="T44" fmla="*/ 5 w 19"/>
                    <a:gd name="T45" fmla="*/ 59 h 59"/>
                    <a:gd name="T46" fmla="*/ 9 w 19"/>
                    <a:gd name="T47" fmla="*/ 59 h 59"/>
                    <a:gd name="T48" fmla="*/ 10 w 19"/>
                    <a:gd name="T49" fmla="*/ 55 h 59"/>
                    <a:gd name="T50" fmla="*/ 10 w 19"/>
                    <a:gd name="T51" fmla="*/ 48 h 59"/>
                    <a:gd name="T52" fmla="*/ 9 w 19"/>
                    <a:gd name="T53" fmla="*/ 45 h 59"/>
                    <a:gd name="T54" fmla="*/ 10 w 19"/>
                    <a:gd name="T55" fmla="*/ 43 h 59"/>
                    <a:gd name="T56" fmla="*/ 10 w 19"/>
                    <a:gd name="T57" fmla="*/ 36 h 59"/>
                    <a:gd name="T58" fmla="*/ 10 w 19"/>
                    <a:gd name="T59" fmla="*/ 38 h 59"/>
                    <a:gd name="T60" fmla="*/ 11 w 19"/>
                    <a:gd name="T61" fmla="*/ 43 h 59"/>
                    <a:gd name="T62" fmla="*/ 11 w 19"/>
                    <a:gd name="T63" fmla="*/ 45 h 59"/>
                    <a:gd name="T64" fmla="*/ 11 w 19"/>
                    <a:gd name="T65" fmla="*/ 54 h 59"/>
                    <a:gd name="T66" fmla="*/ 11 w 19"/>
                    <a:gd name="T67" fmla="*/ 57 h 59"/>
                    <a:gd name="T68" fmla="*/ 11 w 19"/>
                    <a:gd name="T69" fmla="*/ 59 h 59"/>
                    <a:gd name="T70" fmla="*/ 14 w 19"/>
                    <a:gd name="T71" fmla="*/ 58 h 59"/>
                    <a:gd name="T72" fmla="*/ 14 w 19"/>
                    <a:gd name="T73" fmla="*/ 57 h 59"/>
                    <a:gd name="T74" fmla="*/ 14 w 19"/>
                    <a:gd name="T75" fmla="*/ 57 h 59"/>
                    <a:gd name="T76" fmla="*/ 15 w 19"/>
                    <a:gd name="T77" fmla="*/ 54 h 59"/>
                    <a:gd name="T78" fmla="*/ 15 w 19"/>
                    <a:gd name="T79" fmla="*/ 51 h 59"/>
                    <a:gd name="T80" fmla="*/ 16 w 19"/>
                    <a:gd name="T81" fmla="*/ 46 h 59"/>
                    <a:gd name="T82" fmla="*/ 16 w 19"/>
                    <a:gd name="T83" fmla="*/ 44 h 59"/>
                    <a:gd name="T84" fmla="*/ 15 w 19"/>
                    <a:gd name="T85" fmla="*/ 43 h 59"/>
                    <a:gd name="T86" fmla="*/ 16 w 19"/>
                    <a:gd name="T87" fmla="*/ 34 h 59"/>
                    <a:gd name="T88" fmla="*/ 17 w 19"/>
                    <a:gd name="T89" fmla="*/ 30 h 59"/>
                    <a:gd name="T90" fmla="*/ 18 w 19"/>
                    <a:gd name="T91" fmla="*/ 27 h 59"/>
                    <a:gd name="T92" fmla="*/ 19 w 19"/>
                    <a:gd name="T93" fmla="*/ 23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9" h="59">
                      <a:moveTo>
                        <a:pt x="19" y="21"/>
                      </a:moveTo>
                      <a:cubicBezTo>
                        <a:pt x="19" y="20"/>
                        <a:pt x="19" y="20"/>
                        <a:pt x="19" y="20"/>
                      </a:cubicBezTo>
                      <a:cubicBezTo>
                        <a:pt x="19" y="20"/>
                        <a:pt x="19" y="18"/>
                        <a:pt x="19" y="18"/>
                      </a:cubicBezTo>
                      <a:cubicBezTo>
                        <a:pt x="19" y="17"/>
                        <a:pt x="19" y="16"/>
                        <a:pt x="19" y="15"/>
                      </a:cubicBezTo>
                      <a:cubicBezTo>
                        <a:pt x="18" y="14"/>
                        <a:pt x="18" y="13"/>
                        <a:pt x="18" y="12"/>
                      </a:cubicBezTo>
                      <a:cubicBezTo>
                        <a:pt x="18" y="11"/>
                        <a:pt x="18" y="10"/>
                        <a:pt x="17" y="10"/>
                      </a:cubicBezTo>
                      <a:cubicBezTo>
                        <a:pt x="17" y="10"/>
                        <a:pt x="16" y="9"/>
                        <a:pt x="15" y="9"/>
                      </a:cubicBezTo>
                      <a:cubicBezTo>
                        <a:pt x="14" y="9"/>
                        <a:pt x="13" y="9"/>
                        <a:pt x="13" y="9"/>
                      </a:cubicBezTo>
                      <a:cubicBezTo>
                        <a:pt x="13" y="9"/>
                        <a:pt x="12" y="9"/>
                        <a:pt x="12" y="8"/>
                      </a:cubicBezTo>
                      <a:cubicBezTo>
                        <a:pt x="12" y="8"/>
                        <a:pt x="12" y="8"/>
                        <a:pt x="12" y="8"/>
                      </a:cubicBezTo>
                      <a:cubicBezTo>
                        <a:pt x="12" y="8"/>
                        <a:pt x="12" y="8"/>
                        <a:pt x="12" y="8"/>
                      </a:cubicBezTo>
                      <a:cubicBezTo>
                        <a:pt x="12" y="8"/>
                        <a:pt x="12" y="7"/>
                        <a:pt x="12" y="7"/>
                      </a:cubicBezTo>
                      <a:cubicBezTo>
                        <a:pt x="12" y="7"/>
                        <a:pt x="12" y="6"/>
                        <a:pt x="12" y="6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2" y="5"/>
                        <a:pt x="13" y="4"/>
                        <a:pt x="12" y="4"/>
                      </a:cubicBezTo>
                      <a:cubicBezTo>
                        <a:pt x="12" y="3"/>
                        <a:pt x="12" y="3"/>
                        <a:pt x="12" y="3"/>
                      </a:cubicBezTo>
                      <a:cubicBezTo>
                        <a:pt x="12" y="3"/>
                        <a:pt x="12" y="3"/>
                        <a:pt x="12" y="2"/>
                      </a:cubicBezTo>
                      <a:cubicBezTo>
                        <a:pt x="12" y="1"/>
                        <a:pt x="11" y="0"/>
                        <a:pt x="9" y="0"/>
                      </a:cubicBezTo>
                      <a:cubicBezTo>
                        <a:pt x="8" y="0"/>
                        <a:pt x="7" y="2"/>
                        <a:pt x="7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7" y="3"/>
                        <a:pt x="6" y="3"/>
                        <a:pt x="6" y="4"/>
                      </a:cubicBezTo>
                      <a:cubicBezTo>
                        <a:pt x="6" y="4"/>
                        <a:pt x="6" y="4"/>
                        <a:pt x="6" y="5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6" y="5"/>
                        <a:pt x="7" y="6"/>
                        <a:pt x="7" y="6"/>
                      </a:cubicBezTo>
                      <a:cubicBezTo>
                        <a:pt x="7" y="6"/>
                        <a:pt x="7" y="7"/>
                        <a:pt x="7" y="7"/>
                      </a:cubicBezTo>
                      <a:cubicBezTo>
                        <a:pt x="7" y="8"/>
                        <a:pt x="7" y="8"/>
                        <a:pt x="7" y="8"/>
                      </a:cubicBezTo>
                      <a:cubicBezTo>
                        <a:pt x="7" y="8"/>
                        <a:pt x="7" y="8"/>
                        <a:pt x="7" y="8"/>
                      </a:cubicBezTo>
                      <a:cubicBezTo>
                        <a:pt x="7" y="8"/>
                        <a:pt x="7" y="9"/>
                        <a:pt x="7" y="9"/>
                      </a:cubicBezTo>
                      <a:cubicBezTo>
                        <a:pt x="6" y="9"/>
                        <a:pt x="5" y="10"/>
                        <a:pt x="4" y="10"/>
                      </a:cubicBezTo>
                      <a:cubicBezTo>
                        <a:pt x="3" y="11"/>
                        <a:pt x="2" y="11"/>
                        <a:pt x="2" y="11"/>
                      </a:cubicBezTo>
                      <a:cubicBezTo>
                        <a:pt x="2" y="11"/>
                        <a:pt x="1" y="14"/>
                        <a:pt x="1" y="15"/>
                      </a:cubicBezTo>
                      <a:cubicBezTo>
                        <a:pt x="1" y="16"/>
                        <a:pt x="1" y="16"/>
                        <a:pt x="1" y="17"/>
                      </a:cubicBezTo>
                      <a:cubicBezTo>
                        <a:pt x="1" y="18"/>
                        <a:pt x="1" y="18"/>
                        <a:pt x="1" y="18"/>
                      </a:cubicBezTo>
                      <a:cubicBezTo>
                        <a:pt x="1" y="19"/>
                        <a:pt x="0" y="20"/>
                        <a:pt x="1" y="20"/>
                      </a:cubicBezTo>
                      <a:cubicBezTo>
                        <a:pt x="1" y="21"/>
                        <a:pt x="0" y="21"/>
                        <a:pt x="0" y="22"/>
                      </a:cubicBezTo>
                      <a:cubicBezTo>
                        <a:pt x="0" y="22"/>
                        <a:pt x="0" y="23"/>
                        <a:pt x="1" y="24"/>
                      </a:cubicBezTo>
                      <a:cubicBezTo>
                        <a:pt x="1" y="24"/>
                        <a:pt x="1" y="25"/>
                        <a:pt x="1" y="25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2" y="26"/>
                        <a:pt x="1" y="27"/>
                        <a:pt x="1" y="27"/>
                      </a:cubicBezTo>
                      <a:cubicBezTo>
                        <a:pt x="1" y="27"/>
                        <a:pt x="1" y="28"/>
                        <a:pt x="2" y="28"/>
                      </a:cubicBezTo>
                      <a:cubicBezTo>
                        <a:pt x="2" y="28"/>
                        <a:pt x="1" y="28"/>
                        <a:pt x="2" y="29"/>
                      </a:cubicBezTo>
                      <a:cubicBezTo>
                        <a:pt x="2" y="29"/>
                        <a:pt x="2" y="29"/>
                        <a:pt x="2" y="29"/>
                      </a:cubicBezTo>
                      <a:cubicBezTo>
                        <a:pt x="2" y="30"/>
                        <a:pt x="3" y="31"/>
                        <a:pt x="3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4" y="31"/>
                        <a:pt x="4" y="31"/>
                        <a:pt x="4" y="31"/>
                      </a:cubicBezTo>
                      <a:cubicBezTo>
                        <a:pt x="4" y="31"/>
                        <a:pt x="4" y="32"/>
                        <a:pt x="4" y="35"/>
                      </a:cubicBezTo>
                      <a:cubicBezTo>
                        <a:pt x="4" y="37"/>
                        <a:pt x="4" y="39"/>
                        <a:pt x="4" y="40"/>
                      </a:cubicBezTo>
                      <a:cubicBezTo>
                        <a:pt x="4" y="41"/>
                        <a:pt x="5" y="41"/>
                        <a:pt x="5" y="42"/>
                      </a:cubicBezTo>
                      <a:cubicBezTo>
                        <a:pt x="5" y="42"/>
                        <a:pt x="5" y="43"/>
                        <a:pt x="5" y="44"/>
                      </a:cubicBezTo>
                      <a:cubicBezTo>
                        <a:pt x="5" y="44"/>
                        <a:pt x="5" y="44"/>
                        <a:pt x="5" y="44"/>
                      </a:cubicBez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6"/>
                        <a:pt x="5" y="46"/>
                        <a:pt x="4" y="46"/>
                      </a:cubicBezTo>
                      <a:cubicBezTo>
                        <a:pt x="4" y="46"/>
                        <a:pt x="4" y="46"/>
                        <a:pt x="4" y="47"/>
                      </a:cubicBezTo>
                      <a:cubicBezTo>
                        <a:pt x="4" y="47"/>
                        <a:pt x="5" y="47"/>
                        <a:pt x="5" y="48"/>
                      </a:cubicBezTo>
                      <a:cubicBezTo>
                        <a:pt x="5" y="49"/>
                        <a:pt x="5" y="49"/>
                        <a:pt x="5" y="50"/>
                      </a:cubicBezTo>
                      <a:cubicBezTo>
                        <a:pt x="5" y="51"/>
                        <a:pt x="5" y="52"/>
                        <a:pt x="5" y="52"/>
                      </a:cubicBezTo>
                      <a:cubicBezTo>
                        <a:pt x="5" y="52"/>
                        <a:pt x="5" y="52"/>
                        <a:pt x="5" y="52"/>
                      </a:cubicBezTo>
                      <a:cubicBezTo>
                        <a:pt x="5" y="53"/>
                        <a:pt x="5" y="53"/>
                        <a:pt x="5" y="53"/>
                      </a:cubicBezTo>
                      <a:cubicBezTo>
                        <a:pt x="5" y="54"/>
                        <a:pt x="5" y="54"/>
                        <a:pt x="5" y="54"/>
                      </a:cubicBezTo>
                      <a:cubicBezTo>
                        <a:pt x="5" y="54"/>
                        <a:pt x="5" y="54"/>
                        <a:pt x="5" y="54"/>
                      </a:cubicBezTo>
                      <a:cubicBezTo>
                        <a:pt x="5" y="55"/>
                        <a:pt x="5" y="55"/>
                        <a:pt x="5" y="55"/>
                      </a:cubicBezTo>
                      <a:cubicBezTo>
                        <a:pt x="5" y="55"/>
                        <a:pt x="5" y="56"/>
                        <a:pt x="5" y="56"/>
                      </a:cubicBezTo>
                      <a:cubicBezTo>
                        <a:pt x="6" y="56"/>
                        <a:pt x="6" y="57"/>
                        <a:pt x="6" y="57"/>
                      </a:cubicBezTo>
                      <a:cubicBezTo>
                        <a:pt x="6" y="57"/>
                        <a:pt x="6" y="57"/>
                        <a:pt x="6" y="57"/>
                      </a:cubicBezTo>
                      <a:cubicBezTo>
                        <a:pt x="6" y="57"/>
                        <a:pt x="6" y="57"/>
                        <a:pt x="6" y="57"/>
                      </a:cubicBezTo>
                      <a:cubicBezTo>
                        <a:pt x="6" y="57"/>
                        <a:pt x="6" y="57"/>
                        <a:pt x="6" y="58"/>
                      </a:cubicBezTo>
                      <a:cubicBezTo>
                        <a:pt x="5" y="58"/>
                        <a:pt x="4" y="58"/>
                        <a:pt x="4" y="58"/>
                      </a:cubicBezTo>
                      <a:cubicBezTo>
                        <a:pt x="5" y="59"/>
                        <a:pt x="5" y="59"/>
                        <a:pt x="5" y="59"/>
                      </a:cubicBezTo>
                      <a:cubicBezTo>
                        <a:pt x="5" y="59"/>
                        <a:pt x="4" y="59"/>
                        <a:pt x="5" y="59"/>
                      </a:cubicBezTo>
                      <a:cubicBezTo>
                        <a:pt x="5" y="59"/>
                        <a:pt x="8" y="59"/>
                        <a:pt x="8" y="59"/>
                      </a:cubicBezTo>
                      <a:cubicBezTo>
                        <a:pt x="9" y="59"/>
                        <a:pt x="9" y="59"/>
                        <a:pt x="9" y="59"/>
                      </a:cubicBezTo>
                      <a:cubicBezTo>
                        <a:pt x="10" y="59"/>
                        <a:pt x="9" y="57"/>
                        <a:pt x="9" y="57"/>
                      </a:cubicBezTo>
                      <a:cubicBezTo>
                        <a:pt x="9" y="57"/>
                        <a:pt x="9" y="57"/>
                        <a:pt x="9" y="57"/>
                      </a:cubicBezTo>
                      <a:cubicBezTo>
                        <a:pt x="9" y="57"/>
                        <a:pt x="10" y="56"/>
                        <a:pt x="10" y="55"/>
                      </a:cubicBezTo>
                      <a:cubicBezTo>
                        <a:pt x="10" y="55"/>
                        <a:pt x="9" y="54"/>
                        <a:pt x="9" y="54"/>
                      </a:cubicBezTo>
                      <a:cubicBezTo>
                        <a:pt x="10" y="54"/>
                        <a:pt x="10" y="54"/>
                        <a:pt x="10" y="53"/>
                      </a:cubicBezTo>
                      <a:cubicBezTo>
                        <a:pt x="10" y="53"/>
                        <a:pt x="10" y="49"/>
                        <a:pt x="10" y="48"/>
                      </a:cubicBezTo>
                      <a:cubicBezTo>
                        <a:pt x="9" y="48"/>
                        <a:pt x="9" y="46"/>
                        <a:pt x="9" y="46"/>
                      </a:cubicBezTo>
                      <a:cubicBezTo>
                        <a:pt x="9" y="46"/>
                        <a:pt x="9" y="45"/>
                        <a:pt x="9" y="45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9" y="44"/>
                        <a:pt x="10" y="44"/>
                        <a:pt x="10" y="44"/>
                      </a:cubicBezTo>
                      <a:cubicBezTo>
                        <a:pt x="10" y="43"/>
                        <a:pt x="10" y="43"/>
                        <a:pt x="10" y="43"/>
                      </a:cubicBezTo>
                      <a:cubicBezTo>
                        <a:pt x="10" y="43"/>
                        <a:pt x="10" y="41"/>
                        <a:pt x="10" y="40"/>
                      </a:cubicBezTo>
                      <a:cubicBezTo>
                        <a:pt x="10" y="39"/>
                        <a:pt x="10" y="36"/>
                        <a:pt x="10" y="36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0" y="36"/>
                        <a:pt x="10" y="37"/>
                        <a:pt x="10" y="38"/>
                      </a:cubicBezTo>
                      <a:cubicBezTo>
                        <a:pt x="10" y="38"/>
                        <a:pt x="10" y="39"/>
                        <a:pt x="11" y="40"/>
                      </a:cubicBezTo>
                      <a:cubicBezTo>
                        <a:pt x="11" y="40"/>
                        <a:pt x="11" y="42"/>
                        <a:pt x="11" y="42"/>
                      </a:cubicBezTo>
                      <a:cubicBezTo>
                        <a:pt x="11" y="43"/>
                        <a:pt x="11" y="43"/>
                        <a:pt x="11" y="43"/>
                      </a:cubicBezTo>
                      <a:cubicBezTo>
                        <a:pt x="11" y="43"/>
                        <a:pt x="11" y="44"/>
                        <a:pt x="11" y="44"/>
                      </a:cubicBezTo>
                      <a:cubicBezTo>
                        <a:pt x="11" y="44"/>
                        <a:pt x="11" y="44"/>
                        <a:pt x="11" y="44"/>
                      </a:cubicBezTo>
                      <a:cubicBezTo>
                        <a:pt x="11" y="44"/>
                        <a:pt x="11" y="45"/>
                        <a:pt x="11" y="45"/>
                      </a:cubicBezTo>
                      <a:cubicBezTo>
                        <a:pt x="11" y="46"/>
                        <a:pt x="11" y="47"/>
                        <a:pt x="11" y="48"/>
                      </a:cubicBezTo>
                      <a:cubicBezTo>
                        <a:pt x="11" y="48"/>
                        <a:pt x="11" y="51"/>
                        <a:pt x="11" y="52"/>
                      </a:cubicBezTo>
                      <a:cubicBezTo>
                        <a:pt x="11" y="53"/>
                        <a:pt x="11" y="53"/>
                        <a:pt x="11" y="54"/>
                      </a:cubicBezTo>
                      <a:cubicBezTo>
                        <a:pt x="11" y="54"/>
                        <a:pt x="10" y="55"/>
                        <a:pt x="10" y="55"/>
                      </a:cubicBezTo>
                      <a:cubicBezTo>
                        <a:pt x="10" y="55"/>
                        <a:pt x="11" y="56"/>
                        <a:pt x="11" y="56"/>
                      </a:cubicBezTo>
                      <a:cubicBezTo>
                        <a:pt x="11" y="56"/>
                        <a:pt x="11" y="57"/>
                        <a:pt x="11" y="57"/>
                      </a:cubicBezTo>
                      <a:cubicBezTo>
                        <a:pt x="11" y="57"/>
                        <a:pt x="11" y="57"/>
                        <a:pt x="11" y="57"/>
                      </a:cubicBezTo>
                      <a:cubicBezTo>
                        <a:pt x="11" y="57"/>
                        <a:pt x="11" y="57"/>
                        <a:pt x="11" y="57"/>
                      </a:cubicBezTo>
                      <a:cubicBezTo>
                        <a:pt x="11" y="57"/>
                        <a:pt x="11" y="59"/>
                        <a:pt x="11" y="59"/>
                      </a:cubicBezTo>
                      <a:cubicBezTo>
                        <a:pt x="11" y="59"/>
                        <a:pt x="12" y="59"/>
                        <a:pt x="12" y="59"/>
                      </a:cubicBezTo>
                      <a:cubicBezTo>
                        <a:pt x="12" y="59"/>
                        <a:pt x="12" y="58"/>
                        <a:pt x="12" y="58"/>
                      </a:cubicBezTo>
                      <a:cubicBezTo>
                        <a:pt x="13" y="58"/>
                        <a:pt x="13" y="58"/>
                        <a:pt x="14" y="58"/>
                      </a:cubicBezTo>
                      <a:cubicBezTo>
                        <a:pt x="15" y="58"/>
                        <a:pt x="16" y="59"/>
                        <a:pt x="16" y="58"/>
                      </a:cubicBezTo>
                      <a:cubicBezTo>
                        <a:pt x="16" y="58"/>
                        <a:pt x="16" y="59"/>
                        <a:pt x="16" y="58"/>
                      </a:cubicBezTo>
                      <a:cubicBezTo>
                        <a:pt x="16" y="58"/>
                        <a:pt x="15" y="58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5" y="56"/>
                        <a:pt x="15" y="56"/>
                      </a:cubicBezTo>
                      <a:cubicBezTo>
                        <a:pt x="15" y="56"/>
                        <a:pt x="15" y="55"/>
                        <a:pt x="15" y="55"/>
                      </a:cubicBezTo>
                      <a:cubicBezTo>
                        <a:pt x="15" y="55"/>
                        <a:pt x="15" y="54"/>
                        <a:pt x="15" y="54"/>
                      </a:cubicBezTo>
                      <a:cubicBezTo>
                        <a:pt x="15" y="54"/>
                        <a:pt x="15" y="53"/>
                        <a:pt x="15" y="53"/>
                      </a:cubicBezTo>
                      <a:cubicBezTo>
                        <a:pt x="15" y="52"/>
                        <a:pt x="15" y="52"/>
                        <a:pt x="15" y="52"/>
                      </a:cubicBezTo>
                      <a:cubicBezTo>
                        <a:pt x="15" y="52"/>
                        <a:pt x="15" y="52"/>
                        <a:pt x="15" y="51"/>
                      </a:cubicBezTo>
                      <a:cubicBezTo>
                        <a:pt x="15" y="51"/>
                        <a:pt x="15" y="49"/>
                        <a:pt x="15" y="48"/>
                      </a:cubicBezTo>
                      <a:cubicBezTo>
                        <a:pt x="15" y="48"/>
                        <a:pt x="16" y="47"/>
                        <a:pt x="16" y="47"/>
                      </a:cubicBezTo>
                      <a:cubicBezTo>
                        <a:pt x="16" y="46"/>
                        <a:pt x="16" y="46"/>
                        <a:pt x="16" y="46"/>
                      </a:cubicBezTo>
                      <a:cubicBezTo>
                        <a:pt x="16" y="46"/>
                        <a:pt x="16" y="45"/>
                        <a:pt x="16" y="45"/>
                      </a:cubicBezTo>
                      <a:cubicBezTo>
                        <a:pt x="16" y="45"/>
                        <a:pt x="16" y="45"/>
                        <a:pt x="16" y="44"/>
                      </a:cubicBezTo>
                      <a:cubicBezTo>
                        <a:pt x="16" y="44"/>
                        <a:pt x="16" y="44"/>
                        <a:pt x="16" y="44"/>
                      </a:cubicBezTo>
                      <a:cubicBezTo>
                        <a:pt x="16" y="44"/>
                        <a:pt x="16" y="44"/>
                        <a:pt x="16" y="44"/>
                      </a:cubicBezTo>
                      <a:cubicBezTo>
                        <a:pt x="16" y="44"/>
                        <a:pt x="16" y="44"/>
                        <a:pt x="16" y="44"/>
                      </a:cubicBezTo>
                      <a:cubicBezTo>
                        <a:pt x="15" y="44"/>
                        <a:pt x="15" y="43"/>
                        <a:pt x="15" y="43"/>
                      </a:cubicBezTo>
                      <a:cubicBezTo>
                        <a:pt x="15" y="43"/>
                        <a:pt x="15" y="42"/>
                        <a:pt x="15" y="41"/>
                      </a:cubicBezTo>
                      <a:cubicBezTo>
                        <a:pt x="15" y="41"/>
                        <a:pt x="16" y="40"/>
                        <a:pt x="16" y="39"/>
                      </a:cubicBezTo>
                      <a:cubicBezTo>
                        <a:pt x="16" y="38"/>
                        <a:pt x="16" y="35"/>
                        <a:pt x="16" y="34"/>
                      </a:cubicBezTo>
                      <a:cubicBezTo>
                        <a:pt x="16" y="34"/>
                        <a:pt x="16" y="34"/>
                        <a:pt x="16" y="33"/>
                      </a:cubicBezTo>
                      <a:cubicBezTo>
                        <a:pt x="16" y="33"/>
                        <a:pt x="16" y="32"/>
                        <a:pt x="16" y="31"/>
                      </a:cubicBezTo>
                      <a:cubicBezTo>
                        <a:pt x="16" y="31"/>
                        <a:pt x="17" y="30"/>
                        <a:pt x="17" y="30"/>
                      </a:cubicBezTo>
                      <a:cubicBezTo>
                        <a:pt x="17" y="30"/>
                        <a:pt x="17" y="30"/>
                        <a:pt x="17" y="29"/>
                      </a:cubicBezTo>
                      <a:cubicBezTo>
                        <a:pt x="17" y="29"/>
                        <a:pt x="18" y="28"/>
                        <a:pt x="18" y="28"/>
                      </a:cubicBezTo>
                      <a:cubicBezTo>
                        <a:pt x="18" y="28"/>
                        <a:pt x="18" y="27"/>
                        <a:pt x="18" y="27"/>
                      </a:cubicBezTo>
                      <a:cubicBezTo>
                        <a:pt x="18" y="26"/>
                        <a:pt x="18" y="26"/>
                        <a:pt x="18" y="26"/>
                      </a:cubicBezTo>
                      <a:cubicBezTo>
                        <a:pt x="19" y="25"/>
                        <a:pt x="19" y="25"/>
                        <a:pt x="19" y="24"/>
                      </a:cubicBezTo>
                      <a:cubicBezTo>
                        <a:pt x="19" y="24"/>
                        <a:pt x="19" y="23"/>
                        <a:pt x="19" y="23"/>
                      </a:cubicBezTo>
                      <a:cubicBezTo>
                        <a:pt x="19" y="22"/>
                        <a:pt x="19" y="21"/>
                        <a:pt x="19" y="2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58" name="Oval 693">
                  <a:extLst>
                    <a:ext uri="{FF2B5EF4-FFF2-40B4-BE49-F238E27FC236}">
                      <a16:creationId xmlns:a16="http://schemas.microsoft.com/office/drawing/2014/main" id="{D7A4C8FD-E5E6-2E4C-3513-6489338ABD0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35950" y="2393950"/>
                  <a:ext cx="107950" cy="107950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59" name="Freeform 694">
                  <a:extLst>
                    <a:ext uri="{FF2B5EF4-FFF2-40B4-BE49-F238E27FC236}">
                      <a16:creationId xmlns:a16="http://schemas.microsoft.com/office/drawing/2014/main" id="{1BD5054A-08AA-EED9-1D08-349B8A0C83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77225" y="2409825"/>
                  <a:ext cx="25400" cy="80963"/>
                </a:xfrm>
                <a:custGeom>
                  <a:avLst/>
                  <a:gdLst>
                    <a:gd name="T0" fmla="*/ 18 w 19"/>
                    <a:gd name="T1" fmla="*/ 17 h 59"/>
                    <a:gd name="T2" fmla="*/ 17 w 19"/>
                    <a:gd name="T3" fmla="*/ 9 h 59"/>
                    <a:gd name="T4" fmla="*/ 12 w 19"/>
                    <a:gd name="T5" fmla="*/ 7 h 59"/>
                    <a:gd name="T6" fmla="*/ 11 w 19"/>
                    <a:gd name="T7" fmla="*/ 6 h 59"/>
                    <a:gd name="T8" fmla="*/ 12 w 19"/>
                    <a:gd name="T9" fmla="*/ 4 h 59"/>
                    <a:gd name="T10" fmla="*/ 11 w 19"/>
                    <a:gd name="T11" fmla="*/ 1 h 59"/>
                    <a:gd name="T12" fmla="*/ 6 w 19"/>
                    <a:gd name="T13" fmla="*/ 2 h 59"/>
                    <a:gd name="T14" fmla="*/ 6 w 19"/>
                    <a:gd name="T15" fmla="*/ 4 h 59"/>
                    <a:gd name="T16" fmla="*/ 7 w 19"/>
                    <a:gd name="T17" fmla="*/ 7 h 59"/>
                    <a:gd name="T18" fmla="*/ 3 w 19"/>
                    <a:gd name="T19" fmla="*/ 9 h 59"/>
                    <a:gd name="T20" fmla="*/ 0 w 19"/>
                    <a:gd name="T21" fmla="*/ 16 h 59"/>
                    <a:gd name="T22" fmla="*/ 0 w 19"/>
                    <a:gd name="T23" fmla="*/ 21 h 59"/>
                    <a:gd name="T24" fmla="*/ 1 w 19"/>
                    <a:gd name="T25" fmla="*/ 25 h 59"/>
                    <a:gd name="T26" fmla="*/ 1 w 19"/>
                    <a:gd name="T27" fmla="*/ 28 h 59"/>
                    <a:gd name="T28" fmla="*/ 3 w 19"/>
                    <a:gd name="T29" fmla="*/ 30 h 59"/>
                    <a:gd name="T30" fmla="*/ 4 w 19"/>
                    <a:gd name="T31" fmla="*/ 39 h 59"/>
                    <a:gd name="T32" fmla="*/ 4 w 19"/>
                    <a:gd name="T33" fmla="*/ 44 h 59"/>
                    <a:gd name="T34" fmla="*/ 4 w 19"/>
                    <a:gd name="T35" fmla="*/ 46 h 59"/>
                    <a:gd name="T36" fmla="*/ 5 w 19"/>
                    <a:gd name="T37" fmla="*/ 51 h 59"/>
                    <a:gd name="T38" fmla="*/ 4 w 19"/>
                    <a:gd name="T39" fmla="*/ 53 h 59"/>
                    <a:gd name="T40" fmla="*/ 5 w 19"/>
                    <a:gd name="T41" fmla="*/ 55 h 59"/>
                    <a:gd name="T42" fmla="*/ 5 w 19"/>
                    <a:gd name="T43" fmla="*/ 56 h 59"/>
                    <a:gd name="T44" fmla="*/ 4 w 19"/>
                    <a:gd name="T45" fmla="*/ 58 h 59"/>
                    <a:gd name="T46" fmla="*/ 9 w 19"/>
                    <a:gd name="T47" fmla="*/ 58 h 59"/>
                    <a:gd name="T48" fmla="*/ 9 w 19"/>
                    <a:gd name="T49" fmla="*/ 54 h 59"/>
                    <a:gd name="T50" fmla="*/ 9 w 19"/>
                    <a:gd name="T51" fmla="*/ 47 h 59"/>
                    <a:gd name="T52" fmla="*/ 9 w 19"/>
                    <a:gd name="T53" fmla="*/ 44 h 59"/>
                    <a:gd name="T54" fmla="*/ 9 w 19"/>
                    <a:gd name="T55" fmla="*/ 42 h 59"/>
                    <a:gd name="T56" fmla="*/ 10 w 19"/>
                    <a:gd name="T57" fmla="*/ 35 h 59"/>
                    <a:gd name="T58" fmla="*/ 10 w 19"/>
                    <a:gd name="T59" fmla="*/ 37 h 59"/>
                    <a:gd name="T60" fmla="*/ 11 w 19"/>
                    <a:gd name="T61" fmla="*/ 42 h 59"/>
                    <a:gd name="T62" fmla="*/ 10 w 19"/>
                    <a:gd name="T63" fmla="*/ 45 h 59"/>
                    <a:gd name="T64" fmla="*/ 10 w 19"/>
                    <a:gd name="T65" fmla="*/ 53 h 59"/>
                    <a:gd name="T66" fmla="*/ 10 w 19"/>
                    <a:gd name="T67" fmla="*/ 56 h 59"/>
                    <a:gd name="T68" fmla="*/ 10 w 19"/>
                    <a:gd name="T69" fmla="*/ 58 h 59"/>
                    <a:gd name="T70" fmla="*/ 14 w 19"/>
                    <a:gd name="T71" fmla="*/ 59 h 59"/>
                    <a:gd name="T72" fmla="*/ 14 w 19"/>
                    <a:gd name="T73" fmla="*/ 57 h 59"/>
                    <a:gd name="T74" fmla="*/ 14 w 19"/>
                    <a:gd name="T75" fmla="*/ 56 h 59"/>
                    <a:gd name="T76" fmla="*/ 15 w 19"/>
                    <a:gd name="T77" fmla="*/ 53 h 59"/>
                    <a:gd name="T78" fmla="*/ 15 w 19"/>
                    <a:gd name="T79" fmla="*/ 51 h 59"/>
                    <a:gd name="T80" fmla="*/ 15 w 19"/>
                    <a:gd name="T81" fmla="*/ 45 h 59"/>
                    <a:gd name="T82" fmla="*/ 15 w 19"/>
                    <a:gd name="T83" fmla="*/ 43 h 59"/>
                    <a:gd name="T84" fmla="*/ 15 w 19"/>
                    <a:gd name="T85" fmla="*/ 42 h 59"/>
                    <a:gd name="T86" fmla="*/ 15 w 19"/>
                    <a:gd name="T87" fmla="*/ 34 h 59"/>
                    <a:gd name="T88" fmla="*/ 16 w 19"/>
                    <a:gd name="T89" fmla="*/ 30 h 59"/>
                    <a:gd name="T90" fmla="*/ 18 w 19"/>
                    <a:gd name="T91" fmla="*/ 26 h 59"/>
                    <a:gd name="T92" fmla="*/ 19 w 19"/>
                    <a:gd name="T93" fmla="*/ 22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9" h="59">
                      <a:moveTo>
                        <a:pt x="19" y="20"/>
                      </a:move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19" y="19"/>
                        <a:pt x="19" y="17"/>
                        <a:pt x="18" y="17"/>
                      </a:cubicBezTo>
                      <a:cubicBezTo>
                        <a:pt x="18" y="16"/>
                        <a:pt x="18" y="15"/>
                        <a:pt x="18" y="14"/>
                      </a:cubicBezTo>
                      <a:cubicBezTo>
                        <a:pt x="18" y="13"/>
                        <a:pt x="18" y="12"/>
                        <a:pt x="18" y="11"/>
                      </a:cubicBezTo>
                      <a:cubicBezTo>
                        <a:pt x="17" y="10"/>
                        <a:pt x="17" y="9"/>
                        <a:pt x="17" y="9"/>
                      </a:cubicBezTo>
                      <a:cubicBezTo>
                        <a:pt x="17" y="9"/>
                        <a:pt x="15" y="8"/>
                        <a:pt x="15" y="8"/>
                      </a:cubicBezTo>
                      <a:cubicBezTo>
                        <a:pt x="14" y="8"/>
                        <a:pt x="13" y="8"/>
                        <a:pt x="12" y="8"/>
                      </a:cubicBezTo>
                      <a:cubicBezTo>
                        <a:pt x="12" y="8"/>
                        <a:pt x="12" y="8"/>
                        <a:pt x="12" y="7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11" y="7"/>
                        <a:pt x="11" y="6"/>
                        <a:pt x="11" y="6"/>
                      </a:cubicBezTo>
                      <a:cubicBezTo>
                        <a:pt x="11" y="6"/>
                        <a:pt x="12" y="5"/>
                        <a:pt x="12" y="5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2" y="5"/>
                        <a:pt x="12" y="5"/>
                        <a:pt x="12" y="4"/>
                      </a:cubicBezTo>
                      <a:cubicBezTo>
                        <a:pt x="12" y="4"/>
                        <a:pt x="12" y="3"/>
                        <a:pt x="12" y="3"/>
                      </a:cubicBezTo>
                      <a:cubicBezTo>
                        <a:pt x="12" y="2"/>
                        <a:pt x="12" y="2"/>
                        <a:pt x="12" y="2"/>
                      </a:cubicBezTo>
                      <a:cubicBezTo>
                        <a:pt x="12" y="2"/>
                        <a:pt x="12" y="2"/>
                        <a:pt x="11" y="1"/>
                      </a:cubicBezTo>
                      <a:cubicBezTo>
                        <a:pt x="11" y="1"/>
                        <a:pt x="10" y="0"/>
                        <a:pt x="9" y="0"/>
                      </a:cubicBezTo>
                      <a:cubicBezTo>
                        <a:pt x="7" y="0"/>
                        <a:pt x="6" y="1"/>
                        <a:pt x="6" y="2"/>
                      </a:cubicBezTo>
                      <a:cubicBezTo>
                        <a:pt x="6" y="3"/>
                        <a:pt x="6" y="2"/>
                        <a:pt x="6" y="2"/>
                      </a:cubicBezTo>
                      <a:cubicBezTo>
                        <a:pt x="6" y="2"/>
                        <a:pt x="5" y="2"/>
                        <a:pt x="5" y="3"/>
                      </a:cubicBezTo>
                      <a:cubicBezTo>
                        <a:pt x="5" y="3"/>
                        <a:pt x="6" y="4"/>
                        <a:pt x="6" y="4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6" y="5"/>
                        <a:pt x="7" y="6"/>
                        <a:pt x="7" y="6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7" y="7"/>
                        <a:pt x="7" y="7"/>
                        <a:pt x="7" y="8"/>
                      </a:cubicBezTo>
                      <a:cubicBezTo>
                        <a:pt x="7" y="8"/>
                        <a:pt x="6" y="8"/>
                        <a:pt x="6" y="8"/>
                      </a:cubicBezTo>
                      <a:cubicBezTo>
                        <a:pt x="6" y="8"/>
                        <a:pt x="4" y="9"/>
                        <a:pt x="3" y="9"/>
                      </a:cubicBezTo>
                      <a:cubicBezTo>
                        <a:pt x="2" y="10"/>
                        <a:pt x="2" y="10"/>
                        <a:pt x="2" y="10"/>
                      </a:cubicBezTo>
                      <a:cubicBezTo>
                        <a:pt x="1" y="11"/>
                        <a:pt x="1" y="13"/>
                        <a:pt x="1" y="14"/>
                      </a:cubicBezTo>
                      <a:cubicBezTo>
                        <a:pt x="1" y="15"/>
                        <a:pt x="1" y="15"/>
                        <a:pt x="0" y="16"/>
                      </a:cubicBezTo>
                      <a:cubicBezTo>
                        <a:pt x="0" y="17"/>
                        <a:pt x="0" y="17"/>
                        <a:pt x="0" y="18"/>
                      </a:cubicBezTo>
                      <a:cubicBezTo>
                        <a:pt x="0" y="18"/>
                        <a:pt x="0" y="19"/>
                        <a:pt x="0" y="19"/>
                      </a:cubicBezTo>
                      <a:cubicBezTo>
                        <a:pt x="0" y="20"/>
                        <a:pt x="0" y="20"/>
                        <a:pt x="0" y="21"/>
                      </a:cubicBezTo>
                      <a:cubicBezTo>
                        <a:pt x="0" y="21"/>
                        <a:pt x="0" y="22"/>
                        <a:pt x="0" y="23"/>
                      </a:cubicBezTo>
                      <a:cubicBezTo>
                        <a:pt x="0" y="23"/>
                        <a:pt x="0" y="24"/>
                        <a:pt x="0" y="24"/>
                      </a:cubicBezTo>
                      <a:cubicBezTo>
                        <a:pt x="0" y="25"/>
                        <a:pt x="1" y="25"/>
                        <a:pt x="1" y="25"/>
                      </a:cubicBezTo>
                      <a:cubicBezTo>
                        <a:pt x="1" y="25"/>
                        <a:pt x="1" y="26"/>
                        <a:pt x="1" y="26"/>
                      </a:cubicBezTo>
                      <a:cubicBezTo>
                        <a:pt x="1" y="26"/>
                        <a:pt x="1" y="27"/>
                        <a:pt x="1" y="27"/>
                      </a:cubicBezTo>
                      <a:cubicBezTo>
                        <a:pt x="1" y="27"/>
                        <a:pt x="1" y="27"/>
                        <a:pt x="1" y="28"/>
                      </a:cubicBezTo>
                      <a:cubicBezTo>
                        <a:pt x="1" y="28"/>
                        <a:pt x="1" y="28"/>
                        <a:pt x="2" y="29"/>
                      </a:cubicBezTo>
                      <a:cubicBezTo>
                        <a:pt x="2" y="29"/>
                        <a:pt x="2" y="30"/>
                        <a:pt x="2" y="30"/>
                      </a:cubicBezTo>
                      <a:cubicBezTo>
                        <a:pt x="3" y="30"/>
                        <a:pt x="3" y="30"/>
                        <a:pt x="3" y="30"/>
                      </a:cubicBezTo>
                      <a:cubicBezTo>
                        <a:pt x="3" y="30"/>
                        <a:pt x="3" y="30"/>
                        <a:pt x="3" y="30"/>
                      </a:cubicBezTo>
                      <a:cubicBezTo>
                        <a:pt x="3" y="30"/>
                        <a:pt x="3" y="31"/>
                        <a:pt x="3" y="34"/>
                      </a:cubicBezTo>
                      <a:cubicBezTo>
                        <a:pt x="3" y="36"/>
                        <a:pt x="3" y="38"/>
                        <a:pt x="4" y="39"/>
                      </a:cubicBezTo>
                      <a:cubicBezTo>
                        <a:pt x="4" y="40"/>
                        <a:pt x="4" y="40"/>
                        <a:pt x="4" y="41"/>
                      </a:cubicBezTo>
                      <a:cubicBezTo>
                        <a:pt x="4" y="41"/>
                        <a:pt x="4" y="42"/>
                        <a:pt x="4" y="43"/>
                      </a:cubicBezTo>
                      <a:cubicBezTo>
                        <a:pt x="4" y="43"/>
                        <a:pt x="4" y="43"/>
                        <a:pt x="4" y="44"/>
                      </a:cubicBezTo>
                      <a:cubicBezTo>
                        <a:pt x="4" y="44"/>
                        <a:pt x="4" y="44"/>
                        <a:pt x="4" y="44"/>
                      </a:cubicBez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7"/>
                        <a:pt x="4" y="47"/>
                        <a:pt x="4" y="47"/>
                      </a:cubicBezTo>
                      <a:cubicBezTo>
                        <a:pt x="4" y="48"/>
                        <a:pt x="4" y="49"/>
                        <a:pt x="4" y="49"/>
                      </a:cubicBezTo>
                      <a:cubicBezTo>
                        <a:pt x="4" y="50"/>
                        <a:pt x="4" y="51"/>
                        <a:pt x="5" y="51"/>
                      </a:cubicBezTo>
                      <a:cubicBezTo>
                        <a:pt x="5" y="51"/>
                        <a:pt x="5" y="51"/>
                        <a:pt x="5" y="52"/>
                      </a:cubicBezTo>
                      <a:cubicBezTo>
                        <a:pt x="5" y="52"/>
                        <a:pt x="5" y="52"/>
                        <a:pt x="5" y="52"/>
                      </a:cubicBezTo>
                      <a:cubicBezTo>
                        <a:pt x="4" y="53"/>
                        <a:pt x="4" y="54"/>
                        <a:pt x="4" y="53"/>
                      </a:cubicBezTo>
                      <a:cubicBezTo>
                        <a:pt x="4" y="53"/>
                        <a:pt x="4" y="53"/>
                        <a:pt x="4" y="53"/>
                      </a:cubicBezTo>
                      <a:cubicBezTo>
                        <a:pt x="4" y="54"/>
                        <a:pt x="4" y="54"/>
                        <a:pt x="4" y="54"/>
                      </a:cubicBezTo>
                      <a:cubicBezTo>
                        <a:pt x="4" y="54"/>
                        <a:pt x="5" y="55"/>
                        <a:pt x="5" y="55"/>
                      </a:cubicBezTo>
                      <a:cubicBezTo>
                        <a:pt x="5" y="56"/>
                        <a:pt x="5" y="56"/>
                        <a:pt x="5" y="56"/>
                      </a:cubicBezTo>
                      <a:cubicBezTo>
                        <a:pt x="5" y="56"/>
                        <a:pt x="5" y="56"/>
                        <a:pt x="5" y="56"/>
                      </a:cubicBezTo>
                      <a:cubicBezTo>
                        <a:pt x="5" y="56"/>
                        <a:pt x="5" y="56"/>
                        <a:pt x="5" y="56"/>
                      </a:cubicBezTo>
                      <a:cubicBezTo>
                        <a:pt x="5" y="56"/>
                        <a:pt x="6" y="56"/>
                        <a:pt x="5" y="57"/>
                      </a:cubicBezTo>
                      <a:cubicBezTo>
                        <a:pt x="5" y="57"/>
                        <a:pt x="4" y="57"/>
                        <a:pt x="4" y="57"/>
                      </a:cubicBezTo>
                      <a:cubicBezTo>
                        <a:pt x="4" y="58"/>
                        <a:pt x="4" y="58"/>
                        <a:pt x="4" y="58"/>
                      </a:cubicBezTo>
                      <a:cubicBezTo>
                        <a:pt x="4" y="58"/>
                        <a:pt x="4" y="58"/>
                        <a:pt x="4" y="58"/>
                      </a:cubicBezTo>
                      <a:cubicBezTo>
                        <a:pt x="5" y="58"/>
                        <a:pt x="8" y="58"/>
                        <a:pt x="8" y="58"/>
                      </a:cubicBezTo>
                      <a:cubicBezTo>
                        <a:pt x="8" y="58"/>
                        <a:pt x="9" y="59"/>
                        <a:pt x="9" y="58"/>
                      </a:cubicBezTo>
                      <a:cubicBezTo>
                        <a:pt x="9" y="58"/>
                        <a:pt x="9" y="56"/>
                        <a:pt x="9" y="56"/>
                      </a:cubicBezTo>
                      <a:cubicBezTo>
                        <a:pt x="9" y="56"/>
                        <a:pt x="9" y="56"/>
                        <a:pt x="9" y="56"/>
                      </a:cubicBezTo>
                      <a:cubicBezTo>
                        <a:pt x="9" y="56"/>
                        <a:pt x="9" y="55"/>
                        <a:pt x="9" y="54"/>
                      </a:cubicBezTo>
                      <a:cubicBezTo>
                        <a:pt x="9" y="54"/>
                        <a:pt x="9" y="54"/>
                        <a:pt x="9" y="53"/>
                      </a:cubicBezTo>
                      <a:cubicBezTo>
                        <a:pt x="9" y="53"/>
                        <a:pt x="9" y="53"/>
                        <a:pt x="9" y="52"/>
                      </a:cubicBezTo>
                      <a:cubicBezTo>
                        <a:pt x="9" y="52"/>
                        <a:pt x="9" y="48"/>
                        <a:pt x="9" y="47"/>
                      </a:cubicBezTo>
                      <a:cubicBezTo>
                        <a:pt x="9" y="47"/>
                        <a:pt x="9" y="45"/>
                        <a:pt x="9" y="45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5"/>
                        <a:pt x="9" y="44"/>
                        <a:pt x="9" y="44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2"/>
                        <a:pt x="9" y="42"/>
                        <a:pt x="9" y="42"/>
                      </a:cubicBezTo>
                      <a:cubicBezTo>
                        <a:pt x="9" y="42"/>
                        <a:pt x="9" y="41"/>
                        <a:pt x="9" y="39"/>
                      </a:cubicBezTo>
                      <a:cubicBezTo>
                        <a:pt x="9" y="38"/>
                        <a:pt x="10" y="36"/>
                        <a:pt x="10" y="35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10" y="35"/>
                        <a:pt x="10" y="36"/>
                        <a:pt x="10" y="37"/>
                      </a:cubicBezTo>
                      <a:cubicBezTo>
                        <a:pt x="10" y="37"/>
                        <a:pt x="10" y="38"/>
                        <a:pt x="10" y="39"/>
                      </a:cubicBezTo>
                      <a:cubicBezTo>
                        <a:pt x="10" y="39"/>
                        <a:pt x="10" y="41"/>
                        <a:pt x="10" y="41"/>
                      </a:cubicBezTo>
                      <a:cubicBezTo>
                        <a:pt x="11" y="42"/>
                        <a:pt x="11" y="42"/>
                        <a:pt x="11" y="42"/>
                      </a:cubicBezTo>
                      <a:cubicBezTo>
                        <a:pt x="11" y="42"/>
                        <a:pt x="11" y="43"/>
                        <a:pt x="11" y="43"/>
                      </a:cubicBezTo>
                      <a:cubicBezTo>
                        <a:pt x="11" y="43"/>
                        <a:pt x="11" y="44"/>
                        <a:pt x="11" y="44"/>
                      </a:cubicBezTo>
                      <a:cubicBezTo>
                        <a:pt x="11" y="44"/>
                        <a:pt x="10" y="44"/>
                        <a:pt x="10" y="45"/>
                      </a:cubicBezTo>
                      <a:cubicBezTo>
                        <a:pt x="10" y="45"/>
                        <a:pt x="11" y="46"/>
                        <a:pt x="10" y="47"/>
                      </a:cubicBezTo>
                      <a:cubicBezTo>
                        <a:pt x="10" y="48"/>
                        <a:pt x="10" y="50"/>
                        <a:pt x="10" y="51"/>
                      </a:cubicBezTo>
                      <a:cubicBezTo>
                        <a:pt x="10" y="52"/>
                        <a:pt x="10" y="52"/>
                        <a:pt x="10" y="53"/>
                      </a:cubicBezTo>
                      <a:cubicBezTo>
                        <a:pt x="10" y="53"/>
                        <a:pt x="10" y="54"/>
                        <a:pt x="10" y="54"/>
                      </a:cubicBezTo>
                      <a:cubicBezTo>
                        <a:pt x="10" y="54"/>
                        <a:pt x="10" y="55"/>
                        <a:pt x="10" y="55"/>
                      </a:cubicBezTo>
                      <a:cubicBezTo>
                        <a:pt x="10" y="56"/>
                        <a:pt x="11" y="56"/>
                        <a:pt x="10" y="56"/>
                      </a:cubicBezTo>
                      <a:cubicBezTo>
                        <a:pt x="10" y="56"/>
                        <a:pt x="10" y="56"/>
                        <a:pt x="10" y="56"/>
                      </a:cubicBezTo>
                      <a:cubicBezTo>
                        <a:pt x="10" y="56"/>
                        <a:pt x="10" y="56"/>
                        <a:pt x="10" y="56"/>
                      </a:cubicBezTo>
                      <a:cubicBezTo>
                        <a:pt x="10" y="56"/>
                        <a:pt x="10" y="58"/>
                        <a:pt x="10" y="58"/>
                      </a:cubicBezTo>
                      <a:cubicBezTo>
                        <a:pt x="11" y="58"/>
                        <a:pt x="11" y="59"/>
                        <a:pt x="11" y="59"/>
                      </a:cubicBezTo>
                      <a:cubicBezTo>
                        <a:pt x="11" y="59"/>
                        <a:pt x="11" y="59"/>
                        <a:pt x="12" y="59"/>
                      </a:cubicBezTo>
                      <a:cubicBezTo>
                        <a:pt x="12" y="59"/>
                        <a:pt x="13" y="59"/>
                        <a:pt x="14" y="59"/>
                      </a:cubicBezTo>
                      <a:cubicBezTo>
                        <a:pt x="15" y="59"/>
                        <a:pt x="16" y="59"/>
                        <a:pt x="15" y="58"/>
                      </a:cubicBezTo>
                      <a:cubicBezTo>
                        <a:pt x="15" y="58"/>
                        <a:pt x="15" y="58"/>
                        <a:pt x="15" y="58"/>
                      </a:cubicBezTo>
                      <a:cubicBezTo>
                        <a:pt x="16" y="57"/>
                        <a:pt x="14" y="57"/>
                        <a:pt x="14" y="57"/>
                      </a:cubicBezTo>
                      <a:cubicBezTo>
                        <a:pt x="14" y="56"/>
                        <a:pt x="14" y="56"/>
                        <a:pt x="14" y="56"/>
                      </a:cubicBezTo>
                      <a:cubicBezTo>
                        <a:pt x="14" y="56"/>
                        <a:pt x="14" y="56"/>
                        <a:pt x="14" y="56"/>
                      </a:cubicBezTo>
                      <a:cubicBezTo>
                        <a:pt x="14" y="56"/>
                        <a:pt x="14" y="56"/>
                        <a:pt x="14" y="56"/>
                      </a:cubicBezTo>
                      <a:cubicBezTo>
                        <a:pt x="14" y="56"/>
                        <a:pt x="14" y="55"/>
                        <a:pt x="14" y="55"/>
                      </a:cubicBezTo>
                      <a:cubicBezTo>
                        <a:pt x="14" y="55"/>
                        <a:pt x="15" y="54"/>
                        <a:pt x="15" y="54"/>
                      </a:cubicBezTo>
                      <a:cubicBezTo>
                        <a:pt x="15" y="54"/>
                        <a:pt x="15" y="54"/>
                        <a:pt x="15" y="53"/>
                      </a:cubicBezTo>
                      <a:cubicBezTo>
                        <a:pt x="15" y="53"/>
                        <a:pt x="15" y="52"/>
                        <a:pt x="15" y="52"/>
                      </a:cubicBezTo>
                      <a:cubicBezTo>
                        <a:pt x="14" y="52"/>
                        <a:pt x="14" y="51"/>
                        <a:pt x="14" y="51"/>
                      </a:cubicBezTo>
                      <a:cubicBezTo>
                        <a:pt x="14" y="51"/>
                        <a:pt x="15" y="51"/>
                        <a:pt x="15" y="51"/>
                      </a:cubicBezTo>
                      <a:cubicBezTo>
                        <a:pt x="15" y="50"/>
                        <a:pt x="15" y="48"/>
                        <a:pt x="15" y="48"/>
                      </a:cubicBezTo>
                      <a:cubicBezTo>
                        <a:pt x="15" y="47"/>
                        <a:pt x="15" y="46"/>
                        <a:pt x="15" y="46"/>
                      </a:cubicBezTo>
                      <a:cubicBezTo>
                        <a:pt x="15" y="45"/>
                        <a:pt x="15" y="45"/>
                        <a:pt x="15" y="45"/>
                      </a:cubicBezTo>
                      <a:cubicBezTo>
                        <a:pt x="15" y="45"/>
                        <a:pt x="15" y="45"/>
                        <a:pt x="15" y="45"/>
                      </a:cubicBezTo>
                      <a:cubicBezTo>
                        <a:pt x="15" y="45"/>
                        <a:pt x="15" y="44"/>
                        <a:pt x="15" y="43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5" y="43"/>
                        <a:pt x="15" y="43"/>
                        <a:pt x="15" y="42"/>
                      </a:cubicBezTo>
                      <a:cubicBezTo>
                        <a:pt x="15" y="42"/>
                        <a:pt x="15" y="41"/>
                        <a:pt x="15" y="40"/>
                      </a:cubicBezTo>
                      <a:cubicBezTo>
                        <a:pt x="15" y="40"/>
                        <a:pt x="15" y="39"/>
                        <a:pt x="15" y="38"/>
                      </a:cubicBezTo>
                      <a:cubicBezTo>
                        <a:pt x="15" y="37"/>
                        <a:pt x="15" y="34"/>
                        <a:pt x="15" y="34"/>
                      </a:cubicBezTo>
                      <a:cubicBezTo>
                        <a:pt x="15" y="33"/>
                        <a:pt x="16" y="33"/>
                        <a:pt x="16" y="33"/>
                      </a:cubicBezTo>
                      <a:cubicBezTo>
                        <a:pt x="16" y="32"/>
                        <a:pt x="16" y="31"/>
                        <a:pt x="16" y="31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6" y="30"/>
                        <a:pt x="17" y="29"/>
                        <a:pt x="17" y="29"/>
                      </a:cubicBezTo>
                      <a:cubicBezTo>
                        <a:pt x="17" y="28"/>
                        <a:pt x="17" y="27"/>
                        <a:pt x="17" y="27"/>
                      </a:cubicBezTo>
                      <a:cubicBezTo>
                        <a:pt x="17" y="27"/>
                        <a:pt x="18" y="26"/>
                        <a:pt x="18" y="26"/>
                      </a:cubicBezTo>
                      <a:cubicBezTo>
                        <a:pt x="18" y="25"/>
                        <a:pt x="18" y="25"/>
                        <a:pt x="18" y="25"/>
                      </a:cubicBezTo>
                      <a:cubicBezTo>
                        <a:pt x="18" y="24"/>
                        <a:pt x="18" y="24"/>
                        <a:pt x="18" y="24"/>
                      </a:cubicBezTo>
                      <a:cubicBezTo>
                        <a:pt x="18" y="23"/>
                        <a:pt x="19" y="22"/>
                        <a:pt x="19" y="22"/>
                      </a:cubicBezTo>
                      <a:cubicBezTo>
                        <a:pt x="19" y="21"/>
                        <a:pt x="19" y="20"/>
                        <a:pt x="19" y="2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60" name="Oval 695">
                  <a:extLst>
                    <a:ext uri="{FF2B5EF4-FFF2-40B4-BE49-F238E27FC236}">
                      <a16:creationId xmlns:a16="http://schemas.microsoft.com/office/drawing/2014/main" id="{DEDC10E4-BB80-E812-CEDA-B9D81B2336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29488" y="2413000"/>
                  <a:ext cx="109537" cy="107950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61" name="Freeform 696">
                  <a:extLst>
                    <a:ext uri="{FF2B5EF4-FFF2-40B4-BE49-F238E27FC236}">
                      <a16:creationId xmlns:a16="http://schemas.microsoft.com/office/drawing/2014/main" id="{FA363674-5902-10C8-8E85-D16459B4C2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70763" y="2427288"/>
                  <a:ext cx="26987" cy="82550"/>
                </a:xfrm>
                <a:custGeom>
                  <a:avLst/>
                  <a:gdLst>
                    <a:gd name="T0" fmla="*/ 19 w 19"/>
                    <a:gd name="T1" fmla="*/ 18 h 60"/>
                    <a:gd name="T2" fmla="*/ 17 w 19"/>
                    <a:gd name="T3" fmla="*/ 10 h 60"/>
                    <a:gd name="T4" fmla="*/ 12 w 19"/>
                    <a:gd name="T5" fmla="*/ 8 h 60"/>
                    <a:gd name="T6" fmla="*/ 11 w 19"/>
                    <a:gd name="T7" fmla="*/ 7 h 60"/>
                    <a:gd name="T8" fmla="*/ 12 w 19"/>
                    <a:gd name="T9" fmla="*/ 5 h 60"/>
                    <a:gd name="T10" fmla="*/ 12 w 19"/>
                    <a:gd name="T11" fmla="*/ 2 h 60"/>
                    <a:gd name="T12" fmla="*/ 6 w 19"/>
                    <a:gd name="T13" fmla="*/ 3 h 60"/>
                    <a:gd name="T14" fmla="*/ 6 w 19"/>
                    <a:gd name="T15" fmla="*/ 5 h 60"/>
                    <a:gd name="T16" fmla="*/ 7 w 19"/>
                    <a:gd name="T17" fmla="*/ 8 h 60"/>
                    <a:gd name="T18" fmla="*/ 4 w 19"/>
                    <a:gd name="T19" fmla="*/ 10 h 60"/>
                    <a:gd name="T20" fmla="*/ 1 w 19"/>
                    <a:gd name="T21" fmla="*/ 17 h 60"/>
                    <a:gd name="T22" fmla="*/ 0 w 19"/>
                    <a:gd name="T23" fmla="*/ 22 h 60"/>
                    <a:gd name="T24" fmla="*/ 1 w 19"/>
                    <a:gd name="T25" fmla="*/ 26 h 60"/>
                    <a:gd name="T26" fmla="*/ 1 w 19"/>
                    <a:gd name="T27" fmla="*/ 29 h 60"/>
                    <a:gd name="T28" fmla="*/ 3 w 19"/>
                    <a:gd name="T29" fmla="*/ 31 h 60"/>
                    <a:gd name="T30" fmla="*/ 4 w 19"/>
                    <a:gd name="T31" fmla="*/ 40 h 60"/>
                    <a:gd name="T32" fmla="*/ 4 w 19"/>
                    <a:gd name="T33" fmla="*/ 45 h 60"/>
                    <a:gd name="T34" fmla="*/ 4 w 19"/>
                    <a:gd name="T35" fmla="*/ 47 h 60"/>
                    <a:gd name="T36" fmla="*/ 5 w 19"/>
                    <a:gd name="T37" fmla="*/ 52 h 60"/>
                    <a:gd name="T38" fmla="*/ 5 w 19"/>
                    <a:gd name="T39" fmla="*/ 54 h 60"/>
                    <a:gd name="T40" fmla="*/ 5 w 19"/>
                    <a:gd name="T41" fmla="*/ 56 h 60"/>
                    <a:gd name="T42" fmla="*/ 6 w 19"/>
                    <a:gd name="T43" fmla="*/ 57 h 60"/>
                    <a:gd name="T44" fmla="*/ 4 w 19"/>
                    <a:gd name="T45" fmla="*/ 59 h 60"/>
                    <a:gd name="T46" fmla="*/ 9 w 19"/>
                    <a:gd name="T47" fmla="*/ 59 h 60"/>
                    <a:gd name="T48" fmla="*/ 10 w 19"/>
                    <a:gd name="T49" fmla="*/ 55 h 60"/>
                    <a:gd name="T50" fmla="*/ 9 w 19"/>
                    <a:gd name="T51" fmla="*/ 48 h 60"/>
                    <a:gd name="T52" fmla="*/ 9 w 19"/>
                    <a:gd name="T53" fmla="*/ 45 h 60"/>
                    <a:gd name="T54" fmla="*/ 8 w 19"/>
                    <a:gd name="T55" fmla="*/ 43 h 60"/>
                    <a:gd name="T56" fmla="*/ 10 w 19"/>
                    <a:gd name="T57" fmla="*/ 36 h 60"/>
                    <a:gd name="T58" fmla="*/ 10 w 19"/>
                    <a:gd name="T59" fmla="*/ 38 h 60"/>
                    <a:gd name="T60" fmla="*/ 11 w 19"/>
                    <a:gd name="T61" fmla="*/ 43 h 60"/>
                    <a:gd name="T62" fmla="*/ 11 w 19"/>
                    <a:gd name="T63" fmla="*/ 46 h 60"/>
                    <a:gd name="T64" fmla="*/ 10 w 19"/>
                    <a:gd name="T65" fmla="*/ 54 h 60"/>
                    <a:gd name="T66" fmla="*/ 11 w 19"/>
                    <a:gd name="T67" fmla="*/ 57 h 60"/>
                    <a:gd name="T68" fmla="*/ 11 w 19"/>
                    <a:gd name="T69" fmla="*/ 59 h 60"/>
                    <a:gd name="T70" fmla="*/ 14 w 19"/>
                    <a:gd name="T71" fmla="*/ 58 h 60"/>
                    <a:gd name="T72" fmla="*/ 14 w 19"/>
                    <a:gd name="T73" fmla="*/ 57 h 60"/>
                    <a:gd name="T74" fmla="*/ 14 w 19"/>
                    <a:gd name="T75" fmla="*/ 57 h 60"/>
                    <a:gd name="T76" fmla="*/ 15 w 19"/>
                    <a:gd name="T77" fmla="*/ 54 h 60"/>
                    <a:gd name="T78" fmla="*/ 15 w 19"/>
                    <a:gd name="T79" fmla="*/ 52 h 60"/>
                    <a:gd name="T80" fmla="*/ 15 w 19"/>
                    <a:gd name="T81" fmla="*/ 46 h 60"/>
                    <a:gd name="T82" fmla="*/ 15 w 19"/>
                    <a:gd name="T83" fmla="*/ 44 h 60"/>
                    <a:gd name="T84" fmla="*/ 15 w 19"/>
                    <a:gd name="T85" fmla="*/ 43 h 60"/>
                    <a:gd name="T86" fmla="*/ 16 w 19"/>
                    <a:gd name="T87" fmla="*/ 35 h 60"/>
                    <a:gd name="T88" fmla="*/ 16 w 19"/>
                    <a:gd name="T89" fmla="*/ 31 h 60"/>
                    <a:gd name="T90" fmla="*/ 18 w 19"/>
                    <a:gd name="T91" fmla="*/ 27 h 60"/>
                    <a:gd name="T92" fmla="*/ 19 w 19"/>
                    <a:gd name="T93" fmla="*/ 23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9" h="60">
                      <a:moveTo>
                        <a:pt x="19" y="21"/>
                      </a:moveTo>
                      <a:cubicBezTo>
                        <a:pt x="19" y="20"/>
                        <a:pt x="19" y="20"/>
                        <a:pt x="19" y="20"/>
                      </a:cubicBezTo>
                      <a:cubicBezTo>
                        <a:pt x="19" y="20"/>
                        <a:pt x="19" y="18"/>
                        <a:pt x="19" y="18"/>
                      </a:cubicBezTo>
                      <a:cubicBezTo>
                        <a:pt x="19" y="17"/>
                        <a:pt x="18" y="16"/>
                        <a:pt x="18" y="15"/>
                      </a:cubicBezTo>
                      <a:cubicBezTo>
                        <a:pt x="18" y="14"/>
                        <a:pt x="18" y="13"/>
                        <a:pt x="18" y="12"/>
                      </a:cubicBezTo>
                      <a:cubicBezTo>
                        <a:pt x="18" y="11"/>
                        <a:pt x="18" y="10"/>
                        <a:pt x="17" y="10"/>
                      </a:cubicBezTo>
                      <a:cubicBezTo>
                        <a:pt x="17" y="10"/>
                        <a:pt x="16" y="9"/>
                        <a:pt x="15" y="9"/>
                      </a:cubicBezTo>
                      <a:cubicBezTo>
                        <a:pt x="14" y="9"/>
                        <a:pt x="13" y="9"/>
                        <a:pt x="13" y="9"/>
                      </a:cubicBezTo>
                      <a:cubicBezTo>
                        <a:pt x="13" y="9"/>
                        <a:pt x="12" y="9"/>
                        <a:pt x="12" y="8"/>
                      </a:cubicBezTo>
                      <a:cubicBezTo>
                        <a:pt x="12" y="8"/>
                        <a:pt x="12" y="8"/>
                        <a:pt x="12" y="8"/>
                      </a:cubicBezTo>
                      <a:cubicBezTo>
                        <a:pt x="12" y="8"/>
                        <a:pt x="12" y="8"/>
                        <a:pt x="12" y="8"/>
                      </a:cubicBezTo>
                      <a:cubicBezTo>
                        <a:pt x="11" y="8"/>
                        <a:pt x="11" y="7"/>
                        <a:pt x="11" y="7"/>
                      </a:cubicBezTo>
                      <a:cubicBezTo>
                        <a:pt x="12" y="7"/>
                        <a:pt x="12" y="6"/>
                        <a:pt x="12" y="6"/>
                      </a:cubicBezTo>
                      <a:cubicBezTo>
                        <a:pt x="12" y="6"/>
                        <a:pt x="12" y="6"/>
                        <a:pt x="12" y="6"/>
                      </a:cubicBezTo>
                      <a:cubicBezTo>
                        <a:pt x="12" y="6"/>
                        <a:pt x="12" y="6"/>
                        <a:pt x="12" y="5"/>
                      </a:cubicBezTo>
                      <a:cubicBezTo>
                        <a:pt x="12" y="5"/>
                        <a:pt x="12" y="4"/>
                        <a:pt x="12" y="4"/>
                      </a:cubicBezTo>
                      <a:cubicBezTo>
                        <a:pt x="12" y="3"/>
                        <a:pt x="12" y="3"/>
                        <a:pt x="12" y="3"/>
                      </a:cubicBezTo>
                      <a:cubicBezTo>
                        <a:pt x="12" y="3"/>
                        <a:pt x="12" y="3"/>
                        <a:pt x="12" y="2"/>
                      </a:cubicBezTo>
                      <a:cubicBezTo>
                        <a:pt x="12" y="1"/>
                        <a:pt x="11" y="0"/>
                        <a:pt x="9" y="0"/>
                      </a:cubicBezTo>
                      <a:cubicBezTo>
                        <a:pt x="8" y="0"/>
                        <a:pt x="6" y="2"/>
                        <a:pt x="6" y="3"/>
                      </a:cubicBezTo>
                      <a:cubicBezTo>
                        <a:pt x="6" y="4"/>
                        <a:pt x="6" y="3"/>
                        <a:pt x="6" y="3"/>
                      </a:cubicBezTo>
                      <a:cubicBezTo>
                        <a:pt x="6" y="3"/>
                        <a:pt x="6" y="3"/>
                        <a:pt x="6" y="4"/>
                      </a:cubicBezTo>
                      <a:cubicBezTo>
                        <a:pt x="6" y="4"/>
                        <a:pt x="6" y="5"/>
                        <a:pt x="6" y="5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6" y="6"/>
                        <a:pt x="6" y="6"/>
                        <a:pt x="7" y="6"/>
                      </a:cubicBezTo>
                      <a:cubicBezTo>
                        <a:pt x="7" y="6"/>
                        <a:pt x="7" y="7"/>
                        <a:pt x="7" y="7"/>
                      </a:cubicBezTo>
                      <a:cubicBezTo>
                        <a:pt x="7" y="8"/>
                        <a:pt x="7" y="8"/>
                        <a:pt x="7" y="8"/>
                      </a:cubicBezTo>
                      <a:cubicBezTo>
                        <a:pt x="7" y="8"/>
                        <a:pt x="7" y="8"/>
                        <a:pt x="7" y="9"/>
                      </a:cubicBezTo>
                      <a:cubicBezTo>
                        <a:pt x="7" y="9"/>
                        <a:pt x="7" y="9"/>
                        <a:pt x="6" y="9"/>
                      </a:cubicBezTo>
                      <a:cubicBezTo>
                        <a:pt x="6" y="9"/>
                        <a:pt x="5" y="10"/>
                        <a:pt x="4" y="10"/>
                      </a:cubicBezTo>
                      <a:cubicBezTo>
                        <a:pt x="2" y="11"/>
                        <a:pt x="2" y="11"/>
                        <a:pt x="2" y="11"/>
                      </a:cubicBezTo>
                      <a:cubicBezTo>
                        <a:pt x="2" y="11"/>
                        <a:pt x="1" y="14"/>
                        <a:pt x="1" y="15"/>
                      </a:cubicBezTo>
                      <a:cubicBezTo>
                        <a:pt x="1" y="16"/>
                        <a:pt x="1" y="16"/>
                        <a:pt x="1" y="17"/>
                      </a:cubicBezTo>
                      <a:cubicBezTo>
                        <a:pt x="1" y="18"/>
                        <a:pt x="1" y="18"/>
                        <a:pt x="1" y="19"/>
                      </a:cubicBezTo>
                      <a:cubicBezTo>
                        <a:pt x="1" y="19"/>
                        <a:pt x="0" y="20"/>
                        <a:pt x="0" y="20"/>
                      </a:cubicBezTo>
                      <a:cubicBezTo>
                        <a:pt x="0" y="21"/>
                        <a:pt x="0" y="21"/>
                        <a:pt x="0" y="22"/>
                      </a:cubicBezTo>
                      <a:cubicBezTo>
                        <a:pt x="0" y="22"/>
                        <a:pt x="0" y="23"/>
                        <a:pt x="1" y="24"/>
                      </a:cubicBezTo>
                      <a:cubicBezTo>
                        <a:pt x="1" y="24"/>
                        <a:pt x="1" y="25"/>
                        <a:pt x="1" y="25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1" y="26"/>
                        <a:pt x="1" y="27"/>
                        <a:pt x="1" y="27"/>
                      </a:cubicBezTo>
                      <a:cubicBezTo>
                        <a:pt x="1" y="27"/>
                        <a:pt x="1" y="28"/>
                        <a:pt x="1" y="28"/>
                      </a:cubicBezTo>
                      <a:cubicBezTo>
                        <a:pt x="2" y="28"/>
                        <a:pt x="1" y="28"/>
                        <a:pt x="1" y="29"/>
                      </a:cubicBezTo>
                      <a:cubicBezTo>
                        <a:pt x="2" y="29"/>
                        <a:pt x="2" y="29"/>
                        <a:pt x="2" y="30"/>
                      </a:cubicBezTo>
                      <a:cubicBezTo>
                        <a:pt x="2" y="30"/>
                        <a:pt x="3" y="31"/>
                        <a:pt x="3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3" y="31"/>
                        <a:pt x="3" y="32"/>
                        <a:pt x="4" y="35"/>
                      </a:cubicBezTo>
                      <a:cubicBezTo>
                        <a:pt x="4" y="37"/>
                        <a:pt x="4" y="39"/>
                        <a:pt x="4" y="40"/>
                      </a:cubicBezTo>
                      <a:cubicBezTo>
                        <a:pt x="4" y="41"/>
                        <a:pt x="4" y="41"/>
                        <a:pt x="5" y="42"/>
                      </a:cubicBezTo>
                      <a:cubicBezTo>
                        <a:pt x="5" y="42"/>
                        <a:pt x="4" y="43"/>
                        <a:pt x="5" y="44"/>
                      </a:cubicBezTo>
                      <a:cubicBezTo>
                        <a:pt x="5" y="44"/>
                        <a:pt x="5" y="44"/>
                        <a:pt x="4" y="45"/>
                      </a:cubicBez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6"/>
                        <a:pt x="4" y="46"/>
                        <a:pt x="4" y="46"/>
                      </a:cubicBezTo>
                      <a:cubicBezTo>
                        <a:pt x="4" y="46"/>
                        <a:pt x="4" y="47"/>
                        <a:pt x="4" y="47"/>
                      </a:cubicBezTo>
                      <a:cubicBezTo>
                        <a:pt x="4" y="48"/>
                        <a:pt x="5" y="48"/>
                        <a:pt x="5" y="48"/>
                      </a:cubicBezTo>
                      <a:cubicBezTo>
                        <a:pt x="5" y="49"/>
                        <a:pt x="5" y="50"/>
                        <a:pt x="5" y="50"/>
                      </a:cubicBezTo>
                      <a:cubicBezTo>
                        <a:pt x="5" y="51"/>
                        <a:pt x="5" y="52"/>
                        <a:pt x="5" y="52"/>
                      </a:cubicBezTo>
                      <a:cubicBezTo>
                        <a:pt x="5" y="52"/>
                        <a:pt x="5" y="52"/>
                        <a:pt x="5" y="52"/>
                      </a:cubicBezTo>
                      <a:cubicBezTo>
                        <a:pt x="5" y="53"/>
                        <a:pt x="5" y="53"/>
                        <a:pt x="5" y="53"/>
                      </a:cubicBezTo>
                      <a:cubicBezTo>
                        <a:pt x="5" y="54"/>
                        <a:pt x="5" y="55"/>
                        <a:pt x="5" y="54"/>
                      </a:cubicBezTo>
                      <a:cubicBezTo>
                        <a:pt x="5" y="54"/>
                        <a:pt x="5" y="54"/>
                        <a:pt x="5" y="54"/>
                      </a:cubicBezTo>
                      <a:cubicBezTo>
                        <a:pt x="5" y="55"/>
                        <a:pt x="4" y="55"/>
                        <a:pt x="5" y="55"/>
                      </a:cubicBezTo>
                      <a:cubicBezTo>
                        <a:pt x="5" y="55"/>
                        <a:pt x="5" y="56"/>
                        <a:pt x="5" y="56"/>
                      </a:cubicBezTo>
                      <a:cubicBezTo>
                        <a:pt x="5" y="57"/>
                        <a:pt x="6" y="57"/>
                        <a:pt x="6" y="57"/>
                      </a:cubicBezTo>
                      <a:cubicBezTo>
                        <a:pt x="6" y="57"/>
                        <a:pt x="6" y="57"/>
                        <a:pt x="6" y="57"/>
                      </a:cubicBezTo>
                      <a:cubicBezTo>
                        <a:pt x="6" y="57"/>
                        <a:pt x="6" y="57"/>
                        <a:pt x="6" y="57"/>
                      </a:cubicBezTo>
                      <a:cubicBezTo>
                        <a:pt x="6" y="57"/>
                        <a:pt x="6" y="57"/>
                        <a:pt x="5" y="58"/>
                      </a:cubicBezTo>
                      <a:cubicBezTo>
                        <a:pt x="5" y="58"/>
                        <a:pt x="4" y="58"/>
                        <a:pt x="4" y="58"/>
                      </a:cubicBezTo>
                      <a:cubicBezTo>
                        <a:pt x="4" y="59"/>
                        <a:pt x="4" y="59"/>
                        <a:pt x="4" y="59"/>
                      </a:cubicBezTo>
                      <a:cubicBezTo>
                        <a:pt x="4" y="59"/>
                        <a:pt x="4" y="59"/>
                        <a:pt x="5" y="59"/>
                      </a:cubicBezTo>
                      <a:cubicBezTo>
                        <a:pt x="5" y="59"/>
                        <a:pt x="8" y="59"/>
                        <a:pt x="8" y="59"/>
                      </a:cubicBezTo>
                      <a:cubicBezTo>
                        <a:pt x="8" y="59"/>
                        <a:pt x="9" y="60"/>
                        <a:pt x="9" y="59"/>
                      </a:cubicBezTo>
                      <a:cubicBezTo>
                        <a:pt x="9" y="59"/>
                        <a:pt x="9" y="57"/>
                        <a:pt x="9" y="57"/>
                      </a:cubicBezTo>
                      <a:cubicBezTo>
                        <a:pt x="9" y="57"/>
                        <a:pt x="9" y="57"/>
                        <a:pt x="9" y="57"/>
                      </a:cubicBezTo>
                      <a:cubicBezTo>
                        <a:pt x="9" y="57"/>
                        <a:pt x="10" y="56"/>
                        <a:pt x="10" y="55"/>
                      </a:cubicBezTo>
                      <a:cubicBezTo>
                        <a:pt x="10" y="55"/>
                        <a:pt x="9" y="55"/>
                        <a:pt x="9" y="54"/>
                      </a:cubicBezTo>
                      <a:cubicBezTo>
                        <a:pt x="9" y="54"/>
                        <a:pt x="10" y="54"/>
                        <a:pt x="10" y="53"/>
                      </a:cubicBezTo>
                      <a:cubicBezTo>
                        <a:pt x="10" y="53"/>
                        <a:pt x="10" y="49"/>
                        <a:pt x="9" y="48"/>
                      </a:cubicBezTo>
                      <a:cubicBezTo>
                        <a:pt x="9" y="48"/>
                        <a:pt x="9" y="46"/>
                        <a:pt x="9" y="46"/>
                      </a:cubicBezTo>
                      <a:cubicBezTo>
                        <a:pt x="9" y="46"/>
                        <a:pt x="9" y="46"/>
                        <a:pt x="9" y="46"/>
                      </a:cubicBezTo>
                      <a:cubicBezTo>
                        <a:pt x="9" y="46"/>
                        <a:pt x="9" y="45"/>
                        <a:pt x="9" y="45"/>
                      </a:cubicBezTo>
                      <a:cubicBezTo>
                        <a:pt x="9" y="44"/>
                        <a:pt x="8" y="44"/>
                        <a:pt x="8" y="44"/>
                      </a:cubicBezTo>
                      <a:cubicBezTo>
                        <a:pt x="8" y="44"/>
                        <a:pt x="8" y="44"/>
                        <a:pt x="8" y="44"/>
                      </a:cubicBezTo>
                      <a:cubicBezTo>
                        <a:pt x="8" y="43"/>
                        <a:pt x="8" y="43"/>
                        <a:pt x="8" y="43"/>
                      </a:cubicBezTo>
                      <a:cubicBezTo>
                        <a:pt x="8" y="43"/>
                        <a:pt x="9" y="42"/>
                        <a:pt x="9" y="40"/>
                      </a:cubicBezTo>
                      <a:cubicBezTo>
                        <a:pt x="9" y="39"/>
                        <a:pt x="10" y="37"/>
                        <a:pt x="10" y="36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0" y="36"/>
                        <a:pt x="10" y="37"/>
                        <a:pt x="10" y="38"/>
                      </a:cubicBezTo>
                      <a:cubicBezTo>
                        <a:pt x="10" y="38"/>
                        <a:pt x="10" y="39"/>
                        <a:pt x="10" y="40"/>
                      </a:cubicBezTo>
                      <a:cubicBezTo>
                        <a:pt x="11" y="40"/>
                        <a:pt x="11" y="42"/>
                        <a:pt x="11" y="42"/>
                      </a:cubicBezTo>
                      <a:cubicBezTo>
                        <a:pt x="11" y="43"/>
                        <a:pt x="11" y="43"/>
                        <a:pt x="11" y="43"/>
                      </a:cubicBezTo>
                      <a:cubicBezTo>
                        <a:pt x="11" y="43"/>
                        <a:pt x="11" y="44"/>
                        <a:pt x="11" y="44"/>
                      </a:cubicBezTo>
                      <a:cubicBezTo>
                        <a:pt x="11" y="44"/>
                        <a:pt x="11" y="45"/>
                        <a:pt x="11" y="45"/>
                      </a:cubicBezTo>
                      <a:cubicBezTo>
                        <a:pt x="11" y="45"/>
                        <a:pt x="11" y="45"/>
                        <a:pt x="11" y="46"/>
                      </a:cubicBezTo>
                      <a:cubicBezTo>
                        <a:pt x="11" y="46"/>
                        <a:pt x="11" y="47"/>
                        <a:pt x="11" y="48"/>
                      </a:cubicBezTo>
                      <a:cubicBezTo>
                        <a:pt x="11" y="49"/>
                        <a:pt x="11" y="51"/>
                        <a:pt x="11" y="52"/>
                      </a:cubicBezTo>
                      <a:cubicBezTo>
                        <a:pt x="11" y="53"/>
                        <a:pt x="11" y="53"/>
                        <a:pt x="10" y="54"/>
                      </a:cubicBezTo>
                      <a:cubicBezTo>
                        <a:pt x="10" y="54"/>
                        <a:pt x="10" y="55"/>
                        <a:pt x="10" y="55"/>
                      </a:cubicBezTo>
                      <a:cubicBezTo>
                        <a:pt x="10" y="55"/>
                        <a:pt x="11" y="56"/>
                        <a:pt x="11" y="56"/>
                      </a:cubicBezTo>
                      <a:cubicBezTo>
                        <a:pt x="11" y="57"/>
                        <a:pt x="11" y="57"/>
                        <a:pt x="11" y="57"/>
                      </a:cubicBezTo>
                      <a:cubicBezTo>
                        <a:pt x="11" y="57"/>
                        <a:pt x="11" y="57"/>
                        <a:pt x="11" y="57"/>
                      </a:cubicBezTo>
                      <a:cubicBezTo>
                        <a:pt x="11" y="57"/>
                        <a:pt x="11" y="57"/>
                        <a:pt x="11" y="57"/>
                      </a:cubicBezTo>
                      <a:cubicBezTo>
                        <a:pt x="11" y="57"/>
                        <a:pt x="11" y="59"/>
                        <a:pt x="11" y="59"/>
                      </a:cubicBezTo>
                      <a:cubicBezTo>
                        <a:pt x="11" y="59"/>
                        <a:pt x="11" y="59"/>
                        <a:pt x="11" y="59"/>
                      </a:cubicBezTo>
                      <a:cubicBezTo>
                        <a:pt x="12" y="59"/>
                        <a:pt x="12" y="58"/>
                        <a:pt x="12" y="58"/>
                      </a:cubicBezTo>
                      <a:cubicBezTo>
                        <a:pt x="13" y="58"/>
                        <a:pt x="13" y="58"/>
                        <a:pt x="14" y="58"/>
                      </a:cubicBezTo>
                      <a:cubicBezTo>
                        <a:pt x="15" y="58"/>
                        <a:pt x="16" y="59"/>
                        <a:pt x="16" y="58"/>
                      </a:cubicBezTo>
                      <a:cubicBezTo>
                        <a:pt x="16" y="58"/>
                        <a:pt x="16" y="59"/>
                        <a:pt x="16" y="58"/>
                      </a:cubicBezTo>
                      <a:cubicBezTo>
                        <a:pt x="16" y="58"/>
                        <a:pt x="14" y="58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4" y="56"/>
                        <a:pt x="14" y="56"/>
                      </a:cubicBezTo>
                      <a:cubicBezTo>
                        <a:pt x="14" y="56"/>
                        <a:pt x="15" y="55"/>
                        <a:pt x="15" y="55"/>
                      </a:cubicBezTo>
                      <a:cubicBezTo>
                        <a:pt x="15" y="55"/>
                        <a:pt x="15" y="55"/>
                        <a:pt x="15" y="54"/>
                      </a:cubicBezTo>
                      <a:cubicBezTo>
                        <a:pt x="15" y="54"/>
                        <a:pt x="15" y="53"/>
                        <a:pt x="15" y="53"/>
                      </a:cubicBezTo>
                      <a:cubicBezTo>
                        <a:pt x="15" y="53"/>
                        <a:pt x="15" y="52"/>
                        <a:pt x="15" y="52"/>
                      </a:cubicBezTo>
                      <a:cubicBezTo>
                        <a:pt x="15" y="52"/>
                        <a:pt x="15" y="52"/>
                        <a:pt x="15" y="52"/>
                      </a:cubicBezTo>
                      <a:cubicBezTo>
                        <a:pt x="15" y="51"/>
                        <a:pt x="15" y="49"/>
                        <a:pt x="15" y="49"/>
                      </a:cubicBezTo>
                      <a:cubicBezTo>
                        <a:pt x="15" y="48"/>
                        <a:pt x="15" y="47"/>
                        <a:pt x="15" y="47"/>
                      </a:cubicBezTo>
                      <a:cubicBezTo>
                        <a:pt x="15" y="46"/>
                        <a:pt x="15" y="46"/>
                        <a:pt x="15" y="46"/>
                      </a:cubicBezTo>
                      <a:cubicBezTo>
                        <a:pt x="15" y="46"/>
                        <a:pt x="15" y="46"/>
                        <a:pt x="15" y="46"/>
                      </a:cubicBezTo>
                      <a:cubicBezTo>
                        <a:pt x="15" y="46"/>
                        <a:pt x="16" y="45"/>
                        <a:pt x="15" y="44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5" y="44"/>
                        <a:pt x="15" y="44"/>
                        <a:pt x="15" y="43"/>
                      </a:cubicBezTo>
                      <a:cubicBezTo>
                        <a:pt x="15" y="43"/>
                        <a:pt x="15" y="42"/>
                        <a:pt x="15" y="41"/>
                      </a:cubicBezTo>
                      <a:cubicBezTo>
                        <a:pt x="15" y="41"/>
                        <a:pt x="16" y="40"/>
                        <a:pt x="16" y="39"/>
                      </a:cubicBezTo>
                      <a:cubicBezTo>
                        <a:pt x="16" y="38"/>
                        <a:pt x="16" y="35"/>
                        <a:pt x="16" y="35"/>
                      </a:cubicBezTo>
                      <a:cubicBezTo>
                        <a:pt x="16" y="34"/>
                        <a:pt x="16" y="34"/>
                        <a:pt x="16" y="33"/>
                      </a:cubicBezTo>
                      <a:cubicBezTo>
                        <a:pt x="16" y="33"/>
                        <a:pt x="16" y="32"/>
                        <a:pt x="16" y="31"/>
                      </a:cubicBezTo>
                      <a:cubicBezTo>
                        <a:pt x="16" y="31"/>
                        <a:pt x="16" y="31"/>
                        <a:pt x="16" y="31"/>
                      </a:cubicBezTo>
                      <a:cubicBezTo>
                        <a:pt x="16" y="31"/>
                        <a:pt x="17" y="30"/>
                        <a:pt x="17" y="30"/>
                      </a:cubicBezTo>
                      <a:cubicBezTo>
                        <a:pt x="17" y="29"/>
                        <a:pt x="18" y="28"/>
                        <a:pt x="18" y="28"/>
                      </a:cubicBezTo>
                      <a:cubicBezTo>
                        <a:pt x="18" y="28"/>
                        <a:pt x="18" y="27"/>
                        <a:pt x="18" y="27"/>
                      </a:cubicBezTo>
                      <a:cubicBezTo>
                        <a:pt x="18" y="26"/>
                        <a:pt x="18" y="26"/>
                        <a:pt x="18" y="26"/>
                      </a:cubicBezTo>
                      <a:cubicBezTo>
                        <a:pt x="18" y="25"/>
                        <a:pt x="19" y="25"/>
                        <a:pt x="19" y="25"/>
                      </a:cubicBezTo>
                      <a:cubicBezTo>
                        <a:pt x="19" y="24"/>
                        <a:pt x="19" y="23"/>
                        <a:pt x="19" y="23"/>
                      </a:cubicBezTo>
                      <a:cubicBezTo>
                        <a:pt x="19" y="22"/>
                        <a:pt x="19" y="21"/>
                        <a:pt x="19" y="2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62" name="Oval 697">
                  <a:extLst>
                    <a:ext uri="{FF2B5EF4-FFF2-40B4-BE49-F238E27FC236}">
                      <a16:creationId xmlns:a16="http://schemas.microsoft.com/office/drawing/2014/main" id="{3AE57E16-4291-E231-0467-0EF37572BD9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18275" y="3538538"/>
                  <a:ext cx="107950" cy="107950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63" name="Freeform 698">
                  <a:extLst>
                    <a:ext uri="{FF2B5EF4-FFF2-40B4-BE49-F238E27FC236}">
                      <a16:creationId xmlns:a16="http://schemas.microsoft.com/office/drawing/2014/main" id="{316F97A9-05E3-FAB7-FFB0-429587237D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57963" y="3554413"/>
                  <a:ext cx="26987" cy="82550"/>
                </a:xfrm>
                <a:custGeom>
                  <a:avLst/>
                  <a:gdLst>
                    <a:gd name="T0" fmla="*/ 18 w 19"/>
                    <a:gd name="T1" fmla="*/ 18 h 61"/>
                    <a:gd name="T2" fmla="*/ 17 w 19"/>
                    <a:gd name="T3" fmla="*/ 10 h 61"/>
                    <a:gd name="T4" fmla="*/ 11 w 19"/>
                    <a:gd name="T5" fmla="*/ 8 h 61"/>
                    <a:gd name="T6" fmla="*/ 11 w 19"/>
                    <a:gd name="T7" fmla="*/ 7 h 61"/>
                    <a:gd name="T8" fmla="*/ 12 w 19"/>
                    <a:gd name="T9" fmla="*/ 5 h 61"/>
                    <a:gd name="T10" fmla="*/ 11 w 19"/>
                    <a:gd name="T11" fmla="*/ 2 h 61"/>
                    <a:gd name="T12" fmla="*/ 6 w 19"/>
                    <a:gd name="T13" fmla="*/ 3 h 61"/>
                    <a:gd name="T14" fmla="*/ 6 w 19"/>
                    <a:gd name="T15" fmla="*/ 5 h 61"/>
                    <a:gd name="T16" fmla="*/ 7 w 19"/>
                    <a:gd name="T17" fmla="*/ 8 h 61"/>
                    <a:gd name="T18" fmla="*/ 3 w 19"/>
                    <a:gd name="T19" fmla="*/ 10 h 61"/>
                    <a:gd name="T20" fmla="*/ 0 w 19"/>
                    <a:gd name="T21" fmla="*/ 17 h 61"/>
                    <a:gd name="T22" fmla="*/ 0 w 19"/>
                    <a:gd name="T23" fmla="*/ 22 h 61"/>
                    <a:gd name="T24" fmla="*/ 1 w 19"/>
                    <a:gd name="T25" fmla="*/ 26 h 61"/>
                    <a:gd name="T26" fmla="*/ 1 w 19"/>
                    <a:gd name="T27" fmla="*/ 28 h 61"/>
                    <a:gd name="T28" fmla="*/ 3 w 19"/>
                    <a:gd name="T29" fmla="*/ 30 h 61"/>
                    <a:gd name="T30" fmla="*/ 4 w 19"/>
                    <a:gd name="T31" fmla="*/ 40 h 61"/>
                    <a:gd name="T32" fmla="*/ 4 w 19"/>
                    <a:gd name="T33" fmla="*/ 44 h 61"/>
                    <a:gd name="T34" fmla="*/ 4 w 19"/>
                    <a:gd name="T35" fmla="*/ 47 h 61"/>
                    <a:gd name="T36" fmla="*/ 4 w 19"/>
                    <a:gd name="T37" fmla="*/ 52 h 61"/>
                    <a:gd name="T38" fmla="*/ 4 w 19"/>
                    <a:gd name="T39" fmla="*/ 54 h 61"/>
                    <a:gd name="T40" fmla="*/ 5 w 19"/>
                    <a:gd name="T41" fmla="*/ 56 h 61"/>
                    <a:gd name="T42" fmla="*/ 5 w 19"/>
                    <a:gd name="T43" fmla="*/ 57 h 61"/>
                    <a:gd name="T44" fmla="*/ 4 w 19"/>
                    <a:gd name="T45" fmla="*/ 59 h 61"/>
                    <a:gd name="T46" fmla="*/ 9 w 19"/>
                    <a:gd name="T47" fmla="*/ 59 h 61"/>
                    <a:gd name="T48" fmla="*/ 9 w 19"/>
                    <a:gd name="T49" fmla="*/ 55 h 61"/>
                    <a:gd name="T50" fmla="*/ 9 w 19"/>
                    <a:gd name="T51" fmla="*/ 48 h 61"/>
                    <a:gd name="T52" fmla="*/ 9 w 19"/>
                    <a:gd name="T53" fmla="*/ 44 h 61"/>
                    <a:gd name="T54" fmla="*/ 7 w 19"/>
                    <a:gd name="T55" fmla="*/ 42 h 61"/>
                    <a:gd name="T56" fmla="*/ 9 w 19"/>
                    <a:gd name="T57" fmla="*/ 36 h 61"/>
                    <a:gd name="T58" fmla="*/ 10 w 19"/>
                    <a:gd name="T59" fmla="*/ 38 h 61"/>
                    <a:gd name="T60" fmla="*/ 10 w 19"/>
                    <a:gd name="T61" fmla="*/ 43 h 61"/>
                    <a:gd name="T62" fmla="*/ 10 w 19"/>
                    <a:gd name="T63" fmla="*/ 45 h 61"/>
                    <a:gd name="T64" fmla="*/ 10 w 19"/>
                    <a:gd name="T65" fmla="*/ 53 h 61"/>
                    <a:gd name="T66" fmla="*/ 10 w 19"/>
                    <a:gd name="T67" fmla="*/ 57 h 61"/>
                    <a:gd name="T68" fmla="*/ 10 w 19"/>
                    <a:gd name="T69" fmla="*/ 59 h 61"/>
                    <a:gd name="T70" fmla="*/ 14 w 19"/>
                    <a:gd name="T71" fmla="*/ 61 h 61"/>
                    <a:gd name="T72" fmla="*/ 14 w 19"/>
                    <a:gd name="T73" fmla="*/ 57 h 61"/>
                    <a:gd name="T74" fmla="*/ 14 w 19"/>
                    <a:gd name="T75" fmla="*/ 57 h 61"/>
                    <a:gd name="T76" fmla="*/ 15 w 19"/>
                    <a:gd name="T77" fmla="*/ 54 h 61"/>
                    <a:gd name="T78" fmla="*/ 14 w 19"/>
                    <a:gd name="T79" fmla="*/ 51 h 61"/>
                    <a:gd name="T80" fmla="*/ 15 w 19"/>
                    <a:gd name="T81" fmla="*/ 46 h 61"/>
                    <a:gd name="T82" fmla="*/ 15 w 19"/>
                    <a:gd name="T83" fmla="*/ 44 h 61"/>
                    <a:gd name="T84" fmla="*/ 15 w 19"/>
                    <a:gd name="T85" fmla="*/ 43 h 61"/>
                    <a:gd name="T86" fmla="*/ 15 w 19"/>
                    <a:gd name="T87" fmla="*/ 34 h 61"/>
                    <a:gd name="T88" fmla="*/ 16 w 19"/>
                    <a:gd name="T89" fmla="*/ 30 h 61"/>
                    <a:gd name="T90" fmla="*/ 17 w 19"/>
                    <a:gd name="T91" fmla="*/ 27 h 61"/>
                    <a:gd name="T92" fmla="*/ 18 w 19"/>
                    <a:gd name="T93" fmla="*/ 23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9" h="61">
                      <a:moveTo>
                        <a:pt x="19" y="21"/>
                      </a:moveTo>
                      <a:cubicBezTo>
                        <a:pt x="18" y="20"/>
                        <a:pt x="18" y="20"/>
                        <a:pt x="18" y="20"/>
                      </a:cubicBezTo>
                      <a:cubicBezTo>
                        <a:pt x="18" y="20"/>
                        <a:pt x="18" y="18"/>
                        <a:pt x="18" y="18"/>
                      </a:cubicBezTo>
                      <a:cubicBezTo>
                        <a:pt x="18" y="17"/>
                        <a:pt x="18" y="16"/>
                        <a:pt x="18" y="15"/>
                      </a:cubicBezTo>
                      <a:cubicBezTo>
                        <a:pt x="18" y="14"/>
                        <a:pt x="18" y="13"/>
                        <a:pt x="17" y="12"/>
                      </a:cubicBezTo>
                      <a:cubicBezTo>
                        <a:pt x="17" y="11"/>
                        <a:pt x="17" y="10"/>
                        <a:pt x="17" y="10"/>
                      </a:cubicBezTo>
                      <a:cubicBezTo>
                        <a:pt x="16" y="10"/>
                        <a:pt x="15" y="9"/>
                        <a:pt x="14" y="9"/>
                      </a:cubicBezTo>
                      <a:cubicBezTo>
                        <a:pt x="14" y="9"/>
                        <a:pt x="12" y="9"/>
                        <a:pt x="12" y="9"/>
                      </a:cubicBezTo>
                      <a:cubicBezTo>
                        <a:pt x="12" y="9"/>
                        <a:pt x="12" y="9"/>
                        <a:pt x="11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1" y="8"/>
                        <a:pt x="11" y="7"/>
                        <a:pt x="11" y="7"/>
                      </a:cubicBezTo>
                      <a:cubicBezTo>
                        <a:pt x="11" y="7"/>
                        <a:pt x="11" y="6"/>
                        <a:pt x="11" y="6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1" y="5"/>
                        <a:pt x="12" y="5"/>
                        <a:pt x="12" y="5"/>
                      </a:cubicBezTo>
                      <a:cubicBezTo>
                        <a:pt x="12" y="5"/>
                        <a:pt x="12" y="4"/>
                        <a:pt x="12" y="4"/>
                      </a:cubicBezTo>
                      <a:cubicBezTo>
                        <a:pt x="12" y="3"/>
                        <a:pt x="11" y="3"/>
                        <a:pt x="11" y="3"/>
                      </a:cubicBezTo>
                      <a:cubicBezTo>
                        <a:pt x="11" y="3"/>
                        <a:pt x="12" y="3"/>
                        <a:pt x="11" y="2"/>
                      </a:cubicBezTo>
                      <a:cubicBezTo>
                        <a:pt x="11" y="1"/>
                        <a:pt x="10" y="0"/>
                        <a:pt x="9" y="0"/>
                      </a:cubicBezTo>
                      <a:cubicBezTo>
                        <a:pt x="7" y="0"/>
                        <a:pt x="6" y="2"/>
                        <a:pt x="6" y="2"/>
                      </a:cubicBezTo>
                      <a:cubicBezTo>
                        <a:pt x="6" y="3"/>
                        <a:pt x="6" y="3"/>
                        <a:pt x="6" y="3"/>
                      </a:cubicBezTo>
                      <a:cubicBezTo>
                        <a:pt x="6" y="3"/>
                        <a:pt x="5" y="3"/>
                        <a:pt x="5" y="4"/>
                      </a:cubicBezTo>
                      <a:cubicBezTo>
                        <a:pt x="5" y="4"/>
                        <a:pt x="5" y="4"/>
                        <a:pt x="5" y="5"/>
                      </a:cubicBezTo>
                      <a:cubicBezTo>
                        <a:pt x="5" y="5"/>
                        <a:pt x="5" y="5"/>
                        <a:pt x="6" y="5"/>
                      </a:cubicBezTo>
                      <a:cubicBezTo>
                        <a:pt x="6" y="5"/>
                        <a:pt x="6" y="6"/>
                        <a:pt x="6" y="5"/>
                      </a:cubicBezTo>
                      <a:cubicBezTo>
                        <a:pt x="6" y="6"/>
                        <a:pt x="6" y="7"/>
                        <a:pt x="7" y="7"/>
                      </a:cubicBezTo>
                      <a:cubicBezTo>
                        <a:pt x="7" y="7"/>
                        <a:pt x="7" y="8"/>
                        <a:pt x="7" y="8"/>
                      </a:cubicBezTo>
                      <a:cubicBezTo>
                        <a:pt x="7" y="8"/>
                        <a:pt x="7" y="8"/>
                        <a:pt x="7" y="8"/>
                      </a:cubicBezTo>
                      <a:cubicBezTo>
                        <a:pt x="7" y="8"/>
                        <a:pt x="6" y="9"/>
                        <a:pt x="6" y="9"/>
                      </a:cubicBezTo>
                      <a:cubicBezTo>
                        <a:pt x="5" y="9"/>
                        <a:pt x="4" y="9"/>
                        <a:pt x="3" y="10"/>
                      </a:cubicBezTo>
                      <a:cubicBezTo>
                        <a:pt x="2" y="10"/>
                        <a:pt x="1" y="11"/>
                        <a:pt x="1" y="11"/>
                      </a:cubicBezTo>
                      <a:cubicBezTo>
                        <a:pt x="1" y="11"/>
                        <a:pt x="1" y="14"/>
                        <a:pt x="1" y="15"/>
                      </a:cubicBezTo>
                      <a:cubicBezTo>
                        <a:pt x="0" y="16"/>
                        <a:pt x="0" y="16"/>
                        <a:pt x="0" y="17"/>
                      </a:cubicBezTo>
                      <a:cubicBezTo>
                        <a:pt x="0" y="18"/>
                        <a:pt x="0" y="18"/>
                        <a:pt x="0" y="18"/>
                      </a:cubicBezTo>
                      <a:cubicBezTo>
                        <a:pt x="0" y="19"/>
                        <a:pt x="0" y="20"/>
                        <a:pt x="0" y="20"/>
                      </a:cubicBezTo>
                      <a:cubicBezTo>
                        <a:pt x="0" y="21"/>
                        <a:pt x="0" y="21"/>
                        <a:pt x="0" y="22"/>
                      </a:cubicBezTo>
                      <a:cubicBezTo>
                        <a:pt x="0" y="22"/>
                        <a:pt x="0" y="23"/>
                        <a:pt x="0" y="24"/>
                      </a:cubicBezTo>
                      <a:cubicBezTo>
                        <a:pt x="0" y="24"/>
                        <a:pt x="0" y="25"/>
                        <a:pt x="0" y="25"/>
                      </a:cubicBezTo>
                      <a:cubicBezTo>
                        <a:pt x="0" y="25"/>
                        <a:pt x="0" y="26"/>
                        <a:pt x="1" y="26"/>
                      </a:cubicBezTo>
                      <a:cubicBezTo>
                        <a:pt x="1" y="26"/>
                        <a:pt x="1" y="26"/>
                        <a:pt x="1" y="27"/>
                      </a:cubicBezTo>
                      <a:cubicBezTo>
                        <a:pt x="1" y="27"/>
                        <a:pt x="1" y="28"/>
                        <a:pt x="1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1" y="29"/>
                        <a:pt x="1" y="29"/>
                        <a:pt x="2" y="29"/>
                      </a:cubicBezTo>
                      <a:cubicBezTo>
                        <a:pt x="2" y="30"/>
                        <a:pt x="2" y="31"/>
                        <a:pt x="2" y="31"/>
                      </a:cubicBezTo>
                      <a:cubicBezTo>
                        <a:pt x="3" y="30"/>
                        <a:pt x="3" y="30"/>
                        <a:pt x="3" y="30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3" y="31"/>
                        <a:pt x="3" y="32"/>
                        <a:pt x="3" y="35"/>
                      </a:cubicBezTo>
                      <a:cubicBezTo>
                        <a:pt x="3" y="37"/>
                        <a:pt x="3" y="39"/>
                        <a:pt x="4" y="40"/>
                      </a:cubicBezTo>
                      <a:cubicBezTo>
                        <a:pt x="4" y="41"/>
                        <a:pt x="4" y="41"/>
                        <a:pt x="4" y="42"/>
                      </a:cubicBezTo>
                      <a:cubicBezTo>
                        <a:pt x="4" y="42"/>
                        <a:pt x="4" y="43"/>
                        <a:pt x="4" y="44"/>
                      </a:cubicBezTo>
                      <a:cubicBezTo>
                        <a:pt x="4" y="44"/>
                        <a:pt x="4" y="44"/>
                        <a:pt x="4" y="44"/>
                      </a:cubicBezTo>
                      <a:cubicBezTo>
                        <a:pt x="4" y="44"/>
                        <a:pt x="3" y="45"/>
                        <a:pt x="4" y="45"/>
                      </a:cubicBezTo>
                      <a:cubicBezTo>
                        <a:pt x="4" y="46"/>
                        <a:pt x="4" y="46"/>
                        <a:pt x="4" y="46"/>
                      </a:cubicBezTo>
                      <a:cubicBezTo>
                        <a:pt x="4" y="46"/>
                        <a:pt x="3" y="46"/>
                        <a:pt x="4" y="47"/>
                      </a:cubicBezTo>
                      <a:cubicBezTo>
                        <a:pt x="4" y="47"/>
                        <a:pt x="4" y="47"/>
                        <a:pt x="4" y="48"/>
                      </a:cubicBezTo>
                      <a:cubicBezTo>
                        <a:pt x="4" y="49"/>
                        <a:pt x="4" y="49"/>
                        <a:pt x="4" y="50"/>
                      </a:cubicBezTo>
                      <a:cubicBezTo>
                        <a:pt x="4" y="51"/>
                        <a:pt x="4" y="51"/>
                        <a:pt x="4" y="52"/>
                      </a:cubicBezTo>
                      <a:cubicBezTo>
                        <a:pt x="4" y="52"/>
                        <a:pt x="5" y="52"/>
                        <a:pt x="4" y="52"/>
                      </a:cubicBezTo>
                      <a:cubicBezTo>
                        <a:pt x="4" y="53"/>
                        <a:pt x="4" y="53"/>
                        <a:pt x="4" y="53"/>
                      </a:cubicBezTo>
                      <a:cubicBezTo>
                        <a:pt x="4" y="54"/>
                        <a:pt x="4" y="54"/>
                        <a:pt x="4" y="54"/>
                      </a:cubicBezTo>
                      <a:cubicBezTo>
                        <a:pt x="4" y="54"/>
                        <a:pt x="4" y="54"/>
                        <a:pt x="4" y="54"/>
                      </a:cubicBezTo>
                      <a:cubicBezTo>
                        <a:pt x="4" y="54"/>
                        <a:pt x="4" y="55"/>
                        <a:pt x="4" y="55"/>
                      </a:cubicBezTo>
                      <a:cubicBezTo>
                        <a:pt x="4" y="55"/>
                        <a:pt x="5" y="56"/>
                        <a:pt x="5" y="56"/>
                      </a:cubicBezTo>
                      <a:cubicBezTo>
                        <a:pt x="5" y="56"/>
                        <a:pt x="5" y="57"/>
                        <a:pt x="5" y="57"/>
                      </a:cubicBezTo>
                      <a:cubicBezTo>
                        <a:pt x="5" y="57"/>
                        <a:pt x="5" y="57"/>
                        <a:pt x="5" y="57"/>
                      </a:cubicBezTo>
                      <a:cubicBezTo>
                        <a:pt x="5" y="57"/>
                        <a:pt x="5" y="57"/>
                        <a:pt x="5" y="57"/>
                      </a:cubicBezTo>
                      <a:cubicBezTo>
                        <a:pt x="5" y="57"/>
                        <a:pt x="5" y="57"/>
                        <a:pt x="5" y="58"/>
                      </a:cubicBezTo>
                      <a:cubicBezTo>
                        <a:pt x="5" y="58"/>
                        <a:pt x="4" y="58"/>
                        <a:pt x="4" y="58"/>
                      </a:cubicBezTo>
                      <a:cubicBezTo>
                        <a:pt x="4" y="59"/>
                        <a:pt x="4" y="59"/>
                        <a:pt x="4" y="59"/>
                      </a:cubicBezTo>
                      <a:cubicBezTo>
                        <a:pt x="4" y="59"/>
                        <a:pt x="4" y="59"/>
                        <a:pt x="4" y="59"/>
                      </a:cubicBezTo>
                      <a:cubicBezTo>
                        <a:pt x="5" y="59"/>
                        <a:pt x="8" y="59"/>
                        <a:pt x="8" y="59"/>
                      </a:cubicBezTo>
                      <a:cubicBezTo>
                        <a:pt x="8" y="59"/>
                        <a:pt x="9" y="59"/>
                        <a:pt x="9" y="59"/>
                      </a:cubicBezTo>
                      <a:cubicBezTo>
                        <a:pt x="9" y="59"/>
                        <a:pt x="9" y="57"/>
                        <a:pt x="9" y="57"/>
                      </a:cubicBezTo>
                      <a:cubicBezTo>
                        <a:pt x="9" y="57"/>
                        <a:pt x="9" y="57"/>
                        <a:pt x="9" y="57"/>
                      </a:cubicBezTo>
                      <a:cubicBezTo>
                        <a:pt x="9" y="56"/>
                        <a:pt x="9" y="55"/>
                        <a:pt x="9" y="55"/>
                      </a:cubicBezTo>
                      <a:cubicBezTo>
                        <a:pt x="9" y="55"/>
                        <a:pt x="9" y="54"/>
                        <a:pt x="9" y="54"/>
                      </a:cubicBezTo>
                      <a:cubicBezTo>
                        <a:pt x="9" y="54"/>
                        <a:pt x="9" y="54"/>
                        <a:pt x="9" y="53"/>
                      </a:cubicBezTo>
                      <a:cubicBezTo>
                        <a:pt x="9" y="53"/>
                        <a:pt x="9" y="49"/>
                        <a:pt x="9" y="48"/>
                      </a:cubicBezTo>
                      <a:cubicBezTo>
                        <a:pt x="9" y="48"/>
                        <a:pt x="9" y="46"/>
                        <a:pt x="9" y="46"/>
                      </a:cubicBezTo>
                      <a:cubicBezTo>
                        <a:pt x="8" y="46"/>
                        <a:pt x="9" y="45"/>
                        <a:pt x="9" y="45"/>
                      </a:cubicBezTo>
                      <a:cubicBezTo>
                        <a:pt x="9" y="45"/>
                        <a:pt x="9" y="45"/>
                        <a:pt x="9" y="44"/>
                      </a:cubicBezTo>
                      <a:cubicBezTo>
                        <a:pt x="8" y="44"/>
                        <a:pt x="7" y="44"/>
                        <a:pt x="8" y="44"/>
                      </a:cubicBezTo>
                      <a:cubicBezTo>
                        <a:pt x="8" y="44"/>
                        <a:pt x="7" y="43"/>
                        <a:pt x="7" y="43"/>
                      </a:cubicBezTo>
                      <a:cubicBezTo>
                        <a:pt x="7" y="42"/>
                        <a:pt x="7" y="42"/>
                        <a:pt x="7" y="42"/>
                      </a:cubicBezTo>
                      <a:cubicBezTo>
                        <a:pt x="7" y="42"/>
                        <a:pt x="8" y="41"/>
                        <a:pt x="8" y="40"/>
                      </a:cubicBezTo>
                      <a:cubicBezTo>
                        <a:pt x="8" y="39"/>
                        <a:pt x="9" y="36"/>
                        <a:pt x="9" y="36"/>
                      </a:cubicBezTo>
                      <a:cubicBezTo>
                        <a:pt x="9" y="36"/>
                        <a:pt x="9" y="36"/>
                        <a:pt x="9" y="36"/>
                      </a:cubicBezTo>
                      <a:cubicBezTo>
                        <a:pt x="9" y="36"/>
                        <a:pt x="9" y="36"/>
                        <a:pt x="9" y="36"/>
                      </a:cubicBezTo>
                      <a:cubicBezTo>
                        <a:pt x="9" y="36"/>
                        <a:pt x="9" y="36"/>
                        <a:pt x="9" y="36"/>
                      </a:cubicBezTo>
                      <a:cubicBezTo>
                        <a:pt x="9" y="36"/>
                        <a:pt x="10" y="37"/>
                        <a:pt x="10" y="38"/>
                      </a:cubicBezTo>
                      <a:cubicBezTo>
                        <a:pt x="10" y="38"/>
                        <a:pt x="10" y="39"/>
                        <a:pt x="10" y="40"/>
                      </a:cubicBezTo>
                      <a:cubicBezTo>
                        <a:pt x="10" y="40"/>
                        <a:pt x="10" y="42"/>
                        <a:pt x="10" y="42"/>
                      </a:cubicBezTo>
                      <a:cubicBezTo>
                        <a:pt x="10" y="42"/>
                        <a:pt x="10" y="43"/>
                        <a:pt x="10" y="43"/>
                      </a:cubicBezTo>
                      <a:cubicBezTo>
                        <a:pt x="11" y="43"/>
                        <a:pt x="10" y="44"/>
                        <a:pt x="10" y="44"/>
                      </a:cubicBezTo>
                      <a:cubicBezTo>
                        <a:pt x="11" y="44"/>
                        <a:pt x="10" y="44"/>
                        <a:pt x="10" y="44"/>
                      </a:cubicBezTo>
                      <a:cubicBezTo>
                        <a:pt x="10" y="44"/>
                        <a:pt x="10" y="45"/>
                        <a:pt x="10" y="45"/>
                      </a:cubicBezTo>
                      <a:cubicBezTo>
                        <a:pt x="10" y="46"/>
                        <a:pt x="10" y="47"/>
                        <a:pt x="10" y="48"/>
                      </a:cubicBezTo>
                      <a:cubicBezTo>
                        <a:pt x="10" y="48"/>
                        <a:pt x="10" y="51"/>
                        <a:pt x="10" y="52"/>
                      </a:cubicBezTo>
                      <a:cubicBezTo>
                        <a:pt x="10" y="53"/>
                        <a:pt x="10" y="53"/>
                        <a:pt x="10" y="53"/>
                      </a:cubicBezTo>
                      <a:cubicBezTo>
                        <a:pt x="10" y="54"/>
                        <a:pt x="10" y="55"/>
                        <a:pt x="10" y="55"/>
                      </a:cubicBezTo>
                      <a:cubicBezTo>
                        <a:pt x="10" y="55"/>
                        <a:pt x="10" y="56"/>
                        <a:pt x="10" y="56"/>
                      </a:cubicBezTo>
                      <a:cubicBezTo>
                        <a:pt x="10" y="56"/>
                        <a:pt x="10" y="56"/>
                        <a:pt x="10" y="57"/>
                      </a:cubicBezTo>
                      <a:cubicBezTo>
                        <a:pt x="10" y="57"/>
                        <a:pt x="10" y="57"/>
                        <a:pt x="10" y="57"/>
                      </a:cubicBezTo>
                      <a:cubicBezTo>
                        <a:pt x="10" y="57"/>
                        <a:pt x="10" y="57"/>
                        <a:pt x="10" y="57"/>
                      </a:cubicBezTo>
                      <a:cubicBezTo>
                        <a:pt x="10" y="57"/>
                        <a:pt x="10" y="59"/>
                        <a:pt x="10" y="59"/>
                      </a:cubicBezTo>
                      <a:cubicBezTo>
                        <a:pt x="10" y="59"/>
                        <a:pt x="11" y="60"/>
                        <a:pt x="11" y="60"/>
                      </a:cubicBezTo>
                      <a:cubicBezTo>
                        <a:pt x="11" y="60"/>
                        <a:pt x="11" y="61"/>
                        <a:pt x="12" y="61"/>
                      </a:cubicBezTo>
                      <a:cubicBezTo>
                        <a:pt x="12" y="61"/>
                        <a:pt x="13" y="61"/>
                        <a:pt x="14" y="61"/>
                      </a:cubicBezTo>
                      <a:cubicBezTo>
                        <a:pt x="14" y="61"/>
                        <a:pt x="15" y="60"/>
                        <a:pt x="15" y="60"/>
                      </a:cubicBezTo>
                      <a:cubicBezTo>
                        <a:pt x="15" y="60"/>
                        <a:pt x="15" y="59"/>
                        <a:pt x="15" y="59"/>
                      </a:cubicBezTo>
                      <a:cubicBezTo>
                        <a:pt x="16" y="58"/>
                        <a:pt x="14" y="58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4" y="56"/>
                        <a:pt x="14" y="56"/>
                      </a:cubicBezTo>
                      <a:cubicBezTo>
                        <a:pt x="14" y="56"/>
                        <a:pt x="14" y="55"/>
                        <a:pt x="15" y="55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5" y="54"/>
                        <a:pt x="14" y="53"/>
                        <a:pt x="14" y="53"/>
                      </a:cubicBezTo>
                      <a:cubicBezTo>
                        <a:pt x="14" y="52"/>
                        <a:pt x="14" y="52"/>
                        <a:pt x="14" y="52"/>
                      </a:cubicBezTo>
                      <a:cubicBezTo>
                        <a:pt x="14" y="52"/>
                        <a:pt x="14" y="52"/>
                        <a:pt x="14" y="51"/>
                      </a:cubicBezTo>
                      <a:cubicBezTo>
                        <a:pt x="15" y="51"/>
                        <a:pt x="15" y="49"/>
                        <a:pt x="15" y="48"/>
                      </a:cubicBezTo>
                      <a:cubicBezTo>
                        <a:pt x="15" y="48"/>
                        <a:pt x="15" y="47"/>
                        <a:pt x="15" y="47"/>
                      </a:cubicBezTo>
                      <a:cubicBezTo>
                        <a:pt x="15" y="46"/>
                        <a:pt x="15" y="46"/>
                        <a:pt x="15" y="46"/>
                      </a:cubicBezTo>
                      <a:cubicBezTo>
                        <a:pt x="15" y="46"/>
                        <a:pt x="15" y="45"/>
                        <a:pt x="15" y="45"/>
                      </a:cubicBezTo>
                      <a:cubicBezTo>
                        <a:pt x="15" y="45"/>
                        <a:pt x="15" y="44"/>
                        <a:pt x="15" y="44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5" y="44"/>
                        <a:pt x="15" y="43"/>
                        <a:pt x="15" y="43"/>
                      </a:cubicBezTo>
                      <a:cubicBezTo>
                        <a:pt x="15" y="43"/>
                        <a:pt x="15" y="42"/>
                        <a:pt x="15" y="41"/>
                      </a:cubicBezTo>
                      <a:cubicBezTo>
                        <a:pt x="15" y="41"/>
                        <a:pt x="15" y="40"/>
                        <a:pt x="15" y="39"/>
                      </a:cubicBezTo>
                      <a:cubicBezTo>
                        <a:pt x="15" y="38"/>
                        <a:pt x="15" y="35"/>
                        <a:pt x="15" y="34"/>
                      </a:cubicBezTo>
                      <a:cubicBezTo>
                        <a:pt x="15" y="34"/>
                        <a:pt x="16" y="33"/>
                        <a:pt x="16" y="33"/>
                      </a:cubicBezTo>
                      <a:cubicBezTo>
                        <a:pt x="16" y="33"/>
                        <a:pt x="15" y="32"/>
                        <a:pt x="16" y="31"/>
                      </a:cubicBezTo>
                      <a:cubicBezTo>
                        <a:pt x="16" y="31"/>
                        <a:pt x="16" y="30"/>
                        <a:pt x="16" y="30"/>
                      </a:cubicBezTo>
                      <a:cubicBezTo>
                        <a:pt x="16" y="30"/>
                        <a:pt x="16" y="29"/>
                        <a:pt x="17" y="29"/>
                      </a:cubicBezTo>
                      <a:cubicBezTo>
                        <a:pt x="17" y="29"/>
                        <a:pt x="17" y="28"/>
                        <a:pt x="17" y="28"/>
                      </a:cubicBezTo>
                      <a:cubicBezTo>
                        <a:pt x="17" y="28"/>
                        <a:pt x="17" y="27"/>
                        <a:pt x="17" y="27"/>
                      </a:cubicBezTo>
                      <a:cubicBezTo>
                        <a:pt x="18" y="26"/>
                        <a:pt x="18" y="26"/>
                        <a:pt x="18" y="25"/>
                      </a:cubicBezTo>
                      <a:cubicBezTo>
                        <a:pt x="18" y="25"/>
                        <a:pt x="18" y="25"/>
                        <a:pt x="18" y="24"/>
                      </a:cubicBezTo>
                      <a:cubicBezTo>
                        <a:pt x="18" y="24"/>
                        <a:pt x="18" y="23"/>
                        <a:pt x="18" y="23"/>
                      </a:cubicBezTo>
                      <a:cubicBezTo>
                        <a:pt x="19" y="22"/>
                        <a:pt x="19" y="21"/>
                        <a:pt x="19" y="2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64" name="Oval 699">
                  <a:extLst>
                    <a:ext uri="{FF2B5EF4-FFF2-40B4-BE49-F238E27FC236}">
                      <a16:creationId xmlns:a16="http://schemas.microsoft.com/office/drawing/2014/main" id="{AF3BE364-5C61-0911-E7FB-0FA03CCF2A8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99388" y="3011488"/>
                  <a:ext cx="107950" cy="107950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65" name="Freeform 700">
                  <a:extLst>
                    <a:ext uri="{FF2B5EF4-FFF2-40B4-BE49-F238E27FC236}">
                      <a16:creationId xmlns:a16="http://schemas.microsoft.com/office/drawing/2014/main" id="{C81396E3-6E2B-3904-5E5B-98FC63809A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40663" y="3027363"/>
                  <a:ext cx="25400" cy="79375"/>
                </a:xfrm>
                <a:custGeom>
                  <a:avLst/>
                  <a:gdLst>
                    <a:gd name="T0" fmla="*/ 19 w 19"/>
                    <a:gd name="T1" fmla="*/ 18 h 59"/>
                    <a:gd name="T2" fmla="*/ 17 w 19"/>
                    <a:gd name="T3" fmla="*/ 10 h 59"/>
                    <a:gd name="T4" fmla="*/ 12 w 19"/>
                    <a:gd name="T5" fmla="*/ 8 h 59"/>
                    <a:gd name="T6" fmla="*/ 11 w 19"/>
                    <a:gd name="T7" fmla="*/ 7 h 59"/>
                    <a:gd name="T8" fmla="*/ 12 w 19"/>
                    <a:gd name="T9" fmla="*/ 5 h 59"/>
                    <a:gd name="T10" fmla="*/ 12 w 19"/>
                    <a:gd name="T11" fmla="*/ 2 h 59"/>
                    <a:gd name="T12" fmla="*/ 6 w 19"/>
                    <a:gd name="T13" fmla="*/ 3 h 59"/>
                    <a:gd name="T14" fmla="*/ 6 w 19"/>
                    <a:gd name="T15" fmla="*/ 5 h 59"/>
                    <a:gd name="T16" fmla="*/ 7 w 19"/>
                    <a:gd name="T17" fmla="*/ 8 h 59"/>
                    <a:gd name="T18" fmla="*/ 3 w 19"/>
                    <a:gd name="T19" fmla="*/ 10 h 59"/>
                    <a:gd name="T20" fmla="*/ 1 w 19"/>
                    <a:gd name="T21" fmla="*/ 17 h 59"/>
                    <a:gd name="T22" fmla="*/ 0 w 19"/>
                    <a:gd name="T23" fmla="*/ 22 h 59"/>
                    <a:gd name="T24" fmla="*/ 1 w 19"/>
                    <a:gd name="T25" fmla="*/ 26 h 59"/>
                    <a:gd name="T26" fmla="*/ 1 w 19"/>
                    <a:gd name="T27" fmla="*/ 29 h 59"/>
                    <a:gd name="T28" fmla="*/ 3 w 19"/>
                    <a:gd name="T29" fmla="*/ 31 h 59"/>
                    <a:gd name="T30" fmla="*/ 4 w 19"/>
                    <a:gd name="T31" fmla="*/ 40 h 59"/>
                    <a:gd name="T32" fmla="*/ 4 w 19"/>
                    <a:gd name="T33" fmla="*/ 45 h 59"/>
                    <a:gd name="T34" fmla="*/ 4 w 19"/>
                    <a:gd name="T35" fmla="*/ 47 h 59"/>
                    <a:gd name="T36" fmla="*/ 5 w 19"/>
                    <a:gd name="T37" fmla="*/ 52 h 59"/>
                    <a:gd name="T38" fmla="*/ 4 w 19"/>
                    <a:gd name="T39" fmla="*/ 54 h 59"/>
                    <a:gd name="T40" fmla="*/ 5 w 19"/>
                    <a:gd name="T41" fmla="*/ 56 h 59"/>
                    <a:gd name="T42" fmla="*/ 6 w 19"/>
                    <a:gd name="T43" fmla="*/ 57 h 59"/>
                    <a:gd name="T44" fmla="*/ 4 w 19"/>
                    <a:gd name="T45" fmla="*/ 59 h 59"/>
                    <a:gd name="T46" fmla="*/ 9 w 19"/>
                    <a:gd name="T47" fmla="*/ 59 h 59"/>
                    <a:gd name="T48" fmla="*/ 9 w 19"/>
                    <a:gd name="T49" fmla="*/ 55 h 59"/>
                    <a:gd name="T50" fmla="*/ 9 w 19"/>
                    <a:gd name="T51" fmla="*/ 48 h 59"/>
                    <a:gd name="T52" fmla="*/ 9 w 19"/>
                    <a:gd name="T53" fmla="*/ 45 h 59"/>
                    <a:gd name="T54" fmla="*/ 8 w 19"/>
                    <a:gd name="T55" fmla="*/ 43 h 59"/>
                    <a:gd name="T56" fmla="*/ 10 w 19"/>
                    <a:gd name="T57" fmla="*/ 36 h 59"/>
                    <a:gd name="T58" fmla="*/ 10 w 19"/>
                    <a:gd name="T59" fmla="*/ 38 h 59"/>
                    <a:gd name="T60" fmla="*/ 11 w 19"/>
                    <a:gd name="T61" fmla="*/ 43 h 59"/>
                    <a:gd name="T62" fmla="*/ 11 w 19"/>
                    <a:gd name="T63" fmla="*/ 45 h 59"/>
                    <a:gd name="T64" fmla="*/ 10 w 19"/>
                    <a:gd name="T65" fmla="*/ 54 h 59"/>
                    <a:gd name="T66" fmla="*/ 11 w 19"/>
                    <a:gd name="T67" fmla="*/ 57 h 59"/>
                    <a:gd name="T68" fmla="*/ 11 w 19"/>
                    <a:gd name="T69" fmla="*/ 59 h 59"/>
                    <a:gd name="T70" fmla="*/ 14 w 19"/>
                    <a:gd name="T71" fmla="*/ 59 h 59"/>
                    <a:gd name="T72" fmla="*/ 14 w 19"/>
                    <a:gd name="T73" fmla="*/ 57 h 59"/>
                    <a:gd name="T74" fmla="*/ 14 w 19"/>
                    <a:gd name="T75" fmla="*/ 57 h 59"/>
                    <a:gd name="T76" fmla="*/ 15 w 19"/>
                    <a:gd name="T77" fmla="*/ 54 h 59"/>
                    <a:gd name="T78" fmla="*/ 15 w 19"/>
                    <a:gd name="T79" fmla="*/ 52 h 59"/>
                    <a:gd name="T80" fmla="*/ 15 w 19"/>
                    <a:gd name="T81" fmla="*/ 46 h 59"/>
                    <a:gd name="T82" fmla="*/ 15 w 19"/>
                    <a:gd name="T83" fmla="*/ 44 h 59"/>
                    <a:gd name="T84" fmla="*/ 15 w 19"/>
                    <a:gd name="T85" fmla="*/ 43 h 59"/>
                    <a:gd name="T86" fmla="*/ 16 w 19"/>
                    <a:gd name="T87" fmla="*/ 34 h 59"/>
                    <a:gd name="T88" fmla="*/ 16 w 19"/>
                    <a:gd name="T89" fmla="*/ 31 h 59"/>
                    <a:gd name="T90" fmla="*/ 18 w 19"/>
                    <a:gd name="T91" fmla="*/ 27 h 59"/>
                    <a:gd name="T92" fmla="*/ 19 w 19"/>
                    <a:gd name="T93" fmla="*/ 23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9" h="59">
                      <a:moveTo>
                        <a:pt x="19" y="21"/>
                      </a:moveTo>
                      <a:cubicBezTo>
                        <a:pt x="19" y="20"/>
                        <a:pt x="19" y="20"/>
                        <a:pt x="19" y="20"/>
                      </a:cubicBezTo>
                      <a:cubicBezTo>
                        <a:pt x="19" y="20"/>
                        <a:pt x="19" y="18"/>
                        <a:pt x="19" y="18"/>
                      </a:cubicBezTo>
                      <a:cubicBezTo>
                        <a:pt x="19" y="17"/>
                        <a:pt x="18" y="16"/>
                        <a:pt x="18" y="15"/>
                      </a:cubicBezTo>
                      <a:cubicBezTo>
                        <a:pt x="18" y="14"/>
                        <a:pt x="18" y="13"/>
                        <a:pt x="18" y="12"/>
                      </a:cubicBezTo>
                      <a:cubicBezTo>
                        <a:pt x="18" y="11"/>
                        <a:pt x="18" y="10"/>
                        <a:pt x="17" y="10"/>
                      </a:cubicBezTo>
                      <a:cubicBezTo>
                        <a:pt x="17" y="10"/>
                        <a:pt x="15" y="9"/>
                        <a:pt x="15" y="9"/>
                      </a:cubicBezTo>
                      <a:cubicBezTo>
                        <a:pt x="14" y="9"/>
                        <a:pt x="13" y="9"/>
                        <a:pt x="13" y="9"/>
                      </a:cubicBezTo>
                      <a:cubicBezTo>
                        <a:pt x="12" y="9"/>
                        <a:pt x="12" y="9"/>
                        <a:pt x="12" y="8"/>
                      </a:cubicBezTo>
                      <a:cubicBezTo>
                        <a:pt x="12" y="8"/>
                        <a:pt x="12" y="8"/>
                        <a:pt x="11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1" y="8"/>
                        <a:pt x="11" y="7"/>
                        <a:pt x="11" y="7"/>
                      </a:cubicBezTo>
                      <a:cubicBezTo>
                        <a:pt x="11" y="7"/>
                        <a:pt x="12" y="6"/>
                        <a:pt x="12" y="6"/>
                      </a:cubicBezTo>
                      <a:cubicBezTo>
                        <a:pt x="12" y="6"/>
                        <a:pt x="12" y="6"/>
                        <a:pt x="12" y="6"/>
                      </a:cubicBezTo>
                      <a:cubicBezTo>
                        <a:pt x="12" y="6"/>
                        <a:pt x="12" y="6"/>
                        <a:pt x="12" y="5"/>
                      </a:cubicBezTo>
                      <a:cubicBezTo>
                        <a:pt x="12" y="5"/>
                        <a:pt x="12" y="4"/>
                        <a:pt x="12" y="4"/>
                      </a:cubicBezTo>
                      <a:cubicBezTo>
                        <a:pt x="12" y="3"/>
                        <a:pt x="12" y="3"/>
                        <a:pt x="12" y="3"/>
                      </a:cubicBezTo>
                      <a:cubicBezTo>
                        <a:pt x="12" y="3"/>
                        <a:pt x="12" y="3"/>
                        <a:pt x="12" y="2"/>
                      </a:cubicBezTo>
                      <a:cubicBezTo>
                        <a:pt x="11" y="1"/>
                        <a:pt x="11" y="0"/>
                        <a:pt x="9" y="0"/>
                      </a:cubicBezTo>
                      <a:cubicBezTo>
                        <a:pt x="7" y="0"/>
                        <a:pt x="6" y="2"/>
                        <a:pt x="6" y="3"/>
                      </a:cubicBezTo>
                      <a:cubicBezTo>
                        <a:pt x="6" y="4"/>
                        <a:pt x="6" y="3"/>
                        <a:pt x="6" y="3"/>
                      </a:cubicBezTo>
                      <a:cubicBezTo>
                        <a:pt x="6" y="3"/>
                        <a:pt x="6" y="3"/>
                        <a:pt x="6" y="4"/>
                      </a:cubicBezTo>
                      <a:cubicBezTo>
                        <a:pt x="6" y="4"/>
                        <a:pt x="6" y="4"/>
                        <a:pt x="6" y="5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6" y="5"/>
                        <a:pt x="6" y="6"/>
                        <a:pt x="6" y="6"/>
                      </a:cubicBezTo>
                      <a:cubicBezTo>
                        <a:pt x="6" y="6"/>
                        <a:pt x="7" y="7"/>
                        <a:pt x="7" y="7"/>
                      </a:cubicBezTo>
                      <a:cubicBezTo>
                        <a:pt x="7" y="8"/>
                        <a:pt x="7" y="8"/>
                        <a:pt x="7" y="8"/>
                      </a:cubicBezTo>
                      <a:cubicBezTo>
                        <a:pt x="7" y="8"/>
                        <a:pt x="7" y="8"/>
                        <a:pt x="7" y="8"/>
                      </a:cubicBezTo>
                      <a:cubicBezTo>
                        <a:pt x="7" y="9"/>
                        <a:pt x="7" y="9"/>
                        <a:pt x="6" y="9"/>
                      </a:cubicBezTo>
                      <a:cubicBezTo>
                        <a:pt x="6" y="9"/>
                        <a:pt x="5" y="10"/>
                        <a:pt x="3" y="10"/>
                      </a:cubicBezTo>
                      <a:cubicBezTo>
                        <a:pt x="2" y="11"/>
                        <a:pt x="2" y="11"/>
                        <a:pt x="2" y="11"/>
                      </a:cubicBezTo>
                      <a:cubicBezTo>
                        <a:pt x="2" y="11"/>
                        <a:pt x="1" y="14"/>
                        <a:pt x="1" y="15"/>
                      </a:cubicBezTo>
                      <a:cubicBezTo>
                        <a:pt x="1" y="16"/>
                        <a:pt x="1" y="16"/>
                        <a:pt x="1" y="17"/>
                      </a:cubicBezTo>
                      <a:cubicBezTo>
                        <a:pt x="0" y="18"/>
                        <a:pt x="1" y="18"/>
                        <a:pt x="1" y="19"/>
                      </a:cubicBezTo>
                      <a:cubicBezTo>
                        <a:pt x="0" y="19"/>
                        <a:pt x="0" y="20"/>
                        <a:pt x="0" y="20"/>
                      </a:cubicBezTo>
                      <a:cubicBezTo>
                        <a:pt x="0" y="21"/>
                        <a:pt x="0" y="21"/>
                        <a:pt x="0" y="22"/>
                      </a:cubicBezTo>
                      <a:cubicBezTo>
                        <a:pt x="0" y="22"/>
                        <a:pt x="0" y="23"/>
                        <a:pt x="0" y="24"/>
                      </a:cubicBezTo>
                      <a:cubicBezTo>
                        <a:pt x="0" y="24"/>
                        <a:pt x="1" y="25"/>
                        <a:pt x="1" y="25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1" y="26"/>
                        <a:pt x="1" y="27"/>
                        <a:pt x="1" y="27"/>
                      </a:cubicBezTo>
                      <a:cubicBezTo>
                        <a:pt x="1" y="27"/>
                        <a:pt x="1" y="28"/>
                        <a:pt x="1" y="28"/>
                      </a:cubicBezTo>
                      <a:cubicBezTo>
                        <a:pt x="1" y="28"/>
                        <a:pt x="1" y="28"/>
                        <a:pt x="1" y="29"/>
                      </a:cubicBezTo>
                      <a:cubicBezTo>
                        <a:pt x="2" y="29"/>
                        <a:pt x="2" y="29"/>
                        <a:pt x="2" y="30"/>
                      </a:cubicBezTo>
                      <a:cubicBezTo>
                        <a:pt x="2" y="30"/>
                        <a:pt x="3" y="31"/>
                        <a:pt x="3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3" y="31"/>
                        <a:pt x="3" y="32"/>
                        <a:pt x="4" y="35"/>
                      </a:cubicBezTo>
                      <a:cubicBezTo>
                        <a:pt x="4" y="37"/>
                        <a:pt x="4" y="39"/>
                        <a:pt x="4" y="40"/>
                      </a:cubicBezTo>
                      <a:cubicBezTo>
                        <a:pt x="4" y="41"/>
                        <a:pt x="4" y="41"/>
                        <a:pt x="4" y="42"/>
                      </a:cubicBezTo>
                      <a:cubicBezTo>
                        <a:pt x="5" y="42"/>
                        <a:pt x="4" y="43"/>
                        <a:pt x="4" y="44"/>
                      </a:cubicBezTo>
                      <a:cubicBezTo>
                        <a:pt x="4" y="44"/>
                        <a:pt x="4" y="44"/>
                        <a:pt x="4" y="45"/>
                      </a:cubicBez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6"/>
                        <a:pt x="4" y="46"/>
                        <a:pt x="4" y="46"/>
                      </a:cubicBezTo>
                      <a:cubicBezTo>
                        <a:pt x="4" y="46"/>
                        <a:pt x="4" y="47"/>
                        <a:pt x="4" y="47"/>
                      </a:cubicBezTo>
                      <a:cubicBezTo>
                        <a:pt x="4" y="48"/>
                        <a:pt x="4" y="48"/>
                        <a:pt x="4" y="48"/>
                      </a:cubicBezTo>
                      <a:cubicBezTo>
                        <a:pt x="4" y="49"/>
                        <a:pt x="4" y="50"/>
                        <a:pt x="5" y="50"/>
                      </a:cubicBezTo>
                      <a:cubicBezTo>
                        <a:pt x="5" y="51"/>
                        <a:pt x="5" y="52"/>
                        <a:pt x="5" y="52"/>
                      </a:cubicBezTo>
                      <a:cubicBezTo>
                        <a:pt x="5" y="52"/>
                        <a:pt x="5" y="52"/>
                        <a:pt x="5" y="52"/>
                      </a:cubicBezTo>
                      <a:cubicBezTo>
                        <a:pt x="5" y="53"/>
                        <a:pt x="5" y="53"/>
                        <a:pt x="5" y="53"/>
                      </a:cubicBezTo>
                      <a:cubicBezTo>
                        <a:pt x="5" y="54"/>
                        <a:pt x="4" y="55"/>
                        <a:pt x="4" y="54"/>
                      </a:cubicBezTo>
                      <a:cubicBezTo>
                        <a:pt x="4" y="54"/>
                        <a:pt x="4" y="54"/>
                        <a:pt x="4" y="54"/>
                      </a:cubicBezTo>
                      <a:cubicBezTo>
                        <a:pt x="4" y="55"/>
                        <a:pt x="4" y="55"/>
                        <a:pt x="5" y="55"/>
                      </a:cubicBezTo>
                      <a:cubicBezTo>
                        <a:pt x="5" y="55"/>
                        <a:pt x="5" y="56"/>
                        <a:pt x="5" y="56"/>
                      </a:cubicBezTo>
                      <a:cubicBezTo>
                        <a:pt x="5" y="56"/>
                        <a:pt x="5" y="57"/>
                        <a:pt x="6" y="57"/>
                      </a:cubicBezTo>
                      <a:cubicBezTo>
                        <a:pt x="6" y="57"/>
                        <a:pt x="6" y="57"/>
                        <a:pt x="6" y="57"/>
                      </a:cubicBezTo>
                      <a:cubicBezTo>
                        <a:pt x="6" y="57"/>
                        <a:pt x="6" y="57"/>
                        <a:pt x="6" y="57"/>
                      </a:cubicBezTo>
                      <a:cubicBezTo>
                        <a:pt x="6" y="57"/>
                        <a:pt x="6" y="57"/>
                        <a:pt x="5" y="58"/>
                      </a:cubicBezTo>
                      <a:cubicBezTo>
                        <a:pt x="5" y="58"/>
                        <a:pt x="4" y="58"/>
                        <a:pt x="4" y="58"/>
                      </a:cubicBezTo>
                      <a:cubicBezTo>
                        <a:pt x="4" y="59"/>
                        <a:pt x="4" y="59"/>
                        <a:pt x="4" y="59"/>
                      </a:cubicBezTo>
                      <a:cubicBezTo>
                        <a:pt x="4" y="59"/>
                        <a:pt x="4" y="59"/>
                        <a:pt x="5" y="59"/>
                      </a:cubicBezTo>
                      <a:cubicBezTo>
                        <a:pt x="5" y="59"/>
                        <a:pt x="8" y="59"/>
                        <a:pt x="8" y="59"/>
                      </a:cubicBezTo>
                      <a:cubicBezTo>
                        <a:pt x="8" y="59"/>
                        <a:pt x="9" y="59"/>
                        <a:pt x="9" y="59"/>
                      </a:cubicBezTo>
                      <a:cubicBezTo>
                        <a:pt x="9" y="59"/>
                        <a:pt x="9" y="57"/>
                        <a:pt x="9" y="57"/>
                      </a:cubicBezTo>
                      <a:cubicBezTo>
                        <a:pt x="9" y="57"/>
                        <a:pt x="9" y="57"/>
                        <a:pt x="9" y="57"/>
                      </a:cubicBezTo>
                      <a:cubicBezTo>
                        <a:pt x="9" y="57"/>
                        <a:pt x="9" y="56"/>
                        <a:pt x="9" y="55"/>
                      </a:cubicBezTo>
                      <a:cubicBezTo>
                        <a:pt x="9" y="55"/>
                        <a:pt x="9" y="54"/>
                        <a:pt x="9" y="54"/>
                      </a:cubicBezTo>
                      <a:cubicBezTo>
                        <a:pt x="9" y="54"/>
                        <a:pt x="10" y="54"/>
                        <a:pt x="10" y="53"/>
                      </a:cubicBezTo>
                      <a:cubicBezTo>
                        <a:pt x="10" y="53"/>
                        <a:pt x="9" y="49"/>
                        <a:pt x="9" y="48"/>
                      </a:cubicBezTo>
                      <a:cubicBezTo>
                        <a:pt x="9" y="48"/>
                        <a:pt x="9" y="46"/>
                        <a:pt x="9" y="46"/>
                      </a:cubicBezTo>
                      <a:cubicBezTo>
                        <a:pt x="9" y="46"/>
                        <a:pt x="9" y="46"/>
                        <a:pt x="9" y="46"/>
                      </a:cubicBezTo>
                      <a:cubicBezTo>
                        <a:pt x="9" y="46"/>
                        <a:pt x="9" y="45"/>
                        <a:pt x="9" y="45"/>
                      </a:cubicBezTo>
                      <a:cubicBezTo>
                        <a:pt x="9" y="44"/>
                        <a:pt x="8" y="44"/>
                        <a:pt x="8" y="44"/>
                      </a:cubicBezTo>
                      <a:cubicBezTo>
                        <a:pt x="8" y="44"/>
                        <a:pt x="8" y="44"/>
                        <a:pt x="8" y="44"/>
                      </a:cubicBezTo>
                      <a:cubicBezTo>
                        <a:pt x="8" y="43"/>
                        <a:pt x="8" y="43"/>
                        <a:pt x="8" y="43"/>
                      </a:cubicBezTo>
                      <a:cubicBezTo>
                        <a:pt x="8" y="43"/>
                        <a:pt x="9" y="42"/>
                        <a:pt x="9" y="40"/>
                      </a:cubicBezTo>
                      <a:cubicBezTo>
                        <a:pt x="9" y="39"/>
                        <a:pt x="9" y="37"/>
                        <a:pt x="10" y="36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0" y="36"/>
                        <a:pt x="10" y="37"/>
                        <a:pt x="10" y="38"/>
                      </a:cubicBezTo>
                      <a:cubicBezTo>
                        <a:pt x="10" y="38"/>
                        <a:pt x="10" y="39"/>
                        <a:pt x="10" y="40"/>
                      </a:cubicBezTo>
                      <a:cubicBezTo>
                        <a:pt x="10" y="40"/>
                        <a:pt x="10" y="42"/>
                        <a:pt x="11" y="42"/>
                      </a:cubicBezTo>
                      <a:cubicBezTo>
                        <a:pt x="11" y="43"/>
                        <a:pt x="11" y="43"/>
                        <a:pt x="11" y="43"/>
                      </a:cubicBezTo>
                      <a:cubicBezTo>
                        <a:pt x="11" y="43"/>
                        <a:pt x="11" y="44"/>
                        <a:pt x="11" y="44"/>
                      </a:cubicBezTo>
                      <a:cubicBezTo>
                        <a:pt x="11" y="44"/>
                        <a:pt x="11" y="45"/>
                        <a:pt x="11" y="45"/>
                      </a:cubicBezTo>
                      <a:cubicBezTo>
                        <a:pt x="11" y="45"/>
                        <a:pt x="11" y="45"/>
                        <a:pt x="11" y="45"/>
                      </a:cubicBezTo>
                      <a:cubicBezTo>
                        <a:pt x="11" y="46"/>
                        <a:pt x="11" y="47"/>
                        <a:pt x="11" y="48"/>
                      </a:cubicBezTo>
                      <a:cubicBezTo>
                        <a:pt x="11" y="49"/>
                        <a:pt x="11" y="51"/>
                        <a:pt x="11" y="52"/>
                      </a:cubicBezTo>
                      <a:cubicBezTo>
                        <a:pt x="11" y="53"/>
                        <a:pt x="10" y="53"/>
                        <a:pt x="10" y="54"/>
                      </a:cubicBezTo>
                      <a:cubicBezTo>
                        <a:pt x="10" y="54"/>
                        <a:pt x="10" y="55"/>
                        <a:pt x="10" y="55"/>
                      </a:cubicBezTo>
                      <a:cubicBezTo>
                        <a:pt x="10" y="55"/>
                        <a:pt x="10" y="56"/>
                        <a:pt x="11" y="56"/>
                      </a:cubicBezTo>
                      <a:cubicBezTo>
                        <a:pt x="11" y="56"/>
                        <a:pt x="11" y="57"/>
                        <a:pt x="11" y="57"/>
                      </a:cubicBezTo>
                      <a:cubicBezTo>
                        <a:pt x="11" y="57"/>
                        <a:pt x="11" y="57"/>
                        <a:pt x="11" y="57"/>
                      </a:cubicBezTo>
                      <a:cubicBezTo>
                        <a:pt x="11" y="57"/>
                        <a:pt x="11" y="57"/>
                        <a:pt x="11" y="57"/>
                      </a:cubicBezTo>
                      <a:cubicBezTo>
                        <a:pt x="11" y="57"/>
                        <a:pt x="11" y="59"/>
                        <a:pt x="11" y="59"/>
                      </a:cubicBezTo>
                      <a:cubicBezTo>
                        <a:pt x="11" y="59"/>
                        <a:pt x="11" y="59"/>
                        <a:pt x="11" y="59"/>
                      </a:cubicBezTo>
                      <a:cubicBezTo>
                        <a:pt x="12" y="59"/>
                        <a:pt x="12" y="59"/>
                        <a:pt x="12" y="59"/>
                      </a:cubicBezTo>
                      <a:cubicBezTo>
                        <a:pt x="12" y="59"/>
                        <a:pt x="13" y="59"/>
                        <a:pt x="14" y="59"/>
                      </a:cubicBezTo>
                      <a:cubicBezTo>
                        <a:pt x="15" y="59"/>
                        <a:pt x="16" y="59"/>
                        <a:pt x="16" y="59"/>
                      </a:cubicBezTo>
                      <a:cubicBezTo>
                        <a:pt x="16" y="59"/>
                        <a:pt x="16" y="59"/>
                        <a:pt x="16" y="59"/>
                      </a:cubicBezTo>
                      <a:cubicBezTo>
                        <a:pt x="16" y="58"/>
                        <a:pt x="14" y="58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4" y="56"/>
                        <a:pt x="14" y="56"/>
                      </a:cubicBezTo>
                      <a:cubicBezTo>
                        <a:pt x="14" y="56"/>
                        <a:pt x="15" y="55"/>
                        <a:pt x="15" y="55"/>
                      </a:cubicBezTo>
                      <a:cubicBezTo>
                        <a:pt x="15" y="55"/>
                        <a:pt x="15" y="54"/>
                        <a:pt x="15" y="54"/>
                      </a:cubicBezTo>
                      <a:cubicBezTo>
                        <a:pt x="15" y="54"/>
                        <a:pt x="15" y="53"/>
                        <a:pt x="15" y="53"/>
                      </a:cubicBezTo>
                      <a:cubicBezTo>
                        <a:pt x="15" y="53"/>
                        <a:pt x="15" y="52"/>
                        <a:pt x="15" y="52"/>
                      </a:cubicBezTo>
                      <a:cubicBezTo>
                        <a:pt x="15" y="52"/>
                        <a:pt x="15" y="52"/>
                        <a:pt x="15" y="52"/>
                      </a:cubicBezTo>
                      <a:cubicBezTo>
                        <a:pt x="15" y="51"/>
                        <a:pt x="15" y="49"/>
                        <a:pt x="15" y="48"/>
                      </a:cubicBezTo>
                      <a:cubicBezTo>
                        <a:pt x="15" y="48"/>
                        <a:pt x="15" y="47"/>
                        <a:pt x="15" y="47"/>
                      </a:cubicBezTo>
                      <a:cubicBezTo>
                        <a:pt x="15" y="46"/>
                        <a:pt x="15" y="46"/>
                        <a:pt x="15" y="46"/>
                      </a:cubicBezTo>
                      <a:cubicBezTo>
                        <a:pt x="15" y="46"/>
                        <a:pt x="15" y="45"/>
                        <a:pt x="15" y="45"/>
                      </a:cubicBezTo>
                      <a:cubicBezTo>
                        <a:pt x="15" y="45"/>
                        <a:pt x="16" y="45"/>
                        <a:pt x="15" y="44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5" y="44"/>
                        <a:pt x="15" y="44"/>
                        <a:pt x="15" y="43"/>
                      </a:cubicBezTo>
                      <a:cubicBezTo>
                        <a:pt x="15" y="43"/>
                        <a:pt x="15" y="42"/>
                        <a:pt x="15" y="41"/>
                      </a:cubicBezTo>
                      <a:cubicBezTo>
                        <a:pt x="15" y="41"/>
                        <a:pt x="15" y="40"/>
                        <a:pt x="15" y="39"/>
                      </a:cubicBezTo>
                      <a:cubicBezTo>
                        <a:pt x="16" y="38"/>
                        <a:pt x="16" y="35"/>
                        <a:pt x="16" y="34"/>
                      </a:cubicBezTo>
                      <a:cubicBezTo>
                        <a:pt x="16" y="34"/>
                        <a:pt x="16" y="34"/>
                        <a:pt x="16" y="33"/>
                      </a:cubicBezTo>
                      <a:cubicBezTo>
                        <a:pt x="16" y="33"/>
                        <a:pt x="16" y="32"/>
                        <a:pt x="16" y="31"/>
                      </a:cubicBezTo>
                      <a:cubicBezTo>
                        <a:pt x="16" y="31"/>
                        <a:pt x="16" y="31"/>
                        <a:pt x="16" y="31"/>
                      </a:cubicBezTo>
                      <a:cubicBezTo>
                        <a:pt x="16" y="31"/>
                        <a:pt x="17" y="30"/>
                        <a:pt x="17" y="29"/>
                      </a:cubicBezTo>
                      <a:cubicBezTo>
                        <a:pt x="17" y="29"/>
                        <a:pt x="18" y="28"/>
                        <a:pt x="18" y="28"/>
                      </a:cubicBezTo>
                      <a:cubicBezTo>
                        <a:pt x="18" y="28"/>
                        <a:pt x="18" y="27"/>
                        <a:pt x="18" y="27"/>
                      </a:cubicBezTo>
                      <a:cubicBezTo>
                        <a:pt x="18" y="26"/>
                        <a:pt x="18" y="26"/>
                        <a:pt x="18" y="26"/>
                      </a:cubicBezTo>
                      <a:cubicBezTo>
                        <a:pt x="18" y="25"/>
                        <a:pt x="18" y="25"/>
                        <a:pt x="19" y="25"/>
                      </a:cubicBezTo>
                      <a:cubicBezTo>
                        <a:pt x="19" y="24"/>
                        <a:pt x="19" y="23"/>
                        <a:pt x="19" y="23"/>
                      </a:cubicBezTo>
                      <a:cubicBezTo>
                        <a:pt x="19" y="22"/>
                        <a:pt x="19" y="21"/>
                        <a:pt x="19" y="2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66" name="Oval 701">
                  <a:extLst>
                    <a:ext uri="{FF2B5EF4-FFF2-40B4-BE49-F238E27FC236}">
                      <a16:creationId xmlns:a16="http://schemas.microsoft.com/office/drawing/2014/main" id="{7657300B-EA5B-EB25-D110-C69B43E295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872413" y="2527300"/>
                  <a:ext cx="109537" cy="107950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67" name="Freeform 702">
                  <a:extLst>
                    <a:ext uri="{FF2B5EF4-FFF2-40B4-BE49-F238E27FC236}">
                      <a16:creationId xmlns:a16="http://schemas.microsoft.com/office/drawing/2014/main" id="{A97A4BD9-DC91-AE1B-657E-A61FAEEB40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13688" y="2541588"/>
                  <a:ext cx="25400" cy="80963"/>
                </a:xfrm>
                <a:custGeom>
                  <a:avLst/>
                  <a:gdLst>
                    <a:gd name="T0" fmla="*/ 19 w 19"/>
                    <a:gd name="T1" fmla="*/ 18 h 59"/>
                    <a:gd name="T2" fmla="*/ 17 w 19"/>
                    <a:gd name="T3" fmla="*/ 10 h 59"/>
                    <a:gd name="T4" fmla="*/ 12 w 19"/>
                    <a:gd name="T5" fmla="*/ 8 h 59"/>
                    <a:gd name="T6" fmla="*/ 11 w 19"/>
                    <a:gd name="T7" fmla="*/ 7 h 59"/>
                    <a:gd name="T8" fmla="*/ 12 w 19"/>
                    <a:gd name="T9" fmla="*/ 5 h 59"/>
                    <a:gd name="T10" fmla="*/ 12 w 19"/>
                    <a:gd name="T11" fmla="*/ 2 h 59"/>
                    <a:gd name="T12" fmla="*/ 6 w 19"/>
                    <a:gd name="T13" fmla="*/ 3 h 59"/>
                    <a:gd name="T14" fmla="*/ 6 w 19"/>
                    <a:gd name="T15" fmla="*/ 5 h 59"/>
                    <a:gd name="T16" fmla="*/ 7 w 19"/>
                    <a:gd name="T17" fmla="*/ 8 h 59"/>
                    <a:gd name="T18" fmla="*/ 4 w 19"/>
                    <a:gd name="T19" fmla="*/ 10 h 59"/>
                    <a:gd name="T20" fmla="*/ 1 w 19"/>
                    <a:gd name="T21" fmla="*/ 17 h 59"/>
                    <a:gd name="T22" fmla="*/ 0 w 19"/>
                    <a:gd name="T23" fmla="*/ 22 h 59"/>
                    <a:gd name="T24" fmla="*/ 1 w 19"/>
                    <a:gd name="T25" fmla="*/ 26 h 59"/>
                    <a:gd name="T26" fmla="*/ 2 w 19"/>
                    <a:gd name="T27" fmla="*/ 29 h 59"/>
                    <a:gd name="T28" fmla="*/ 3 w 19"/>
                    <a:gd name="T29" fmla="*/ 31 h 59"/>
                    <a:gd name="T30" fmla="*/ 4 w 19"/>
                    <a:gd name="T31" fmla="*/ 40 h 59"/>
                    <a:gd name="T32" fmla="*/ 4 w 19"/>
                    <a:gd name="T33" fmla="*/ 44 h 59"/>
                    <a:gd name="T34" fmla="*/ 4 w 19"/>
                    <a:gd name="T35" fmla="*/ 47 h 59"/>
                    <a:gd name="T36" fmla="*/ 5 w 19"/>
                    <a:gd name="T37" fmla="*/ 52 h 59"/>
                    <a:gd name="T38" fmla="*/ 5 w 19"/>
                    <a:gd name="T39" fmla="*/ 54 h 59"/>
                    <a:gd name="T40" fmla="*/ 5 w 19"/>
                    <a:gd name="T41" fmla="*/ 56 h 59"/>
                    <a:gd name="T42" fmla="*/ 6 w 19"/>
                    <a:gd name="T43" fmla="*/ 57 h 59"/>
                    <a:gd name="T44" fmla="*/ 4 w 19"/>
                    <a:gd name="T45" fmla="*/ 59 h 59"/>
                    <a:gd name="T46" fmla="*/ 9 w 19"/>
                    <a:gd name="T47" fmla="*/ 59 h 59"/>
                    <a:gd name="T48" fmla="*/ 10 w 19"/>
                    <a:gd name="T49" fmla="*/ 55 h 59"/>
                    <a:gd name="T50" fmla="*/ 9 w 19"/>
                    <a:gd name="T51" fmla="*/ 48 h 59"/>
                    <a:gd name="T52" fmla="*/ 9 w 19"/>
                    <a:gd name="T53" fmla="*/ 45 h 59"/>
                    <a:gd name="T54" fmla="*/ 11 w 19"/>
                    <a:gd name="T55" fmla="*/ 43 h 59"/>
                    <a:gd name="T56" fmla="*/ 10 w 19"/>
                    <a:gd name="T57" fmla="*/ 36 h 59"/>
                    <a:gd name="T58" fmla="*/ 10 w 19"/>
                    <a:gd name="T59" fmla="*/ 38 h 59"/>
                    <a:gd name="T60" fmla="*/ 11 w 19"/>
                    <a:gd name="T61" fmla="*/ 43 h 59"/>
                    <a:gd name="T62" fmla="*/ 11 w 19"/>
                    <a:gd name="T63" fmla="*/ 45 h 59"/>
                    <a:gd name="T64" fmla="*/ 11 w 19"/>
                    <a:gd name="T65" fmla="*/ 54 h 59"/>
                    <a:gd name="T66" fmla="*/ 11 w 19"/>
                    <a:gd name="T67" fmla="*/ 57 h 59"/>
                    <a:gd name="T68" fmla="*/ 11 w 19"/>
                    <a:gd name="T69" fmla="*/ 59 h 59"/>
                    <a:gd name="T70" fmla="*/ 14 w 19"/>
                    <a:gd name="T71" fmla="*/ 58 h 59"/>
                    <a:gd name="T72" fmla="*/ 14 w 19"/>
                    <a:gd name="T73" fmla="*/ 57 h 59"/>
                    <a:gd name="T74" fmla="*/ 14 w 19"/>
                    <a:gd name="T75" fmla="*/ 57 h 59"/>
                    <a:gd name="T76" fmla="*/ 15 w 19"/>
                    <a:gd name="T77" fmla="*/ 54 h 59"/>
                    <a:gd name="T78" fmla="*/ 15 w 19"/>
                    <a:gd name="T79" fmla="*/ 51 h 59"/>
                    <a:gd name="T80" fmla="*/ 15 w 19"/>
                    <a:gd name="T81" fmla="*/ 46 h 59"/>
                    <a:gd name="T82" fmla="*/ 15 w 19"/>
                    <a:gd name="T83" fmla="*/ 44 h 59"/>
                    <a:gd name="T84" fmla="*/ 15 w 19"/>
                    <a:gd name="T85" fmla="*/ 43 h 59"/>
                    <a:gd name="T86" fmla="*/ 16 w 19"/>
                    <a:gd name="T87" fmla="*/ 34 h 59"/>
                    <a:gd name="T88" fmla="*/ 16 w 19"/>
                    <a:gd name="T89" fmla="*/ 30 h 59"/>
                    <a:gd name="T90" fmla="*/ 18 w 19"/>
                    <a:gd name="T91" fmla="*/ 27 h 59"/>
                    <a:gd name="T92" fmla="*/ 19 w 19"/>
                    <a:gd name="T93" fmla="*/ 23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9" h="59">
                      <a:moveTo>
                        <a:pt x="19" y="21"/>
                      </a:moveTo>
                      <a:cubicBezTo>
                        <a:pt x="19" y="20"/>
                        <a:pt x="19" y="20"/>
                        <a:pt x="19" y="20"/>
                      </a:cubicBezTo>
                      <a:cubicBezTo>
                        <a:pt x="19" y="20"/>
                        <a:pt x="19" y="18"/>
                        <a:pt x="19" y="18"/>
                      </a:cubicBezTo>
                      <a:cubicBezTo>
                        <a:pt x="19" y="17"/>
                        <a:pt x="18" y="16"/>
                        <a:pt x="18" y="15"/>
                      </a:cubicBezTo>
                      <a:cubicBezTo>
                        <a:pt x="18" y="14"/>
                        <a:pt x="18" y="13"/>
                        <a:pt x="18" y="12"/>
                      </a:cubicBezTo>
                      <a:cubicBezTo>
                        <a:pt x="18" y="11"/>
                        <a:pt x="18" y="10"/>
                        <a:pt x="17" y="10"/>
                      </a:cubicBezTo>
                      <a:cubicBezTo>
                        <a:pt x="17" y="10"/>
                        <a:pt x="16" y="9"/>
                        <a:pt x="15" y="9"/>
                      </a:cubicBezTo>
                      <a:cubicBezTo>
                        <a:pt x="14" y="9"/>
                        <a:pt x="13" y="9"/>
                        <a:pt x="13" y="9"/>
                      </a:cubicBezTo>
                      <a:cubicBezTo>
                        <a:pt x="13" y="9"/>
                        <a:pt x="12" y="9"/>
                        <a:pt x="12" y="8"/>
                      </a:cubicBezTo>
                      <a:cubicBezTo>
                        <a:pt x="12" y="8"/>
                        <a:pt x="12" y="8"/>
                        <a:pt x="12" y="8"/>
                      </a:cubicBezTo>
                      <a:cubicBezTo>
                        <a:pt x="12" y="8"/>
                        <a:pt x="12" y="8"/>
                        <a:pt x="12" y="8"/>
                      </a:cubicBezTo>
                      <a:cubicBezTo>
                        <a:pt x="12" y="8"/>
                        <a:pt x="11" y="7"/>
                        <a:pt x="11" y="7"/>
                      </a:cubicBezTo>
                      <a:cubicBezTo>
                        <a:pt x="12" y="7"/>
                        <a:pt x="12" y="6"/>
                        <a:pt x="12" y="6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2" y="5"/>
                        <a:pt x="13" y="4"/>
                        <a:pt x="12" y="4"/>
                      </a:cubicBezTo>
                      <a:cubicBezTo>
                        <a:pt x="12" y="3"/>
                        <a:pt x="12" y="3"/>
                        <a:pt x="12" y="3"/>
                      </a:cubicBezTo>
                      <a:cubicBezTo>
                        <a:pt x="12" y="3"/>
                        <a:pt x="12" y="3"/>
                        <a:pt x="12" y="2"/>
                      </a:cubicBezTo>
                      <a:cubicBezTo>
                        <a:pt x="12" y="1"/>
                        <a:pt x="11" y="0"/>
                        <a:pt x="9" y="0"/>
                      </a:cubicBezTo>
                      <a:cubicBezTo>
                        <a:pt x="8" y="0"/>
                        <a:pt x="6" y="2"/>
                        <a:pt x="6" y="3"/>
                      </a:cubicBezTo>
                      <a:cubicBezTo>
                        <a:pt x="6" y="3"/>
                        <a:pt x="6" y="3"/>
                        <a:pt x="6" y="3"/>
                      </a:cubicBezTo>
                      <a:cubicBezTo>
                        <a:pt x="6" y="3"/>
                        <a:pt x="6" y="3"/>
                        <a:pt x="6" y="4"/>
                      </a:cubicBezTo>
                      <a:cubicBezTo>
                        <a:pt x="6" y="4"/>
                        <a:pt x="6" y="4"/>
                        <a:pt x="6" y="5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6" y="5"/>
                        <a:pt x="6" y="6"/>
                        <a:pt x="7" y="6"/>
                      </a:cubicBezTo>
                      <a:cubicBezTo>
                        <a:pt x="7" y="6"/>
                        <a:pt x="7" y="7"/>
                        <a:pt x="7" y="7"/>
                      </a:cubicBezTo>
                      <a:cubicBezTo>
                        <a:pt x="7" y="8"/>
                        <a:pt x="7" y="8"/>
                        <a:pt x="7" y="8"/>
                      </a:cubicBezTo>
                      <a:cubicBezTo>
                        <a:pt x="7" y="8"/>
                        <a:pt x="7" y="8"/>
                        <a:pt x="7" y="8"/>
                      </a:cubicBezTo>
                      <a:cubicBezTo>
                        <a:pt x="7" y="8"/>
                        <a:pt x="7" y="9"/>
                        <a:pt x="6" y="9"/>
                      </a:cubicBezTo>
                      <a:cubicBezTo>
                        <a:pt x="6" y="9"/>
                        <a:pt x="5" y="10"/>
                        <a:pt x="4" y="10"/>
                      </a:cubicBezTo>
                      <a:cubicBezTo>
                        <a:pt x="2" y="11"/>
                        <a:pt x="2" y="11"/>
                        <a:pt x="2" y="11"/>
                      </a:cubicBezTo>
                      <a:cubicBezTo>
                        <a:pt x="2" y="11"/>
                        <a:pt x="1" y="14"/>
                        <a:pt x="1" y="15"/>
                      </a:cubicBezTo>
                      <a:cubicBezTo>
                        <a:pt x="1" y="16"/>
                        <a:pt x="1" y="16"/>
                        <a:pt x="1" y="17"/>
                      </a:cubicBezTo>
                      <a:cubicBezTo>
                        <a:pt x="1" y="18"/>
                        <a:pt x="1" y="18"/>
                        <a:pt x="1" y="19"/>
                      </a:cubicBezTo>
                      <a:cubicBezTo>
                        <a:pt x="1" y="19"/>
                        <a:pt x="0" y="20"/>
                        <a:pt x="0" y="20"/>
                      </a:cubicBezTo>
                      <a:cubicBezTo>
                        <a:pt x="0" y="21"/>
                        <a:pt x="0" y="21"/>
                        <a:pt x="0" y="22"/>
                      </a:cubicBezTo>
                      <a:cubicBezTo>
                        <a:pt x="0" y="22"/>
                        <a:pt x="0" y="23"/>
                        <a:pt x="1" y="24"/>
                      </a:cubicBezTo>
                      <a:cubicBezTo>
                        <a:pt x="1" y="24"/>
                        <a:pt x="1" y="25"/>
                        <a:pt x="1" y="25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1" y="26"/>
                        <a:pt x="1" y="27"/>
                        <a:pt x="1" y="27"/>
                      </a:cubicBezTo>
                      <a:cubicBezTo>
                        <a:pt x="1" y="27"/>
                        <a:pt x="1" y="28"/>
                        <a:pt x="1" y="28"/>
                      </a:cubicBezTo>
                      <a:cubicBezTo>
                        <a:pt x="2" y="28"/>
                        <a:pt x="1" y="28"/>
                        <a:pt x="2" y="29"/>
                      </a:cubicBezTo>
                      <a:cubicBezTo>
                        <a:pt x="2" y="29"/>
                        <a:pt x="2" y="29"/>
                        <a:pt x="2" y="30"/>
                      </a:cubicBezTo>
                      <a:cubicBezTo>
                        <a:pt x="2" y="30"/>
                        <a:pt x="3" y="31"/>
                        <a:pt x="3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3" y="31"/>
                        <a:pt x="4" y="32"/>
                        <a:pt x="4" y="35"/>
                      </a:cubicBezTo>
                      <a:cubicBezTo>
                        <a:pt x="4" y="37"/>
                        <a:pt x="4" y="39"/>
                        <a:pt x="4" y="40"/>
                      </a:cubicBezTo>
                      <a:cubicBezTo>
                        <a:pt x="4" y="41"/>
                        <a:pt x="4" y="41"/>
                        <a:pt x="5" y="42"/>
                      </a:cubicBezTo>
                      <a:cubicBezTo>
                        <a:pt x="5" y="42"/>
                        <a:pt x="4" y="43"/>
                        <a:pt x="5" y="44"/>
                      </a:cubicBezTo>
                      <a:cubicBezTo>
                        <a:pt x="5" y="44"/>
                        <a:pt x="5" y="44"/>
                        <a:pt x="4" y="44"/>
                      </a:cubicBez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6"/>
                        <a:pt x="4" y="46"/>
                        <a:pt x="4" y="46"/>
                      </a:cubicBezTo>
                      <a:cubicBezTo>
                        <a:pt x="4" y="46"/>
                        <a:pt x="4" y="47"/>
                        <a:pt x="4" y="47"/>
                      </a:cubicBezTo>
                      <a:cubicBezTo>
                        <a:pt x="4" y="47"/>
                        <a:pt x="5" y="47"/>
                        <a:pt x="5" y="48"/>
                      </a:cubicBezTo>
                      <a:cubicBezTo>
                        <a:pt x="5" y="49"/>
                        <a:pt x="5" y="49"/>
                        <a:pt x="5" y="50"/>
                      </a:cubicBezTo>
                      <a:cubicBezTo>
                        <a:pt x="5" y="51"/>
                        <a:pt x="5" y="52"/>
                        <a:pt x="5" y="52"/>
                      </a:cubicBezTo>
                      <a:cubicBezTo>
                        <a:pt x="5" y="52"/>
                        <a:pt x="5" y="52"/>
                        <a:pt x="5" y="52"/>
                      </a:cubicBezTo>
                      <a:cubicBezTo>
                        <a:pt x="5" y="53"/>
                        <a:pt x="5" y="53"/>
                        <a:pt x="5" y="53"/>
                      </a:cubicBezTo>
                      <a:cubicBezTo>
                        <a:pt x="5" y="54"/>
                        <a:pt x="5" y="54"/>
                        <a:pt x="5" y="54"/>
                      </a:cubicBezTo>
                      <a:cubicBezTo>
                        <a:pt x="5" y="54"/>
                        <a:pt x="5" y="54"/>
                        <a:pt x="5" y="54"/>
                      </a:cubicBezTo>
                      <a:cubicBezTo>
                        <a:pt x="5" y="55"/>
                        <a:pt x="4" y="55"/>
                        <a:pt x="5" y="55"/>
                      </a:cubicBezTo>
                      <a:cubicBezTo>
                        <a:pt x="5" y="55"/>
                        <a:pt x="5" y="56"/>
                        <a:pt x="5" y="56"/>
                      </a:cubicBezTo>
                      <a:cubicBezTo>
                        <a:pt x="5" y="56"/>
                        <a:pt x="6" y="57"/>
                        <a:pt x="6" y="57"/>
                      </a:cubicBezTo>
                      <a:cubicBezTo>
                        <a:pt x="6" y="57"/>
                        <a:pt x="6" y="57"/>
                        <a:pt x="6" y="57"/>
                      </a:cubicBezTo>
                      <a:cubicBezTo>
                        <a:pt x="6" y="57"/>
                        <a:pt x="6" y="57"/>
                        <a:pt x="6" y="57"/>
                      </a:cubicBezTo>
                      <a:cubicBezTo>
                        <a:pt x="6" y="57"/>
                        <a:pt x="6" y="57"/>
                        <a:pt x="6" y="58"/>
                      </a:cubicBezTo>
                      <a:cubicBezTo>
                        <a:pt x="5" y="58"/>
                        <a:pt x="4" y="58"/>
                        <a:pt x="4" y="58"/>
                      </a:cubicBezTo>
                      <a:cubicBezTo>
                        <a:pt x="4" y="59"/>
                        <a:pt x="4" y="59"/>
                        <a:pt x="4" y="59"/>
                      </a:cubicBezTo>
                      <a:cubicBezTo>
                        <a:pt x="4" y="59"/>
                        <a:pt x="4" y="59"/>
                        <a:pt x="5" y="59"/>
                      </a:cubicBezTo>
                      <a:cubicBezTo>
                        <a:pt x="5" y="59"/>
                        <a:pt x="8" y="59"/>
                        <a:pt x="8" y="59"/>
                      </a:cubicBezTo>
                      <a:cubicBezTo>
                        <a:pt x="8" y="59"/>
                        <a:pt x="9" y="59"/>
                        <a:pt x="9" y="59"/>
                      </a:cubicBezTo>
                      <a:cubicBezTo>
                        <a:pt x="9" y="59"/>
                        <a:pt x="9" y="57"/>
                        <a:pt x="9" y="57"/>
                      </a:cubicBezTo>
                      <a:cubicBezTo>
                        <a:pt x="9" y="57"/>
                        <a:pt x="9" y="57"/>
                        <a:pt x="9" y="57"/>
                      </a:cubicBezTo>
                      <a:cubicBezTo>
                        <a:pt x="9" y="57"/>
                        <a:pt x="10" y="56"/>
                        <a:pt x="10" y="55"/>
                      </a:cubicBezTo>
                      <a:cubicBezTo>
                        <a:pt x="10" y="55"/>
                        <a:pt x="9" y="54"/>
                        <a:pt x="9" y="54"/>
                      </a:cubicBezTo>
                      <a:cubicBezTo>
                        <a:pt x="9" y="54"/>
                        <a:pt x="10" y="54"/>
                        <a:pt x="10" y="53"/>
                      </a:cubicBezTo>
                      <a:cubicBezTo>
                        <a:pt x="10" y="53"/>
                        <a:pt x="10" y="49"/>
                        <a:pt x="9" y="48"/>
                      </a:cubicBezTo>
                      <a:cubicBezTo>
                        <a:pt x="9" y="48"/>
                        <a:pt x="9" y="46"/>
                        <a:pt x="9" y="46"/>
                      </a:cubicBezTo>
                      <a:cubicBezTo>
                        <a:pt x="9" y="46"/>
                        <a:pt x="9" y="45"/>
                        <a:pt x="9" y="45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4"/>
                        <a:pt x="10" y="44"/>
                        <a:pt x="10" y="44"/>
                      </a:cubicBezTo>
                      <a:cubicBezTo>
                        <a:pt x="10" y="44"/>
                        <a:pt x="11" y="44"/>
                        <a:pt x="11" y="44"/>
                      </a:cubicBezTo>
                      <a:cubicBezTo>
                        <a:pt x="11" y="43"/>
                        <a:pt x="11" y="43"/>
                        <a:pt x="11" y="43"/>
                      </a:cubicBezTo>
                      <a:cubicBezTo>
                        <a:pt x="11" y="43"/>
                        <a:pt x="10" y="41"/>
                        <a:pt x="10" y="40"/>
                      </a:cubicBezTo>
                      <a:cubicBezTo>
                        <a:pt x="11" y="39"/>
                        <a:pt x="10" y="36"/>
                        <a:pt x="10" y="36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0" y="36"/>
                        <a:pt x="10" y="37"/>
                        <a:pt x="10" y="38"/>
                      </a:cubicBezTo>
                      <a:cubicBezTo>
                        <a:pt x="10" y="38"/>
                        <a:pt x="10" y="39"/>
                        <a:pt x="10" y="40"/>
                      </a:cubicBezTo>
                      <a:cubicBezTo>
                        <a:pt x="11" y="40"/>
                        <a:pt x="11" y="42"/>
                        <a:pt x="11" y="42"/>
                      </a:cubicBezTo>
                      <a:cubicBezTo>
                        <a:pt x="11" y="43"/>
                        <a:pt x="11" y="43"/>
                        <a:pt x="11" y="43"/>
                      </a:cubicBezTo>
                      <a:cubicBezTo>
                        <a:pt x="11" y="43"/>
                        <a:pt x="11" y="44"/>
                        <a:pt x="11" y="44"/>
                      </a:cubicBezTo>
                      <a:cubicBezTo>
                        <a:pt x="11" y="44"/>
                        <a:pt x="11" y="44"/>
                        <a:pt x="11" y="44"/>
                      </a:cubicBezTo>
                      <a:cubicBezTo>
                        <a:pt x="11" y="44"/>
                        <a:pt x="11" y="45"/>
                        <a:pt x="11" y="45"/>
                      </a:cubicBezTo>
                      <a:cubicBezTo>
                        <a:pt x="11" y="46"/>
                        <a:pt x="11" y="47"/>
                        <a:pt x="11" y="48"/>
                      </a:cubicBezTo>
                      <a:cubicBezTo>
                        <a:pt x="11" y="48"/>
                        <a:pt x="11" y="51"/>
                        <a:pt x="11" y="52"/>
                      </a:cubicBezTo>
                      <a:cubicBezTo>
                        <a:pt x="11" y="53"/>
                        <a:pt x="11" y="53"/>
                        <a:pt x="11" y="54"/>
                      </a:cubicBezTo>
                      <a:cubicBezTo>
                        <a:pt x="10" y="54"/>
                        <a:pt x="10" y="55"/>
                        <a:pt x="10" y="55"/>
                      </a:cubicBezTo>
                      <a:cubicBezTo>
                        <a:pt x="10" y="55"/>
                        <a:pt x="11" y="56"/>
                        <a:pt x="11" y="56"/>
                      </a:cubicBezTo>
                      <a:cubicBezTo>
                        <a:pt x="11" y="56"/>
                        <a:pt x="11" y="57"/>
                        <a:pt x="11" y="57"/>
                      </a:cubicBezTo>
                      <a:cubicBezTo>
                        <a:pt x="11" y="57"/>
                        <a:pt x="11" y="57"/>
                        <a:pt x="11" y="57"/>
                      </a:cubicBezTo>
                      <a:cubicBezTo>
                        <a:pt x="11" y="57"/>
                        <a:pt x="11" y="57"/>
                        <a:pt x="11" y="57"/>
                      </a:cubicBezTo>
                      <a:cubicBezTo>
                        <a:pt x="11" y="57"/>
                        <a:pt x="11" y="59"/>
                        <a:pt x="11" y="59"/>
                      </a:cubicBezTo>
                      <a:cubicBezTo>
                        <a:pt x="11" y="59"/>
                        <a:pt x="11" y="59"/>
                        <a:pt x="11" y="59"/>
                      </a:cubicBezTo>
                      <a:cubicBezTo>
                        <a:pt x="12" y="59"/>
                        <a:pt x="12" y="58"/>
                        <a:pt x="12" y="58"/>
                      </a:cubicBezTo>
                      <a:cubicBezTo>
                        <a:pt x="13" y="58"/>
                        <a:pt x="13" y="58"/>
                        <a:pt x="14" y="58"/>
                      </a:cubicBezTo>
                      <a:cubicBezTo>
                        <a:pt x="15" y="58"/>
                        <a:pt x="16" y="59"/>
                        <a:pt x="16" y="58"/>
                      </a:cubicBezTo>
                      <a:cubicBezTo>
                        <a:pt x="16" y="58"/>
                        <a:pt x="16" y="59"/>
                        <a:pt x="16" y="58"/>
                      </a:cubicBezTo>
                      <a:cubicBezTo>
                        <a:pt x="16" y="58"/>
                        <a:pt x="14" y="58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4" y="56"/>
                        <a:pt x="14" y="56"/>
                      </a:cubicBezTo>
                      <a:cubicBezTo>
                        <a:pt x="14" y="56"/>
                        <a:pt x="15" y="55"/>
                        <a:pt x="15" y="55"/>
                      </a:cubicBezTo>
                      <a:cubicBezTo>
                        <a:pt x="15" y="55"/>
                        <a:pt x="15" y="54"/>
                        <a:pt x="15" y="54"/>
                      </a:cubicBezTo>
                      <a:cubicBezTo>
                        <a:pt x="15" y="54"/>
                        <a:pt x="15" y="53"/>
                        <a:pt x="15" y="53"/>
                      </a:cubicBezTo>
                      <a:cubicBezTo>
                        <a:pt x="15" y="52"/>
                        <a:pt x="15" y="52"/>
                        <a:pt x="15" y="52"/>
                      </a:cubicBezTo>
                      <a:cubicBezTo>
                        <a:pt x="15" y="52"/>
                        <a:pt x="15" y="52"/>
                        <a:pt x="15" y="51"/>
                      </a:cubicBezTo>
                      <a:cubicBezTo>
                        <a:pt x="15" y="51"/>
                        <a:pt x="15" y="49"/>
                        <a:pt x="15" y="48"/>
                      </a:cubicBezTo>
                      <a:cubicBezTo>
                        <a:pt x="15" y="48"/>
                        <a:pt x="15" y="47"/>
                        <a:pt x="15" y="47"/>
                      </a:cubicBezTo>
                      <a:cubicBezTo>
                        <a:pt x="16" y="46"/>
                        <a:pt x="15" y="46"/>
                        <a:pt x="15" y="46"/>
                      </a:cubicBezTo>
                      <a:cubicBezTo>
                        <a:pt x="15" y="46"/>
                        <a:pt x="15" y="45"/>
                        <a:pt x="15" y="45"/>
                      </a:cubicBezTo>
                      <a:cubicBezTo>
                        <a:pt x="15" y="45"/>
                        <a:pt x="16" y="45"/>
                        <a:pt x="15" y="44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5" y="44"/>
                        <a:pt x="15" y="43"/>
                        <a:pt x="15" y="43"/>
                      </a:cubicBezTo>
                      <a:cubicBezTo>
                        <a:pt x="15" y="43"/>
                        <a:pt x="15" y="42"/>
                        <a:pt x="15" y="41"/>
                      </a:cubicBezTo>
                      <a:cubicBezTo>
                        <a:pt x="15" y="41"/>
                        <a:pt x="16" y="40"/>
                        <a:pt x="16" y="39"/>
                      </a:cubicBezTo>
                      <a:cubicBezTo>
                        <a:pt x="16" y="38"/>
                        <a:pt x="16" y="35"/>
                        <a:pt x="16" y="34"/>
                      </a:cubicBezTo>
                      <a:cubicBezTo>
                        <a:pt x="16" y="34"/>
                        <a:pt x="16" y="34"/>
                        <a:pt x="16" y="33"/>
                      </a:cubicBezTo>
                      <a:cubicBezTo>
                        <a:pt x="16" y="33"/>
                        <a:pt x="16" y="32"/>
                        <a:pt x="16" y="31"/>
                      </a:cubicBezTo>
                      <a:cubicBezTo>
                        <a:pt x="16" y="31"/>
                        <a:pt x="16" y="30"/>
                        <a:pt x="16" y="30"/>
                      </a:cubicBezTo>
                      <a:cubicBezTo>
                        <a:pt x="16" y="30"/>
                        <a:pt x="17" y="30"/>
                        <a:pt x="17" y="29"/>
                      </a:cubicBezTo>
                      <a:cubicBezTo>
                        <a:pt x="17" y="29"/>
                        <a:pt x="18" y="28"/>
                        <a:pt x="18" y="28"/>
                      </a:cubicBezTo>
                      <a:cubicBezTo>
                        <a:pt x="18" y="28"/>
                        <a:pt x="18" y="27"/>
                        <a:pt x="18" y="27"/>
                      </a:cubicBezTo>
                      <a:cubicBezTo>
                        <a:pt x="18" y="26"/>
                        <a:pt x="18" y="26"/>
                        <a:pt x="18" y="26"/>
                      </a:cubicBezTo>
                      <a:cubicBezTo>
                        <a:pt x="18" y="25"/>
                        <a:pt x="19" y="25"/>
                        <a:pt x="19" y="25"/>
                      </a:cubicBezTo>
                      <a:cubicBezTo>
                        <a:pt x="19" y="24"/>
                        <a:pt x="19" y="23"/>
                        <a:pt x="19" y="23"/>
                      </a:cubicBezTo>
                      <a:cubicBezTo>
                        <a:pt x="19" y="22"/>
                        <a:pt x="19" y="21"/>
                        <a:pt x="19" y="2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68" name="Oval 703">
                  <a:extLst>
                    <a:ext uri="{FF2B5EF4-FFF2-40B4-BE49-F238E27FC236}">
                      <a16:creationId xmlns:a16="http://schemas.microsoft.com/office/drawing/2014/main" id="{D9490B4B-D6C1-5D16-E32E-EC19E0A3FD5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89775" y="3644900"/>
                  <a:ext cx="107950" cy="107950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69" name="Freeform 704">
                  <a:extLst>
                    <a:ext uri="{FF2B5EF4-FFF2-40B4-BE49-F238E27FC236}">
                      <a16:creationId xmlns:a16="http://schemas.microsoft.com/office/drawing/2014/main" id="{DE922AE9-744A-6CA1-3680-37501158F1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31050" y="3662363"/>
                  <a:ext cx="25400" cy="79375"/>
                </a:xfrm>
                <a:custGeom>
                  <a:avLst/>
                  <a:gdLst>
                    <a:gd name="T0" fmla="*/ 19 w 19"/>
                    <a:gd name="T1" fmla="*/ 17 h 59"/>
                    <a:gd name="T2" fmla="*/ 17 w 19"/>
                    <a:gd name="T3" fmla="*/ 9 h 59"/>
                    <a:gd name="T4" fmla="*/ 12 w 19"/>
                    <a:gd name="T5" fmla="*/ 8 h 59"/>
                    <a:gd name="T6" fmla="*/ 11 w 19"/>
                    <a:gd name="T7" fmla="*/ 6 h 59"/>
                    <a:gd name="T8" fmla="*/ 12 w 19"/>
                    <a:gd name="T9" fmla="*/ 4 h 59"/>
                    <a:gd name="T10" fmla="*/ 12 w 19"/>
                    <a:gd name="T11" fmla="*/ 1 h 59"/>
                    <a:gd name="T12" fmla="*/ 6 w 19"/>
                    <a:gd name="T13" fmla="*/ 3 h 59"/>
                    <a:gd name="T14" fmla="*/ 6 w 19"/>
                    <a:gd name="T15" fmla="*/ 4 h 59"/>
                    <a:gd name="T16" fmla="*/ 7 w 19"/>
                    <a:gd name="T17" fmla="*/ 7 h 59"/>
                    <a:gd name="T18" fmla="*/ 3 w 19"/>
                    <a:gd name="T19" fmla="*/ 9 h 59"/>
                    <a:gd name="T20" fmla="*/ 1 w 19"/>
                    <a:gd name="T21" fmla="*/ 16 h 59"/>
                    <a:gd name="T22" fmla="*/ 0 w 19"/>
                    <a:gd name="T23" fmla="*/ 21 h 59"/>
                    <a:gd name="T24" fmla="*/ 1 w 19"/>
                    <a:gd name="T25" fmla="*/ 25 h 59"/>
                    <a:gd name="T26" fmla="*/ 1 w 19"/>
                    <a:gd name="T27" fmla="*/ 28 h 59"/>
                    <a:gd name="T28" fmla="*/ 3 w 19"/>
                    <a:gd name="T29" fmla="*/ 30 h 59"/>
                    <a:gd name="T30" fmla="*/ 4 w 19"/>
                    <a:gd name="T31" fmla="*/ 39 h 59"/>
                    <a:gd name="T32" fmla="*/ 4 w 19"/>
                    <a:gd name="T33" fmla="*/ 44 h 59"/>
                    <a:gd name="T34" fmla="*/ 4 w 19"/>
                    <a:gd name="T35" fmla="*/ 46 h 59"/>
                    <a:gd name="T36" fmla="*/ 5 w 19"/>
                    <a:gd name="T37" fmla="*/ 51 h 59"/>
                    <a:gd name="T38" fmla="*/ 4 w 19"/>
                    <a:gd name="T39" fmla="*/ 54 h 59"/>
                    <a:gd name="T40" fmla="*/ 5 w 19"/>
                    <a:gd name="T41" fmla="*/ 55 h 59"/>
                    <a:gd name="T42" fmla="*/ 6 w 19"/>
                    <a:gd name="T43" fmla="*/ 56 h 59"/>
                    <a:gd name="T44" fmla="*/ 4 w 19"/>
                    <a:gd name="T45" fmla="*/ 58 h 59"/>
                    <a:gd name="T46" fmla="*/ 9 w 19"/>
                    <a:gd name="T47" fmla="*/ 58 h 59"/>
                    <a:gd name="T48" fmla="*/ 9 w 19"/>
                    <a:gd name="T49" fmla="*/ 54 h 59"/>
                    <a:gd name="T50" fmla="*/ 9 w 19"/>
                    <a:gd name="T51" fmla="*/ 48 h 59"/>
                    <a:gd name="T52" fmla="*/ 9 w 19"/>
                    <a:gd name="T53" fmla="*/ 44 h 59"/>
                    <a:gd name="T54" fmla="*/ 8 w 19"/>
                    <a:gd name="T55" fmla="*/ 42 h 59"/>
                    <a:gd name="T56" fmla="*/ 10 w 19"/>
                    <a:gd name="T57" fmla="*/ 35 h 59"/>
                    <a:gd name="T58" fmla="*/ 10 w 19"/>
                    <a:gd name="T59" fmla="*/ 37 h 59"/>
                    <a:gd name="T60" fmla="*/ 11 w 19"/>
                    <a:gd name="T61" fmla="*/ 42 h 59"/>
                    <a:gd name="T62" fmla="*/ 11 w 19"/>
                    <a:gd name="T63" fmla="*/ 45 h 59"/>
                    <a:gd name="T64" fmla="*/ 10 w 19"/>
                    <a:gd name="T65" fmla="*/ 53 h 59"/>
                    <a:gd name="T66" fmla="*/ 11 w 19"/>
                    <a:gd name="T67" fmla="*/ 56 h 59"/>
                    <a:gd name="T68" fmla="*/ 11 w 19"/>
                    <a:gd name="T69" fmla="*/ 58 h 59"/>
                    <a:gd name="T70" fmla="*/ 14 w 19"/>
                    <a:gd name="T71" fmla="*/ 58 h 59"/>
                    <a:gd name="T72" fmla="*/ 14 w 19"/>
                    <a:gd name="T73" fmla="*/ 56 h 59"/>
                    <a:gd name="T74" fmla="*/ 14 w 19"/>
                    <a:gd name="T75" fmla="*/ 56 h 59"/>
                    <a:gd name="T76" fmla="*/ 15 w 19"/>
                    <a:gd name="T77" fmla="*/ 53 h 59"/>
                    <a:gd name="T78" fmla="*/ 15 w 19"/>
                    <a:gd name="T79" fmla="*/ 51 h 59"/>
                    <a:gd name="T80" fmla="*/ 15 w 19"/>
                    <a:gd name="T81" fmla="*/ 45 h 59"/>
                    <a:gd name="T82" fmla="*/ 15 w 19"/>
                    <a:gd name="T83" fmla="*/ 43 h 59"/>
                    <a:gd name="T84" fmla="*/ 15 w 19"/>
                    <a:gd name="T85" fmla="*/ 42 h 59"/>
                    <a:gd name="T86" fmla="*/ 16 w 19"/>
                    <a:gd name="T87" fmla="*/ 34 h 59"/>
                    <a:gd name="T88" fmla="*/ 16 w 19"/>
                    <a:gd name="T89" fmla="*/ 30 h 59"/>
                    <a:gd name="T90" fmla="*/ 18 w 19"/>
                    <a:gd name="T91" fmla="*/ 26 h 59"/>
                    <a:gd name="T92" fmla="*/ 19 w 19"/>
                    <a:gd name="T93" fmla="*/ 22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9" h="59">
                      <a:moveTo>
                        <a:pt x="19" y="20"/>
                      </a:move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19" y="19"/>
                        <a:pt x="19" y="17"/>
                        <a:pt x="19" y="17"/>
                      </a:cubicBezTo>
                      <a:cubicBezTo>
                        <a:pt x="19" y="16"/>
                        <a:pt x="18" y="15"/>
                        <a:pt x="18" y="14"/>
                      </a:cubicBezTo>
                      <a:cubicBezTo>
                        <a:pt x="18" y="13"/>
                        <a:pt x="18" y="12"/>
                        <a:pt x="18" y="11"/>
                      </a:cubicBezTo>
                      <a:cubicBezTo>
                        <a:pt x="18" y="10"/>
                        <a:pt x="18" y="9"/>
                        <a:pt x="17" y="9"/>
                      </a:cubicBezTo>
                      <a:cubicBezTo>
                        <a:pt x="17" y="9"/>
                        <a:pt x="15" y="9"/>
                        <a:pt x="15" y="8"/>
                      </a:cubicBezTo>
                      <a:cubicBezTo>
                        <a:pt x="14" y="8"/>
                        <a:pt x="13" y="8"/>
                        <a:pt x="13" y="8"/>
                      </a:cubicBezTo>
                      <a:cubicBezTo>
                        <a:pt x="12" y="8"/>
                        <a:pt x="12" y="8"/>
                        <a:pt x="12" y="8"/>
                      </a:cubicBezTo>
                      <a:cubicBezTo>
                        <a:pt x="12" y="7"/>
                        <a:pt x="12" y="7"/>
                        <a:pt x="11" y="7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11" y="7"/>
                        <a:pt x="11" y="6"/>
                        <a:pt x="11" y="6"/>
                      </a:cubicBezTo>
                      <a:cubicBezTo>
                        <a:pt x="11" y="6"/>
                        <a:pt x="12" y="5"/>
                        <a:pt x="12" y="5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2" y="5"/>
                        <a:pt x="12" y="5"/>
                        <a:pt x="12" y="4"/>
                      </a:cubicBezTo>
                      <a:cubicBezTo>
                        <a:pt x="12" y="4"/>
                        <a:pt x="12" y="3"/>
                        <a:pt x="12" y="3"/>
                      </a:cubicBezTo>
                      <a:cubicBezTo>
                        <a:pt x="12" y="2"/>
                        <a:pt x="12" y="2"/>
                        <a:pt x="12" y="2"/>
                      </a:cubicBezTo>
                      <a:cubicBezTo>
                        <a:pt x="12" y="2"/>
                        <a:pt x="12" y="2"/>
                        <a:pt x="12" y="1"/>
                      </a:cubicBezTo>
                      <a:cubicBezTo>
                        <a:pt x="11" y="1"/>
                        <a:pt x="11" y="0"/>
                        <a:pt x="9" y="0"/>
                      </a:cubicBezTo>
                      <a:cubicBezTo>
                        <a:pt x="7" y="0"/>
                        <a:pt x="6" y="1"/>
                        <a:pt x="6" y="2"/>
                      </a:cubicBezTo>
                      <a:cubicBezTo>
                        <a:pt x="6" y="3"/>
                        <a:pt x="6" y="3"/>
                        <a:pt x="6" y="3"/>
                      </a:cubicBezTo>
                      <a:cubicBezTo>
                        <a:pt x="6" y="3"/>
                        <a:pt x="6" y="3"/>
                        <a:pt x="6" y="3"/>
                      </a:cubicBezTo>
                      <a:cubicBezTo>
                        <a:pt x="6" y="3"/>
                        <a:pt x="6" y="4"/>
                        <a:pt x="6" y="4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6" y="5"/>
                        <a:pt x="7" y="6"/>
                        <a:pt x="7" y="7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7" y="7"/>
                        <a:pt x="7" y="7"/>
                        <a:pt x="7" y="8"/>
                      </a:cubicBezTo>
                      <a:cubicBezTo>
                        <a:pt x="7" y="8"/>
                        <a:pt x="7" y="8"/>
                        <a:pt x="6" y="8"/>
                      </a:cubicBezTo>
                      <a:cubicBezTo>
                        <a:pt x="6" y="8"/>
                        <a:pt x="5" y="9"/>
                        <a:pt x="3" y="9"/>
                      </a:cubicBezTo>
                      <a:cubicBezTo>
                        <a:pt x="2" y="10"/>
                        <a:pt x="2" y="10"/>
                        <a:pt x="2" y="10"/>
                      </a:cubicBezTo>
                      <a:cubicBezTo>
                        <a:pt x="2" y="11"/>
                        <a:pt x="1" y="13"/>
                        <a:pt x="1" y="14"/>
                      </a:cubicBezTo>
                      <a:cubicBezTo>
                        <a:pt x="1" y="15"/>
                        <a:pt x="1" y="15"/>
                        <a:pt x="1" y="16"/>
                      </a:cubicBezTo>
                      <a:cubicBezTo>
                        <a:pt x="0" y="17"/>
                        <a:pt x="1" y="17"/>
                        <a:pt x="1" y="18"/>
                      </a:cubicBezTo>
                      <a:cubicBezTo>
                        <a:pt x="0" y="18"/>
                        <a:pt x="0" y="19"/>
                        <a:pt x="0" y="19"/>
                      </a:cubicBezTo>
                      <a:cubicBezTo>
                        <a:pt x="0" y="20"/>
                        <a:pt x="0" y="20"/>
                        <a:pt x="0" y="21"/>
                      </a:cubicBezTo>
                      <a:cubicBezTo>
                        <a:pt x="0" y="21"/>
                        <a:pt x="0" y="22"/>
                        <a:pt x="0" y="23"/>
                      </a:cubicBezTo>
                      <a:cubicBezTo>
                        <a:pt x="0" y="23"/>
                        <a:pt x="1" y="24"/>
                        <a:pt x="1" y="24"/>
                      </a:cubicBezTo>
                      <a:cubicBezTo>
                        <a:pt x="1" y="25"/>
                        <a:pt x="1" y="25"/>
                        <a:pt x="1" y="25"/>
                      </a:cubicBezTo>
                      <a:cubicBezTo>
                        <a:pt x="1" y="25"/>
                        <a:pt x="1" y="26"/>
                        <a:pt x="1" y="26"/>
                      </a:cubicBezTo>
                      <a:cubicBezTo>
                        <a:pt x="1" y="27"/>
                        <a:pt x="1" y="27"/>
                        <a:pt x="1" y="27"/>
                      </a:cubicBezTo>
                      <a:cubicBezTo>
                        <a:pt x="1" y="27"/>
                        <a:pt x="1" y="27"/>
                        <a:pt x="1" y="28"/>
                      </a:cubicBezTo>
                      <a:cubicBezTo>
                        <a:pt x="1" y="28"/>
                        <a:pt x="2" y="28"/>
                        <a:pt x="2" y="29"/>
                      </a:cubicBezTo>
                      <a:cubicBezTo>
                        <a:pt x="2" y="29"/>
                        <a:pt x="3" y="30"/>
                        <a:pt x="3" y="30"/>
                      </a:cubicBezTo>
                      <a:cubicBezTo>
                        <a:pt x="3" y="30"/>
                        <a:pt x="3" y="30"/>
                        <a:pt x="3" y="30"/>
                      </a:cubicBezTo>
                      <a:cubicBezTo>
                        <a:pt x="3" y="30"/>
                        <a:pt x="3" y="30"/>
                        <a:pt x="3" y="30"/>
                      </a:cubicBezTo>
                      <a:cubicBezTo>
                        <a:pt x="3" y="30"/>
                        <a:pt x="3" y="32"/>
                        <a:pt x="4" y="34"/>
                      </a:cubicBezTo>
                      <a:cubicBezTo>
                        <a:pt x="4" y="36"/>
                        <a:pt x="4" y="38"/>
                        <a:pt x="4" y="39"/>
                      </a:cubicBezTo>
                      <a:cubicBezTo>
                        <a:pt x="4" y="40"/>
                        <a:pt x="4" y="40"/>
                        <a:pt x="4" y="41"/>
                      </a:cubicBezTo>
                      <a:cubicBezTo>
                        <a:pt x="4" y="41"/>
                        <a:pt x="4" y="42"/>
                        <a:pt x="4" y="43"/>
                      </a:cubicBezTo>
                      <a:cubicBezTo>
                        <a:pt x="4" y="43"/>
                        <a:pt x="4" y="43"/>
                        <a:pt x="4" y="44"/>
                      </a:cubicBezTo>
                      <a:cubicBezTo>
                        <a:pt x="4" y="44"/>
                        <a:pt x="4" y="44"/>
                        <a:pt x="4" y="44"/>
                      </a:cubicBez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7"/>
                        <a:pt x="4" y="47"/>
                        <a:pt x="4" y="48"/>
                      </a:cubicBezTo>
                      <a:cubicBezTo>
                        <a:pt x="4" y="48"/>
                        <a:pt x="4" y="49"/>
                        <a:pt x="5" y="49"/>
                      </a:cubicBezTo>
                      <a:cubicBezTo>
                        <a:pt x="5" y="50"/>
                        <a:pt x="5" y="51"/>
                        <a:pt x="5" y="51"/>
                      </a:cubicBezTo>
                      <a:cubicBezTo>
                        <a:pt x="5" y="51"/>
                        <a:pt x="5" y="51"/>
                        <a:pt x="5" y="52"/>
                      </a:cubicBezTo>
                      <a:cubicBezTo>
                        <a:pt x="5" y="52"/>
                        <a:pt x="5" y="52"/>
                        <a:pt x="5" y="52"/>
                      </a:cubicBezTo>
                      <a:cubicBezTo>
                        <a:pt x="5" y="53"/>
                        <a:pt x="4" y="54"/>
                        <a:pt x="4" y="54"/>
                      </a:cubicBezTo>
                      <a:cubicBezTo>
                        <a:pt x="4" y="54"/>
                        <a:pt x="4" y="54"/>
                        <a:pt x="4" y="54"/>
                      </a:cubicBezTo>
                      <a:cubicBezTo>
                        <a:pt x="4" y="54"/>
                        <a:pt x="4" y="54"/>
                        <a:pt x="4" y="54"/>
                      </a:cubicBezTo>
                      <a:cubicBezTo>
                        <a:pt x="5" y="54"/>
                        <a:pt x="5" y="55"/>
                        <a:pt x="5" y="55"/>
                      </a:cubicBezTo>
                      <a:cubicBezTo>
                        <a:pt x="5" y="56"/>
                        <a:pt x="5" y="56"/>
                        <a:pt x="5" y="56"/>
                      </a:cubicBezTo>
                      <a:cubicBezTo>
                        <a:pt x="5" y="56"/>
                        <a:pt x="5" y="56"/>
                        <a:pt x="6" y="56"/>
                      </a:cubicBezTo>
                      <a:cubicBezTo>
                        <a:pt x="6" y="56"/>
                        <a:pt x="6" y="56"/>
                        <a:pt x="6" y="56"/>
                      </a:cubicBezTo>
                      <a:cubicBezTo>
                        <a:pt x="6" y="56"/>
                        <a:pt x="6" y="56"/>
                        <a:pt x="5" y="57"/>
                      </a:cubicBezTo>
                      <a:cubicBezTo>
                        <a:pt x="5" y="57"/>
                        <a:pt x="4" y="57"/>
                        <a:pt x="4" y="57"/>
                      </a:cubicBezTo>
                      <a:cubicBezTo>
                        <a:pt x="4" y="58"/>
                        <a:pt x="4" y="58"/>
                        <a:pt x="4" y="58"/>
                      </a:cubicBezTo>
                      <a:cubicBezTo>
                        <a:pt x="4" y="58"/>
                        <a:pt x="4" y="58"/>
                        <a:pt x="5" y="58"/>
                      </a:cubicBezTo>
                      <a:cubicBezTo>
                        <a:pt x="5" y="58"/>
                        <a:pt x="8" y="58"/>
                        <a:pt x="8" y="58"/>
                      </a:cubicBezTo>
                      <a:cubicBezTo>
                        <a:pt x="8" y="58"/>
                        <a:pt x="9" y="59"/>
                        <a:pt x="9" y="58"/>
                      </a:cubicBezTo>
                      <a:cubicBezTo>
                        <a:pt x="9" y="58"/>
                        <a:pt x="9" y="56"/>
                        <a:pt x="9" y="56"/>
                      </a:cubicBezTo>
                      <a:cubicBezTo>
                        <a:pt x="9" y="56"/>
                        <a:pt x="9" y="56"/>
                        <a:pt x="9" y="56"/>
                      </a:cubicBezTo>
                      <a:cubicBezTo>
                        <a:pt x="9" y="56"/>
                        <a:pt x="9" y="55"/>
                        <a:pt x="9" y="54"/>
                      </a:cubicBezTo>
                      <a:cubicBezTo>
                        <a:pt x="9" y="54"/>
                        <a:pt x="9" y="54"/>
                        <a:pt x="9" y="53"/>
                      </a:cubicBezTo>
                      <a:cubicBezTo>
                        <a:pt x="9" y="53"/>
                        <a:pt x="10" y="53"/>
                        <a:pt x="10" y="52"/>
                      </a:cubicBezTo>
                      <a:cubicBezTo>
                        <a:pt x="10" y="52"/>
                        <a:pt x="9" y="48"/>
                        <a:pt x="9" y="48"/>
                      </a:cubicBezTo>
                      <a:cubicBezTo>
                        <a:pt x="9" y="47"/>
                        <a:pt x="9" y="45"/>
                        <a:pt x="9" y="45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5"/>
                        <a:pt x="9" y="44"/>
                        <a:pt x="9" y="44"/>
                      </a:cubicBezTo>
                      <a:cubicBezTo>
                        <a:pt x="9" y="44"/>
                        <a:pt x="8" y="43"/>
                        <a:pt x="8" y="43"/>
                      </a:cubicBezTo>
                      <a:cubicBezTo>
                        <a:pt x="8" y="43"/>
                        <a:pt x="8" y="43"/>
                        <a:pt x="8" y="43"/>
                      </a:cubicBezTo>
                      <a:cubicBezTo>
                        <a:pt x="8" y="42"/>
                        <a:pt x="8" y="42"/>
                        <a:pt x="8" y="42"/>
                      </a:cubicBezTo>
                      <a:cubicBezTo>
                        <a:pt x="8" y="42"/>
                        <a:pt x="9" y="41"/>
                        <a:pt x="9" y="39"/>
                      </a:cubicBezTo>
                      <a:cubicBezTo>
                        <a:pt x="9" y="38"/>
                        <a:pt x="9" y="36"/>
                        <a:pt x="9" y="35"/>
                      </a:cubicBezTo>
                      <a:cubicBezTo>
                        <a:pt x="9" y="35"/>
                        <a:pt x="10" y="35"/>
                        <a:pt x="10" y="35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10" y="35"/>
                        <a:pt x="10" y="37"/>
                        <a:pt x="10" y="37"/>
                      </a:cubicBezTo>
                      <a:cubicBezTo>
                        <a:pt x="10" y="37"/>
                        <a:pt x="10" y="38"/>
                        <a:pt x="10" y="39"/>
                      </a:cubicBezTo>
                      <a:cubicBezTo>
                        <a:pt x="10" y="40"/>
                        <a:pt x="10" y="41"/>
                        <a:pt x="11" y="41"/>
                      </a:cubicBezTo>
                      <a:cubicBezTo>
                        <a:pt x="11" y="42"/>
                        <a:pt x="11" y="42"/>
                        <a:pt x="11" y="42"/>
                      </a:cubicBezTo>
                      <a:cubicBezTo>
                        <a:pt x="11" y="42"/>
                        <a:pt x="11" y="43"/>
                        <a:pt x="11" y="43"/>
                      </a:cubicBezTo>
                      <a:cubicBezTo>
                        <a:pt x="11" y="43"/>
                        <a:pt x="11" y="44"/>
                        <a:pt x="11" y="44"/>
                      </a:cubicBezTo>
                      <a:cubicBezTo>
                        <a:pt x="11" y="44"/>
                        <a:pt x="11" y="44"/>
                        <a:pt x="11" y="45"/>
                      </a:cubicBezTo>
                      <a:cubicBezTo>
                        <a:pt x="11" y="45"/>
                        <a:pt x="11" y="46"/>
                        <a:pt x="11" y="47"/>
                      </a:cubicBezTo>
                      <a:cubicBezTo>
                        <a:pt x="11" y="48"/>
                        <a:pt x="11" y="50"/>
                        <a:pt x="11" y="51"/>
                      </a:cubicBezTo>
                      <a:cubicBezTo>
                        <a:pt x="11" y="52"/>
                        <a:pt x="10" y="52"/>
                        <a:pt x="10" y="53"/>
                      </a:cubicBezTo>
                      <a:cubicBezTo>
                        <a:pt x="10" y="53"/>
                        <a:pt x="10" y="54"/>
                        <a:pt x="10" y="54"/>
                      </a:cubicBezTo>
                      <a:cubicBezTo>
                        <a:pt x="10" y="55"/>
                        <a:pt x="10" y="55"/>
                        <a:pt x="11" y="55"/>
                      </a:cubicBezTo>
                      <a:cubicBezTo>
                        <a:pt x="11" y="56"/>
                        <a:pt x="11" y="56"/>
                        <a:pt x="11" y="56"/>
                      </a:cubicBezTo>
                      <a:cubicBezTo>
                        <a:pt x="11" y="56"/>
                        <a:pt x="11" y="56"/>
                        <a:pt x="11" y="56"/>
                      </a:cubicBezTo>
                      <a:cubicBezTo>
                        <a:pt x="11" y="56"/>
                        <a:pt x="11" y="56"/>
                        <a:pt x="11" y="56"/>
                      </a:cubicBezTo>
                      <a:cubicBezTo>
                        <a:pt x="11" y="56"/>
                        <a:pt x="10" y="58"/>
                        <a:pt x="11" y="58"/>
                      </a:cubicBezTo>
                      <a:cubicBezTo>
                        <a:pt x="11" y="58"/>
                        <a:pt x="11" y="58"/>
                        <a:pt x="11" y="58"/>
                      </a:cubicBezTo>
                      <a:cubicBezTo>
                        <a:pt x="12" y="58"/>
                        <a:pt x="12" y="58"/>
                        <a:pt x="12" y="58"/>
                      </a:cubicBezTo>
                      <a:cubicBezTo>
                        <a:pt x="12" y="58"/>
                        <a:pt x="13" y="58"/>
                        <a:pt x="14" y="58"/>
                      </a:cubicBezTo>
                      <a:cubicBezTo>
                        <a:pt x="15" y="58"/>
                        <a:pt x="16" y="58"/>
                        <a:pt x="16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7"/>
                        <a:pt x="14" y="57"/>
                        <a:pt x="14" y="56"/>
                      </a:cubicBezTo>
                      <a:cubicBezTo>
                        <a:pt x="14" y="56"/>
                        <a:pt x="14" y="56"/>
                        <a:pt x="14" y="56"/>
                      </a:cubicBezTo>
                      <a:cubicBezTo>
                        <a:pt x="14" y="56"/>
                        <a:pt x="14" y="56"/>
                        <a:pt x="14" y="56"/>
                      </a:cubicBezTo>
                      <a:cubicBezTo>
                        <a:pt x="14" y="56"/>
                        <a:pt x="14" y="56"/>
                        <a:pt x="14" y="56"/>
                      </a:cubicBezTo>
                      <a:cubicBezTo>
                        <a:pt x="14" y="56"/>
                        <a:pt x="14" y="55"/>
                        <a:pt x="14" y="55"/>
                      </a:cubicBezTo>
                      <a:cubicBezTo>
                        <a:pt x="14" y="55"/>
                        <a:pt x="15" y="54"/>
                        <a:pt x="15" y="54"/>
                      </a:cubicBezTo>
                      <a:cubicBezTo>
                        <a:pt x="15" y="54"/>
                        <a:pt x="15" y="54"/>
                        <a:pt x="15" y="53"/>
                      </a:cubicBezTo>
                      <a:cubicBezTo>
                        <a:pt x="15" y="53"/>
                        <a:pt x="15" y="52"/>
                        <a:pt x="15" y="52"/>
                      </a:cubicBezTo>
                      <a:cubicBezTo>
                        <a:pt x="15" y="52"/>
                        <a:pt x="15" y="51"/>
                        <a:pt x="15" y="51"/>
                      </a:cubicBezTo>
                      <a:cubicBezTo>
                        <a:pt x="15" y="51"/>
                        <a:pt x="15" y="51"/>
                        <a:pt x="15" y="51"/>
                      </a:cubicBezTo>
                      <a:cubicBezTo>
                        <a:pt x="15" y="50"/>
                        <a:pt x="15" y="48"/>
                        <a:pt x="15" y="48"/>
                      </a:cubicBezTo>
                      <a:cubicBezTo>
                        <a:pt x="15" y="47"/>
                        <a:pt x="15" y="47"/>
                        <a:pt x="15" y="46"/>
                      </a:cubicBezTo>
                      <a:cubicBezTo>
                        <a:pt x="15" y="45"/>
                        <a:pt x="15" y="45"/>
                        <a:pt x="15" y="45"/>
                      </a:cubicBezTo>
                      <a:cubicBezTo>
                        <a:pt x="15" y="45"/>
                        <a:pt x="15" y="45"/>
                        <a:pt x="15" y="45"/>
                      </a:cubicBezTo>
                      <a:cubicBezTo>
                        <a:pt x="15" y="45"/>
                        <a:pt x="16" y="44"/>
                        <a:pt x="15" y="43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5" y="43"/>
                        <a:pt x="15" y="43"/>
                        <a:pt x="15" y="42"/>
                      </a:cubicBezTo>
                      <a:cubicBezTo>
                        <a:pt x="15" y="42"/>
                        <a:pt x="15" y="41"/>
                        <a:pt x="15" y="41"/>
                      </a:cubicBezTo>
                      <a:cubicBezTo>
                        <a:pt x="15" y="40"/>
                        <a:pt x="15" y="39"/>
                        <a:pt x="15" y="38"/>
                      </a:cubicBezTo>
                      <a:cubicBezTo>
                        <a:pt x="15" y="37"/>
                        <a:pt x="16" y="34"/>
                        <a:pt x="16" y="34"/>
                      </a:cubicBezTo>
                      <a:cubicBezTo>
                        <a:pt x="16" y="33"/>
                        <a:pt x="16" y="33"/>
                        <a:pt x="16" y="33"/>
                      </a:cubicBezTo>
                      <a:cubicBezTo>
                        <a:pt x="16" y="32"/>
                        <a:pt x="16" y="31"/>
                        <a:pt x="16" y="31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6" y="30"/>
                        <a:pt x="17" y="29"/>
                        <a:pt x="17" y="29"/>
                      </a:cubicBezTo>
                      <a:cubicBezTo>
                        <a:pt x="17" y="28"/>
                        <a:pt x="18" y="27"/>
                        <a:pt x="18" y="27"/>
                      </a:cubicBezTo>
                      <a:cubicBezTo>
                        <a:pt x="18" y="27"/>
                        <a:pt x="18" y="26"/>
                        <a:pt x="18" y="26"/>
                      </a:cubicBezTo>
                      <a:cubicBezTo>
                        <a:pt x="18" y="25"/>
                        <a:pt x="18" y="25"/>
                        <a:pt x="18" y="25"/>
                      </a:cubicBezTo>
                      <a:cubicBezTo>
                        <a:pt x="18" y="24"/>
                        <a:pt x="18" y="24"/>
                        <a:pt x="18" y="24"/>
                      </a:cubicBezTo>
                      <a:cubicBezTo>
                        <a:pt x="19" y="23"/>
                        <a:pt x="19" y="22"/>
                        <a:pt x="19" y="22"/>
                      </a:cubicBezTo>
                      <a:cubicBezTo>
                        <a:pt x="19" y="22"/>
                        <a:pt x="19" y="20"/>
                        <a:pt x="19" y="2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70" name="Oval 705">
                  <a:extLst>
                    <a:ext uri="{FF2B5EF4-FFF2-40B4-BE49-F238E27FC236}">
                      <a16:creationId xmlns:a16="http://schemas.microsoft.com/office/drawing/2014/main" id="{63D97B6C-9699-A8E6-3DCB-FB4DF5B805F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88175" y="3328988"/>
                  <a:ext cx="106362" cy="107950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71" name="Freeform 706">
                  <a:extLst>
                    <a:ext uri="{FF2B5EF4-FFF2-40B4-BE49-F238E27FC236}">
                      <a16:creationId xmlns:a16="http://schemas.microsoft.com/office/drawing/2014/main" id="{4D118532-3AD3-BD53-9ED7-E6FF515B3E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27863" y="3344863"/>
                  <a:ext cx="26987" cy="80963"/>
                </a:xfrm>
                <a:custGeom>
                  <a:avLst/>
                  <a:gdLst>
                    <a:gd name="T0" fmla="*/ 18 w 19"/>
                    <a:gd name="T1" fmla="*/ 17 h 59"/>
                    <a:gd name="T2" fmla="*/ 17 w 19"/>
                    <a:gd name="T3" fmla="*/ 9 h 59"/>
                    <a:gd name="T4" fmla="*/ 11 w 19"/>
                    <a:gd name="T5" fmla="*/ 7 h 59"/>
                    <a:gd name="T6" fmla="*/ 11 w 19"/>
                    <a:gd name="T7" fmla="*/ 6 h 59"/>
                    <a:gd name="T8" fmla="*/ 12 w 19"/>
                    <a:gd name="T9" fmla="*/ 4 h 59"/>
                    <a:gd name="T10" fmla="*/ 11 w 19"/>
                    <a:gd name="T11" fmla="*/ 1 h 59"/>
                    <a:gd name="T12" fmla="*/ 6 w 19"/>
                    <a:gd name="T13" fmla="*/ 2 h 59"/>
                    <a:gd name="T14" fmla="*/ 5 w 19"/>
                    <a:gd name="T15" fmla="*/ 4 h 59"/>
                    <a:gd name="T16" fmla="*/ 7 w 19"/>
                    <a:gd name="T17" fmla="*/ 7 h 59"/>
                    <a:gd name="T18" fmla="*/ 3 w 19"/>
                    <a:gd name="T19" fmla="*/ 9 h 59"/>
                    <a:gd name="T20" fmla="*/ 0 w 19"/>
                    <a:gd name="T21" fmla="*/ 16 h 59"/>
                    <a:gd name="T22" fmla="*/ 0 w 19"/>
                    <a:gd name="T23" fmla="*/ 21 h 59"/>
                    <a:gd name="T24" fmla="*/ 1 w 19"/>
                    <a:gd name="T25" fmla="*/ 25 h 59"/>
                    <a:gd name="T26" fmla="*/ 1 w 19"/>
                    <a:gd name="T27" fmla="*/ 28 h 59"/>
                    <a:gd name="T28" fmla="*/ 3 w 19"/>
                    <a:gd name="T29" fmla="*/ 30 h 59"/>
                    <a:gd name="T30" fmla="*/ 3 w 19"/>
                    <a:gd name="T31" fmla="*/ 39 h 59"/>
                    <a:gd name="T32" fmla="*/ 4 w 19"/>
                    <a:gd name="T33" fmla="*/ 44 h 59"/>
                    <a:gd name="T34" fmla="*/ 4 w 19"/>
                    <a:gd name="T35" fmla="*/ 46 h 59"/>
                    <a:gd name="T36" fmla="*/ 4 w 19"/>
                    <a:gd name="T37" fmla="*/ 51 h 59"/>
                    <a:gd name="T38" fmla="*/ 4 w 19"/>
                    <a:gd name="T39" fmla="*/ 53 h 59"/>
                    <a:gd name="T40" fmla="*/ 5 w 19"/>
                    <a:gd name="T41" fmla="*/ 55 h 59"/>
                    <a:gd name="T42" fmla="*/ 5 w 19"/>
                    <a:gd name="T43" fmla="*/ 56 h 59"/>
                    <a:gd name="T44" fmla="*/ 4 w 19"/>
                    <a:gd name="T45" fmla="*/ 58 h 59"/>
                    <a:gd name="T46" fmla="*/ 9 w 19"/>
                    <a:gd name="T47" fmla="*/ 58 h 59"/>
                    <a:gd name="T48" fmla="*/ 9 w 19"/>
                    <a:gd name="T49" fmla="*/ 54 h 59"/>
                    <a:gd name="T50" fmla="*/ 9 w 19"/>
                    <a:gd name="T51" fmla="*/ 47 h 59"/>
                    <a:gd name="T52" fmla="*/ 8 w 19"/>
                    <a:gd name="T53" fmla="*/ 44 h 59"/>
                    <a:gd name="T54" fmla="*/ 7 w 19"/>
                    <a:gd name="T55" fmla="*/ 42 h 59"/>
                    <a:gd name="T56" fmla="*/ 9 w 19"/>
                    <a:gd name="T57" fmla="*/ 35 h 59"/>
                    <a:gd name="T58" fmla="*/ 9 w 19"/>
                    <a:gd name="T59" fmla="*/ 37 h 59"/>
                    <a:gd name="T60" fmla="*/ 10 w 19"/>
                    <a:gd name="T61" fmla="*/ 42 h 59"/>
                    <a:gd name="T62" fmla="*/ 10 w 19"/>
                    <a:gd name="T63" fmla="*/ 45 h 59"/>
                    <a:gd name="T64" fmla="*/ 10 w 19"/>
                    <a:gd name="T65" fmla="*/ 53 h 59"/>
                    <a:gd name="T66" fmla="*/ 10 w 19"/>
                    <a:gd name="T67" fmla="*/ 56 h 59"/>
                    <a:gd name="T68" fmla="*/ 10 w 19"/>
                    <a:gd name="T69" fmla="*/ 58 h 59"/>
                    <a:gd name="T70" fmla="*/ 14 w 19"/>
                    <a:gd name="T71" fmla="*/ 58 h 59"/>
                    <a:gd name="T72" fmla="*/ 14 w 19"/>
                    <a:gd name="T73" fmla="*/ 56 h 59"/>
                    <a:gd name="T74" fmla="*/ 14 w 19"/>
                    <a:gd name="T75" fmla="*/ 56 h 59"/>
                    <a:gd name="T76" fmla="*/ 15 w 19"/>
                    <a:gd name="T77" fmla="*/ 53 h 59"/>
                    <a:gd name="T78" fmla="*/ 14 w 19"/>
                    <a:gd name="T79" fmla="*/ 51 h 59"/>
                    <a:gd name="T80" fmla="*/ 15 w 19"/>
                    <a:gd name="T81" fmla="*/ 45 h 59"/>
                    <a:gd name="T82" fmla="*/ 15 w 19"/>
                    <a:gd name="T83" fmla="*/ 43 h 59"/>
                    <a:gd name="T84" fmla="*/ 14 w 19"/>
                    <a:gd name="T85" fmla="*/ 42 h 59"/>
                    <a:gd name="T86" fmla="*/ 15 w 19"/>
                    <a:gd name="T87" fmla="*/ 34 h 59"/>
                    <a:gd name="T88" fmla="*/ 16 w 19"/>
                    <a:gd name="T89" fmla="*/ 30 h 59"/>
                    <a:gd name="T90" fmla="*/ 17 w 19"/>
                    <a:gd name="T91" fmla="*/ 26 h 59"/>
                    <a:gd name="T92" fmla="*/ 18 w 19"/>
                    <a:gd name="T93" fmla="*/ 22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9" h="59">
                      <a:moveTo>
                        <a:pt x="19" y="20"/>
                      </a:moveTo>
                      <a:cubicBezTo>
                        <a:pt x="18" y="19"/>
                        <a:pt x="18" y="19"/>
                        <a:pt x="18" y="19"/>
                      </a:cubicBezTo>
                      <a:cubicBezTo>
                        <a:pt x="18" y="19"/>
                        <a:pt x="18" y="17"/>
                        <a:pt x="18" y="17"/>
                      </a:cubicBezTo>
                      <a:cubicBezTo>
                        <a:pt x="18" y="16"/>
                        <a:pt x="18" y="15"/>
                        <a:pt x="18" y="14"/>
                      </a:cubicBezTo>
                      <a:cubicBezTo>
                        <a:pt x="18" y="13"/>
                        <a:pt x="18" y="12"/>
                        <a:pt x="17" y="11"/>
                      </a:cubicBezTo>
                      <a:cubicBezTo>
                        <a:pt x="17" y="10"/>
                        <a:pt x="17" y="9"/>
                        <a:pt x="17" y="9"/>
                      </a:cubicBezTo>
                      <a:cubicBezTo>
                        <a:pt x="16" y="9"/>
                        <a:pt x="15" y="8"/>
                        <a:pt x="14" y="8"/>
                      </a:cubicBezTo>
                      <a:cubicBezTo>
                        <a:pt x="14" y="8"/>
                        <a:pt x="12" y="8"/>
                        <a:pt x="12" y="8"/>
                      </a:cubicBezTo>
                      <a:cubicBezTo>
                        <a:pt x="12" y="8"/>
                        <a:pt x="12" y="8"/>
                        <a:pt x="11" y="7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11" y="7"/>
                        <a:pt x="11" y="6"/>
                        <a:pt x="11" y="6"/>
                      </a:cubicBezTo>
                      <a:cubicBezTo>
                        <a:pt x="11" y="6"/>
                        <a:pt x="11" y="5"/>
                        <a:pt x="11" y="5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1" y="5"/>
                        <a:pt x="12" y="5"/>
                        <a:pt x="12" y="4"/>
                      </a:cubicBezTo>
                      <a:cubicBezTo>
                        <a:pt x="12" y="4"/>
                        <a:pt x="12" y="3"/>
                        <a:pt x="12" y="3"/>
                      </a:cubicBezTo>
                      <a:cubicBezTo>
                        <a:pt x="12" y="2"/>
                        <a:pt x="11" y="2"/>
                        <a:pt x="11" y="2"/>
                      </a:cubicBezTo>
                      <a:cubicBezTo>
                        <a:pt x="11" y="2"/>
                        <a:pt x="11" y="2"/>
                        <a:pt x="11" y="1"/>
                      </a:cubicBezTo>
                      <a:cubicBezTo>
                        <a:pt x="11" y="1"/>
                        <a:pt x="10" y="0"/>
                        <a:pt x="8" y="0"/>
                      </a:cubicBezTo>
                      <a:cubicBezTo>
                        <a:pt x="7" y="0"/>
                        <a:pt x="6" y="1"/>
                        <a:pt x="6" y="2"/>
                      </a:cubicBezTo>
                      <a:cubicBezTo>
                        <a:pt x="6" y="3"/>
                        <a:pt x="6" y="2"/>
                        <a:pt x="6" y="2"/>
                      </a:cubicBezTo>
                      <a:cubicBezTo>
                        <a:pt x="6" y="2"/>
                        <a:pt x="5" y="2"/>
                        <a:pt x="5" y="3"/>
                      </a:cubicBezTo>
                      <a:cubicBezTo>
                        <a:pt x="5" y="3"/>
                        <a:pt x="5" y="4"/>
                        <a:pt x="5" y="4"/>
                      </a:cubicBezTo>
                      <a:cubicBezTo>
                        <a:pt x="5" y="4"/>
                        <a:pt x="5" y="4"/>
                        <a:pt x="5" y="4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6" y="5"/>
                        <a:pt x="6" y="6"/>
                        <a:pt x="7" y="6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7" y="7"/>
                        <a:pt x="7" y="7"/>
                        <a:pt x="7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5" y="8"/>
                        <a:pt x="4" y="9"/>
                        <a:pt x="3" y="9"/>
                      </a:cubicBezTo>
                      <a:cubicBezTo>
                        <a:pt x="2" y="10"/>
                        <a:pt x="1" y="10"/>
                        <a:pt x="1" y="10"/>
                      </a:cubicBezTo>
                      <a:cubicBezTo>
                        <a:pt x="1" y="11"/>
                        <a:pt x="1" y="13"/>
                        <a:pt x="0" y="14"/>
                      </a:cubicBezTo>
                      <a:cubicBezTo>
                        <a:pt x="0" y="15"/>
                        <a:pt x="0" y="15"/>
                        <a:pt x="0" y="16"/>
                      </a:cubicBezTo>
                      <a:cubicBezTo>
                        <a:pt x="0" y="17"/>
                        <a:pt x="0" y="17"/>
                        <a:pt x="0" y="18"/>
                      </a:cubicBezTo>
                      <a:cubicBezTo>
                        <a:pt x="0" y="18"/>
                        <a:pt x="0" y="19"/>
                        <a:pt x="0" y="19"/>
                      </a:cubicBezTo>
                      <a:cubicBezTo>
                        <a:pt x="0" y="20"/>
                        <a:pt x="0" y="20"/>
                        <a:pt x="0" y="21"/>
                      </a:cubicBezTo>
                      <a:cubicBezTo>
                        <a:pt x="0" y="21"/>
                        <a:pt x="0" y="22"/>
                        <a:pt x="0" y="23"/>
                      </a:cubicBezTo>
                      <a:cubicBezTo>
                        <a:pt x="0" y="23"/>
                        <a:pt x="0" y="24"/>
                        <a:pt x="0" y="24"/>
                      </a:cubicBezTo>
                      <a:cubicBezTo>
                        <a:pt x="0" y="25"/>
                        <a:pt x="0" y="25"/>
                        <a:pt x="1" y="25"/>
                      </a:cubicBezTo>
                      <a:cubicBezTo>
                        <a:pt x="1" y="25"/>
                        <a:pt x="1" y="26"/>
                        <a:pt x="1" y="26"/>
                      </a:cubicBezTo>
                      <a:cubicBezTo>
                        <a:pt x="1" y="26"/>
                        <a:pt x="1" y="27"/>
                        <a:pt x="1" y="27"/>
                      </a:cubicBezTo>
                      <a:cubicBezTo>
                        <a:pt x="1" y="27"/>
                        <a:pt x="1" y="27"/>
                        <a:pt x="1" y="28"/>
                      </a:cubicBezTo>
                      <a:cubicBezTo>
                        <a:pt x="1" y="28"/>
                        <a:pt x="1" y="28"/>
                        <a:pt x="1" y="29"/>
                      </a:cubicBezTo>
                      <a:cubicBezTo>
                        <a:pt x="2" y="29"/>
                        <a:pt x="2" y="30"/>
                        <a:pt x="2" y="30"/>
                      </a:cubicBezTo>
                      <a:cubicBezTo>
                        <a:pt x="3" y="30"/>
                        <a:pt x="3" y="30"/>
                        <a:pt x="3" y="30"/>
                      </a:cubicBezTo>
                      <a:cubicBezTo>
                        <a:pt x="3" y="30"/>
                        <a:pt x="3" y="30"/>
                        <a:pt x="3" y="30"/>
                      </a:cubicBezTo>
                      <a:cubicBezTo>
                        <a:pt x="3" y="30"/>
                        <a:pt x="3" y="31"/>
                        <a:pt x="3" y="34"/>
                      </a:cubicBezTo>
                      <a:cubicBezTo>
                        <a:pt x="3" y="36"/>
                        <a:pt x="3" y="38"/>
                        <a:pt x="3" y="39"/>
                      </a:cubicBezTo>
                      <a:cubicBezTo>
                        <a:pt x="4" y="40"/>
                        <a:pt x="4" y="40"/>
                        <a:pt x="4" y="41"/>
                      </a:cubicBezTo>
                      <a:cubicBezTo>
                        <a:pt x="4" y="41"/>
                        <a:pt x="4" y="42"/>
                        <a:pt x="4" y="43"/>
                      </a:cubicBezTo>
                      <a:cubicBezTo>
                        <a:pt x="4" y="43"/>
                        <a:pt x="4" y="43"/>
                        <a:pt x="4" y="44"/>
                      </a:cubicBezTo>
                      <a:cubicBezTo>
                        <a:pt x="3" y="44"/>
                        <a:pt x="3" y="44"/>
                        <a:pt x="3" y="44"/>
                      </a:cubicBez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3" y="46"/>
                        <a:pt x="4" y="46"/>
                      </a:cubicBezTo>
                      <a:cubicBezTo>
                        <a:pt x="4" y="47"/>
                        <a:pt x="4" y="47"/>
                        <a:pt x="4" y="47"/>
                      </a:cubicBezTo>
                      <a:cubicBezTo>
                        <a:pt x="4" y="48"/>
                        <a:pt x="4" y="49"/>
                        <a:pt x="4" y="49"/>
                      </a:cubicBezTo>
                      <a:cubicBezTo>
                        <a:pt x="4" y="50"/>
                        <a:pt x="4" y="51"/>
                        <a:pt x="4" y="51"/>
                      </a:cubicBezTo>
                      <a:cubicBezTo>
                        <a:pt x="4" y="51"/>
                        <a:pt x="4" y="51"/>
                        <a:pt x="4" y="52"/>
                      </a:cubicBezTo>
                      <a:cubicBezTo>
                        <a:pt x="4" y="52"/>
                        <a:pt x="4" y="52"/>
                        <a:pt x="4" y="52"/>
                      </a:cubicBezTo>
                      <a:cubicBezTo>
                        <a:pt x="4" y="53"/>
                        <a:pt x="4" y="54"/>
                        <a:pt x="4" y="53"/>
                      </a:cubicBezTo>
                      <a:cubicBezTo>
                        <a:pt x="4" y="53"/>
                        <a:pt x="4" y="53"/>
                        <a:pt x="4" y="53"/>
                      </a:cubicBezTo>
                      <a:cubicBezTo>
                        <a:pt x="4" y="54"/>
                        <a:pt x="4" y="54"/>
                        <a:pt x="4" y="54"/>
                      </a:cubicBezTo>
                      <a:cubicBezTo>
                        <a:pt x="4" y="54"/>
                        <a:pt x="4" y="55"/>
                        <a:pt x="5" y="55"/>
                      </a:cubicBezTo>
                      <a:cubicBezTo>
                        <a:pt x="5" y="56"/>
                        <a:pt x="5" y="56"/>
                        <a:pt x="5" y="56"/>
                      </a:cubicBezTo>
                      <a:cubicBezTo>
                        <a:pt x="5" y="56"/>
                        <a:pt x="5" y="56"/>
                        <a:pt x="5" y="56"/>
                      </a:cubicBezTo>
                      <a:cubicBezTo>
                        <a:pt x="5" y="56"/>
                        <a:pt x="5" y="56"/>
                        <a:pt x="5" y="56"/>
                      </a:cubicBezTo>
                      <a:cubicBezTo>
                        <a:pt x="5" y="56"/>
                        <a:pt x="5" y="56"/>
                        <a:pt x="5" y="57"/>
                      </a:cubicBezTo>
                      <a:cubicBezTo>
                        <a:pt x="4" y="57"/>
                        <a:pt x="4" y="57"/>
                        <a:pt x="4" y="57"/>
                      </a:cubicBezTo>
                      <a:cubicBezTo>
                        <a:pt x="4" y="58"/>
                        <a:pt x="4" y="58"/>
                        <a:pt x="4" y="58"/>
                      </a:cubicBezTo>
                      <a:cubicBezTo>
                        <a:pt x="4" y="58"/>
                        <a:pt x="3" y="58"/>
                        <a:pt x="4" y="58"/>
                      </a:cubicBezTo>
                      <a:cubicBezTo>
                        <a:pt x="5" y="58"/>
                        <a:pt x="7" y="58"/>
                        <a:pt x="8" y="58"/>
                      </a:cubicBezTo>
                      <a:cubicBezTo>
                        <a:pt x="8" y="58"/>
                        <a:pt x="8" y="59"/>
                        <a:pt x="9" y="58"/>
                      </a:cubicBezTo>
                      <a:cubicBezTo>
                        <a:pt x="9" y="58"/>
                        <a:pt x="9" y="56"/>
                        <a:pt x="9" y="56"/>
                      </a:cubicBezTo>
                      <a:cubicBezTo>
                        <a:pt x="9" y="56"/>
                        <a:pt x="9" y="56"/>
                        <a:pt x="9" y="56"/>
                      </a:cubicBezTo>
                      <a:cubicBezTo>
                        <a:pt x="9" y="56"/>
                        <a:pt x="9" y="55"/>
                        <a:pt x="9" y="54"/>
                      </a:cubicBezTo>
                      <a:cubicBezTo>
                        <a:pt x="9" y="54"/>
                        <a:pt x="8" y="54"/>
                        <a:pt x="9" y="53"/>
                      </a:cubicBezTo>
                      <a:cubicBezTo>
                        <a:pt x="9" y="53"/>
                        <a:pt x="9" y="53"/>
                        <a:pt x="9" y="52"/>
                      </a:cubicBezTo>
                      <a:cubicBezTo>
                        <a:pt x="9" y="52"/>
                        <a:pt x="9" y="48"/>
                        <a:pt x="9" y="47"/>
                      </a:cubicBezTo>
                      <a:cubicBezTo>
                        <a:pt x="9" y="47"/>
                        <a:pt x="9" y="45"/>
                        <a:pt x="9" y="45"/>
                      </a:cubicBezTo>
                      <a:cubicBezTo>
                        <a:pt x="8" y="45"/>
                        <a:pt x="8" y="45"/>
                        <a:pt x="8" y="45"/>
                      </a:cubicBezTo>
                      <a:cubicBezTo>
                        <a:pt x="8" y="45"/>
                        <a:pt x="9" y="44"/>
                        <a:pt x="8" y="44"/>
                      </a:cubicBezTo>
                      <a:cubicBezTo>
                        <a:pt x="8" y="43"/>
                        <a:pt x="7" y="43"/>
                        <a:pt x="7" y="43"/>
                      </a:cubicBezTo>
                      <a:cubicBezTo>
                        <a:pt x="8" y="43"/>
                        <a:pt x="7" y="43"/>
                        <a:pt x="7" y="43"/>
                      </a:cubicBezTo>
                      <a:cubicBezTo>
                        <a:pt x="7" y="42"/>
                        <a:pt x="7" y="42"/>
                        <a:pt x="7" y="42"/>
                      </a:cubicBezTo>
                      <a:cubicBezTo>
                        <a:pt x="7" y="42"/>
                        <a:pt x="8" y="41"/>
                        <a:pt x="8" y="39"/>
                      </a:cubicBezTo>
                      <a:cubicBezTo>
                        <a:pt x="8" y="38"/>
                        <a:pt x="9" y="36"/>
                        <a:pt x="9" y="35"/>
                      </a:cubicBezTo>
                      <a:cubicBezTo>
                        <a:pt x="9" y="35"/>
                        <a:pt x="9" y="35"/>
                        <a:pt x="9" y="35"/>
                      </a:cubicBezTo>
                      <a:cubicBezTo>
                        <a:pt x="9" y="35"/>
                        <a:pt x="9" y="35"/>
                        <a:pt x="9" y="35"/>
                      </a:cubicBezTo>
                      <a:cubicBezTo>
                        <a:pt x="9" y="35"/>
                        <a:pt x="9" y="35"/>
                        <a:pt x="9" y="35"/>
                      </a:cubicBezTo>
                      <a:cubicBezTo>
                        <a:pt x="9" y="35"/>
                        <a:pt x="9" y="36"/>
                        <a:pt x="9" y="37"/>
                      </a:cubicBezTo>
                      <a:cubicBezTo>
                        <a:pt x="9" y="37"/>
                        <a:pt x="10" y="38"/>
                        <a:pt x="10" y="39"/>
                      </a:cubicBezTo>
                      <a:cubicBezTo>
                        <a:pt x="10" y="39"/>
                        <a:pt x="10" y="41"/>
                        <a:pt x="10" y="41"/>
                      </a:cubicBezTo>
                      <a:cubicBezTo>
                        <a:pt x="10" y="42"/>
                        <a:pt x="10" y="42"/>
                        <a:pt x="10" y="42"/>
                      </a:cubicBezTo>
                      <a:cubicBezTo>
                        <a:pt x="10" y="42"/>
                        <a:pt x="10" y="43"/>
                        <a:pt x="10" y="43"/>
                      </a:cubicBezTo>
                      <a:cubicBezTo>
                        <a:pt x="10" y="43"/>
                        <a:pt x="10" y="44"/>
                        <a:pt x="10" y="44"/>
                      </a:cubicBezTo>
                      <a:cubicBezTo>
                        <a:pt x="10" y="44"/>
                        <a:pt x="10" y="44"/>
                        <a:pt x="10" y="45"/>
                      </a:cubicBezTo>
                      <a:cubicBezTo>
                        <a:pt x="10" y="45"/>
                        <a:pt x="10" y="46"/>
                        <a:pt x="10" y="47"/>
                      </a:cubicBezTo>
                      <a:cubicBezTo>
                        <a:pt x="10" y="48"/>
                        <a:pt x="10" y="50"/>
                        <a:pt x="10" y="51"/>
                      </a:cubicBezTo>
                      <a:cubicBezTo>
                        <a:pt x="10" y="52"/>
                        <a:pt x="10" y="52"/>
                        <a:pt x="10" y="53"/>
                      </a:cubicBezTo>
                      <a:cubicBezTo>
                        <a:pt x="10" y="53"/>
                        <a:pt x="10" y="54"/>
                        <a:pt x="10" y="54"/>
                      </a:cubicBezTo>
                      <a:cubicBezTo>
                        <a:pt x="10" y="54"/>
                        <a:pt x="10" y="55"/>
                        <a:pt x="10" y="55"/>
                      </a:cubicBezTo>
                      <a:cubicBezTo>
                        <a:pt x="10" y="56"/>
                        <a:pt x="10" y="56"/>
                        <a:pt x="10" y="56"/>
                      </a:cubicBezTo>
                      <a:cubicBezTo>
                        <a:pt x="10" y="56"/>
                        <a:pt x="10" y="56"/>
                        <a:pt x="10" y="56"/>
                      </a:cubicBezTo>
                      <a:cubicBezTo>
                        <a:pt x="10" y="56"/>
                        <a:pt x="10" y="56"/>
                        <a:pt x="10" y="56"/>
                      </a:cubicBezTo>
                      <a:cubicBezTo>
                        <a:pt x="10" y="56"/>
                        <a:pt x="10" y="58"/>
                        <a:pt x="10" y="58"/>
                      </a:cubicBezTo>
                      <a:cubicBezTo>
                        <a:pt x="10" y="58"/>
                        <a:pt x="11" y="58"/>
                        <a:pt x="11" y="58"/>
                      </a:cubicBezTo>
                      <a:cubicBezTo>
                        <a:pt x="11" y="58"/>
                        <a:pt x="11" y="58"/>
                        <a:pt x="12" y="58"/>
                      </a:cubicBezTo>
                      <a:cubicBezTo>
                        <a:pt x="12" y="58"/>
                        <a:pt x="13" y="58"/>
                        <a:pt x="14" y="58"/>
                      </a:cubicBezTo>
                      <a:cubicBezTo>
                        <a:pt x="14" y="58"/>
                        <a:pt x="15" y="58"/>
                        <a:pt x="15" y="58"/>
                      </a:cubicBezTo>
                      <a:cubicBezTo>
                        <a:pt x="15" y="58"/>
                        <a:pt x="15" y="58"/>
                        <a:pt x="15" y="58"/>
                      </a:cubicBezTo>
                      <a:cubicBezTo>
                        <a:pt x="15" y="57"/>
                        <a:pt x="14" y="57"/>
                        <a:pt x="14" y="56"/>
                      </a:cubicBezTo>
                      <a:cubicBezTo>
                        <a:pt x="14" y="56"/>
                        <a:pt x="13" y="56"/>
                        <a:pt x="13" y="56"/>
                      </a:cubicBezTo>
                      <a:cubicBezTo>
                        <a:pt x="13" y="56"/>
                        <a:pt x="13" y="56"/>
                        <a:pt x="14" y="56"/>
                      </a:cubicBezTo>
                      <a:cubicBezTo>
                        <a:pt x="14" y="56"/>
                        <a:pt x="14" y="56"/>
                        <a:pt x="14" y="56"/>
                      </a:cubicBezTo>
                      <a:cubicBezTo>
                        <a:pt x="14" y="56"/>
                        <a:pt x="14" y="55"/>
                        <a:pt x="14" y="55"/>
                      </a:cubicBezTo>
                      <a:cubicBezTo>
                        <a:pt x="14" y="55"/>
                        <a:pt x="14" y="54"/>
                        <a:pt x="14" y="54"/>
                      </a:cubicBezTo>
                      <a:cubicBezTo>
                        <a:pt x="14" y="54"/>
                        <a:pt x="15" y="54"/>
                        <a:pt x="15" y="53"/>
                      </a:cubicBezTo>
                      <a:cubicBezTo>
                        <a:pt x="15" y="53"/>
                        <a:pt x="14" y="52"/>
                        <a:pt x="14" y="52"/>
                      </a:cubicBezTo>
                      <a:cubicBezTo>
                        <a:pt x="14" y="52"/>
                        <a:pt x="14" y="51"/>
                        <a:pt x="14" y="51"/>
                      </a:cubicBezTo>
                      <a:cubicBezTo>
                        <a:pt x="14" y="51"/>
                        <a:pt x="14" y="51"/>
                        <a:pt x="14" y="51"/>
                      </a:cubicBezTo>
                      <a:cubicBezTo>
                        <a:pt x="14" y="50"/>
                        <a:pt x="15" y="48"/>
                        <a:pt x="15" y="48"/>
                      </a:cubicBezTo>
                      <a:cubicBezTo>
                        <a:pt x="15" y="47"/>
                        <a:pt x="15" y="46"/>
                        <a:pt x="15" y="46"/>
                      </a:cubicBezTo>
                      <a:cubicBezTo>
                        <a:pt x="15" y="45"/>
                        <a:pt x="15" y="45"/>
                        <a:pt x="15" y="45"/>
                      </a:cubicBezTo>
                      <a:cubicBezTo>
                        <a:pt x="15" y="45"/>
                        <a:pt x="15" y="45"/>
                        <a:pt x="15" y="45"/>
                      </a:cubicBezTo>
                      <a:cubicBezTo>
                        <a:pt x="15" y="45"/>
                        <a:pt x="15" y="44"/>
                        <a:pt x="15" y="43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4" y="43"/>
                        <a:pt x="14" y="43"/>
                        <a:pt x="14" y="42"/>
                      </a:cubicBezTo>
                      <a:cubicBezTo>
                        <a:pt x="15" y="42"/>
                        <a:pt x="14" y="41"/>
                        <a:pt x="15" y="40"/>
                      </a:cubicBezTo>
                      <a:cubicBezTo>
                        <a:pt x="15" y="40"/>
                        <a:pt x="15" y="39"/>
                        <a:pt x="15" y="38"/>
                      </a:cubicBezTo>
                      <a:cubicBezTo>
                        <a:pt x="15" y="37"/>
                        <a:pt x="15" y="34"/>
                        <a:pt x="15" y="34"/>
                      </a:cubicBezTo>
                      <a:cubicBezTo>
                        <a:pt x="15" y="33"/>
                        <a:pt x="15" y="33"/>
                        <a:pt x="15" y="32"/>
                      </a:cubicBezTo>
                      <a:cubicBezTo>
                        <a:pt x="16" y="32"/>
                        <a:pt x="15" y="31"/>
                        <a:pt x="15" y="31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6" y="30"/>
                        <a:pt x="16" y="29"/>
                        <a:pt x="16" y="29"/>
                      </a:cubicBezTo>
                      <a:cubicBezTo>
                        <a:pt x="17" y="28"/>
                        <a:pt x="17" y="27"/>
                        <a:pt x="17" y="27"/>
                      </a:cubicBezTo>
                      <a:cubicBezTo>
                        <a:pt x="17" y="27"/>
                        <a:pt x="17" y="26"/>
                        <a:pt x="17" y="26"/>
                      </a:cubicBezTo>
                      <a:cubicBezTo>
                        <a:pt x="17" y="25"/>
                        <a:pt x="17" y="25"/>
                        <a:pt x="17" y="25"/>
                      </a:cubicBezTo>
                      <a:cubicBezTo>
                        <a:pt x="18" y="24"/>
                        <a:pt x="18" y="24"/>
                        <a:pt x="18" y="24"/>
                      </a:cubicBezTo>
                      <a:cubicBezTo>
                        <a:pt x="18" y="23"/>
                        <a:pt x="18" y="22"/>
                        <a:pt x="18" y="22"/>
                      </a:cubicBezTo>
                      <a:cubicBezTo>
                        <a:pt x="18" y="21"/>
                        <a:pt x="19" y="20"/>
                        <a:pt x="19" y="2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72" name="Oval 707">
                  <a:extLst>
                    <a:ext uri="{FF2B5EF4-FFF2-40B4-BE49-F238E27FC236}">
                      <a16:creationId xmlns:a16="http://schemas.microsoft.com/office/drawing/2014/main" id="{3BC6F2E4-1965-AB33-28CE-CDB28429E1A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15138" y="3984625"/>
                  <a:ext cx="107950" cy="107950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73" name="Freeform 708">
                  <a:extLst>
                    <a:ext uri="{FF2B5EF4-FFF2-40B4-BE49-F238E27FC236}">
                      <a16:creationId xmlns:a16="http://schemas.microsoft.com/office/drawing/2014/main" id="{24C67DD3-B667-BB38-B8B9-91282A7D2E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56413" y="4000500"/>
                  <a:ext cx="25400" cy="80963"/>
                </a:xfrm>
                <a:custGeom>
                  <a:avLst/>
                  <a:gdLst>
                    <a:gd name="T0" fmla="*/ 18 w 19"/>
                    <a:gd name="T1" fmla="*/ 18 h 59"/>
                    <a:gd name="T2" fmla="*/ 17 w 19"/>
                    <a:gd name="T3" fmla="*/ 10 h 59"/>
                    <a:gd name="T4" fmla="*/ 11 w 19"/>
                    <a:gd name="T5" fmla="*/ 8 h 59"/>
                    <a:gd name="T6" fmla="*/ 11 w 19"/>
                    <a:gd name="T7" fmla="*/ 7 h 59"/>
                    <a:gd name="T8" fmla="*/ 12 w 19"/>
                    <a:gd name="T9" fmla="*/ 5 h 59"/>
                    <a:gd name="T10" fmla="*/ 11 w 19"/>
                    <a:gd name="T11" fmla="*/ 2 h 59"/>
                    <a:gd name="T12" fmla="*/ 6 w 19"/>
                    <a:gd name="T13" fmla="*/ 3 h 59"/>
                    <a:gd name="T14" fmla="*/ 6 w 19"/>
                    <a:gd name="T15" fmla="*/ 5 h 59"/>
                    <a:gd name="T16" fmla="*/ 7 w 19"/>
                    <a:gd name="T17" fmla="*/ 8 h 59"/>
                    <a:gd name="T18" fmla="*/ 3 w 19"/>
                    <a:gd name="T19" fmla="*/ 10 h 59"/>
                    <a:gd name="T20" fmla="*/ 0 w 19"/>
                    <a:gd name="T21" fmla="*/ 17 h 59"/>
                    <a:gd name="T22" fmla="*/ 0 w 19"/>
                    <a:gd name="T23" fmla="*/ 22 h 59"/>
                    <a:gd name="T24" fmla="*/ 1 w 19"/>
                    <a:gd name="T25" fmla="*/ 26 h 59"/>
                    <a:gd name="T26" fmla="*/ 1 w 19"/>
                    <a:gd name="T27" fmla="*/ 29 h 59"/>
                    <a:gd name="T28" fmla="*/ 3 w 19"/>
                    <a:gd name="T29" fmla="*/ 31 h 59"/>
                    <a:gd name="T30" fmla="*/ 4 w 19"/>
                    <a:gd name="T31" fmla="*/ 40 h 59"/>
                    <a:gd name="T32" fmla="*/ 4 w 19"/>
                    <a:gd name="T33" fmla="*/ 44 h 59"/>
                    <a:gd name="T34" fmla="*/ 4 w 19"/>
                    <a:gd name="T35" fmla="*/ 47 h 59"/>
                    <a:gd name="T36" fmla="*/ 4 w 19"/>
                    <a:gd name="T37" fmla="*/ 52 h 59"/>
                    <a:gd name="T38" fmla="*/ 4 w 19"/>
                    <a:gd name="T39" fmla="*/ 54 h 59"/>
                    <a:gd name="T40" fmla="*/ 5 w 19"/>
                    <a:gd name="T41" fmla="*/ 56 h 59"/>
                    <a:gd name="T42" fmla="*/ 5 w 19"/>
                    <a:gd name="T43" fmla="*/ 57 h 59"/>
                    <a:gd name="T44" fmla="*/ 4 w 19"/>
                    <a:gd name="T45" fmla="*/ 59 h 59"/>
                    <a:gd name="T46" fmla="*/ 9 w 19"/>
                    <a:gd name="T47" fmla="*/ 59 h 59"/>
                    <a:gd name="T48" fmla="*/ 9 w 19"/>
                    <a:gd name="T49" fmla="*/ 55 h 59"/>
                    <a:gd name="T50" fmla="*/ 9 w 19"/>
                    <a:gd name="T51" fmla="*/ 48 h 59"/>
                    <a:gd name="T52" fmla="*/ 9 w 19"/>
                    <a:gd name="T53" fmla="*/ 45 h 59"/>
                    <a:gd name="T54" fmla="*/ 9 w 19"/>
                    <a:gd name="T55" fmla="*/ 43 h 59"/>
                    <a:gd name="T56" fmla="*/ 9 w 19"/>
                    <a:gd name="T57" fmla="*/ 36 h 59"/>
                    <a:gd name="T58" fmla="*/ 10 w 19"/>
                    <a:gd name="T59" fmla="*/ 38 h 59"/>
                    <a:gd name="T60" fmla="*/ 11 w 19"/>
                    <a:gd name="T61" fmla="*/ 43 h 59"/>
                    <a:gd name="T62" fmla="*/ 10 w 19"/>
                    <a:gd name="T63" fmla="*/ 45 h 59"/>
                    <a:gd name="T64" fmla="*/ 10 w 19"/>
                    <a:gd name="T65" fmla="*/ 54 h 59"/>
                    <a:gd name="T66" fmla="*/ 10 w 19"/>
                    <a:gd name="T67" fmla="*/ 57 h 59"/>
                    <a:gd name="T68" fmla="*/ 10 w 19"/>
                    <a:gd name="T69" fmla="*/ 59 h 59"/>
                    <a:gd name="T70" fmla="*/ 14 w 19"/>
                    <a:gd name="T71" fmla="*/ 58 h 59"/>
                    <a:gd name="T72" fmla="*/ 14 w 19"/>
                    <a:gd name="T73" fmla="*/ 57 h 59"/>
                    <a:gd name="T74" fmla="*/ 14 w 19"/>
                    <a:gd name="T75" fmla="*/ 57 h 59"/>
                    <a:gd name="T76" fmla="*/ 15 w 19"/>
                    <a:gd name="T77" fmla="*/ 54 h 59"/>
                    <a:gd name="T78" fmla="*/ 15 w 19"/>
                    <a:gd name="T79" fmla="*/ 51 h 59"/>
                    <a:gd name="T80" fmla="*/ 15 w 19"/>
                    <a:gd name="T81" fmla="*/ 46 h 59"/>
                    <a:gd name="T82" fmla="*/ 15 w 19"/>
                    <a:gd name="T83" fmla="*/ 44 h 59"/>
                    <a:gd name="T84" fmla="*/ 15 w 19"/>
                    <a:gd name="T85" fmla="*/ 43 h 59"/>
                    <a:gd name="T86" fmla="*/ 15 w 19"/>
                    <a:gd name="T87" fmla="*/ 34 h 59"/>
                    <a:gd name="T88" fmla="*/ 16 w 19"/>
                    <a:gd name="T89" fmla="*/ 31 h 59"/>
                    <a:gd name="T90" fmla="*/ 18 w 19"/>
                    <a:gd name="T91" fmla="*/ 27 h 59"/>
                    <a:gd name="T92" fmla="*/ 19 w 19"/>
                    <a:gd name="T93" fmla="*/ 23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9" h="59">
                      <a:moveTo>
                        <a:pt x="19" y="21"/>
                      </a:moveTo>
                      <a:cubicBezTo>
                        <a:pt x="19" y="20"/>
                        <a:pt x="19" y="20"/>
                        <a:pt x="19" y="20"/>
                      </a:cubicBezTo>
                      <a:cubicBezTo>
                        <a:pt x="19" y="20"/>
                        <a:pt x="18" y="18"/>
                        <a:pt x="18" y="18"/>
                      </a:cubicBezTo>
                      <a:cubicBezTo>
                        <a:pt x="18" y="17"/>
                        <a:pt x="18" y="16"/>
                        <a:pt x="18" y="15"/>
                      </a:cubicBezTo>
                      <a:cubicBezTo>
                        <a:pt x="18" y="14"/>
                        <a:pt x="18" y="13"/>
                        <a:pt x="18" y="12"/>
                      </a:cubicBezTo>
                      <a:cubicBezTo>
                        <a:pt x="17" y="11"/>
                        <a:pt x="17" y="10"/>
                        <a:pt x="17" y="10"/>
                      </a:cubicBezTo>
                      <a:cubicBezTo>
                        <a:pt x="16" y="10"/>
                        <a:pt x="15" y="9"/>
                        <a:pt x="15" y="9"/>
                      </a:cubicBezTo>
                      <a:cubicBezTo>
                        <a:pt x="14" y="9"/>
                        <a:pt x="13" y="9"/>
                        <a:pt x="12" y="9"/>
                      </a:cubicBezTo>
                      <a:cubicBezTo>
                        <a:pt x="12" y="9"/>
                        <a:pt x="12" y="9"/>
                        <a:pt x="11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1" y="8"/>
                        <a:pt x="11" y="7"/>
                        <a:pt x="11" y="7"/>
                      </a:cubicBezTo>
                      <a:cubicBezTo>
                        <a:pt x="11" y="7"/>
                        <a:pt x="12" y="6"/>
                        <a:pt x="12" y="6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2" y="5"/>
                        <a:pt x="12" y="6"/>
                        <a:pt x="12" y="5"/>
                      </a:cubicBezTo>
                      <a:cubicBezTo>
                        <a:pt x="12" y="5"/>
                        <a:pt x="12" y="4"/>
                        <a:pt x="12" y="4"/>
                      </a:cubicBezTo>
                      <a:cubicBezTo>
                        <a:pt x="12" y="3"/>
                        <a:pt x="12" y="3"/>
                        <a:pt x="12" y="3"/>
                      </a:cubicBezTo>
                      <a:cubicBezTo>
                        <a:pt x="12" y="3"/>
                        <a:pt x="12" y="3"/>
                        <a:pt x="11" y="2"/>
                      </a:cubicBezTo>
                      <a:cubicBezTo>
                        <a:pt x="11" y="1"/>
                        <a:pt x="10" y="0"/>
                        <a:pt x="9" y="0"/>
                      </a:cubicBezTo>
                      <a:cubicBezTo>
                        <a:pt x="7" y="0"/>
                        <a:pt x="6" y="2"/>
                        <a:pt x="6" y="3"/>
                      </a:cubicBezTo>
                      <a:cubicBezTo>
                        <a:pt x="6" y="4"/>
                        <a:pt x="6" y="3"/>
                        <a:pt x="6" y="3"/>
                      </a:cubicBezTo>
                      <a:cubicBezTo>
                        <a:pt x="6" y="3"/>
                        <a:pt x="5" y="3"/>
                        <a:pt x="5" y="4"/>
                      </a:cubicBezTo>
                      <a:cubicBezTo>
                        <a:pt x="5" y="4"/>
                        <a:pt x="5" y="4"/>
                        <a:pt x="5" y="5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6" y="5"/>
                        <a:pt x="6" y="6"/>
                        <a:pt x="6" y="6"/>
                      </a:cubicBezTo>
                      <a:cubicBezTo>
                        <a:pt x="6" y="6"/>
                        <a:pt x="7" y="7"/>
                        <a:pt x="7" y="7"/>
                      </a:cubicBezTo>
                      <a:cubicBezTo>
                        <a:pt x="7" y="8"/>
                        <a:pt x="7" y="8"/>
                        <a:pt x="7" y="8"/>
                      </a:cubicBezTo>
                      <a:cubicBezTo>
                        <a:pt x="7" y="8"/>
                        <a:pt x="7" y="8"/>
                        <a:pt x="7" y="8"/>
                      </a:cubicBezTo>
                      <a:cubicBezTo>
                        <a:pt x="7" y="9"/>
                        <a:pt x="6" y="9"/>
                        <a:pt x="6" y="9"/>
                      </a:cubicBezTo>
                      <a:cubicBezTo>
                        <a:pt x="6" y="9"/>
                        <a:pt x="4" y="10"/>
                        <a:pt x="3" y="10"/>
                      </a:cubicBezTo>
                      <a:cubicBezTo>
                        <a:pt x="2" y="11"/>
                        <a:pt x="1" y="11"/>
                        <a:pt x="1" y="11"/>
                      </a:cubicBezTo>
                      <a:cubicBezTo>
                        <a:pt x="1" y="11"/>
                        <a:pt x="1" y="14"/>
                        <a:pt x="1" y="15"/>
                      </a:cubicBezTo>
                      <a:cubicBezTo>
                        <a:pt x="1" y="16"/>
                        <a:pt x="0" y="16"/>
                        <a:pt x="0" y="17"/>
                      </a:cubicBezTo>
                      <a:cubicBezTo>
                        <a:pt x="0" y="18"/>
                        <a:pt x="0" y="18"/>
                        <a:pt x="0" y="19"/>
                      </a:cubicBezTo>
                      <a:cubicBezTo>
                        <a:pt x="0" y="19"/>
                        <a:pt x="0" y="20"/>
                        <a:pt x="0" y="20"/>
                      </a:cubicBezTo>
                      <a:cubicBezTo>
                        <a:pt x="0" y="21"/>
                        <a:pt x="0" y="21"/>
                        <a:pt x="0" y="22"/>
                      </a:cubicBezTo>
                      <a:cubicBezTo>
                        <a:pt x="0" y="22"/>
                        <a:pt x="0" y="23"/>
                        <a:pt x="0" y="24"/>
                      </a:cubicBezTo>
                      <a:cubicBezTo>
                        <a:pt x="0" y="24"/>
                        <a:pt x="0" y="25"/>
                        <a:pt x="0" y="25"/>
                      </a:cubicBezTo>
                      <a:cubicBezTo>
                        <a:pt x="0" y="26"/>
                        <a:pt x="1" y="26"/>
                        <a:pt x="1" y="26"/>
                      </a:cubicBezTo>
                      <a:cubicBezTo>
                        <a:pt x="1" y="26"/>
                        <a:pt x="1" y="27"/>
                        <a:pt x="1" y="27"/>
                      </a:cubicBezTo>
                      <a:cubicBezTo>
                        <a:pt x="1" y="27"/>
                        <a:pt x="1" y="28"/>
                        <a:pt x="1" y="28"/>
                      </a:cubicBezTo>
                      <a:cubicBezTo>
                        <a:pt x="1" y="28"/>
                        <a:pt x="1" y="28"/>
                        <a:pt x="1" y="29"/>
                      </a:cubicBezTo>
                      <a:cubicBezTo>
                        <a:pt x="1" y="29"/>
                        <a:pt x="1" y="29"/>
                        <a:pt x="2" y="30"/>
                      </a:cubicBezTo>
                      <a:cubicBezTo>
                        <a:pt x="2" y="30"/>
                        <a:pt x="2" y="31"/>
                        <a:pt x="2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3" y="31"/>
                        <a:pt x="3" y="32"/>
                        <a:pt x="3" y="35"/>
                      </a:cubicBezTo>
                      <a:cubicBezTo>
                        <a:pt x="3" y="37"/>
                        <a:pt x="3" y="39"/>
                        <a:pt x="4" y="40"/>
                      </a:cubicBezTo>
                      <a:cubicBezTo>
                        <a:pt x="4" y="41"/>
                        <a:pt x="4" y="41"/>
                        <a:pt x="4" y="42"/>
                      </a:cubicBezTo>
                      <a:cubicBezTo>
                        <a:pt x="4" y="42"/>
                        <a:pt x="4" y="43"/>
                        <a:pt x="4" y="44"/>
                      </a:cubicBezTo>
                      <a:cubicBezTo>
                        <a:pt x="4" y="44"/>
                        <a:pt x="4" y="44"/>
                        <a:pt x="4" y="44"/>
                      </a:cubicBezTo>
                      <a:cubicBezTo>
                        <a:pt x="4" y="45"/>
                        <a:pt x="3" y="45"/>
                        <a:pt x="4" y="45"/>
                      </a:cubicBezTo>
                      <a:cubicBezTo>
                        <a:pt x="4" y="46"/>
                        <a:pt x="4" y="46"/>
                        <a:pt x="4" y="46"/>
                      </a:cubicBezTo>
                      <a:cubicBezTo>
                        <a:pt x="4" y="46"/>
                        <a:pt x="4" y="47"/>
                        <a:pt x="4" y="47"/>
                      </a:cubicBezTo>
                      <a:cubicBezTo>
                        <a:pt x="4" y="47"/>
                        <a:pt x="4" y="48"/>
                        <a:pt x="4" y="48"/>
                      </a:cubicBezTo>
                      <a:cubicBezTo>
                        <a:pt x="4" y="49"/>
                        <a:pt x="4" y="50"/>
                        <a:pt x="4" y="50"/>
                      </a:cubicBezTo>
                      <a:cubicBezTo>
                        <a:pt x="4" y="51"/>
                        <a:pt x="4" y="52"/>
                        <a:pt x="4" y="52"/>
                      </a:cubicBezTo>
                      <a:cubicBezTo>
                        <a:pt x="5" y="52"/>
                        <a:pt x="5" y="52"/>
                        <a:pt x="5" y="52"/>
                      </a:cubicBezTo>
                      <a:cubicBezTo>
                        <a:pt x="4" y="53"/>
                        <a:pt x="5" y="53"/>
                        <a:pt x="4" y="53"/>
                      </a:cubicBezTo>
                      <a:cubicBezTo>
                        <a:pt x="4" y="54"/>
                        <a:pt x="4" y="54"/>
                        <a:pt x="4" y="54"/>
                      </a:cubicBezTo>
                      <a:cubicBezTo>
                        <a:pt x="4" y="54"/>
                        <a:pt x="4" y="54"/>
                        <a:pt x="4" y="54"/>
                      </a:cubicBezTo>
                      <a:cubicBezTo>
                        <a:pt x="4" y="55"/>
                        <a:pt x="4" y="55"/>
                        <a:pt x="4" y="55"/>
                      </a:cubicBezTo>
                      <a:cubicBezTo>
                        <a:pt x="4" y="55"/>
                        <a:pt x="5" y="56"/>
                        <a:pt x="5" y="56"/>
                      </a:cubicBezTo>
                      <a:cubicBezTo>
                        <a:pt x="5" y="56"/>
                        <a:pt x="5" y="57"/>
                        <a:pt x="5" y="57"/>
                      </a:cubicBezTo>
                      <a:cubicBezTo>
                        <a:pt x="5" y="57"/>
                        <a:pt x="5" y="57"/>
                        <a:pt x="5" y="57"/>
                      </a:cubicBezTo>
                      <a:cubicBezTo>
                        <a:pt x="5" y="57"/>
                        <a:pt x="5" y="57"/>
                        <a:pt x="5" y="57"/>
                      </a:cubicBezTo>
                      <a:cubicBezTo>
                        <a:pt x="5" y="57"/>
                        <a:pt x="5" y="57"/>
                        <a:pt x="5" y="58"/>
                      </a:cubicBezTo>
                      <a:cubicBezTo>
                        <a:pt x="5" y="58"/>
                        <a:pt x="4" y="58"/>
                        <a:pt x="4" y="58"/>
                      </a:cubicBezTo>
                      <a:cubicBezTo>
                        <a:pt x="4" y="59"/>
                        <a:pt x="4" y="59"/>
                        <a:pt x="4" y="59"/>
                      </a:cubicBezTo>
                      <a:cubicBezTo>
                        <a:pt x="4" y="59"/>
                        <a:pt x="4" y="59"/>
                        <a:pt x="4" y="59"/>
                      </a:cubicBezTo>
                      <a:cubicBezTo>
                        <a:pt x="5" y="59"/>
                        <a:pt x="8" y="59"/>
                        <a:pt x="8" y="59"/>
                      </a:cubicBezTo>
                      <a:cubicBezTo>
                        <a:pt x="8" y="59"/>
                        <a:pt x="9" y="59"/>
                        <a:pt x="9" y="59"/>
                      </a:cubicBezTo>
                      <a:cubicBezTo>
                        <a:pt x="9" y="59"/>
                        <a:pt x="9" y="57"/>
                        <a:pt x="9" y="57"/>
                      </a:cubicBezTo>
                      <a:cubicBezTo>
                        <a:pt x="9" y="57"/>
                        <a:pt x="9" y="57"/>
                        <a:pt x="9" y="57"/>
                      </a:cubicBezTo>
                      <a:cubicBezTo>
                        <a:pt x="9" y="57"/>
                        <a:pt x="9" y="56"/>
                        <a:pt x="9" y="55"/>
                      </a:cubicBezTo>
                      <a:cubicBezTo>
                        <a:pt x="9" y="55"/>
                        <a:pt x="9" y="54"/>
                        <a:pt x="9" y="54"/>
                      </a:cubicBezTo>
                      <a:cubicBezTo>
                        <a:pt x="9" y="54"/>
                        <a:pt x="9" y="54"/>
                        <a:pt x="9" y="53"/>
                      </a:cubicBezTo>
                      <a:cubicBezTo>
                        <a:pt x="9" y="53"/>
                        <a:pt x="9" y="49"/>
                        <a:pt x="9" y="48"/>
                      </a:cubicBezTo>
                      <a:cubicBezTo>
                        <a:pt x="9" y="48"/>
                        <a:pt x="9" y="46"/>
                        <a:pt x="9" y="46"/>
                      </a:cubicBezTo>
                      <a:cubicBezTo>
                        <a:pt x="9" y="46"/>
                        <a:pt x="9" y="45"/>
                        <a:pt x="9" y="45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3"/>
                        <a:pt x="9" y="41"/>
                        <a:pt x="9" y="40"/>
                      </a:cubicBezTo>
                      <a:cubicBezTo>
                        <a:pt x="9" y="39"/>
                        <a:pt x="9" y="37"/>
                        <a:pt x="9" y="36"/>
                      </a:cubicBezTo>
                      <a:cubicBezTo>
                        <a:pt x="9" y="36"/>
                        <a:pt x="9" y="36"/>
                        <a:pt x="9" y="36"/>
                      </a:cubicBezTo>
                      <a:cubicBezTo>
                        <a:pt x="9" y="36"/>
                        <a:pt x="9" y="36"/>
                        <a:pt x="10" y="36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0" y="36"/>
                        <a:pt x="10" y="37"/>
                        <a:pt x="10" y="38"/>
                      </a:cubicBezTo>
                      <a:cubicBezTo>
                        <a:pt x="10" y="38"/>
                        <a:pt x="10" y="39"/>
                        <a:pt x="10" y="40"/>
                      </a:cubicBezTo>
                      <a:cubicBezTo>
                        <a:pt x="10" y="40"/>
                        <a:pt x="10" y="42"/>
                        <a:pt x="10" y="42"/>
                      </a:cubicBezTo>
                      <a:cubicBezTo>
                        <a:pt x="10" y="43"/>
                        <a:pt x="10" y="43"/>
                        <a:pt x="11" y="43"/>
                      </a:cubicBezTo>
                      <a:cubicBezTo>
                        <a:pt x="11" y="43"/>
                        <a:pt x="11" y="44"/>
                        <a:pt x="11" y="44"/>
                      </a:cubicBezTo>
                      <a:cubicBezTo>
                        <a:pt x="11" y="44"/>
                        <a:pt x="10" y="44"/>
                        <a:pt x="10" y="44"/>
                      </a:cubicBezTo>
                      <a:cubicBezTo>
                        <a:pt x="10" y="44"/>
                        <a:pt x="10" y="45"/>
                        <a:pt x="10" y="45"/>
                      </a:cubicBezTo>
                      <a:cubicBezTo>
                        <a:pt x="10" y="46"/>
                        <a:pt x="10" y="47"/>
                        <a:pt x="10" y="48"/>
                      </a:cubicBezTo>
                      <a:cubicBezTo>
                        <a:pt x="10" y="48"/>
                        <a:pt x="10" y="51"/>
                        <a:pt x="10" y="52"/>
                      </a:cubicBezTo>
                      <a:cubicBezTo>
                        <a:pt x="10" y="53"/>
                        <a:pt x="10" y="53"/>
                        <a:pt x="10" y="54"/>
                      </a:cubicBezTo>
                      <a:cubicBezTo>
                        <a:pt x="10" y="54"/>
                        <a:pt x="10" y="55"/>
                        <a:pt x="10" y="55"/>
                      </a:cubicBezTo>
                      <a:cubicBezTo>
                        <a:pt x="10" y="55"/>
                        <a:pt x="10" y="56"/>
                        <a:pt x="10" y="56"/>
                      </a:cubicBezTo>
                      <a:cubicBezTo>
                        <a:pt x="10" y="56"/>
                        <a:pt x="10" y="57"/>
                        <a:pt x="10" y="57"/>
                      </a:cubicBezTo>
                      <a:cubicBezTo>
                        <a:pt x="10" y="57"/>
                        <a:pt x="10" y="57"/>
                        <a:pt x="10" y="57"/>
                      </a:cubicBezTo>
                      <a:cubicBezTo>
                        <a:pt x="10" y="57"/>
                        <a:pt x="10" y="57"/>
                        <a:pt x="10" y="57"/>
                      </a:cubicBezTo>
                      <a:cubicBezTo>
                        <a:pt x="10" y="57"/>
                        <a:pt x="10" y="59"/>
                        <a:pt x="10" y="59"/>
                      </a:cubicBezTo>
                      <a:cubicBezTo>
                        <a:pt x="10" y="59"/>
                        <a:pt x="11" y="59"/>
                        <a:pt x="11" y="59"/>
                      </a:cubicBezTo>
                      <a:cubicBezTo>
                        <a:pt x="11" y="59"/>
                        <a:pt x="11" y="58"/>
                        <a:pt x="12" y="58"/>
                      </a:cubicBezTo>
                      <a:cubicBezTo>
                        <a:pt x="12" y="58"/>
                        <a:pt x="13" y="58"/>
                        <a:pt x="14" y="58"/>
                      </a:cubicBezTo>
                      <a:cubicBezTo>
                        <a:pt x="14" y="58"/>
                        <a:pt x="15" y="59"/>
                        <a:pt x="15" y="58"/>
                      </a:cubicBezTo>
                      <a:cubicBezTo>
                        <a:pt x="15" y="58"/>
                        <a:pt x="15" y="59"/>
                        <a:pt x="15" y="58"/>
                      </a:cubicBezTo>
                      <a:cubicBezTo>
                        <a:pt x="16" y="58"/>
                        <a:pt x="14" y="58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4" y="57"/>
                        <a:pt x="14" y="56"/>
                        <a:pt x="14" y="56"/>
                      </a:cubicBezTo>
                      <a:cubicBezTo>
                        <a:pt x="14" y="56"/>
                        <a:pt x="15" y="55"/>
                        <a:pt x="15" y="55"/>
                      </a:cubicBezTo>
                      <a:cubicBezTo>
                        <a:pt x="15" y="55"/>
                        <a:pt x="15" y="54"/>
                        <a:pt x="15" y="54"/>
                      </a:cubicBezTo>
                      <a:cubicBezTo>
                        <a:pt x="15" y="54"/>
                        <a:pt x="15" y="53"/>
                        <a:pt x="14" y="53"/>
                      </a:cubicBezTo>
                      <a:cubicBezTo>
                        <a:pt x="14" y="52"/>
                        <a:pt x="14" y="52"/>
                        <a:pt x="14" y="52"/>
                      </a:cubicBezTo>
                      <a:cubicBezTo>
                        <a:pt x="14" y="52"/>
                        <a:pt x="14" y="52"/>
                        <a:pt x="15" y="51"/>
                      </a:cubicBezTo>
                      <a:cubicBezTo>
                        <a:pt x="15" y="51"/>
                        <a:pt x="15" y="49"/>
                        <a:pt x="15" y="48"/>
                      </a:cubicBezTo>
                      <a:cubicBezTo>
                        <a:pt x="15" y="48"/>
                        <a:pt x="15" y="47"/>
                        <a:pt x="15" y="47"/>
                      </a:cubicBezTo>
                      <a:cubicBezTo>
                        <a:pt x="15" y="46"/>
                        <a:pt x="15" y="46"/>
                        <a:pt x="15" y="46"/>
                      </a:cubicBezTo>
                      <a:cubicBezTo>
                        <a:pt x="15" y="46"/>
                        <a:pt x="15" y="45"/>
                        <a:pt x="15" y="45"/>
                      </a:cubicBezTo>
                      <a:cubicBezTo>
                        <a:pt x="15" y="45"/>
                        <a:pt x="15" y="45"/>
                        <a:pt x="15" y="44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5" y="44"/>
                        <a:pt x="15" y="44"/>
                        <a:pt x="15" y="43"/>
                      </a:cubicBezTo>
                      <a:cubicBezTo>
                        <a:pt x="15" y="43"/>
                        <a:pt x="15" y="42"/>
                        <a:pt x="15" y="41"/>
                      </a:cubicBezTo>
                      <a:cubicBezTo>
                        <a:pt x="15" y="41"/>
                        <a:pt x="15" y="40"/>
                        <a:pt x="15" y="39"/>
                      </a:cubicBezTo>
                      <a:cubicBezTo>
                        <a:pt x="15" y="38"/>
                        <a:pt x="15" y="35"/>
                        <a:pt x="15" y="34"/>
                      </a:cubicBezTo>
                      <a:cubicBezTo>
                        <a:pt x="15" y="34"/>
                        <a:pt x="16" y="34"/>
                        <a:pt x="16" y="33"/>
                      </a:cubicBezTo>
                      <a:cubicBezTo>
                        <a:pt x="16" y="33"/>
                        <a:pt x="15" y="32"/>
                        <a:pt x="16" y="31"/>
                      </a:cubicBezTo>
                      <a:cubicBezTo>
                        <a:pt x="16" y="31"/>
                        <a:pt x="16" y="31"/>
                        <a:pt x="16" y="31"/>
                      </a:cubicBezTo>
                      <a:cubicBezTo>
                        <a:pt x="16" y="31"/>
                        <a:pt x="17" y="30"/>
                        <a:pt x="17" y="29"/>
                      </a:cubicBezTo>
                      <a:cubicBezTo>
                        <a:pt x="17" y="29"/>
                        <a:pt x="17" y="28"/>
                        <a:pt x="17" y="28"/>
                      </a:cubicBezTo>
                      <a:cubicBezTo>
                        <a:pt x="17" y="28"/>
                        <a:pt x="17" y="27"/>
                        <a:pt x="18" y="27"/>
                      </a:cubicBezTo>
                      <a:cubicBezTo>
                        <a:pt x="18" y="26"/>
                        <a:pt x="18" y="26"/>
                        <a:pt x="18" y="26"/>
                      </a:cubicBezTo>
                      <a:cubicBezTo>
                        <a:pt x="18" y="25"/>
                        <a:pt x="18" y="25"/>
                        <a:pt x="18" y="25"/>
                      </a:cubicBezTo>
                      <a:cubicBezTo>
                        <a:pt x="18" y="24"/>
                        <a:pt x="18" y="23"/>
                        <a:pt x="19" y="23"/>
                      </a:cubicBezTo>
                      <a:cubicBezTo>
                        <a:pt x="19" y="22"/>
                        <a:pt x="19" y="21"/>
                        <a:pt x="19" y="2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830" name="Oval 643">
                  <a:extLst>
                    <a:ext uri="{FF2B5EF4-FFF2-40B4-BE49-F238E27FC236}">
                      <a16:creationId xmlns:a16="http://schemas.microsoft.com/office/drawing/2014/main" id="{01E5E479-0DAD-8C40-EF1A-A3633BA1F6E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393522" y="3303798"/>
                  <a:ext cx="169861" cy="169862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831" name="Oval 643">
                  <a:extLst>
                    <a:ext uri="{FF2B5EF4-FFF2-40B4-BE49-F238E27FC236}">
                      <a16:creationId xmlns:a16="http://schemas.microsoft.com/office/drawing/2014/main" id="{A0B8C386-C920-4576-523A-CEABA99C95C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359665" y="2794781"/>
                  <a:ext cx="169861" cy="169862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433" name="Oval 330">
                <a:extLst>
                  <a:ext uri="{FF2B5EF4-FFF2-40B4-BE49-F238E27FC236}">
                    <a16:creationId xmlns:a16="http://schemas.microsoft.com/office/drawing/2014/main" id="{C4B0D982-F98B-0679-7360-1EF7F8FD32EA}"/>
                  </a:ext>
                </a:extLst>
              </p:cNvPr>
              <p:cNvSpPr/>
              <p:nvPr/>
            </p:nvSpPr>
            <p:spPr>
              <a:xfrm>
                <a:off x="8993379" y="4179268"/>
                <a:ext cx="795270" cy="761667"/>
              </a:xfrm>
              <a:prstGeom prst="ellipse">
                <a:avLst/>
              </a:prstGeom>
              <a:solidFill>
                <a:srgbClr val="ECECEC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0" tIns="0" rIns="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100" b="1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ost </a:t>
                </a:r>
                <a:r>
                  <a:rPr kumimoji="0" lang="de-DE" sz="1100" b="1" i="0" u="none" strike="noStrike" kern="1200" cap="none" spc="0" normalizeH="0" baseline="0" noProof="0" err="1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Health</a:t>
                </a:r>
                <a:endParaRPr kumimoji="0" lang="de-DE" sz="11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cxnSp>
            <p:nvCxnSpPr>
              <p:cNvPr id="434" name="Straight Connector 607">
                <a:extLst>
                  <a:ext uri="{FF2B5EF4-FFF2-40B4-BE49-F238E27FC236}">
                    <a16:creationId xmlns:a16="http://schemas.microsoft.com/office/drawing/2014/main" id="{E207300B-45B6-394F-38F4-3A8B5D0647D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751660" y="5043488"/>
                <a:ext cx="385196" cy="819150"/>
              </a:xfrm>
              <a:prstGeom prst="line">
                <a:avLst/>
              </a:prstGeom>
              <a:ln w="19050" cap="rnd">
                <a:solidFill>
                  <a:schemeClr val="accent1">
                    <a:lumMod val="40000"/>
                    <a:lumOff val="60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35" name="Rechteck 232">
                <a:extLst>
                  <a:ext uri="{FF2B5EF4-FFF2-40B4-BE49-F238E27FC236}">
                    <a16:creationId xmlns:a16="http://schemas.microsoft.com/office/drawing/2014/main" id="{9D2ED405-6577-275D-82FD-12DDD24A7FA8}"/>
                  </a:ext>
                </a:extLst>
              </p:cNvPr>
              <p:cNvSpPr>
                <a:spLocks/>
              </p:cNvSpPr>
              <p:nvPr/>
            </p:nvSpPr>
            <p:spPr>
              <a:xfrm rot="1571991">
                <a:off x="8696243" y="3864701"/>
                <a:ext cx="1378262" cy="1386892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 anchorCtr="0">
                <a:prstTxWarp prst="textArchUp">
                  <a:avLst>
                    <a:gd name="adj" fmla="val 10447858"/>
                  </a:avLst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</a:rPr>
                  <a:t>Consulting, </a:t>
                </a:r>
                <a:r>
                  <a:rPr lang="de-DE" sz="800" b="1" kern="0">
                    <a:solidFill>
                      <a:srgbClr val="FFFFFF"/>
                    </a:solidFill>
                    <a:latin typeface="Calibri"/>
                  </a:rPr>
                  <a:t>I</a:t>
                </a:r>
                <a:r>
                  <a:rPr kumimoji="0" lang="de-DE" sz="8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</a:rPr>
                  <a:t>mplementation</a:t>
                </a:r>
                <a:r>
                  <a:rPr kumimoji="0" lang="de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</a:rPr>
                  <a:t> </a:t>
                </a:r>
                <a:r>
                  <a:rPr lang="de-DE" sz="800" b="1" kern="0">
                    <a:solidFill>
                      <a:srgbClr val="FFFFFF"/>
                    </a:solidFill>
                    <a:latin typeface="Calibri"/>
                  </a:rPr>
                  <a:t>u</a:t>
                </a:r>
                <a:r>
                  <a:rPr kumimoji="0" lang="de-DE" sz="8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</a:rPr>
                  <a:t>nd</a:t>
                </a:r>
                <a:r>
                  <a:rPr kumimoji="0" lang="de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</a:rPr>
                  <a:t>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800" b="1" kern="0">
                    <a:solidFill>
                      <a:srgbClr val="FFFFFF"/>
                    </a:solidFill>
                    <a:latin typeface="Calibri"/>
                  </a:rPr>
                  <a:t>M</a:t>
                </a:r>
                <a:r>
                  <a:rPr kumimoji="0" lang="de-DE" sz="8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</a:rPr>
                  <a:t>anagement</a:t>
                </a:r>
                <a:r>
                  <a:rPr kumimoji="0" lang="de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</a:rPr>
                  <a:t> </a:t>
                </a:r>
                <a:r>
                  <a:rPr lang="de-DE" sz="800" b="1" kern="0">
                    <a:solidFill>
                      <a:srgbClr val="FFFFFF"/>
                    </a:solidFill>
                    <a:latin typeface="Calibri"/>
                  </a:rPr>
                  <a:t>von</a:t>
                </a:r>
                <a:r>
                  <a:rPr kumimoji="0" lang="de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</a:rPr>
                  <a:t> </a:t>
                </a:r>
                <a:r>
                  <a:rPr lang="de-DE" sz="800" b="1" kern="0">
                    <a:solidFill>
                      <a:srgbClr val="FFFFFF"/>
                    </a:solidFill>
                    <a:latin typeface="Calibri"/>
                  </a:rPr>
                  <a:t>P</a:t>
                </a:r>
                <a:r>
                  <a:rPr kumimoji="0" lang="de-DE" sz="8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</a:rPr>
                  <a:t>rojekten</a:t>
                </a:r>
                <a:endParaRPr kumimoji="0" lang="de-DE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436" name="Rechteck 232">
                <a:extLst>
                  <a:ext uri="{FF2B5EF4-FFF2-40B4-BE49-F238E27FC236}">
                    <a16:creationId xmlns:a16="http://schemas.microsoft.com/office/drawing/2014/main" id="{F6C30B80-13C7-C3EE-ECE2-EBBF6C3D5126}"/>
                  </a:ext>
                </a:extLst>
              </p:cNvPr>
              <p:cNvSpPr>
                <a:spLocks/>
              </p:cNvSpPr>
              <p:nvPr/>
            </p:nvSpPr>
            <p:spPr>
              <a:xfrm rot="19702297">
                <a:off x="8644463" y="3812598"/>
                <a:ext cx="1481820" cy="149109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 anchorCtr="0">
                <a:prstTxWarp prst="textArchDown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</a:rPr>
                  <a:t>Organisatorische </a:t>
                </a:r>
                <a:r>
                  <a:rPr lang="de-DE" sz="800" b="1" kern="0">
                    <a:solidFill>
                      <a:srgbClr val="FFFFFF"/>
                    </a:solidFill>
                    <a:latin typeface="Calibri"/>
                  </a:rPr>
                  <a:t>S</a:t>
                </a:r>
                <a:r>
                  <a:rPr kumimoji="0" lang="de-DE" sz="8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</a:rPr>
                  <a:t>ervices</a:t>
                </a:r>
                <a:r>
                  <a:rPr kumimoji="0" lang="de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</a:rPr>
                  <a:t>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800" b="1" kern="0">
                    <a:solidFill>
                      <a:srgbClr val="FFFFFF"/>
                    </a:solidFill>
                    <a:latin typeface="Calibri"/>
                  </a:rPr>
                  <a:t>vorgeschrieben durch</a:t>
                </a:r>
                <a:r>
                  <a:rPr kumimoji="0" lang="de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</a:rPr>
                  <a:t> EPD-Recht</a:t>
                </a:r>
              </a:p>
            </p:txBody>
          </p:sp>
          <p:sp>
            <p:nvSpPr>
              <p:cNvPr id="437" name="Rechteck 232">
                <a:extLst>
                  <a:ext uri="{FF2B5EF4-FFF2-40B4-BE49-F238E27FC236}">
                    <a16:creationId xmlns:a16="http://schemas.microsoft.com/office/drawing/2014/main" id="{A2712F4E-8856-E99A-4BA6-76B7E16695B0}"/>
                  </a:ext>
                </a:extLst>
              </p:cNvPr>
              <p:cNvSpPr>
                <a:spLocks/>
              </p:cNvSpPr>
              <p:nvPr/>
            </p:nvSpPr>
            <p:spPr>
              <a:xfrm rot="4597901">
                <a:off x="8670742" y="3839041"/>
                <a:ext cx="1429262" cy="1438210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 anchorCtr="0">
                <a:prstTxWarp prst="textArchDown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ost </a:t>
                </a:r>
                <a:r>
                  <a:rPr kumimoji="0" lang="de-DE" sz="8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Health</a:t>
                </a:r>
                <a:r>
                  <a:rPr kumimoji="0" lang="de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</a:t>
                </a:r>
                <a:br>
                  <a:rPr kumimoji="0" lang="de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de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lattform</a:t>
                </a:r>
              </a:p>
            </p:txBody>
          </p:sp>
          <p:cxnSp>
            <p:nvCxnSpPr>
              <p:cNvPr id="438" name="Straight Connector 633">
                <a:extLst>
                  <a:ext uri="{FF2B5EF4-FFF2-40B4-BE49-F238E27FC236}">
                    <a16:creationId xmlns:a16="http://schemas.microsoft.com/office/drawing/2014/main" id="{38978097-7773-5B69-F5F7-0D828D59FE6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374107" y="3107531"/>
                <a:ext cx="10399" cy="428625"/>
              </a:xfrm>
              <a:prstGeom prst="line">
                <a:avLst/>
              </a:prstGeom>
              <a:ln w="19050" cap="rnd">
                <a:solidFill>
                  <a:schemeClr val="accent1">
                    <a:lumMod val="40000"/>
                    <a:lumOff val="60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39" name="Rechteck 232">
                <a:extLst>
                  <a:ext uri="{FF2B5EF4-FFF2-40B4-BE49-F238E27FC236}">
                    <a16:creationId xmlns:a16="http://schemas.microsoft.com/office/drawing/2014/main" id="{0CDD627D-E8DC-A118-1149-17BD91CEA7BE}"/>
                  </a:ext>
                </a:extLst>
              </p:cNvPr>
              <p:cNvSpPr>
                <a:spLocks/>
              </p:cNvSpPr>
              <p:nvPr/>
            </p:nvSpPr>
            <p:spPr>
              <a:xfrm rot="20295032">
                <a:off x="8187968" y="3353242"/>
                <a:ext cx="2394809" cy="240980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 anchorCtr="0">
                <a:prstTxWarp prst="textArchUp">
                  <a:avLst>
                    <a:gd name="adj" fmla="val 10447858"/>
                  </a:avLst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i="0" u="none" strike="noStrike" kern="0" cap="none" spc="0" normalizeH="0" baseline="0" noProof="0" err="1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Health</a:t>
                </a:r>
                <a:r>
                  <a:rPr kumimoji="0" lang="de-DE" sz="800" i="0" u="none" strike="noStrike" kern="0" cap="none" spc="0" normalizeH="0" baseline="0" noProof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i="0" u="none" strike="noStrike" kern="0" cap="none" spc="0" normalizeH="0" baseline="0" noProof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Integration</a:t>
                </a:r>
              </a:p>
            </p:txBody>
          </p:sp>
          <p:sp>
            <p:nvSpPr>
              <p:cNvPr id="440" name="Rechteck 232">
                <a:extLst>
                  <a:ext uri="{FF2B5EF4-FFF2-40B4-BE49-F238E27FC236}">
                    <a16:creationId xmlns:a16="http://schemas.microsoft.com/office/drawing/2014/main" id="{50CAF0C5-8818-7EAE-4003-FA857FDC0DC9}"/>
                  </a:ext>
                </a:extLst>
              </p:cNvPr>
              <p:cNvSpPr>
                <a:spLocks/>
              </p:cNvSpPr>
              <p:nvPr/>
            </p:nvSpPr>
            <p:spPr>
              <a:xfrm rot="1549674">
                <a:off x="8187968" y="3353242"/>
                <a:ext cx="2394809" cy="240980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 anchorCtr="0">
                <a:prstTxWarp prst="textArchUp">
                  <a:avLst>
                    <a:gd name="adj" fmla="val 10447858"/>
                  </a:avLst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i="0" u="none" strike="noStrike" kern="0" cap="none" spc="0" normalizeH="0" baseline="0" noProof="0" err="1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Calibri"/>
                  </a:rPr>
                  <a:t>eHealth</a:t>
                </a:r>
                <a:r>
                  <a:rPr kumimoji="0" lang="de-DE" sz="800" i="0" u="none" strike="noStrike" kern="0" cap="none" spc="0" normalizeH="0" baseline="0" noProof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Calibri"/>
                  </a:rPr>
                  <a:t> </a:t>
                </a:r>
                <a:r>
                  <a:rPr lang="de-DE" sz="800" kern="0">
                    <a:solidFill>
                      <a:schemeClr val="accent5"/>
                    </a:solidFill>
                    <a:latin typeface="Calibri"/>
                  </a:rPr>
                  <a:t>C</a:t>
                </a:r>
                <a:r>
                  <a:rPr kumimoji="0" lang="de-DE" sz="800" i="0" u="none" strike="noStrike" kern="0" cap="none" spc="0" normalizeH="0" baseline="0" noProof="0" err="1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Calibri"/>
                  </a:rPr>
                  <a:t>onsulting</a:t>
                </a:r>
                <a:r>
                  <a:rPr kumimoji="0" lang="de-DE" sz="800" i="0" u="none" strike="noStrike" kern="0" cap="none" spc="0" normalizeH="0" baseline="0" noProof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Calibri"/>
                  </a:rPr>
                  <a:t> &amp;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i="0" u="none" strike="noStrike" kern="0" cap="none" spc="0" normalizeH="0" baseline="0" noProof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Calibri"/>
                  </a:rPr>
                  <a:t>Projektmanagement</a:t>
                </a:r>
              </a:p>
            </p:txBody>
          </p:sp>
          <p:sp>
            <p:nvSpPr>
              <p:cNvPr id="441" name="Rechteck 232">
                <a:extLst>
                  <a:ext uri="{FF2B5EF4-FFF2-40B4-BE49-F238E27FC236}">
                    <a16:creationId xmlns:a16="http://schemas.microsoft.com/office/drawing/2014/main" id="{41BB1BDF-86A9-570B-50DD-A7C9CE525D28}"/>
                  </a:ext>
                </a:extLst>
              </p:cNvPr>
              <p:cNvSpPr>
                <a:spLocks/>
              </p:cNvSpPr>
              <p:nvPr/>
            </p:nvSpPr>
            <p:spPr>
              <a:xfrm rot="4559527">
                <a:off x="8187968" y="3353242"/>
                <a:ext cx="2394810" cy="240980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 anchorCtr="0">
                <a:prstTxWarp prst="textArchUp">
                  <a:avLst>
                    <a:gd name="adj" fmla="val 10447858"/>
                  </a:avLst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i="0" u="none" strike="noStrike" kern="0" cap="none" spc="0" normalizeH="0" baseline="0" noProof="0" err="1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Calibri"/>
                  </a:rPr>
                  <a:t>eHealth</a:t>
                </a:r>
                <a:r>
                  <a:rPr kumimoji="0" lang="de-DE" sz="800" i="0" u="none" strike="noStrike" kern="0" cap="none" spc="0" normalizeH="0" baseline="0" noProof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Calibri"/>
                  </a:rPr>
                  <a:t>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chemeClr val="accent5"/>
                    </a:solidFill>
                    <a:latin typeface="Calibri"/>
                  </a:rPr>
                  <a:t>K</a:t>
                </a:r>
                <a:r>
                  <a:rPr kumimoji="0" lang="de-DE" sz="800" i="0" u="none" strike="noStrike" kern="0" cap="none" spc="0" normalizeH="0" baseline="0" noProof="0" err="1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Calibri"/>
                  </a:rPr>
                  <a:t>onfiguration</a:t>
                </a:r>
                <a:endParaRPr kumimoji="0" lang="de-DE" sz="800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cxnSp>
            <p:nvCxnSpPr>
              <p:cNvPr id="442" name="Straight Connector 643">
                <a:extLst>
                  <a:ext uri="{FF2B5EF4-FFF2-40B4-BE49-F238E27FC236}">
                    <a16:creationId xmlns:a16="http://schemas.microsoft.com/office/drawing/2014/main" id="{DEBACE5F-F83A-4125-32E8-E097584E767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63175" y="3633788"/>
                <a:ext cx="342718" cy="300965"/>
              </a:xfrm>
              <a:prstGeom prst="line">
                <a:avLst/>
              </a:prstGeom>
              <a:ln w="19050" cap="rnd">
                <a:solidFill>
                  <a:schemeClr val="accent1">
                    <a:lumMod val="40000"/>
                    <a:lumOff val="60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3" name="Rechteck 232">
                <a:extLst>
                  <a:ext uri="{FF2B5EF4-FFF2-40B4-BE49-F238E27FC236}">
                    <a16:creationId xmlns:a16="http://schemas.microsoft.com/office/drawing/2014/main" id="{78774586-9A80-D1E9-2FAC-1FF658F71FD1}"/>
                  </a:ext>
                </a:extLst>
              </p:cNvPr>
              <p:cNvSpPr>
                <a:spLocks/>
              </p:cNvSpPr>
              <p:nvPr/>
            </p:nvSpPr>
            <p:spPr>
              <a:xfrm rot="17748536">
                <a:off x="8187968" y="3353242"/>
                <a:ext cx="2394810" cy="240980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 anchorCtr="0">
                <a:prstTxWarp prst="textArchUp">
                  <a:avLst>
                    <a:gd name="adj" fmla="val 10447858"/>
                  </a:avLst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i="0" u="none" strike="noStrike" kern="0" cap="none" spc="0" normalizeH="0" baseline="0" noProof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Technischer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i="0" u="none" strike="noStrike" kern="0" cap="none" spc="0" normalizeH="0" baseline="0" noProof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Support</a:t>
                </a:r>
              </a:p>
            </p:txBody>
          </p:sp>
          <p:sp>
            <p:nvSpPr>
              <p:cNvPr id="444" name="Rechteck 232">
                <a:extLst>
                  <a:ext uri="{FF2B5EF4-FFF2-40B4-BE49-F238E27FC236}">
                    <a16:creationId xmlns:a16="http://schemas.microsoft.com/office/drawing/2014/main" id="{400EC51E-5207-B5B4-251C-FC05F024181D}"/>
                  </a:ext>
                </a:extLst>
              </p:cNvPr>
              <p:cNvSpPr>
                <a:spLocks/>
              </p:cNvSpPr>
              <p:nvPr/>
            </p:nvSpPr>
            <p:spPr>
              <a:xfrm rot="15610933">
                <a:off x="8187968" y="3353242"/>
                <a:ext cx="2394810" cy="240980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 anchorCtr="0">
                <a:prstTxWarp prst="textArchUp">
                  <a:avLst>
                    <a:gd name="adj" fmla="val 10447858"/>
                  </a:avLst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i="0" u="none" strike="noStrike" kern="0" cap="none" spc="0" normalizeH="0" baseline="0" noProof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Standard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i="0" u="none" strike="noStrike" kern="0" cap="none" spc="0" normalizeH="0" baseline="0" noProof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Integration</a:t>
                </a:r>
              </a:p>
            </p:txBody>
          </p:sp>
          <p:sp>
            <p:nvSpPr>
              <p:cNvPr id="446" name="Rechteck 232">
                <a:extLst>
                  <a:ext uri="{FF2B5EF4-FFF2-40B4-BE49-F238E27FC236}">
                    <a16:creationId xmlns:a16="http://schemas.microsoft.com/office/drawing/2014/main" id="{E94C97CB-21B0-1C0D-8581-F03FC4F42A2D}"/>
                  </a:ext>
                </a:extLst>
              </p:cNvPr>
              <p:cNvSpPr>
                <a:spLocks/>
              </p:cNvSpPr>
              <p:nvPr/>
            </p:nvSpPr>
            <p:spPr>
              <a:xfrm rot="301873">
                <a:off x="8166193" y="3331331"/>
                <a:ext cx="2438360" cy="2453630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 anchorCtr="0">
                <a:prstTxWarp prst="textArchDown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i="0" u="none" strike="noStrike" kern="0" cap="none" spc="0" normalizeH="0" baseline="0" noProof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PR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i="0" u="none" strike="noStrike" kern="0" cap="none" spc="0" normalizeH="0" baseline="0" noProof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On/</a:t>
                </a:r>
                <a:r>
                  <a:rPr kumimoji="0" lang="de-DE" sz="800" i="0" u="none" strike="noStrike" kern="0" cap="none" spc="0" normalizeH="0" baseline="0" noProof="0" err="1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offboarding</a:t>
                </a:r>
                <a:endParaRPr kumimoji="0" lang="de-DE" sz="800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7" name="Rechteck 232">
                <a:extLst>
                  <a:ext uri="{FF2B5EF4-FFF2-40B4-BE49-F238E27FC236}">
                    <a16:creationId xmlns:a16="http://schemas.microsoft.com/office/drawing/2014/main" id="{23D05C35-B79A-979C-96B1-BD552BA4D225}"/>
                  </a:ext>
                </a:extLst>
              </p:cNvPr>
              <p:cNvSpPr>
                <a:spLocks/>
              </p:cNvSpPr>
              <p:nvPr/>
            </p:nvSpPr>
            <p:spPr>
              <a:xfrm rot="17742697">
                <a:off x="8166193" y="3331331"/>
                <a:ext cx="2438360" cy="2453630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 anchorCtr="0">
                <a:prstTxWarp prst="textArchDown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i="0" u="none" strike="noStrike" kern="0" cap="none" spc="0" normalizeH="0" baseline="0" noProof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Calibri"/>
                  </a:rPr>
                  <a:t>EPRG Sicherheits-</a:t>
                </a:r>
                <a:endParaRPr lang="de-DE" sz="800" kern="0">
                  <a:solidFill>
                    <a:schemeClr val="accent5"/>
                  </a:solidFill>
                  <a:latin typeface="Calibri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i="0" u="none" strike="noStrike" kern="0" cap="none" spc="0" normalizeH="0" baseline="0" noProof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Calibri"/>
                  </a:rPr>
                  <a:t> </a:t>
                </a:r>
                <a:r>
                  <a:rPr kumimoji="0" lang="de-DE" sz="800" i="0" u="none" strike="noStrike" kern="0" cap="none" spc="0" normalizeH="0" baseline="0" noProof="0" err="1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Calibri"/>
                  </a:rPr>
                  <a:t>management</a:t>
                </a:r>
                <a:endParaRPr kumimoji="0" lang="de-DE" sz="800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448" name="Rechteck 232">
                <a:extLst>
                  <a:ext uri="{FF2B5EF4-FFF2-40B4-BE49-F238E27FC236}">
                    <a16:creationId xmlns:a16="http://schemas.microsoft.com/office/drawing/2014/main" id="{727EAACA-5F8D-BFC7-BE35-9EBAB8DA1B86}"/>
                  </a:ext>
                </a:extLst>
              </p:cNvPr>
              <p:cNvSpPr>
                <a:spLocks/>
              </p:cNvSpPr>
              <p:nvPr/>
            </p:nvSpPr>
            <p:spPr>
              <a:xfrm rot="19827775">
                <a:off x="8166193" y="3331332"/>
                <a:ext cx="2438360" cy="245362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 anchorCtr="0">
                <a:prstTxWarp prst="textArchDown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i="0" u="none" strike="noStrike" kern="0" cap="none" spc="0" normalizeH="0" baseline="0" noProof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PR User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i="0" u="none" strike="noStrike" kern="0" cap="none" spc="0" normalizeH="0" baseline="0" noProof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Helpdesk</a:t>
                </a:r>
              </a:p>
            </p:txBody>
          </p:sp>
          <p:sp>
            <p:nvSpPr>
              <p:cNvPr id="449" name="Rechteck 232">
                <a:extLst>
                  <a:ext uri="{FF2B5EF4-FFF2-40B4-BE49-F238E27FC236}">
                    <a16:creationId xmlns:a16="http://schemas.microsoft.com/office/drawing/2014/main" id="{5F3C6BDB-7A74-AE33-41A5-5F4C3E354CB5}"/>
                  </a:ext>
                </a:extLst>
              </p:cNvPr>
              <p:cNvSpPr>
                <a:spLocks/>
              </p:cNvSpPr>
              <p:nvPr/>
            </p:nvSpPr>
            <p:spPr>
              <a:xfrm rot="15795017">
                <a:off x="8344125" y="3510379"/>
                <a:ext cx="2082496" cy="209553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 anchorCtr="0">
                <a:prstTxWarp prst="textArchUp">
                  <a:avLst>
                    <a:gd name="adj" fmla="val 10962605"/>
                  </a:avLst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lektronische Patientenakte (EPR)</a:t>
                </a:r>
              </a:p>
            </p:txBody>
          </p:sp>
          <p:sp>
            <p:nvSpPr>
              <p:cNvPr id="451" name="TextBox 662">
                <a:extLst>
                  <a:ext uri="{FF2B5EF4-FFF2-40B4-BE49-F238E27FC236}">
                    <a16:creationId xmlns:a16="http://schemas.microsoft.com/office/drawing/2014/main" id="{C7A4EA9A-9CB7-A6B0-8854-778CD9EE051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11579" y="3074300"/>
                <a:ext cx="2939801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1" i="0" u="none" strike="noStrike" kern="1200" cap="none" spc="0" normalizeH="0" baseline="0" noProof="0">
                    <a:ln>
                      <a:noFill/>
                    </a:ln>
                    <a:solidFill>
                      <a:srgbClr val="EC660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-</a:t>
                </a:r>
                <a:r>
                  <a:rPr kumimoji="0" lang="de-DE" sz="800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EC660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Collaboration</a:t>
                </a:r>
                <a:r>
                  <a:rPr kumimoji="0" lang="de-DE" sz="800" b="1" i="0" u="none" strike="noStrike" kern="1200" cap="none" spc="0" normalizeH="0" baseline="0" noProof="0">
                    <a:ln>
                      <a:noFill/>
                    </a:ln>
                    <a:solidFill>
                      <a:srgbClr val="EC660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Services</a:t>
                </a:r>
              </a:p>
            </p:txBody>
          </p:sp>
          <p:sp>
            <p:nvSpPr>
              <p:cNvPr id="460" name="TextBox 673">
                <a:extLst>
                  <a:ext uri="{FF2B5EF4-FFF2-40B4-BE49-F238E27FC236}">
                    <a16:creationId xmlns:a16="http://schemas.microsoft.com/office/drawing/2014/main" id="{51704FD8-1BAD-550B-29DC-218F20AC4E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11579" y="5025410"/>
                <a:ext cx="2939801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1" i="0" u="none" strike="noStrike" kern="1200" cap="none" spc="0" normalizeH="0" baseline="0" noProof="0">
                    <a:ln>
                      <a:noFill/>
                    </a:ln>
                    <a:solidFill>
                      <a:srgbClr val="EC660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-Patientenservices</a:t>
                </a:r>
              </a:p>
            </p:txBody>
          </p:sp>
          <p:sp>
            <p:nvSpPr>
              <p:cNvPr id="463" name="TextBox 681">
                <a:extLst>
                  <a:ext uri="{FF2B5EF4-FFF2-40B4-BE49-F238E27FC236}">
                    <a16:creationId xmlns:a16="http://schemas.microsoft.com/office/drawing/2014/main" id="{0D79C08D-A25E-7027-420B-27AB31C8882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11579" y="5220520"/>
                <a:ext cx="2939801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-</a:t>
                </a:r>
                <a:r>
                  <a:rPr kumimoji="0" lang="de-DE" sz="8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Impfungdossier</a:t>
                </a:r>
                <a:endPara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4" name="TextBox 682">
                <a:extLst>
                  <a:ext uri="{FF2B5EF4-FFF2-40B4-BE49-F238E27FC236}">
                    <a16:creationId xmlns:a16="http://schemas.microsoft.com/office/drawing/2014/main" id="{7F11C72C-3FE7-8A1F-58D4-7A3E8A24EA6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11579" y="5415631"/>
                <a:ext cx="2939801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-Selbstregistrierung (EPR)</a:t>
                </a:r>
              </a:p>
            </p:txBody>
          </p:sp>
          <p:sp>
            <p:nvSpPr>
              <p:cNvPr id="465" name="TextBox 683">
                <a:extLst>
                  <a:ext uri="{FF2B5EF4-FFF2-40B4-BE49-F238E27FC236}">
                    <a16:creationId xmlns:a16="http://schemas.microsoft.com/office/drawing/2014/main" id="{5D7EAA01-42F9-F07D-EFB3-882D6B45890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11579" y="5610742"/>
                <a:ext cx="2939801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-Registrierung (</a:t>
                </a:r>
                <a:r>
                  <a:rPr kumimoji="0" lang="de-DE" sz="8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inpatient</a:t>
                </a:r>
                <a:r>
                  <a: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)</a:t>
                </a:r>
              </a:p>
            </p:txBody>
          </p:sp>
          <p:sp>
            <p:nvSpPr>
              <p:cNvPr id="466" name="TextBox 684">
                <a:extLst>
                  <a:ext uri="{FF2B5EF4-FFF2-40B4-BE49-F238E27FC236}">
                    <a16:creationId xmlns:a16="http://schemas.microsoft.com/office/drawing/2014/main" id="{26CF165E-CFBC-4AD1-F6B3-3D9A2A651C5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11579" y="5805853"/>
                <a:ext cx="2939801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</a:rPr>
                  <a:t>Mobile </a:t>
                </a:r>
                <a:r>
                  <a:rPr lang="de-DE" sz="800">
                    <a:solidFill>
                      <a:srgbClr val="000000"/>
                    </a:solidFill>
                    <a:latin typeface="Calibri"/>
                  </a:rPr>
                  <a:t>Apps für Patientinnen &amp; Patienten</a:t>
                </a:r>
                <a:endPara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467" name="TextBox 699">
                <a:extLst>
                  <a:ext uri="{FF2B5EF4-FFF2-40B4-BE49-F238E27FC236}">
                    <a16:creationId xmlns:a16="http://schemas.microsoft.com/office/drawing/2014/main" id="{381ACC88-AA2C-9404-8DB9-AF2BA13C652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11579" y="3269411"/>
                <a:ext cx="2939801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</a:rPr>
                  <a:t>In/Output </a:t>
                </a:r>
                <a:r>
                  <a:rPr lang="de-DE" sz="800">
                    <a:solidFill>
                      <a:srgbClr val="000000"/>
                    </a:solidFill>
                    <a:latin typeface="Calibri"/>
                  </a:rPr>
                  <a:t>M</a:t>
                </a:r>
                <a:r>
                  <a:rPr kumimoji="0" lang="de-DE" sz="8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</a:rPr>
                  <a:t>anagement</a:t>
                </a:r>
                <a:endPara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468" name="TextBox 700">
                <a:extLst>
                  <a:ext uri="{FF2B5EF4-FFF2-40B4-BE49-F238E27FC236}">
                    <a16:creationId xmlns:a16="http://schemas.microsoft.com/office/drawing/2014/main" id="{6A283CE3-ECDB-8FBA-DC63-C0F6B90301E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11579" y="3464522"/>
                <a:ext cx="2939801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-Transfer/e-Überweisungen</a:t>
                </a:r>
              </a:p>
            </p:txBody>
          </p:sp>
          <p:sp>
            <p:nvSpPr>
              <p:cNvPr id="469" name="TextBox 701">
                <a:extLst>
                  <a:ext uri="{FF2B5EF4-FFF2-40B4-BE49-F238E27FC236}">
                    <a16:creationId xmlns:a16="http://schemas.microsoft.com/office/drawing/2014/main" id="{2C5D1485-C7FD-CD50-19C3-93EFDA53A95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11579" y="3659633"/>
                <a:ext cx="2939801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-Bestellungsmanagement</a:t>
                </a:r>
              </a:p>
            </p:txBody>
          </p:sp>
          <p:sp>
            <p:nvSpPr>
              <p:cNvPr id="470" name="TextBox 702">
                <a:extLst>
                  <a:ext uri="{FF2B5EF4-FFF2-40B4-BE49-F238E27FC236}">
                    <a16:creationId xmlns:a16="http://schemas.microsoft.com/office/drawing/2014/main" id="{AFC0F5C3-40D8-F94B-AD6C-0A15A11A69B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11579" y="3854744"/>
                <a:ext cx="2939801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-Berichtstransfer</a:t>
                </a:r>
              </a:p>
            </p:txBody>
          </p:sp>
          <p:sp>
            <p:nvSpPr>
              <p:cNvPr id="471" name="TextBox 703">
                <a:extLst>
                  <a:ext uri="{FF2B5EF4-FFF2-40B4-BE49-F238E27FC236}">
                    <a16:creationId xmlns:a16="http://schemas.microsoft.com/office/drawing/2014/main" id="{0722DA51-1430-CC90-1495-A249F48B781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11579" y="4049855"/>
                <a:ext cx="2939801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-Bilddatenmanagement</a:t>
                </a:r>
              </a:p>
            </p:txBody>
          </p:sp>
          <p:sp>
            <p:nvSpPr>
              <p:cNvPr id="472" name="TextBox 704">
                <a:extLst>
                  <a:ext uri="{FF2B5EF4-FFF2-40B4-BE49-F238E27FC236}">
                    <a16:creationId xmlns:a16="http://schemas.microsoft.com/office/drawing/2014/main" id="{8F660F45-F7C1-9A7E-F5EC-94EC060E65A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11579" y="4244966"/>
                <a:ext cx="2939801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-Medikation</a:t>
                </a:r>
              </a:p>
            </p:txBody>
          </p:sp>
          <p:sp>
            <p:nvSpPr>
              <p:cNvPr id="473" name="TextBox 708">
                <a:extLst>
                  <a:ext uri="{FF2B5EF4-FFF2-40B4-BE49-F238E27FC236}">
                    <a16:creationId xmlns:a16="http://schemas.microsoft.com/office/drawing/2014/main" id="{0692C102-D534-5677-5659-7E55941CFC3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11579" y="4440077"/>
                <a:ext cx="2939801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-Kommunikation</a:t>
                </a:r>
              </a:p>
            </p:txBody>
          </p:sp>
          <p:sp>
            <p:nvSpPr>
              <p:cNvPr id="474" name="TextBox 709">
                <a:extLst>
                  <a:ext uri="{FF2B5EF4-FFF2-40B4-BE49-F238E27FC236}">
                    <a16:creationId xmlns:a16="http://schemas.microsoft.com/office/drawing/2014/main" id="{739DC95A-6639-4BEE-9183-6647E41FD8A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11579" y="4635188"/>
                <a:ext cx="2939801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800">
                    <a:solidFill>
                      <a:srgbClr val="000000"/>
                    </a:solidFill>
                    <a:latin typeface="Calibri"/>
                  </a:rPr>
                  <a:t>e-Termin</a:t>
                </a:r>
                <a:endPara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475" name="TextBox 713">
                <a:extLst>
                  <a:ext uri="{FF2B5EF4-FFF2-40B4-BE49-F238E27FC236}">
                    <a16:creationId xmlns:a16="http://schemas.microsoft.com/office/drawing/2014/main" id="{0283415F-1B49-7420-D71A-5B85DDCA8FF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11579" y="4830299"/>
                <a:ext cx="2939801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Mobile Apps für Fachkräfte im Gesundheitswesen</a:t>
                </a:r>
              </a:p>
            </p:txBody>
          </p:sp>
          <p:cxnSp>
            <p:nvCxnSpPr>
              <p:cNvPr id="791" name="Gerader Verbinder 790">
                <a:extLst>
                  <a:ext uri="{FF2B5EF4-FFF2-40B4-BE49-F238E27FC236}">
                    <a16:creationId xmlns:a16="http://schemas.microsoft.com/office/drawing/2014/main" id="{5923B525-36FD-D875-33C0-E585D6A447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553076" y="3330966"/>
                <a:ext cx="2862262" cy="0"/>
              </a:xfrm>
              <a:prstGeom prst="line">
                <a:avLst/>
              </a:prstGeom>
              <a:ln w="12700" cap="rnd">
                <a:gradFill flip="none" rotWithShape="1">
                  <a:gsLst>
                    <a:gs pos="0">
                      <a:schemeClr val="tx2"/>
                    </a:gs>
                    <a:gs pos="100000">
                      <a:schemeClr val="tx2">
                        <a:alpha val="0"/>
                      </a:schemeClr>
                    </a:gs>
                  </a:gsLst>
                  <a:lin ang="0" scaled="1"/>
                  <a:tileRect/>
                </a:gra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3" name="Gerader Verbinder 792">
                <a:extLst>
                  <a:ext uri="{FF2B5EF4-FFF2-40B4-BE49-F238E27FC236}">
                    <a16:creationId xmlns:a16="http://schemas.microsoft.com/office/drawing/2014/main" id="{F5F985EA-3710-75DE-B75D-E767DD047E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53100" y="3526077"/>
                <a:ext cx="2462213" cy="0"/>
              </a:xfrm>
              <a:prstGeom prst="line">
                <a:avLst/>
              </a:prstGeom>
              <a:ln w="12700" cap="rnd">
                <a:gradFill flip="none" rotWithShape="1">
                  <a:gsLst>
                    <a:gs pos="0">
                      <a:schemeClr val="tx2"/>
                    </a:gs>
                    <a:gs pos="100000">
                      <a:schemeClr val="tx2">
                        <a:alpha val="0"/>
                      </a:schemeClr>
                    </a:gs>
                  </a:gsLst>
                  <a:lin ang="0" scaled="1"/>
                  <a:tileRect/>
                </a:gra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4" name="Gerader Verbinder 793">
                <a:extLst>
                  <a:ext uri="{FF2B5EF4-FFF2-40B4-BE49-F238E27FC236}">
                    <a16:creationId xmlns:a16="http://schemas.microsoft.com/office/drawing/2014/main" id="{FE8796CD-AC12-DC46-C955-E17B7EB4059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62613" y="3721188"/>
                <a:ext cx="2405062" cy="0"/>
              </a:xfrm>
              <a:prstGeom prst="line">
                <a:avLst/>
              </a:prstGeom>
              <a:ln w="12700" cap="rnd">
                <a:gradFill flip="none" rotWithShape="1">
                  <a:gsLst>
                    <a:gs pos="0">
                      <a:schemeClr val="tx2"/>
                    </a:gs>
                    <a:gs pos="100000">
                      <a:schemeClr val="tx2">
                        <a:alpha val="0"/>
                      </a:schemeClr>
                    </a:gs>
                  </a:gsLst>
                  <a:lin ang="0" scaled="1"/>
                  <a:tileRect/>
                </a:gra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5" name="Gerader Verbinder 794">
                <a:extLst>
                  <a:ext uri="{FF2B5EF4-FFF2-40B4-BE49-F238E27FC236}">
                    <a16:creationId xmlns:a16="http://schemas.microsoft.com/office/drawing/2014/main" id="{8B52D917-6F5F-0017-CE4F-445005D2B3E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00663" y="3916299"/>
                <a:ext cx="2667000" cy="0"/>
              </a:xfrm>
              <a:prstGeom prst="line">
                <a:avLst/>
              </a:prstGeom>
              <a:ln w="12700" cap="rnd">
                <a:gradFill flip="none" rotWithShape="1">
                  <a:gsLst>
                    <a:gs pos="0">
                      <a:schemeClr val="tx2"/>
                    </a:gs>
                    <a:gs pos="100000">
                      <a:schemeClr val="tx2">
                        <a:alpha val="0"/>
                      </a:schemeClr>
                    </a:gs>
                  </a:gsLst>
                  <a:lin ang="0" scaled="1"/>
                  <a:tileRect/>
                </a:gra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6" name="Gerader Verbinder 795">
                <a:extLst>
                  <a:ext uri="{FF2B5EF4-FFF2-40B4-BE49-F238E27FC236}">
                    <a16:creationId xmlns:a16="http://schemas.microsoft.com/office/drawing/2014/main" id="{C2512EA2-932D-A6C1-C458-002F72B0BAE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586413" y="4111410"/>
                <a:ext cx="2305050" cy="0"/>
              </a:xfrm>
              <a:prstGeom prst="line">
                <a:avLst/>
              </a:prstGeom>
              <a:ln w="12700" cap="rnd">
                <a:gradFill flip="none" rotWithShape="1">
                  <a:gsLst>
                    <a:gs pos="0">
                      <a:schemeClr val="tx2"/>
                    </a:gs>
                    <a:gs pos="100000">
                      <a:schemeClr val="tx2">
                        <a:alpha val="0"/>
                      </a:schemeClr>
                    </a:gs>
                  </a:gsLst>
                  <a:lin ang="0" scaled="1"/>
                  <a:tileRect/>
                </a:gra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7" name="Gerader Verbinder 796">
                <a:extLst>
                  <a:ext uri="{FF2B5EF4-FFF2-40B4-BE49-F238E27FC236}">
                    <a16:creationId xmlns:a16="http://schemas.microsoft.com/office/drawing/2014/main" id="{17D18723-74B5-3811-2922-D094933EF87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14925" y="4306521"/>
                <a:ext cx="2728913" cy="0"/>
              </a:xfrm>
              <a:prstGeom prst="line">
                <a:avLst/>
              </a:prstGeom>
              <a:ln w="12700" cap="rnd">
                <a:gradFill flip="none" rotWithShape="1">
                  <a:gsLst>
                    <a:gs pos="0">
                      <a:schemeClr val="tx2"/>
                    </a:gs>
                    <a:gs pos="100000">
                      <a:schemeClr val="tx2">
                        <a:alpha val="0"/>
                      </a:schemeClr>
                    </a:gs>
                  </a:gsLst>
                  <a:lin ang="0" scaled="1"/>
                  <a:tileRect/>
                </a:gra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8" name="Gerader Verbinder 797">
                <a:extLst>
                  <a:ext uri="{FF2B5EF4-FFF2-40B4-BE49-F238E27FC236}">
                    <a16:creationId xmlns:a16="http://schemas.microsoft.com/office/drawing/2014/main" id="{AAE96AAD-4149-8FE2-3A34-A9FE80DAB64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95900" y="4501632"/>
                <a:ext cx="2519363" cy="0"/>
              </a:xfrm>
              <a:prstGeom prst="line">
                <a:avLst/>
              </a:prstGeom>
              <a:ln w="12700" cap="rnd">
                <a:gradFill flip="none" rotWithShape="1">
                  <a:gsLst>
                    <a:gs pos="0">
                      <a:schemeClr val="tx2"/>
                    </a:gs>
                    <a:gs pos="100000">
                      <a:schemeClr val="tx2">
                        <a:alpha val="0"/>
                      </a:schemeClr>
                    </a:gs>
                  </a:gsLst>
                  <a:lin ang="0" scaled="1"/>
                  <a:tileRect/>
                </a:gra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9" name="Gerader Verbinder 798">
                <a:extLst>
                  <a:ext uri="{FF2B5EF4-FFF2-40B4-BE49-F238E27FC236}">
                    <a16:creationId xmlns:a16="http://schemas.microsoft.com/office/drawing/2014/main" id="{DF15744C-EE69-F84C-7139-EA12240502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29188" y="4696744"/>
                <a:ext cx="2890837" cy="0"/>
              </a:xfrm>
              <a:prstGeom prst="line">
                <a:avLst/>
              </a:prstGeom>
              <a:ln w="12700" cap="rnd">
                <a:gradFill flip="none" rotWithShape="1">
                  <a:gsLst>
                    <a:gs pos="0">
                      <a:schemeClr val="tx2"/>
                    </a:gs>
                    <a:gs pos="100000">
                      <a:schemeClr val="tx2">
                        <a:alpha val="0"/>
                      </a:schemeClr>
                    </a:gs>
                  </a:gsLst>
                  <a:lin ang="0" scaled="1"/>
                  <a:tileRect/>
                </a:gra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4" name="Gerader Verbinder 813">
                <a:extLst>
                  <a:ext uri="{FF2B5EF4-FFF2-40B4-BE49-F238E27FC236}">
                    <a16:creationId xmlns:a16="http://schemas.microsoft.com/office/drawing/2014/main" id="{98933C6E-F829-45CC-B593-942EB4845D3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605588" y="4891855"/>
                <a:ext cx="1257300" cy="0"/>
              </a:xfrm>
              <a:prstGeom prst="line">
                <a:avLst/>
              </a:prstGeom>
              <a:ln w="12700" cap="rnd">
                <a:gradFill flip="none" rotWithShape="1">
                  <a:gsLst>
                    <a:gs pos="0">
                      <a:schemeClr val="tx2"/>
                    </a:gs>
                    <a:gs pos="100000">
                      <a:schemeClr val="tx2">
                        <a:alpha val="0"/>
                      </a:schemeClr>
                    </a:gs>
                  </a:gsLst>
                  <a:lin ang="0" scaled="1"/>
                  <a:tileRect/>
                </a:gra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7" name="Gerader Verbinder 816">
                <a:extLst>
                  <a:ext uri="{FF2B5EF4-FFF2-40B4-BE49-F238E27FC236}">
                    <a16:creationId xmlns:a16="http://schemas.microsoft.com/office/drawing/2014/main" id="{186EAAFC-B4AA-2468-1C65-AC10C206FB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86375" y="5282076"/>
                <a:ext cx="2724150" cy="0"/>
              </a:xfrm>
              <a:prstGeom prst="line">
                <a:avLst/>
              </a:prstGeom>
              <a:ln w="12700" cap="rnd">
                <a:gradFill flip="none" rotWithShape="1">
                  <a:gsLst>
                    <a:gs pos="0">
                      <a:schemeClr val="tx2"/>
                    </a:gs>
                    <a:gs pos="100000">
                      <a:schemeClr val="tx2">
                        <a:alpha val="0"/>
                      </a:schemeClr>
                    </a:gs>
                  </a:gsLst>
                  <a:lin ang="0" scaled="1"/>
                  <a:tileRect/>
                </a:gra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8" name="Gerader Verbinder 817">
                <a:extLst>
                  <a:ext uri="{FF2B5EF4-FFF2-40B4-BE49-F238E27FC236}">
                    <a16:creationId xmlns:a16="http://schemas.microsoft.com/office/drawing/2014/main" id="{B4A25F4C-25EE-8404-A233-6F92AFCA12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43563" y="5477187"/>
                <a:ext cx="2476500" cy="0"/>
              </a:xfrm>
              <a:prstGeom prst="line">
                <a:avLst/>
              </a:prstGeom>
              <a:ln w="12700" cap="rnd">
                <a:gradFill flip="none" rotWithShape="1">
                  <a:gsLst>
                    <a:gs pos="0">
                      <a:schemeClr val="tx2"/>
                    </a:gs>
                    <a:gs pos="100000">
                      <a:schemeClr val="tx2">
                        <a:alpha val="0"/>
                      </a:schemeClr>
                    </a:gs>
                  </a:gsLst>
                  <a:lin ang="0" scaled="1"/>
                  <a:tileRect/>
                </a:gra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9" name="Gerader Verbinder 818">
                <a:extLst>
                  <a:ext uri="{FF2B5EF4-FFF2-40B4-BE49-F238E27FC236}">
                    <a16:creationId xmlns:a16="http://schemas.microsoft.com/office/drawing/2014/main" id="{39AFDCBE-5B17-513D-E040-628CF8BA005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38800" y="5672298"/>
                <a:ext cx="2671763" cy="0"/>
              </a:xfrm>
              <a:prstGeom prst="line">
                <a:avLst/>
              </a:prstGeom>
              <a:ln w="12700" cap="rnd">
                <a:gradFill flip="none" rotWithShape="1">
                  <a:gsLst>
                    <a:gs pos="0">
                      <a:schemeClr val="tx2"/>
                    </a:gs>
                    <a:gs pos="100000">
                      <a:schemeClr val="tx2">
                        <a:alpha val="0"/>
                      </a:schemeClr>
                    </a:gs>
                  </a:gsLst>
                  <a:lin ang="0" scaled="1"/>
                  <a:tileRect/>
                </a:gra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0" name="Gerader Verbinder 819">
                <a:extLst>
                  <a:ext uri="{FF2B5EF4-FFF2-40B4-BE49-F238E27FC236}">
                    <a16:creationId xmlns:a16="http://schemas.microsoft.com/office/drawing/2014/main" id="{4FDE5AEE-A31A-F9EA-E687-6B1DF0570D7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283779" y="5867409"/>
                <a:ext cx="2274434" cy="0"/>
              </a:xfrm>
              <a:prstGeom prst="line">
                <a:avLst/>
              </a:prstGeom>
              <a:ln w="12700" cap="rnd">
                <a:gradFill flip="none" rotWithShape="1">
                  <a:gsLst>
                    <a:gs pos="0">
                      <a:schemeClr val="tx2"/>
                    </a:gs>
                    <a:gs pos="100000">
                      <a:schemeClr val="tx2">
                        <a:alpha val="0"/>
                      </a:schemeClr>
                    </a:gs>
                  </a:gsLst>
                  <a:lin ang="0" scaled="1"/>
                  <a:tileRect/>
                </a:gra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71" name="Gruppieren 870">
            <a:extLst>
              <a:ext uri="{FF2B5EF4-FFF2-40B4-BE49-F238E27FC236}">
                <a16:creationId xmlns:a16="http://schemas.microsoft.com/office/drawing/2014/main" id="{2B3FF9CD-B83C-D4F5-B0F8-93B4198E0337}"/>
              </a:ext>
            </a:extLst>
          </p:cNvPr>
          <p:cNvGrpSpPr>
            <a:grpSpLocks/>
          </p:cNvGrpSpPr>
          <p:nvPr/>
        </p:nvGrpSpPr>
        <p:grpSpPr>
          <a:xfrm>
            <a:off x="2347010" y="1929618"/>
            <a:ext cx="490972" cy="287633"/>
            <a:chOff x="7859888" y="229451"/>
            <a:chExt cx="897873" cy="526013"/>
          </a:xfrm>
        </p:grpSpPr>
        <p:sp>
          <p:nvSpPr>
            <p:cNvPr id="872" name="Rectangle 535">
              <a:extLst>
                <a:ext uri="{FF2B5EF4-FFF2-40B4-BE49-F238E27FC236}">
                  <a16:creationId xmlns:a16="http://schemas.microsoft.com/office/drawing/2014/main" id="{18739710-CEE9-0F52-74F9-2464F24656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59888" y="229451"/>
              <a:ext cx="897873" cy="526013"/>
            </a:xfrm>
            <a:prstGeom prst="rect">
              <a:avLst/>
            </a:prstGeom>
            <a:solidFill>
              <a:srgbClr val="CC17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73" name="Freeform 536">
              <a:extLst>
                <a:ext uri="{FF2B5EF4-FFF2-40B4-BE49-F238E27FC236}">
                  <a16:creationId xmlns:a16="http://schemas.microsoft.com/office/drawing/2014/main" id="{6FE54812-4361-0D2A-1F94-51B4EB5890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3985" y="287639"/>
              <a:ext cx="409679" cy="410414"/>
            </a:xfrm>
            <a:custGeom>
              <a:avLst/>
              <a:gdLst>
                <a:gd name="T0" fmla="*/ 184 w 527"/>
                <a:gd name="T1" fmla="*/ 0 h 529"/>
                <a:gd name="T2" fmla="*/ 184 w 527"/>
                <a:gd name="T3" fmla="*/ 185 h 529"/>
                <a:gd name="T4" fmla="*/ 0 w 527"/>
                <a:gd name="T5" fmla="*/ 185 h 529"/>
                <a:gd name="T6" fmla="*/ 0 w 527"/>
                <a:gd name="T7" fmla="*/ 343 h 529"/>
                <a:gd name="T8" fmla="*/ 184 w 527"/>
                <a:gd name="T9" fmla="*/ 343 h 529"/>
                <a:gd name="T10" fmla="*/ 184 w 527"/>
                <a:gd name="T11" fmla="*/ 529 h 529"/>
                <a:gd name="T12" fmla="*/ 343 w 527"/>
                <a:gd name="T13" fmla="*/ 529 h 529"/>
                <a:gd name="T14" fmla="*/ 343 w 527"/>
                <a:gd name="T15" fmla="*/ 343 h 529"/>
                <a:gd name="T16" fmla="*/ 527 w 527"/>
                <a:gd name="T17" fmla="*/ 343 h 529"/>
                <a:gd name="T18" fmla="*/ 527 w 527"/>
                <a:gd name="T19" fmla="*/ 185 h 529"/>
                <a:gd name="T20" fmla="*/ 343 w 527"/>
                <a:gd name="T21" fmla="*/ 185 h 529"/>
                <a:gd name="T22" fmla="*/ 343 w 527"/>
                <a:gd name="T23" fmla="*/ 0 h 529"/>
                <a:gd name="T24" fmla="*/ 184 w 527"/>
                <a:gd name="T25" fmla="*/ 0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7" h="529">
                  <a:moveTo>
                    <a:pt x="184" y="0"/>
                  </a:moveTo>
                  <a:lnTo>
                    <a:pt x="184" y="185"/>
                  </a:lnTo>
                  <a:lnTo>
                    <a:pt x="0" y="185"/>
                  </a:lnTo>
                  <a:lnTo>
                    <a:pt x="0" y="343"/>
                  </a:lnTo>
                  <a:lnTo>
                    <a:pt x="184" y="343"/>
                  </a:lnTo>
                  <a:lnTo>
                    <a:pt x="184" y="529"/>
                  </a:lnTo>
                  <a:lnTo>
                    <a:pt x="343" y="529"/>
                  </a:lnTo>
                  <a:lnTo>
                    <a:pt x="343" y="343"/>
                  </a:lnTo>
                  <a:lnTo>
                    <a:pt x="527" y="343"/>
                  </a:lnTo>
                  <a:lnTo>
                    <a:pt x="527" y="185"/>
                  </a:lnTo>
                  <a:lnTo>
                    <a:pt x="343" y="185"/>
                  </a:lnTo>
                  <a:lnTo>
                    <a:pt x="343" y="0"/>
                  </a:lnTo>
                  <a:lnTo>
                    <a:pt x="18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117753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700BBBE-146C-270F-C6BB-A2F75DD2C1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2126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306" imgH="306" progId="TCLayout.ActiveDocument.1">
                  <p:embed/>
                </p:oleObj>
              </mc:Choice>
              <mc:Fallback>
                <p:oleObj name="think-cell Folie" r:id="rId1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700BBBE-146C-270F-C6BB-A2F75DD2C1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F4E181F-0572-83FC-3FA6-FB61C80967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Elektronisches Gesundheitsdossier Liechtenstei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CC98072-7B36-34B4-1D76-81A97B2F41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CB4BF9D-6D13-D9B0-65E7-C877635F4E9F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pt-BR"/>
              <a:t>A91GER-H-001672-E4</a:t>
            </a:r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52379F15-DCA2-A2A8-58D1-9EC2B18903F6}"/>
              </a:ext>
            </a:extLst>
          </p:cNvPr>
          <p:cNvCxnSpPr>
            <a:cxnSpLocks/>
          </p:cNvCxnSpPr>
          <p:nvPr/>
        </p:nvCxnSpPr>
        <p:spPr>
          <a:xfrm>
            <a:off x="3175002" y="2136485"/>
            <a:ext cx="8994773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42D62FB4-AD84-FB38-E052-1E05376319E3}"/>
              </a:ext>
            </a:extLst>
          </p:cNvPr>
          <p:cNvGrpSpPr>
            <a:grpSpLocks/>
          </p:cNvGrpSpPr>
          <p:nvPr/>
        </p:nvGrpSpPr>
        <p:grpSpPr>
          <a:xfrm flipH="1">
            <a:off x="0" y="1619250"/>
            <a:ext cx="3175003" cy="5238751"/>
            <a:chOff x="8994773" y="1619250"/>
            <a:chExt cx="3175003" cy="5238751"/>
          </a:xfrm>
        </p:grpSpPr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8C965DAB-C2D7-BE78-484D-86F22D1526F3}"/>
                </a:ext>
              </a:extLst>
            </p:cNvPr>
            <p:cNvSpPr/>
            <p:nvPr/>
          </p:nvSpPr>
          <p:spPr>
            <a:xfrm>
              <a:off x="8994773" y="1619250"/>
              <a:ext cx="3175003" cy="5238751"/>
            </a:xfrm>
            <a:custGeom>
              <a:avLst/>
              <a:gdLst>
                <a:gd name="connsiteX0" fmla="*/ 2641103 w 3175003"/>
                <a:gd name="connsiteY0" fmla="*/ 0 h 5238751"/>
                <a:gd name="connsiteX1" fmla="*/ 3175003 w 3175003"/>
                <a:gd name="connsiteY1" fmla="*/ 1401789 h 5238751"/>
                <a:gd name="connsiteX2" fmla="*/ 3175003 w 3175003"/>
                <a:gd name="connsiteY2" fmla="*/ 5238751 h 5238751"/>
                <a:gd name="connsiteX3" fmla="*/ 252737 w 3175003"/>
                <a:gd name="connsiteY3" fmla="*/ 5238751 h 5238751"/>
                <a:gd name="connsiteX4" fmla="*/ 0 w 3175003"/>
                <a:gd name="connsiteY4" fmla="*/ 4575174 h 5238751"/>
                <a:gd name="connsiteX5" fmla="*/ 2641103 w 3175003"/>
                <a:gd name="connsiteY5" fmla="*/ 4575174 h 5238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5003" h="5238751">
                  <a:moveTo>
                    <a:pt x="2641103" y="0"/>
                  </a:moveTo>
                  <a:lnTo>
                    <a:pt x="3175003" y="1401789"/>
                  </a:lnTo>
                  <a:lnTo>
                    <a:pt x="3175003" y="5238751"/>
                  </a:lnTo>
                  <a:lnTo>
                    <a:pt x="252737" y="5238751"/>
                  </a:lnTo>
                  <a:lnTo>
                    <a:pt x="0" y="4575174"/>
                  </a:lnTo>
                  <a:lnTo>
                    <a:pt x="2641103" y="4575174"/>
                  </a:lnTo>
                  <a:close/>
                </a:path>
              </a:pathLst>
            </a:custGeom>
            <a:pattFill prst="wdDnDiag">
              <a:fgClr>
                <a:srgbClr val="ECECEC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8430F975-D32D-4B21-4F68-EC3AE9574F6D}"/>
                </a:ext>
              </a:extLst>
            </p:cNvPr>
            <p:cNvSpPr txBox="1">
              <a:spLocks/>
            </p:cNvSpPr>
            <p:nvPr/>
          </p:nvSpPr>
          <p:spPr>
            <a:xfrm>
              <a:off x="8994774" y="1619250"/>
              <a:ext cx="2633663" cy="4575175"/>
            </a:xfrm>
            <a:prstGeom prst="rect">
              <a:avLst/>
            </a:prstGeom>
            <a:solidFill>
              <a:srgbClr val="ECECEC"/>
            </a:solidFill>
            <a:effectLst>
              <a:outerShdw blurRad="50800" dist="38100" dir="8100000" algn="tr" rotWithShape="0">
                <a:prstClr val="black">
                  <a:alpha val="8000"/>
                </a:prstClr>
              </a:outerShdw>
            </a:effectLst>
          </p:spPr>
          <p:txBody>
            <a:bodyPr wrap="square" lIns="180000" tIns="144000" rIns="180000" bIns="0" rtlCol="0" anchor="t">
              <a:noAutofit/>
            </a:bodyPr>
            <a:lstStyle/>
            <a:p>
              <a:pPr>
                <a:spcAft>
                  <a:spcPts val="300"/>
                </a:spcAft>
              </a:pPr>
              <a:endParaRPr lang="de-DE" sz="4400"/>
            </a:p>
          </p:txBody>
        </p:sp>
      </p:grpSp>
      <p:sp>
        <p:nvSpPr>
          <p:cNvPr id="14" name="Ellipse 13">
            <a:extLst>
              <a:ext uri="{FF2B5EF4-FFF2-40B4-BE49-F238E27FC236}">
                <a16:creationId xmlns:a16="http://schemas.microsoft.com/office/drawing/2014/main" id="{C9DA6F67-A721-C0A9-E71B-57D1A77AB283}"/>
              </a:ext>
            </a:extLst>
          </p:cNvPr>
          <p:cNvSpPr>
            <a:spLocks/>
          </p:cNvSpPr>
          <p:nvPr/>
        </p:nvSpPr>
        <p:spPr>
          <a:xfrm>
            <a:off x="3816995" y="2079335"/>
            <a:ext cx="114300" cy="1143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96FE300F-72EC-03BD-A3D4-5624B0520E84}"/>
              </a:ext>
            </a:extLst>
          </p:cNvPr>
          <p:cNvSpPr>
            <a:spLocks/>
          </p:cNvSpPr>
          <p:nvPr/>
        </p:nvSpPr>
        <p:spPr>
          <a:xfrm>
            <a:off x="5265172" y="2079335"/>
            <a:ext cx="114300" cy="1143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CA3495D1-1C23-6AEF-F6F2-241356BA6CAC}"/>
              </a:ext>
            </a:extLst>
          </p:cNvPr>
          <p:cNvSpPr>
            <a:spLocks/>
          </p:cNvSpPr>
          <p:nvPr/>
        </p:nvSpPr>
        <p:spPr>
          <a:xfrm>
            <a:off x="6713348" y="2079335"/>
            <a:ext cx="114300" cy="1143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74F090E3-6A60-A872-756A-A687553F8427}"/>
              </a:ext>
            </a:extLst>
          </p:cNvPr>
          <p:cNvSpPr>
            <a:spLocks/>
          </p:cNvSpPr>
          <p:nvPr/>
        </p:nvSpPr>
        <p:spPr>
          <a:xfrm>
            <a:off x="8161525" y="2079335"/>
            <a:ext cx="114300" cy="1143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7A1CB417-2CAF-BD49-EE3F-E344CD66E2C2}"/>
              </a:ext>
            </a:extLst>
          </p:cNvPr>
          <p:cNvSpPr>
            <a:spLocks/>
          </p:cNvSpPr>
          <p:nvPr/>
        </p:nvSpPr>
        <p:spPr>
          <a:xfrm>
            <a:off x="9609702" y="2079335"/>
            <a:ext cx="114300" cy="1143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7E3CED93-11DB-87CD-B0F1-E49494772E34}"/>
              </a:ext>
            </a:extLst>
          </p:cNvPr>
          <p:cNvSpPr>
            <a:spLocks/>
          </p:cNvSpPr>
          <p:nvPr/>
        </p:nvSpPr>
        <p:spPr>
          <a:xfrm>
            <a:off x="11057879" y="2079335"/>
            <a:ext cx="114300" cy="1143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extBox 419">
            <a:extLst>
              <a:ext uri="{FF2B5EF4-FFF2-40B4-BE49-F238E27FC236}">
                <a16:creationId xmlns:a16="http://schemas.microsoft.com/office/drawing/2014/main" id="{EFFD23A1-B978-D662-11F3-57550A360643}"/>
              </a:ext>
            </a:extLst>
          </p:cNvPr>
          <p:cNvSpPr txBox="1">
            <a:spLocks/>
          </p:cNvSpPr>
          <p:nvPr/>
        </p:nvSpPr>
        <p:spPr>
          <a:xfrm>
            <a:off x="6257091" y="1757078"/>
            <a:ext cx="102681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527</a:t>
            </a:r>
          </a:p>
        </p:txBody>
      </p:sp>
      <p:sp>
        <p:nvSpPr>
          <p:cNvPr id="22" name="TextBox 419">
            <a:extLst>
              <a:ext uri="{FF2B5EF4-FFF2-40B4-BE49-F238E27FC236}">
                <a16:creationId xmlns:a16="http://schemas.microsoft.com/office/drawing/2014/main" id="{D00E4E0C-B232-C651-2542-2AE7B3757C9E}"/>
              </a:ext>
            </a:extLst>
          </p:cNvPr>
          <p:cNvSpPr txBox="1">
            <a:spLocks/>
          </p:cNvSpPr>
          <p:nvPr/>
        </p:nvSpPr>
        <p:spPr>
          <a:xfrm>
            <a:off x="6257091" y="2262379"/>
            <a:ext cx="1026814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Gesundheits-dienstleister</a:t>
            </a:r>
          </a:p>
        </p:txBody>
      </p:sp>
      <p:sp>
        <p:nvSpPr>
          <p:cNvPr id="23" name="TextBox 426">
            <a:extLst>
              <a:ext uri="{FF2B5EF4-FFF2-40B4-BE49-F238E27FC236}">
                <a16:creationId xmlns:a16="http://schemas.microsoft.com/office/drawing/2014/main" id="{208E4B7D-0E75-F6C4-ABE7-492067FA55A1}"/>
              </a:ext>
            </a:extLst>
          </p:cNvPr>
          <p:cNvSpPr txBox="1">
            <a:spLocks/>
          </p:cNvSpPr>
          <p:nvPr/>
        </p:nvSpPr>
        <p:spPr>
          <a:xfrm>
            <a:off x="3360738" y="1757078"/>
            <a:ext cx="102681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124</a:t>
            </a:r>
          </a:p>
        </p:txBody>
      </p:sp>
      <p:sp>
        <p:nvSpPr>
          <p:cNvPr id="24" name="TextBox 426">
            <a:extLst>
              <a:ext uri="{FF2B5EF4-FFF2-40B4-BE49-F238E27FC236}">
                <a16:creationId xmlns:a16="http://schemas.microsoft.com/office/drawing/2014/main" id="{BA1BBABC-24BA-346B-C624-DA765E8FEDDB}"/>
              </a:ext>
            </a:extLst>
          </p:cNvPr>
          <p:cNvSpPr txBox="1">
            <a:spLocks/>
          </p:cNvSpPr>
          <p:nvPr/>
        </p:nvSpPr>
        <p:spPr>
          <a:xfrm>
            <a:off x="3360738" y="2262379"/>
            <a:ext cx="1026814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Ärztepersonal</a:t>
            </a:r>
          </a:p>
        </p:txBody>
      </p:sp>
      <p:sp>
        <p:nvSpPr>
          <p:cNvPr id="25" name="TextBox 429">
            <a:extLst>
              <a:ext uri="{FF2B5EF4-FFF2-40B4-BE49-F238E27FC236}">
                <a16:creationId xmlns:a16="http://schemas.microsoft.com/office/drawing/2014/main" id="{DD44AC54-999B-EE43-742C-3F67D1885A20}"/>
              </a:ext>
            </a:extLst>
          </p:cNvPr>
          <p:cNvSpPr txBox="1">
            <a:spLocks/>
          </p:cNvSpPr>
          <p:nvPr/>
        </p:nvSpPr>
        <p:spPr>
          <a:xfrm>
            <a:off x="10601622" y="1757078"/>
            <a:ext cx="102681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26" name="TextBox 429">
            <a:extLst>
              <a:ext uri="{FF2B5EF4-FFF2-40B4-BE49-F238E27FC236}">
                <a16:creationId xmlns:a16="http://schemas.microsoft.com/office/drawing/2014/main" id="{9D8D6D94-756D-B228-C286-FD47A3A55CE1}"/>
              </a:ext>
            </a:extLst>
          </p:cNvPr>
          <p:cNvSpPr txBox="1">
            <a:spLocks/>
          </p:cNvSpPr>
          <p:nvPr/>
        </p:nvSpPr>
        <p:spPr>
          <a:xfrm>
            <a:off x="10601622" y="2262379"/>
            <a:ext cx="1026814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Labor</a:t>
            </a:r>
          </a:p>
        </p:txBody>
      </p:sp>
      <p:sp>
        <p:nvSpPr>
          <p:cNvPr id="27" name="TextBox 432">
            <a:extLst>
              <a:ext uri="{FF2B5EF4-FFF2-40B4-BE49-F238E27FC236}">
                <a16:creationId xmlns:a16="http://schemas.microsoft.com/office/drawing/2014/main" id="{5D1E65DC-A517-5C5C-D094-B805FD84735C}"/>
              </a:ext>
            </a:extLst>
          </p:cNvPr>
          <p:cNvSpPr txBox="1">
            <a:spLocks/>
          </p:cNvSpPr>
          <p:nvPr/>
        </p:nvSpPr>
        <p:spPr>
          <a:xfrm>
            <a:off x="7705268" y="1757078"/>
            <a:ext cx="102681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28" name="TextBox 432">
            <a:extLst>
              <a:ext uri="{FF2B5EF4-FFF2-40B4-BE49-F238E27FC236}">
                <a16:creationId xmlns:a16="http://schemas.microsoft.com/office/drawing/2014/main" id="{2D20758C-B10E-7366-8C60-8C6EC5397D86}"/>
              </a:ext>
            </a:extLst>
          </p:cNvPr>
          <p:cNvSpPr txBox="1">
            <a:spLocks/>
          </p:cNvSpPr>
          <p:nvPr/>
        </p:nvSpPr>
        <p:spPr>
          <a:xfrm>
            <a:off x="7705268" y="2262379"/>
            <a:ext cx="1026814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Kliniken/Spitäler</a:t>
            </a:r>
          </a:p>
        </p:txBody>
      </p:sp>
      <p:sp>
        <p:nvSpPr>
          <p:cNvPr id="29" name="TextBox 435">
            <a:extLst>
              <a:ext uri="{FF2B5EF4-FFF2-40B4-BE49-F238E27FC236}">
                <a16:creationId xmlns:a16="http://schemas.microsoft.com/office/drawing/2014/main" id="{9A9D7FC9-1BF4-60A2-0BAD-13858D320078}"/>
              </a:ext>
            </a:extLst>
          </p:cNvPr>
          <p:cNvSpPr txBox="1">
            <a:spLocks/>
          </p:cNvSpPr>
          <p:nvPr/>
        </p:nvSpPr>
        <p:spPr>
          <a:xfrm>
            <a:off x="9153445" y="1757078"/>
            <a:ext cx="102681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75</a:t>
            </a:r>
          </a:p>
        </p:txBody>
      </p:sp>
      <p:sp>
        <p:nvSpPr>
          <p:cNvPr id="30" name="TextBox 435">
            <a:extLst>
              <a:ext uri="{FF2B5EF4-FFF2-40B4-BE49-F238E27FC236}">
                <a16:creationId xmlns:a16="http://schemas.microsoft.com/office/drawing/2014/main" id="{30B73240-5EA0-0E25-5C3F-A190DBA98F27}"/>
              </a:ext>
            </a:extLst>
          </p:cNvPr>
          <p:cNvSpPr txBox="1">
            <a:spLocks/>
          </p:cNvSpPr>
          <p:nvPr/>
        </p:nvSpPr>
        <p:spPr>
          <a:xfrm>
            <a:off x="9018129" y="2262379"/>
            <a:ext cx="129744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Niederlassungen</a:t>
            </a:r>
          </a:p>
        </p:txBody>
      </p:sp>
      <p:sp>
        <p:nvSpPr>
          <p:cNvPr id="33" name="TextBox 422">
            <a:extLst>
              <a:ext uri="{FF2B5EF4-FFF2-40B4-BE49-F238E27FC236}">
                <a16:creationId xmlns:a16="http://schemas.microsoft.com/office/drawing/2014/main" id="{B286F248-E7D0-CE9F-D38C-8F3412FC134B}"/>
              </a:ext>
            </a:extLst>
          </p:cNvPr>
          <p:cNvSpPr txBox="1">
            <a:spLocks/>
          </p:cNvSpPr>
          <p:nvPr/>
        </p:nvSpPr>
        <p:spPr>
          <a:xfrm>
            <a:off x="4808915" y="1757078"/>
            <a:ext cx="102681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40.000</a:t>
            </a:r>
          </a:p>
        </p:txBody>
      </p:sp>
      <p:sp>
        <p:nvSpPr>
          <p:cNvPr id="34" name="TextBox 422">
            <a:extLst>
              <a:ext uri="{FF2B5EF4-FFF2-40B4-BE49-F238E27FC236}">
                <a16:creationId xmlns:a16="http://schemas.microsoft.com/office/drawing/2014/main" id="{796EEFE9-5395-9435-5206-4C453E4C5C1A}"/>
              </a:ext>
            </a:extLst>
          </p:cNvPr>
          <p:cNvSpPr txBox="1">
            <a:spLocks/>
          </p:cNvSpPr>
          <p:nvPr/>
        </p:nvSpPr>
        <p:spPr>
          <a:xfrm>
            <a:off x="4808915" y="2262379"/>
            <a:ext cx="1026814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Bürger*innen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74AF252E-0298-DBE8-6368-908EF1C961A9}"/>
              </a:ext>
            </a:extLst>
          </p:cNvPr>
          <p:cNvSpPr/>
          <p:nvPr/>
        </p:nvSpPr>
        <p:spPr>
          <a:xfrm>
            <a:off x="3360738" y="2895600"/>
            <a:ext cx="8267700" cy="3298825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l">
              <a:spcAft>
                <a:spcPts val="600"/>
              </a:spcAft>
            </a:pPr>
            <a:r>
              <a:rPr lang="de-DE" sz="1200" b="1">
                <a:solidFill>
                  <a:schemeClr val="tx1"/>
                </a:solidFill>
              </a:rPr>
              <a:t>Das </a:t>
            </a:r>
            <a:r>
              <a:rPr lang="de-DE" sz="1200" b="1" err="1">
                <a:solidFill>
                  <a:schemeClr val="tx1"/>
                </a:solidFill>
              </a:rPr>
              <a:t>eGD</a:t>
            </a:r>
            <a:r>
              <a:rPr lang="de-DE" sz="1200" b="1">
                <a:solidFill>
                  <a:schemeClr val="tx1"/>
                </a:solidFill>
              </a:rPr>
              <a:t> basiert auf dem </a:t>
            </a:r>
            <a:r>
              <a:rPr lang="de-DE" sz="1200" b="1" err="1">
                <a:solidFill>
                  <a:schemeClr val="tx1"/>
                </a:solidFill>
              </a:rPr>
              <a:t>Opt</a:t>
            </a:r>
            <a:r>
              <a:rPr lang="de-DE" sz="1200" b="1">
                <a:solidFill>
                  <a:schemeClr val="tx1"/>
                </a:solidFill>
              </a:rPr>
              <a:t>-Out Prinzip und Patientinnen </a:t>
            </a:r>
            <a:br>
              <a:rPr lang="de-DE" sz="1200" b="1">
                <a:solidFill>
                  <a:schemeClr val="tx1"/>
                </a:solidFill>
              </a:rPr>
            </a:br>
            <a:r>
              <a:rPr lang="de-DE" sz="1200" b="1">
                <a:solidFill>
                  <a:schemeClr val="tx1"/>
                </a:solidFill>
              </a:rPr>
              <a:t>&amp; Patienten haben folgende Möglichkeiten:</a:t>
            </a:r>
          </a:p>
          <a:p>
            <a:pPr algn="l">
              <a:spcAft>
                <a:spcPts val="600"/>
              </a:spcAft>
            </a:pPr>
            <a:endParaRPr lang="de-DE" sz="1200">
              <a:solidFill>
                <a:schemeClr val="tx1"/>
              </a:solidFill>
            </a:endParaRPr>
          </a:p>
          <a:p>
            <a:pPr marL="182563" indent="-182563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200">
                <a:solidFill>
                  <a:schemeClr val="tx1"/>
                </a:solidFill>
              </a:rPr>
              <a:t>Gesundheitsdaten über die Mobile App </a:t>
            </a:r>
            <a:r>
              <a:rPr lang="de-DE" sz="1200" err="1">
                <a:solidFill>
                  <a:schemeClr val="tx1"/>
                </a:solidFill>
              </a:rPr>
              <a:t>eGD</a:t>
            </a:r>
            <a:r>
              <a:rPr lang="de-DE" sz="1200">
                <a:solidFill>
                  <a:schemeClr val="tx1"/>
                </a:solidFill>
              </a:rPr>
              <a:t> oder am PC jederzeit einsehen</a:t>
            </a:r>
          </a:p>
          <a:p>
            <a:pPr marL="182563" indent="-182563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200">
                <a:solidFill>
                  <a:schemeClr val="tx1"/>
                </a:solidFill>
              </a:rPr>
              <a:t>Gesundheitsdaten löschen/ausblenden</a:t>
            </a:r>
          </a:p>
          <a:p>
            <a:pPr marL="182563" indent="-182563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200">
                <a:solidFill>
                  <a:schemeClr val="tx1"/>
                </a:solidFill>
              </a:rPr>
              <a:t>Zugriffsrechte selbst verwalten</a:t>
            </a:r>
          </a:p>
          <a:p>
            <a:pPr marL="182563" indent="-182563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200">
                <a:solidFill>
                  <a:schemeClr val="tx1"/>
                </a:solidFill>
              </a:rPr>
              <a:t>Zugriffsrechte direkt beim Arztbesuch vor Ort regeln</a:t>
            </a:r>
          </a:p>
          <a:p>
            <a:pPr marL="182563" indent="-182563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200">
                <a:solidFill>
                  <a:schemeClr val="tx1"/>
                </a:solidFill>
              </a:rPr>
              <a:t>Widerspruch zum </a:t>
            </a:r>
            <a:r>
              <a:rPr lang="de-DE" sz="1200" err="1">
                <a:solidFill>
                  <a:schemeClr val="tx1"/>
                </a:solidFill>
              </a:rPr>
              <a:t>eGD</a:t>
            </a:r>
            <a:r>
              <a:rPr lang="de-DE" sz="1200">
                <a:solidFill>
                  <a:schemeClr val="tx1"/>
                </a:solidFill>
              </a:rPr>
              <a:t> einlegen oder Löschung des </a:t>
            </a:r>
            <a:r>
              <a:rPr lang="de-DE" sz="1200" err="1">
                <a:solidFill>
                  <a:schemeClr val="tx1"/>
                </a:solidFill>
              </a:rPr>
              <a:t>eGD</a:t>
            </a:r>
            <a:r>
              <a:rPr lang="de-DE" sz="1200">
                <a:solidFill>
                  <a:schemeClr val="tx1"/>
                </a:solidFill>
              </a:rPr>
              <a:t> beantragen</a:t>
            </a:r>
          </a:p>
          <a:p>
            <a:pPr algn="l">
              <a:spcAft>
                <a:spcPts val="600"/>
              </a:spcAft>
            </a:pP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B8FFAF6D-1AFC-54F3-6860-786673C4DF5E}"/>
              </a:ext>
            </a:extLst>
          </p:cNvPr>
          <p:cNvSpPr>
            <a:spLocks/>
          </p:cNvSpPr>
          <p:nvPr/>
        </p:nvSpPr>
        <p:spPr>
          <a:xfrm>
            <a:off x="753628" y="1826246"/>
            <a:ext cx="2201842" cy="1678954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tlCol="0" anchor="t"/>
          <a:lstStyle/>
          <a:p>
            <a:pPr algn="l"/>
            <a:endParaRPr lang="de-DE" sz="1200" b="1">
              <a:solidFill>
                <a:schemeClr val="tx1"/>
              </a:solidFill>
            </a:endParaRPr>
          </a:p>
        </p:txBody>
      </p:sp>
      <p:pic>
        <p:nvPicPr>
          <p:cNvPr id="37" name="Picture 6" descr="eGD Portal">
            <a:extLst>
              <a:ext uri="{FF2B5EF4-FFF2-40B4-BE49-F238E27FC236}">
                <a16:creationId xmlns:a16="http://schemas.microsoft.com/office/drawing/2014/main" id="{515460D8-A2BC-ADC1-2087-99B16C4EF3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119" y="1975300"/>
            <a:ext cx="1874157" cy="1380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8" name="Group 3">
            <a:extLst>
              <a:ext uri="{FF2B5EF4-FFF2-40B4-BE49-F238E27FC236}">
                <a16:creationId xmlns:a16="http://schemas.microsoft.com/office/drawing/2014/main" id="{9813C204-EDB7-E97C-5AAA-0FDE7B19CDB0}"/>
              </a:ext>
            </a:extLst>
          </p:cNvPr>
          <p:cNvGrpSpPr>
            <a:grpSpLocks noChangeAspect="1"/>
          </p:cNvGrpSpPr>
          <p:nvPr/>
        </p:nvGrpSpPr>
        <p:grpSpPr>
          <a:xfrm>
            <a:off x="1460500" y="3871170"/>
            <a:ext cx="931608" cy="2058823"/>
            <a:chOff x="3561660" y="1700212"/>
            <a:chExt cx="2020681" cy="4465638"/>
          </a:xfrm>
          <a:solidFill>
            <a:schemeClr val="bg2"/>
          </a:solidFill>
        </p:grpSpPr>
        <p:sp>
          <p:nvSpPr>
            <p:cNvPr id="39" name="Freeform 2">
              <a:extLst>
                <a:ext uri="{FF2B5EF4-FFF2-40B4-BE49-F238E27FC236}">
                  <a16:creationId xmlns:a16="http://schemas.microsoft.com/office/drawing/2014/main" id="{92368362-8908-01D3-0DAE-DF95E74042D0}"/>
                </a:ext>
              </a:extLst>
            </p:cNvPr>
            <p:cNvSpPr>
              <a:spLocks noChangeAspect="1"/>
            </p:cNvSpPr>
            <p:nvPr>
              <p:custDataLst>
                <p:tags r:id="rId2"/>
              </p:custDataLst>
            </p:nvPr>
          </p:nvSpPr>
          <p:spPr>
            <a:xfrm>
              <a:off x="4303074" y="3865950"/>
              <a:ext cx="1279267" cy="1764833"/>
            </a:xfrm>
            <a:custGeom>
              <a:avLst/>
              <a:gdLst/>
              <a:ahLst/>
              <a:cxnLst/>
              <a:rect l="l" t="t" r="r" b="b"/>
              <a:pathLst>
                <a:path w="1279267" h="1764833">
                  <a:moveTo>
                    <a:pt x="931683" y="1050221"/>
                  </a:moveTo>
                  <a:lnTo>
                    <a:pt x="1052185" y="1061965"/>
                  </a:lnTo>
                  <a:lnTo>
                    <a:pt x="1256614" y="1062128"/>
                  </a:lnTo>
                  <a:lnTo>
                    <a:pt x="1279267" y="1145581"/>
                  </a:lnTo>
                  <a:lnTo>
                    <a:pt x="1179680" y="1697349"/>
                  </a:lnTo>
                  <a:lnTo>
                    <a:pt x="1126720" y="1764833"/>
                  </a:lnTo>
                  <a:lnTo>
                    <a:pt x="1060637" y="1663920"/>
                  </a:lnTo>
                  <a:lnTo>
                    <a:pt x="1020329" y="1486881"/>
                  </a:lnTo>
                  <a:lnTo>
                    <a:pt x="1028258" y="1309809"/>
                  </a:lnTo>
                  <a:close/>
                  <a:moveTo>
                    <a:pt x="305117" y="0"/>
                  </a:moveTo>
                  <a:lnTo>
                    <a:pt x="409457" y="153417"/>
                  </a:lnTo>
                  <a:lnTo>
                    <a:pt x="521856" y="271441"/>
                  </a:lnTo>
                  <a:lnTo>
                    <a:pt x="489784" y="495716"/>
                  </a:lnTo>
                  <a:lnTo>
                    <a:pt x="618274" y="590087"/>
                  </a:lnTo>
                  <a:lnTo>
                    <a:pt x="674555" y="790694"/>
                  </a:lnTo>
                  <a:lnTo>
                    <a:pt x="706795" y="1109353"/>
                  </a:lnTo>
                  <a:lnTo>
                    <a:pt x="594347" y="1133032"/>
                  </a:lnTo>
                  <a:lnTo>
                    <a:pt x="602438" y="1333656"/>
                  </a:lnTo>
                  <a:lnTo>
                    <a:pt x="586415" y="1534288"/>
                  </a:lnTo>
                  <a:lnTo>
                    <a:pt x="481950" y="1522492"/>
                  </a:lnTo>
                  <a:lnTo>
                    <a:pt x="425674" y="1369076"/>
                  </a:lnTo>
                  <a:lnTo>
                    <a:pt x="297113" y="1345526"/>
                  </a:lnTo>
                  <a:lnTo>
                    <a:pt x="144468" y="1227475"/>
                  </a:lnTo>
                  <a:lnTo>
                    <a:pt x="104345" y="967821"/>
                  </a:lnTo>
                  <a:lnTo>
                    <a:pt x="88304" y="755372"/>
                  </a:lnTo>
                  <a:lnTo>
                    <a:pt x="0" y="637310"/>
                  </a:lnTo>
                  <a:lnTo>
                    <a:pt x="8088" y="377663"/>
                  </a:lnTo>
                  <a:lnTo>
                    <a:pt x="64296" y="318652"/>
                  </a:lnTo>
                  <a:lnTo>
                    <a:pt x="216815" y="318670"/>
                  </a:lnTo>
                  <a:lnTo>
                    <a:pt x="264984" y="188887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0C5DD9A9-B76E-5DCC-E1D6-04094F51EA8A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3951826" y="4503260"/>
              <a:ext cx="1234200" cy="1662590"/>
            </a:xfrm>
            <a:custGeom>
              <a:avLst/>
              <a:gdLst/>
              <a:ahLst/>
              <a:cxnLst/>
              <a:rect l="0" t="0" r="0" b="0"/>
              <a:pathLst>
                <a:path w="1234200" h="1662590">
                  <a:moveTo>
                    <a:pt x="833198" y="885182"/>
                  </a:moveTo>
                  <a:lnTo>
                    <a:pt x="744820" y="1015060"/>
                  </a:lnTo>
                  <a:lnTo>
                    <a:pt x="833251" y="1168472"/>
                  </a:lnTo>
                  <a:lnTo>
                    <a:pt x="977935" y="1168435"/>
                  </a:lnTo>
                  <a:lnTo>
                    <a:pt x="993957" y="1015005"/>
                  </a:lnTo>
                  <a:lnTo>
                    <a:pt x="937663" y="896978"/>
                  </a:lnTo>
                  <a:lnTo>
                    <a:pt x="1154652" y="932358"/>
                  </a:lnTo>
                  <a:lnTo>
                    <a:pt x="1178893" y="1180174"/>
                  </a:lnTo>
                  <a:lnTo>
                    <a:pt x="1234199" y="1437932"/>
                  </a:lnTo>
                  <a:lnTo>
                    <a:pt x="1132324" y="1567605"/>
                  </a:lnTo>
                  <a:lnTo>
                    <a:pt x="834958" y="1662589"/>
                  </a:lnTo>
                  <a:lnTo>
                    <a:pt x="437274" y="1596124"/>
                  </a:lnTo>
                  <a:lnTo>
                    <a:pt x="423261" y="1451764"/>
                  </a:lnTo>
                  <a:lnTo>
                    <a:pt x="383106" y="1274690"/>
                  </a:lnTo>
                  <a:lnTo>
                    <a:pt x="286681" y="1109420"/>
                  </a:lnTo>
                  <a:lnTo>
                    <a:pt x="278699" y="932432"/>
                  </a:lnTo>
                  <a:lnTo>
                    <a:pt x="134061" y="896917"/>
                  </a:lnTo>
                  <a:lnTo>
                    <a:pt x="0" y="764720"/>
                  </a:lnTo>
                  <a:lnTo>
                    <a:pt x="137518" y="481821"/>
                  </a:lnTo>
                  <a:lnTo>
                    <a:pt x="130248" y="28829"/>
                  </a:lnTo>
                  <a:lnTo>
                    <a:pt x="351248" y="0"/>
                  </a:lnTo>
                  <a:lnTo>
                    <a:pt x="439552" y="118062"/>
                  </a:lnTo>
                  <a:lnTo>
                    <a:pt x="455593" y="330511"/>
                  </a:lnTo>
                  <a:lnTo>
                    <a:pt x="495716" y="590165"/>
                  </a:lnTo>
                  <a:lnTo>
                    <a:pt x="648361" y="708216"/>
                  </a:lnTo>
                  <a:lnTo>
                    <a:pt x="776922" y="731766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5">
              <a:extLst>
                <a:ext uri="{FF2B5EF4-FFF2-40B4-BE49-F238E27FC236}">
                  <a16:creationId xmlns:a16="http://schemas.microsoft.com/office/drawing/2014/main" id="{20F67E17-52DE-3984-906A-C4A3554956B7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>
            <a:xfrm>
              <a:off x="3561660" y="3864613"/>
              <a:ext cx="1930642" cy="2234771"/>
            </a:xfrm>
            <a:custGeom>
              <a:avLst/>
              <a:gdLst/>
              <a:ahLst/>
              <a:cxnLst/>
              <a:rect l="l" t="t" r="r" b="b"/>
              <a:pathLst>
                <a:path w="1930642" h="2234771">
                  <a:moveTo>
                    <a:pt x="1223364" y="1523829"/>
                  </a:moveTo>
                  <a:lnTo>
                    <a:pt x="1327829" y="1535625"/>
                  </a:lnTo>
                  <a:lnTo>
                    <a:pt x="1384123" y="1653652"/>
                  </a:lnTo>
                  <a:lnTo>
                    <a:pt x="1368101" y="1807082"/>
                  </a:lnTo>
                  <a:lnTo>
                    <a:pt x="1223417" y="1807119"/>
                  </a:lnTo>
                  <a:lnTo>
                    <a:pt x="1134986" y="1653707"/>
                  </a:lnTo>
                  <a:close/>
                  <a:moveTo>
                    <a:pt x="390166" y="1403367"/>
                  </a:moveTo>
                  <a:lnTo>
                    <a:pt x="524227" y="1535564"/>
                  </a:lnTo>
                  <a:lnTo>
                    <a:pt x="668865" y="1571079"/>
                  </a:lnTo>
                  <a:lnTo>
                    <a:pt x="676847" y="1748067"/>
                  </a:lnTo>
                  <a:lnTo>
                    <a:pt x="773272" y="1913337"/>
                  </a:lnTo>
                  <a:lnTo>
                    <a:pt x="813427" y="2090411"/>
                  </a:lnTo>
                  <a:lnTo>
                    <a:pt x="827440" y="2234771"/>
                  </a:lnTo>
                  <a:lnTo>
                    <a:pt x="341934" y="2153544"/>
                  </a:lnTo>
                  <a:lnTo>
                    <a:pt x="16258" y="2056715"/>
                  </a:lnTo>
                  <a:lnTo>
                    <a:pt x="0" y="1858746"/>
                  </a:lnTo>
                  <a:lnTo>
                    <a:pt x="168984" y="1631297"/>
                  </a:lnTo>
                  <a:close/>
                  <a:moveTo>
                    <a:pt x="1318177" y="0"/>
                  </a:moveTo>
                  <a:lnTo>
                    <a:pt x="1530508" y="125658"/>
                  </a:lnTo>
                  <a:lnTo>
                    <a:pt x="1873946" y="605801"/>
                  </a:lnTo>
                  <a:lnTo>
                    <a:pt x="1930642" y="814965"/>
                  </a:lnTo>
                  <a:lnTo>
                    <a:pt x="1777384" y="839045"/>
                  </a:lnTo>
                  <a:lnTo>
                    <a:pt x="1648764" y="626678"/>
                  </a:lnTo>
                  <a:lnTo>
                    <a:pt x="1512192" y="473322"/>
                  </a:lnTo>
                  <a:lnTo>
                    <a:pt x="1399746" y="355322"/>
                  </a:lnTo>
                  <a:lnTo>
                    <a:pt x="1263270" y="272778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8">
              <a:extLst>
                <a:ext uri="{FF2B5EF4-FFF2-40B4-BE49-F238E27FC236}">
                  <a16:creationId xmlns:a16="http://schemas.microsoft.com/office/drawing/2014/main" id="{2E46C1E2-14DB-3E0A-7435-5092F4F5F5FF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>
            <a:xfrm>
              <a:off x="3846793" y="3688734"/>
              <a:ext cx="1484539" cy="1746884"/>
            </a:xfrm>
            <a:custGeom>
              <a:avLst/>
              <a:gdLst/>
              <a:ahLst/>
              <a:cxnLst/>
              <a:rect l="l" t="t" r="r" b="b"/>
              <a:pathLst>
                <a:path w="1484539" h="1746884">
                  <a:moveTo>
                    <a:pt x="1387964" y="1227437"/>
                  </a:moveTo>
                  <a:lnTo>
                    <a:pt x="1484539" y="1487025"/>
                  </a:lnTo>
                  <a:lnTo>
                    <a:pt x="1476610" y="1664097"/>
                  </a:lnTo>
                  <a:lnTo>
                    <a:pt x="1259685" y="1746884"/>
                  </a:lnTo>
                  <a:lnTo>
                    <a:pt x="1042696" y="1711504"/>
                  </a:lnTo>
                  <a:lnTo>
                    <a:pt x="1058719" y="1510872"/>
                  </a:lnTo>
                  <a:lnTo>
                    <a:pt x="1050628" y="1310248"/>
                  </a:lnTo>
                  <a:lnTo>
                    <a:pt x="1163076" y="1286569"/>
                  </a:lnTo>
                  <a:lnTo>
                    <a:pt x="1299627" y="1262947"/>
                  </a:lnTo>
                  <a:close/>
                  <a:moveTo>
                    <a:pt x="143549" y="0"/>
                  </a:moveTo>
                  <a:lnTo>
                    <a:pt x="247838" y="35510"/>
                  </a:lnTo>
                  <a:lnTo>
                    <a:pt x="320008" y="165323"/>
                  </a:lnTo>
                  <a:lnTo>
                    <a:pt x="432387" y="82775"/>
                  </a:lnTo>
                  <a:lnTo>
                    <a:pt x="616935" y="141830"/>
                  </a:lnTo>
                  <a:lnTo>
                    <a:pt x="761398" y="177216"/>
                  </a:lnTo>
                  <a:lnTo>
                    <a:pt x="721265" y="366103"/>
                  </a:lnTo>
                  <a:lnTo>
                    <a:pt x="673096" y="495886"/>
                  </a:lnTo>
                  <a:lnTo>
                    <a:pt x="520577" y="495868"/>
                  </a:lnTo>
                  <a:lnTo>
                    <a:pt x="464369" y="554879"/>
                  </a:lnTo>
                  <a:lnTo>
                    <a:pt x="456281" y="814526"/>
                  </a:lnTo>
                  <a:lnTo>
                    <a:pt x="235281" y="843355"/>
                  </a:lnTo>
                  <a:lnTo>
                    <a:pt x="114586" y="503251"/>
                  </a:lnTo>
                  <a:lnTo>
                    <a:pt x="0" y="279158"/>
                  </a:lnTo>
                  <a:lnTo>
                    <a:pt x="183496" y="342332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id="{10424A14-502B-B2FE-9270-379EAF728DC5}"/>
                </a:ext>
              </a:extLst>
            </p:cNvPr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>
              <a:off x="3694833" y="3098256"/>
              <a:ext cx="1864855" cy="2842936"/>
            </a:xfrm>
            <a:custGeom>
              <a:avLst/>
              <a:gdLst/>
              <a:ahLst/>
              <a:cxnLst/>
              <a:rect l="l" t="t" r="r" b="b"/>
              <a:pathLst>
                <a:path w="1864855" h="2842936">
                  <a:moveTo>
                    <a:pt x="1628570" y="2254575"/>
                  </a:moveTo>
                  <a:lnTo>
                    <a:pt x="1668878" y="2431614"/>
                  </a:lnTo>
                  <a:lnTo>
                    <a:pt x="1734961" y="2532527"/>
                  </a:lnTo>
                  <a:lnTo>
                    <a:pt x="1491192" y="2842936"/>
                  </a:lnTo>
                  <a:lnTo>
                    <a:pt x="1435886" y="2585178"/>
                  </a:lnTo>
                  <a:lnTo>
                    <a:pt x="1411645" y="2337362"/>
                  </a:lnTo>
                  <a:close/>
                  <a:moveTo>
                    <a:pt x="1130097" y="1039135"/>
                  </a:moveTo>
                  <a:lnTo>
                    <a:pt x="1266573" y="1121679"/>
                  </a:lnTo>
                  <a:lnTo>
                    <a:pt x="1379019" y="1239679"/>
                  </a:lnTo>
                  <a:lnTo>
                    <a:pt x="1515591" y="1393035"/>
                  </a:lnTo>
                  <a:lnTo>
                    <a:pt x="1644211" y="1605402"/>
                  </a:lnTo>
                  <a:lnTo>
                    <a:pt x="1797469" y="1581322"/>
                  </a:lnTo>
                  <a:lnTo>
                    <a:pt x="1864855" y="1829822"/>
                  </a:lnTo>
                  <a:lnTo>
                    <a:pt x="1660426" y="1829659"/>
                  </a:lnTo>
                  <a:lnTo>
                    <a:pt x="1539924" y="1817915"/>
                  </a:lnTo>
                  <a:lnTo>
                    <a:pt x="1451587" y="1853425"/>
                  </a:lnTo>
                  <a:lnTo>
                    <a:pt x="1315036" y="1877047"/>
                  </a:lnTo>
                  <a:lnTo>
                    <a:pt x="1282796" y="1558388"/>
                  </a:lnTo>
                  <a:lnTo>
                    <a:pt x="1226515" y="1357781"/>
                  </a:lnTo>
                  <a:lnTo>
                    <a:pt x="1098025" y="1263410"/>
                  </a:lnTo>
                  <a:close/>
                  <a:moveTo>
                    <a:pt x="21286" y="0"/>
                  </a:moveTo>
                  <a:lnTo>
                    <a:pt x="215556" y="106598"/>
                  </a:lnTo>
                  <a:lnTo>
                    <a:pt x="464179" y="118456"/>
                  </a:lnTo>
                  <a:lnTo>
                    <a:pt x="664707" y="47750"/>
                  </a:lnTo>
                  <a:lnTo>
                    <a:pt x="648632" y="236553"/>
                  </a:lnTo>
                  <a:lnTo>
                    <a:pt x="809045" y="413640"/>
                  </a:lnTo>
                  <a:lnTo>
                    <a:pt x="966209" y="453392"/>
                  </a:lnTo>
                  <a:lnTo>
                    <a:pt x="967710" y="637664"/>
                  </a:lnTo>
                  <a:lnTo>
                    <a:pt x="913358" y="767694"/>
                  </a:lnTo>
                  <a:lnTo>
                    <a:pt x="768895" y="732308"/>
                  </a:lnTo>
                  <a:lnTo>
                    <a:pt x="584347" y="673253"/>
                  </a:lnTo>
                  <a:lnTo>
                    <a:pt x="471968" y="755801"/>
                  </a:lnTo>
                  <a:lnTo>
                    <a:pt x="399798" y="625988"/>
                  </a:lnTo>
                  <a:lnTo>
                    <a:pt x="295509" y="590478"/>
                  </a:lnTo>
                  <a:lnTo>
                    <a:pt x="335456" y="932810"/>
                  </a:lnTo>
                  <a:lnTo>
                    <a:pt x="151960" y="869636"/>
                  </a:lnTo>
                  <a:lnTo>
                    <a:pt x="110091" y="787674"/>
                  </a:lnTo>
                  <a:lnTo>
                    <a:pt x="0" y="436618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id="{B2096B3B-271E-88B5-BF02-332564E59115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3716119" y="2418839"/>
              <a:ext cx="643422" cy="797874"/>
            </a:xfrm>
            <a:custGeom>
              <a:avLst/>
              <a:gdLst/>
              <a:ahLst/>
              <a:cxnLst/>
              <a:rect l="0" t="0" r="0" b="0"/>
              <a:pathLst>
                <a:path w="643422" h="797874">
                  <a:moveTo>
                    <a:pt x="379027" y="89745"/>
                  </a:moveTo>
                  <a:lnTo>
                    <a:pt x="314800" y="302163"/>
                  </a:lnTo>
                  <a:lnTo>
                    <a:pt x="330746" y="514617"/>
                  </a:lnTo>
                  <a:lnTo>
                    <a:pt x="467025" y="620896"/>
                  </a:lnTo>
                  <a:lnTo>
                    <a:pt x="643421" y="727167"/>
                  </a:lnTo>
                  <a:lnTo>
                    <a:pt x="442893" y="797873"/>
                  </a:lnTo>
                  <a:lnTo>
                    <a:pt x="194270" y="786015"/>
                  </a:lnTo>
                  <a:lnTo>
                    <a:pt x="0" y="679417"/>
                  </a:lnTo>
                  <a:lnTo>
                    <a:pt x="13535" y="401481"/>
                  </a:lnTo>
                  <a:lnTo>
                    <a:pt x="153429" y="0"/>
                  </a:lnTo>
                  <a:lnTo>
                    <a:pt x="250823" y="30661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F9471BAC-74DB-34DA-0D2B-A593FA511DF7}"/>
                </a:ext>
              </a:extLst>
            </p:cNvPr>
            <p:cNvSpPr>
              <a:spLocks noChangeAspect="1"/>
            </p:cNvSpPr>
            <p:nvPr>
              <p:custDataLst>
                <p:tags r:id="rId8"/>
              </p:custDataLst>
            </p:nvPr>
          </p:nvSpPr>
          <p:spPr>
            <a:xfrm>
              <a:off x="3869548" y="1700212"/>
              <a:ext cx="535326" cy="808373"/>
            </a:xfrm>
            <a:custGeom>
              <a:avLst/>
              <a:gdLst/>
              <a:ahLst/>
              <a:cxnLst/>
              <a:rect l="0" t="0" r="0" b="0"/>
              <a:pathLst>
                <a:path w="535326" h="808373">
                  <a:moveTo>
                    <a:pt x="535325" y="246819"/>
                  </a:moveTo>
                  <a:lnTo>
                    <a:pt x="466161" y="383553"/>
                  </a:lnTo>
                  <a:lnTo>
                    <a:pt x="418046" y="525147"/>
                  </a:lnTo>
                  <a:lnTo>
                    <a:pt x="321841" y="666723"/>
                  </a:lnTo>
                  <a:lnTo>
                    <a:pt x="329811" y="796590"/>
                  </a:lnTo>
                  <a:lnTo>
                    <a:pt x="225598" y="808372"/>
                  </a:lnTo>
                  <a:lnTo>
                    <a:pt x="97394" y="749288"/>
                  </a:lnTo>
                  <a:lnTo>
                    <a:pt x="0" y="718627"/>
                  </a:lnTo>
                  <a:lnTo>
                    <a:pt x="109341" y="404634"/>
                  </a:lnTo>
                  <a:lnTo>
                    <a:pt x="347726" y="0"/>
                  </a:lnTo>
                  <a:lnTo>
                    <a:pt x="478689" y="194183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497D92F2-4450-BD61-4FA9-3437A14C2713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4191389" y="1947031"/>
              <a:ext cx="399543" cy="549772"/>
            </a:xfrm>
            <a:custGeom>
              <a:avLst/>
              <a:gdLst/>
              <a:ahLst/>
              <a:cxnLst/>
              <a:rect l="0" t="0" r="0" b="0"/>
              <a:pathLst>
                <a:path w="399543" h="549772">
                  <a:moveTo>
                    <a:pt x="342414" y="347181"/>
                  </a:moveTo>
                  <a:lnTo>
                    <a:pt x="152275" y="408205"/>
                  </a:lnTo>
                  <a:lnTo>
                    <a:pt x="7970" y="549771"/>
                  </a:lnTo>
                  <a:lnTo>
                    <a:pt x="0" y="419904"/>
                  </a:lnTo>
                  <a:lnTo>
                    <a:pt x="96205" y="278328"/>
                  </a:lnTo>
                  <a:lnTo>
                    <a:pt x="144320" y="136734"/>
                  </a:lnTo>
                  <a:lnTo>
                    <a:pt x="213484" y="0"/>
                  </a:lnTo>
                  <a:lnTo>
                    <a:pt x="399542" y="172787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Freeform 16">
              <a:extLst>
                <a:ext uri="{FF2B5EF4-FFF2-40B4-BE49-F238E27FC236}">
                  <a16:creationId xmlns:a16="http://schemas.microsoft.com/office/drawing/2014/main" id="{B6B4D989-29F4-2F34-2F7C-68267404C6C7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4199359" y="2294212"/>
              <a:ext cx="495887" cy="509502"/>
            </a:xfrm>
            <a:custGeom>
              <a:avLst/>
              <a:gdLst/>
              <a:ahLst/>
              <a:cxnLst/>
              <a:rect l="0" t="0" r="0" b="0"/>
              <a:pathLst>
                <a:path w="495887" h="509502">
                  <a:moveTo>
                    <a:pt x="495886" y="492412"/>
                  </a:moveTo>
                  <a:lnTo>
                    <a:pt x="320594" y="509501"/>
                  </a:lnTo>
                  <a:lnTo>
                    <a:pt x="72091" y="379678"/>
                  </a:lnTo>
                  <a:lnTo>
                    <a:pt x="0" y="202590"/>
                  </a:lnTo>
                  <a:lnTo>
                    <a:pt x="144305" y="61024"/>
                  </a:lnTo>
                  <a:lnTo>
                    <a:pt x="334444" y="0"/>
                  </a:lnTo>
                  <a:lnTo>
                    <a:pt x="294758" y="121200"/>
                  </a:lnTo>
                  <a:lnTo>
                    <a:pt x="358807" y="307661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id="{BC1C78B8-3B49-21A0-C7C1-5FB3677F051A}"/>
                </a:ext>
              </a:extLst>
            </p:cNvPr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4343464" y="3039799"/>
              <a:ext cx="536372" cy="1097592"/>
            </a:xfrm>
            <a:custGeom>
              <a:avLst/>
              <a:gdLst/>
              <a:ahLst/>
              <a:cxnLst/>
              <a:rect l="l" t="t" r="r" b="b"/>
              <a:pathLst>
                <a:path w="536372" h="1097592">
                  <a:moveTo>
                    <a:pt x="319078" y="696121"/>
                  </a:moveTo>
                  <a:lnTo>
                    <a:pt x="536372" y="824814"/>
                  </a:lnTo>
                  <a:lnTo>
                    <a:pt x="481465" y="1097592"/>
                  </a:lnTo>
                  <a:lnTo>
                    <a:pt x="369066" y="979568"/>
                  </a:lnTo>
                  <a:lnTo>
                    <a:pt x="264726" y="826151"/>
                  </a:lnTo>
                  <a:close/>
                  <a:moveTo>
                    <a:pt x="144406" y="0"/>
                  </a:moveTo>
                  <a:lnTo>
                    <a:pt x="312809" y="47202"/>
                  </a:lnTo>
                  <a:lnTo>
                    <a:pt x="460657" y="192672"/>
                  </a:lnTo>
                  <a:lnTo>
                    <a:pt x="317577" y="511849"/>
                  </a:lnTo>
                  <a:lnTo>
                    <a:pt x="160413" y="472097"/>
                  </a:lnTo>
                  <a:lnTo>
                    <a:pt x="0" y="295010"/>
                  </a:lnTo>
                  <a:lnTo>
                    <a:pt x="16075" y="106207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Freeform 19">
              <a:extLst>
                <a:ext uri="{FF2B5EF4-FFF2-40B4-BE49-F238E27FC236}">
                  <a16:creationId xmlns:a16="http://schemas.microsoft.com/office/drawing/2014/main" id="{7B0FB3A8-AD5F-3F69-C6E4-36AA7641062D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>
            <a:xfrm>
              <a:off x="4030919" y="2496802"/>
              <a:ext cx="788068" cy="735670"/>
            </a:xfrm>
            <a:custGeom>
              <a:avLst/>
              <a:gdLst/>
              <a:ahLst/>
              <a:cxnLst/>
              <a:rect l="0" t="0" r="0" b="0"/>
              <a:pathLst>
                <a:path w="788068" h="735670">
                  <a:moveTo>
                    <a:pt x="489034" y="306911"/>
                  </a:moveTo>
                  <a:lnTo>
                    <a:pt x="664326" y="289822"/>
                  </a:lnTo>
                  <a:lnTo>
                    <a:pt x="788067" y="584346"/>
                  </a:lnTo>
                  <a:lnTo>
                    <a:pt x="773203" y="735669"/>
                  </a:lnTo>
                  <a:lnTo>
                    <a:pt x="625355" y="590199"/>
                  </a:lnTo>
                  <a:lnTo>
                    <a:pt x="456952" y="542997"/>
                  </a:lnTo>
                  <a:lnTo>
                    <a:pt x="328621" y="649204"/>
                  </a:lnTo>
                  <a:lnTo>
                    <a:pt x="152225" y="542933"/>
                  </a:lnTo>
                  <a:lnTo>
                    <a:pt x="15946" y="436654"/>
                  </a:lnTo>
                  <a:lnTo>
                    <a:pt x="0" y="224200"/>
                  </a:lnTo>
                  <a:lnTo>
                    <a:pt x="64227" y="11782"/>
                  </a:lnTo>
                  <a:lnTo>
                    <a:pt x="168440" y="0"/>
                  </a:lnTo>
                  <a:lnTo>
                    <a:pt x="240531" y="177088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54" name="Picture 2">
            <a:extLst>
              <a:ext uri="{FF2B5EF4-FFF2-40B4-BE49-F238E27FC236}">
                <a16:creationId xmlns:a16="http://schemas.microsoft.com/office/drawing/2014/main" id="{D04007B0-A2A3-B06B-5F7A-791D975638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7010" y="1929618"/>
            <a:ext cx="490972" cy="287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>
            <a:extLst>
              <a:ext uri="{FF2B5EF4-FFF2-40B4-BE49-F238E27FC236}">
                <a16:creationId xmlns:a16="http://schemas.microsoft.com/office/drawing/2014/main" id="{297E2EC4-DD97-6423-F50F-8DFEBDD8F8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74" r="22164"/>
          <a:stretch/>
        </p:blipFill>
        <p:spPr bwMode="auto">
          <a:xfrm>
            <a:off x="8328534" y="3136901"/>
            <a:ext cx="2922622" cy="2891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403124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700BBBE-146C-270F-C6BB-A2F75DD2C1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9706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306" imgH="306" progId="TCLayout.ActiveDocument.1">
                  <p:embed/>
                </p:oleObj>
              </mc:Choice>
              <mc:Fallback>
                <p:oleObj name="think-cell Folie" r:id="rId20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700BBBE-146C-270F-C6BB-A2F75DD2C1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4" name="Grafik 83">
            <a:extLst>
              <a:ext uri="{FF2B5EF4-FFF2-40B4-BE49-F238E27FC236}">
                <a16:creationId xmlns:a16="http://schemas.microsoft.com/office/drawing/2014/main" id="{3FE6A24A-5569-D64B-1D1A-9CCAB364F6B6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8122476" y="3190876"/>
            <a:ext cx="3290290" cy="282210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F4E181F-0572-83FC-3FA6-FB61C80967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INSPIRE Living Lab – Die digitale Krankenhausstation 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CC98072-7B36-34B4-1D76-81A97B2F41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CB4BF9D-6D13-D9B0-65E7-C877635F4E9F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pt-BR"/>
              <a:t>A91GER-H-001672-E4</a:t>
            </a:r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52379F15-DCA2-A2A8-58D1-9EC2B18903F6}"/>
              </a:ext>
            </a:extLst>
          </p:cNvPr>
          <p:cNvCxnSpPr>
            <a:cxnSpLocks/>
          </p:cNvCxnSpPr>
          <p:nvPr/>
        </p:nvCxnSpPr>
        <p:spPr>
          <a:xfrm>
            <a:off x="3175002" y="2136485"/>
            <a:ext cx="8994773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42D62FB4-AD84-FB38-E052-1E05376319E3}"/>
              </a:ext>
            </a:extLst>
          </p:cNvPr>
          <p:cNvGrpSpPr>
            <a:grpSpLocks/>
          </p:cNvGrpSpPr>
          <p:nvPr/>
        </p:nvGrpSpPr>
        <p:grpSpPr>
          <a:xfrm flipH="1">
            <a:off x="0" y="1619250"/>
            <a:ext cx="3175003" cy="5238751"/>
            <a:chOff x="8994773" y="1619250"/>
            <a:chExt cx="3175003" cy="5238751"/>
          </a:xfrm>
        </p:grpSpPr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8C965DAB-C2D7-BE78-484D-86F22D1526F3}"/>
                </a:ext>
              </a:extLst>
            </p:cNvPr>
            <p:cNvSpPr/>
            <p:nvPr/>
          </p:nvSpPr>
          <p:spPr>
            <a:xfrm>
              <a:off x="8994773" y="1619250"/>
              <a:ext cx="3175003" cy="5238751"/>
            </a:xfrm>
            <a:custGeom>
              <a:avLst/>
              <a:gdLst>
                <a:gd name="connsiteX0" fmla="*/ 2641103 w 3175003"/>
                <a:gd name="connsiteY0" fmla="*/ 0 h 5238751"/>
                <a:gd name="connsiteX1" fmla="*/ 3175003 w 3175003"/>
                <a:gd name="connsiteY1" fmla="*/ 1401789 h 5238751"/>
                <a:gd name="connsiteX2" fmla="*/ 3175003 w 3175003"/>
                <a:gd name="connsiteY2" fmla="*/ 5238751 h 5238751"/>
                <a:gd name="connsiteX3" fmla="*/ 252737 w 3175003"/>
                <a:gd name="connsiteY3" fmla="*/ 5238751 h 5238751"/>
                <a:gd name="connsiteX4" fmla="*/ 0 w 3175003"/>
                <a:gd name="connsiteY4" fmla="*/ 4575174 h 5238751"/>
                <a:gd name="connsiteX5" fmla="*/ 2641103 w 3175003"/>
                <a:gd name="connsiteY5" fmla="*/ 4575174 h 5238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5003" h="5238751">
                  <a:moveTo>
                    <a:pt x="2641103" y="0"/>
                  </a:moveTo>
                  <a:lnTo>
                    <a:pt x="3175003" y="1401789"/>
                  </a:lnTo>
                  <a:lnTo>
                    <a:pt x="3175003" y="5238751"/>
                  </a:lnTo>
                  <a:lnTo>
                    <a:pt x="252737" y="5238751"/>
                  </a:lnTo>
                  <a:lnTo>
                    <a:pt x="0" y="4575174"/>
                  </a:lnTo>
                  <a:lnTo>
                    <a:pt x="2641103" y="4575174"/>
                  </a:lnTo>
                  <a:close/>
                </a:path>
              </a:pathLst>
            </a:custGeom>
            <a:pattFill prst="wdDnDiag">
              <a:fgClr>
                <a:srgbClr val="ECECEC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8430F975-D32D-4B21-4F68-EC3AE9574F6D}"/>
                </a:ext>
              </a:extLst>
            </p:cNvPr>
            <p:cNvSpPr txBox="1">
              <a:spLocks/>
            </p:cNvSpPr>
            <p:nvPr/>
          </p:nvSpPr>
          <p:spPr>
            <a:xfrm>
              <a:off x="8994774" y="1619250"/>
              <a:ext cx="2633663" cy="4575175"/>
            </a:xfrm>
            <a:prstGeom prst="rect">
              <a:avLst/>
            </a:prstGeom>
            <a:solidFill>
              <a:srgbClr val="ECECEC"/>
            </a:solidFill>
            <a:effectLst>
              <a:outerShdw blurRad="50800" dist="38100" dir="8100000" algn="tr" rotWithShape="0">
                <a:prstClr val="black">
                  <a:alpha val="8000"/>
                </a:prstClr>
              </a:outerShdw>
            </a:effectLst>
          </p:spPr>
          <p:txBody>
            <a:bodyPr wrap="square" lIns="180000" tIns="144000" rIns="180000" bIns="0" rtlCol="0" anchor="t">
              <a:noAutofit/>
            </a:bodyPr>
            <a:lstStyle/>
            <a:p>
              <a:pPr>
                <a:spcAft>
                  <a:spcPts val="300"/>
                </a:spcAft>
              </a:pPr>
              <a:endParaRPr lang="de-DE" sz="4400"/>
            </a:p>
          </p:txBody>
        </p:sp>
      </p:grpSp>
      <p:sp>
        <p:nvSpPr>
          <p:cNvPr id="15" name="Ellipse 14">
            <a:extLst>
              <a:ext uri="{FF2B5EF4-FFF2-40B4-BE49-F238E27FC236}">
                <a16:creationId xmlns:a16="http://schemas.microsoft.com/office/drawing/2014/main" id="{96FE300F-72EC-03BD-A3D4-5624B0520E84}"/>
              </a:ext>
            </a:extLst>
          </p:cNvPr>
          <p:cNvSpPr>
            <a:spLocks/>
          </p:cNvSpPr>
          <p:nvPr/>
        </p:nvSpPr>
        <p:spPr>
          <a:xfrm>
            <a:off x="5265172" y="2079335"/>
            <a:ext cx="114300" cy="1143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7A1CB417-2CAF-BD49-EE3F-E344CD66E2C2}"/>
              </a:ext>
            </a:extLst>
          </p:cNvPr>
          <p:cNvSpPr>
            <a:spLocks/>
          </p:cNvSpPr>
          <p:nvPr/>
        </p:nvSpPr>
        <p:spPr>
          <a:xfrm>
            <a:off x="9609702" y="2079335"/>
            <a:ext cx="114300" cy="1143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TextBox 435">
            <a:extLst>
              <a:ext uri="{FF2B5EF4-FFF2-40B4-BE49-F238E27FC236}">
                <a16:creationId xmlns:a16="http://schemas.microsoft.com/office/drawing/2014/main" id="{30B73240-5EA0-0E25-5C3F-A190DBA98F27}"/>
              </a:ext>
            </a:extLst>
          </p:cNvPr>
          <p:cNvSpPr txBox="1">
            <a:spLocks/>
          </p:cNvSpPr>
          <p:nvPr/>
        </p:nvSpPr>
        <p:spPr>
          <a:xfrm>
            <a:off x="8599029" y="2262379"/>
            <a:ext cx="213564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defRPr/>
            </a:pPr>
            <a:r>
              <a:rPr kumimoji="0" lang="de-DE" sz="1200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Technische Basis für die Erprobung neuer Anwendungen</a:t>
            </a:r>
          </a:p>
        </p:txBody>
      </p:sp>
      <p:sp>
        <p:nvSpPr>
          <p:cNvPr id="34" name="TextBox 422">
            <a:extLst>
              <a:ext uri="{FF2B5EF4-FFF2-40B4-BE49-F238E27FC236}">
                <a16:creationId xmlns:a16="http://schemas.microsoft.com/office/drawing/2014/main" id="{796EEFE9-5395-9435-5206-4C453E4C5C1A}"/>
              </a:ext>
            </a:extLst>
          </p:cNvPr>
          <p:cNvSpPr txBox="1">
            <a:spLocks/>
          </p:cNvSpPr>
          <p:nvPr/>
        </p:nvSpPr>
        <p:spPr>
          <a:xfrm>
            <a:off x="4577219" y="2262379"/>
            <a:ext cx="149020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Urologische Chirurgie &amp; Orthopädie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74AF252E-0298-DBE8-6368-908EF1C961A9}"/>
              </a:ext>
            </a:extLst>
          </p:cNvPr>
          <p:cNvSpPr/>
          <p:nvPr/>
        </p:nvSpPr>
        <p:spPr>
          <a:xfrm>
            <a:off x="3360738" y="2895600"/>
            <a:ext cx="8267700" cy="3298825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l">
              <a:spcAft>
                <a:spcPts val="600"/>
              </a:spcAft>
            </a:pPr>
            <a:r>
              <a:rPr lang="de-DE" sz="1200" b="1">
                <a:solidFill>
                  <a:schemeClr val="tx1"/>
                </a:solidFill>
              </a:rPr>
              <a:t>Das INSPIRE Living Lab ist eine interdisziplinäre Krankenhausstation </a:t>
            </a:r>
            <a:br>
              <a:rPr lang="de-DE" sz="1200" b="1">
                <a:solidFill>
                  <a:schemeClr val="tx1"/>
                </a:solidFill>
              </a:rPr>
            </a:br>
            <a:r>
              <a:rPr lang="de-DE" sz="1200" b="1">
                <a:solidFill>
                  <a:schemeClr val="tx1"/>
                </a:solidFill>
              </a:rPr>
              <a:t>der Universitätsmedizin Mannheim, in welcher Patientinnen &amp; Patienten </a:t>
            </a:r>
            <a:br>
              <a:rPr lang="de-DE" sz="1200" b="1">
                <a:solidFill>
                  <a:schemeClr val="tx1"/>
                </a:solidFill>
              </a:rPr>
            </a:br>
            <a:r>
              <a:rPr lang="de-DE" sz="1200" b="1">
                <a:solidFill>
                  <a:schemeClr val="tx1"/>
                </a:solidFill>
              </a:rPr>
              <a:t>aus der Orthopädie und Urologie postoperativ versorgt werden.</a:t>
            </a:r>
          </a:p>
          <a:p>
            <a:pPr algn="l">
              <a:spcAft>
                <a:spcPts val="600"/>
              </a:spcAft>
            </a:pPr>
            <a:endParaRPr lang="de-DE" sz="1200">
              <a:solidFill>
                <a:schemeClr val="tx1"/>
              </a:solidFill>
            </a:endParaRPr>
          </a:p>
          <a:p>
            <a:pPr marL="182563" indent="-182563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200">
                <a:solidFill>
                  <a:schemeClr val="tx1"/>
                </a:solidFill>
              </a:rPr>
              <a:t>Startups und kleinere Firmen können innovative Medizintechnik testen</a:t>
            </a:r>
          </a:p>
          <a:p>
            <a:pPr marL="182563" indent="-182563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200">
                <a:solidFill>
                  <a:schemeClr val="tx1"/>
                </a:solidFill>
              </a:rPr>
              <a:t>Im Fokus stehen Tools zur Unterstützung von Pflege, </a:t>
            </a:r>
            <a:br>
              <a:rPr lang="de-DE" sz="1200">
                <a:solidFill>
                  <a:schemeClr val="tx1"/>
                </a:solidFill>
              </a:rPr>
            </a:br>
            <a:r>
              <a:rPr lang="de-DE" sz="1200">
                <a:solidFill>
                  <a:schemeClr val="tx1"/>
                </a:solidFill>
              </a:rPr>
              <a:t>Ärztepersonal und Patientinnen &amp; Patienten</a:t>
            </a:r>
          </a:p>
          <a:p>
            <a:pPr marL="182563" indent="-182563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200">
                <a:solidFill>
                  <a:schemeClr val="tx1"/>
                </a:solidFill>
              </a:rPr>
              <a:t>IT-Schnittstelle zu patientenbezogenen Daten wird über </a:t>
            </a:r>
            <a:br>
              <a:rPr lang="de-DE" sz="1200">
                <a:solidFill>
                  <a:schemeClr val="tx1"/>
                </a:solidFill>
              </a:rPr>
            </a:br>
            <a:r>
              <a:rPr lang="de-DE" sz="1200">
                <a:solidFill>
                  <a:schemeClr val="tx1"/>
                </a:solidFill>
              </a:rPr>
              <a:t>unsere Plattform geschaffen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B8FFAF6D-1AFC-54F3-6860-786673C4DF5E}"/>
              </a:ext>
            </a:extLst>
          </p:cNvPr>
          <p:cNvSpPr>
            <a:spLocks/>
          </p:cNvSpPr>
          <p:nvPr/>
        </p:nvSpPr>
        <p:spPr>
          <a:xfrm>
            <a:off x="753628" y="1826246"/>
            <a:ext cx="2201842" cy="1678954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tlCol="0" anchor="t"/>
          <a:lstStyle/>
          <a:p>
            <a:pPr algn="l"/>
            <a:endParaRPr lang="de-DE" sz="1200" b="1">
              <a:solidFill>
                <a:schemeClr val="tx1"/>
              </a:solidFill>
            </a:endParaRPr>
          </a:p>
        </p:txBody>
      </p:sp>
      <p:pic>
        <p:nvPicPr>
          <p:cNvPr id="6" name="Picture 4" descr="Inspire Living Lab: Uniklinik Mannheim">
            <a:extLst>
              <a:ext uri="{FF2B5EF4-FFF2-40B4-BE49-F238E27FC236}">
                <a16:creationId xmlns:a16="http://schemas.microsoft.com/office/drawing/2014/main" id="{436C13AA-FC40-B0CE-E5C0-C9C1F87726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2574" y="2758052"/>
            <a:ext cx="1285407" cy="606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4094355E-BC4B-9FE5-AF0C-7DCECDF5AB0A}"/>
              </a:ext>
            </a:extLst>
          </p:cNvPr>
          <p:cNvGrpSpPr>
            <a:grpSpLocks/>
          </p:cNvGrpSpPr>
          <p:nvPr/>
        </p:nvGrpSpPr>
        <p:grpSpPr>
          <a:xfrm>
            <a:off x="2347010" y="1929618"/>
            <a:ext cx="490972" cy="287633"/>
            <a:chOff x="644295" y="607007"/>
            <a:chExt cx="897873" cy="523521"/>
          </a:xfrm>
        </p:grpSpPr>
        <p:sp>
          <p:nvSpPr>
            <p:cNvPr id="58" name="Rectangle 222">
              <a:extLst>
                <a:ext uri="{FF2B5EF4-FFF2-40B4-BE49-F238E27FC236}">
                  <a16:creationId xmlns:a16="http://schemas.microsoft.com/office/drawing/2014/main" id="{002DA6F4-2A01-B656-59E6-EA08F83C47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295" y="607007"/>
              <a:ext cx="897873" cy="17326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223">
              <a:extLst>
                <a:ext uri="{FF2B5EF4-FFF2-40B4-BE49-F238E27FC236}">
                  <a16:creationId xmlns:a16="http://schemas.microsoft.com/office/drawing/2014/main" id="{50EC4245-19E0-3E4C-A9EC-ECE2BFD574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295" y="956517"/>
              <a:ext cx="897873" cy="174011"/>
            </a:xfrm>
            <a:prstGeom prst="rect">
              <a:avLst/>
            </a:prstGeom>
            <a:solidFill>
              <a:srgbClr val="FFE6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224">
              <a:extLst>
                <a:ext uri="{FF2B5EF4-FFF2-40B4-BE49-F238E27FC236}">
                  <a16:creationId xmlns:a16="http://schemas.microsoft.com/office/drawing/2014/main" id="{85D2D19D-69BC-47BF-E97C-1DC5C8C8D0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295" y="780275"/>
              <a:ext cx="897873" cy="176242"/>
            </a:xfrm>
            <a:prstGeom prst="rect">
              <a:avLst/>
            </a:prstGeom>
            <a:solidFill>
              <a:srgbClr val="CC17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63" name="Group 6">
            <a:extLst>
              <a:ext uri="{FF2B5EF4-FFF2-40B4-BE49-F238E27FC236}">
                <a16:creationId xmlns:a16="http://schemas.microsoft.com/office/drawing/2014/main" id="{B57F57ED-9EB8-742E-A958-6521B6EC6D10}"/>
              </a:ext>
            </a:extLst>
          </p:cNvPr>
          <p:cNvGrpSpPr>
            <a:grpSpLocks noChangeAspect="1"/>
          </p:cNvGrpSpPr>
          <p:nvPr/>
        </p:nvGrpSpPr>
        <p:grpSpPr>
          <a:xfrm>
            <a:off x="1050133" y="3689351"/>
            <a:ext cx="1639884" cy="2227400"/>
            <a:chOff x="2928128" y="1700212"/>
            <a:chExt cx="3287746" cy="4465638"/>
          </a:xfrm>
        </p:grpSpPr>
        <p:sp>
          <p:nvSpPr>
            <p:cNvPr id="64" name="Freeform 2">
              <a:extLst>
                <a:ext uri="{FF2B5EF4-FFF2-40B4-BE49-F238E27FC236}">
                  <a16:creationId xmlns:a16="http://schemas.microsoft.com/office/drawing/2014/main" id="{D953E8D1-99C3-7660-795F-AD44CE257B8B}"/>
                </a:ext>
              </a:extLst>
            </p:cNvPr>
            <p:cNvSpPr>
              <a:spLocks noChangeAspect="1"/>
            </p:cNvSpPr>
            <p:nvPr>
              <p:custDataLst>
                <p:tags r:id="rId2"/>
              </p:custDataLst>
            </p:nvPr>
          </p:nvSpPr>
          <p:spPr>
            <a:xfrm>
              <a:off x="2928128" y="3154591"/>
              <a:ext cx="1302695" cy="1226064"/>
            </a:xfrm>
            <a:custGeom>
              <a:avLst/>
              <a:gdLst/>
              <a:ahLst/>
              <a:cxnLst/>
              <a:rect l="0" t="0" r="0" b="0"/>
              <a:pathLst>
                <a:path w="1302695" h="1226064">
                  <a:moveTo>
                    <a:pt x="1085224" y="78950"/>
                  </a:moveTo>
                  <a:lnTo>
                    <a:pt x="1096559" y="77912"/>
                  </a:lnTo>
                  <a:lnTo>
                    <a:pt x="1106718" y="74391"/>
                  </a:lnTo>
                  <a:lnTo>
                    <a:pt x="1108964" y="73077"/>
                  </a:lnTo>
                  <a:lnTo>
                    <a:pt x="1132399" y="68343"/>
                  </a:lnTo>
                  <a:lnTo>
                    <a:pt x="1133336" y="67476"/>
                  </a:lnTo>
                  <a:lnTo>
                    <a:pt x="1134339" y="66062"/>
                  </a:lnTo>
                  <a:lnTo>
                    <a:pt x="1135295" y="64248"/>
                  </a:lnTo>
                  <a:lnTo>
                    <a:pt x="1140757" y="48099"/>
                  </a:lnTo>
                  <a:lnTo>
                    <a:pt x="1144370" y="40353"/>
                  </a:lnTo>
                  <a:lnTo>
                    <a:pt x="1146220" y="37906"/>
                  </a:lnTo>
                  <a:lnTo>
                    <a:pt x="1155642" y="28485"/>
                  </a:lnTo>
                  <a:lnTo>
                    <a:pt x="1175182" y="18553"/>
                  </a:lnTo>
                  <a:lnTo>
                    <a:pt x="1176753" y="18227"/>
                  </a:lnTo>
                  <a:lnTo>
                    <a:pt x="1178580" y="18690"/>
                  </a:lnTo>
                  <a:lnTo>
                    <a:pt x="1180556" y="19863"/>
                  </a:lnTo>
                  <a:lnTo>
                    <a:pt x="1185247" y="27088"/>
                  </a:lnTo>
                  <a:lnTo>
                    <a:pt x="1185989" y="27885"/>
                  </a:lnTo>
                  <a:lnTo>
                    <a:pt x="1187106" y="28821"/>
                  </a:lnTo>
                  <a:lnTo>
                    <a:pt x="1188440" y="29700"/>
                  </a:lnTo>
                  <a:lnTo>
                    <a:pt x="1189782" y="30198"/>
                  </a:lnTo>
                  <a:lnTo>
                    <a:pt x="1192526" y="30779"/>
                  </a:lnTo>
                  <a:lnTo>
                    <a:pt x="1193370" y="31859"/>
                  </a:lnTo>
                  <a:lnTo>
                    <a:pt x="1193501" y="33605"/>
                  </a:lnTo>
                  <a:lnTo>
                    <a:pt x="1191914" y="37744"/>
                  </a:lnTo>
                  <a:lnTo>
                    <a:pt x="1190415" y="39965"/>
                  </a:lnTo>
                  <a:lnTo>
                    <a:pt x="1188655" y="41676"/>
                  </a:lnTo>
                  <a:lnTo>
                    <a:pt x="1187344" y="42421"/>
                  </a:lnTo>
                  <a:lnTo>
                    <a:pt x="1185208" y="44008"/>
                  </a:lnTo>
                  <a:lnTo>
                    <a:pt x="1184378" y="45057"/>
                  </a:lnTo>
                  <a:lnTo>
                    <a:pt x="1184593" y="48077"/>
                  </a:lnTo>
                  <a:lnTo>
                    <a:pt x="1184928" y="50476"/>
                  </a:lnTo>
                  <a:lnTo>
                    <a:pt x="1190687" y="69807"/>
                  </a:lnTo>
                  <a:lnTo>
                    <a:pt x="1178859" y="88318"/>
                  </a:lnTo>
                  <a:lnTo>
                    <a:pt x="1172494" y="101530"/>
                  </a:lnTo>
                  <a:lnTo>
                    <a:pt x="1171047" y="103602"/>
                  </a:lnTo>
                  <a:lnTo>
                    <a:pt x="1167174" y="105007"/>
                  </a:lnTo>
                  <a:lnTo>
                    <a:pt x="1165313" y="106021"/>
                  </a:lnTo>
                  <a:lnTo>
                    <a:pt x="1162321" y="108552"/>
                  </a:lnTo>
                  <a:lnTo>
                    <a:pt x="1159498" y="108824"/>
                  </a:lnTo>
                  <a:lnTo>
                    <a:pt x="1151449" y="107620"/>
                  </a:lnTo>
                  <a:lnTo>
                    <a:pt x="1149548" y="107849"/>
                  </a:lnTo>
                  <a:lnTo>
                    <a:pt x="1147854" y="108599"/>
                  </a:lnTo>
                  <a:lnTo>
                    <a:pt x="1146578" y="110110"/>
                  </a:lnTo>
                  <a:lnTo>
                    <a:pt x="1145453" y="112187"/>
                  </a:lnTo>
                  <a:lnTo>
                    <a:pt x="1143223" y="118085"/>
                  </a:lnTo>
                  <a:lnTo>
                    <a:pt x="1142535" y="121766"/>
                  </a:lnTo>
                  <a:lnTo>
                    <a:pt x="1140757" y="137546"/>
                  </a:lnTo>
                  <a:lnTo>
                    <a:pt x="1139897" y="142626"/>
                  </a:lnTo>
                  <a:lnTo>
                    <a:pt x="1139125" y="145936"/>
                  </a:lnTo>
                  <a:lnTo>
                    <a:pt x="1138325" y="147945"/>
                  </a:lnTo>
                  <a:lnTo>
                    <a:pt x="1138191" y="149199"/>
                  </a:lnTo>
                  <a:lnTo>
                    <a:pt x="1138429" y="150888"/>
                  </a:lnTo>
                  <a:lnTo>
                    <a:pt x="1139571" y="153483"/>
                  </a:lnTo>
                  <a:lnTo>
                    <a:pt x="1140577" y="154760"/>
                  </a:lnTo>
                  <a:lnTo>
                    <a:pt x="1141646" y="155593"/>
                  </a:lnTo>
                  <a:lnTo>
                    <a:pt x="1147982" y="157299"/>
                  </a:lnTo>
                  <a:lnTo>
                    <a:pt x="1159491" y="162914"/>
                  </a:lnTo>
                  <a:lnTo>
                    <a:pt x="1167236" y="164893"/>
                  </a:lnTo>
                  <a:lnTo>
                    <a:pt x="1168798" y="165616"/>
                  </a:lnTo>
                  <a:lnTo>
                    <a:pt x="1169437" y="166235"/>
                  </a:lnTo>
                  <a:lnTo>
                    <a:pt x="1168653" y="167521"/>
                  </a:lnTo>
                  <a:lnTo>
                    <a:pt x="1160879" y="172681"/>
                  </a:lnTo>
                  <a:lnTo>
                    <a:pt x="1158502" y="174838"/>
                  </a:lnTo>
                  <a:lnTo>
                    <a:pt x="1157251" y="177770"/>
                  </a:lnTo>
                  <a:lnTo>
                    <a:pt x="1157440" y="179251"/>
                  </a:lnTo>
                  <a:lnTo>
                    <a:pt x="1158004" y="180990"/>
                  </a:lnTo>
                  <a:lnTo>
                    <a:pt x="1158680" y="182585"/>
                  </a:lnTo>
                  <a:lnTo>
                    <a:pt x="1159648" y="185928"/>
                  </a:lnTo>
                  <a:lnTo>
                    <a:pt x="1160210" y="190654"/>
                  </a:lnTo>
                  <a:lnTo>
                    <a:pt x="1159589" y="191854"/>
                  </a:lnTo>
                  <a:lnTo>
                    <a:pt x="1158109" y="192506"/>
                  </a:lnTo>
                  <a:lnTo>
                    <a:pt x="1150297" y="191675"/>
                  </a:lnTo>
                  <a:lnTo>
                    <a:pt x="1139240" y="194651"/>
                  </a:lnTo>
                  <a:lnTo>
                    <a:pt x="1141312" y="200723"/>
                  </a:lnTo>
                  <a:lnTo>
                    <a:pt x="1144639" y="208504"/>
                  </a:lnTo>
                  <a:lnTo>
                    <a:pt x="1145198" y="210479"/>
                  </a:lnTo>
                  <a:lnTo>
                    <a:pt x="1145685" y="213401"/>
                  </a:lnTo>
                  <a:lnTo>
                    <a:pt x="1145756" y="215323"/>
                  </a:lnTo>
                  <a:lnTo>
                    <a:pt x="1145558" y="217093"/>
                  </a:lnTo>
                  <a:lnTo>
                    <a:pt x="1144986" y="218500"/>
                  </a:lnTo>
                  <a:lnTo>
                    <a:pt x="1144140" y="219991"/>
                  </a:lnTo>
                  <a:lnTo>
                    <a:pt x="1143467" y="221013"/>
                  </a:lnTo>
                  <a:lnTo>
                    <a:pt x="1141937" y="224088"/>
                  </a:lnTo>
                  <a:lnTo>
                    <a:pt x="1141576" y="225808"/>
                  </a:lnTo>
                  <a:lnTo>
                    <a:pt x="1142382" y="226342"/>
                  </a:lnTo>
                  <a:lnTo>
                    <a:pt x="1144071" y="226257"/>
                  </a:lnTo>
                  <a:lnTo>
                    <a:pt x="1148289" y="224936"/>
                  </a:lnTo>
                  <a:lnTo>
                    <a:pt x="1153689" y="224329"/>
                  </a:lnTo>
                  <a:lnTo>
                    <a:pt x="1158197" y="224814"/>
                  </a:lnTo>
                  <a:lnTo>
                    <a:pt x="1165306" y="224019"/>
                  </a:lnTo>
                  <a:lnTo>
                    <a:pt x="1190343" y="227978"/>
                  </a:lnTo>
                  <a:lnTo>
                    <a:pt x="1192925" y="229693"/>
                  </a:lnTo>
                  <a:lnTo>
                    <a:pt x="1194091" y="231487"/>
                  </a:lnTo>
                  <a:lnTo>
                    <a:pt x="1193608" y="234184"/>
                  </a:lnTo>
                  <a:lnTo>
                    <a:pt x="1192353" y="237413"/>
                  </a:lnTo>
                  <a:lnTo>
                    <a:pt x="1191833" y="239117"/>
                  </a:lnTo>
                  <a:lnTo>
                    <a:pt x="1191755" y="240431"/>
                  </a:lnTo>
                  <a:lnTo>
                    <a:pt x="1192001" y="241869"/>
                  </a:lnTo>
                  <a:lnTo>
                    <a:pt x="1194886" y="245053"/>
                  </a:lnTo>
                  <a:lnTo>
                    <a:pt x="1204578" y="249420"/>
                  </a:lnTo>
                  <a:lnTo>
                    <a:pt x="1208403" y="255101"/>
                  </a:lnTo>
                  <a:lnTo>
                    <a:pt x="1208780" y="258551"/>
                  </a:lnTo>
                  <a:lnTo>
                    <a:pt x="1208849" y="260871"/>
                  </a:lnTo>
                  <a:lnTo>
                    <a:pt x="1208277" y="262459"/>
                  </a:lnTo>
                  <a:lnTo>
                    <a:pt x="1204455" y="269133"/>
                  </a:lnTo>
                  <a:lnTo>
                    <a:pt x="1204167" y="270029"/>
                  </a:lnTo>
                  <a:lnTo>
                    <a:pt x="1204038" y="271194"/>
                  </a:lnTo>
                  <a:lnTo>
                    <a:pt x="1204276" y="273208"/>
                  </a:lnTo>
                  <a:lnTo>
                    <a:pt x="1207008" y="282388"/>
                  </a:lnTo>
                  <a:lnTo>
                    <a:pt x="1211142" y="292716"/>
                  </a:lnTo>
                  <a:lnTo>
                    <a:pt x="1211446" y="294093"/>
                  </a:lnTo>
                  <a:lnTo>
                    <a:pt x="1211082" y="296260"/>
                  </a:lnTo>
                  <a:lnTo>
                    <a:pt x="1210787" y="297528"/>
                  </a:lnTo>
                  <a:lnTo>
                    <a:pt x="1210388" y="298525"/>
                  </a:lnTo>
                  <a:lnTo>
                    <a:pt x="1209377" y="300192"/>
                  </a:lnTo>
                  <a:lnTo>
                    <a:pt x="1208374" y="301416"/>
                  </a:lnTo>
                  <a:lnTo>
                    <a:pt x="1206379" y="303156"/>
                  </a:lnTo>
                  <a:lnTo>
                    <a:pt x="1204227" y="304466"/>
                  </a:lnTo>
                  <a:lnTo>
                    <a:pt x="1203727" y="304987"/>
                  </a:lnTo>
                  <a:lnTo>
                    <a:pt x="1203499" y="305531"/>
                  </a:lnTo>
                  <a:lnTo>
                    <a:pt x="1203434" y="306149"/>
                  </a:lnTo>
                  <a:lnTo>
                    <a:pt x="1203526" y="307129"/>
                  </a:lnTo>
                  <a:lnTo>
                    <a:pt x="1203556" y="308517"/>
                  </a:lnTo>
                  <a:lnTo>
                    <a:pt x="1203269" y="309369"/>
                  </a:lnTo>
                  <a:lnTo>
                    <a:pt x="1202707" y="310246"/>
                  </a:lnTo>
                  <a:lnTo>
                    <a:pt x="1201930" y="310972"/>
                  </a:lnTo>
                  <a:lnTo>
                    <a:pt x="1201373" y="311643"/>
                  </a:lnTo>
                  <a:lnTo>
                    <a:pt x="1202874" y="313264"/>
                  </a:lnTo>
                  <a:lnTo>
                    <a:pt x="1206057" y="315507"/>
                  </a:lnTo>
                  <a:lnTo>
                    <a:pt x="1214937" y="320091"/>
                  </a:lnTo>
                  <a:lnTo>
                    <a:pt x="1218165" y="320882"/>
                  </a:lnTo>
                  <a:lnTo>
                    <a:pt x="1219760" y="320289"/>
                  </a:lnTo>
                  <a:lnTo>
                    <a:pt x="1219671" y="319074"/>
                  </a:lnTo>
                  <a:lnTo>
                    <a:pt x="1219794" y="318249"/>
                  </a:lnTo>
                  <a:lnTo>
                    <a:pt x="1220024" y="317513"/>
                  </a:lnTo>
                  <a:lnTo>
                    <a:pt x="1220644" y="316372"/>
                  </a:lnTo>
                  <a:lnTo>
                    <a:pt x="1221314" y="315466"/>
                  </a:lnTo>
                  <a:lnTo>
                    <a:pt x="1222146" y="314743"/>
                  </a:lnTo>
                  <a:lnTo>
                    <a:pt x="1223524" y="313951"/>
                  </a:lnTo>
                  <a:lnTo>
                    <a:pt x="1225006" y="313517"/>
                  </a:lnTo>
                  <a:lnTo>
                    <a:pt x="1226811" y="313340"/>
                  </a:lnTo>
                  <a:lnTo>
                    <a:pt x="1228284" y="313423"/>
                  </a:lnTo>
                  <a:lnTo>
                    <a:pt x="1241745" y="319860"/>
                  </a:lnTo>
                  <a:lnTo>
                    <a:pt x="1242160" y="321182"/>
                  </a:lnTo>
                  <a:lnTo>
                    <a:pt x="1241619" y="324320"/>
                  </a:lnTo>
                  <a:lnTo>
                    <a:pt x="1237436" y="339964"/>
                  </a:lnTo>
                  <a:lnTo>
                    <a:pt x="1236853" y="341108"/>
                  </a:lnTo>
                  <a:lnTo>
                    <a:pt x="1235450" y="343390"/>
                  </a:lnTo>
                  <a:lnTo>
                    <a:pt x="1233892" y="345111"/>
                  </a:lnTo>
                  <a:lnTo>
                    <a:pt x="1231338" y="347463"/>
                  </a:lnTo>
                  <a:lnTo>
                    <a:pt x="1230446" y="348514"/>
                  </a:lnTo>
                  <a:lnTo>
                    <a:pt x="1231147" y="349116"/>
                  </a:lnTo>
                  <a:lnTo>
                    <a:pt x="1233223" y="349267"/>
                  </a:lnTo>
                  <a:lnTo>
                    <a:pt x="1242341" y="347919"/>
                  </a:lnTo>
                  <a:lnTo>
                    <a:pt x="1246983" y="348271"/>
                  </a:lnTo>
                  <a:lnTo>
                    <a:pt x="1255286" y="352478"/>
                  </a:lnTo>
                  <a:lnTo>
                    <a:pt x="1256957" y="355281"/>
                  </a:lnTo>
                  <a:lnTo>
                    <a:pt x="1257805" y="357098"/>
                  </a:lnTo>
                  <a:lnTo>
                    <a:pt x="1258277" y="358434"/>
                  </a:lnTo>
                  <a:lnTo>
                    <a:pt x="1258892" y="361223"/>
                  </a:lnTo>
                  <a:lnTo>
                    <a:pt x="1259483" y="365517"/>
                  </a:lnTo>
                  <a:lnTo>
                    <a:pt x="1258621" y="371888"/>
                  </a:lnTo>
                  <a:lnTo>
                    <a:pt x="1253396" y="386676"/>
                  </a:lnTo>
                  <a:lnTo>
                    <a:pt x="1256960" y="387588"/>
                  </a:lnTo>
                  <a:lnTo>
                    <a:pt x="1260642" y="386801"/>
                  </a:lnTo>
                  <a:lnTo>
                    <a:pt x="1266924" y="384188"/>
                  </a:lnTo>
                  <a:lnTo>
                    <a:pt x="1268844" y="383922"/>
                  </a:lnTo>
                  <a:lnTo>
                    <a:pt x="1284621" y="384798"/>
                  </a:lnTo>
                  <a:lnTo>
                    <a:pt x="1292686" y="383637"/>
                  </a:lnTo>
                  <a:lnTo>
                    <a:pt x="1296337" y="382297"/>
                  </a:lnTo>
                  <a:lnTo>
                    <a:pt x="1298597" y="381147"/>
                  </a:lnTo>
                  <a:lnTo>
                    <a:pt x="1300522" y="380523"/>
                  </a:lnTo>
                  <a:lnTo>
                    <a:pt x="1301501" y="380979"/>
                  </a:lnTo>
                  <a:lnTo>
                    <a:pt x="1302635" y="382176"/>
                  </a:lnTo>
                  <a:lnTo>
                    <a:pt x="1301603" y="385649"/>
                  </a:lnTo>
                  <a:lnTo>
                    <a:pt x="1300755" y="387647"/>
                  </a:lnTo>
                  <a:lnTo>
                    <a:pt x="1298908" y="390610"/>
                  </a:lnTo>
                  <a:lnTo>
                    <a:pt x="1295545" y="394849"/>
                  </a:lnTo>
                  <a:lnTo>
                    <a:pt x="1294980" y="396142"/>
                  </a:lnTo>
                  <a:lnTo>
                    <a:pt x="1295126" y="397444"/>
                  </a:lnTo>
                  <a:lnTo>
                    <a:pt x="1296379" y="399322"/>
                  </a:lnTo>
                  <a:lnTo>
                    <a:pt x="1298240" y="399452"/>
                  </a:lnTo>
                  <a:lnTo>
                    <a:pt x="1301129" y="400628"/>
                  </a:lnTo>
                  <a:lnTo>
                    <a:pt x="1302268" y="401441"/>
                  </a:lnTo>
                  <a:lnTo>
                    <a:pt x="1302694" y="402333"/>
                  </a:lnTo>
                  <a:lnTo>
                    <a:pt x="1302519" y="403188"/>
                  </a:lnTo>
                  <a:lnTo>
                    <a:pt x="1299964" y="405754"/>
                  </a:lnTo>
                  <a:lnTo>
                    <a:pt x="1299337" y="407520"/>
                  </a:lnTo>
                  <a:lnTo>
                    <a:pt x="1299025" y="410308"/>
                  </a:lnTo>
                  <a:lnTo>
                    <a:pt x="1299329" y="416210"/>
                  </a:lnTo>
                  <a:lnTo>
                    <a:pt x="1298829" y="420785"/>
                  </a:lnTo>
                  <a:lnTo>
                    <a:pt x="1296647" y="428010"/>
                  </a:lnTo>
                  <a:lnTo>
                    <a:pt x="1293224" y="436329"/>
                  </a:lnTo>
                  <a:lnTo>
                    <a:pt x="1292156" y="438177"/>
                  </a:lnTo>
                  <a:lnTo>
                    <a:pt x="1290146" y="440705"/>
                  </a:lnTo>
                  <a:lnTo>
                    <a:pt x="1288146" y="442451"/>
                  </a:lnTo>
                  <a:lnTo>
                    <a:pt x="1283497" y="445194"/>
                  </a:lnTo>
                  <a:lnTo>
                    <a:pt x="1282442" y="446037"/>
                  </a:lnTo>
                  <a:lnTo>
                    <a:pt x="1281994" y="446650"/>
                  </a:lnTo>
                  <a:lnTo>
                    <a:pt x="1281646" y="448007"/>
                  </a:lnTo>
                  <a:lnTo>
                    <a:pt x="1281117" y="450480"/>
                  </a:lnTo>
                  <a:lnTo>
                    <a:pt x="1280491" y="452038"/>
                  </a:lnTo>
                  <a:lnTo>
                    <a:pt x="1279758" y="453417"/>
                  </a:lnTo>
                  <a:lnTo>
                    <a:pt x="1278695" y="454762"/>
                  </a:lnTo>
                  <a:lnTo>
                    <a:pt x="1277918" y="455416"/>
                  </a:lnTo>
                  <a:lnTo>
                    <a:pt x="1277247" y="456190"/>
                  </a:lnTo>
                  <a:lnTo>
                    <a:pt x="1276796" y="457040"/>
                  </a:lnTo>
                  <a:lnTo>
                    <a:pt x="1276320" y="459576"/>
                  </a:lnTo>
                  <a:lnTo>
                    <a:pt x="1276166" y="462707"/>
                  </a:lnTo>
                  <a:lnTo>
                    <a:pt x="1276276" y="466520"/>
                  </a:lnTo>
                  <a:lnTo>
                    <a:pt x="1277221" y="473391"/>
                  </a:lnTo>
                  <a:lnTo>
                    <a:pt x="1277403" y="476053"/>
                  </a:lnTo>
                  <a:lnTo>
                    <a:pt x="1277213" y="477796"/>
                  </a:lnTo>
                  <a:lnTo>
                    <a:pt x="1276039" y="479197"/>
                  </a:lnTo>
                  <a:lnTo>
                    <a:pt x="1275363" y="480370"/>
                  </a:lnTo>
                  <a:lnTo>
                    <a:pt x="1275058" y="482434"/>
                  </a:lnTo>
                  <a:lnTo>
                    <a:pt x="1275186" y="485009"/>
                  </a:lnTo>
                  <a:lnTo>
                    <a:pt x="1275952" y="489113"/>
                  </a:lnTo>
                  <a:lnTo>
                    <a:pt x="1275483" y="491159"/>
                  </a:lnTo>
                  <a:lnTo>
                    <a:pt x="1274621" y="492506"/>
                  </a:lnTo>
                  <a:lnTo>
                    <a:pt x="1272235" y="493979"/>
                  </a:lnTo>
                  <a:lnTo>
                    <a:pt x="1271231" y="494940"/>
                  </a:lnTo>
                  <a:lnTo>
                    <a:pt x="1270441" y="496319"/>
                  </a:lnTo>
                  <a:lnTo>
                    <a:pt x="1269861" y="498350"/>
                  </a:lnTo>
                  <a:lnTo>
                    <a:pt x="1269543" y="501315"/>
                  </a:lnTo>
                  <a:lnTo>
                    <a:pt x="1269500" y="504330"/>
                  </a:lnTo>
                  <a:lnTo>
                    <a:pt x="1269688" y="506460"/>
                  </a:lnTo>
                  <a:lnTo>
                    <a:pt x="1270160" y="508108"/>
                  </a:lnTo>
                  <a:lnTo>
                    <a:pt x="1270746" y="509416"/>
                  </a:lnTo>
                  <a:lnTo>
                    <a:pt x="1271667" y="510420"/>
                  </a:lnTo>
                  <a:lnTo>
                    <a:pt x="1276964" y="510688"/>
                  </a:lnTo>
                  <a:lnTo>
                    <a:pt x="1293484" y="505775"/>
                  </a:lnTo>
                  <a:lnTo>
                    <a:pt x="1287735" y="515715"/>
                  </a:lnTo>
                  <a:lnTo>
                    <a:pt x="1285389" y="518196"/>
                  </a:lnTo>
                  <a:lnTo>
                    <a:pt x="1259764" y="526311"/>
                  </a:lnTo>
                  <a:lnTo>
                    <a:pt x="1256598" y="528156"/>
                  </a:lnTo>
                  <a:lnTo>
                    <a:pt x="1255147" y="529462"/>
                  </a:lnTo>
                  <a:lnTo>
                    <a:pt x="1255410" y="530265"/>
                  </a:lnTo>
                  <a:lnTo>
                    <a:pt x="1256601" y="531583"/>
                  </a:lnTo>
                  <a:lnTo>
                    <a:pt x="1257308" y="532200"/>
                  </a:lnTo>
                  <a:lnTo>
                    <a:pt x="1261832" y="535385"/>
                  </a:lnTo>
                  <a:lnTo>
                    <a:pt x="1262429" y="535986"/>
                  </a:lnTo>
                  <a:lnTo>
                    <a:pt x="1262748" y="536730"/>
                  </a:lnTo>
                  <a:lnTo>
                    <a:pt x="1262846" y="537602"/>
                  </a:lnTo>
                  <a:lnTo>
                    <a:pt x="1262778" y="538489"/>
                  </a:lnTo>
                  <a:lnTo>
                    <a:pt x="1262544" y="539387"/>
                  </a:lnTo>
                  <a:lnTo>
                    <a:pt x="1261062" y="542733"/>
                  </a:lnTo>
                  <a:lnTo>
                    <a:pt x="1260429" y="544526"/>
                  </a:lnTo>
                  <a:lnTo>
                    <a:pt x="1259730" y="547119"/>
                  </a:lnTo>
                  <a:lnTo>
                    <a:pt x="1258693" y="550103"/>
                  </a:lnTo>
                  <a:lnTo>
                    <a:pt x="1258514" y="551002"/>
                  </a:lnTo>
                  <a:lnTo>
                    <a:pt x="1258336" y="551870"/>
                  </a:lnTo>
                  <a:lnTo>
                    <a:pt x="1257291" y="555446"/>
                  </a:lnTo>
                  <a:lnTo>
                    <a:pt x="1255739" y="559620"/>
                  </a:lnTo>
                  <a:lnTo>
                    <a:pt x="1254102" y="562122"/>
                  </a:lnTo>
                  <a:lnTo>
                    <a:pt x="1252120" y="564384"/>
                  </a:lnTo>
                  <a:lnTo>
                    <a:pt x="1248432" y="567550"/>
                  </a:lnTo>
                  <a:lnTo>
                    <a:pt x="1246685" y="569976"/>
                  </a:lnTo>
                  <a:lnTo>
                    <a:pt x="1245264" y="572731"/>
                  </a:lnTo>
                  <a:lnTo>
                    <a:pt x="1243655" y="576905"/>
                  </a:lnTo>
                  <a:lnTo>
                    <a:pt x="1242467" y="578806"/>
                  </a:lnTo>
                  <a:lnTo>
                    <a:pt x="1241286" y="580209"/>
                  </a:lnTo>
                  <a:lnTo>
                    <a:pt x="1236500" y="582822"/>
                  </a:lnTo>
                  <a:lnTo>
                    <a:pt x="1232003" y="586831"/>
                  </a:lnTo>
                  <a:lnTo>
                    <a:pt x="1229267" y="588797"/>
                  </a:lnTo>
                  <a:lnTo>
                    <a:pt x="1225496" y="589889"/>
                  </a:lnTo>
                  <a:lnTo>
                    <a:pt x="1218470" y="594208"/>
                  </a:lnTo>
                  <a:lnTo>
                    <a:pt x="1216733" y="595777"/>
                  </a:lnTo>
                  <a:lnTo>
                    <a:pt x="1215383" y="597262"/>
                  </a:lnTo>
                  <a:lnTo>
                    <a:pt x="1214523" y="599155"/>
                  </a:lnTo>
                  <a:lnTo>
                    <a:pt x="1213884" y="601079"/>
                  </a:lnTo>
                  <a:lnTo>
                    <a:pt x="1213353" y="603111"/>
                  </a:lnTo>
                  <a:lnTo>
                    <a:pt x="1213228" y="603995"/>
                  </a:lnTo>
                  <a:lnTo>
                    <a:pt x="1213201" y="605589"/>
                  </a:lnTo>
                  <a:lnTo>
                    <a:pt x="1213232" y="607098"/>
                  </a:lnTo>
                  <a:lnTo>
                    <a:pt x="1213163" y="607895"/>
                  </a:lnTo>
                  <a:lnTo>
                    <a:pt x="1212958" y="609163"/>
                  </a:lnTo>
                  <a:lnTo>
                    <a:pt x="1212602" y="610635"/>
                  </a:lnTo>
                  <a:lnTo>
                    <a:pt x="1211727" y="613429"/>
                  </a:lnTo>
                  <a:lnTo>
                    <a:pt x="1210882" y="614390"/>
                  </a:lnTo>
                  <a:lnTo>
                    <a:pt x="1210046" y="614849"/>
                  </a:lnTo>
                  <a:lnTo>
                    <a:pt x="1205920" y="613789"/>
                  </a:lnTo>
                  <a:lnTo>
                    <a:pt x="1204083" y="614601"/>
                  </a:lnTo>
                  <a:lnTo>
                    <a:pt x="1191295" y="624400"/>
                  </a:lnTo>
                  <a:lnTo>
                    <a:pt x="1189797" y="624715"/>
                  </a:lnTo>
                  <a:lnTo>
                    <a:pt x="1186979" y="624681"/>
                  </a:lnTo>
                  <a:lnTo>
                    <a:pt x="1173766" y="621785"/>
                  </a:lnTo>
                  <a:lnTo>
                    <a:pt x="1167112" y="615943"/>
                  </a:lnTo>
                  <a:lnTo>
                    <a:pt x="1165443" y="613534"/>
                  </a:lnTo>
                  <a:lnTo>
                    <a:pt x="1165292" y="612733"/>
                  </a:lnTo>
                  <a:lnTo>
                    <a:pt x="1165253" y="611874"/>
                  </a:lnTo>
                  <a:lnTo>
                    <a:pt x="1165801" y="606121"/>
                  </a:lnTo>
                  <a:lnTo>
                    <a:pt x="1165981" y="605342"/>
                  </a:lnTo>
                  <a:lnTo>
                    <a:pt x="1166224" y="604178"/>
                  </a:lnTo>
                  <a:lnTo>
                    <a:pt x="1165606" y="598697"/>
                  </a:lnTo>
                  <a:lnTo>
                    <a:pt x="1163511" y="595525"/>
                  </a:lnTo>
                  <a:lnTo>
                    <a:pt x="1162213" y="594083"/>
                  </a:lnTo>
                  <a:lnTo>
                    <a:pt x="1160954" y="593527"/>
                  </a:lnTo>
                  <a:lnTo>
                    <a:pt x="1159241" y="593615"/>
                  </a:lnTo>
                  <a:lnTo>
                    <a:pt x="1158409" y="593776"/>
                  </a:lnTo>
                  <a:lnTo>
                    <a:pt x="1153309" y="591020"/>
                  </a:lnTo>
                  <a:lnTo>
                    <a:pt x="1146458" y="585552"/>
                  </a:lnTo>
                  <a:lnTo>
                    <a:pt x="1143342" y="583987"/>
                  </a:lnTo>
                  <a:lnTo>
                    <a:pt x="1141258" y="583281"/>
                  </a:lnTo>
                  <a:lnTo>
                    <a:pt x="1135517" y="586155"/>
                  </a:lnTo>
                  <a:lnTo>
                    <a:pt x="1120745" y="589704"/>
                  </a:lnTo>
                  <a:lnTo>
                    <a:pt x="1102045" y="598647"/>
                  </a:lnTo>
                  <a:lnTo>
                    <a:pt x="1100688" y="600170"/>
                  </a:lnTo>
                  <a:lnTo>
                    <a:pt x="1100112" y="601297"/>
                  </a:lnTo>
                  <a:lnTo>
                    <a:pt x="1099586" y="602689"/>
                  </a:lnTo>
                  <a:lnTo>
                    <a:pt x="1099037" y="605161"/>
                  </a:lnTo>
                  <a:lnTo>
                    <a:pt x="1099004" y="606699"/>
                  </a:lnTo>
                  <a:lnTo>
                    <a:pt x="1099257" y="607826"/>
                  </a:lnTo>
                  <a:lnTo>
                    <a:pt x="1099735" y="608753"/>
                  </a:lnTo>
                  <a:lnTo>
                    <a:pt x="1102736" y="613221"/>
                  </a:lnTo>
                  <a:lnTo>
                    <a:pt x="1103214" y="614147"/>
                  </a:lnTo>
                  <a:lnTo>
                    <a:pt x="1103999" y="616232"/>
                  </a:lnTo>
                  <a:lnTo>
                    <a:pt x="1104499" y="618785"/>
                  </a:lnTo>
                  <a:lnTo>
                    <a:pt x="1105051" y="624162"/>
                  </a:lnTo>
                  <a:lnTo>
                    <a:pt x="1105138" y="625272"/>
                  </a:lnTo>
                  <a:lnTo>
                    <a:pt x="1104861" y="630617"/>
                  </a:lnTo>
                  <a:lnTo>
                    <a:pt x="1104945" y="631889"/>
                  </a:lnTo>
                  <a:lnTo>
                    <a:pt x="1105204" y="632724"/>
                  </a:lnTo>
                  <a:lnTo>
                    <a:pt x="1105691" y="633294"/>
                  </a:lnTo>
                  <a:lnTo>
                    <a:pt x="1106402" y="633634"/>
                  </a:lnTo>
                  <a:lnTo>
                    <a:pt x="1113806" y="634879"/>
                  </a:lnTo>
                  <a:lnTo>
                    <a:pt x="1114734" y="635431"/>
                  </a:lnTo>
                  <a:lnTo>
                    <a:pt x="1115712" y="636308"/>
                  </a:lnTo>
                  <a:lnTo>
                    <a:pt x="1116725" y="638162"/>
                  </a:lnTo>
                  <a:lnTo>
                    <a:pt x="1116629" y="640170"/>
                  </a:lnTo>
                  <a:lnTo>
                    <a:pt x="1115860" y="642652"/>
                  </a:lnTo>
                  <a:lnTo>
                    <a:pt x="1113994" y="647328"/>
                  </a:lnTo>
                  <a:lnTo>
                    <a:pt x="1112629" y="649149"/>
                  </a:lnTo>
                  <a:lnTo>
                    <a:pt x="1111318" y="650112"/>
                  </a:lnTo>
                  <a:lnTo>
                    <a:pt x="1096479" y="650542"/>
                  </a:lnTo>
                  <a:lnTo>
                    <a:pt x="1092799" y="651885"/>
                  </a:lnTo>
                  <a:lnTo>
                    <a:pt x="1083615" y="658607"/>
                  </a:lnTo>
                  <a:lnTo>
                    <a:pt x="1082779" y="658914"/>
                  </a:lnTo>
                  <a:lnTo>
                    <a:pt x="1081891" y="659013"/>
                  </a:lnTo>
                  <a:lnTo>
                    <a:pt x="1081006" y="658963"/>
                  </a:lnTo>
                  <a:lnTo>
                    <a:pt x="1073534" y="656422"/>
                  </a:lnTo>
                  <a:lnTo>
                    <a:pt x="1071819" y="655542"/>
                  </a:lnTo>
                  <a:lnTo>
                    <a:pt x="1070004" y="654999"/>
                  </a:lnTo>
                  <a:lnTo>
                    <a:pt x="1068185" y="654664"/>
                  </a:lnTo>
                  <a:lnTo>
                    <a:pt x="1066138" y="654618"/>
                  </a:lnTo>
                  <a:lnTo>
                    <a:pt x="1061640" y="655287"/>
                  </a:lnTo>
                  <a:lnTo>
                    <a:pt x="1053112" y="657934"/>
                  </a:lnTo>
                  <a:lnTo>
                    <a:pt x="1045656" y="658798"/>
                  </a:lnTo>
                  <a:lnTo>
                    <a:pt x="1039521" y="658360"/>
                  </a:lnTo>
                  <a:lnTo>
                    <a:pt x="1037073" y="658894"/>
                  </a:lnTo>
                  <a:lnTo>
                    <a:pt x="1028553" y="662569"/>
                  </a:lnTo>
                  <a:lnTo>
                    <a:pt x="1021874" y="664064"/>
                  </a:lnTo>
                  <a:lnTo>
                    <a:pt x="1020471" y="664845"/>
                  </a:lnTo>
                  <a:lnTo>
                    <a:pt x="1019732" y="665626"/>
                  </a:lnTo>
                  <a:lnTo>
                    <a:pt x="1019652" y="666643"/>
                  </a:lnTo>
                  <a:lnTo>
                    <a:pt x="1017347" y="670403"/>
                  </a:lnTo>
                  <a:lnTo>
                    <a:pt x="1013307" y="672551"/>
                  </a:lnTo>
                  <a:lnTo>
                    <a:pt x="1010352" y="674873"/>
                  </a:lnTo>
                  <a:lnTo>
                    <a:pt x="1010111" y="675666"/>
                  </a:lnTo>
                  <a:lnTo>
                    <a:pt x="1010036" y="676463"/>
                  </a:lnTo>
                  <a:lnTo>
                    <a:pt x="1009796" y="677256"/>
                  </a:lnTo>
                  <a:lnTo>
                    <a:pt x="1009255" y="678956"/>
                  </a:lnTo>
                  <a:lnTo>
                    <a:pt x="1008169" y="680320"/>
                  </a:lnTo>
                  <a:lnTo>
                    <a:pt x="996191" y="691926"/>
                  </a:lnTo>
                  <a:lnTo>
                    <a:pt x="988219" y="701823"/>
                  </a:lnTo>
                  <a:lnTo>
                    <a:pt x="986192" y="705216"/>
                  </a:lnTo>
                  <a:lnTo>
                    <a:pt x="982276" y="713144"/>
                  </a:lnTo>
                  <a:lnTo>
                    <a:pt x="981557" y="715254"/>
                  </a:lnTo>
                  <a:lnTo>
                    <a:pt x="981305" y="716402"/>
                  </a:lnTo>
                  <a:lnTo>
                    <a:pt x="981396" y="717201"/>
                  </a:lnTo>
                  <a:lnTo>
                    <a:pt x="981654" y="717978"/>
                  </a:lnTo>
                  <a:lnTo>
                    <a:pt x="982134" y="718728"/>
                  </a:lnTo>
                  <a:lnTo>
                    <a:pt x="982782" y="719468"/>
                  </a:lnTo>
                  <a:lnTo>
                    <a:pt x="984355" y="720883"/>
                  </a:lnTo>
                  <a:lnTo>
                    <a:pt x="986590" y="722506"/>
                  </a:lnTo>
                  <a:lnTo>
                    <a:pt x="987833" y="723810"/>
                  </a:lnTo>
                  <a:lnTo>
                    <a:pt x="988147" y="724571"/>
                  </a:lnTo>
                  <a:lnTo>
                    <a:pt x="988350" y="725329"/>
                  </a:lnTo>
                  <a:lnTo>
                    <a:pt x="988681" y="727628"/>
                  </a:lnTo>
                  <a:lnTo>
                    <a:pt x="989079" y="729487"/>
                  </a:lnTo>
                  <a:lnTo>
                    <a:pt x="989336" y="730292"/>
                  </a:lnTo>
                  <a:lnTo>
                    <a:pt x="989705" y="731098"/>
                  </a:lnTo>
                  <a:lnTo>
                    <a:pt x="990205" y="731835"/>
                  </a:lnTo>
                  <a:lnTo>
                    <a:pt x="990910" y="732459"/>
                  </a:lnTo>
                  <a:lnTo>
                    <a:pt x="992447" y="733207"/>
                  </a:lnTo>
                  <a:lnTo>
                    <a:pt x="995760" y="733911"/>
                  </a:lnTo>
                  <a:lnTo>
                    <a:pt x="997482" y="733879"/>
                  </a:lnTo>
                  <a:lnTo>
                    <a:pt x="998543" y="733624"/>
                  </a:lnTo>
                  <a:lnTo>
                    <a:pt x="999502" y="733028"/>
                  </a:lnTo>
                  <a:lnTo>
                    <a:pt x="1000361" y="731954"/>
                  </a:lnTo>
                  <a:lnTo>
                    <a:pt x="1002340" y="728218"/>
                  </a:lnTo>
                  <a:lnTo>
                    <a:pt x="1002683" y="727798"/>
                  </a:lnTo>
                  <a:lnTo>
                    <a:pt x="1003251" y="727265"/>
                  </a:lnTo>
                  <a:lnTo>
                    <a:pt x="1004041" y="726782"/>
                  </a:lnTo>
                  <a:lnTo>
                    <a:pt x="1005830" y="726250"/>
                  </a:lnTo>
                  <a:lnTo>
                    <a:pt x="1013186" y="725793"/>
                  </a:lnTo>
                  <a:lnTo>
                    <a:pt x="1020504" y="723779"/>
                  </a:lnTo>
                  <a:lnTo>
                    <a:pt x="1028517" y="718147"/>
                  </a:lnTo>
                  <a:lnTo>
                    <a:pt x="1030200" y="717387"/>
                  </a:lnTo>
                  <a:lnTo>
                    <a:pt x="1031834" y="717101"/>
                  </a:lnTo>
                  <a:lnTo>
                    <a:pt x="1032604" y="717370"/>
                  </a:lnTo>
                  <a:lnTo>
                    <a:pt x="1033370" y="717846"/>
                  </a:lnTo>
                  <a:lnTo>
                    <a:pt x="1033908" y="718537"/>
                  </a:lnTo>
                  <a:lnTo>
                    <a:pt x="1034224" y="719315"/>
                  </a:lnTo>
                  <a:lnTo>
                    <a:pt x="1034369" y="720189"/>
                  </a:lnTo>
                  <a:lnTo>
                    <a:pt x="1034181" y="721147"/>
                  </a:lnTo>
                  <a:lnTo>
                    <a:pt x="1032816" y="724943"/>
                  </a:lnTo>
                  <a:lnTo>
                    <a:pt x="1032689" y="725634"/>
                  </a:lnTo>
                  <a:lnTo>
                    <a:pt x="1032784" y="726286"/>
                  </a:lnTo>
                  <a:lnTo>
                    <a:pt x="1033384" y="726743"/>
                  </a:lnTo>
                  <a:lnTo>
                    <a:pt x="1036125" y="728241"/>
                  </a:lnTo>
                  <a:lnTo>
                    <a:pt x="1036663" y="728965"/>
                  </a:lnTo>
                  <a:lnTo>
                    <a:pt x="1036875" y="729413"/>
                  </a:lnTo>
                  <a:lnTo>
                    <a:pt x="1038480" y="736767"/>
                  </a:lnTo>
                  <a:lnTo>
                    <a:pt x="1038825" y="738667"/>
                  </a:lnTo>
                  <a:lnTo>
                    <a:pt x="1038911" y="739762"/>
                  </a:lnTo>
                  <a:lnTo>
                    <a:pt x="1040853" y="749444"/>
                  </a:lnTo>
                  <a:lnTo>
                    <a:pt x="1041072" y="751991"/>
                  </a:lnTo>
                  <a:lnTo>
                    <a:pt x="1042359" y="758880"/>
                  </a:lnTo>
                  <a:lnTo>
                    <a:pt x="1042563" y="759653"/>
                  </a:lnTo>
                  <a:lnTo>
                    <a:pt x="1042658" y="760364"/>
                  </a:lnTo>
                  <a:lnTo>
                    <a:pt x="1043198" y="763482"/>
                  </a:lnTo>
                  <a:lnTo>
                    <a:pt x="1043384" y="765066"/>
                  </a:lnTo>
                  <a:lnTo>
                    <a:pt x="1043449" y="767093"/>
                  </a:lnTo>
                  <a:lnTo>
                    <a:pt x="1043255" y="770681"/>
                  </a:lnTo>
                  <a:lnTo>
                    <a:pt x="1042937" y="772432"/>
                  </a:lnTo>
                  <a:lnTo>
                    <a:pt x="1042465" y="773604"/>
                  </a:lnTo>
                  <a:lnTo>
                    <a:pt x="1030604" y="786279"/>
                  </a:lnTo>
                  <a:lnTo>
                    <a:pt x="1023124" y="796007"/>
                  </a:lnTo>
                  <a:lnTo>
                    <a:pt x="1022369" y="797333"/>
                  </a:lnTo>
                  <a:lnTo>
                    <a:pt x="1022296" y="798056"/>
                  </a:lnTo>
                  <a:lnTo>
                    <a:pt x="1022278" y="798839"/>
                  </a:lnTo>
                  <a:lnTo>
                    <a:pt x="1022425" y="799654"/>
                  </a:lnTo>
                  <a:lnTo>
                    <a:pt x="1022741" y="800432"/>
                  </a:lnTo>
                  <a:lnTo>
                    <a:pt x="1025682" y="805556"/>
                  </a:lnTo>
                  <a:lnTo>
                    <a:pt x="1026146" y="807118"/>
                  </a:lnTo>
                  <a:lnTo>
                    <a:pt x="1026249" y="809855"/>
                  </a:lnTo>
                  <a:lnTo>
                    <a:pt x="1025826" y="811235"/>
                  </a:lnTo>
                  <a:lnTo>
                    <a:pt x="1025137" y="812135"/>
                  </a:lnTo>
                  <a:lnTo>
                    <a:pt x="1015892" y="816868"/>
                  </a:lnTo>
                  <a:lnTo>
                    <a:pt x="1011066" y="820669"/>
                  </a:lnTo>
                  <a:lnTo>
                    <a:pt x="1010221" y="821076"/>
                  </a:lnTo>
                  <a:lnTo>
                    <a:pt x="1009270" y="821233"/>
                  </a:lnTo>
                  <a:lnTo>
                    <a:pt x="1008382" y="821106"/>
                  </a:lnTo>
                  <a:lnTo>
                    <a:pt x="997248" y="817834"/>
                  </a:lnTo>
                  <a:lnTo>
                    <a:pt x="960469" y="817067"/>
                  </a:lnTo>
                  <a:lnTo>
                    <a:pt x="958842" y="821813"/>
                  </a:lnTo>
                  <a:lnTo>
                    <a:pt x="960051" y="824566"/>
                  </a:lnTo>
                  <a:lnTo>
                    <a:pt x="961441" y="826819"/>
                  </a:lnTo>
                  <a:lnTo>
                    <a:pt x="963816" y="831966"/>
                  </a:lnTo>
                  <a:lnTo>
                    <a:pt x="964589" y="834380"/>
                  </a:lnTo>
                  <a:lnTo>
                    <a:pt x="964823" y="836145"/>
                  </a:lnTo>
                  <a:lnTo>
                    <a:pt x="963926" y="838473"/>
                  </a:lnTo>
                  <a:lnTo>
                    <a:pt x="963507" y="841772"/>
                  </a:lnTo>
                  <a:lnTo>
                    <a:pt x="964026" y="845422"/>
                  </a:lnTo>
                  <a:lnTo>
                    <a:pt x="965943" y="853247"/>
                  </a:lnTo>
                  <a:lnTo>
                    <a:pt x="966529" y="856501"/>
                  </a:lnTo>
                  <a:lnTo>
                    <a:pt x="966637" y="858793"/>
                  </a:lnTo>
                  <a:lnTo>
                    <a:pt x="964133" y="862899"/>
                  </a:lnTo>
                  <a:lnTo>
                    <a:pt x="960167" y="867378"/>
                  </a:lnTo>
                  <a:lnTo>
                    <a:pt x="959641" y="868281"/>
                  </a:lnTo>
                  <a:lnTo>
                    <a:pt x="958463" y="870644"/>
                  </a:lnTo>
                  <a:lnTo>
                    <a:pt x="957091" y="874068"/>
                  </a:lnTo>
                  <a:lnTo>
                    <a:pt x="955271" y="877510"/>
                  </a:lnTo>
                  <a:lnTo>
                    <a:pt x="954373" y="879793"/>
                  </a:lnTo>
                  <a:lnTo>
                    <a:pt x="953845" y="880784"/>
                  </a:lnTo>
                  <a:lnTo>
                    <a:pt x="953323" y="881538"/>
                  </a:lnTo>
                  <a:lnTo>
                    <a:pt x="952528" y="882022"/>
                  </a:lnTo>
                  <a:lnTo>
                    <a:pt x="951683" y="882324"/>
                  </a:lnTo>
                  <a:lnTo>
                    <a:pt x="948820" y="882899"/>
                  </a:lnTo>
                  <a:lnTo>
                    <a:pt x="946404" y="885555"/>
                  </a:lnTo>
                  <a:lnTo>
                    <a:pt x="941591" y="895775"/>
                  </a:lnTo>
                  <a:lnTo>
                    <a:pt x="938407" y="902047"/>
                  </a:lnTo>
                  <a:lnTo>
                    <a:pt x="938151" y="903252"/>
                  </a:lnTo>
                  <a:lnTo>
                    <a:pt x="937850" y="906142"/>
                  </a:lnTo>
                  <a:lnTo>
                    <a:pt x="937497" y="915179"/>
                  </a:lnTo>
                  <a:lnTo>
                    <a:pt x="936765" y="917481"/>
                  </a:lnTo>
                  <a:lnTo>
                    <a:pt x="935837" y="918727"/>
                  </a:lnTo>
                  <a:lnTo>
                    <a:pt x="934943" y="918688"/>
                  </a:lnTo>
                  <a:lnTo>
                    <a:pt x="930892" y="917544"/>
                  </a:lnTo>
                  <a:lnTo>
                    <a:pt x="928764" y="917663"/>
                  </a:lnTo>
                  <a:lnTo>
                    <a:pt x="922542" y="921665"/>
                  </a:lnTo>
                  <a:lnTo>
                    <a:pt x="912727" y="930767"/>
                  </a:lnTo>
                  <a:lnTo>
                    <a:pt x="911330" y="932738"/>
                  </a:lnTo>
                  <a:lnTo>
                    <a:pt x="911531" y="935581"/>
                  </a:lnTo>
                  <a:lnTo>
                    <a:pt x="911513" y="938256"/>
                  </a:lnTo>
                  <a:lnTo>
                    <a:pt x="911027" y="939649"/>
                  </a:lnTo>
                  <a:lnTo>
                    <a:pt x="910386" y="940576"/>
                  </a:lnTo>
                  <a:lnTo>
                    <a:pt x="902763" y="946337"/>
                  </a:lnTo>
                  <a:lnTo>
                    <a:pt x="900718" y="947404"/>
                  </a:lnTo>
                  <a:lnTo>
                    <a:pt x="899078" y="947978"/>
                  </a:lnTo>
                  <a:lnTo>
                    <a:pt x="894377" y="947919"/>
                  </a:lnTo>
                  <a:lnTo>
                    <a:pt x="889150" y="948672"/>
                  </a:lnTo>
                  <a:lnTo>
                    <a:pt x="883233" y="947409"/>
                  </a:lnTo>
                  <a:lnTo>
                    <a:pt x="881207" y="945811"/>
                  </a:lnTo>
                  <a:lnTo>
                    <a:pt x="878402" y="938309"/>
                  </a:lnTo>
                  <a:lnTo>
                    <a:pt x="877431" y="937039"/>
                  </a:lnTo>
                  <a:lnTo>
                    <a:pt x="876110" y="936291"/>
                  </a:lnTo>
                  <a:lnTo>
                    <a:pt x="871742" y="936402"/>
                  </a:lnTo>
                  <a:lnTo>
                    <a:pt x="870270" y="936948"/>
                  </a:lnTo>
                  <a:lnTo>
                    <a:pt x="869188" y="937628"/>
                  </a:lnTo>
                  <a:lnTo>
                    <a:pt x="864662" y="943083"/>
                  </a:lnTo>
                  <a:lnTo>
                    <a:pt x="848672" y="956756"/>
                  </a:lnTo>
                  <a:lnTo>
                    <a:pt x="847918" y="957619"/>
                  </a:lnTo>
                  <a:lnTo>
                    <a:pt x="846273" y="960187"/>
                  </a:lnTo>
                  <a:lnTo>
                    <a:pt x="845404" y="961136"/>
                  </a:lnTo>
                  <a:lnTo>
                    <a:pt x="838237" y="965961"/>
                  </a:lnTo>
                  <a:lnTo>
                    <a:pt x="837600" y="966651"/>
                  </a:lnTo>
                  <a:lnTo>
                    <a:pt x="837184" y="967453"/>
                  </a:lnTo>
                  <a:lnTo>
                    <a:pt x="834384" y="974730"/>
                  </a:lnTo>
                  <a:lnTo>
                    <a:pt x="816591" y="989379"/>
                  </a:lnTo>
                  <a:lnTo>
                    <a:pt x="814678" y="991388"/>
                  </a:lnTo>
                  <a:lnTo>
                    <a:pt x="814374" y="992147"/>
                  </a:lnTo>
                  <a:lnTo>
                    <a:pt x="814177" y="993073"/>
                  </a:lnTo>
                  <a:lnTo>
                    <a:pt x="814151" y="993915"/>
                  </a:lnTo>
                  <a:lnTo>
                    <a:pt x="814353" y="994631"/>
                  </a:lnTo>
                  <a:lnTo>
                    <a:pt x="814780" y="995325"/>
                  </a:lnTo>
                  <a:lnTo>
                    <a:pt x="815546" y="995941"/>
                  </a:lnTo>
                  <a:lnTo>
                    <a:pt x="816262" y="996347"/>
                  </a:lnTo>
                  <a:lnTo>
                    <a:pt x="816918" y="996900"/>
                  </a:lnTo>
                  <a:lnTo>
                    <a:pt x="817288" y="997621"/>
                  </a:lnTo>
                  <a:lnTo>
                    <a:pt x="817376" y="998423"/>
                  </a:lnTo>
                  <a:lnTo>
                    <a:pt x="817157" y="1000042"/>
                  </a:lnTo>
                  <a:lnTo>
                    <a:pt x="817190" y="1000781"/>
                  </a:lnTo>
                  <a:lnTo>
                    <a:pt x="817559" y="1001561"/>
                  </a:lnTo>
                  <a:lnTo>
                    <a:pt x="818263" y="1002382"/>
                  </a:lnTo>
                  <a:lnTo>
                    <a:pt x="826164" y="1008778"/>
                  </a:lnTo>
                  <a:lnTo>
                    <a:pt x="827680" y="1010568"/>
                  </a:lnTo>
                  <a:lnTo>
                    <a:pt x="828160" y="1011382"/>
                  </a:lnTo>
                  <a:lnTo>
                    <a:pt x="828581" y="1012281"/>
                  </a:lnTo>
                  <a:lnTo>
                    <a:pt x="828776" y="1013263"/>
                  </a:lnTo>
                  <a:lnTo>
                    <a:pt x="828800" y="1014301"/>
                  </a:lnTo>
                  <a:lnTo>
                    <a:pt x="826322" y="1029216"/>
                  </a:lnTo>
                  <a:lnTo>
                    <a:pt x="825227" y="1033764"/>
                  </a:lnTo>
                  <a:lnTo>
                    <a:pt x="824343" y="1035127"/>
                  </a:lnTo>
                  <a:lnTo>
                    <a:pt x="823141" y="1035845"/>
                  </a:lnTo>
                  <a:lnTo>
                    <a:pt x="819394" y="1036512"/>
                  </a:lnTo>
                  <a:lnTo>
                    <a:pt x="817774" y="1038058"/>
                  </a:lnTo>
                  <a:lnTo>
                    <a:pt x="816724" y="1039267"/>
                  </a:lnTo>
                  <a:lnTo>
                    <a:pt x="813056" y="1047017"/>
                  </a:lnTo>
                  <a:lnTo>
                    <a:pt x="803205" y="1040410"/>
                  </a:lnTo>
                  <a:lnTo>
                    <a:pt x="799183" y="1039084"/>
                  </a:lnTo>
                  <a:lnTo>
                    <a:pt x="796988" y="1039206"/>
                  </a:lnTo>
                  <a:lnTo>
                    <a:pt x="787818" y="1043081"/>
                  </a:lnTo>
                  <a:lnTo>
                    <a:pt x="785900" y="1043286"/>
                  </a:lnTo>
                  <a:lnTo>
                    <a:pt x="784868" y="1042190"/>
                  </a:lnTo>
                  <a:lnTo>
                    <a:pt x="784393" y="1037767"/>
                  </a:lnTo>
                  <a:lnTo>
                    <a:pt x="783706" y="1034669"/>
                  </a:lnTo>
                  <a:lnTo>
                    <a:pt x="783038" y="1032726"/>
                  </a:lnTo>
                  <a:lnTo>
                    <a:pt x="777362" y="1021867"/>
                  </a:lnTo>
                  <a:lnTo>
                    <a:pt x="762713" y="1001363"/>
                  </a:lnTo>
                  <a:lnTo>
                    <a:pt x="759233" y="994062"/>
                  </a:lnTo>
                  <a:lnTo>
                    <a:pt x="759093" y="991543"/>
                  </a:lnTo>
                  <a:lnTo>
                    <a:pt x="759508" y="987490"/>
                  </a:lnTo>
                  <a:lnTo>
                    <a:pt x="760584" y="982101"/>
                  </a:lnTo>
                  <a:lnTo>
                    <a:pt x="760801" y="977258"/>
                  </a:lnTo>
                  <a:lnTo>
                    <a:pt x="760330" y="972909"/>
                  </a:lnTo>
                  <a:lnTo>
                    <a:pt x="758627" y="963463"/>
                  </a:lnTo>
                  <a:lnTo>
                    <a:pt x="757570" y="959880"/>
                  </a:lnTo>
                  <a:lnTo>
                    <a:pt x="756524" y="957642"/>
                  </a:lnTo>
                  <a:lnTo>
                    <a:pt x="755581" y="957357"/>
                  </a:lnTo>
                  <a:lnTo>
                    <a:pt x="754573" y="957354"/>
                  </a:lnTo>
                  <a:lnTo>
                    <a:pt x="753556" y="957615"/>
                  </a:lnTo>
                  <a:lnTo>
                    <a:pt x="748827" y="959955"/>
                  </a:lnTo>
                  <a:lnTo>
                    <a:pt x="747868" y="960173"/>
                  </a:lnTo>
                  <a:lnTo>
                    <a:pt x="746412" y="960155"/>
                  </a:lnTo>
                  <a:lnTo>
                    <a:pt x="743564" y="958224"/>
                  </a:lnTo>
                  <a:lnTo>
                    <a:pt x="739855" y="954727"/>
                  </a:lnTo>
                  <a:lnTo>
                    <a:pt x="729312" y="942105"/>
                  </a:lnTo>
                  <a:lnTo>
                    <a:pt x="726546" y="939511"/>
                  </a:lnTo>
                  <a:lnTo>
                    <a:pt x="717136" y="935900"/>
                  </a:lnTo>
                  <a:lnTo>
                    <a:pt x="713852" y="933774"/>
                  </a:lnTo>
                  <a:lnTo>
                    <a:pt x="712564" y="932192"/>
                  </a:lnTo>
                  <a:lnTo>
                    <a:pt x="712067" y="930399"/>
                  </a:lnTo>
                  <a:lnTo>
                    <a:pt x="712354" y="928604"/>
                  </a:lnTo>
                  <a:lnTo>
                    <a:pt x="713078" y="925510"/>
                  </a:lnTo>
                  <a:lnTo>
                    <a:pt x="714007" y="922984"/>
                  </a:lnTo>
                  <a:lnTo>
                    <a:pt x="715095" y="920658"/>
                  </a:lnTo>
                  <a:lnTo>
                    <a:pt x="716841" y="915543"/>
                  </a:lnTo>
                  <a:lnTo>
                    <a:pt x="718299" y="907431"/>
                  </a:lnTo>
                  <a:lnTo>
                    <a:pt x="697602" y="900842"/>
                  </a:lnTo>
                  <a:lnTo>
                    <a:pt x="692862" y="902063"/>
                  </a:lnTo>
                  <a:lnTo>
                    <a:pt x="681282" y="912496"/>
                  </a:lnTo>
                  <a:lnTo>
                    <a:pt x="680514" y="915160"/>
                  </a:lnTo>
                  <a:lnTo>
                    <a:pt x="679819" y="918890"/>
                  </a:lnTo>
                  <a:lnTo>
                    <a:pt x="680647" y="933059"/>
                  </a:lnTo>
                  <a:lnTo>
                    <a:pt x="681049" y="935869"/>
                  </a:lnTo>
                  <a:lnTo>
                    <a:pt x="681557" y="937795"/>
                  </a:lnTo>
                  <a:lnTo>
                    <a:pt x="682229" y="939326"/>
                  </a:lnTo>
                  <a:lnTo>
                    <a:pt x="683310" y="940402"/>
                  </a:lnTo>
                  <a:lnTo>
                    <a:pt x="684084" y="942234"/>
                  </a:lnTo>
                  <a:lnTo>
                    <a:pt x="684770" y="944920"/>
                  </a:lnTo>
                  <a:lnTo>
                    <a:pt x="684825" y="951164"/>
                  </a:lnTo>
                  <a:lnTo>
                    <a:pt x="684394" y="953795"/>
                  </a:lnTo>
                  <a:lnTo>
                    <a:pt x="683383" y="955400"/>
                  </a:lnTo>
                  <a:lnTo>
                    <a:pt x="682539" y="955518"/>
                  </a:lnTo>
                  <a:lnTo>
                    <a:pt x="681814" y="955402"/>
                  </a:lnTo>
                  <a:lnTo>
                    <a:pt x="673744" y="951913"/>
                  </a:lnTo>
                  <a:lnTo>
                    <a:pt x="672841" y="952087"/>
                  </a:lnTo>
                  <a:lnTo>
                    <a:pt x="671409" y="952952"/>
                  </a:lnTo>
                  <a:lnTo>
                    <a:pt x="665502" y="959714"/>
                  </a:lnTo>
                  <a:lnTo>
                    <a:pt x="663360" y="961572"/>
                  </a:lnTo>
                  <a:lnTo>
                    <a:pt x="649602" y="969325"/>
                  </a:lnTo>
                  <a:lnTo>
                    <a:pt x="655954" y="976394"/>
                  </a:lnTo>
                  <a:lnTo>
                    <a:pt x="657559" y="979961"/>
                  </a:lnTo>
                  <a:lnTo>
                    <a:pt x="657749" y="982406"/>
                  </a:lnTo>
                  <a:lnTo>
                    <a:pt x="657624" y="984251"/>
                  </a:lnTo>
                  <a:lnTo>
                    <a:pt x="657397" y="985841"/>
                  </a:lnTo>
                  <a:lnTo>
                    <a:pt x="656716" y="987588"/>
                  </a:lnTo>
                  <a:lnTo>
                    <a:pt x="656292" y="988415"/>
                  </a:lnTo>
                  <a:lnTo>
                    <a:pt x="655535" y="989158"/>
                  </a:lnTo>
                  <a:lnTo>
                    <a:pt x="654793" y="989499"/>
                  </a:lnTo>
                  <a:lnTo>
                    <a:pt x="653890" y="989658"/>
                  </a:lnTo>
                  <a:lnTo>
                    <a:pt x="652830" y="989500"/>
                  </a:lnTo>
                  <a:lnTo>
                    <a:pt x="652008" y="988967"/>
                  </a:lnTo>
                  <a:lnTo>
                    <a:pt x="651470" y="988356"/>
                  </a:lnTo>
                  <a:lnTo>
                    <a:pt x="650839" y="987236"/>
                  </a:lnTo>
                  <a:lnTo>
                    <a:pt x="650468" y="986661"/>
                  </a:lnTo>
                  <a:lnTo>
                    <a:pt x="649615" y="986954"/>
                  </a:lnTo>
                  <a:lnTo>
                    <a:pt x="648341" y="988031"/>
                  </a:lnTo>
                  <a:lnTo>
                    <a:pt x="644869" y="993830"/>
                  </a:lnTo>
                  <a:lnTo>
                    <a:pt x="643754" y="995133"/>
                  </a:lnTo>
                  <a:lnTo>
                    <a:pt x="642664" y="995773"/>
                  </a:lnTo>
                  <a:lnTo>
                    <a:pt x="630936" y="999721"/>
                  </a:lnTo>
                  <a:lnTo>
                    <a:pt x="627500" y="1001496"/>
                  </a:lnTo>
                  <a:lnTo>
                    <a:pt x="625812" y="1003089"/>
                  </a:lnTo>
                  <a:lnTo>
                    <a:pt x="624669" y="1005086"/>
                  </a:lnTo>
                  <a:lnTo>
                    <a:pt x="622930" y="1009456"/>
                  </a:lnTo>
                  <a:lnTo>
                    <a:pt x="621799" y="1011127"/>
                  </a:lnTo>
                  <a:lnTo>
                    <a:pt x="620417" y="1012021"/>
                  </a:lnTo>
                  <a:lnTo>
                    <a:pt x="613945" y="1010469"/>
                  </a:lnTo>
                  <a:lnTo>
                    <a:pt x="612374" y="1010437"/>
                  </a:lnTo>
                  <a:lnTo>
                    <a:pt x="610453" y="1010746"/>
                  </a:lnTo>
                  <a:lnTo>
                    <a:pt x="607319" y="1011897"/>
                  </a:lnTo>
                  <a:lnTo>
                    <a:pt x="595879" y="1018193"/>
                  </a:lnTo>
                  <a:lnTo>
                    <a:pt x="565234" y="1025454"/>
                  </a:lnTo>
                  <a:lnTo>
                    <a:pt x="551689" y="1023732"/>
                  </a:lnTo>
                  <a:lnTo>
                    <a:pt x="542831" y="1025970"/>
                  </a:lnTo>
                  <a:lnTo>
                    <a:pt x="540249" y="1028614"/>
                  </a:lnTo>
                  <a:lnTo>
                    <a:pt x="540491" y="1029557"/>
                  </a:lnTo>
                  <a:lnTo>
                    <a:pt x="541186" y="1030429"/>
                  </a:lnTo>
                  <a:lnTo>
                    <a:pt x="541701" y="1031559"/>
                  </a:lnTo>
                  <a:lnTo>
                    <a:pt x="541704" y="1032861"/>
                  </a:lnTo>
                  <a:lnTo>
                    <a:pt x="541016" y="1037242"/>
                  </a:lnTo>
                  <a:lnTo>
                    <a:pt x="540889" y="1038966"/>
                  </a:lnTo>
                  <a:lnTo>
                    <a:pt x="541082" y="1041090"/>
                  </a:lnTo>
                  <a:lnTo>
                    <a:pt x="541045" y="1043350"/>
                  </a:lnTo>
                  <a:lnTo>
                    <a:pt x="540764" y="1046075"/>
                  </a:lnTo>
                  <a:lnTo>
                    <a:pt x="538252" y="1049698"/>
                  </a:lnTo>
                  <a:lnTo>
                    <a:pt x="537305" y="1052188"/>
                  </a:lnTo>
                  <a:lnTo>
                    <a:pt x="536760" y="1054489"/>
                  </a:lnTo>
                  <a:lnTo>
                    <a:pt x="536784" y="1057979"/>
                  </a:lnTo>
                  <a:lnTo>
                    <a:pt x="536436" y="1059592"/>
                  </a:lnTo>
                  <a:lnTo>
                    <a:pt x="535830" y="1060632"/>
                  </a:lnTo>
                  <a:lnTo>
                    <a:pt x="525739" y="1067369"/>
                  </a:lnTo>
                  <a:lnTo>
                    <a:pt x="524250" y="1067988"/>
                  </a:lnTo>
                  <a:lnTo>
                    <a:pt x="507155" y="1072470"/>
                  </a:lnTo>
                  <a:lnTo>
                    <a:pt x="503029" y="1072854"/>
                  </a:lnTo>
                  <a:lnTo>
                    <a:pt x="482677" y="1070496"/>
                  </a:lnTo>
                  <a:lnTo>
                    <a:pt x="481973" y="1069845"/>
                  </a:lnTo>
                  <a:lnTo>
                    <a:pt x="481513" y="1068774"/>
                  </a:lnTo>
                  <a:lnTo>
                    <a:pt x="481200" y="1066911"/>
                  </a:lnTo>
                  <a:lnTo>
                    <a:pt x="480805" y="1065651"/>
                  </a:lnTo>
                  <a:lnTo>
                    <a:pt x="480237" y="1064458"/>
                  </a:lnTo>
                  <a:lnTo>
                    <a:pt x="479867" y="1063909"/>
                  </a:lnTo>
                  <a:lnTo>
                    <a:pt x="479167" y="1063184"/>
                  </a:lnTo>
                  <a:lnTo>
                    <a:pt x="476647" y="1061608"/>
                  </a:lnTo>
                  <a:lnTo>
                    <a:pt x="474432" y="1060785"/>
                  </a:lnTo>
                  <a:lnTo>
                    <a:pt x="473229" y="1060851"/>
                  </a:lnTo>
                  <a:lnTo>
                    <a:pt x="472412" y="1061511"/>
                  </a:lnTo>
                  <a:lnTo>
                    <a:pt x="471781" y="1063067"/>
                  </a:lnTo>
                  <a:lnTo>
                    <a:pt x="471270" y="1064433"/>
                  </a:lnTo>
                  <a:lnTo>
                    <a:pt x="467933" y="1071225"/>
                  </a:lnTo>
                  <a:lnTo>
                    <a:pt x="465307" y="1072041"/>
                  </a:lnTo>
                  <a:lnTo>
                    <a:pt x="456185" y="1080940"/>
                  </a:lnTo>
                  <a:lnTo>
                    <a:pt x="452196" y="1081990"/>
                  </a:lnTo>
                  <a:lnTo>
                    <a:pt x="444385" y="1078651"/>
                  </a:lnTo>
                  <a:lnTo>
                    <a:pt x="443029" y="1078739"/>
                  </a:lnTo>
                  <a:lnTo>
                    <a:pt x="441980" y="1079519"/>
                  </a:lnTo>
                  <a:lnTo>
                    <a:pt x="441028" y="1081903"/>
                  </a:lnTo>
                  <a:lnTo>
                    <a:pt x="439857" y="1084158"/>
                  </a:lnTo>
                  <a:lnTo>
                    <a:pt x="437982" y="1087003"/>
                  </a:lnTo>
                  <a:lnTo>
                    <a:pt x="435562" y="1088208"/>
                  </a:lnTo>
                  <a:lnTo>
                    <a:pt x="433690" y="1088494"/>
                  </a:lnTo>
                  <a:lnTo>
                    <a:pt x="432574" y="1088236"/>
                  </a:lnTo>
                  <a:lnTo>
                    <a:pt x="426852" y="1084810"/>
                  </a:lnTo>
                  <a:lnTo>
                    <a:pt x="422265" y="1084096"/>
                  </a:lnTo>
                  <a:lnTo>
                    <a:pt x="418656" y="1085411"/>
                  </a:lnTo>
                  <a:lnTo>
                    <a:pt x="398836" y="1098088"/>
                  </a:lnTo>
                  <a:lnTo>
                    <a:pt x="388620" y="1101589"/>
                  </a:lnTo>
                  <a:lnTo>
                    <a:pt x="382164" y="1102201"/>
                  </a:lnTo>
                  <a:lnTo>
                    <a:pt x="378911" y="1103039"/>
                  </a:lnTo>
                  <a:lnTo>
                    <a:pt x="376900" y="1103830"/>
                  </a:lnTo>
                  <a:lnTo>
                    <a:pt x="376237" y="1104732"/>
                  </a:lnTo>
                  <a:lnTo>
                    <a:pt x="375745" y="1105597"/>
                  </a:lnTo>
                  <a:lnTo>
                    <a:pt x="375052" y="1107146"/>
                  </a:lnTo>
                  <a:lnTo>
                    <a:pt x="372591" y="1111455"/>
                  </a:lnTo>
                  <a:lnTo>
                    <a:pt x="366741" y="1117862"/>
                  </a:lnTo>
                  <a:lnTo>
                    <a:pt x="358006" y="1120018"/>
                  </a:lnTo>
                  <a:lnTo>
                    <a:pt x="357300" y="1120620"/>
                  </a:lnTo>
                  <a:lnTo>
                    <a:pt x="356343" y="1121742"/>
                  </a:lnTo>
                  <a:lnTo>
                    <a:pt x="356551" y="1124474"/>
                  </a:lnTo>
                  <a:lnTo>
                    <a:pt x="356996" y="1126953"/>
                  </a:lnTo>
                  <a:lnTo>
                    <a:pt x="357374" y="1130847"/>
                  </a:lnTo>
                  <a:lnTo>
                    <a:pt x="357455" y="1136222"/>
                  </a:lnTo>
                  <a:lnTo>
                    <a:pt x="356064" y="1147563"/>
                  </a:lnTo>
                  <a:lnTo>
                    <a:pt x="353227" y="1152546"/>
                  </a:lnTo>
                  <a:lnTo>
                    <a:pt x="350482" y="1155579"/>
                  </a:lnTo>
                  <a:lnTo>
                    <a:pt x="346834" y="1156261"/>
                  </a:lnTo>
                  <a:lnTo>
                    <a:pt x="345406" y="1156192"/>
                  </a:lnTo>
                  <a:lnTo>
                    <a:pt x="342946" y="1155657"/>
                  </a:lnTo>
                  <a:lnTo>
                    <a:pt x="340564" y="1154684"/>
                  </a:lnTo>
                  <a:lnTo>
                    <a:pt x="338437" y="1153100"/>
                  </a:lnTo>
                  <a:lnTo>
                    <a:pt x="337090" y="1151762"/>
                  </a:lnTo>
                  <a:lnTo>
                    <a:pt x="336343" y="1150867"/>
                  </a:lnTo>
                  <a:lnTo>
                    <a:pt x="334310" y="1147364"/>
                  </a:lnTo>
                  <a:lnTo>
                    <a:pt x="332381" y="1142920"/>
                  </a:lnTo>
                  <a:lnTo>
                    <a:pt x="331908" y="1141031"/>
                  </a:lnTo>
                  <a:lnTo>
                    <a:pt x="329721" y="1140716"/>
                  </a:lnTo>
                  <a:lnTo>
                    <a:pt x="315633" y="1145466"/>
                  </a:lnTo>
                  <a:lnTo>
                    <a:pt x="309484" y="1148712"/>
                  </a:lnTo>
                  <a:lnTo>
                    <a:pt x="309330" y="1149547"/>
                  </a:lnTo>
                  <a:lnTo>
                    <a:pt x="309446" y="1150617"/>
                  </a:lnTo>
                  <a:lnTo>
                    <a:pt x="309814" y="1152309"/>
                  </a:lnTo>
                  <a:lnTo>
                    <a:pt x="309806" y="1154749"/>
                  </a:lnTo>
                  <a:lnTo>
                    <a:pt x="309300" y="1158112"/>
                  </a:lnTo>
                  <a:lnTo>
                    <a:pt x="307021" y="1163030"/>
                  </a:lnTo>
                  <a:lnTo>
                    <a:pt x="306034" y="1165822"/>
                  </a:lnTo>
                  <a:lnTo>
                    <a:pt x="305761" y="1167911"/>
                  </a:lnTo>
                  <a:lnTo>
                    <a:pt x="306274" y="1168972"/>
                  </a:lnTo>
                  <a:lnTo>
                    <a:pt x="307248" y="1169849"/>
                  </a:lnTo>
                  <a:lnTo>
                    <a:pt x="311931" y="1172302"/>
                  </a:lnTo>
                  <a:lnTo>
                    <a:pt x="313072" y="1173248"/>
                  </a:lnTo>
                  <a:lnTo>
                    <a:pt x="314090" y="1174393"/>
                  </a:lnTo>
                  <a:lnTo>
                    <a:pt x="314533" y="1175717"/>
                  </a:lnTo>
                  <a:lnTo>
                    <a:pt x="314687" y="1177188"/>
                  </a:lnTo>
                  <a:lnTo>
                    <a:pt x="314306" y="1183756"/>
                  </a:lnTo>
                  <a:lnTo>
                    <a:pt x="314492" y="1189151"/>
                  </a:lnTo>
                  <a:lnTo>
                    <a:pt x="315016" y="1193424"/>
                  </a:lnTo>
                  <a:lnTo>
                    <a:pt x="315743" y="1195902"/>
                  </a:lnTo>
                  <a:lnTo>
                    <a:pt x="316607" y="1197898"/>
                  </a:lnTo>
                  <a:lnTo>
                    <a:pt x="319681" y="1203287"/>
                  </a:lnTo>
                  <a:lnTo>
                    <a:pt x="320545" y="1205283"/>
                  </a:lnTo>
                  <a:lnTo>
                    <a:pt x="320963" y="1207139"/>
                  </a:lnTo>
                  <a:lnTo>
                    <a:pt x="321409" y="1210756"/>
                  </a:lnTo>
                  <a:lnTo>
                    <a:pt x="320848" y="1212948"/>
                  </a:lnTo>
                  <a:lnTo>
                    <a:pt x="319922" y="1214502"/>
                  </a:lnTo>
                  <a:lnTo>
                    <a:pt x="318932" y="1215073"/>
                  </a:lnTo>
                  <a:lnTo>
                    <a:pt x="309866" y="1216325"/>
                  </a:lnTo>
                  <a:lnTo>
                    <a:pt x="290550" y="1221691"/>
                  </a:lnTo>
                  <a:lnTo>
                    <a:pt x="284565" y="1220175"/>
                  </a:lnTo>
                  <a:lnTo>
                    <a:pt x="280265" y="1214097"/>
                  </a:lnTo>
                  <a:lnTo>
                    <a:pt x="277783" y="1211677"/>
                  </a:lnTo>
                  <a:lnTo>
                    <a:pt x="274014" y="1208952"/>
                  </a:lnTo>
                  <a:lnTo>
                    <a:pt x="271126" y="1208953"/>
                  </a:lnTo>
                  <a:lnTo>
                    <a:pt x="268725" y="1210517"/>
                  </a:lnTo>
                  <a:lnTo>
                    <a:pt x="265996" y="1212952"/>
                  </a:lnTo>
                  <a:lnTo>
                    <a:pt x="260653" y="1215164"/>
                  </a:lnTo>
                  <a:lnTo>
                    <a:pt x="256868" y="1214968"/>
                  </a:lnTo>
                  <a:lnTo>
                    <a:pt x="254853" y="1214507"/>
                  </a:lnTo>
                  <a:lnTo>
                    <a:pt x="254460" y="1213349"/>
                  </a:lnTo>
                  <a:lnTo>
                    <a:pt x="254991" y="1211836"/>
                  </a:lnTo>
                  <a:lnTo>
                    <a:pt x="256291" y="1209683"/>
                  </a:lnTo>
                  <a:lnTo>
                    <a:pt x="257114" y="1207995"/>
                  </a:lnTo>
                  <a:lnTo>
                    <a:pt x="256431" y="1205873"/>
                  </a:lnTo>
                  <a:lnTo>
                    <a:pt x="254213" y="1203849"/>
                  </a:lnTo>
                  <a:lnTo>
                    <a:pt x="248058" y="1200258"/>
                  </a:lnTo>
                  <a:lnTo>
                    <a:pt x="245060" y="1199125"/>
                  </a:lnTo>
                  <a:lnTo>
                    <a:pt x="243269" y="1198749"/>
                  </a:lnTo>
                  <a:lnTo>
                    <a:pt x="240638" y="1199975"/>
                  </a:lnTo>
                  <a:lnTo>
                    <a:pt x="238508" y="1200661"/>
                  </a:lnTo>
                  <a:lnTo>
                    <a:pt x="223591" y="1202258"/>
                  </a:lnTo>
                  <a:lnTo>
                    <a:pt x="222037" y="1202738"/>
                  </a:lnTo>
                  <a:lnTo>
                    <a:pt x="221124" y="1203591"/>
                  </a:lnTo>
                  <a:lnTo>
                    <a:pt x="204234" y="1214516"/>
                  </a:lnTo>
                  <a:lnTo>
                    <a:pt x="198095" y="1216672"/>
                  </a:lnTo>
                  <a:lnTo>
                    <a:pt x="195751" y="1217063"/>
                  </a:lnTo>
                  <a:lnTo>
                    <a:pt x="194442" y="1216105"/>
                  </a:lnTo>
                  <a:lnTo>
                    <a:pt x="193312" y="1209738"/>
                  </a:lnTo>
                  <a:lnTo>
                    <a:pt x="192554" y="1208040"/>
                  </a:lnTo>
                  <a:lnTo>
                    <a:pt x="191397" y="1206378"/>
                  </a:lnTo>
                  <a:lnTo>
                    <a:pt x="185528" y="1202862"/>
                  </a:lnTo>
                  <a:lnTo>
                    <a:pt x="183323" y="1200699"/>
                  </a:lnTo>
                  <a:lnTo>
                    <a:pt x="182547" y="1199354"/>
                  </a:lnTo>
                  <a:lnTo>
                    <a:pt x="182230" y="1197888"/>
                  </a:lnTo>
                  <a:lnTo>
                    <a:pt x="181676" y="1196614"/>
                  </a:lnTo>
                  <a:lnTo>
                    <a:pt x="180733" y="1194875"/>
                  </a:lnTo>
                  <a:lnTo>
                    <a:pt x="178146" y="1192483"/>
                  </a:lnTo>
                  <a:lnTo>
                    <a:pt x="176544" y="1191744"/>
                  </a:lnTo>
                  <a:lnTo>
                    <a:pt x="175016" y="1191750"/>
                  </a:lnTo>
                  <a:lnTo>
                    <a:pt x="174076" y="1192378"/>
                  </a:lnTo>
                  <a:lnTo>
                    <a:pt x="172997" y="1193473"/>
                  </a:lnTo>
                  <a:lnTo>
                    <a:pt x="172411" y="1194876"/>
                  </a:lnTo>
                  <a:lnTo>
                    <a:pt x="172287" y="1196100"/>
                  </a:lnTo>
                  <a:lnTo>
                    <a:pt x="172528" y="1197918"/>
                  </a:lnTo>
                  <a:lnTo>
                    <a:pt x="183266" y="1217452"/>
                  </a:lnTo>
                  <a:lnTo>
                    <a:pt x="183763" y="1218723"/>
                  </a:lnTo>
                  <a:lnTo>
                    <a:pt x="183995" y="1219682"/>
                  </a:lnTo>
                  <a:lnTo>
                    <a:pt x="184002" y="1220600"/>
                  </a:lnTo>
                  <a:lnTo>
                    <a:pt x="183679" y="1221323"/>
                  </a:lnTo>
                  <a:lnTo>
                    <a:pt x="181622" y="1222691"/>
                  </a:lnTo>
                  <a:lnTo>
                    <a:pt x="173429" y="1226063"/>
                  </a:lnTo>
                  <a:lnTo>
                    <a:pt x="164313" y="1225620"/>
                  </a:lnTo>
                  <a:lnTo>
                    <a:pt x="164169" y="1221969"/>
                  </a:lnTo>
                  <a:lnTo>
                    <a:pt x="152734" y="1199192"/>
                  </a:lnTo>
                  <a:lnTo>
                    <a:pt x="152619" y="1192405"/>
                  </a:lnTo>
                  <a:lnTo>
                    <a:pt x="155562" y="1184902"/>
                  </a:lnTo>
                  <a:lnTo>
                    <a:pt x="158900" y="1171586"/>
                  </a:lnTo>
                  <a:lnTo>
                    <a:pt x="159689" y="1162068"/>
                  </a:lnTo>
                  <a:lnTo>
                    <a:pt x="158406" y="1160043"/>
                  </a:lnTo>
                  <a:lnTo>
                    <a:pt x="155841" y="1159398"/>
                  </a:lnTo>
                  <a:lnTo>
                    <a:pt x="153008" y="1154058"/>
                  </a:lnTo>
                  <a:lnTo>
                    <a:pt x="151338" y="1148162"/>
                  </a:lnTo>
                  <a:lnTo>
                    <a:pt x="150571" y="1142968"/>
                  </a:lnTo>
                  <a:lnTo>
                    <a:pt x="151727" y="1138443"/>
                  </a:lnTo>
                  <a:lnTo>
                    <a:pt x="156003" y="1134684"/>
                  </a:lnTo>
                  <a:lnTo>
                    <a:pt x="149417" y="1133932"/>
                  </a:lnTo>
                  <a:lnTo>
                    <a:pt x="133890" y="1129418"/>
                  </a:lnTo>
                  <a:lnTo>
                    <a:pt x="128485" y="1126447"/>
                  </a:lnTo>
                  <a:lnTo>
                    <a:pt x="127704" y="1125603"/>
                  </a:lnTo>
                  <a:lnTo>
                    <a:pt x="126895" y="1125260"/>
                  </a:lnTo>
                  <a:lnTo>
                    <a:pt x="125977" y="1125505"/>
                  </a:lnTo>
                  <a:lnTo>
                    <a:pt x="125144" y="1126258"/>
                  </a:lnTo>
                  <a:lnTo>
                    <a:pt x="112654" y="1129363"/>
                  </a:lnTo>
                  <a:lnTo>
                    <a:pt x="109061" y="1128980"/>
                  </a:lnTo>
                  <a:lnTo>
                    <a:pt x="106304" y="1126482"/>
                  </a:lnTo>
                  <a:lnTo>
                    <a:pt x="103563" y="1119780"/>
                  </a:lnTo>
                  <a:lnTo>
                    <a:pt x="100793" y="1116894"/>
                  </a:lnTo>
                  <a:lnTo>
                    <a:pt x="103964" y="1112133"/>
                  </a:lnTo>
                  <a:lnTo>
                    <a:pt x="99744" y="1111564"/>
                  </a:lnTo>
                  <a:lnTo>
                    <a:pt x="96890" y="1110155"/>
                  </a:lnTo>
                  <a:lnTo>
                    <a:pt x="96552" y="1107530"/>
                  </a:lnTo>
                  <a:lnTo>
                    <a:pt x="99655" y="1103299"/>
                  </a:lnTo>
                  <a:lnTo>
                    <a:pt x="94060" y="1095304"/>
                  </a:lnTo>
                  <a:lnTo>
                    <a:pt x="101338" y="1085184"/>
                  </a:lnTo>
                  <a:lnTo>
                    <a:pt x="113313" y="1076311"/>
                  </a:lnTo>
                  <a:lnTo>
                    <a:pt x="121680" y="1071934"/>
                  </a:lnTo>
                  <a:lnTo>
                    <a:pt x="121797" y="1069869"/>
                  </a:lnTo>
                  <a:lnTo>
                    <a:pt x="126202" y="1065086"/>
                  </a:lnTo>
                  <a:lnTo>
                    <a:pt x="129036" y="1060155"/>
                  </a:lnTo>
                  <a:lnTo>
                    <a:pt x="128406" y="1056686"/>
                  </a:lnTo>
                  <a:lnTo>
                    <a:pt x="103436" y="1054630"/>
                  </a:lnTo>
                  <a:lnTo>
                    <a:pt x="96214" y="1050272"/>
                  </a:lnTo>
                  <a:lnTo>
                    <a:pt x="92461" y="1041821"/>
                  </a:lnTo>
                  <a:lnTo>
                    <a:pt x="97467" y="1039005"/>
                  </a:lnTo>
                  <a:lnTo>
                    <a:pt x="77415" y="1003955"/>
                  </a:lnTo>
                  <a:lnTo>
                    <a:pt x="70877" y="996580"/>
                  </a:lnTo>
                  <a:lnTo>
                    <a:pt x="64897" y="995661"/>
                  </a:lnTo>
                  <a:lnTo>
                    <a:pt x="50356" y="998761"/>
                  </a:lnTo>
                  <a:lnTo>
                    <a:pt x="45608" y="997914"/>
                  </a:lnTo>
                  <a:lnTo>
                    <a:pt x="44476" y="993049"/>
                  </a:lnTo>
                  <a:lnTo>
                    <a:pt x="46181" y="987109"/>
                  </a:lnTo>
                  <a:lnTo>
                    <a:pt x="46324" y="981608"/>
                  </a:lnTo>
                  <a:lnTo>
                    <a:pt x="40504" y="978090"/>
                  </a:lnTo>
                  <a:lnTo>
                    <a:pt x="40045" y="976995"/>
                  </a:lnTo>
                  <a:lnTo>
                    <a:pt x="40070" y="975960"/>
                  </a:lnTo>
                  <a:lnTo>
                    <a:pt x="40356" y="974941"/>
                  </a:lnTo>
                  <a:lnTo>
                    <a:pt x="41017" y="973914"/>
                  </a:lnTo>
                  <a:lnTo>
                    <a:pt x="42248" y="966525"/>
                  </a:lnTo>
                  <a:lnTo>
                    <a:pt x="40108" y="962902"/>
                  </a:lnTo>
                  <a:lnTo>
                    <a:pt x="36678" y="960176"/>
                  </a:lnTo>
                  <a:lnTo>
                    <a:pt x="34207" y="955229"/>
                  </a:lnTo>
                  <a:lnTo>
                    <a:pt x="33122" y="947818"/>
                  </a:lnTo>
                  <a:lnTo>
                    <a:pt x="38518" y="949538"/>
                  </a:lnTo>
                  <a:lnTo>
                    <a:pt x="43994" y="944983"/>
                  </a:lnTo>
                  <a:lnTo>
                    <a:pt x="46303" y="938310"/>
                  </a:lnTo>
                  <a:lnTo>
                    <a:pt x="45836" y="933011"/>
                  </a:lnTo>
                  <a:lnTo>
                    <a:pt x="45798" y="928063"/>
                  </a:lnTo>
                  <a:lnTo>
                    <a:pt x="49308" y="922527"/>
                  </a:lnTo>
                  <a:lnTo>
                    <a:pt x="54432" y="919994"/>
                  </a:lnTo>
                  <a:lnTo>
                    <a:pt x="62509" y="921188"/>
                  </a:lnTo>
                  <a:lnTo>
                    <a:pt x="66819" y="916587"/>
                  </a:lnTo>
                  <a:lnTo>
                    <a:pt x="69364" y="910847"/>
                  </a:lnTo>
                  <a:lnTo>
                    <a:pt x="69746" y="906308"/>
                  </a:lnTo>
                  <a:lnTo>
                    <a:pt x="67391" y="894382"/>
                  </a:lnTo>
                  <a:lnTo>
                    <a:pt x="68286" y="890645"/>
                  </a:lnTo>
                  <a:lnTo>
                    <a:pt x="70367" y="887660"/>
                  </a:lnTo>
                  <a:lnTo>
                    <a:pt x="71211" y="885400"/>
                  </a:lnTo>
                  <a:lnTo>
                    <a:pt x="59703" y="880596"/>
                  </a:lnTo>
                  <a:lnTo>
                    <a:pt x="51545" y="874745"/>
                  </a:lnTo>
                  <a:lnTo>
                    <a:pt x="48977" y="871540"/>
                  </a:lnTo>
                  <a:lnTo>
                    <a:pt x="48321" y="866938"/>
                  </a:lnTo>
                  <a:lnTo>
                    <a:pt x="48297" y="858675"/>
                  </a:lnTo>
                  <a:lnTo>
                    <a:pt x="49959" y="854007"/>
                  </a:lnTo>
                  <a:lnTo>
                    <a:pt x="52440" y="849330"/>
                  </a:lnTo>
                  <a:lnTo>
                    <a:pt x="51877" y="846305"/>
                  </a:lnTo>
                  <a:lnTo>
                    <a:pt x="38894" y="847088"/>
                  </a:lnTo>
                  <a:lnTo>
                    <a:pt x="29652" y="843385"/>
                  </a:lnTo>
                  <a:lnTo>
                    <a:pt x="24717" y="842400"/>
                  </a:lnTo>
                  <a:lnTo>
                    <a:pt x="19768" y="843489"/>
                  </a:lnTo>
                  <a:lnTo>
                    <a:pt x="10160" y="847546"/>
                  </a:lnTo>
                  <a:lnTo>
                    <a:pt x="5196" y="848244"/>
                  </a:lnTo>
                  <a:lnTo>
                    <a:pt x="5717" y="833822"/>
                  </a:lnTo>
                  <a:lnTo>
                    <a:pt x="1207" y="817059"/>
                  </a:lnTo>
                  <a:lnTo>
                    <a:pt x="0" y="803565"/>
                  </a:lnTo>
                  <a:lnTo>
                    <a:pt x="10378" y="798880"/>
                  </a:lnTo>
                  <a:lnTo>
                    <a:pt x="15172" y="801991"/>
                  </a:lnTo>
                  <a:lnTo>
                    <a:pt x="19094" y="807816"/>
                  </a:lnTo>
                  <a:lnTo>
                    <a:pt x="23608" y="812508"/>
                  </a:lnTo>
                  <a:lnTo>
                    <a:pt x="30253" y="812203"/>
                  </a:lnTo>
                  <a:lnTo>
                    <a:pt x="34964" y="807605"/>
                  </a:lnTo>
                  <a:lnTo>
                    <a:pt x="42745" y="793494"/>
                  </a:lnTo>
                  <a:lnTo>
                    <a:pt x="47901" y="788208"/>
                  </a:lnTo>
                  <a:lnTo>
                    <a:pt x="82617" y="764112"/>
                  </a:lnTo>
                  <a:lnTo>
                    <a:pt x="103669" y="754206"/>
                  </a:lnTo>
                  <a:lnTo>
                    <a:pt x="109413" y="747420"/>
                  </a:lnTo>
                  <a:lnTo>
                    <a:pt x="102315" y="739942"/>
                  </a:lnTo>
                  <a:lnTo>
                    <a:pt x="110882" y="733706"/>
                  </a:lnTo>
                  <a:lnTo>
                    <a:pt x="113827" y="732206"/>
                  </a:lnTo>
                  <a:lnTo>
                    <a:pt x="105783" y="728892"/>
                  </a:lnTo>
                  <a:lnTo>
                    <a:pt x="87233" y="740132"/>
                  </a:lnTo>
                  <a:lnTo>
                    <a:pt x="79116" y="734941"/>
                  </a:lnTo>
                  <a:lnTo>
                    <a:pt x="77193" y="724239"/>
                  </a:lnTo>
                  <a:lnTo>
                    <a:pt x="78989" y="711553"/>
                  </a:lnTo>
                  <a:lnTo>
                    <a:pt x="82733" y="700360"/>
                  </a:lnTo>
                  <a:lnTo>
                    <a:pt x="86764" y="694278"/>
                  </a:lnTo>
                  <a:lnTo>
                    <a:pt x="94842" y="685501"/>
                  </a:lnTo>
                  <a:lnTo>
                    <a:pt x="115134" y="652684"/>
                  </a:lnTo>
                  <a:lnTo>
                    <a:pt x="119071" y="649229"/>
                  </a:lnTo>
                  <a:lnTo>
                    <a:pt x="128508" y="643410"/>
                  </a:lnTo>
                  <a:lnTo>
                    <a:pt x="132338" y="638582"/>
                  </a:lnTo>
                  <a:lnTo>
                    <a:pt x="134665" y="631582"/>
                  </a:lnTo>
                  <a:lnTo>
                    <a:pt x="136492" y="619132"/>
                  </a:lnTo>
                  <a:lnTo>
                    <a:pt x="138844" y="614234"/>
                  </a:lnTo>
                  <a:lnTo>
                    <a:pt x="133843" y="607475"/>
                  </a:lnTo>
                  <a:lnTo>
                    <a:pt x="134930" y="596980"/>
                  </a:lnTo>
                  <a:lnTo>
                    <a:pt x="138355" y="584994"/>
                  </a:lnTo>
                  <a:lnTo>
                    <a:pt x="140295" y="573766"/>
                  </a:lnTo>
                  <a:lnTo>
                    <a:pt x="139166" y="563308"/>
                  </a:lnTo>
                  <a:lnTo>
                    <a:pt x="137715" y="544449"/>
                  </a:lnTo>
                  <a:lnTo>
                    <a:pt x="124369" y="527002"/>
                  </a:lnTo>
                  <a:lnTo>
                    <a:pt x="102679" y="493003"/>
                  </a:lnTo>
                  <a:lnTo>
                    <a:pt x="101558" y="485904"/>
                  </a:lnTo>
                  <a:lnTo>
                    <a:pt x="103948" y="477857"/>
                  </a:lnTo>
                  <a:lnTo>
                    <a:pt x="108844" y="465326"/>
                  </a:lnTo>
                  <a:lnTo>
                    <a:pt x="85507" y="453316"/>
                  </a:lnTo>
                  <a:lnTo>
                    <a:pt x="78014" y="442441"/>
                  </a:lnTo>
                  <a:lnTo>
                    <a:pt x="83746" y="426556"/>
                  </a:lnTo>
                  <a:lnTo>
                    <a:pt x="80457" y="422716"/>
                  </a:lnTo>
                  <a:lnTo>
                    <a:pt x="72929" y="416233"/>
                  </a:lnTo>
                  <a:lnTo>
                    <a:pt x="68993" y="414039"/>
                  </a:lnTo>
                  <a:lnTo>
                    <a:pt x="58714" y="413647"/>
                  </a:lnTo>
                  <a:lnTo>
                    <a:pt x="55295" y="412001"/>
                  </a:lnTo>
                  <a:lnTo>
                    <a:pt x="55965" y="405884"/>
                  </a:lnTo>
                  <a:lnTo>
                    <a:pt x="58186" y="403923"/>
                  </a:lnTo>
                  <a:lnTo>
                    <a:pt x="64297" y="398529"/>
                  </a:lnTo>
                  <a:lnTo>
                    <a:pt x="65624" y="387030"/>
                  </a:lnTo>
                  <a:lnTo>
                    <a:pt x="61596" y="375692"/>
                  </a:lnTo>
                  <a:lnTo>
                    <a:pt x="53953" y="369018"/>
                  </a:lnTo>
                  <a:lnTo>
                    <a:pt x="55471" y="364002"/>
                  </a:lnTo>
                  <a:lnTo>
                    <a:pt x="61598" y="360187"/>
                  </a:lnTo>
                  <a:lnTo>
                    <a:pt x="76154" y="358499"/>
                  </a:lnTo>
                  <a:lnTo>
                    <a:pt x="83148" y="355991"/>
                  </a:lnTo>
                  <a:lnTo>
                    <a:pt x="90767" y="350986"/>
                  </a:lnTo>
                  <a:lnTo>
                    <a:pt x="95996" y="348576"/>
                  </a:lnTo>
                  <a:lnTo>
                    <a:pt x="110584" y="345553"/>
                  </a:lnTo>
                  <a:lnTo>
                    <a:pt x="121843" y="349300"/>
                  </a:lnTo>
                  <a:lnTo>
                    <a:pt x="130026" y="351928"/>
                  </a:lnTo>
                  <a:lnTo>
                    <a:pt x="135628" y="353677"/>
                  </a:lnTo>
                  <a:lnTo>
                    <a:pt x="131331" y="345903"/>
                  </a:lnTo>
                  <a:lnTo>
                    <a:pt x="119002" y="331259"/>
                  </a:lnTo>
                  <a:lnTo>
                    <a:pt x="114831" y="327666"/>
                  </a:lnTo>
                  <a:lnTo>
                    <a:pt x="127195" y="321854"/>
                  </a:lnTo>
                  <a:lnTo>
                    <a:pt x="138237" y="327905"/>
                  </a:lnTo>
                  <a:lnTo>
                    <a:pt x="149024" y="337785"/>
                  </a:lnTo>
                  <a:lnTo>
                    <a:pt x="160651" y="343387"/>
                  </a:lnTo>
                  <a:lnTo>
                    <a:pt x="171793" y="341582"/>
                  </a:lnTo>
                  <a:lnTo>
                    <a:pt x="174687" y="342103"/>
                  </a:lnTo>
                  <a:lnTo>
                    <a:pt x="177061" y="344695"/>
                  </a:lnTo>
                  <a:lnTo>
                    <a:pt x="180559" y="351940"/>
                  </a:lnTo>
                  <a:lnTo>
                    <a:pt x="182051" y="353994"/>
                  </a:lnTo>
                  <a:lnTo>
                    <a:pt x="195457" y="356821"/>
                  </a:lnTo>
                  <a:lnTo>
                    <a:pt x="200992" y="360493"/>
                  </a:lnTo>
                  <a:lnTo>
                    <a:pt x="201550" y="369450"/>
                  </a:lnTo>
                  <a:lnTo>
                    <a:pt x="214995" y="366482"/>
                  </a:lnTo>
                  <a:lnTo>
                    <a:pt x="216770" y="360867"/>
                  </a:lnTo>
                  <a:lnTo>
                    <a:pt x="214606" y="347823"/>
                  </a:lnTo>
                  <a:lnTo>
                    <a:pt x="236832" y="355780"/>
                  </a:lnTo>
                  <a:lnTo>
                    <a:pt x="244012" y="356170"/>
                  </a:lnTo>
                  <a:lnTo>
                    <a:pt x="249989" y="353830"/>
                  </a:lnTo>
                  <a:lnTo>
                    <a:pt x="268055" y="341389"/>
                  </a:lnTo>
                  <a:lnTo>
                    <a:pt x="303768" y="331193"/>
                  </a:lnTo>
                  <a:lnTo>
                    <a:pt x="335011" y="331793"/>
                  </a:lnTo>
                  <a:lnTo>
                    <a:pt x="344815" y="327093"/>
                  </a:lnTo>
                  <a:lnTo>
                    <a:pt x="353502" y="317690"/>
                  </a:lnTo>
                  <a:lnTo>
                    <a:pt x="362279" y="303449"/>
                  </a:lnTo>
                  <a:lnTo>
                    <a:pt x="365311" y="300419"/>
                  </a:lnTo>
                  <a:lnTo>
                    <a:pt x="368026" y="300080"/>
                  </a:lnTo>
                  <a:lnTo>
                    <a:pt x="369895" y="298427"/>
                  </a:lnTo>
                  <a:lnTo>
                    <a:pt x="370569" y="291460"/>
                  </a:lnTo>
                  <a:lnTo>
                    <a:pt x="369889" y="287564"/>
                  </a:lnTo>
                  <a:lnTo>
                    <a:pt x="368208" y="284713"/>
                  </a:lnTo>
                  <a:lnTo>
                    <a:pt x="359605" y="274609"/>
                  </a:lnTo>
                  <a:lnTo>
                    <a:pt x="337301" y="260551"/>
                  </a:lnTo>
                  <a:lnTo>
                    <a:pt x="329719" y="257870"/>
                  </a:lnTo>
                  <a:lnTo>
                    <a:pt x="324332" y="253613"/>
                  </a:lnTo>
                  <a:lnTo>
                    <a:pt x="324056" y="244868"/>
                  </a:lnTo>
                  <a:lnTo>
                    <a:pt x="326795" y="239044"/>
                  </a:lnTo>
                  <a:lnTo>
                    <a:pt x="330029" y="237700"/>
                  </a:lnTo>
                  <a:lnTo>
                    <a:pt x="333744" y="237623"/>
                  </a:lnTo>
                  <a:lnTo>
                    <a:pt x="338062" y="235713"/>
                  </a:lnTo>
                  <a:lnTo>
                    <a:pt x="341075" y="232270"/>
                  </a:lnTo>
                  <a:lnTo>
                    <a:pt x="344312" y="225139"/>
                  </a:lnTo>
                  <a:lnTo>
                    <a:pt x="346326" y="221986"/>
                  </a:lnTo>
                  <a:lnTo>
                    <a:pt x="352588" y="216071"/>
                  </a:lnTo>
                  <a:lnTo>
                    <a:pt x="358367" y="213193"/>
                  </a:lnTo>
                  <a:lnTo>
                    <a:pt x="360379" y="213069"/>
                  </a:lnTo>
                  <a:lnTo>
                    <a:pt x="381224" y="211755"/>
                  </a:lnTo>
                  <a:lnTo>
                    <a:pt x="385846" y="207913"/>
                  </a:lnTo>
                  <a:lnTo>
                    <a:pt x="394382" y="192410"/>
                  </a:lnTo>
                  <a:lnTo>
                    <a:pt x="401542" y="185582"/>
                  </a:lnTo>
                  <a:lnTo>
                    <a:pt x="416888" y="179694"/>
                  </a:lnTo>
                  <a:lnTo>
                    <a:pt x="424175" y="173797"/>
                  </a:lnTo>
                  <a:lnTo>
                    <a:pt x="433030" y="160784"/>
                  </a:lnTo>
                  <a:lnTo>
                    <a:pt x="437002" y="156548"/>
                  </a:lnTo>
                  <a:lnTo>
                    <a:pt x="453001" y="147771"/>
                  </a:lnTo>
                  <a:lnTo>
                    <a:pt x="454116" y="144878"/>
                  </a:lnTo>
                  <a:lnTo>
                    <a:pt x="453314" y="143212"/>
                  </a:lnTo>
                  <a:lnTo>
                    <a:pt x="453342" y="143215"/>
                  </a:lnTo>
                  <a:lnTo>
                    <a:pt x="462560" y="144043"/>
                  </a:lnTo>
                  <a:lnTo>
                    <a:pt x="477287" y="138549"/>
                  </a:lnTo>
                  <a:lnTo>
                    <a:pt x="482386" y="135173"/>
                  </a:lnTo>
                  <a:lnTo>
                    <a:pt x="485058" y="132571"/>
                  </a:lnTo>
                  <a:lnTo>
                    <a:pt x="487139" y="131010"/>
                  </a:lnTo>
                  <a:lnTo>
                    <a:pt x="535360" y="131137"/>
                  </a:lnTo>
                  <a:lnTo>
                    <a:pt x="549971" y="128542"/>
                  </a:lnTo>
                  <a:lnTo>
                    <a:pt x="567230" y="117649"/>
                  </a:lnTo>
                  <a:lnTo>
                    <a:pt x="572582" y="113024"/>
                  </a:lnTo>
                  <a:lnTo>
                    <a:pt x="574329" y="111914"/>
                  </a:lnTo>
                  <a:lnTo>
                    <a:pt x="575931" y="111241"/>
                  </a:lnTo>
                  <a:lnTo>
                    <a:pt x="585002" y="109682"/>
                  </a:lnTo>
                  <a:lnTo>
                    <a:pt x="588816" y="107990"/>
                  </a:lnTo>
                  <a:lnTo>
                    <a:pt x="591497" y="106149"/>
                  </a:lnTo>
                  <a:lnTo>
                    <a:pt x="610034" y="88345"/>
                  </a:lnTo>
                  <a:lnTo>
                    <a:pt x="626722" y="75485"/>
                  </a:lnTo>
                  <a:lnTo>
                    <a:pt x="628656" y="74527"/>
                  </a:lnTo>
                  <a:lnTo>
                    <a:pt x="633670" y="73779"/>
                  </a:lnTo>
                  <a:lnTo>
                    <a:pt x="635903" y="73927"/>
                  </a:lnTo>
                  <a:lnTo>
                    <a:pt x="642402" y="75308"/>
                  </a:lnTo>
                  <a:lnTo>
                    <a:pt x="643109" y="75246"/>
                  </a:lnTo>
                  <a:lnTo>
                    <a:pt x="643494" y="75115"/>
                  </a:lnTo>
                  <a:lnTo>
                    <a:pt x="645028" y="73282"/>
                  </a:lnTo>
                  <a:lnTo>
                    <a:pt x="646818" y="70483"/>
                  </a:lnTo>
                  <a:lnTo>
                    <a:pt x="647727" y="69425"/>
                  </a:lnTo>
                  <a:lnTo>
                    <a:pt x="648342" y="68916"/>
                  </a:lnTo>
                  <a:lnTo>
                    <a:pt x="648665" y="68972"/>
                  </a:lnTo>
                  <a:lnTo>
                    <a:pt x="650618" y="64760"/>
                  </a:lnTo>
                  <a:lnTo>
                    <a:pt x="653102" y="56650"/>
                  </a:lnTo>
                  <a:lnTo>
                    <a:pt x="654470" y="53522"/>
                  </a:lnTo>
                  <a:lnTo>
                    <a:pt x="656137" y="51501"/>
                  </a:lnTo>
                  <a:lnTo>
                    <a:pt x="658600" y="50770"/>
                  </a:lnTo>
                  <a:lnTo>
                    <a:pt x="658803" y="49742"/>
                  </a:lnTo>
                  <a:lnTo>
                    <a:pt x="658209" y="48329"/>
                  </a:lnTo>
                  <a:lnTo>
                    <a:pt x="655955" y="45077"/>
                  </a:lnTo>
                  <a:lnTo>
                    <a:pt x="653344" y="43613"/>
                  </a:lnTo>
                  <a:lnTo>
                    <a:pt x="652382" y="40560"/>
                  </a:lnTo>
                  <a:lnTo>
                    <a:pt x="652030" y="38505"/>
                  </a:lnTo>
                  <a:lnTo>
                    <a:pt x="656976" y="20418"/>
                  </a:lnTo>
                  <a:lnTo>
                    <a:pt x="658752" y="17854"/>
                  </a:lnTo>
                  <a:lnTo>
                    <a:pt x="659596" y="17001"/>
                  </a:lnTo>
                  <a:lnTo>
                    <a:pt x="661132" y="16409"/>
                  </a:lnTo>
                  <a:lnTo>
                    <a:pt x="662372" y="16488"/>
                  </a:lnTo>
                  <a:lnTo>
                    <a:pt x="686972" y="25175"/>
                  </a:lnTo>
                  <a:lnTo>
                    <a:pt x="688597" y="26507"/>
                  </a:lnTo>
                  <a:lnTo>
                    <a:pt x="689690" y="27614"/>
                  </a:lnTo>
                  <a:lnTo>
                    <a:pt x="690777" y="30316"/>
                  </a:lnTo>
                  <a:lnTo>
                    <a:pt x="691468" y="33508"/>
                  </a:lnTo>
                  <a:lnTo>
                    <a:pt x="693696" y="53288"/>
                  </a:lnTo>
                  <a:lnTo>
                    <a:pt x="694561" y="55242"/>
                  </a:lnTo>
                  <a:lnTo>
                    <a:pt x="695963" y="56803"/>
                  </a:lnTo>
                  <a:lnTo>
                    <a:pt x="704333" y="60220"/>
                  </a:lnTo>
                  <a:lnTo>
                    <a:pt x="727377" y="76009"/>
                  </a:lnTo>
                  <a:lnTo>
                    <a:pt x="728523" y="77248"/>
                  </a:lnTo>
                  <a:lnTo>
                    <a:pt x="732187" y="82290"/>
                  </a:lnTo>
                  <a:lnTo>
                    <a:pt x="734384" y="83434"/>
                  </a:lnTo>
                  <a:lnTo>
                    <a:pt x="736700" y="83826"/>
                  </a:lnTo>
                  <a:lnTo>
                    <a:pt x="759922" y="75549"/>
                  </a:lnTo>
                  <a:lnTo>
                    <a:pt x="761596" y="75696"/>
                  </a:lnTo>
                  <a:lnTo>
                    <a:pt x="763682" y="76447"/>
                  </a:lnTo>
                  <a:lnTo>
                    <a:pt x="765403" y="79908"/>
                  </a:lnTo>
                  <a:lnTo>
                    <a:pt x="768413" y="83679"/>
                  </a:lnTo>
                  <a:lnTo>
                    <a:pt x="771362" y="86664"/>
                  </a:lnTo>
                  <a:lnTo>
                    <a:pt x="775828" y="93839"/>
                  </a:lnTo>
                  <a:lnTo>
                    <a:pt x="781861" y="106022"/>
                  </a:lnTo>
                  <a:lnTo>
                    <a:pt x="785096" y="111364"/>
                  </a:lnTo>
                  <a:lnTo>
                    <a:pt x="785852" y="113046"/>
                  </a:lnTo>
                  <a:lnTo>
                    <a:pt x="786074" y="114503"/>
                  </a:lnTo>
                  <a:lnTo>
                    <a:pt x="784788" y="115643"/>
                  </a:lnTo>
                  <a:lnTo>
                    <a:pt x="783523" y="116131"/>
                  </a:lnTo>
                  <a:lnTo>
                    <a:pt x="772798" y="117334"/>
                  </a:lnTo>
                  <a:lnTo>
                    <a:pt x="771477" y="117880"/>
                  </a:lnTo>
                  <a:lnTo>
                    <a:pt x="770564" y="119180"/>
                  </a:lnTo>
                  <a:lnTo>
                    <a:pt x="770340" y="120948"/>
                  </a:lnTo>
                  <a:lnTo>
                    <a:pt x="770980" y="124430"/>
                  </a:lnTo>
                  <a:lnTo>
                    <a:pt x="771414" y="125981"/>
                  </a:lnTo>
                  <a:lnTo>
                    <a:pt x="772069" y="127468"/>
                  </a:lnTo>
                  <a:lnTo>
                    <a:pt x="774077" y="130598"/>
                  </a:lnTo>
                  <a:lnTo>
                    <a:pt x="775906" y="134253"/>
                  </a:lnTo>
                  <a:lnTo>
                    <a:pt x="775799" y="135802"/>
                  </a:lnTo>
                  <a:lnTo>
                    <a:pt x="775036" y="137446"/>
                  </a:lnTo>
                  <a:lnTo>
                    <a:pt x="772814" y="140520"/>
                  </a:lnTo>
                  <a:lnTo>
                    <a:pt x="766222" y="146917"/>
                  </a:lnTo>
                  <a:lnTo>
                    <a:pt x="764849" y="148926"/>
                  </a:lnTo>
                  <a:lnTo>
                    <a:pt x="764765" y="149797"/>
                  </a:lnTo>
                  <a:lnTo>
                    <a:pt x="764831" y="151011"/>
                  </a:lnTo>
                  <a:lnTo>
                    <a:pt x="765508" y="153428"/>
                  </a:lnTo>
                  <a:lnTo>
                    <a:pt x="767329" y="157307"/>
                  </a:lnTo>
                  <a:lnTo>
                    <a:pt x="767763" y="158918"/>
                  </a:lnTo>
                  <a:lnTo>
                    <a:pt x="767648" y="160660"/>
                  </a:lnTo>
                  <a:lnTo>
                    <a:pt x="766811" y="162878"/>
                  </a:lnTo>
                  <a:lnTo>
                    <a:pt x="764622" y="166440"/>
                  </a:lnTo>
                  <a:lnTo>
                    <a:pt x="759837" y="171199"/>
                  </a:lnTo>
                  <a:lnTo>
                    <a:pt x="758571" y="173210"/>
                  </a:lnTo>
                  <a:lnTo>
                    <a:pt x="758458" y="174891"/>
                  </a:lnTo>
                  <a:lnTo>
                    <a:pt x="759399" y="177528"/>
                  </a:lnTo>
                  <a:lnTo>
                    <a:pt x="760824" y="178758"/>
                  </a:lnTo>
                  <a:lnTo>
                    <a:pt x="763237" y="179759"/>
                  </a:lnTo>
                  <a:lnTo>
                    <a:pt x="766489" y="180049"/>
                  </a:lnTo>
                  <a:lnTo>
                    <a:pt x="769635" y="180807"/>
                  </a:lnTo>
                  <a:lnTo>
                    <a:pt x="770061" y="181058"/>
                  </a:lnTo>
                  <a:lnTo>
                    <a:pt x="770844" y="183599"/>
                  </a:lnTo>
                  <a:lnTo>
                    <a:pt x="771371" y="187254"/>
                  </a:lnTo>
                  <a:lnTo>
                    <a:pt x="772677" y="188807"/>
                  </a:lnTo>
                  <a:lnTo>
                    <a:pt x="774384" y="189810"/>
                  </a:lnTo>
                  <a:lnTo>
                    <a:pt x="778843" y="189829"/>
                  </a:lnTo>
                  <a:lnTo>
                    <a:pt x="785188" y="188785"/>
                  </a:lnTo>
                  <a:lnTo>
                    <a:pt x="789488" y="189210"/>
                  </a:lnTo>
                  <a:lnTo>
                    <a:pt x="795714" y="191725"/>
                  </a:lnTo>
                  <a:lnTo>
                    <a:pt x="797528" y="192789"/>
                  </a:lnTo>
                  <a:lnTo>
                    <a:pt x="798797" y="193881"/>
                  </a:lnTo>
                  <a:lnTo>
                    <a:pt x="798665" y="196213"/>
                  </a:lnTo>
                  <a:lnTo>
                    <a:pt x="797355" y="199601"/>
                  </a:lnTo>
                  <a:lnTo>
                    <a:pt x="793462" y="207012"/>
                  </a:lnTo>
                  <a:lnTo>
                    <a:pt x="790994" y="214057"/>
                  </a:lnTo>
                  <a:lnTo>
                    <a:pt x="790791" y="216875"/>
                  </a:lnTo>
                  <a:lnTo>
                    <a:pt x="789812" y="220079"/>
                  </a:lnTo>
                  <a:lnTo>
                    <a:pt x="788255" y="222660"/>
                  </a:lnTo>
                  <a:lnTo>
                    <a:pt x="784457" y="223301"/>
                  </a:lnTo>
                  <a:lnTo>
                    <a:pt x="779934" y="223385"/>
                  </a:lnTo>
                  <a:lnTo>
                    <a:pt x="773080" y="224736"/>
                  </a:lnTo>
                  <a:lnTo>
                    <a:pt x="764161" y="228526"/>
                  </a:lnTo>
                  <a:lnTo>
                    <a:pt x="757842" y="233218"/>
                  </a:lnTo>
                  <a:lnTo>
                    <a:pt x="753659" y="237540"/>
                  </a:lnTo>
                  <a:lnTo>
                    <a:pt x="753006" y="240606"/>
                  </a:lnTo>
                  <a:lnTo>
                    <a:pt x="755770" y="247341"/>
                  </a:lnTo>
                  <a:lnTo>
                    <a:pt x="757060" y="250979"/>
                  </a:lnTo>
                  <a:lnTo>
                    <a:pt x="759633" y="260147"/>
                  </a:lnTo>
                  <a:lnTo>
                    <a:pt x="760422" y="260958"/>
                  </a:lnTo>
                  <a:lnTo>
                    <a:pt x="762136" y="261905"/>
                  </a:lnTo>
                  <a:lnTo>
                    <a:pt x="771902" y="265566"/>
                  </a:lnTo>
                  <a:lnTo>
                    <a:pt x="777887" y="269241"/>
                  </a:lnTo>
                  <a:lnTo>
                    <a:pt x="779470" y="270834"/>
                  </a:lnTo>
                  <a:lnTo>
                    <a:pt x="780886" y="270925"/>
                  </a:lnTo>
                  <a:lnTo>
                    <a:pt x="782885" y="269883"/>
                  </a:lnTo>
                  <a:lnTo>
                    <a:pt x="798652" y="255666"/>
                  </a:lnTo>
                  <a:lnTo>
                    <a:pt x="804131" y="253229"/>
                  </a:lnTo>
                  <a:lnTo>
                    <a:pt x="816968" y="251369"/>
                  </a:lnTo>
                  <a:lnTo>
                    <a:pt x="829418" y="256438"/>
                  </a:lnTo>
                  <a:lnTo>
                    <a:pt x="854514" y="247763"/>
                  </a:lnTo>
                  <a:lnTo>
                    <a:pt x="860945" y="244263"/>
                  </a:lnTo>
                  <a:lnTo>
                    <a:pt x="865444" y="240320"/>
                  </a:lnTo>
                  <a:lnTo>
                    <a:pt x="867738" y="236574"/>
                  </a:lnTo>
                  <a:lnTo>
                    <a:pt x="873947" y="229430"/>
                  </a:lnTo>
                  <a:lnTo>
                    <a:pt x="885527" y="219781"/>
                  </a:lnTo>
                  <a:lnTo>
                    <a:pt x="929647" y="233838"/>
                  </a:lnTo>
                  <a:lnTo>
                    <a:pt x="932169" y="233242"/>
                  </a:lnTo>
                  <a:lnTo>
                    <a:pt x="933994" y="232258"/>
                  </a:lnTo>
                  <a:lnTo>
                    <a:pt x="934723" y="231495"/>
                  </a:lnTo>
                  <a:lnTo>
                    <a:pt x="935590" y="229701"/>
                  </a:lnTo>
                  <a:lnTo>
                    <a:pt x="938657" y="221241"/>
                  </a:lnTo>
                  <a:lnTo>
                    <a:pt x="939919" y="218910"/>
                  </a:lnTo>
                  <a:lnTo>
                    <a:pt x="941491" y="217164"/>
                  </a:lnTo>
                  <a:lnTo>
                    <a:pt x="955786" y="208552"/>
                  </a:lnTo>
                  <a:lnTo>
                    <a:pt x="959288" y="205806"/>
                  </a:lnTo>
                  <a:lnTo>
                    <a:pt x="961138" y="203787"/>
                  </a:lnTo>
                  <a:lnTo>
                    <a:pt x="963059" y="201117"/>
                  </a:lnTo>
                  <a:lnTo>
                    <a:pt x="965128" y="197654"/>
                  </a:lnTo>
                  <a:lnTo>
                    <a:pt x="967086" y="193567"/>
                  </a:lnTo>
                  <a:lnTo>
                    <a:pt x="967573" y="191630"/>
                  </a:lnTo>
                  <a:lnTo>
                    <a:pt x="967337" y="190277"/>
                  </a:lnTo>
                  <a:lnTo>
                    <a:pt x="963660" y="186825"/>
                  </a:lnTo>
                  <a:lnTo>
                    <a:pt x="956352" y="181633"/>
                  </a:lnTo>
                  <a:lnTo>
                    <a:pt x="955770" y="181055"/>
                  </a:lnTo>
                  <a:lnTo>
                    <a:pt x="954887" y="175562"/>
                  </a:lnTo>
                  <a:lnTo>
                    <a:pt x="954683" y="155098"/>
                  </a:lnTo>
                  <a:lnTo>
                    <a:pt x="956009" y="134261"/>
                  </a:lnTo>
                  <a:lnTo>
                    <a:pt x="956012" y="124178"/>
                  </a:lnTo>
                  <a:lnTo>
                    <a:pt x="954816" y="114360"/>
                  </a:lnTo>
                  <a:lnTo>
                    <a:pt x="952858" y="104700"/>
                  </a:lnTo>
                  <a:lnTo>
                    <a:pt x="950071" y="95665"/>
                  </a:lnTo>
                  <a:lnTo>
                    <a:pt x="948135" y="91208"/>
                  </a:lnTo>
                  <a:lnTo>
                    <a:pt x="945658" y="88094"/>
                  </a:lnTo>
                  <a:lnTo>
                    <a:pt x="935798" y="80490"/>
                  </a:lnTo>
                  <a:lnTo>
                    <a:pt x="913424" y="69124"/>
                  </a:lnTo>
                  <a:lnTo>
                    <a:pt x="910936" y="65327"/>
                  </a:lnTo>
                  <a:lnTo>
                    <a:pt x="909241" y="62205"/>
                  </a:lnTo>
                  <a:lnTo>
                    <a:pt x="902991" y="38635"/>
                  </a:lnTo>
                  <a:lnTo>
                    <a:pt x="910701" y="41816"/>
                  </a:lnTo>
                  <a:lnTo>
                    <a:pt x="918642" y="42014"/>
                  </a:lnTo>
                  <a:lnTo>
                    <a:pt x="920036" y="42438"/>
                  </a:lnTo>
                  <a:lnTo>
                    <a:pt x="922695" y="43947"/>
                  </a:lnTo>
                  <a:lnTo>
                    <a:pt x="925643" y="44845"/>
                  </a:lnTo>
                  <a:lnTo>
                    <a:pt x="945507" y="42767"/>
                  </a:lnTo>
                  <a:lnTo>
                    <a:pt x="951655" y="40039"/>
                  </a:lnTo>
                  <a:lnTo>
                    <a:pt x="954141" y="38066"/>
                  </a:lnTo>
                  <a:lnTo>
                    <a:pt x="955598" y="36183"/>
                  </a:lnTo>
                  <a:lnTo>
                    <a:pt x="956301" y="34192"/>
                  </a:lnTo>
                  <a:lnTo>
                    <a:pt x="959385" y="20175"/>
                  </a:lnTo>
                  <a:lnTo>
                    <a:pt x="959739" y="19061"/>
                  </a:lnTo>
                  <a:lnTo>
                    <a:pt x="960197" y="18126"/>
                  </a:lnTo>
                  <a:lnTo>
                    <a:pt x="960868" y="17258"/>
                  </a:lnTo>
                  <a:lnTo>
                    <a:pt x="963131" y="15455"/>
                  </a:lnTo>
                  <a:lnTo>
                    <a:pt x="966315" y="13561"/>
                  </a:lnTo>
                  <a:lnTo>
                    <a:pt x="970135" y="10690"/>
                  </a:lnTo>
                  <a:lnTo>
                    <a:pt x="971858" y="8860"/>
                  </a:lnTo>
                  <a:lnTo>
                    <a:pt x="978949" y="8130"/>
                  </a:lnTo>
                  <a:lnTo>
                    <a:pt x="996162" y="9139"/>
                  </a:lnTo>
                  <a:lnTo>
                    <a:pt x="1001801" y="8143"/>
                  </a:lnTo>
                  <a:lnTo>
                    <a:pt x="1019238" y="110"/>
                  </a:lnTo>
                  <a:lnTo>
                    <a:pt x="1020806" y="0"/>
                  </a:lnTo>
                  <a:lnTo>
                    <a:pt x="1022961" y="127"/>
                  </a:lnTo>
                  <a:lnTo>
                    <a:pt x="1028744" y="2678"/>
                  </a:lnTo>
                  <a:lnTo>
                    <a:pt x="1031427" y="5551"/>
                  </a:lnTo>
                  <a:lnTo>
                    <a:pt x="1034393" y="7870"/>
                  </a:lnTo>
                  <a:lnTo>
                    <a:pt x="1043519" y="25735"/>
                  </a:lnTo>
                  <a:lnTo>
                    <a:pt x="1044422" y="30931"/>
                  </a:lnTo>
                  <a:lnTo>
                    <a:pt x="1044550" y="34598"/>
                  </a:lnTo>
                  <a:lnTo>
                    <a:pt x="1044338" y="36677"/>
                  </a:lnTo>
                  <a:lnTo>
                    <a:pt x="1043399" y="42079"/>
                  </a:lnTo>
                  <a:lnTo>
                    <a:pt x="1043279" y="44826"/>
                  </a:lnTo>
                  <a:lnTo>
                    <a:pt x="1043384" y="47253"/>
                  </a:lnTo>
                  <a:lnTo>
                    <a:pt x="1043880" y="49141"/>
                  </a:lnTo>
                  <a:lnTo>
                    <a:pt x="1044951" y="51827"/>
                  </a:lnTo>
                  <a:lnTo>
                    <a:pt x="1045295" y="53268"/>
                  </a:lnTo>
                  <a:lnTo>
                    <a:pt x="1045142" y="55157"/>
                  </a:lnTo>
                  <a:lnTo>
                    <a:pt x="1043909" y="61500"/>
                  </a:lnTo>
                  <a:lnTo>
                    <a:pt x="1043618" y="64639"/>
                  </a:lnTo>
                  <a:lnTo>
                    <a:pt x="1043606" y="67419"/>
                  </a:lnTo>
                  <a:lnTo>
                    <a:pt x="1043823" y="69670"/>
                  </a:lnTo>
                  <a:lnTo>
                    <a:pt x="1044168" y="71068"/>
                  </a:lnTo>
                  <a:lnTo>
                    <a:pt x="1045002" y="72419"/>
                  </a:lnTo>
                  <a:lnTo>
                    <a:pt x="1045580" y="73127"/>
                  </a:lnTo>
                  <a:lnTo>
                    <a:pt x="1049468" y="74237"/>
                  </a:lnTo>
                  <a:close/>
                </a:path>
              </a:pathLst>
            </a:custGeom>
            <a:solidFill>
              <a:srgbClr val="BFBFBF"/>
            </a:solidFill>
            <a:ln w="6350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Freeform 3">
              <a:extLst>
                <a:ext uri="{FF2B5EF4-FFF2-40B4-BE49-F238E27FC236}">
                  <a16:creationId xmlns:a16="http://schemas.microsoft.com/office/drawing/2014/main" id="{2ED6C44A-203B-E480-0104-5ED00B03C5EE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3449470" y="4720406"/>
              <a:ext cx="1147819" cy="1294084"/>
            </a:xfrm>
            <a:custGeom>
              <a:avLst/>
              <a:gdLst/>
              <a:ahLst/>
              <a:cxnLst/>
              <a:rect l="0" t="0" r="0" b="0"/>
              <a:pathLst>
                <a:path w="1147819" h="1294084">
                  <a:moveTo>
                    <a:pt x="800873" y="10449"/>
                  </a:moveTo>
                  <a:lnTo>
                    <a:pt x="805373" y="9174"/>
                  </a:lnTo>
                  <a:lnTo>
                    <a:pt x="807333" y="8043"/>
                  </a:lnTo>
                  <a:lnTo>
                    <a:pt x="817430" y="14734"/>
                  </a:lnTo>
                  <a:lnTo>
                    <a:pt x="821294" y="13981"/>
                  </a:lnTo>
                  <a:lnTo>
                    <a:pt x="827619" y="11612"/>
                  </a:lnTo>
                  <a:lnTo>
                    <a:pt x="830904" y="9608"/>
                  </a:lnTo>
                  <a:lnTo>
                    <a:pt x="832637" y="8178"/>
                  </a:lnTo>
                  <a:lnTo>
                    <a:pt x="833903" y="7602"/>
                  </a:lnTo>
                  <a:lnTo>
                    <a:pt x="834988" y="7878"/>
                  </a:lnTo>
                  <a:lnTo>
                    <a:pt x="836178" y="8986"/>
                  </a:lnTo>
                  <a:lnTo>
                    <a:pt x="836897" y="11445"/>
                  </a:lnTo>
                  <a:lnTo>
                    <a:pt x="836883" y="12730"/>
                  </a:lnTo>
                  <a:lnTo>
                    <a:pt x="836354" y="14055"/>
                  </a:lnTo>
                  <a:lnTo>
                    <a:pt x="835078" y="15637"/>
                  </a:lnTo>
                  <a:lnTo>
                    <a:pt x="834494" y="16710"/>
                  </a:lnTo>
                  <a:lnTo>
                    <a:pt x="834197" y="17682"/>
                  </a:lnTo>
                  <a:lnTo>
                    <a:pt x="834189" y="18481"/>
                  </a:lnTo>
                  <a:lnTo>
                    <a:pt x="834557" y="21558"/>
                  </a:lnTo>
                  <a:lnTo>
                    <a:pt x="835214" y="24461"/>
                  </a:lnTo>
                  <a:lnTo>
                    <a:pt x="835313" y="25910"/>
                  </a:lnTo>
                  <a:lnTo>
                    <a:pt x="835305" y="26709"/>
                  </a:lnTo>
                  <a:lnTo>
                    <a:pt x="835068" y="27443"/>
                  </a:lnTo>
                  <a:lnTo>
                    <a:pt x="834481" y="28768"/>
                  </a:lnTo>
                  <a:lnTo>
                    <a:pt x="833897" y="29796"/>
                  </a:lnTo>
                  <a:lnTo>
                    <a:pt x="833426" y="30973"/>
                  </a:lnTo>
                  <a:lnTo>
                    <a:pt x="833123" y="32536"/>
                  </a:lnTo>
                  <a:lnTo>
                    <a:pt x="833159" y="34576"/>
                  </a:lnTo>
                  <a:lnTo>
                    <a:pt x="833869" y="37863"/>
                  </a:lnTo>
                  <a:lnTo>
                    <a:pt x="833800" y="38927"/>
                  </a:lnTo>
                  <a:lnTo>
                    <a:pt x="833219" y="39688"/>
                  </a:lnTo>
                  <a:lnTo>
                    <a:pt x="831372" y="40866"/>
                  </a:lnTo>
                  <a:lnTo>
                    <a:pt x="830733" y="41732"/>
                  </a:lnTo>
                  <a:lnTo>
                    <a:pt x="830551" y="42659"/>
                  </a:lnTo>
                  <a:lnTo>
                    <a:pt x="830978" y="45590"/>
                  </a:lnTo>
                  <a:lnTo>
                    <a:pt x="830965" y="46831"/>
                  </a:lnTo>
                  <a:lnTo>
                    <a:pt x="830609" y="47935"/>
                  </a:lnTo>
                  <a:lnTo>
                    <a:pt x="828083" y="53494"/>
                  </a:lnTo>
                  <a:lnTo>
                    <a:pt x="827726" y="54760"/>
                  </a:lnTo>
                  <a:lnTo>
                    <a:pt x="827541" y="55910"/>
                  </a:lnTo>
                  <a:lnTo>
                    <a:pt x="827762" y="56711"/>
                  </a:lnTo>
                  <a:lnTo>
                    <a:pt x="828043" y="57247"/>
                  </a:lnTo>
                  <a:lnTo>
                    <a:pt x="829575" y="58799"/>
                  </a:lnTo>
                  <a:lnTo>
                    <a:pt x="832423" y="60649"/>
                  </a:lnTo>
                  <a:lnTo>
                    <a:pt x="835677" y="62145"/>
                  </a:lnTo>
                  <a:lnTo>
                    <a:pt x="840891" y="62822"/>
                  </a:lnTo>
                  <a:lnTo>
                    <a:pt x="843266" y="62402"/>
                  </a:lnTo>
                  <a:lnTo>
                    <a:pt x="844887" y="60957"/>
                  </a:lnTo>
                  <a:lnTo>
                    <a:pt x="845243" y="59808"/>
                  </a:lnTo>
                  <a:lnTo>
                    <a:pt x="845547" y="58125"/>
                  </a:lnTo>
                  <a:lnTo>
                    <a:pt x="845871" y="54479"/>
                  </a:lnTo>
                  <a:lnTo>
                    <a:pt x="846349" y="52520"/>
                  </a:lnTo>
                  <a:lnTo>
                    <a:pt x="846760" y="51562"/>
                  </a:lnTo>
                  <a:lnTo>
                    <a:pt x="847687" y="50656"/>
                  </a:lnTo>
                  <a:lnTo>
                    <a:pt x="851661" y="48909"/>
                  </a:lnTo>
                  <a:lnTo>
                    <a:pt x="852762" y="47753"/>
                  </a:lnTo>
                  <a:lnTo>
                    <a:pt x="854345" y="44193"/>
                  </a:lnTo>
                  <a:lnTo>
                    <a:pt x="854750" y="43783"/>
                  </a:lnTo>
                  <a:lnTo>
                    <a:pt x="855211" y="43491"/>
                  </a:lnTo>
                  <a:lnTo>
                    <a:pt x="856128" y="43500"/>
                  </a:lnTo>
                  <a:lnTo>
                    <a:pt x="856980" y="44350"/>
                  </a:lnTo>
                  <a:lnTo>
                    <a:pt x="857358" y="46793"/>
                  </a:lnTo>
                  <a:lnTo>
                    <a:pt x="857386" y="49719"/>
                  </a:lnTo>
                  <a:lnTo>
                    <a:pt x="857652" y="51909"/>
                  </a:lnTo>
                  <a:lnTo>
                    <a:pt x="857926" y="53241"/>
                  </a:lnTo>
                  <a:lnTo>
                    <a:pt x="861403" y="61388"/>
                  </a:lnTo>
                  <a:lnTo>
                    <a:pt x="862160" y="62281"/>
                  </a:lnTo>
                  <a:lnTo>
                    <a:pt x="863358" y="62988"/>
                  </a:lnTo>
                  <a:lnTo>
                    <a:pt x="865030" y="62088"/>
                  </a:lnTo>
                  <a:lnTo>
                    <a:pt x="866014" y="61076"/>
                  </a:lnTo>
                  <a:lnTo>
                    <a:pt x="868169" y="57595"/>
                  </a:lnTo>
                  <a:lnTo>
                    <a:pt x="875632" y="50498"/>
                  </a:lnTo>
                  <a:lnTo>
                    <a:pt x="875981" y="49985"/>
                  </a:lnTo>
                  <a:lnTo>
                    <a:pt x="877023" y="48886"/>
                  </a:lnTo>
                  <a:lnTo>
                    <a:pt x="878638" y="47792"/>
                  </a:lnTo>
                  <a:lnTo>
                    <a:pt x="884584" y="45363"/>
                  </a:lnTo>
                  <a:lnTo>
                    <a:pt x="887582" y="43380"/>
                  </a:lnTo>
                  <a:lnTo>
                    <a:pt x="888325" y="43770"/>
                  </a:lnTo>
                  <a:lnTo>
                    <a:pt x="889290" y="44754"/>
                  </a:lnTo>
                  <a:lnTo>
                    <a:pt x="891608" y="48615"/>
                  </a:lnTo>
                  <a:lnTo>
                    <a:pt x="901940" y="61379"/>
                  </a:lnTo>
                  <a:lnTo>
                    <a:pt x="902389" y="62552"/>
                  </a:lnTo>
                  <a:lnTo>
                    <a:pt x="902550" y="63956"/>
                  </a:lnTo>
                  <a:lnTo>
                    <a:pt x="902645" y="66350"/>
                  </a:lnTo>
                  <a:lnTo>
                    <a:pt x="902207" y="77991"/>
                  </a:lnTo>
                  <a:lnTo>
                    <a:pt x="902568" y="82987"/>
                  </a:lnTo>
                  <a:lnTo>
                    <a:pt x="902847" y="84024"/>
                  </a:lnTo>
                  <a:lnTo>
                    <a:pt x="903202" y="85061"/>
                  </a:lnTo>
                  <a:lnTo>
                    <a:pt x="904963" y="87470"/>
                  </a:lnTo>
                  <a:lnTo>
                    <a:pt x="917546" y="101458"/>
                  </a:lnTo>
                  <a:lnTo>
                    <a:pt x="919422" y="104160"/>
                  </a:lnTo>
                  <a:lnTo>
                    <a:pt x="920042" y="105703"/>
                  </a:lnTo>
                  <a:lnTo>
                    <a:pt x="920320" y="107005"/>
                  </a:lnTo>
                  <a:lnTo>
                    <a:pt x="920312" y="108039"/>
                  </a:lnTo>
                  <a:lnTo>
                    <a:pt x="920077" y="108746"/>
                  </a:lnTo>
                  <a:lnTo>
                    <a:pt x="919781" y="109942"/>
                  </a:lnTo>
                  <a:lnTo>
                    <a:pt x="919429" y="110958"/>
                  </a:lnTo>
                  <a:lnTo>
                    <a:pt x="918787" y="112284"/>
                  </a:lnTo>
                  <a:lnTo>
                    <a:pt x="915947" y="115423"/>
                  </a:lnTo>
                  <a:lnTo>
                    <a:pt x="912577" y="120155"/>
                  </a:lnTo>
                  <a:lnTo>
                    <a:pt x="911875" y="121774"/>
                  </a:lnTo>
                  <a:lnTo>
                    <a:pt x="911629" y="123812"/>
                  </a:lnTo>
                  <a:lnTo>
                    <a:pt x="911673" y="125614"/>
                  </a:lnTo>
                  <a:lnTo>
                    <a:pt x="912224" y="128649"/>
                  </a:lnTo>
                  <a:lnTo>
                    <a:pt x="912158" y="129815"/>
                  </a:lnTo>
                  <a:lnTo>
                    <a:pt x="911799" y="131673"/>
                  </a:lnTo>
                  <a:lnTo>
                    <a:pt x="911156" y="132968"/>
                  </a:lnTo>
                  <a:lnTo>
                    <a:pt x="910400" y="133999"/>
                  </a:lnTo>
                  <a:lnTo>
                    <a:pt x="905123" y="139482"/>
                  </a:lnTo>
                  <a:lnTo>
                    <a:pt x="904017" y="141158"/>
                  </a:lnTo>
                  <a:lnTo>
                    <a:pt x="904060" y="142916"/>
                  </a:lnTo>
                  <a:lnTo>
                    <a:pt x="904969" y="144387"/>
                  </a:lnTo>
                  <a:lnTo>
                    <a:pt x="907660" y="146093"/>
                  </a:lnTo>
                  <a:lnTo>
                    <a:pt x="909958" y="146464"/>
                  </a:lnTo>
                  <a:lnTo>
                    <a:pt x="913193" y="144777"/>
                  </a:lnTo>
                  <a:lnTo>
                    <a:pt x="914531" y="142835"/>
                  </a:lnTo>
                  <a:lnTo>
                    <a:pt x="915353" y="140686"/>
                  </a:lnTo>
                  <a:lnTo>
                    <a:pt x="916072" y="136937"/>
                  </a:lnTo>
                  <a:lnTo>
                    <a:pt x="916772" y="135584"/>
                  </a:lnTo>
                  <a:lnTo>
                    <a:pt x="917987" y="134618"/>
                  </a:lnTo>
                  <a:lnTo>
                    <a:pt x="919544" y="134008"/>
                  </a:lnTo>
                  <a:lnTo>
                    <a:pt x="921791" y="133464"/>
                  </a:lnTo>
                  <a:lnTo>
                    <a:pt x="922428" y="132937"/>
                  </a:lnTo>
                  <a:lnTo>
                    <a:pt x="923125" y="131967"/>
                  </a:lnTo>
                  <a:lnTo>
                    <a:pt x="924193" y="130055"/>
                  </a:lnTo>
                  <a:lnTo>
                    <a:pt x="926226" y="127203"/>
                  </a:lnTo>
                  <a:lnTo>
                    <a:pt x="927326" y="126175"/>
                  </a:lnTo>
                  <a:lnTo>
                    <a:pt x="928771" y="125182"/>
                  </a:lnTo>
                  <a:lnTo>
                    <a:pt x="930152" y="125015"/>
                  </a:lnTo>
                  <a:lnTo>
                    <a:pt x="931528" y="125468"/>
                  </a:lnTo>
                  <a:lnTo>
                    <a:pt x="933125" y="127429"/>
                  </a:lnTo>
                  <a:lnTo>
                    <a:pt x="933633" y="128703"/>
                  </a:lnTo>
                  <a:lnTo>
                    <a:pt x="933742" y="129606"/>
                  </a:lnTo>
                  <a:lnTo>
                    <a:pt x="933505" y="130667"/>
                  </a:lnTo>
                  <a:lnTo>
                    <a:pt x="932571" y="132598"/>
                  </a:lnTo>
                  <a:lnTo>
                    <a:pt x="931875" y="133537"/>
                  </a:lnTo>
                  <a:lnTo>
                    <a:pt x="931351" y="134419"/>
                  </a:lnTo>
                  <a:lnTo>
                    <a:pt x="931232" y="135010"/>
                  </a:lnTo>
                  <a:lnTo>
                    <a:pt x="931458" y="135515"/>
                  </a:lnTo>
                  <a:lnTo>
                    <a:pt x="936377" y="139568"/>
                  </a:lnTo>
                  <a:lnTo>
                    <a:pt x="937289" y="140846"/>
                  </a:lnTo>
                  <a:lnTo>
                    <a:pt x="937684" y="141911"/>
                  </a:lnTo>
                  <a:lnTo>
                    <a:pt x="938321" y="149673"/>
                  </a:lnTo>
                  <a:lnTo>
                    <a:pt x="939211" y="154377"/>
                  </a:lnTo>
                  <a:lnTo>
                    <a:pt x="939193" y="156978"/>
                  </a:lnTo>
                  <a:lnTo>
                    <a:pt x="938944" y="159768"/>
                  </a:lnTo>
                  <a:lnTo>
                    <a:pt x="938408" y="162572"/>
                  </a:lnTo>
                  <a:lnTo>
                    <a:pt x="938219" y="164876"/>
                  </a:lnTo>
                  <a:lnTo>
                    <a:pt x="938319" y="167152"/>
                  </a:lnTo>
                  <a:lnTo>
                    <a:pt x="940028" y="178481"/>
                  </a:lnTo>
                  <a:lnTo>
                    <a:pt x="939964" y="179456"/>
                  </a:lnTo>
                  <a:lnTo>
                    <a:pt x="939728" y="180370"/>
                  </a:lnTo>
                  <a:lnTo>
                    <a:pt x="939837" y="181170"/>
                  </a:lnTo>
                  <a:lnTo>
                    <a:pt x="940754" y="181900"/>
                  </a:lnTo>
                  <a:lnTo>
                    <a:pt x="944053" y="182587"/>
                  </a:lnTo>
                  <a:lnTo>
                    <a:pt x="970806" y="182160"/>
                  </a:lnTo>
                  <a:lnTo>
                    <a:pt x="973869" y="180522"/>
                  </a:lnTo>
                  <a:lnTo>
                    <a:pt x="977340" y="177749"/>
                  </a:lnTo>
                  <a:lnTo>
                    <a:pt x="988017" y="165732"/>
                  </a:lnTo>
                  <a:lnTo>
                    <a:pt x="988658" y="164215"/>
                  </a:lnTo>
                  <a:lnTo>
                    <a:pt x="988442" y="161184"/>
                  </a:lnTo>
                  <a:lnTo>
                    <a:pt x="988104" y="159764"/>
                  </a:lnTo>
                  <a:lnTo>
                    <a:pt x="987362" y="158550"/>
                  </a:lnTo>
                  <a:lnTo>
                    <a:pt x="986846" y="158059"/>
                  </a:lnTo>
                  <a:lnTo>
                    <a:pt x="986046" y="157036"/>
                  </a:lnTo>
                  <a:lnTo>
                    <a:pt x="985684" y="156471"/>
                  </a:lnTo>
                  <a:lnTo>
                    <a:pt x="985284" y="155968"/>
                  </a:lnTo>
                  <a:lnTo>
                    <a:pt x="984941" y="155390"/>
                  </a:lnTo>
                  <a:lnTo>
                    <a:pt x="986355" y="152751"/>
                  </a:lnTo>
                  <a:lnTo>
                    <a:pt x="995308" y="145703"/>
                  </a:lnTo>
                  <a:lnTo>
                    <a:pt x="998179" y="147135"/>
                  </a:lnTo>
                  <a:lnTo>
                    <a:pt x="999383" y="147895"/>
                  </a:lnTo>
                  <a:lnTo>
                    <a:pt x="1001447" y="149573"/>
                  </a:lnTo>
                  <a:lnTo>
                    <a:pt x="1001789" y="150476"/>
                  </a:lnTo>
                  <a:lnTo>
                    <a:pt x="1001783" y="151630"/>
                  </a:lnTo>
                  <a:lnTo>
                    <a:pt x="1000503" y="154711"/>
                  </a:lnTo>
                  <a:lnTo>
                    <a:pt x="1000039" y="155537"/>
                  </a:lnTo>
                  <a:lnTo>
                    <a:pt x="999805" y="156304"/>
                  </a:lnTo>
                  <a:lnTo>
                    <a:pt x="999282" y="157571"/>
                  </a:lnTo>
                  <a:lnTo>
                    <a:pt x="999449" y="158667"/>
                  </a:lnTo>
                  <a:lnTo>
                    <a:pt x="1000249" y="159940"/>
                  </a:lnTo>
                  <a:lnTo>
                    <a:pt x="1002716" y="161858"/>
                  </a:lnTo>
                  <a:lnTo>
                    <a:pt x="1004037" y="162484"/>
                  </a:lnTo>
                  <a:lnTo>
                    <a:pt x="1005188" y="162770"/>
                  </a:lnTo>
                  <a:lnTo>
                    <a:pt x="1006397" y="162584"/>
                  </a:lnTo>
                  <a:lnTo>
                    <a:pt x="1007395" y="162588"/>
                  </a:lnTo>
                  <a:lnTo>
                    <a:pt x="1008143" y="162680"/>
                  </a:lnTo>
                  <a:lnTo>
                    <a:pt x="1009407" y="163246"/>
                  </a:lnTo>
                  <a:lnTo>
                    <a:pt x="1010957" y="164568"/>
                  </a:lnTo>
                  <a:lnTo>
                    <a:pt x="1011468" y="166106"/>
                  </a:lnTo>
                  <a:lnTo>
                    <a:pt x="1011461" y="167939"/>
                  </a:lnTo>
                  <a:lnTo>
                    <a:pt x="1010295" y="171125"/>
                  </a:lnTo>
                  <a:lnTo>
                    <a:pt x="1008668" y="174665"/>
                  </a:lnTo>
                  <a:lnTo>
                    <a:pt x="1008318" y="175639"/>
                  </a:lnTo>
                  <a:lnTo>
                    <a:pt x="1008825" y="178448"/>
                  </a:lnTo>
                  <a:lnTo>
                    <a:pt x="1012535" y="186915"/>
                  </a:lnTo>
                  <a:lnTo>
                    <a:pt x="1009672" y="196300"/>
                  </a:lnTo>
                  <a:lnTo>
                    <a:pt x="1008393" y="199013"/>
                  </a:lnTo>
                  <a:lnTo>
                    <a:pt x="1006172" y="201603"/>
                  </a:lnTo>
                  <a:lnTo>
                    <a:pt x="1005360" y="202812"/>
                  </a:lnTo>
                  <a:lnTo>
                    <a:pt x="1005181" y="204171"/>
                  </a:lnTo>
                  <a:lnTo>
                    <a:pt x="1005983" y="205224"/>
                  </a:lnTo>
                  <a:lnTo>
                    <a:pt x="1013199" y="207870"/>
                  </a:lnTo>
                  <a:lnTo>
                    <a:pt x="1014752" y="208761"/>
                  </a:lnTo>
                  <a:lnTo>
                    <a:pt x="1015557" y="209519"/>
                  </a:lnTo>
                  <a:lnTo>
                    <a:pt x="1016244" y="210717"/>
                  </a:lnTo>
                  <a:lnTo>
                    <a:pt x="1026876" y="237325"/>
                  </a:lnTo>
                  <a:lnTo>
                    <a:pt x="1027044" y="238625"/>
                  </a:lnTo>
                  <a:lnTo>
                    <a:pt x="1026406" y="239627"/>
                  </a:lnTo>
                  <a:lnTo>
                    <a:pt x="1023521" y="239114"/>
                  </a:lnTo>
                  <a:lnTo>
                    <a:pt x="1021734" y="238383"/>
                  </a:lnTo>
                  <a:lnTo>
                    <a:pt x="1019430" y="237090"/>
                  </a:lnTo>
                  <a:lnTo>
                    <a:pt x="1016890" y="237257"/>
                  </a:lnTo>
                  <a:lnTo>
                    <a:pt x="1015156" y="237723"/>
                  </a:lnTo>
                  <a:lnTo>
                    <a:pt x="1008484" y="245703"/>
                  </a:lnTo>
                  <a:lnTo>
                    <a:pt x="1008268" y="255941"/>
                  </a:lnTo>
                  <a:lnTo>
                    <a:pt x="1007508" y="257978"/>
                  </a:lnTo>
                  <a:lnTo>
                    <a:pt x="1007435" y="261655"/>
                  </a:lnTo>
                  <a:lnTo>
                    <a:pt x="1008401" y="265531"/>
                  </a:lnTo>
                  <a:lnTo>
                    <a:pt x="1012020" y="270570"/>
                  </a:lnTo>
                  <a:lnTo>
                    <a:pt x="1014557" y="272323"/>
                  </a:lnTo>
                  <a:lnTo>
                    <a:pt x="1016518" y="273188"/>
                  </a:lnTo>
                  <a:lnTo>
                    <a:pt x="1017731" y="273370"/>
                  </a:lnTo>
                  <a:lnTo>
                    <a:pt x="1018713" y="273640"/>
                  </a:lnTo>
                  <a:lnTo>
                    <a:pt x="1019232" y="273997"/>
                  </a:lnTo>
                  <a:lnTo>
                    <a:pt x="1019865" y="274576"/>
                  </a:lnTo>
                  <a:lnTo>
                    <a:pt x="1020380" y="275980"/>
                  </a:lnTo>
                  <a:lnTo>
                    <a:pt x="1020431" y="277887"/>
                  </a:lnTo>
                  <a:lnTo>
                    <a:pt x="1017624" y="286017"/>
                  </a:lnTo>
                  <a:lnTo>
                    <a:pt x="1017906" y="288057"/>
                  </a:lnTo>
                  <a:lnTo>
                    <a:pt x="1018878" y="290897"/>
                  </a:lnTo>
                  <a:lnTo>
                    <a:pt x="1021575" y="296552"/>
                  </a:lnTo>
                  <a:lnTo>
                    <a:pt x="1022431" y="299629"/>
                  </a:lnTo>
                  <a:lnTo>
                    <a:pt x="1022187" y="303291"/>
                  </a:lnTo>
                  <a:lnTo>
                    <a:pt x="1021545" y="304530"/>
                  </a:lnTo>
                  <a:lnTo>
                    <a:pt x="1020328" y="305147"/>
                  </a:lnTo>
                  <a:lnTo>
                    <a:pt x="1018767" y="304964"/>
                  </a:lnTo>
                  <a:lnTo>
                    <a:pt x="1015069" y="303501"/>
                  </a:lnTo>
                  <a:lnTo>
                    <a:pt x="1013972" y="302757"/>
                  </a:lnTo>
                  <a:lnTo>
                    <a:pt x="1012300" y="301302"/>
                  </a:lnTo>
                  <a:lnTo>
                    <a:pt x="1011549" y="301091"/>
                  </a:lnTo>
                  <a:lnTo>
                    <a:pt x="1010911" y="301475"/>
                  </a:lnTo>
                  <a:lnTo>
                    <a:pt x="1010386" y="302684"/>
                  </a:lnTo>
                  <a:lnTo>
                    <a:pt x="1010091" y="304013"/>
                  </a:lnTo>
                  <a:lnTo>
                    <a:pt x="1010313" y="306169"/>
                  </a:lnTo>
                  <a:lnTo>
                    <a:pt x="1011289" y="308213"/>
                  </a:lnTo>
                  <a:lnTo>
                    <a:pt x="1016417" y="313820"/>
                  </a:lnTo>
                  <a:lnTo>
                    <a:pt x="1016590" y="314084"/>
                  </a:lnTo>
                  <a:lnTo>
                    <a:pt x="1016928" y="316302"/>
                  </a:lnTo>
                  <a:lnTo>
                    <a:pt x="1016967" y="321384"/>
                  </a:lnTo>
                  <a:lnTo>
                    <a:pt x="1016843" y="323321"/>
                  </a:lnTo>
                  <a:lnTo>
                    <a:pt x="1016891" y="325906"/>
                  </a:lnTo>
                  <a:lnTo>
                    <a:pt x="1017577" y="328140"/>
                  </a:lnTo>
                  <a:lnTo>
                    <a:pt x="1018727" y="330256"/>
                  </a:lnTo>
                  <a:lnTo>
                    <a:pt x="1021151" y="332748"/>
                  </a:lnTo>
                  <a:lnTo>
                    <a:pt x="1022361" y="334349"/>
                  </a:lnTo>
                  <a:lnTo>
                    <a:pt x="1022877" y="335769"/>
                  </a:lnTo>
                  <a:lnTo>
                    <a:pt x="1022117" y="337568"/>
                  </a:lnTo>
                  <a:lnTo>
                    <a:pt x="1021362" y="338289"/>
                  </a:lnTo>
                  <a:lnTo>
                    <a:pt x="1020492" y="338626"/>
                  </a:lnTo>
                  <a:lnTo>
                    <a:pt x="1018868" y="338768"/>
                  </a:lnTo>
                  <a:lnTo>
                    <a:pt x="1018115" y="339031"/>
                  </a:lnTo>
                  <a:lnTo>
                    <a:pt x="1017475" y="339605"/>
                  </a:lnTo>
                  <a:lnTo>
                    <a:pt x="1017760" y="340699"/>
                  </a:lnTo>
                  <a:lnTo>
                    <a:pt x="1018740" y="342166"/>
                  </a:lnTo>
                  <a:lnTo>
                    <a:pt x="1021858" y="344970"/>
                  </a:lnTo>
                  <a:lnTo>
                    <a:pt x="1028583" y="349545"/>
                  </a:lnTo>
                  <a:lnTo>
                    <a:pt x="1030028" y="350806"/>
                  </a:lnTo>
                  <a:lnTo>
                    <a:pt x="1031587" y="352496"/>
                  </a:lnTo>
                  <a:lnTo>
                    <a:pt x="1039146" y="363484"/>
                  </a:lnTo>
                  <a:lnTo>
                    <a:pt x="1044234" y="368464"/>
                  </a:lnTo>
                  <a:lnTo>
                    <a:pt x="1045103" y="368804"/>
                  </a:lnTo>
                  <a:lnTo>
                    <a:pt x="1045974" y="368630"/>
                  </a:lnTo>
                  <a:lnTo>
                    <a:pt x="1050118" y="365806"/>
                  </a:lnTo>
                  <a:lnTo>
                    <a:pt x="1051105" y="365453"/>
                  </a:lnTo>
                  <a:lnTo>
                    <a:pt x="1051975" y="365353"/>
                  </a:lnTo>
                  <a:lnTo>
                    <a:pt x="1052845" y="365414"/>
                  </a:lnTo>
                  <a:lnTo>
                    <a:pt x="1053656" y="365726"/>
                  </a:lnTo>
                  <a:lnTo>
                    <a:pt x="1054350" y="366260"/>
                  </a:lnTo>
                  <a:lnTo>
                    <a:pt x="1060194" y="371933"/>
                  </a:lnTo>
                  <a:lnTo>
                    <a:pt x="1060888" y="372792"/>
                  </a:lnTo>
                  <a:lnTo>
                    <a:pt x="1061463" y="375038"/>
                  </a:lnTo>
                  <a:lnTo>
                    <a:pt x="1061804" y="378142"/>
                  </a:lnTo>
                  <a:lnTo>
                    <a:pt x="1061151" y="384672"/>
                  </a:lnTo>
                  <a:lnTo>
                    <a:pt x="1060390" y="387388"/>
                  </a:lnTo>
                  <a:lnTo>
                    <a:pt x="1059631" y="389233"/>
                  </a:lnTo>
                  <a:lnTo>
                    <a:pt x="1059049" y="390043"/>
                  </a:lnTo>
                  <a:lnTo>
                    <a:pt x="1058583" y="390841"/>
                  </a:lnTo>
                  <a:lnTo>
                    <a:pt x="1058232" y="391638"/>
                  </a:lnTo>
                  <a:lnTo>
                    <a:pt x="1057356" y="394029"/>
                  </a:lnTo>
                  <a:lnTo>
                    <a:pt x="1056948" y="394826"/>
                  </a:lnTo>
                  <a:lnTo>
                    <a:pt x="1056307" y="395608"/>
                  </a:lnTo>
                  <a:lnTo>
                    <a:pt x="1055435" y="396151"/>
                  </a:lnTo>
                  <a:lnTo>
                    <a:pt x="1054622" y="396474"/>
                  </a:lnTo>
                  <a:lnTo>
                    <a:pt x="1053808" y="396650"/>
                  </a:lnTo>
                  <a:lnTo>
                    <a:pt x="1052299" y="396646"/>
                  </a:lnTo>
                  <a:lnTo>
                    <a:pt x="1050674" y="396330"/>
                  </a:lnTo>
                  <a:lnTo>
                    <a:pt x="1049862" y="396374"/>
                  </a:lnTo>
                  <a:lnTo>
                    <a:pt x="1049106" y="396784"/>
                  </a:lnTo>
                  <a:lnTo>
                    <a:pt x="1048581" y="397522"/>
                  </a:lnTo>
                  <a:lnTo>
                    <a:pt x="1048231" y="398273"/>
                  </a:lnTo>
                  <a:lnTo>
                    <a:pt x="1048808" y="399429"/>
                  </a:lnTo>
                  <a:lnTo>
                    <a:pt x="1050198" y="400689"/>
                  </a:lnTo>
                  <a:lnTo>
                    <a:pt x="1054257" y="403034"/>
                  </a:lnTo>
                  <a:lnTo>
                    <a:pt x="1057853" y="404269"/>
                  </a:lnTo>
                  <a:lnTo>
                    <a:pt x="1059479" y="404523"/>
                  </a:lnTo>
                  <a:lnTo>
                    <a:pt x="1060116" y="405116"/>
                  </a:lnTo>
                  <a:lnTo>
                    <a:pt x="1060520" y="406151"/>
                  </a:lnTo>
                  <a:lnTo>
                    <a:pt x="1060051" y="408218"/>
                  </a:lnTo>
                  <a:lnTo>
                    <a:pt x="1059290" y="410491"/>
                  </a:lnTo>
                  <a:lnTo>
                    <a:pt x="1059172" y="411320"/>
                  </a:lnTo>
                  <a:lnTo>
                    <a:pt x="1059287" y="412103"/>
                  </a:lnTo>
                  <a:lnTo>
                    <a:pt x="1060734" y="414322"/>
                  </a:lnTo>
                  <a:lnTo>
                    <a:pt x="1066416" y="419226"/>
                  </a:lnTo>
                  <a:lnTo>
                    <a:pt x="1066409" y="422594"/>
                  </a:lnTo>
                  <a:lnTo>
                    <a:pt x="1065998" y="424394"/>
                  </a:lnTo>
                  <a:lnTo>
                    <a:pt x="1065648" y="425164"/>
                  </a:lnTo>
                  <a:lnTo>
                    <a:pt x="1065005" y="426787"/>
                  </a:lnTo>
                  <a:lnTo>
                    <a:pt x="1064887" y="427672"/>
                  </a:lnTo>
                  <a:lnTo>
                    <a:pt x="1064944" y="428499"/>
                  </a:lnTo>
                  <a:lnTo>
                    <a:pt x="1065930" y="429538"/>
                  </a:lnTo>
                  <a:lnTo>
                    <a:pt x="1067845" y="430634"/>
                  </a:lnTo>
                  <a:lnTo>
                    <a:pt x="1074660" y="433130"/>
                  </a:lnTo>
                  <a:lnTo>
                    <a:pt x="1076520" y="433384"/>
                  </a:lnTo>
                  <a:lnTo>
                    <a:pt x="1079252" y="433079"/>
                  </a:lnTo>
                  <a:lnTo>
                    <a:pt x="1080473" y="433169"/>
                  </a:lnTo>
                  <a:lnTo>
                    <a:pt x="1082041" y="433703"/>
                  </a:lnTo>
                  <a:lnTo>
                    <a:pt x="1088488" y="437702"/>
                  </a:lnTo>
                  <a:lnTo>
                    <a:pt x="1089302" y="438057"/>
                  </a:lnTo>
                  <a:lnTo>
                    <a:pt x="1090426" y="438206"/>
                  </a:lnTo>
                  <a:lnTo>
                    <a:pt x="1094844" y="438153"/>
                  </a:lnTo>
                  <a:lnTo>
                    <a:pt x="1095948" y="439188"/>
                  </a:lnTo>
                  <a:lnTo>
                    <a:pt x="1096992" y="441021"/>
                  </a:lnTo>
                  <a:lnTo>
                    <a:pt x="1098325" y="445352"/>
                  </a:lnTo>
                  <a:lnTo>
                    <a:pt x="1099716" y="451071"/>
                  </a:lnTo>
                  <a:lnTo>
                    <a:pt x="1101981" y="454161"/>
                  </a:lnTo>
                  <a:lnTo>
                    <a:pt x="1117645" y="467068"/>
                  </a:lnTo>
                  <a:lnTo>
                    <a:pt x="1120554" y="472919"/>
                  </a:lnTo>
                  <a:lnTo>
                    <a:pt x="1125385" y="478534"/>
                  </a:lnTo>
                  <a:lnTo>
                    <a:pt x="1126026" y="479094"/>
                  </a:lnTo>
                  <a:lnTo>
                    <a:pt x="1126550" y="479775"/>
                  </a:lnTo>
                  <a:lnTo>
                    <a:pt x="1126957" y="480425"/>
                  </a:lnTo>
                  <a:lnTo>
                    <a:pt x="1127598" y="481740"/>
                  </a:lnTo>
                  <a:lnTo>
                    <a:pt x="1129170" y="486510"/>
                  </a:lnTo>
                  <a:lnTo>
                    <a:pt x="1130219" y="487958"/>
                  </a:lnTo>
                  <a:lnTo>
                    <a:pt x="1132335" y="489524"/>
                  </a:lnTo>
                  <a:lnTo>
                    <a:pt x="1133325" y="490647"/>
                  </a:lnTo>
                  <a:lnTo>
                    <a:pt x="1134083" y="491917"/>
                  </a:lnTo>
                  <a:lnTo>
                    <a:pt x="1134608" y="493410"/>
                  </a:lnTo>
                  <a:lnTo>
                    <a:pt x="1135541" y="497059"/>
                  </a:lnTo>
                  <a:lnTo>
                    <a:pt x="1137349" y="502346"/>
                  </a:lnTo>
                  <a:lnTo>
                    <a:pt x="1137583" y="504150"/>
                  </a:lnTo>
                  <a:lnTo>
                    <a:pt x="1137292" y="505862"/>
                  </a:lnTo>
                  <a:lnTo>
                    <a:pt x="1135486" y="507341"/>
                  </a:lnTo>
                  <a:lnTo>
                    <a:pt x="1134321" y="507992"/>
                  </a:lnTo>
                  <a:lnTo>
                    <a:pt x="1130105" y="509513"/>
                  </a:lnTo>
                  <a:lnTo>
                    <a:pt x="1129115" y="510060"/>
                  </a:lnTo>
                  <a:lnTo>
                    <a:pt x="1128823" y="510741"/>
                  </a:lnTo>
                  <a:lnTo>
                    <a:pt x="1129173" y="511685"/>
                  </a:lnTo>
                  <a:lnTo>
                    <a:pt x="1132224" y="514316"/>
                  </a:lnTo>
                  <a:lnTo>
                    <a:pt x="1132865" y="515052"/>
                  </a:lnTo>
                  <a:lnTo>
                    <a:pt x="1133157" y="517609"/>
                  </a:lnTo>
                  <a:lnTo>
                    <a:pt x="1133158" y="521496"/>
                  </a:lnTo>
                  <a:lnTo>
                    <a:pt x="1131879" y="537008"/>
                  </a:lnTo>
                  <a:lnTo>
                    <a:pt x="1131704" y="537879"/>
                  </a:lnTo>
                  <a:lnTo>
                    <a:pt x="1131452" y="538692"/>
                  </a:lnTo>
                  <a:lnTo>
                    <a:pt x="1130169" y="542710"/>
                  </a:lnTo>
                  <a:lnTo>
                    <a:pt x="1130052" y="543242"/>
                  </a:lnTo>
                  <a:lnTo>
                    <a:pt x="1130169" y="544202"/>
                  </a:lnTo>
                  <a:lnTo>
                    <a:pt x="1130519" y="545518"/>
                  </a:lnTo>
                  <a:lnTo>
                    <a:pt x="1133458" y="550614"/>
                  </a:lnTo>
                  <a:lnTo>
                    <a:pt x="1133808" y="551515"/>
                  </a:lnTo>
                  <a:lnTo>
                    <a:pt x="1134159" y="552461"/>
                  </a:lnTo>
                  <a:lnTo>
                    <a:pt x="1134217" y="554145"/>
                  </a:lnTo>
                  <a:lnTo>
                    <a:pt x="1133927" y="556568"/>
                  </a:lnTo>
                  <a:lnTo>
                    <a:pt x="1132877" y="561503"/>
                  </a:lnTo>
                  <a:lnTo>
                    <a:pt x="1132293" y="563747"/>
                  </a:lnTo>
                  <a:lnTo>
                    <a:pt x="1131651" y="565136"/>
                  </a:lnTo>
                  <a:lnTo>
                    <a:pt x="1131107" y="565830"/>
                  </a:lnTo>
                  <a:lnTo>
                    <a:pt x="1128596" y="567914"/>
                  </a:lnTo>
                  <a:lnTo>
                    <a:pt x="1127427" y="569216"/>
                  </a:lnTo>
                  <a:lnTo>
                    <a:pt x="1126785" y="571696"/>
                  </a:lnTo>
                  <a:lnTo>
                    <a:pt x="1126668" y="575153"/>
                  </a:lnTo>
                  <a:lnTo>
                    <a:pt x="1127077" y="582924"/>
                  </a:lnTo>
                  <a:lnTo>
                    <a:pt x="1126902" y="586028"/>
                  </a:lnTo>
                  <a:lnTo>
                    <a:pt x="1126493" y="587740"/>
                  </a:lnTo>
                  <a:lnTo>
                    <a:pt x="1125558" y="588480"/>
                  </a:lnTo>
                  <a:lnTo>
                    <a:pt x="1124974" y="589247"/>
                  </a:lnTo>
                  <a:lnTo>
                    <a:pt x="1124623" y="589956"/>
                  </a:lnTo>
                  <a:lnTo>
                    <a:pt x="1124155" y="591182"/>
                  </a:lnTo>
                  <a:lnTo>
                    <a:pt x="1123921" y="592528"/>
                  </a:lnTo>
                  <a:lnTo>
                    <a:pt x="1123804" y="594020"/>
                  </a:lnTo>
                  <a:lnTo>
                    <a:pt x="1123862" y="596842"/>
                  </a:lnTo>
                  <a:lnTo>
                    <a:pt x="1124271" y="599915"/>
                  </a:lnTo>
                  <a:lnTo>
                    <a:pt x="1124388" y="600432"/>
                  </a:lnTo>
                  <a:lnTo>
                    <a:pt x="1124739" y="601361"/>
                  </a:lnTo>
                  <a:lnTo>
                    <a:pt x="1127429" y="604893"/>
                  </a:lnTo>
                  <a:lnTo>
                    <a:pt x="1134818" y="608791"/>
                  </a:lnTo>
                  <a:lnTo>
                    <a:pt x="1137333" y="608304"/>
                  </a:lnTo>
                  <a:lnTo>
                    <a:pt x="1137976" y="608539"/>
                  </a:lnTo>
                  <a:lnTo>
                    <a:pt x="1138738" y="609499"/>
                  </a:lnTo>
                  <a:lnTo>
                    <a:pt x="1140084" y="612425"/>
                  </a:lnTo>
                  <a:lnTo>
                    <a:pt x="1141022" y="616457"/>
                  </a:lnTo>
                  <a:lnTo>
                    <a:pt x="1147818" y="629099"/>
                  </a:lnTo>
                  <a:lnTo>
                    <a:pt x="1131472" y="644353"/>
                  </a:lnTo>
                  <a:lnTo>
                    <a:pt x="1126436" y="647337"/>
                  </a:lnTo>
                  <a:lnTo>
                    <a:pt x="1125733" y="647012"/>
                  </a:lnTo>
                  <a:lnTo>
                    <a:pt x="1125206" y="646480"/>
                  </a:lnTo>
                  <a:lnTo>
                    <a:pt x="1124620" y="645446"/>
                  </a:lnTo>
                  <a:lnTo>
                    <a:pt x="1124211" y="644353"/>
                  </a:lnTo>
                  <a:lnTo>
                    <a:pt x="1123976" y="642948"/>
                  </a:lnTo>
                  <a:lnTo>
                    <a:pt x="1124035" y="641574"/>
                  </a:lnTo>
                  <a:lnTo>
                    <a:pt x="1124211" y="640645"/>
                  </a:lnTo>
                  <a:lnTo>
                    <a:pt x="1124679" y="639358"/>
                  </a:lnTo>
                  <a:lnTo>
                    <a:pt x="1126260" y="635991"/>
                  </a:lnTo>
                  <a:lnTo>
                    <a:pt x="1126201" y="634425"/>
                  </a:lnTo>
                  <a:lnTo>
                    <a:pt x="1125908" y="632948"/>
                  </a:lnTo>
                  <a:lnTo>
                    <a:pt x="1126260" y="631441"/>
                  </a:lnTo>
                  <a:lnTo>
                    <a:pt x="1127547" y="630878"/>
                  </a:lnTo>
                  <a:lnTo>
                    <a:pt x="1128308" y="630141"/>
                  </a:lnTo>
                  <a:lnTo>
                    <a:pt x="1128659" y="629195"/>
                  </a:lnTo>
                  <a:lnTo>
                    <a:pt x="1127665" y="627290"/>
                  </a:lnTo>
                  <a:lnTo>
                    <a:pt x="1126786" y="626508"/>
                  </a:lnTo>
                  <a:lnTo>
                    <a:pt x="1125206" y="625871"/>
                  </a:lnTo>
                  <a:lnTo>
                    <a:pt x="1123626" y="625886"/>
                  </a:lnTo>
                  <a:lnTo>
                    <a:pt x="1121051" y="627659"/>
                  </a:lnTo>
                  <a:lnTo>
                    <a:pt x="1103926" y="647505"/>
                  </a:lnTo>
                  <a:lnTo>
                    <a:pt x="1102343" y="648729"/>
                  </a:lnTo>
                  <a:lnTo>
                    <a:pt x="1101289" y="649084"/>
                  </a:lnTo>
                  <a:lnTo>
                    <a:pt x="1100645" y="648774"/>
                  </a:lnTo>
                  <a:lnTo>
                    <a:pt x="1099826" y="647826"/>
                  </a:lnTo>
                  <a:lnTo>
                    <a:pt x="1097428" y="643643"/>
                  </a:lnTo>
                  <a:lnTo>
                    <a:pt x="1094684" y="636654"/>
                  </a:lnTo>
                  <a:lnTo>
                    <a:pt x="1093456" y="635204"/>
                  </a:lnTo>
                  <a:lnTo>
                    <a:pt x="1091525" y="634493"/>
                  </a:lnTo>
                  <a:lnTo>
                    <a:pt x="1083719" y="635073"/>
                  </a:lnTo>
                  <a:lnTo>
                    <a:pt x="1081729" y="634449"/>
                  </a:lnTo>
                  <a:lnTo>
                    <a:pt x="1080326" y="633679"/>
                  </a:lnTo>
                  <a:lnTo>
                    <a:pt x="1078572" y="632138"/>
                  </a:lnTo>
                  <a:lnTo>
                    <a:pt x="1075242" y="628440"/>
                  </a:lnTo>
                  <a:lnTo>
                    <a:pt x="1073431" y="626752"/>
                  </a:lnTo>
                  <a:lnTo>
                    <a:pt x="1071850" y="627016"/>
                  </a:lnTo>
                  <a:lnTo>
                    <a:pt x="1070325" y="628697"/>
                  </a:lnTo>
                  <a:lnTo>
                    <a:pt x="1067544" y="633803"/>
                  </a:lnTo>
                  <a:lnTo>
                    <a:pt x="1064140" y="637931"/>
                  </a:lnTo>
                  <a:lnTo>
                    <a:pt x="1063495" y="638373"/>
                  </a:lnTo>
                  <a:lnTo>
                    <a:pt x="1062965" y="639510"/>
                  </a:lnTo>
                  <a:lnTo>
                    <a:pt x="1062599" y="646173"/>
                  </a:lnTo>
                  <a:lnTo>
                    <a:pt x="1064054" y="650252"/>
                  </a:lnTo>
                  <a:lnTo>
                    <a:pt x="1065456" y="652443"/>
                  </a:lnTo>
                  <a:lnTo>
                    <a:pt x="1066566" y="653581"/>
                  </a:lnTo>
                  <a:lnTo>
                    <a:pt x="1067326" y="654514"/>
                  </a:lnTo>
                  <a:lnTo>
                    <a:pt x="1068026" y="655844"/>
                  </a:lnTo>
                  <a:lnTo>
                    <a:pt x="1068627" y="657929"/>
                  </a:lnTo>
                  <a:lnTo>
                    <a:pt x="1069211" y="659083"/>
                  </a:lnTo>
                  <a:lnTo>
                    <a:pt x="1070030" y="659986"/>
                  </a:lnTo>
                  <a:lnTo>
                    <a:pt x="1071610" y="660964"/>
                  </a:lnTo>
                  <a:lnTo>
                    <a:pt x="1073717" y="661869"/>
                  </a:lnTo>
                  <a:lnTo>
                    <a:pt x="1075883" y="663188"/>
                  </a:lnTo>
                  <a:lnTo>
                    <a:pt x="1077873" y="664875"/>
                  </a:lnTo>
                  <a:lnTo>
                    <a:pt x="1079686" y="667035"/>
                  </a:lnTo>
                  <a:lnTo>
                    <a:pt x="1081793" y="669078"/>
                  </a:lnTo>
                  <a:lnTo>
                    <a:pt x="1084956" y="670869"/>
                  </a:lnTo>
                  <a:lnTo>
                    <a:pt x="1085892" y="671712"/>
                  </a:lnTo>
                  <a:lnTo>
                    <a:pt x="1086536" y="672629"/>
                  </a:lnTo>
                  <a:lnTo>
                    <a:pt x="1086768" y="673975"/>
                  </a:lnTo>
                  <a:lnTo>
                    <a:pt x="1086765" y="676102"/>
                  </a:lnTo>
                  <a:lnTo>
                    <a:pt x="1085121" y="678123"/>
                  </a:lnTo>
                  <a:lnTo>
                    <a:pt x="1084123" y="678979"/>
                  </a:lnTo>
                  <a:lnTo>
                    <a:pt x="1081131" y="680024"/>
                  </a:lnTo>
                  <a:lnTo>
                    <a:pt x="1079018" y="681261"/>
                  </a:lnTo>
                  <a:lnTo>
                    <a:pt x="1078547" y="682072"/>
                  </a:lnTo>
                  <a:lnTo>
                    <a:pt x="1078253" y="683120"/>
                  </a:lnTo>
                  <a:lnTo>
                    <a:pt x="1078483" y="685647"/>
                  </a:lnTo>
                  <a:lnTo>
                    <a:pt x="1078715" y="687008"/>
                  </a:lnTo>
                  <a:lnTo>
                    <a:pt x="1079065" y="688278"/>
                  </a:lnTo>
                  <a:lnTo>
                    <a:pt x="1080000" y="690347"/>
                  </a:lnTo>
                  <a:lnTo>
                    <a:pt x="1081872" y="693602"/>
                  </a:lnTo>
                  <a:lnTo>
                    <a:pt x="1082456" y="695315"/>
                  </a:lnTo>
                  <a:lnTo>
                    <a:pt x="1083039" y="697680"/>
                  </a:lnTo>
                  <a:lnTo>
                    <a:pt x="1083269" y="701286"/>
                  </a:lnTo>
                  <a:lnTo>
                    <a:pt x="1083148" y="703960"/>
                  </a:lnTo>
                  <a:lnTo>
                    <a:pt x="1082672" y="707682"/>
                  </a:lnTo>
                  <a:lnTo>
                    <a:pt x="1078723" y="718267"/>
                  </a:lnTo>
                  <a:lnTo>
                    <a:pt x="1078308" y="720364"/>
                  </a:lnTo>
                  <a:lnTo>
                    <a:pt x="1078306" y="721825"/>
                  </a:lnTo>
                  <a:lnTo>
                    <a:pt x="1078774" y="722551"/>
                  </a:lnTo>
                  <a:lnTo>
                    <a:pt x="1079419" y="723380"/>
                  </a:lnTo>
                  <a:lnTo>
                    <a:pt x="1080533" y="724091"/>
                  </a:lnTo>
                  <a:lnTo>
                    <a:pt x="1081355" y="724445"/>
                  </a:lnTo>
                  <a:lnTo>
                    <a:pt x="1080591" y="725007"/>
                  </a:lnTo>
                  <a:lnTo>
                    <a:pt x="1079650" y="725331"/>
                  </a:lnTo>
                  <a:lnTo>
                    <a:pt x="1065182" y="726086"/>
                  </a:lnTo>
                  <a:lnTo>
                    <a:pt x="1061950" y="726890"/>
                  </a:lnTo>
                  <a:lnTo>
                    <a:pt x="1060950" y="727538"/>
                  </a:lnTo>
                  <a:lnTo>
                    <a:pt x="1059715" y="728556"/>
                  </a:lnTo>
                  <a:lnTo>
                    <a:pt x="1057594" y="731104"/>
                  </a:lnTo>
                  <a:lnTo>
                    <a:pt x="1056650" y="732758"/>
                  </a:lnTo>
                  <a:lnTo>
                    <a:pt x="1056237" y="733716"/>
                  </a:lnTo>
                  <a:lnTo>
                    <a:pt x="1055222" y="740111"/>
                  </a:lnTo>
                  <a:lnTo>
                    <a:pt x="1018317" y="762478"/>
                  </a:lnTo>
                  <a:lnTo>
                    <a:pt x="1016318" y="762117"/>
                  </a:lnTo>
                  <a:lnTo>
                    <a:pt x="1015614" y="761774"/>
                  </a:lnTo>
                  <a:lnTo>
                    <a:pt x="1014794" y="761164"/>
                  </a:lnTo>
                  <a:lnTo>
                    <a:pt x="1014149" y="760481"/>
                  </a:lnTo>
                  <a:lnTo>
                    <a:pt x="1013741" y="759712"/>
                  </a:lnTo>
                  <a:lnTo>
                    <a:pt x="1013451" y="758648"/>
                  </a:lnTo>
                  <a:lnTo>
                    <a:pt x="1013230" y="754894"/>
                  </a:lnTo>
                  <a:lnTo>
                    <a:pt x="1012941" y="753667"/>
                  </a:lnTo>
                  <a:lnTo>
                    <a:pt x="1012534" y="752601"/>
                  </a:lnTo>
                  <a:lnTo>
                    <a:pt x="1012125" y="751980"/>
                  </a:lnTo>
                  <a:lnTo>
                    <a:pt x="1010779" y="750424"/>
                  </a:lnTo>
                  <a:lnTo>
                    <a:pt x="1010192" y="750110"/>
                  </a:lnTo>
                  <a:lnTo>
                    <a:pt x="1009488" y="749856"/>
                  </a:lnTo>
                  <a:lnTo>
                    <a:pt x="1007608" y="749700"/>
                  </a:lnTo>
                  <a:lnTo>
                    <a:pt x="1006136" y="750197"/>
                  </a:lnTo>
                  <a:lnTo>
                    <a:pt x="1001401" y="753442"/>
                  </a:lnTo>
                  <a:lnTo>
                    <a:pt x="998626" y="755955"/>
                  </a:lnTo>
                  <a:lnTo>
                    <a:pt x="997389" y="756569"/>
                  </a:lnTo>
                  <a:lnTo>
                    <a:pt x="990561" y="758310"/>
                  </a:lnTo>
                  <a:lnTo>
                    <a:pt x="985914" y="758671"/>
                  </a:lnTo>
                  <a:lnTo>
                    <a:pt x="984441" y="759239"/>
                  </a:lnTo>
                  <a:lnTo>
                    <a:pt x="982532" y="760826"/>
                  </a:lnTo>
                  <a:lnTo>
                    <a:pt x="979280" y="764356"/>
                  </a:lnTo>
                  <a:lnTo>
                    <a:pt x="977562" y="766768"/>
                  </a:lnTo>
                  <a:lnTo>
                    <a:pt x="975539" y="771322"/>
                  </a:lnTo>
                  <a:lnTo>
                    <a:pt x="975351" y="773419"/>
                  </a:lnTo>
                  <a:lnTo>
                    <a:pt x="975634" y="775637"/>
                  </a:lnTo>
                  <a:lnTo>
                    <a:pt x="976675" y="779012"/>
                  </a:lnTo>
                  <a:lnTo>
                    <a:pt x="973900" y="780814"/>
                  </a:lnTo>
                  <a:lnTo>
                    <a:pt x="952460" y="810456"/>
                  </a:lnTo>
                  <a:lnTo>
                    <a:pt x="955838" y="816859"/>
                  </a:lnTo>
                  <a:lnTo>
                    <a:pt x="958548" y="816875"/>
                  </a:lnTo>
                  <a:lnTo>
                    <a:pt x="959374" y="816703"/>
                  </a:lnTo>
                  <a:lnTo>
                    <a:pt x="959786" y="816765"/>
                  </a:lnTo>
                  <a:lnTo>
                    <a:pt x="960198" y="816928"/>
                  </a:lnTo>
                  <a:lnTo>
                    <a:pt x="960550" y="817122"/>
                  </a:lnTo>
                  <a:lnTo>
                    <a:pt x="960960" y="817598"/>
                  </a:lnTo>
                  <a:lnTo>
                    <a:pt x="961271" y="818102"/>
                  </a:lnTo>
                  <a:lnTo>
                    <a:pt x="968197" y="833785"/>
                  </a:lnTo>
                  <a:lnTo>
                    <a:pt x="973276" y="843017"/>
                  </a:lnTo>
                  <a:lnTo>
                    <a:pt x="978602" y="851052"/>
                  </a:lnTo>
                  <a:lnTo>
                    <a:pt x="980177" y="854340"/>
                  </a:lnTo>
                  <a:lnTo>
                    <a:pt x="986115" y="874888"/>
                  </a:lnTo>
                  <a:lnTo>
                    <a:pt x="1000811" y="944104"/>
                  </a:lnTo>
                  <a:lnTo>
                    <a:pt x="1010976" y="967428"/>
                  </a:lnTo>
                  <a:lnTo>
                    <a:pt x="1012131" y="974789"/>
                  </a:lnTo>
                  <a:lnTo>
                    <a:pt x="1012403" y="980964"/>
                  </a:lnTo>
                  <a:lnTo>
                    <a:pt x="1011395" y="996235"/>
                  </a:lnTo>
                  <a:lnTo>
                    <a:pt x="1008499" y="1008793"/>
                  </a:lnTo>
                  <a:lnTo>
                    <a:pt x="997071" y="1040370"/>
                  </a:lnTo>
                  <a:lnTo>
                    <a:pt x="994213" y="1042099"/>
                  </a:lnTo>
                  <a:lnTo>
                    <a:pt x="993319" y="1042834"/>
                  </a:lnTo>
                  <a:lnTo>
                    <a:pt x="992126" y="1044069"/>
                  </a:lnTo>
                  <a:lnTo>
                    <a:pt x="991228" y="1045749"/>
                  </a:lnTo>
                  <a:lnTo>
                    <a:pt x="991157" y="1048140"/>
                  </a:lnTo>
                  <a:lnTo>
                    <a:pt x="991795" y="1051393"/>
                  </a:lnTo>
                  <a:lnTo>
                    <a:pt x="995031" y="1058292"/>
                  </a:lnTo>
                  <a:lnTo>
                    <a:pt x="995798" y="1059506"/>
                  </a:lnTo>
                  <a:lnTo>
                    <a:pt x="1000352" y="1064283"/>
                  </a:lnTo>
                  <a:lnTo>
                    <a:pt x="1000640" y="1066485"/>
                  </a:lnTo>
                  <a:lnTo>
                    <a:pt x="1000165" y="1080086"/>
                  </a:lnTo>
                  <a:lnTo>
                    <a:pt x="999612" y="1084339"/>
                  </a:lnTo>
                  <a:lnTo>
                    <a:pt x="999005" y="1087173"/>
                  </a:lnTo>
                  <a:lnTo>
                    <a:pt x="997389" y="1089602"/>
                  </a:lnTo>
                  <a:lnTo>
                    <a:pt x="996964" y="1091416"/>
                  </a:lnTo>
                  <a:lnTo>
                    <a:pt x="995862" y="1098488"/>
                  </a:lnTo>
                  <a:lnTo>
                    <a:pt x="995439" y="1099947"/>
                  </a:lnTo>
                  <a:lnTo>
                    <a:pt x="994840" y="1100965"/>
                  </a:lnTo>
                  <a:lnTo>
                    <a:pt x="993704" y="1102154"/>
                  </a:lnTo>
                  <a:lnTo>
                    <a:pt x="993167" y="1102492"/>
                  </a:lnTo>
                  <a:lnTo>
                    <a:pt x="992748" y="1102920"/>
                  </a:lnTo>
                  <a:lnTo>
                    <a:pt x="991372" y="1104625"/>
                  </a:lnTo>
                  <a:lnTo>
                    <a:pt x="991190" y="1105364"/>
                  </a:lnTo>
                  <a:lnTo>
                    <a:pt x="991366" y="1106117"/>
                  </a:lnTo>
                  <a:lnTo>
                    <a:pt x="991955" y="1107360"/>
                  </a:lnTo>
                  <a:lnTo>
                    <a:pt x="993677" y="1108064"/>
                  </a:lnTo>
                  <a:lnTo>
                    <a:pt x="994570" y="1108081"/>
                  </a:lnTo>
                  <a:lnTo>
                    <a:pt x="995344" y="1107952"/>
                  </a:lnTo>
                  <a:lnTo>
                    <a:pt x="996180" y="1107426"/>
                  </a:lnTo>
                  <a:lnTo>
                    <a:pt x="996477" y="1107427"/>
                  </a:lnTo>
                  <a:lnTo>
                    <a:pt x="996893" y="1107488"/>
                  </a:lnTo>
                  <a:lnTo>
                    <a:pt x="997368" y="1107725"/>
                  </a:lnTo>
                  <a:lnTo>
                    <a:pt x="998018" y="1108792"/>
                  </a:lnTo>
                  <a:lnTo>
                    <a:pt x="999432" y="1112048"/>
                  </a:lnTo>
                  <a:lnTo>
                    <a:pt x="1000660" y="1117385"/>
                  </a:lnTo>
                  <a:lnTo>
                    <a:pt x="1007757" y="1133649"/>
                  </a:lnTo>
                  <a:lnTo>
                    <a:pt x="1005549" y="1134791"/>
                  </a:lnTo>
                  <a:lnTo>
                    <a:pt x="1005012" y="1134937"/>
                  </a:lnTo>
                  <a:lnTo>
                    <a:pt x="1004117" y="1135348"/>
                  </a:lnTo>
                  <a:lnTo>
                    <a:pt x="1003338" y="1136260"/>
                  </a:lnTo>
                  <a:lnTo>
                    <a:pt x="1002737" y="1137570"/>
                  </a:lnTo>
                  <a:lnTo>
                    <a:pt x="1001934" y="1139695"/>
                  </a:lnTo>
                  <a:lnTo>
                    <a:pt x="1001095" y="1140858"/>
                  </a:lnTo>
                  <a:lnTo>
                    <a:pt x="1000019" y="1141652"/>
                  </a:lnTo>
                  <a:lnTo>
                    <a:pt x="993465" y="1141799"/>
                  </a:lnTo>
                  <a:lnTo>
                    <a:pt x="992272" y="1142059"/>
                  </a:lnTo>
                  <a:lnTo>
                    <a:pt x="991555" y="1142588"/>
                  </a:lnTo>
                  <a:lnTo>
                    <a:pt x="990597" y="1143617"/>
                  </a:lnTo>
                  <a:lnTo>
                    <a:pt x="988794" y="1146916"/>
                  </a:lnTo>
                  <a:lnTo>
                    <a:pt x="988368" y="1148716"/>
                  </a:lnTo>
                  <a:lnTo>
                    <a:pt x="988718" y="1150416"/>
                  </a:lnTo>
                  <a:lnTo>
                    <a:pt x="990971" y="1152954"/>
                  </a:lnTo>
                  <a:lnTo>
                    <a:pt x="993703" y="1155242"/>
                  </a:lnTo>
                  <a:lnTo>
                    <a:pt x="995063" y="1157492"/>
                  </a:lnTo>
                  <a:lnTo>
                    <a:pt x="995945" y="1160154"/>
                  </a:lnTo>
                  <a:lnTo>
                    <a:pt x="996658" y="1160927"/>
                  </a:lnTo>
                  <a:lnTo>
                    <a:pt x="997848" y="1161316"/>
                  </a:lnTo>
                  <a:lnTo>
                    <a:pt x="1000889" y="1161314"/>
                  </a:lnTo>
                  <a:lnTo>
                    <a:pt x="1001662" y="1161745"/>
                  </a:lnTo>
                  <a:lnTo>
                    <a:pt x="1002392" y="1162930"/>
                  </a:lnTo>
                  <a:lnTo>
                    <a:pt x="1002863" y="1164321"/>
                  </a:lnTo>
                  <a:lnTo>
                    <a:pt x="1003211" y="1166687"/>
                  </a:lnTo>
                  <a:lnTo>
                    <a:pt x="1003559" y="1183318"/>
                  </a:lnTo>
                  <a:lnTo>
                    <a:pt x="1004888" y="1193959"/>
                  </a:lnTo>
                  <a:lnTo>
                    <a:pt x="1006296" y="1199785"/>
                  </a:lnTo>
                  <a:lnTo>
                    <a:pt x="1007713" y="1203763"/>
                  </a:lnTo>
                  <a:lnTo>
                    <a:pt x="1008125" y="1205405"/>
                  </a:lnTo>
                  <a:lnTo>
                    <a:pt x="1008177" y="1207163"/>
                  </a:lnTo>
                  <a:lnTo>
                    <a:pt x="1007689" y="1209893"/>
                  </a:lnTo>
                  <a:lnTo>
                    <a:pt x="1007084" y="1211751"/>
                  </a:lnTo>
                  <a:lnTo>
                    <a:pt x="1006480" y="1213227"/>
                  </a:lnTo>
                  <a:lnTo>
                    <a:pt x="1005580" y="1214374"/>
                  </a:lnTo>
                  <a:lnTo>
                    <a:pt x="1004322" y="1215167"/>
                  </a:lnTo>
                  <a:lnTo>
                    <a:pt x="1000661" y="1214678"/>
                  </a:lnTo>
                  <a:lnTo>
                    <a:pt x="993507" y="1211781"/>
                  </a:lnTo>
                  <a:lnTo>
                    <a:pt x="992970" y="1211719"/>
                  </a:lnTo>
                  <a:lnTo>
                    <a:pt x="992252" y="1212041"/>
                  </a:lnTo>
                  <a:lnTo>
                    <a:pt x="991589" y="1213322"/>
                  </a:lnTo>
                  <a:lnTo>
                    <a:pt x="990920" y="1215875"/>
                  </a:lnTo>
                  <a:lnTo>
                    <a:pt x="990404" y="1224174"/>
                  </a:lnTo>
                  <a:lnTo>
                    <a:pt x="986618" y="1228911"/>
                  </a:lnTo>
                  <a:lnTo>
                    <a:pt x="984130" y="1224394"/>
                  </a:lnTo>
                  <a:lnTo>
                    <a:pt x="982595" y="1220560"/>
                  </a:lnTo>
                  <a:lnTo>
                    <a:pt x="980775" y="1214111"/>
                  </a:lnTo>
                  <a:lnTo>
                    <a:pt x="979807" y="1212571"/>
                  </a:lnTo>
                  <a:lnTo>
                    <a:pt x="977841" y="1211704"/>
                  </a:lnTo>
                  <a:lnTo>
                    <a:pt x="975215" y="1211276"/>
                  </a:lnTo>
                  <a:lnTo>
                    <a:pt x="970616" y="1211489"/>
                  </a:lnTo>
                  <a:lnTo>
                    <a:pt x="961046" y="1214094"/>
                  </a:lnTo>
                  <a:lnTo>
                    <a:pt x="952697" y="1218698"/>
                  </a:lnTo>
                  <a:lnTo>
                    <a:pt x="945811" y="1221447"/>
                  </a:lnTo>
                  <a:lnTo>
                    <a:pt x="939467" y="1223059"/>
                  </a:lnTo>
                  <a:lnTo>
                    <a:pt x="930187" y="1223115"/>
                  </a:lnTo>
                  <a:lnTo>
                    <a:pt x="920883" y="1220791"/>
                  </a:lnTo>
                  <a:lnTo>
                    <a:pt x="908301" y="1214865"/>
                  </a:lnTo>
                  <a:lnTo>
                    <a:pt x="905380" y="1214045"/>
                  </a:lnTo>
                  <a:lnTo>
                    <a:pt x="900828" y="1215724"/>
                  </a:lnTo>
                  <a:lnTo>
                    <a:pt x="893611" y="1219506"/>
                  </a:lnTo>
                  <a:lnTo>
                    <a:pt x="864811" y="1244824"/>
                  </a:lnTo>
                  <a:lnTo>
                    <a:pt x="847369" y="1253538"/>
                  </a:lnTo>
                  <a:lnTo>
                    <a:pt x="836342" y="1249707"/>
                  </a:lnTo>
                  <a:lnTo>
                    <a:pt x="833891" y="1249564"/>
                  </a:lnTo>
                  <a:lnTo>
                    <a:pt x="827802" y="1252456"/>
                  </a:lnTo>
                  <a:lnTo>
                    <a:pt x="826341" y="1254951"/>
                  </a:lnTo>
                  <a:lnTo>
                    <a:pt x="825788" y="1256394"/>
                  </a:lnTo>
                  <a:lnTo>
                    <a:pt x="825599" y="1257425"/>
                  </a:lnTo>
                  <a:lnTo>
                    <a:pt x="823974" y="1258354"/>
                  </a:lnTo>
                  <a:lnTo>
                    <a:pt x="820971" y="1259474"/>
                  </a:lnTo>
                  <a:lnTo>
                    <a:pt x="810602" y="1261355"/>
                  </a:lnTo>
                  <a:lnTo>
                    <a:pt x="808438" y="1262263"/>
                  </a:lnTo>
                  <a:lnTo>
                    <a:pt x="807594" y="1262903"/>
                  </a:lnTo>
                  <a:lnTo>
                    <a:pt x="803379" y="1268942"/>
                  </a:lnTo>
                  <a:lnTo>
                    <a:pt x="784939" y="1293928"/>
                  </a:lnTo>
                  <a:lnTo>
                    <a:pt x="784824" y="1294083"/>
                  </a:lnTo>
                  <a:lnTo>
                    <a:pt x="783185" y="1293610"/>
                  </a:lnTo>
                  <a:lnTo>
                    <a:pt x="782263" y="1293021"/>
                  </a:lnTo>
                  <a:lnTo>
                    <a:pt x="677328" y="1225521"/>
                  </a:lnTo>
                  <a:lnTo>
                    <a:pt x="662406" y="1221812"/>
                  </a:lnTo>
                  <a:lnTo>
                    <a:pt x="647989" y="1221590"/>
                  </a:lnTo>
                  <a:lnTo>
                    <a:pt x="642906" y="1213335"/>
                  </a:lnTo>
                  <a:lnTo>
                    <a:pt x="621606" y="1212969"/>
                  </a:lnTo>
                  <a:lnTo>
                    <a:pt x="578738" y="1207339"/>
                  </a:lnTo>
                  <a:lnTo>
                    <a:pt x="571399" y="1210092"/>
                  </a:lnTo>
                  <a:lnTo>
                    <a:pt x="565140" y="1216649"/>
                  </a:lnTo>
                  <a:lnTo>
                    <a:pt x="551037" y="1220861"/>
                  </a:lnTo>
                  <a:lnTo>
                    <a:pt x="535915" y="1221987"/>
                  </a:lnTo>
                  <a:lnTo>
                    <a:pt x="526527" y="1219310"/>
                  </a:lnTo>
                  <a:lnTo>
                    <a:pt x="515511" y="1210700"/>
                  </a:lnTo>
                  <a:lnTo>
                    <a:pt x="515234" y="1210413"/>
                  </a:lnTo>
                  <a:lnTo>
                    <a:pt x="509898" y="1204835"/>
                  </a:lnTo>
                  <a:lnTo>
                    <a:pt x="509942" y="1200861"/>
                  </a:lnTo>
                  <a:lnTo>
                    <a:pt x="517060" y="1199358"/>
                  </a:lnTo>
                  <a:lnTo>
                    <a:pt x="507310" y="1189709"/>
                  </a:lnTo>
                  <a:lnTo>
                    <a:pt x="494897" y="1182094"/>
                  </a:lnTo>
                  <a:lnTo>
                    <a:pt x="484567" y="1181394"/>
                  </a:lnTo>
                  <a:lnTo>
                    <a:pt x="480860" y="1192524"/>
                  </a:lnTo>
                  <a:lnTo>
                    <a:pt x="483926" y="1196122"/>
                  </a:lnTo>
                  <a:lnTo>
                    <a:pt x="463587" y="1195956"/>
                  </a:lnTo>
                  <a:lnTo>
                    <a:pt x="462915" y="1192217"/>
                  </a:lnTo>
                  <a:lnTo>
                    <a:pt x="462059" y="1187839"/>
                  </a:lnTo>
                  <a:lnTo>
                    <a:pt x="459082" y="1183972"/>
                  </a:lnTo>
                  <a:lnTo>
                    <a:pt x="457557" y="1179269"/>
                  </a:lnTo>
                  <a:lnTo>
                    <a:pt x="458915" y="1175562"/>
                  </a:lnTo>
                  <a:lnTo>
                    <a:pt x="464218" y="1167959"/>
                  </a:lnTo>
                  <a:lnTo>
                    <a:pt x="465300" y="1165826"/>
                  </a:lnTo>
                  <a:lnTo>
                    <a:pt x="462887" y="1159992"/>
                  </a:lnTo>
                  <a:lnTo>
                    <a:pt x="459128" y="1159168"/>
                  </a:lnTo>
                  <a:lnTo>
                    <a:pt x="454856" y="1159953"/>
                  </a:lnTo>
                  <a:lnTo>
                    <a:pt x="450902" y="1158960"/>
                  </a:lnTo>
                  <a:lnTo>
                    <a:pt x="448146" y="1154344"/>
                  </a:lnTo>
                  <a:lnTo>
                    <a:pt x="445280" y="1147656"/>
                  </a:lnTo>
                  <a:lnTo>
                    <a:pt x="441717" y="1141943"/>
                  </a:lnTo>
                  <a:lnTo>
                    <a:pt x="436791" y="1140169"/>
                  </a:lnTo>
                  <a:lnTo>
                    <a:pt x="433210" y="1143747"/>
                  </a:lnTo>
                  <a:lnTo>
                    <a:pt x="430929" y="1156163"/>
                  </a:lnTo>
                  <a:lnTo>
                    <a:pt x="426086" y="1159175"/>
                  </a:lnTo>
                  <a:lnTo>
                    <a:pt x="422378" y="1156264"/>
                  </a:lnTo>
                  <a:lnTo>
                    <a:pt x="421194" y="1149289"/>
                  </a:lnTo>
                  <a:lnTo>
                    <a:pt x="421014" y="1141898"/>
                  </a:lnTo>
                  <a:lnTo>
                    <a:pt x="420518" y="1137719"/>
                  </a:lnTo>
                  <a:lnTo>
                    <a:pt x="413488" y="1134323"/>
                  </a:lnTo>
                  <a:lnTo>
                    <a:pt x="403932" y="1133551"/>
                  </a:lnTo>
                  <a:lnTo>
                    <a:pt x="397730" y="1136911"/>
                  </a:lnTo>
                  <a:lnTo>
                    <a:pt x="401081" y="1146009"/>
                  </a:lnTo>
                  <a:lnTo>
                    <a:pt x="395209" y="1148816"/>
                  </a:lnTo>
                  <a:lnTo>
                    <a:pt x="374406" y="1152413"/>
                  </a:lnTo>
                  <a:lnTo>
                    <a:pt x="370118" y="1152182"/>
                  </a:lnTo>
                  <a:lnTo>
                    <a:pt x="367052" y="1153903"/>
                  </a:lnTo>
                  <a:lnTo>
                    <a:pt x="361647" y="1161442"/>
                  </a:lnTo>
                  <a:lnTo>
                    <a:pt x="359750" y="1165558"/>
                  </a:lnTo>
                  <a:lnTo>
                    <a:pt x="356549" y="1176910"/>
                  </a:lnTo>
                  <a:lnTo>
                    <a:pt x="352352" y="1180639"/>
                  </a:lnTo>
                  <a:lnTo>
                    <a:pt x="342466" y="1185735"/>
                  </a:lnTo>
                  <a:lnTo>
                    <a:pt x="338571" y="1189956"/>
                  </a:lnTo>
                  <a:lnTo>
                    <a:pt x="338020" y="1194169"/>
                  </a:lnTo>
                  <a:lnTo>
                    <a:pt x="339540" y="1198390"/>
                  </a:lnTo>
                  <a:lnTo>
                    <a:pt x="340365" y="1203291"/>
                  </a:lnTo>
                  <a:lnTo>
                    <a:pt x="337731" y="1209410"/>
                  </a:lnTo>
                  <a:lnTo>
                    <a:pt x="343723" y="1211804"/>
                  </a:lnTo>
                  <a:lnTo>
                    <a:pt x="345626" y="1212152"/>
                  </a:lnTo>
                  <a:lnTo>
                    <a:pt x="355301" y="1219964"/>
                  </a:lnTo>
                  <a:lnTo>
                    <a:pt x="363148" y="1224724"/>
                  </a:lnTo>
                  <a:lnTo>
                    <a:pt x="370006" y="1224611"/>
                  </a:lnTo>
                  <a:lnTo>
                    <a:pt x="375777" y="1221807"/>
                  </a:lnTo>
                  <a:lnTo>
                    <a:pt x="381210" y="1218122"/>
                  </a:lnTo>
                  <a:lnTo>
                    <a:pt x="387057" y="1215361"/>
                  </a:lnTo>
                  <a:lnTo>
                    <a:pt x="405849" y="1212647"/>
                  </a:lnTo>
                  <a:lnTo>
                    <a:pt x="411201" y="1213698"/>
                  </a:lnTo>
                  <a:lnTo>
                    <a:pt x="415547" y="1215614"/>
                  </a:lnTo>
                  <a:lnTo>
                    <a:pt x="417311" y="1216391"/>
                  </a:lnTo>
                  <a:lnTo>
                    <a:pt x="420807" y="1216817"/>
                  </a:lnTo>
                  <a:lnTo>
                    <a:pt x="418291" y="1230303"/>
                  </a:lnTo>
                  <a:lnTo>
                    <a:pt x="415812" y="1228972"/>
                  </a:lnTo>
                  <a:lnTo>
                    <a:pt x="415658" y="1225452"/>
                  </a:lnTo>
                  <a:lnTo>
                    <a:pt x="415322" y="1224528"/>
                  </a:lnTo>
                  <a:lnTo>
                    <a:pt x="413647" y="1224545"/>
                  </a:lnTo>
                  <a:lnTo>
                    <a:pt x="411597" y="1225262"/>
                  </a:lnTo>
                  <a:lnTo>
                    <a:pt x="410174" y="1226440"/>
                  </a:lnTo>
                  <a:lnTo>
                    <a:pt x="409221" y="1229577"/>
                  </a:lnTo>
                  <a:lnTo>
                    <a:pt x="409795" y="1232191"/>
                  </a:lnTo>
                  <a:lnTo>
                    <a:pt x="410657" y="1234444"/>
                  </a:lnTo>
                  <a:lnTo>
                    <a:pt x="410769" y="1236412"/>
                  </a:lnTo>
                  <a:lnTo>
                    <a:pt x="410196" y="1240298"/>
                  </a:lnTo>
                  <a:lnTo>
                    <a:pt x="410297" y="1244364"/>
                  </a:lnTo>
                  <a:lnTo>
                    <a:pt x="409754" y="1248635"/>
                  </a:lnTo>
                  <a:lnTo>
                    <a:pt x="408010" y="1251534"/>
                  </a:lnTo>
                  <a:lnTo>
                    <a:pt x="407136" y="1252987"/>
                  </a:lnTo>
                  <a:lnTo>
                    <a:pt x="401910" y="1254598"/>
                  </a:lnTo>
                  <a:lnTo>
                    <a:pt x="398552" y="1250245"/>
                  </a:lnTo>
                  <a:lnTo>
                    <a:pt x="397774" y="1249235"/>
                  </a:lnTo>
                  <a:lnTo>
                    <a:pt x="393382" y="1241381"/>
                  </a:lnTo>
                  <a:lnTo>
                    <a:pt x="387585" y="1235649"/>
                  </a:lnTo>
                  <a:lnTo>
                    <a:pt x="376000" y="1236528"/>
                  </a:lnTo>
                  <a:lnTo>
                    <a:pt x="364004" y="1244044"/>
                  </a:lnTo>
                  <a:lnTo>
                    <a:pt x="359246" y="1253699"/>
                  </a:lnTo>
                  <a:lnTo>
                    <a:pt x="358697" y="1256402"/>
                  </a:lnTo>
                  <a:lnTo>
                    <a:pt x="347937" y="1257926"/>
                  </a:lnTo>
                  <a:lnTo>
                    <a:pt x="346762" y="1258092"/>
                  </a:lnTo>
                  <a:lnTo>
                    <a:pt x="322085" y="1257264"/>
                  </a:lnTo>
                  <a:lnTo>
                    <a:pt x="307560" y="1252953"/>
                  </a:lnTo>
                  <a:lnTo>
                    <a:pt x="303842" y="1250365"/>
                  </a:lnTo>
                  <a:lnTo>
                    <a:pt x="301286" y="1244779"/>
                  </a:lnTo>
                  <a:lnTo>
                    <a:pt x="299367" y="1239213"/>
                  </a:lnTo>
                  <a:lnTo>
                    <a:pt x="297365" y="1236673"/>
                  </a:lnTo>
                  <a:lnTo>
                    <a:pt x="292916" y="1236070"/>
                  </a:lnTo>
                  <a:lnTo>
                    <a:pt x="283004" y="1232707"/>
                  </a:lnTo>
                  <a:lnTo>
                    <a:pt x="276031" y="1232532"/>
                  </a:lnTo>
                  <a:lnTo>
                    <a:pt x="255132" y="1235423"/>
                  </a:lnTo>
                  <a:lnTo>
                    <a:pt x="253101" y="1236661"/>
                  </a:lnTo>
                  <a:lnTo>
                    <a:pt x="251106" y="1239393"/>
                  </a:lnTo>
                  <a:lnTo>
                    <a:pt x="248393" y="1242103"/>
                  </a:lnTo>
                  <a:lnTo>
                    <a:pt x="241276" y="1243999"/>
                  </a:lnTo>
                  <a:lnTo>
                    <a:pt x="232770" y="1248271"/>
                  </a:lnTo>
                  <a:lnTo>
                    <a:pt x="229546" y="1250625"/>
                  </a:lnTo>
                  <a:lnTo>
                    <a:pt x="226163" y="1254287"/>
                  </a:lnTo>
                  <a:lnTo>
                    <a:pt x="224519" y="1257133"/>
                  </a:lnTo>
                  <a:lnTo>
                    <a:pt x="222729" y="1259558"/>
                  </a:lnTo>
                  <a:lnTo>
                    <a:pt x="218902" y="1261994"/>
                  </a:lnTo>
                  <a:lnTo>
                    <a:pt x="201433" y="1265339"/>
                  </a:lnTo>
                  <a:lnTo>
                    <a:pt x="151224" y="1263680"/>
                  </a:lnTo>
                  <a:lnTo>
                    <a:pt x="150267" y="1261225"/>
                  </a:lnTo>
                  <a:lnTo>
                    <a:pt x="149687" y="1255840"/>
                  </a:lnTo>
                  <a:lnTo>
                    <a:pt x="148628" y="1250438"/>
                  </a:lnTo>
                  <a:lnTo>
                    <a:pt x="146358" y="1247909"/>
                  </a:lnTo>
                  <a:lnTo>
                    <a:pt x="121538" y="1245544"/>
                  </a:lnTo>
                  <a:lnTo>
                    <a:pt x="116213" y="1242577"/>
                  </a:lnTo>
                  <a:lnTo>
                    <a:pt x="108820" y="1253329"/>
                  </a:lnTo>
                  <a:lnTo>
                    <a:pt x="102425" y="1260478"/>
                  </a:lnTo>
                  <a:lnTo>
                    <a:pt x="95024" y="1264350"/>
                  </a:lnTo>
                  <a:lnTo>
                    <a:pt x="79701" y="1266965"/>
                  </a:lnTo>
                  <a:lnTo>
                    <a:pt x="62640" y="1269866"/>
                  </a:lnTo>
                  <a:lnTo>
                    <a:pt x="54186" y="1268414"/>
                  </a:lnTo>
                  <a:lnTo>
                    <a:pt x="48690" y="1265235"/>
                  </a:lnTo>
                  <a:lnTo>
                    <a:pt x="34635" y="1257095"/>
                  </a:lnTo>
                  <a:lnTo>
                    <a:pt x="35634" y="1257142"/>
                  </a:lnTo>
                  <a:lnTo>
                    <a:pt x="44719" y="1257566"/>
                  </a:lnTo>
                  <a:lnTo>
                    <a:pt x="48970" y="1253749"/>
                  </a:lnTo>
                  <a:lnTo>
                    <a:pt x="54553" y="1239633"/>
                  </a:lnTo>
                  <a:lnTo>
                    <a:pt x="45793" y="1240222"/>
                  </a:lnTo>
                  <a:lnTo>
                    <a:pt x="25909" y="1245394"/>
                  </a:lnTo>
                  <a:lnTo>
                    <a:pt x="27700" y="1239625"/>
                  </a:lnTo>
                  <a:lnTo>
                    <a:pt x="28693" y="1237607"/>
                  </a:lnTo>
                  <a:lnTo>
                    <a:pt x="28059" y="1232129"/>
                  </a:lnTo>
                  <a:lnTo>
                    <a:pt x="26139" y="1229070"/>
                  </a:lnTo>
                  <a:lnTo>
                    <a:pt x="23750" y="1226820"/>
                  </a:lnTo>
                  <a:lnTo>
                    <a:pt x="21548" y="1223837"/>
                  </a:lnTo>
                  <a:lnTo>
                    <a:pt x="13524" y="1206113"/>
                  </a:lnTo>
                  <a:lnTo>
                    <a:pt x="8587" y="1198618"/>
                  </a:lnTo>
                  <a:lnTo>
                    <a:pt x="3012" y="1195415"/>
                  </a:lnTo>
                  <a:lnTo>
                    <a:pt x="1600" y="1192730"/>
                  </a:lnTo>
                  <a:lnTo>
                    <a:pt x="602" y="1186525"/>
                  </a:lnTo>
                  <a:lnTo>
                    <a:pt x="0" y="1174187"/>
                  </a:lnTo>
                  <a:lnTo>
                    <a:pt x="1483" y="1170815"/>
                  </a:lnTo>
                  <a:lnTo>
                    <a:pt x="8102" y="1164275"/>
                  </a:lnTo>
                  <a:lnTo>
                    <a:pt x="10511" y="1160585"/>
                  </a:lnTo>
                  <a:lnTo>
                    <a:pt x="11064" y="1151263"/>
                  </a:lnTo>
                  <a:lnTo>
                    <a:pt x="7060" y="1131075"/>
                  </a:lnTo>
                  <a:lnTo>
                    <a:pt x="8395" y="1123189"/>
                  </a:lnTo>
                  <a:lnTo>
                    <a:pt x="14575" y="1104891"/>
                  </a:lnTo>
                  <a:lnTo>
                    <a:pt x="16821" y="1102229"/>
                  </a:lnTo>
                  <a:lnTo>
                    <a:pt x="22124" y="1099581"/>
                  </a:lnTo>
                  <a:lnTo>
                    <a:pt x="23198" y="1093221"/>
                  </a:lnTo>
                  <a:lnTo>
                    <a:pt x="21617" y="1082516"/>
                  </a:lnTo>
                  <a:lnTo>
                    <a:pt x="21792" y="1079980"/>
                  </a:lnTo>
                  <a:lnTo>
                    <a:pt x="21530" y="1078523"/>
                  </a:lnTo>
                  <a:lnTo>
                    <a:pt x="21386" y="1077068"/>
                  </a:lnTo>
                  <a:lnTo>
                    <a:pt x="21913" y="1074692"/>
                  </a:lnTo>
                  <a:lnTo>
                    <a:pt x="23155" y="1072258"/>
                  </a:lnTo>
                  <a:lnTo>
                    <a:pt x="25784" y="1069889"/>
                  </a:lnTo>
                  <a:lnTo>
                    <a:pt x="27435" y="1067131"/>
                  </a:lnTo>
                  <a:lnTo>
                    <a:pt x="30066" y="1061496"/>
                  </a:lnTo>
                  <a:lnTo>
                    <a:pt x="30875" y="1058969"/>
                  </a:lnTo>
                  <a:lnTo>
                    <a:pt x="30748" y="1049664"/>
                  </a:lnTo>
                  <a:lnTo>
                    <a:pt x="33093" y="1042113"/>
                  </a:lnTo>
                  <a:lnTo>
                    <a:pt x="43707" y="1031651"/>
                  </a:lnTo>
                  <a:lnTo>
                    <a:pt x="47601" y="1024911"/>
                  </a:lnTo>
                  <a:lnTo>
                    <a:pt x="47431" y="1007047"/>
                  </a:lnTo>
                  <a:lnTo>
                    <a:pt x="32005" y="977245"/>
                  </a:lnTo>
                  <a:lnTo>
                    <a:pt x="31710" y="953624"/>
                  </a:lnTo>
                  <a:lnTo>
                    <a:pt x="34536" y="942570"/>
                  </a:lnTo>
                  <a:lnTo>
                    <a:pt x="35839" y="938687"/>
                  </a:lnTo>
                  <a:lnTo>
                    <a:pt x="37427" y="933957"/>
                  </a:lnTo>
                  <a:lnTo>
                    <a:pt x="40378" y="928956"/>
                  </a:lnTo>
                  <a:lnTo>
                    <a:pt x="43109" y="925601"/>
                  </a:lnTo>
                  <a:lnTo>
                    <a:pt x="45208" y="921187"/>
                  </a:lnTo>
                  <a:lnTo>
                    <a:pt x="46264" y="912977"/>
                  </a:lnTo>
                  <a:lnTo>
                    <a:pt x="49046" y="906089"/>
                  </a:lnTo>
                  <a:lnTo>
                    <a:pt x="74385" y="873174"/>
                  </a:lnTo>
                  <a:lnTo>
                    <a:pt x="78700" y="865024"/>
                  </a:lnTo>
                  <a:lnTo>
                    <a:pt x="81450" y="855428"/>
                  </a:lnTo>
                  <a:lnTo>
                    <a:pt x="82656" y="843853"/>
                  </a:lnTo>
                  <a:lnTo>
                    <a:pt x="85722" y="831946"/>
                  </a:lnTo>
                  <a:lnTo>
                    <a:pt x="92033" y="827138"/>
                  </a:lnTo>
                  <a:lnTo>
                    <a:pt x="99161" y="823583"/>
                  </a:lnTo>
                  <a:lnTo>
                    <a:pt x="104684" y="815372"/>
                  </a:lnTo>
                  <a:lnTo>
                    <a:pt x="105438" y="807402"/>
                  </a:lnTo>
                  <a:lnTo>
                    <a:pt x="103785" y="799714"/>
                  </a:lnTo>
                  <a:lnTo>
                    <a:pt x="101572" y="792331"/>
                  </a:lnTo>
                  <a:lnTo>
                    <a:pt x="100601" y="785405"/>
                  </a:lnTo>
                  <a:lnTo>
                    <a:pt x="101299" y="777920"/>
                  </a:lnTo>
                  <a:lnTo>
                    <a:pt x="104620" y="762932"/>
                  </a:lnTo>
                  <a:lnTo>
                    <a:pt x="106772" y="756491"/>
                  </a:lnTo>
                  <a:lnTo>
                    <a:pt x="109590" y="751166"/>
                  </a:lnTo>
                  <a:lnTo>
                    <a:pt x="112189" y="747565"/>
                  </a:lnTo>
                  <a:lnTo>
                    <a:pt x="114304" y="742082"/>
                  </a:lnTo>
                  <a:lnTo>
                    <a:pt x="115471" y="731228"/>
                  </a:lnTo>
                  <a:lnTo>
                    <a:pt x="117611" y="726117"/>
                  </a:lnTo>
                  <a:lnTo>
                    <a:pt x="122315" y="721612"/>
                  </a:lnTo>
                  <a:lnTo>
                    <a:pt x="132048" y="714448"/>
                  </a:lnTo>
                  <a:lnTo>
                    <a:pt x="132185" y="710521"/>
                  </a:lnTo>
                  <a:lnTo>
                    <a:pt x="128147" y="698226"/>
                  </a:lnTo>
                  <a:lnTo>
                    <a:pt x="128879" y="678352"/>
                  </a:lnTo>
                  <a:lnTo>
                    <a:pt x="132733" y="659804"/>
                  </a:lnTo>
                  <a:lnTo>
                    <a:pt x="149522" y="635409"/>
                  </a:lnTo>
                  <a:lnTo>
                    <a:pt x="154039" y="632432"/>
                  </a:lnTo>
                  <a:lnTo>
                    <a:pt x="160351" y="630609"/>
                  </a:lnTo>
                  <a:lnTo>
                    <a:pt x="166295" y="625787"/>
                  </a:lnTo>
                  <a:lnTo>
                    <a:pt x="177046" y="613737"/>
                  </a:lnTo>
                  <a:lnTo>
                    <a:pt x="181627" y="610963"/>
                  </a:lnTo>
                  <a:lnTo>
                    <a:pt x="186779" y="606258"/>
                  </a:lnTo>
                  <a:lnTo>
                    <a:pt x="191012" y="600961"/>
                  </a:lnTo>
                  <a:lnTo>
                    <a:pt x="192836" y="596498"/>
                  </a:lnTo>
                  <a:lnTo>
                    <a:pt x="193661" y="585615"/>
                  </a:lnTo>
                  <a:lnTo>
                    <a:pt x="195814" y="580573"/>
                  </a:lnTo>
                  <a:lnTo>
                    <a:pt x="200145" y="579296"/>
                  </a:lnTo>
                  <a:lnTo>
                    <a:pt x="210745" y="579469"/>
                  </a:lnTo>
                  <a:lnTo>
                    <a:pt x="213659" y="578560"/>
                  </a:lnTo>
                  <a:lnTo>
                    <a:pt x="215861" y="576768"/>
                  </a:lnTo>
                  <a:lnTo>
                    <a:pt x="216780" y="573635"/>
                  </a:lnTo>
                  <a:lnTo>
                    <a:pt x="217769" y="568286"/>
                  </a:lnTo>
                  <a:lnTo>
                    <a:pt x="219618" y="565301"/>
                  </a:lnTo>
                  <a:lnTo>
                    <a:pt x="221424" y="563675"/>
                  </a:lnTo>
                  <a:lnTo>
                    <a:pt x="222287" y="562282"/>
                  </a:lnTo>
                  <a:lnTo>
                    <a:pt x="225599" y="562242"/>
                  </a:lnTo>
                  <a:lnTo>
                    <a:pt x="239651" y="555241"/>
                  </a:lnTo>
                  <a:lnTo>
                    <a:pt x="242008" y="553334"/>
                  </a:lnTo>
                  <a:lnTo>
                    <a:pt x="246922" y="545596"/>
                  </a:lnTo>
                  <a:lnTo>
                    <a:pt x="265431" y="499018"/>
                  </a:lnTo>
                  <a:lnTo>
                    <a:pt x="277828" y="477108"/>
                  </a:lnTo>
                  <a:lnTo>
                    <a:pt x="285815" y="468452"/>
                  </a:lnTo>
                  <a:lnTo>
                    <a:pt x="297325" y="464629"/>
                  </a:lnTo>
                  <a:lnTo>
                    <a:pt x="309845" y="451888"/>
                  </a:lnTo>
                  <a:lnTo>
                    <a:pt x="318088" y="439830"/>
                  </a:lnTo>
                  <a:lnTo>
                    <a:pt x="347239" y="383682"/>
                  </a:lnTo>
                  <a:lnTo>
                    <a:pt x="349061" y="377983"/>
                  </a:lnTo>
                  <a:lnTo>
                    <a:pt x="357687" y="323741"/>
                  </a:lnTo>
                  <a:lnTo>
                    <a:pt x="360444" y="314017"/>
                  </a:lnTo>
                  <a:lnTo>
                    <a:pt x="364589" y="309948"/>
                  </a:lnTo>
                  <a:lnTo>
                    <a:pt x="369402" y="307584"/>
                  </a:lnTo>
                  <a:lnTo>
                    <a:pt x="395967" y="277791"/>
                  </a:lnTo>
                  <a:lnTo>
                    <a:pt x="397483" y="270647"/>
                  </a:lnTo>
                  <a:lnTo>
                    <a:pt x="388782" y="267283"/>
                  </a:lnTo>
                  <a:lnTo>
                    <a:pt x="389641" y="262472"/>
                  </a:lnTo>
                  <a:lnTo>
                    <a:pt x="403809" y="232532"/>
                  </a:lnTo>
                  <a:lnTo>
                    <a:pt x="403918" y="226800"/>
                  </a:lnTo>
                  <a:lnTo>
                    <a:pt x="401741" y="217252"/>
                  </a:lnTo>
                  <a:lnTo>
                    <a:pt x="401555" y="212593"/>
                  </a:lnTo>
                  <a:lnTo>
                    <a:pt x="402219" y="211471"/>
                  </a:lnTo>
                  <a:lnTo>
                    <a:pt x="405972" y="202435"/>
                  </a:lnTo>
                  <a:lnTo>
                    <a:pt x="407153" y="201372"/>
                  </a:lnTo>
                  <a:lnTo>
                    <a:pt x="403347" y="194680"/>
                  </a:lnTo>
                  <a:lnTo>
                    <a:pt x="397429" y="192365"/>
                  </a:lnTo>
                  <a:lnTo>
                    <a:pt x="390669" y="191387"/>
                  </a:lnTo>
                  <a:lnTo>
                    <a:pt x="384397" y="188707"/>
                  </a:lnTo>
                  <a:lnTo>
                    <a:pt x="384501" y="184807"/>
                  </a:lnTo>
                  <a:lnTo>
                    <a:pt x="392439" y="181103"/>
                  </a:lnTo>
                  <a:lnTo>
                    <a:pt x="392542" y="177189"/>
                  </a:lnTo>
                  <a:lnTo>
                    <a:pt x="387833" y="166450"/>
                  </a:lnTo>
                  <a:lnTo>
                    <a:pt x="380164" y="141646"/>
                  </a:lnTo>
                  <a:lnTo>
                    <a:pt x="373299" y="129456"/>
                  </a:lnTo>
                  <a:lnTo>
                    <a:pt x="376816" y="115686"/>
                  </a:lnTo>
                  <a:lnTo>
                    <a:pt x="389115" y="110950"/>
                  </a:lnTo>
                  <a:lnTo>
                    <a:pt x="392226" y="110723"/>
                  </a:lnTo>
                  <a:lnTo>
                    <a:pt x="393714" y="110970"/>
                  </a:lnTo>
                  <a:lnTo>
                    <a:pt x="398270" y="112659"/>
                  </a:lnTo>
                  <a:lnTo>
                    <a:pt x="406897" y="119966"/>
                  </a:lnTo>
                  <a:lnTo>
                    <a:pt x="431433" y="146952"/>
                  </a:lnTo>
                  <a:lnTo>
                    <a:pt x="439668" y="144484"/>
                  </a:lnTo>
                  <a:lnTo>
                    <a:pt x="440844" y="143464"/>
                  </a:lnTo>
                  <a:lnTo>
                    <a:pt x="442305" y="142584"/>
                  </a:lnTo>
                  <a:lnTo>
                    <a:pt x="442835" y="142095"/>
                  </a:lnTo>
                  <a:lnTo>
                    <a:pt x="447496" y="140585"/>
                  </a:lnTo>
                  <a:lnTo>
                    <a:pt x="448842" y="139671"/>
                  </a:lnTo>
                  <a:lnTo>
                    <a:pt x="449790" y="138573"/>
                  </a:lnTo>
                  <a:lnTo>
                    <a:pt x="450397" y="137287"/>
                  </a:lnTo>
                  <a:lnTo>
                    <a:pt x="450713" y="136125"/>
                  </a:lnTo>
                  <a:lnTo>
                    <a:pt x="450749" y="134634"/>
                  </a:lnTo>
                  <a:lnTo>
                    <a:pt x="450564" y="132752"/>
                  </a:lnTo>
                  <a:lnTo>
                    <a:pt x="449808" y="128374"/>
                  </a:lnTo>
                  <a:lnTo>
                    <a:pt x="446679" y="115202"/>
                  </a:lnTo>
                  <a:lnTo>
                    <a:pt x="446591" y="114076"/>
                  </a:lnTo>
                  <a:lnTo>
                    <a:pt x="444330" y="102373"/>
                  </a:lnTo>
                  <a:lnTo>
                    <a:pt x="444312" y="100775"/>
                  </a:lnTo>
                  <a:lnTo>
                    <a:pt x="444734" y="99987"/>
                  </a:lnTo>
                  <a:lnTo>
                    <a:pt x="445667" y="99449"/>
                  </a:lnTo>
                  <a:lnTo>
                    <a:pt x="471822" y="93466"/>
                  </a:lnTo>
                  <a:lnTo>
                    <a:pt x="473372" y="93531"/>
                  </a:lnTo>
                  <a:lnTo>
                    <a:pt x="474331" y="94263"/>
                  </a:lnTo>
                  <a:lnTo>
                    <a:pt x="474528" y="98082"/>
                  </a:lnTo>
                  <a:lnTo>
                    <a:pt x="475183" y="99545"/>
                  </a:lnTo>
                  <a:lnTo>
                    <a:pt x="479017" y="105224"/>
                  </a:lnTo>
                  <a:lnTo>
                    <a:pt x="479469" y="107997"/>
                  </a:lnTo>
                  <a:lnTo>
                    <a:pt x="479247" y="110122"/>
                  </a:lnTo>
                  <a:lnTo>
                    <a:pt x="478762" y="111188"/>
                  </a:lnTo>
                  <a:lnTo>
                    <a:pt x="477925" y="112573"/>
                  </a:lnTo>
                  <a:lnTo>
                    <a:pt x="477140" y="114165"/>
                  </a:lnTo>
                  <a:lnTo>
                    <a:pt x="477011" y="114769"/>
                  </a:lnTo>
                  <a:lnTo>
                    <a:pt x="477050" y="115553"/>
                  </a:lnTo>
                  <a:lnTo>
                    <a:pt x="478577" y="121575"/>
                  </a:lnTo>
                  <a:lnTo>
                    <a:pt x="482797" y="133069"/>
                  </a:lnTo>
                  <a:lnTo>
                    <a:pt x="483621" y="134745"/>
                  </a:lnTo>
                  <a:lnTo>
                    <a:pt x="484675" y="136454"/>
                  </a:lnTo>
                  <a:lnTo>
                    <a:pt x="485513" y="137538"/>
                  </a:lnTo>
                  <a:lnTo>
                    <a:pt x="488006" y="140049"/>
                  </a:lnTo>
                  <a:lnTo>
                    <a:pt x="498150" y="147052"/>
                  </a:lnTo>
                  <a:lnTo>
                    <a:pt x="505148" y="150728"/>
                  </a:lnTo>
                  <a:lnTo>
                    <a:pt x="511301" y="151901"/>
                  </a:lnTo>
                  <a:lnTo>
                    <a:pt x="519089" y="151157"/>
                  </a:lnTo>
                  <a:lnTo>
                    <a:pt x="520987" y="151258"/>
                  </a:lnTo>
                  <a:lnTo>
                    <a:pt x="522177" y="152142"/>
                  </a:lnTo>
                  <a:lnTo>
                    <a:pt x="523902" y="154870"/>
                  </a:lnTo>
                  <a:lnTo>
                    <a:pt x="525293" y="159778"/>
                  </a:lnTo>
                  <a:lnTo>
                    <a:pt x="525959" y="160946"/>
                  </a:lnTo>
                  <a:lnTo>
                    <a:pt x="526800" y="162027"/>
                  </a:lnTo>
                  <a:lnTo>
                    <a:pt x="528463" y="163246"/>
                  </a:lnTo>
                  <a:lnTo>
                    <a:pt x="533408" y="163591"/>
                  </a:lnTo>
                  <a:lnTo>
                    <a:pt x="551548" y="161847"/>
                  </a:lnTo>
                  <a:lnTo>
                    <a:pt x="552528" y="164616"/>
                  </a:lnTo>
                  <a:lnTo>
                    <a:pt x="552633" y="165092"/>
                  </a:lnTo>
                  <a:lnTo>
                    <a:pt x="552673" y="165950"/>
                  </a:lnTo>
                  <a:lnTo>
                    <a:pt x="552530" y="167292"/>
                  </a:lnTo>
                  <a:lnTo>
                    <a:pt x="552149" y="168984"/>
                  </a:lnTo>
                  <a:lnTo>
                    <a:pt x="551414" y="171095"/>
                  </a:lnTo>
                  <a:lnTo>
                    <a:pt x="550328" y="173497"/>
                  </a:lnTo>
                  <a:lnTo>
                    <a:pt x="549132" y="175599"/>
                  </a:lnTo>
                  <a:lnTo>
                    <a:pt x="546155" y="179261"/>
                  </a:lnTo>
                  <a:lnTo>
                    <a:pt x="545050" y="179801"/>
                  </a:lnTo>
                  <a:lnTo>
                    <a:pt x="543782" y="179774"/>
                  </a:lnTo>
                  <a:lnTo>
                    <a:pt x="541736" y="178400"/>
                  </a:lnTo>
                  <a:lnTo>
                    <a:pt x="540273" y="176773"/>
                  </a:lnTo>
                  <a:lnTo>
                    <a:pt x="538203" y="173831"/>
                  </a:lnTo>
                  <a:lnTo>
                    <a:pt x="537109" y="173777"/>
                  </a:lnTo>
                  <a:lnTo>
                    <a:pt x="535826" y="174520"/>
                  </a:lnTo>
                  <a:lnTo>
                    <a:pt x="529918" y="181338"/>
                  </a:lnTo>
                  <a:lnTo>
                    <a:pt x="528964" y="182856"/>
                  </a:lnTo>
                  <a:lnTo>
                    <a:pt x="528292" y="184584"/>
                  </a:lnTo>
                  <a:lnTo>
                    <a:pt x="528021" y="186470"/>
                  </a:lnTo>
                  <a:lnTo>
                    <a:pt x="527970" y="188863"/>
                  </a:lnTo>
                  <a:lnTo>
                    <a:pt x="528091" y="191246"/>
                  </a:lnTo>
                  <a:lnTo>
                    <a:pt x="529226" y="200182"/>
                  </a:lnTo>
                  <a:lnTo>
                    <a:pt x="529191" y="201806"/>
                  </a:lnTo>
                  <a:lnTo>
                    <a:pt x="528815" y="203247"/>
                  </a:lnTo>
                  <a:lnTo>
                    <a:pt x="528153" y="204490"/>
                  </a:lnTo>
                  <a:lnTo>
                    <a:pt x="527388" y="205226"/>
                  </a:lnTo>
                  <a:lnTo>
                    <a:pt x="523521" y="207092"/>
                  </a:lnTo>
                  <a:lnTo>
                    <a:pt x="522583" y="207811"/>
                  </a:lnTo>
                  <a:lnTo>
                    <a:pt x="521991" y="208476"/>
                  </a:lnTo>
                  <a:lnTo>
                    <a:pt x="521630" y="209178"/>
                  </a:lnTo>
                  <a:lnTo>
                    <a:pt x="521047" y="212093"/>
                  </a:lnTo>
                  <a:lnTo>
                    <a:pt x="520606" y="216487"/>
                  </a:lnTo>
                  <a:lnTo>
                    <a:pt x="520744" y="218115"/>
                  </a:lnTo>
                  <a:lnTo>
                    <a:pt x="521349" y="219473"/>
                  </a:lnTo>
                  <a:lnTo>
                    <a:pt x="522026" y="220199"/>
                  </a:lnTo>
                  <a:lnTo>
                    <a:pt x="522881" y="220676"/>
                  </a:lnTo>
                  <a:lnTo>
                    <a:pt x="528056" y="222473"/>
                  </a:lnTo>
                  <a:lnTo>
                    <a:pt x="530998" y="222550"/>
                  </a:lnTo>
                  <a:lnTo>
                    <a:pt x="533789" y="224297"/>
                  </a:lnTo>
                  <a:lnTo>
                    <a:pt x="536053" y="223680"/>
                  </a:lnTo>
                  <a:lnTo>
                    <a:pt x="539393" y="221297"/>
                  </a:lnTo>
                  <a:lnTo>
                    <a:pt x="546120" y="214197"/>
                  </a:lnTo>
                  <a:lnTo>
                    <a:pt x="550881" y="208120"/>
                  </a:lnTo>
                  <a:lnTo>
                    <a:pt x="551543" y="206775"/>
                  </a:lnTo>
                  <a:lnTo>
                    <a:pt x="551979" y="205217"/>
                  </a:lnTo>
                  <a:lnTo>
                    <a:pt x="553502" y="198465"/>
                  </a:lnTo>
                  <a:lnTo>
                    <a:pt x="554053" y="196925"/>
                  </a:lnTo>
                  <a:lnTo>
                    <a:pt x="554879" y="195967"/>
                  </a:lnTo>
                  <a:lnTo>
                    <a:pt x="555866" y="195663"/>
                  </a:lnTo>
                  <a:lnTo>
                    <a:pt x="556996" y="196810"/>
                  </a:lnTo>
                  <a:lnTo>
                    <a:pt x="557512" y="199775"/>
                  </a:lnTo>
                  <a:lnTo>
                    <a:pt x="558183" y="200764"/>
                  </a:lnTo>
                  <a:lnTo>
                    <a:pt x="559502" y="201175"/>
                  </a:lnTo>
                  <a:lnTo>
                    <a:pt x="561762" y="200602"/>
                  </a:lnTo>
                  <a:lnTo>
                    <a:pt x="569373" y="195850"/>
                  </a:lnTo>
                  <a:lnTo>
                    <a:pt x="570811" y="193191"/>
                  </a:lnTo>
                  <a:lnTo>
                    <a:pt x="571422" y="191442"/>
                  </a:lnTo>
                  <a:lnTo>
                    <a:pt x="570521" y="187479"/>
                  </a:lnTo>
                  <a:lnTo>
                    <a:pt x="569923" y="185665"/>
                  </a:lnTo>
                  <a:lnTo>
                    <a:pt x="569154" y="183758"/>
                  </a:lnTo>
                  <a:lnTo>
                    <a:pt x="567465" y="180826"/>
                  </a:lnTo>
                  <a:lnTo>
                    <a:pt x="565276" y="177886"/>
                  </a:lnTo>
                  <a:lnTo>
                    <a:pt x="564892" y="176975"/>
                  </a:lnTo>
                  <a:lnTo>
                    <a:pt x="564907" y="176192"/>
                  </a:lnTo>
                  <a:lnTo>
                    <a:pt x="566090" y="174680"/>
                  </a:lnTo>
                  <a:lnTo>
                    <a:pt x="574759" y="165604"/>
                  </a:lnTo>
                  <a:lnTo>
                    <a:pt x="574763" y="165397"/>
                  </a:lnTo>
                  <a:lnTo>
                    <a:pt x="574833" y="164748"/>
                  </a:lnTo>
                  <a:lnTo>
                    <a:pt x="574958" y="164262"/>
                  </a:lnTo>
                  <a:lnTo>
                    <a:pt x="576523" y="163747"/>
                  </a:lnTo>
                  <a:lnTo>
                    <a:pt x="596410" y="163798"/>
                  </a:lnTo>
                  <a:lnTo>
                    <a:pt x="599395" y="164313"/>
                  </a:lnTo>
                  <a:lnTo>
                    <a:pt x="600367" y="164688"/>
                  </a:lnTo>
                  <a:lnTo>
                    <a:pt x="605187" y="165665"/>
                  </a:lnTo>
                  <a:lnTo>
                    <a:pt x="606987" y="164873"/>
                  </a:lnTo>
                  <a:lnTo>
                    <a:pt x="608840" y="164285"/>
                  </a:lnTo>
                  <a:lnTo>
                    <a:pt x="617648" y="156087"/>
                  </a:lnTo>
                  <a:lnTo>
                    <a:pt x="620704" y="155847"/>
                  </a:lnTo>
                  <a:lnTo>
                    <a:pt x="624665" y="156480"/>
                  </a:lnTo>
                  <a:lnTo>
                    <a:pt x="629105" y="156044"/>
                  </a:lnTo>
                  <a:lnTo>
                    <a:pt x="630195" y="156316"/>
                  </a:lnTo>
                  <a:lnTo>
                    <a:pt x="630824" y="156563"/>
                  </a:lnTo>
                  <a:lnTo>
                    <a:pt x="631502" y="157285"/>
                  </a:lnTo>
                  <a:lnTo>
                    <a:pt x="634217" y="161086"/>
                  </a:lnTo>
                  <a:lnTo>
                    <a:pt x="635179" y="162050"/>
                  </a:lnTo>
                  <a:lnTo>
                    <a:pt x="636205" y="162629"/>
                  </a:lnTo>
                  <a:lnTo>
                    <a:pt x="637238" y="162855"/>
                  </a:lnTo>
                  <a:lnTo>
                    <a:pt x="638508" y="162642"/>
                  </a:lnTo>
                  <a:lnTo>
                    <a:pt x="639320" y="162375"/>
                  </a:lnTo>
                  <a:lnTo>
                    <a:pt x="639579" y="160680"/>
                  </a:lnTo>
                  <a:lnTo>
                    <a:pt x="638823" y="157830"/>
                  </a:lnTo>
                  <a:lnTo>
                    <a:pt x="635542" y="151298"/>
                  </a:lnTo>
                  <a:lnTo>
                    <a:pt x="631881" y="145676"/>
                  </a:lnTo>
                  <a:lnTo>
                    <a:pt x="631158" y="144244"/>
                  </a:lnTo>
                  <a:lnTo>
                    <a:pt x="629561" y="140256"/>
                  </a:lnTo>
                  <a:lnTo>
                    <a:pt x="627937" y="137772"/>
                  </a:lnTo>
                  <a:lnTo>
                    <a:pt x="621907" y="130835"/>
                  </a:lnTo>
                  <a:lnTo>
                    <a:pt x="620568" y="128491"/>
                  </a:lnTo>
                  <a:lnTo>
                    <a:pt x="620258" y="126607"/>
                  </a:lnTo>
                  <a:lnTo>
                    <a:pt x="620740" y="125374"/>
                  </a:lnTo>
                  <a:lnTo>
                    <a:pt x="622654" y="124523"/>
                  </a:lnTo>
                  <a:lnTo>
                    <a:pt x="627569" y="129431"/>
                  </a:lnTo>
                  <a:lnTo>
                    <a:pt x="629633" y="129765"/>
                  </a:lnTo>
                  <a:lnTo>
                    <a:pt x="630615" y="129560"/>
                  </a:lnTo>
                  <a:lnTo>
                    <a:pt x="634011" y="123990"/>
                  </a:lnTo>
                  <a:lnTo>
                    <a:pt x="636846" y="126273"/>
                  </a:lnTo>
                  <a:lnTo>
                    <a:pt x="638165" y="126488"/>
                  </a:lnTo>
                  <a:lnTo>
                    <a:pt x="659304" y="122231"/>
                  </a:lnTo>
                  <a:lnTo>
                    <a:pt x="664806" y="123314"/>
                  </a:lnTo>
                  <a:lnTo>
                    <a:pt x="686960" y="123486"/>
                  </a:lnTo>
                  <a:lnTo>
                    <a:pt x="689041" y="122795"/>
                  </a:lnTo>
                  <a:lnTo>
                    <a:pt x="690961" y="121376"/>
                  </a:lnTo>
                  <a:lnTo>
                    <a:pt x="692676" y="118360"/>
                  </a:lnTo>
                  <a:lnTo>
                    <a:pt x="693451" y="116555"/>
                  </a:lnTo>
                  <a:lnTo>
                    <a:pt x="694677" y="111683"/>
                  </a:lnTo>
                  <a:lnTo>
                    <a:pt x="695407" y="110276"/>
                  </a:lnTo>
                  <a:lnTo>
                    <a:pt x="696636" y="108847"/>
                  </a:lnTo>
                  <a:lnTo>
                    <a:pt x="700133" y="105679"/>
                  </a:lnTo>
                  <a:lnTo>
                    <a:pt x="700664" y="104845"/>
                  </a:lnTo>
                  <a:lnTo>
                    <a:pt x="700735" y="103915"/>
                  </a:lnTo>
                  <a:lnTo>
                    <a:pt x="700467" y="102641"/>
                  </a:lnTo>
                  <a:lnTo>
                    <a:pt x="699598" y="95637"/>
                  </a:lnTo>
                  <a:lnTo>
                    <a:pt x="700492" y="93567"/>
                  </a:lnTo>
                  <a:lnTo>
                    <a:pt x="702413" y="91869"/>
                  </a:lnTo>
                  <a:lnTo>
                    <a:pt x="707627" y="88890"/>
                  </a:lnTo>
                  <a:lnTo>
                    <a:pt x="710571" y="87886"/>
                  </a:lnTo>
                  <a:lnTo>
                    <a:pt x="713564" y="87414"/>
                  </a:lnTo>
                  <a:lnTo>
                    <a:pt x="718804" y="87756"/>
                  </a:lnTo>
                  <a:lnTo>
                    <a:pt x="722604" y="87075"/>
                  </a:lnTo>
                  <a:lnTo>
                    <a:pt x="733235" y="82500"/>
                  </a:lnTo>
                  <a:lnTo>
                    <a:pt x="734208" y="82693"/>
                  </a:lnTo>
                  <a:lnTo>
                    <a:pt x="735463" y="83302"/>
                  </a:lnTo>
                  <a:lnTo>
                    <a:pt x="739890" y="88300"/>
                  </a:lnTo>
                  <a:lnTo>
                    <a:pt x="741836" y="88770"/>
                  </a:lnTo>
                  <a:lnTo>
                    <a:pt x="743447" y="88585"/>
                  </a:lnTo>
                  <a:lnTo>
                    <a:pt x="750366" y="82297"/>
                  </a:lnTo>
                  <a:lnTo>
                    <a:pt x="749099" y="78305"/>
                  </a:lnTo>
                  <a:lnTo>
                    <a:pt x="748040" y="75985"/>
                  </a:lnTo>
                  <a:lnTo>
                    <a:pt x="747815" y="75718"/>
                  </a:lnTo>
                  <a:lnTo>
                    <a:pt x="747647" y="75359"/>
                  </a:lnTo>
                  <a:lnTo>
                    <a:pt x="747857" y="72585"/>
                  </a:lnTo>
                  <a:lnTo>
                    <a:pt x="752413" y="49758"/>
                  </a:lnTo>
                  <a:lnTo>
                    <a:pt x="752079" y="49014"/>
                  </a:lnTo>
                  <a:lnTo>
                    <a:pt x="751347" y="48029"/>
                  </a:lnTo>
                  <a:lnTo>
                    <a:pt x="750271" y="47038"/>
                  </a:lnTo>
                  <a:lnTo>
                    <a:pt x="743149" y="43748"/>
                  </a:lnTo>
                  <a:lnTo>
                    <a:pt x="742404" y="43707"/>
                  </a:lnTo>
                  <a:lnTo>
                    <a:pt x="741370" y="43900"/>
                  </a:lnTo>
                  <a:lnTo>
                    <a:pt x="740504" y="44302"/>
                  </a:lnTo>
                  <a:lnTo>
                    <a:pt x="739806" y="44971"/>
                  </a:lnTo>
                  <a:lnTo>
                    <a:pt x="739338" y="45675"/>
                  </a:lnTo>
                  <a:lnTo>
                    <a:pt x="738923" y="46673"/>
                  </a:lnTo>
                  <a:lnTo>
                    <a:pt x="737830" y="51001"/>
                  </a:lnTo>
                  <a:lnTo>
                    <a:pt x="736981" y="52955"/>
                  </a:lnTo>
                  <a:lnTo>
                    <a:pt x="736102" y="54199"/>
                  </a:lnTo>
                  <a:lnTo>
                    <a:pt x="734599" y="55094"/>
                  </a:lnTo>
                  <a:lnTo>
                    <a:pt x="733447" y="55461"/>
                  </a:lnTo>
                  <a:lnTo>
                    <a:pt x="732127" y="55458"/>
                  </a:lnTo>
                  <a:lnTo>
                    <a:pt x="730757" y="55039"/>
                  </a:lnTo>
                  <a:lnTo>
                    <a:pt x="730089" y="53580"/>
                  </a:lnTo>
                  <a:lnTo>
                    <a:pt x="730234" y="51514"/>
                  </a:lnTo>
                  <a:lnTo>
                    <a:pt x="731497" y="47350"/>
                  </a:lnTo>
                  <a:lnTo>
                    <a:pt x="731755" y="45360"/>
                  </a:lnTo>
                  <a:lnTo>
                    <a:pt x="731328" y="43196"/>
                  </a:lnTo>
                  <a:lnTo>
                    <a:pt x="730084" y="41965"/>
                  </a:lnTo>
                  <a:lnTo>
                    <a:pt x="728036" y="40872"/>
                  </a:lnTo>
                  <a:lnTo>
                    <a:pt x="715551" y="38737"/>
                  </a:lnTo>
                  <a:lnTo>
                    <a:pt x="712586" y="37687"/>
                  </a:lnTo>
                  <a:lnTo>
                    <a:pt x="711285" y="36485"/>
                  </a:lnTo>
                  <a:lnTo>
                    <a:pt x="710613" y="35471"/>
                  </a:lnTo>
                  <a:lnTo>
                    <a:pt x="710409" y="33796"/>
                  </a:lnTo>
                  <a:lnTo>
                    <a:pt x="710445" y="31419"/>
                  </a:lnTo>
                  <a:lnTo>
                    <a:pt x="712325" y="28299"/>
                  </a:lnTo>
                  <a:lnTo>
                    <a:pt x="712812" y="26431"/>
                  </a:lnTo>
                  <a:lnTo>
                    <a:pt x="713227" y="25461"/>
                  </a:lnTo>
                  <a:lnTo>
                    <a:pt x="713119" y="25076"/>
                  </a:lnTo>
                  <a:lnTo>
                    <a:pt x="712792" y="23917"/>
                  </a:lnTo>
                  <a:lnTo>
                    <a:pt x="710425" y="16271"/>
                  </a:lnTo>
                  <a:lnTo>
                    <a:pt x="712496" y="13080"/>
                  </a:lnTo>
                  <a:lnTo>
                    <a:pt x="716450" y="9106"/>
                  </a:lnTo>
                  <a:lnTo>
                    <a:pt x="720707" y="6420"/>
                  </a:lnTo>
                  <a:lnTo>
                    <a:pt x="725194" y="5009"/>
                  </a:lnTo>
                  <a:lnTo>
                    <a:pt x="743169" y="6540"/>
                  </a:lnTo>
                  <a:lnTo>
                    <a:pt x="756611" y="1818"/>
                  </a:lnTo>
                  <a:lnTo>
                    <a:pt x="769819" y="0"/>
                  </a:lnTo>
                  <a:lnTo>
                    <a:pt x="776627" y="279"/>
                  </a:lnTo>
                  <a:lnTo>
                    <a:pt x="796393" y="9981"/>
                  </a:lnTo>
                  <a:close/>
                </a:path>
              </a:pathLst>
            </a:custGeom>
            <a:solidFill>
              <a:schemeClr val="bg2"/>
            </a:solidFill>
            <a:ln w="6350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Freeform 4">
              <a:extLst>
                <a:ext uri="{FF2B5EF4-FFF2-40B4-BE49-F238E27FC236}">
                  <a16:creationId xmlns:a16="http://schemas.microsoft.com/office/drawing/2014/main" id="{451122A1-5DD2-F83B-3E17-106AAAAAA33A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>
            <a:xfrm>
              <a:off x="3596750" y="3657079"/>
              <a:ext cx="905435" cy="1287625"/>
            </a:xfrm>
            <a:custGeom>
              <a:avLst/>
              <a:gdLst/>
              <a:ahLst/>
              <a:cxnLst/>
              <a:rect l="0" t="0" r="0" b="0"/>
              <a:pathLst>
                <a:path w="905435" h="1287625">
                  <a:moveTo>
                    <a:pt x="653408" y="15644"/>
                  </a:moveTo>
                  <a:lnTo>
                    <a:pt x="655889" y="15275"/>
                  </a:lnTo>
                  <a:lnTo>
                    <a:pt x="657550" y="14438"/>
                  </a:lnTo>
                  <a:lnTo>
                    <a:pt x="658499" y="13387"/>
                  </a:lnTo>
                  <a:lnTo>
                    <a:pt x="659338" y="12244"/>
                  </a:lnTo>
                  <a:lnTo>
                    <a:pt x="661180" y="10198"/>
                  </a:lnTo>
                  <a:lnTo>
                    <a:pt x="662291" y="9341"/>
                  </a:lnTo>
                  <a:lnTo>
                    <a:pt x="663563" y="8808"/>
                  </a:lnTo>
                  <a:lnTo>
                    <a:pt x="664881" y="8973"/>
                  </a:lnTo>
                  <a:lnTo>
                    <a:pt x="665988" y="10005"/>
                  </a:lnTo>
                  <a:lnTo>
                    <a:pt x="667388" y="12548"/>
                  </a:lnTo>
                  <a:lnTo>
                    <a:pt x="668961" y="14517"/>
                  </a:lnTo>
                  <a:lnTo>
                    <a:pt x="673341" y="16461"/>
                  </a:lnTo>
                  <a:lnTo>
                    <a:pt x="676250" y="17116"/>
                  </a:lnTo>
                  <a:lnTo>
                    <a:pt x="678835" y="17295"/>
                  </a:lnTo>
                  <a:lnTo>
                    <a:pt x="683250" y="16355"/>
                  </a:lnTo>
                  <a:lnTo>
                    <a:pt x="687251" y="14582"/>
                  </a:lnTo>
                  <a:lnTo>
                    <a:pt x="688905" y="14334"/>
                  </a:lnTo>
                  <a:lnTo>
                    <a:pt x="689775" y="15289"/>
                  </a:lnTo>
                  <a:lnTo>
                    <a:pt x="690456" y="18401"/>
                  </a:lnTo>
                  <a:lnTo>
                    <a:pt x="691147" y="20564"/>
                  </a:lnTo>
                  <a:lnTo>
                    <a:pt x="692394" y="22323"/>
                  </a:lnTo>
                  <a:lnTo>
                    <a:pt x="699403" y="25827"/>
                  </a:lnTo>
                  <a:lnTo>
                    <a:pt x="700651" y="27583"/>
                  </a:lnTo>
                  <a:lnTo>
                    <a:pt x="701616" y="30018"/>
                  </a:lnTo>
                  <a:lnTo>
                    <a:pt x="702499" y="35051"/>
                  </a:lnTo>
                  <a:lnTo>
                    <a:pt x="704806" y="40899"/>
                  </a:lnTo>
                  <a:lnTo>
                    <a:pt x="711689" y="48418"/>
                  </a:lnTo>
                  <a:lnTo>
                    <a:pt x="708537" y="54770"/>
                  </a:lnTo>
                  <a:lnTo>
                    <a:pt x="706378" y="55605"/>
                  </a:lnTo>
                  <a:lnTo>
                    <a:pt x="705337" y="55003"/>
                  </a:lnTo>
                  <a:lnTo>
                    <a:pt x="696738" y="48274"/>
                  </a:lnTo>
                  <a:lnTo>
                    <a:pt x="695970" y="47928"/>
                  </a:lnTo>
                  <a:lnTo>
                    <a:pt x="695254" y="47861"/>
                  </a:lnTo>
                  <a:lnTo>
                    <a:pt x="694535" y="48117"/>
                  </a:lnTo>
                  <a:lnTo>
                    <a:pt x="693755" y="48849"/>
                  </a:lnTo>
                  <a:lnTo>
                    <a:pt x="693137" y="49965"/>
                  </a:lnTo>
                  <a:lnTo>
                    <a:pt x="693119" y="51619"/>
                  </a:lnTo>
                  <a:lnTo>
                    <a:pt x="693645" y="53828"/>
                  </a:lnTo>
                  <a:lnTo>
                    <a:pt x="696998" y="59849"/>
                  </a:lnTo>
                  <a:lnTo>
                    <a:pt x="696877" y="60793"/>
                  </a:lnTo>
                  <a:lnTo>
                    <a:pt x="695545" y="61607"/>
                  </a:lnTo>
                  <a:lnTo>
                    <a:pt x="693945" y="61677"/>
                  </a:lnTo>
                  <a:lnTo>
                    <a:pt x="692515" y="61426"/>
                  </a:lnTo>
                  <a:lnTo>
                    <a:pt x="691527" y="61000"/>
                  </a:lnTo>
                  <a:lnTo>
                    <a:pt x="689174" y="59438"/>
                  </a:lnTo>
                  <a:lnTo>
                    <a:pt x="687962" y="59292"/>
                  </a:lnTo>
                  <a:lnTo>
                    <a:pt x="687063" y="60805"/>
                  </a:lnTo>
                  <a:lnTo>
                    <a:pt x="686585" y="64138"/>
                  </a:lnTo>
                  <a:lnTo>
                    <a:pt x="686404" y="70386"/>
                  </a:lnTo>
                  <a:lnTo>
                    <a:pt x="685982" y="73619"/>
                  </a:lnTo>
                  <a:lnTo>
                    <a:pt x="685241" y="75738"/>
                  </a:lnTo>
                  <a:lnTo>
                    <a:pt x="684219" y="76702"/>
                  </a:lnTo>
                  <a:lnTo>
                    <a:pt x="682890" y="77191"/>
                  </a:lnTo>
                  <a:lnTo>
                    <a:pt x="679631" y="77448"/>
                  </a:lnTo>
                  <a:lnTo>
                    <a:pt x="678898" y="78799"/>
                  </a:lnTo>
                  <a:lnTo>
                    <a:pt x="679572" y="82590"/>
                  </a:lnTo>
                  <a:lnTo>
                    <a:pt x="686365" y="98568"/>
                  </a:lnTo>
                  <a:lnTo>
                    <a:pt x="688697" y="102289"/>
                  </a:lnTo>
                  <a:lnTo>
                    <a:pt x="690389" y="104110"/>
                  </a:lnTo>
                  <a:lnTo>
                    <a:pt x="693137" y="105351"/>
                  </a:lnTo>
                  <a:lnTo>
                    <a:pt x="694065" y="106367"/>
                  </a:lnTo>
                  <a:lnTo>
                    <a:pt x="694216" y="107669"/>
                  </a:lnTo>
                  <a:lnTo>
                    <a:pt x="693425" y="109375"/>
                  </a:lnTo>
                  <a:lnTo>
                    <a:pt x="691409" y="111806"/>
                  </a:lnTo>
                  <a:lnTo>
                    <a:pt x="691063" y="113133"/>
                  </a:lnTo>
                  <a:lnTo>
                    <a:pt x="691375" y="114864"/>
                  </a:lnTo>
                  <a:lnTo>
                    <a:pt x="692897" y="117231"/>
                  </a:lnTo>
                  <a:lnTo>
                    <a:pt x="693480" y="119453"/>
                  </a:lnTo>
                  <a:lnTo>
                    <a:pt x="693278" y="122733"/>
                  </a:lnTo>
                  <a:lnTo>
                    <a:pt x="692812" y="124972"/>
                  </a:lnTo>
                  <a:lnTo>
                    <a:pt x="692568" y="127099"/>
                  </a:lnTo>
                  <a:lnTo>
                    <a:pt x="693792" y="141595"/>
                  </a:lnTo>
                  <a:lnTo>
                    <a:pt x="692931" y="144422"/>
                  </a:lnTo>
                  <a:lnTo>
                    <a:pt x="691587" y="146004"/>
                  </a:lnTo>
                  <a:lnTo>
                    <a:pt x="681488" y="147103"/>
                  </a:lnTo>
                  <a:lnTo>
                    <a:pt x="678822" y="148107"/>
                  </a:lnTo>
                  <a:lnTo>
                    <a:pt x="677438" y="148121"/>
                  </a:lnTo>
                  <a:lnTo>
                    <a:pt x="674959" y="147176"/>
                  </a:lnTo>
                  <a:lnTo>
                    <a:pt x="673578" y="147012"/>
                  </a:lnTo>
                  <a:lnTo>
                    <a:pt x="672464" y="147708"/>
                  </a:lnTo>
                  <a:lnTo>
                    <a:pt x="671729" y="149030"/>
                  </a:lnTo>
                  <a:lnTo>
                    <a:pt x="670877" y="150912"/>
                  </a:lnTo>
                  <a:lnTo>
                    <a:pt x="669922" y="152186"/>
                  </a:lnTo>
                  <a:lnTo>
                    <a:pt x="666899" y="155150"/>
                  </a:lnTo>
                  <a:lnTo>
                    <a:pt x="666601" y="156920"/>
                  </a:lnTo>
                  <a:lnTo>
                    <a:pt x="667178" y="159556"/>
                  </a:lnTo>
                  <a:lnTo>
                    <a:pt x="669502" y="164372"/>
                  </a:lnTo>
                  <a:lnTo>
                    <a:pt x="669804" y="166887"/>
                  </a:lnTo>
                  <a:lnTo>
                    <a:pt x="669343" y="168376"/>
                  </a:lnTo>
                  <a:lnTo>
                    <a:pt x="667954" y="168803"/>
                  </a:lnTo>
                  <a:lnTo>
                    <a:pt x="666349" y="168768"/>
                  </a:lnTo>
                  <a:lnTo>
                    <a:pt x="663129" y="167990"/>
                  </a:lnTo>
                  <a:lnTo>
                    <a:pt x="657679" y="165472"/>
                  </a:lnTo>
                  <a:lnTo>
                    <a:pt x="656464" y="165250"/>
                  </a:lnTo>
                  <a:lnTo>
                    <a:pt x="656721" y="166878"/>
                  </a:lnTo>
                  <a:lnTo>
                    <a:pt x="658731" y="170008"/>
                  </a:lnTo>
                  <a:lnTo>
                    <a:pt x="668661" y="179257"/>
                  </a:lnTo>
                  <a:lnTo>
                    <a:pt x="674678" y="180984"/>
                  </a:lnTo>
                  <a:lnTo>
                    <a:pt x="699442" y="192667"/>
                  </a:lnTo>
                  <a:lnTo>
                    <a:pt x="701710" y="193016"/>
                  </a:lnTo>
                  <a:lnTo>
                    <a:pt x="704281" y="192690"/>
                  </a:lnTo>
                  <a:lnTo>
                    <a:pt x="708964" y="195367"/>
                  </a:lnTo>
                  <a:lnTo>
                    <a:pt x="719139" y="208874"/>
                  </a:lnTo>
                  <a:lnTo>
                    <a:pt x="722903" y="209516"/>
                  </a:lnTo>
                  <a:lnTo>
                    <a:pt x="724197" y="209410"/>
                  </a:lnTo>
                  <a:lnTo>
                    <a:pt x="727039" y="207961"/>
                  </a:lnTo>
                  <a:lnTo>
                    <a:pt x="737325" y="198865"/>
                  </a:lnTo>
                  <a:lnTo>
                    <a:pt x="740014" y="195714"/>
                  </a:lnTo>
                  <a:lnTo>
                    <a:pt x="741310" y="193345"/>
                  </a:lnTo>
                  <a:lnTo>
                    <a:pt x="741265" y="192178"/>
                  </a:lnTo>
                  <a:lnTo>
                    <a:pt x="741166" y="190833"/>
                  </a:lnTo>
                  <a:lnTo>
                    <a:pt x="741231" y="189768"/>
                  </a:lnTo>
                  <a:lnTo>
                    <a:pt x="741460" y="188972"/>
                  </a:lnTo>
                  <a:lnTo>
                    <a:pt x="741853" y="188356"/>
                  </a:lnTo>
                  <a:lnTo>
                    <a:pt x="742470" y="187563"/>
                  </a:lnTo>
                  <a:lnTo>
                    <a:pt x="742973" y="187094"/>
                  </a:lnTo>
                  <a:lnTo>
                    <a:pt x="743364" y="186670"/>
                  </a:lnTo>
                  <a:lnTo>
                    <a:pt x="743829" y="186303"/>
                  </a:lnTo>
                  <a:lnTo>
                    <a:pt x="744839" y="184909"/>
                  </a:lnTo>
                  <a:lnTo>
                    <a:pt x="745403" y="183747"/>
                  </a:lnTo>
                  <a:lnTo>
                    <a:pt x="745578" y="182802"/>
                  </a:lnTo>
                  <a:lnTo>
                    <a:pt x="745583" y="182137"/>
                  </a:lnTo>
                  <a:lnTo>
                    <a:pt x="745036" y="181438"/>
                  </a:lnTo>
                  <a:lnTo>
                    <a:pt x="744487" y="180888"/>
                  </a:lnTo>
                  <a:lnTo>
                    <a:pt x="743717" y="180303"/>
                  </a:lnTo>
                  <a:lnTo>
                    <a:pt x="742203" y="180289"/>
                  </a:lnTo>
                  <a:lnTo>
                    <a:pt x="740313" y="181027"/>
                  </a:lnTo>
                  <a:lnTo>
                    <a:pt x="736514" y="184583"/>
                  </a:lnTo>
                  <a:lnTo>
                    <a:pt x="735617" y="185801"/>
                  </a:lnTo>
                  <a:lnTo>
                    <a:pt x="734724" y="186517"/>
                  </a:lnTo>
                  <a:lnTo>
                    <a:pt x="733397" y="186238"/>
                  </a:lnTo>
                  <a:lnTo>
                    <a:pt x="730589" y="184321"/>
                  </a:lnTo>
                  <a:lnTo>
                    <a:pt x="722131" y="175063"/>
                  </a:lnTo>
                  <a:lnTo>
                    <a:pt x="720878" y="172967"/>
                  </a:lnTo>
                  <a:lnTo>
                    <a:pt x="719962" y="170386"/>
                  </a:lnTo>
                  <a:lnTo>
                    <a:pt x="719919" y="169085"/>
                  </a:lnTo>
                  <a:lnTo>
                    <a:pt x="719928" y="168228"/>
                  </a:lnTo>
                  <a:lnTo>
                    <a:pt x="720322" y="167553"/>
                  </a:lnTo>
                  <a:lnTo>
                    <a:pt x="735478" y="158904"/>
                  </a:lnTo>
                  <a:lnTo>
                    <a:pt x="739828" y="155235"/>
                  </a:lnTo>
                  <a:lnTo>
                    <a:pt x="748446" y="152624"/>
                  </a:lnTo>
                  <a:lnTo>
                    <a:pt x="750846" y="150249"/>
                  </a:lnTo>
                  <a:lnTo>
                    <a:pt x="751911" y="148738"/>
                  </a:lnTo>
                  <a:lnTo>
                    <a:pt x="750766" y="146791"/>
                  </a:lnTo>
                  <a:lnTo>
                    <a:pt x="750387" y="145843"/>
                  </a:lnTo>
                  <a:lnTo>
                    <a:pt x="750065" y="144658"/>
                  </a:lnTo>
                  <a:lnTo>
                    <a:pt x="749911" y="143266"/>
                  </a:lnTo>
                  <a:lnTo>
                    <a:pt x="750085" y="142323"/>
                  </a:lnTo>
                  <a:lnTo>
                    <a:pt x="751636" y="142070"/>
                  </a:lnTo>
                  <a:lnTo>
                    <a:pt x="754227" y="143009"/>
                  </a:lnTo>
                  <a:lnTo>
                    <a:pt x="760612" y="146698"/>
                  </a:lnTo>
                  <a:lnTo>
                    <a:pt x="763030" y="148609"/>
                  </a:lnTo>
                  <a:lnTo>
                    <a:pt x="764579" y="150897"/>
                  </a:lnTo>
                  <a:lnTo>
                    <a:pt x="765173" y="152707"/>
                  </a:lnTo>
                  <a:lnTo>
                    <a:pt x="767123" y="157834"/>
                  </a:lnTo>
                  <a:lnTo>
                    <a:pt x="768760" y="160714"/>
                  </a:lnTo>
                  <a:lnTo>
                    <a:pt x="769912" y="161995"/>
                  </a:lnTo>
                  <a:lnTo>
                    <a:pt x="771341" y="163248"/>
                  </a:lnTo>
                  <a:lnTo>
                    <a:pt x="772946" y="163289"/>
                  </a:lnTo>
                  <a:lnTo>
                    <a:pt x="774778" y="162563"/>
                  </a:lnTo>
                  <a:lnTo>
                    <a:pt x="777349" y="159422"/>
                  </a:lnTo>
                  <a:lnTo>
                    <a:pt x="778191" y="157803"/>
                  </a:lnTo>
                  <a:lnTo>
                    <a:pt x="778204" y="156088"/>
                  </a:lnTo>
                  <a:lnTo>
                    <a:pt x="775266" y="149623"/>
                  </a:lnTo>
                  <a:lnTo>
                    <a:pt x="774665" y="148674"/>
                  </a:lnTo>
                  <a:lnTo>
                    <a:pt x="774121" y="147500"/>
                  </a:lnTo>
                  <a:lnTo>
                    <a:pt x="773742" y="146435"/>
                  </a:lnTo>
                  <a:lnTo>
                    <a:pt x="773368" y="144791"/>
                  </a:lnTo>
                  <a:lnTo>
                    <a:pt x="773434" y="143461"/>
                  </a:lnTo>
                  <a:lnTo>
                    <a:pt x="773774" y="142342"/>
                  </a:lnTo>
                  <a:lnTo>
                    <a:pt x="774776" y="141521"/>
                  </a:lnTo>
                  <a:lnTo>
                    <a:pt x="776273" y="141105"/>
                  </a:lnTo>
                  <a:lnTo>
                    <a:pt x="780752" y="141139"/>
                  </a:lnTo>
                  <a:lnTo>
                    <a:pt x="781693" y="140983"/>
                  </a:lnTo>
                  <a:lnTo>
                    <a:pt x="784056" y="138046"/>
                  </a:lnTo>
                  <a:lnTo>
                    <a:pt x="785003" y="137165"/>
                  </a:lnTo>
                  <a:lnTo>
                    <a:pt x="786224" y="136496"/>
                  </a:lnTo>
                  <a:lnTo>
                    <a:pt x="787661" y="136565"/>
                  </a:lnTo>
                  <a:lnTo>
                    <a:pt x="788592" y="137724"/>
                  </a:lnTo>
                  <a:lnTo>
                    <a:pt x="788956" y="140978"/>
                  </a:lnTo>
                  <a:lnTo>
                    <a:pt x="789041" y="144495"/>
                  </a:lnTo>
                  <a:lnTo>
                    <a:pt x="789090" y="145324"/>
                  </a:lnTo>
                  <a:lnTo>
                    <a:pt x="792219" y="148789"/>
                  </a:lnTo>
                  <a:lnTo>
                    <a:pt x="804512" y="157947"/>
                  </a:lnTo>
                  <a:lnTo>
                    <a:pt x="797758" y="163679"/>
                  </a:lnTo>
                  <a:lnTo>
                    <a:pt x="796412" y="166167"/>
                  </a:lnTo>
                  <a:lnTo>
                    <a:pt x="795221" y="170193"/>
                  </a:lnTo>
                  <a:lnTo>
                    <a:pt x="795316" y="172469"/>
                  </a:lnTo>
                  <a:lnTo>
                    <a:pt x="795803" y="174188"/>
                  </a:lnTo>
                  <a:lnTo>
                    <a:pt x="796347" y="175505"/>
                  </a:lnTo>
                  <a:lnTo>
                    <a:pt x="796724" y="177030"/>
                  </a:lnTo>
                  <a:lnTo>
                    <a:pt x="797033" y="180490"/>
                  </a:lnTo>
                  <a:lnTo>
                    <a:pt x="797410" y="182000"/>
                  </a:lnTo>
                  <a:lnTo>
                    <a:pt x="798066" y="183187"/>
                  </a:lnTo>
                  <a:lnTo>
                    <a:pt x="800047" y="185121"/>
                  </a:lnTo>
                  <a:lnTo>
                    <a:pt x="801255" y="186695"/>
                  </a:lnTo>
                  <a:lnTo>
                    <a:pt x="802012" y="189508"/>
                  </a:lnTo>
                  <a:lnTo>
                    <a:pt x="803030" y="194746"/>
                  </a:lnTo>
                  <a:lnTo>
                    <a:pt x="802661" y="200122"/>
                  </a:lnTo>
                  <a:lnTo>
                    <a:pt x="803421" y="202463"/>
                  </a:lnTo>
                  <a:lnTo>
                    <a:pt x="804434" y="203001"/>
                  </a:lnTo>
                  <a:lnTo>
                    <a:pt x="805767" y="202566"/>
                  </a:lnTo>
                  <a:lnTo>
                    <a:pt x="807537" y="203169"/>
                  </a:lnTo>
                  <a:lnTo>
                    <a:pt x="809744" y="204809"/>
                  </a:lnTo>
                  <a:lnTo>
                    <a:pt x="812596" y="209616"/>
                  </a:lnTo>
                  <a:lnTo>
                    <a:pt x="814745" y="211682"/>
                  </a:lnTo>
                  <a:lnTo>
                    <a:pt x="816567" y="212935"/>
                  </a:lnTo>
                  <a:lnTo>
                    <a:pt x="818286" y="213035"/>
                  </a:lnTo>
                  <a:lnTo>
                    <a:pt x="822225" y="212659"/>
                  </a:lnTo>
                  <a:lnTo>
                    <a:pt x="823167" y="212872"/>
                  </a:lnTo>
                  <a:lnTo>
                    <a:pt x="831262" y="216318"/>
                  </a:lnTo>
                  <a:lnTo>
                    <a:pt x="836694" y="216880"/>
                  </a:lnTo>
                  <a:lnTo>
                    <a:pt x="839847" y="218343"/>
                  </a:lnTo>
                  <a:lnTo>
                    <a:pt x="841059" y="219887"/>
                  </a:lnTo>
                  <a:lnTo>
                    <a:pt x="841495" y="221530"/>
                  </a:lnTo>
                  <a:lnTo>
                    <a:pt x="839584" y="226159"/>
                  </a:lnTo>
                  <a:lnTo>
                    <a:pt x="839568" y="229099"/>
                  </a:lnTo>
                  <a:lnTo>
                    <a:pt x="840445" y="231262"/>
                  </a:lnTo>
                  <a:lnTo>
                    <a:pt x="841382" y="232567"/>
                  </a:lnTo>
                  <a:lnTo>
                    <a:pt x="846981" y="237207"/>
                  </a:lnTo>
                  <a:lnTo>
                    <a:pt x="847857" y="239620"/>
                  </a:lnTo>
                  <a:lnTo>
                    <a:pt x="848602" y="246258"/>
                  </a:lnTo>
                  <a:lnTo>
                    <a:pt x="849760" y="247948"/>
                  </a:lnTo>
                  <a:lnTo>
                    <a:pt x="851199" y="248902"/>
                  </a:lnTo>
                  <a:lnTo>
                    <a:pt x="852808" y="249115"/>
                  </a:lnTo>
                  <a:lnTo>
                    <a:pt x="854194" y="249654"/>
                  </a:lnTo>
                  <a:lnTo>
                    <a:pt x="856518" y="251172"/>
                  </a:lnTo>
                  <a:lnTo>
                    <a:pt x="858015" y="251860"/>
                  </a:lnTo>
                  <a:lnTo>
                    <a:pt x="859735" y="252221"/>
                  </a:lnTo>
                  <a:lnTo>
                    <a:pt x="862118" y="253325"/>
                  </a:lnTo>
                  <a:lnTo>
                    <a:pt x="864078" y="253837"/>
                  </a:lnTo>
                  <a:lnTo>
                    <a:pt x="867686" y="254265"/>
                  </a:lnTo>
                  <a:lnTo>
                    <a:pt x="869794" y="254865"/>
                  </a:lnTo>
                  <a:lnTo>
                    <a:pt x="872950" y="257361"/>
                  </a:lnTo>
                  <a:lnTo>
                    <a:pt x="875224" y="258317"/>
                  </a:lnTo>
                  <a:lnTo>
                    <a:pt x="877166" y="258677"/>
                  </a:lnTo>
                  <a:lnTo>
                    <a:pt x="880500" y="258396"/>
                  </a:lnTo>
                  <a:lnTo>
                    <a:pt x="883961" y="258851"/>
                  </a:lnTo>
                  <a:lnTo>
                    <a:pt x="888784" y="261793"/>
                  </a:lnTo>
                  <a:lnTo>
                    <a:pt x="892605" y="265382"/>
                  </a:lnTo>
                  <a:lnTo>
                    <a:pt x="899816" y="269543"/>
                  </a:lnTo>
                  <a:lnTo>
                    <a:pt x="904497" y="271359"/>
                  </a:lnTo>
                  <a:lnTo>
                    <a:pt x="905105" y="272394"/>
                  </a:lnTo>
                  <a:lnTo>
                    <a:pt x="905434" y="273903"/>
                  </a:lnTo>
                  <a:lnTo>
                    <a:pt x="905321" y="274642"/>
                  </a:lnTo>
                  <a:lnTo>
                    <a:pt x="904090" y="277889"/>
                  </a:lnTo>
                  <a:lnTo>
                    <a:pt x="898659" y="284523"/>
                  </a:lnTo>
                  <a:lnTo>
                    <a:pt x="896639" y="290309"/>
                  </a:lnTo>
                  <a:lnTo>
                    <a:pt x="896353" y="292760"/>
                  </a:lnTo>
                  <a:lnTo>
                    <a:pt x="896287" y="296159"/>
                  </a:lnTo>
                  <a:lnTo>
                    <a:pt x="894525" y="307991"/>
                  </a:lnTo>
                  <a:lnTo>
                    <a:pt x="893071" y="310202"/>
                  </a:lnTo>
                  <a:lnTo>
                    <a:pt x="892235" y="310466"/>
                  </a:lnTo>
                  <a:lnTo>
                    <a:pt x="891683" y="309238"/>
                  </a:lnTo>
                  <a:lnTo>
                    <a:pt x="891245" y="306754"/>
                  </a:lnTo>
                  <a:lnTo>
                    <a:pt x="890470" y="305805"/>
                  </a:lnTo>
                  <a:lnTo>
                    <a:pt x="888361" y="304083"/>
                  </a:lnTo>
                  <a:lnTo>
                    <a:pt x="888196" y="303611"/>
                  </a:lnTo>
                  <a:lnTo>
                    <a:pt x="888032" y="302753"/>
                  </a:lnTo>
                  <a:lnTo>
                    <a:pt x="888480" y="301867"/>
                  </a:lnTo>
                  <a:lnTo>
                    <a:pt x="888651" y="300626"/>
                  </a:lnTo>
                  <a:lnTo>
                    <a:pt x="888322" y="299445"/>
                  </a:lnTo>
                  <a:lnTo>
                    <a:pt x="885499" y="295386"/>
                  </a:lnTo>
                  <a:lnTo>
                    <a:pt x="884113" y="293873"/>
                  </a:lnTo>
                  <a:lnTo>
                    <a:pt x="881537" y="293539"/>
                  </a:lnTo>
                  <a:lnTo>
                    <a:pt x="877976" y="293776"/>
                  </a:lnTo>
                  <a:lnTo>
                    <a:pt x="870013" y="295977"/>
                  </a:lnTo>
                  <a:lnTo>
                    <a:pt x="867671" y="297561"/>
                  </a:lnTo>
                  <a:lnTo>
                    <a:pt x="866998" y="298800"/>
                  </a:lnTo>
                  <a:lnTo>
                    <a:pt x="868163" y="299634"/>
                  </a:lnTo>
                  <a:lnTo>
                    <a:pt x="869160" y="300613"/>
                  </a:lnTo>
                  <a:lnTo>
                    <a:pt x="869934" y="301827"/>
                  </a:lnTo>
                  <a:lnTo>
                    <a:pt x="870485" y="303160"/>
                  </a:lnTo>
                  <a:lnTo>
                    <a:pt x="870868" y="304639"/>
                  </a:lnTo>
                  <a:lnTo>
                    <a:pt x="871420" y="305970"/>
                  </a:lnTo>
                  <a:lnTo>
                    <a:pt x="872138" y="307127"/>
                  </a:lnTo>
                  <a:lnTo>
                    <a:pt x="873248" y="307958"/>
                  </a:lnTo>
                  <a:lnTo>
                    <a:pt x="874582" y="308437"/>
                  </a:lnTo>
                  <a:lnTo>
                    <a:pt x="881200" y="309629"/>
                  </a:lnTo>
                  <a:lnTo>
                    <a:pt x="882420" y="310652"/>
                  </a:lnTo>
                  <a:lnTo>
                    <a:pt x="882299" y="313372"/>
                  </a:lnTo>
                  <a:lnTo>
                    <a:pt x="881002" y="318067"/>
                  </a:lnTo>
                  <a:lnTo>
                    <a:pt x="876240" y="325674"/>
                  </a:lnTo>
                  <a:lnTo>
                    <a:pt x="874551" y="330246"/>
                  </a:lnTo>
                  <a:lnTo>
                    <a:pt x="873421" y="334247"/>
                  </a:lnTo>
                  <a:lnTo>
                    <a:pt x="872340" y="340020"/>
                  </a:lnTo>
                  <a:lnTo>
                    <a:pt x="872216" y="343094"/>
                  </a:lnTo>
                  <a:lnTo>
                    <a:pt x="872709" y="345076"/>
                  </a:lnTo>
                  <a:lnTo>
                    <a:pt x="874157" y="345614"/>
                  </a:lnTo>
                  <a:lnTo>
                    <a:pt x="877499" y="345981"/>
                  </a:lnTo>
                  <a:lnTo>
                    <a:pt x="879002" y="346386"/>
                  </a:lnTo>
                  <a:lnTo>
                    <a:pt x="880169" y="347173"/>
                  </a:lnTo>
                  <a:lnTo>
                    <a:pt x="882169" y="349072"/>
                  </a:lnTo>
                  <a:lnTo>
                    <a:pt x="883355" y="349875"/>
                  </a:lnTo>
                  <a:lnTo>
                    <a:pt x="884747" y="350323"/>
                  </a:lnTo>
                  <a:lnTo>
                    <a:pt x="889652" y="350488"/>
                  </a:lnTo>
                  <a:lnTo>
                    <a:pt x="890932" y="351084"/>
                  </a:lnTo>
                  <a:lnTo>
                    <a:pt x="891653" y="352194"/>
                  </a:lnTo>
                  <a:lnTo>
                    <a:pt x="892759" y="354932"/>
                  </a:lnTo>
                  <a:lnTo>
                    <a:pt x="895312" y="358603"/>
                  </a:lnTo>
                  <a:lnTo>
                    <a:pt x="896087" y="360261"/>
                  </a:lnTo>
                  <a:lnTo>
                    <a:pt x="896804" y="362746"/>
                  </a:lnTo>
                  <a:lnTo>
                    <a:pt x="896463" y="364813"/>
                  </a:lnTo>
                  <a:lnTo>
                    <a:pt x="891180" y="377135"/>
                  </a:lnTo>
                  <a:lnTo>
                    <a:pt x="890115" y="378654"/>
                  </a:lnTo>
                  <a:lnTo>
                    <a:pt x="888942" y="379180"/>
                  </a:lnTo>
                  <a:lnTo>
                    <a:pt x="880722" y="378739"/>
                  </a:lnTo>
                  <a:lnTo>
                    <a:pt x="872792" y="380185"/>
                  </a:lnTo>
                  <a:lnTo>
                    <a:pt x="870951" y="380091"/>
                  </a:lnTo>
                  <a:lnTo>
                    <a:pt x="869278" y="379759"/>
                  </a:lnTo>
                  <a:lnTo>
                    <a:pt x="867941" y="379162"/>
                  </a:lnTo>
                  <a:lnTo>
                    <a:pt x="866050" y="377734"/>
                  </a:lnTo>
                  <a:lnTo>
                    <a:pt x="865495" y="377022"/>
                  </a:lnTo>
                  <a:lnTo>
                    <a:pt x="865386" y="376548"/>
                  </a:lnTo>
                  <a:lnTo>
                    <a:pt x="865388" y="375960"/>
                  </a:lnTo>
                  <a:lnTo>
                    <a:pt x="865846" y="373374"/>
                  </a:lnTo>
                  <a:lnTo>
                    <a:pt x="865684" y="372045"/>
                  </a:lnTo>
                  <a:lnTo>
                    <a:pt x="864961" y="371463"/>
                  </a:lnTo>
                  <a:lnTo>
                    <a:pt x="863845" y="371592"/>
                  </a:lnTo>
                  <a:lnTo>
                    <a:pt x="860082" y="373187"/>
                  </a:lnTo>
                  <a:lnTo>
                    <a:pt x="858910" y="373256"/>
                  </a:lnTo>
                  <a:lnTo>
                    <a:pt x="854956" y="371715"/>
                  </a:lnTo>
                  <a:lnTo>
                    <a:pt x="844078" y="371588"/>
                  </a:lnTo>
                  <a:lnTo>
                    <a:pt x="839759" y="372498"/>
                  </a:lnTo>
                  <a:lnTo>
                    <a:pt x="830742" y="378906"/>
                  </a:lnTo>
                  <a:lnTo>
                    <a:pt x="829749" y="386687"/>
                  </a:lnTo>
                  <a:lnTo>
                    <a:pt x="830734" y="390181"/>
                  </a:lnTo>
                  <a:lnTo>
                    <a:pt x="831790" y="391162"/>
                  </a:lnTo>
                  <a:lnTo>
                    <a:pt x="833124" y="392160"/>
                  </a:lnTo>
                  <a:lnTo>
                    <a:pt x="834675" y="394518"/>
                  </a:lnTo>
                  <a:lnTo>
                    <a:pt x="836720" y="398430"/>
                  </a:lnTo>
                  <a:lnTo>
                    <a:pt x="837742" y="405645"/>
                  </a:lnTo>
                  <a:lnTo>
                    <a:pt x="837224" y="408599"/>
                  </a:lnTo>
                  <a:lnTo>
                    <a:pt x="836041" y="410277"/>
                  </a:lnTo>
                  <a:lnTo>
                    <a:pt x="830278" y="411901"/>
                  </a:lnTo>
                  <a:lnTo>
                    <a:pt x="825917" y="412437"/>
                  </a:lnTo>
                  <a:lnTo>
                    <a:pt x="813225" y="411001"/>
                  </a:lnTo>
                  <a:lnTo>
                    <a:pt x="811998" y="410638"/>
                  </a:lnTo>
                  <a:lnTo>
                    <a:pt x="811386" y="410102"/>
                  </a:lnTo>
                  <a:lnTo>
                    <a:pt x="810721" y="409330"/>
                  </a:lnTo>
                  <a:lnTo>
                    <a:pt x="809495" y="408790"/>
                  </a:lnTo>
                  <a:lnTo>
                    <a:pt x="807707" y="408853"/>
                  </a:lnTo>
                  <a:lnTo>
                    <a:pt x="805244" y="409561"/>
                  </a:lnTo>
                  <a:lnTo>
                    <a:pt x="804284" y="411210"/>
                  </a:lnTo>
                  <a:lnTo>
                    <a:pt x="803770" y="412950"/>
                  </a:lnTo>
                  <a:lnTo>
                    <a:pt x="803523" y="416480"/>
                  </a:lnTo>
                  <a:lnTo>
                    <a:pt x="804014" y="418330"/>
                  </a:lnTo>
                  <a:lnTo>
                    <a:pt x="805069" y="419314"/>
                  </a:lnTo>
                  <a:lnTo>
                    <a:pt x="806411" y="419174"/>
                  </a:lnTo>
                  <a:lnTo>
                    <a:pt x="807422" y="418367"/>
                  </a:lnTo>
                  <a:lnTo>
                    <a:pt x="809280" y="416296"/>
                  </a:lnTo>
                  <a:lnTo>
                    <a:pt x="810170" y="416892"/>
                  </a:lnTo>
                  <a:lnTo>
                    <a:pt x="810773" y="418847"/>
                  </a:lnTo>
                  <a:lnTo>
                    <a:pt x="810340" y="425406"/>
                  </a:lnTo>
                  <a:lnTo>
                    <a:pt x="810768" y="428393"/>
                  </a:lnTo>
                  <a:lnTo>
                    <a:pt x="811708" y="430025"/>
                  </a:lnTo>
                  <a:lnTo>
                    <a:pt x="812996" y="429856"/>
                  </a:lnTo>
                  <a:lnTo>
                    <a:pt x="814118" y="429182"/>
                  </a:lnTo>
                  <a:lnTo>
                    <a:pt x="815074" y="428182"/>
                  </a:lnTo>
                  <a:lnTo>
                    <a:pt x="815920" y="427036"/>
                  </a:lnTo>
                  <a:lnTo>
                    <a:pt x="816599" y="425681"/>
                  </a:lnTo>
                  <a:lnTo>
                    <a:pt x="817388" y="424534"/>
                  </a:lnTo>
                  <a:lnTo>
                    <a:pt x="818177" y="423533"/>
                  </a:lnTo>
                  <a:lnTo>
                    <a:pt x="819132" y="422681"/>
                  </a:lnTo>
                  <a:lnTo>
                    <a:pt x="820142" y="422081"/>
                  </a:lnTo>
                  <a:lnTo>
                    <a:pt x="821150" y="421718"/>
                  </a:lnTo>
                  <a:lnTo>
                    <a:pt x="822046" y="421546"/>
                  </a:lnTo>
                  <a:lnTo>
                    <a:pt x="823293" y="421613"/>
                  </a:lnTo>
                  <a:lnTo>
                    <a:pt x="824131" y="421884"/>
                  </a:lnTo>
                  <a:lnTo>
                    <a:pt x="825134" y="422391"/>
                  </a:lnTo>
                  <a:lnTo>
                    <a:pt x="828752" y="424910"/>
                  </a:lnTo>
                  <a:lnTo>
                    <a:pt x="832812" y="428657"/>
                  </a:lnTo>
                  <a:lnTo>
                    <a:pt x="833977" y="430437"/>
                  </a:lnTo>
                  <a:lnTo>
                    <a:pt x="835194" y="432821"/>
                  </a:lnTo>
                  <a:lnTo>
                    <a:pt x="836900" y="437973"/>
                  </a:lnTo>
                  <a:lnTo>
                    <a:pt x="838119" y="440109"/>
                  </a:lnTo>
                  <a:lnTo>
                    <a:pt x="841121" y="443641"/>
                  </a:lnTo>
                  <a:lnTo>
                    <a:pt x="831324" y="455173"/>
                  </a:lnTo>
                  <a:lnTo>
                    <a:pt x="830249" y="457235"/>
                  </a:lnTo>
                  <a:lnTo>
                    <a:pt x="829228" y="459743"/>
                  </a:lnTo>
                  <a:lnTo>
                    <a:pt x="830491" y="464063"/>
                  </a:lnTo>
                  <a:lnTo>
                    <a:pt x="830180" y="469664"/>
                  </a:lnTo>
                  <a:lnTo>
                    <a:pt x="829104" y="471785"/>
                  </a:lnTo>
                  <a:lnTo>
                    <a:pt x="827531" y="472707"/>
                  </a:lnTo>
                  <a:lnTo>
                    <a:pt x="825627" y="472769"/>
                  </a:lnTo>
                  <a:lnTo>
                    <a:pt x="823328" y="473274"/>
                  </a:lnTo>
                  <a:lnTo>
                    <a:pt x="820106" y="475147"/>
                  </a:lnTo>
                  <a:lnTo>
                    <a:pt x="818029" y="475990"/>
                  </a:lnTo>
                  <a:lnTo>
                    <a:pt x="810798" y="476833"/>
                  </a:lnTo>
                  <a:lnTo>
                    <a:pt x="805463" y="479074"/>
                  </a:lnTo>
                  <a:lnTo>
                    <a:pt x="803324" y="480642"/>
                  </a:lnTo>
                  <a:lnTo>
                    <a:pt x="802419" y="481980"/>
                  </a:lnTo>
                  <a:lnTo>
                    <a:pt x="802578" y="483399"/>
                  </a:lnTo>
                  <a:lnTo>
                    <a:pt x="802511" y="484980"/>
                  </a:lnTo>
                  <a:lnTo>
                    <a:pt x="800560" y="489090"/>
                  </a:lnTo>
                  <a:lnTo>
                    <a:pt x="799932" y="490888"/>
                  </a:lnTo>
                  <a:lnTo>
                    <a:pt x="799752" y="492689"/>
                  </a:lnTo>
                  <a:lnTo>
                    <a:pt x="799684" y="494552"/>
                  </a:lnTo>
                  <a:lnTo>
                    <a:pt x="799953" y="496179"/>
                  </a:lnTo>
                  <a:lnTo>
                    <a:pt x="800716" y="499391"/>
                  </a:lnTo>
                  <a:lnTo>
                    <a:pt x="800983" y="501387"/>
                  </a:lnTo>
                  <a:lnTo>
                    <a:pt x="801133" y="504047"/>
                  </a:lnTo>
                  <a:lnTo>
                    <a:pt x="800621" y="505257"/>
                  </a:lnTo>
                  <a:lnTo>
                    <a:pt x="799836" y="505251"/>
                  </a:lnTo>
                  <a:lnTo>
                    <a:pt x="799225" y="504434"/>
                  </a:lnTo>
                  <a:lnTo>
                    <a:pt x="798442" y="504119"/>
                  </a:lnTo>
                  <a:lnTo>
                    <a:pt x="797262" y="504405"/>
                  </a:lnTo>
                  <a:lnTo>
                    <a:pt x="795630" y="505310"/>
                  </a:lnTo>
                  <a:lnTo>
                    <a:pt x="793832" y="505920"/>
                  </a:lnTo>
                  <a:lnTo>
                    <a:pt x="791832" y="511314"/>
                  </a:lnTo>
                  <a:lnTo>
                    <a:pt x="795950" y="515998"/>
                  </a:lnTo>
                  <a:lnTo>
                    <a:pt x="797166" y="518666"/>
                  </a:lnTo>
                  <a:lnTo>
                    <a:pt x="797326" y="519921"/>
                  </a:lnTo>
                  <a:lnTo>
                    <a:pt x="797301" y="523484"/>
                  </a:lnTo>
                  <a:lnTo>
                    <a:pt x="796829" y="526834"/>
                  </a:lnTo>
                  <a:lnTo>
                    <a:pt x="796309" y="529047"/>
                  </a:lnTo>
                  <a:lnTo>
                    <a:pt x="795109" y="532261"/>
                  </a:lnTo>
                  <a:lnTo>
                    <a:pt x="790107" y="541241"/>
                  </a:lnTo>
                  <a:lnTo>
                    <a:pt x="788675" y="545160"/>
                  </a:lnTo>
                  <a:lnTo>
                    <a:pt x="788488" y="547805"/>
                  </a:lnTo>
                  <a:lnTo>
                    <a:pt x="789143" y="550484"/>
                  </a:lnTo>
                  <a:lnTo>
                    <a:pt x="788852" y="551959"/>
                  </a:lnTo>
                  <a:lnTo>
                    <a:pt x="786468" y="555310"/>
                  </a:lnTo>
                  <a:lnTo>
                    <a:pt x="785506" y="556340"/>
                  </a:lnTo>
                  <a:lnTo>
                    <a:pt x="784377" y="557128"/>
                  </a:lnTo>
                  <a:lnTo>
                    <a:pt x="783080" y="557740"/>
                  </a:lnTo>
                  <a:lnTo>
                    <a:pt x="781497" y="559221"/>
                  </a:lnTo>
                  <a:lnTo>
                    <a:pt x="779719" y="561468"/>
                  </a:lnTo>
                  <a:lnTo>
                    <a:pt x="777154" y="566488"/>
                  </a:lnTo>
                  <a:lnTo>
                    <a:pt x="776345" y="569349"/>
                  </a:lnTo>
                  <a:lnTo>
                    <a:pt x="775986" y="572256"/>
                  </a:lnTo>
                  <a:lnTo>
                    <a:pt x="776077" y="575095"/>
                  </a:lnTo>
                  <a:lnTo>
                    <a:pt x="775759" y="579925"/>
                  </a:lnTo>
                  <a:lnTo>
                    <a:pt x="776406" y="583639"/>
                  </a:lnTo>
                  <a:lnTo>
                    <a:pt x="777517" y="585421"/>
                  </a:lnTo>
                  <a:lnTo>
                    <a:pt x="779088" y="585876"/>
                  </a:lnTo>
                  <a:lnTo>
                    <a:pt x="781870" y="584862"/>
                  </a:lnTo>
                  <a:lnTo>
                    <a:pt x="783113" y="584132"/>
                  </a:lnTo>
                  <a:lnTo>
                    <a:pt x="784410" y="583609"/>
                  </a:lnTo>
                  <a:lnTo>
                    <a:pt x="785817" y="583458"/>
                  </a:lnTo>
                  <a:lnTo>
                    <a:pt x="787332" y="583911"/>
                  </a:lnTo>
                  <a:lnTo>
                    <a:pt x="793153" y="587794"/>
                  </a:lnTo>
                  <a:lnTo>
                    <a:pt x="796126" y="588967"/>
                  </a:lnTo>
                  <a:lnTo>
                    <a:pt x="799497" y="589507"/>
                  </a:lnTo>
                  <a:lnTo>
                    <a:pt x="801092" y="589356"/>
                  </a:lnTo>
                  <a:lnTo>
                    <a:pt x="802445" y="588817"/>
                  </a:lnTo>
                  <a:lnTo>
                    <a:pt x="803464" y="587790"/>
                  </a:lnTo>
                  <a:lnTo>
                    <a:pt x="804552" y="584841"/>
                  </a:lnTo>
                  <a:lnTo>
                    <a:pt x="805749" y="582396"/>
                  </a:lnTo>
                  <a:lnTo>
                    <a:pt x="805588" y="581125"/>
                  </a:lnTo>
                  <a:lnTo>
                    <a:pt x="804697" y="579730"/>
                  </a:lnTo>
                  <a:lnTo>
                    <a:pt x="801853" y="576282"/>
                  </a:lnTo>
                  <a:lnTo>
                    <a:pt x="801057" y="574771"/>
                  </a:lnTo>
                  <a:lnTo>
                    <a:pt x="800842" y="573291"/>
                  </a:lnTo>
                  <a:lnTo>
                    <a:pt x="801021" y="571667"/>
                  </a:lnTo>
                  <a:lnTo>
                    <a:pt x="801555" y="570311"/>
                  </a:lnTo>
                  <a:lnTo>
                    <a:pt x="802406" y="569165"/>
                  </a:lnTo>
                  <a:lnTo>
                    <a:pt x="803702" y="568523"/>
                  </a:lnTo>
                  <a:lnTo>
                    <a:pt x="809613" y="567023"/>
                  </a:lnTo>
                  <a:lnTo>
                    <a:pt x="812206" y="565739"/>
                  </a:lnTo>
                  <a:lnTo>
                    <a:pt x="816833" y="562576"/>
                  </a:lnTo>
                  <a:lnTo>
                    <a:pt x="819367" y="561557"/>
                  </a:lnTo>
                  <a:lnTo>
                    <a:pt x="821747" y="561395"/>
                  </a:lnTo>
                  <a:lnTo>
                    <a:pt x="823263" y="561610"/>
                  </a:lnTo>
                  <a:lnTo>
                    <a:pt x="829319" y="563683"/>
                  </a:lnTo>
                  <a:lnTo>
                    <a:pt x="835664" y="564485"/>
                  </a:lnTo>
                  <a:lnTo>
                    <a:pt x="839087" y="565481"/>
                  </a:lnTo>
                  <a:lnTo>
                    <a:pt x="840823" y="566524"/>
                  </a:lnTo>
                  <a:lnTo>
                    <a:pt x="842073" y="567608"/>
                  </a:lnTo>
                  <a:lnTo>
                    <a:pt x="842964" y="569282"/>
                  </a:lnTo>
                  <a:lnTo>
                    <a:pt x="846848" y="579483"/>
                  </a:lnTo>
                  <a:lnTo>
                    <a:pt x="847626" y="592727"/>
                  </a:lnTo>
                  <a:lnTo>
                    <a:pt x="847001" y="594083"/>
                  </a:lnTo>
                  <a:lnTo>
                    <a:pt x="846321" y="595101"/>
                  </a:lnTo>
                  <a:lnTo>
                    <a:pt x="845368" y="594297"/>
                  </a:lnTo>
                  <a:lnTo>
                    <a:pt x="843624" y="594422"/>
                  </a:lnTo>
                  <a:lnTo>
                    <a:pt x="841293" y="595651"/>
                  </a:lnTo>
                  <a:lnTo>
                    <a:pt x="837558" y="599798"/>
                  </a:lnTo>
                  <a:lnTo>
                    <a:pt x="836645" y="602113"/>
                  </a:lnTo>
                  <a:lnTo>
                    <a:pt x="836579" y="603975"/>
                  </a:lnTo>
                  <a:lnTo>
                    <a:pt x="837305" y="604983"/>
                  </a:lnTo>
                  <a:lnTo>
                    <a:pt x="837691" y="606567"/>
                  </a:lnTo>
                  <a:lnTo>
                    <a:pt x="837849" y="608622"/>
                  </a:lnTo>
                  <a:lnTo>
                    <a:pt x="837288" y="618932"/>
                  </a:lnTo>
                  <a:lnTo>
                    <a:pt x="837335" y="620736"/>
                  </a:lnTo>
                  <a:lnTo>
                    <a:pt x="837439" y="622406"/>
                  </a:lnTo>
                  <a:lnTo>
                    <a:pt x="837712" y="623930"/>
                  </a:lnTo>
                  <a:lnTo>
                    <a:pt x="838044" y="625232"/>
                  </a:lnTo>
                  <a:lnTo>
                    <a:pt x="840490" y="631331"/>
                  </a:lnTo>
                  <a:lnTo>
                    <a:pt x="840138" y="634168"/>
                  </a:lnTo>
                  <a:lnTo>
                    <a:pt x="836988" y="643993"/>
                  </a:lnTo>
                  <a:lnTo>
                    <a:pt x="836237" y="647357"/>
                  </a:lnTo>
                  <a:lnTo>
                    <a:pt x="835885" y="649912"/>
                  </a:lnTo>
                  <a:lnTo>
                    <a:pt x="835991" y="651256"/>
                  </a:lnTo>
                  <a:lnTo>
                    <a:pt x="836941" y="652741"/>
                  </a:lnTo>
                  <a:lnTo>
                    <a:pt x="839702" y="653021"/>
                  </a:lnTo>
                  <a:lnTo>
                    <a:pt x="837471" y="659245"/>
                  </a:lnTo>
                  <a:lnTo>
                    <a:pt x="837011" y="660942"/>
                  </a:lnTo>
                  <a:lnTo>
                    <a:pt x="836380" y="662904"/>
                  </a:lnTo>
                  <a:lnTo>
                    <a:pt x="835810" y="664142"/>
                  </a:lnTo>
                  <a:lnTo>
                    <a:pt x="827954" y="676999"/>
                  </a:lnTo>
                  <a:lnTo>
                    <a:pt x="824130" y="684735"/>
                  </a:lnTo>
                  <a:lnTo>
                    <a:pt x="819779" y="691833"/>
                  </a:lnTo>
                  <a:lnTo>
                    <a:pt x="812457" y="698141"/>
                  </a:lnTo>
                  <a:lnTo>
                    <a:pt x="789587" y="711468"/>
                  </a:lnTo>
                  <a:lnTo>
                    <a:pt x="767864" y="719758"/>
                  </a:lnTo>
                  <a:lnTo>
                    <a:pt x="763677" y="720316"/>
                  </a:lnTo>
                  <a:lnTo>
                    <a:pt x="760513" y="720201"/>
                  </a:lnTo>
                  <a:lnTo>
                    <a:pt x="759140" y="719865"/>
                  </a:lnTo>
                  <a:lnTo>
                    <a:pt x="756776" y="718693"/>
                  </a:lnTo>
                  <a:lnTo>
                    <a:pt x="753521" y="715992"/>
                  </a:lnTo>
                  <a:lnTo>
                    <a:pt x="751673" y="713862"/>
                  </a:lnTo>
                  <a:lnTo>
                    <a:pt x="748941" y="709554"/>
                  </a:lnTo>
                  <a:lnTo>
                    <a:pt x="748102" y="708600"/>
                  </a:lnTo>
                  <a:lnTo>
                    <a:pt x="747147" y="708003"/>
                  </a:lnTo>
                  <a:lnTo>
                    <a:pt x="746188" y="707831"/>
                  </a:lnTo>
                  <a:lnTo>
                    <a:pt x="745056" y="708131"/>
                  </a:lnTo>
                  <a:lnTo>
                    <a:pt x="740801" y="710134"/>
                  </a:lnTo>
                  <a:lnTo>
                    <a:pt x="738799" y="710781"/>
                  </a:lnTo>
                  <a:lnTo>
                    <a:pt x="734272" y="717700"/>
                  </a:lnTo>
                  <a:lnTo>
                    <a:pt x="725276" y="749063"/>
                  </a:lnTo>
                  <a:lnTo>
                    <a:pt x="726446" y="757052"/>
                  </a:lnTo>
                  <a:lnTo>
                    <a:pt x="726702" y="759967"/>
                  </a:lnTo>
                  <a:lnTo>
                    <a:pt x="727017" y="762555"/>
                  </a:lnTo>
                  <a:lnTo>
                    <a:pt x="727369" y="767376"/>
                  </a:lnTo>
                  <a:lnTo>
                    <a:pt x="727148" y="772841"/>
                  </a:lnTo>
                  <a:lnTo>
                    <a:pt x="725711" y="775223"/>
                  </a:lnTo>
                  <a:lnTo>
                    <a:pt x="723368" y="777387"/>
                  </a:lnTo>
                  <a:lnTo>
                    <a:pt x="717250" y="781421"/>
                  </a:lnTo>
                  <a:lnTo>
                    <a:pt x="710877" y="784241"/>
                  </a:lnTo>
                  <a:lnTo>
                    <a:pt x="707015" y="785177"/>
                  </a:lnTo>
                  <a:lnTo>
                    <a:pt x="702062" y="787492"/>
                  </a:lnTo>
                  <a:lnTo>
                    <a:pt x="699544" y="789977"/>
                  </a:lnTo>
                  <a:lnTo>
                    <a:pt x="696537" y="793936"/>
                  </a:lnTo>
                  <a:lnTo>
                    <a:pt x="693848" y="801799"/>
                  </a:lnTo>
                  <a:lnTo>
                    <a:pt x="693635" y="805845"/>
                  </a:lnTo>
                  <a:lnTo>
                    <a:pt x="694343" y="808661"/>
                  </a:lnTo>
                  <a:lnTo>
                    <a:pt x="696247" y="810926"/>
                  </a:lnTo>
                  <a:lnTo>
                    <a:pt x="695609" y="812339"/>
                  </a:lnTo>
                  <a:lnTo>
                    <a:pt x="694805" y="813247"/>
                  </a:lnTo>
                  <a:lnTo>
                    <a:pt x="683539" y="816582"/>
                  </a:lnTo>
                  <a:lnTo>
                    <a:pt x="676764" y="818872"/>
                  </a:lnTo>
                  <a:lnTo>
                    <a:pt x="671525" y="818903"/>
                  </a:lnTo>
                  <a:lnTo>
                    <a:pt x="669828" y="818484"/>
                  </a:lnTo>
                  <a:lnTo>
                    <a:pt x="668756" y="817939"/>
                  </a:lnTo>
                  <a:lnTo>
                    <a:pt x="667804" y="816851"/>
                  </a:lnTo>
                  <a:lnTo>
                    <a:pt x="667185" y="816414"/>
                  </a:lnTo>
                  <a:lnTo>
                    <a:pt x="666453" y="816021"/>
                  </a:lnTo>
                  <a:lnTo>
                    <a:pt x="665206" y="815904"/>
                  </a:lnTo>
                  <a:lnTo>
                    <a:pt x="663560" y="816031"/>
                  </a:lnTo>
                  <a:lnTo>
                    <a:pt x="657753" y="817796"/>
                  </a:lnTo>
                  <a:lnTo>
                    <a:pt x="656847" y="817713"/>
                  </a:lnTo>
                  <a:lnTo>
                    <a:pt x="656059" y="817184"/>
                  </a:lnTo>
                  <a:lnTo>
                    <a:pt x="655312" y="816363"/>
                  </a:lnTo>
                  <a:lnTo>
                    <a:pt x="653643" y="813638"/>
                  </a:lnTo>
                  <a:lnTo>
                    <a:pt x="652580" y="812384"/>
                  </a:lnTo>
                  <a:lnTo>
                    <a:pt x="651680" y="811769"/>
                  </a:lnTo>
                  <a:lnTo>
                    <a:pt x="650890" y="811478"/>
                  </a:lnTo>
                  <a:lnTo>
                    <a:pt x="650095" y="811586"/>
                  </a:lnTo>
                  <a:lnTo>
                    <a:pt x="646725" y="813495"/>
                  </a:lnTo>
                  <a:lnTo>
                    <a:pt x="645364" y="813509"/>
                  </a:lnTo>
                  <a:lnTo>
                    <a:pt x="643102" y="812918"/>
                  </a:lnTo>
                  <a:lnTo>
                    <a:pt x="639886" y="811549"/>
                  </a:lnTo>
                  <a:lnTo>
                    <a:pt x="638748" y="811888"/>
                  </a:lnTo>
                  <a:lnTo>
                    <a:pt x="638106" y="813270"/>
                  </a:lnTo>
                  <a:lnTo>
                    <a:pt x="637720" y="816946"/>
                  </a:lnTo>
                  <a:lnTo>
                    <a:pt x="638769" y="828293"/>
                  </a:lnTo>
                  <a:lnTo>
                    <a:pt x="638284" y="830770"/>
                  </a:lnTo>
                  <a:lnTo>
                    <a:pt x="635632" y="838569"/>
                  </a:lnTo>
                  <a:lnTo>
                    <a:pt x="635011" y="841294"/>
                  </a:lnTo>
                  <a:lnTo>
                    <a:pt x="634762" y="842991"/>
                  </a:lnTo>
                  <a:lnTo>
                    <a:pt x="634859" y="844321"/>
                  </a:lnTo>
                  <a:lnTo>
                    <a:pt x="635091" y="845462"/>
                  </a:lnTo>
                  <a:lnTo>
                    <a:pt x="635478" y="846266"/>
                  </a:lnTo>
                  <a:lnTo>
                    <a:pt x="635983" y="846789"/>
                  </a:lnTo>
                  <a:lnTo>
                    <a:pt x="636999" y="847274"/>
                  </a:lnTo>
                  <a:lnTo>
                    <a:pt x="643405" y="848152"/>
                  </a:lnTo>
                  <a:lnTo>
                    <a:pt x="644648" y="848641"/>
                  </a:lnTo>
                  <a:lnTo>
                    <a:pt x="645433" y="849478"/>
                  </a:lnTo>
                  <a:lnTo>
                    <a:pt x="645878" y="850282"/>
                  </a:lnTo>
                  <a:lnTo>
                    <a:pt x="645979" y="851287"/>
                  </a:lnTo>
                  <a:lnTo>
                    <a:pt x="645274" y="853200"/>
                  </a:lnTo>
                  <a:lnTo>
                    <a:pt x="640680" y="861802"/>
                  </a:lnTo>
                  <a:lnTo>
                    <a:pt x="639505" y="864936"/>
                  </a:lnTo>
                  <a:lnTo>
                    <a:pt x="638957" y="867854"/>
                  </a:lnTo>
                  <a:lnTo>
                    <a:pt x="639162" y="869705"/>
                  </a:lnTo>
                  <a:lnTo>
                    <a:pt x="641134" y="880191"/>
                  </a:lnTo>
                  <a:lnTo>
                    <a:pt x="640144" y="882070"/>
                  </a:lnTo>
                  <a:lnTo>
                    <a:pt x="637381" y="884784"/>
                  </a:lnTo>
                  <a:lnTo>
                    <a:pt x="614946" y="894039"/>
                  </a:lnTo>
                  <a:lnTo>
                    <a:pt x="609285" y="894864"/>
                  </a:lnTo>
                  <a:lnTo>
                    <a:pt x="600602" y="893311"/>
                  </a:lnTo>
                  <a:lnTo>
                    <a:pt x="598141" y="890291"/>
                  </a:lnTo>
                  <a:lnTo>
                    <a:pt x="595689" y="886651"/>
                  </a:lnTo>
                  <a:lnTo>
                    <a:pt x="595083" y="885252"/>
                  </a:lnTo>
                  <a:lnTo>
                    <a:pt x="593673" y="880430"/>
                  </a:lnTo>
                  <a:lnTo>
                    <a:pt x="593048" y="879047"/>
                  </a:lnTo>
                  <a:lnTo>
                    <a:pt x="592494" y="878005"/>
                  </a:lnTo>
                  <a:lnTo>
                    <a:pt x="590142" y="875488"/>
                  </a:lnTo>
                  <a:lnTo>
                    <a:pt x="586652" y="873073"/>
                  </a:lnTo>
                  <a:lnTo>
                    <a:pt x="572526" y="866053"/>
                  </a:lnTo>
                  <a:lnTo>
                    <a:pt x="570596" y="865891"/>
                  </a:lnTo>
                  <a:lnTo>
                    <a:pt x="565872" y="866351"/>
                  </a:lnTo>
                  <a:lnTo>
                    <a:pt x="564171" y="866059"/>
                  </a:lnTo>
                  <a:lnTo>
                    <a:pt x="561573" y="865014"/>
                  </a:lnTo>
                  <a:lnTo>
                    <a:pt x="560385" y="864640"/>
                  </a:lnTo>
                  <a:lnTo>
                    <a:pt x="544067" y="863939"/>
                  </a:lnTo>
                  <a:lnTo>
                    <a:pt x="540108" y="862752"/>
                  </a:lnTo>
                  <a:lnTo>
                    <a:pt x="538121" y="862632"/>
                  </a:lnTo>
                  <a:lnTo>
                    <a:pt x="535787" y="862889"/>
                  </a:lnTo>
                  <a:lnTo>
                    <a:pt x="524408" y="866012"/>
                  </a:lnTo>
                  <a:lnTo>
                    <a:pt x="522802" y="866840"/>
                  </a:lnTo>
                  <a:lnTo>
                    <a:pt x="521989" y="867863"/>
                  </a:lnTo>
                  <a:lnTo>
                    <a:pt x="521550" y="870336"/>
                  </a:lnTo>
                  <a:lnTo>
                    <a:pt x="521671" y="873267"/>
                  </a:lnTo>
                  <a:lnTo>
                    <a:pt x="521537" y="874491"/>
                  </a:lnTo>
                  <a:lnTo>
                    <a:pt x="520653" y="876352"/>
                  </a:lnTo>
                  <a:lnTo>
                    <a:pt x="514158" y="883808"/>
                  </a:lnTo>
                  <a:lnTo>
                    <a:pt x="508727" y="887646"/>
                  </a:lnTo>
                  <a:lnTo>
                    <a:pt x="506203" y="888844"/>
                  </a:lnTo>
                  <a:lnTo>
                    <a:pt x="505066" y="888824"/>
                  </a:lnTo>
                  <a:lnTo>
                    <a:pt x="505197" y="887851"/>
                  </a:lnTo>
                  <a:lnTo>
                    <a:pt x="505848" y="886383"/>
                  </a:lnTo>
                  <a:lnTo>
                    <a:pt x="508127" y="882890"/>
                  </a:lnTo>
                  <a:lnTo>
                    <a:pt x="508542" y="881878"/>
                  </a:lnTo>
                  <a:lnTo>
                    <a:pt x="508385" y="881077"/>
                  </a:lnTo>
                  <a:lnTo>
                    <a:pt x="507543" y="880442"/>
                  </a:lnTo>
                  <a:lnTo>
                    <a:pt x="502625" y="878805"/>
                  </a:lnTo>
                  <a:lnTo>
                    <a:pt x="500657" y="877483"/>
                  </a:lnTo>
                  <a:lnTo>
                    <a:pt x="496120" y="873619"/>
                  </a:lnTo>
                  <a:lnTo>
                    <a:pt x="494600" y="872796"/>
                  </a:lnTo>
                  <a:lnTo>
                    <a:pt x="493468" y="872509"/>
                  </a:lnTo>
                  <a:lnTo>
                    <a:pt x="492390" y="872400"/>
                  </a:lnTo>
                  <a:lnTo>
                    <a:pt x="491305" y="872647"/>
                  </a:lnTo>
                  <a:lnTo>
                    <a:pt x="472653" y="881083"/>
                  </a:lnTo>
                  <a:lnTo>
                    <a:pt x="460471" y="883706"/>
                  </a:lnTo>
                  <a:lnTo>
                    <a:pt x="458521" y="884540"/>
                  </a:lnTo>
                  <a:lnTo>
                    <a:pt x="456786" y="886044"/>
                  </a:lnTo>
                  <a:lnTo>
                    <a:pt x="455913" y="887062"/>
                  </a:lnTo>
                  <a:lnTo>
                    <a:pt x="455206" y="888318"/>
                  </a:lnTo>
                  <a:lnTo>
                    <a:pt x="454657" y="890289"/>
                  </a:lnTo>
                  <a:lnTo>
                    <a:pt x="454321" y="892973"/>
                  </a:lnTo>
                  <a:lnTo>
                    <a:pt x="454105" y="901214"/>
                  </a:lnTo>
                  <a:lnTo>
                    <a:pt x="453833" y="903531"/>
                  </a:lnTo>
                  <a:lnTo>
                    <a:pt x="453279" y="905722"/>
                  </a:lnTo>
                  <a:lnTo>
                    <a:pt x="452175" y="906883"/>
                  </a:lnTo>
                  <a:lnTo>
                    <a:pt x="450854" y="907448"/>
                  </a:lnTo>
                  <a:lnTo>
                    <a:pt x="449259" y="907535"/>
                  </a:lnTo>
                  <a:lnTo>
                    <a:pt x="447710" y="907149"/>
                  </a:lnTo>
                  <a:lnTo>
                    <a:pt x="446673" y="907809"/>
                  </a:lnTo>
                  <a:lnTo>
                    <a:pt x="443175" y="911996"/>
                  </a:lnTo>
                  <a:lnTo>
                    <a:pt x="442353" y="913266"/>
                  </a:lnTo>
                  <a:lnTo>
                    <a:pt x="444826" y="914926"/>
                  </a:lnTo>
                  <a:lnTo>
                    <a:pt x="448061" y="917413"/>
                  </a:lnTo>
                  <a:lnTo>
                    <a:pt x="449912" y="917893"/>
                  </a:lnTo>
                  <a:lnTo>
                    <a:pt x="451601" y="915975"/>
                  </a:lnTo>
                  <a:lnTo>
                    <a:pt x="455200" y="915394"/>
                  </a:lnTo>
                  <a:lnTo>
                    <a:pt x="458773" y="916113"/>
                  </a:lnTo>
                  <a:lnTo>
                    <a:pt x="460387" y="918095"/>
                  </a:lnTo>
                  <a:lnTo>
                    <a:pt x="460709" y="919135"/>
                  </a:lnTo>
                  <a:lnTo>
                    <a:pt x="462410" y="931627"/>
                  </a:lnTo>
                  <a:lnTo>
                    <a:pt x="465838" y="937205"/>
                  </a:lnTo>
                  <a:lnTo>
                    <a:pt x="465260" y="943697"/>
                  </a:lnTo>
                  <a:lnTo>
                    <a:pt x="465527" y="944646"/>
                  </a:lnTo>
                  <a:lnTo>
                    <a:pt x="466886" y="948161"/>
                  </a:lnTo>
                  <a:lnTo>
                    <a:pt x="469432" y="953321"/>
                  </a:lnTo>
                  <a:lnTo>
                    <a:pt x="469696" y="954480"/>
                  </a:lnTo>
                  <a:lnTo>
                    <a:pt x="468892" y="954760"/>
                  </a:lnTo>
                  <a:lnTo>
                    <a:pt x="468235" y="955310"/>
                  </a:lnTo>
                  <a:lnTo>
                    <a:pt x="460540" y="952149"/>
                  </a:lnTo>
                  <a:lnTo>
                    <a:pt x="458998" y="994417"/>
                  </a:lnTo>
                  <a:lnTo>
                    <a:pt x="459182" y="996755"/>
                  </a:lnTo>
                  <a:lnTo>
                    <a:pt x="463767" y="1011134"/>
                  </a:lnTo>
                  <a:lnTo>
                    <a:pt x="467020" y="1020551"/>
                  </a:lnTo>
                  <a:lnTo>
                    <a:pt x="471391" y="1035618"/>
                  </a:lnTo>
                  <a:lnTo>
                    <a:pt x="472560" y="1037383"/>
                  </a:lnTo>
                  <a:lnTo>
                    <a:pt x="473490" y="1039676"/>
                  </a:lnTo>
                  <a:lnTo>
                    <a:pt x="473933" y="1040483"/>
                  </a:lnTo>
                  <a:lnTo>
                    <a:pt x="474381" y="1040978"/>
                  </a:lnTo>
                  <a:lnTo>
                    <a:pt x="475179" y="1041156"/>
                  </a:lnTo>
                  <a:lnTo>
                    <a:pt x="475582" y="1041000"/>
                  </a:lnTo>
                  <a:lnTo>
                    <a:pt x="476165" y="1040435"/>
                  </a:lnTo>
                  <a:lnTo>
                    <a:pt x="476817" y="1039177"/>
                  </a:lnTo>
                  <a:lnTo>
                    <a:pt x="479179" y="1035081"/>
                  </a:lnTo>
                  <a:lnTo>
                    <a:pt x="480288" y="1033832"/>
                  </a:lnTo>
                  <a:lnTo>
                    <a:pt x="481098" y="1033358"/>
                  </a:lnTo>
                  <a:lnTo>
                    <a:pt x="481668" y="1033442"/>
                  </a:lnTo>
                  <a:lnTo>
                    <a:pt x="482289" y="1033838"/>
                  </a:lnTo>
                  <a:lnTo>
                    <a:pt x="482735" y="1034526"/>
                  </a:lnTo>
                  <a:lnTo>
                    <a:pt x="482882" y="1035858"/>
                  </a:lnTo>
                  <a:lnTo>
                    <a:pt x="482725" y="1038205"/>
                  </a:lnTo>
                  <a:lnTo>
                    <a:pt x="481789" y="1042578"/>
                  </a:lnTo>
                  <a:lnTo>
                    <a:pt x="481550" y="1046268"/>
                  </a:lnTo>
                  <a:lnTo>
                    <a:pt x="481826" y="1050027"/>
                  </a:lnTo>
                  <a:lnTo>
                    <a:pt x="483553" y="1055793"/>
                  </a:lnTo>
                  <a:lnTo>
                    <a:pt x="484764" y="1058505"/>
                  </a:lnTo>
                  <a:lnTo>
                    <a:pt x="486383" y="1060764"/>
                  </a:lnTo>
                  <a:lnTo>
                    <a:pt x="488214" y="1061905"/>
                  </a:lnTo>
                  <a:lnTo>
                    <a:pt x="489752" y="1062317"/>
                  </a:lnTo>
                  <a:lnTo>
                    <a:pt x="491588" y="1062055"/>
                  </a:lnTo>
                  <a:lnTo>
                    <a:pt x="493145" y="1061418"/>
                  </a:lnTo>
                  <a:lnTo>
                    <a:pt x="494811" y="1061079"/>
                  </a:lnTo>
                  <a:lnTo>
                    <a:pt x="496186" y="1061044"/>
                  </a:lnTo>
                  <a:lnTo>
                    <a:pt x="497152" y="1061445"/>
                  </a:lnTo>
                  <a:lnTo>
                    <a:pt x="498281" y="1062351"/>
                  </a:lnTo>
                  <a:lnTo>
                    <a:pt x="499509" y="1064146"/>
                  </a:lnTo>
                  <a:lnTo>
                    <a:pt x="500047" y="1066165"/>
                  </a:lnTo>
                  <a:lnTo>
                    <a:pt x="499838" y="1068260"/>
                  </a:lnTo>
                  <a:lnTo>
                    <a:pt x="498061" y="1071672"/>
                  </a:lnTo>
                  <a:lnTo>
                    <a:pt x="492904" y="1078364"/>
                  </a:lnTo>
                  <a:lnTo>
                    <a:pt x="491949" y="1080564"/>
                  </a:lnTo>
                  <a:lnTo>
                    <a:pt x="491850" y="1082943"/>
                  </a:lnTo>
                  <a:lnTo>
                    <a:pt x="493070" y="1085194"/>
                  </a:lnTo>
                  <a:lnTo>
                    <a:pt x="496016" y="1087125"/>
                  </a:lnTo>
                  <a:lnTo>
                    <a:pt x="501758" y="1089722"/>
                  </a:lnTo>
                  <a:lnTo>
                    <a:pt x="502591" y="1091244"/>
                  </a:lnTo>
                  <a:lnTo>
                    <a:pt x="502383" y="1093339"/>
                  </a:lnTo>
                  <a:lnTo>
                    <a:pt x="497333" y="1103566"/>
                  </a:lnTo>
                  <a:lnTo>
                    <a:pt x="496371" y="1106166"/>
                  </a:lnTo>
                  <a:lnTo>
                    <a:pt x="495929" y="1108449"/>
                  </a:lnTo>
                  <a:lnTo>
                    <a:pt x="495826" y="1111061"/>
                  </a:lnTo>
                  <a:lnTo>
                    <a:pt x="496462" y="1114072"/>
                  </a:lnTo>
                  <a:lnTo>
                    <a:pt x="497005" y="1115827"/>
                  </a:lnTo>
                  <a:lnTo>
                    <a:pt x="496980" y="1117245"/>
                  </a:lnTo>
                  <a:lnTo>
                    <a:pt x="496330" y="1118357"/>
                  </a:lnTo>
                  <a:lnTo>
                    <a:pt x="494168" y="1120594"/>
                  </a:lnTo>
                  <a:lnTo>
                    <a:pt x="492427" y="1121759"/>
                  </a:lnTo>
                  <a:lnTo>
                    <a:pt x="490865" y="1122486"/>
                  </a:lnTo>
                  <a:lnTo>
                    <a:pt x="489484" y="1122697"/>
                  </a:lnTo>
                  <a:lnTo>
                    <a:pt x="486731" y="1122678"/>
                  </a:lnTo>
                  <a:lnTo>
                    <a:pt x="485274" y="1122859"/>
                  </a:lnTo>
                  <a:lnTo>
                    <a:pt x="483712" y="1123599"/>
                  </a:lnTo>
                  <a:lnTo>
                    <a:pt x="483430" y="1126520"/>
                  </a:lnTo>
                  <a:lnTo>
                    <a:pt x="483861" y="1131317"/>
                  </a:lnTo>
                  <a:lnTo>
                    <a:pt x="487276" y="1146895"/>
                  </a:lnTo>
                  <a:lnTo>
                    <a:pt x="487617" y="1150329"/>
                  </a:lnTo>
                  <a:lnTo>
                    <a:pt x="486480" y="1152894"/>
                  </a:lnTo>
                  <a:lnTo>
                    <a:pt x="485579" y="1154076"/>
                  </a:lnTo>
                  <a:lnTo>
                    <a:pt x="484467" y="1155208"/>
                  </a:lnTo>
                  <a:lnTo>
                    <a:pt x="483131" y="1156041"/>
                  </a:lnTo>
                  <a:lnTo>
                    <a:pt x="480041" y="1158570"/>
                  </a:lnTo>
                  <a:lnTo>
                    <a:pt x="476237" y="1162417"/>
                  </a:lnTo>
                  <a:lnTo>
                    <a:pt x="475293" y="1163790"/>
                  </a:lnTo>
                  <a:lnTo>
                    <a:pt x="474474" y="1164601"/>
                  </a:lnTo>
                  <a:lnTo>
                    <a:pt x="473001" y="1166615"/>
                  </a:lnTo>
                  <a:lnTo>
                    <a:pt x="473076" y="1168804"/>
                  </a:lnTo>
                  <a:lnTo>
                    <a:pt x="474415" y="1170985"/>
                  </a:lnTo>
                  <a:lnTo>
                    <a:pt x="481587" y="1178091"/>
                  </a:lnTo>
                  <a:lnTo>
                    <a:pt x="486731" y="1187317"/>
                  </a:lnTo>
                  <a:lnTo>
                    <a:pt x="483335" y="1192887"/>
                  </a:lnTo>
                  <a:lnTo>
                    <a:pt x="482353" y="1193092"/>
                  </a:lnTo>
                  <a:lnTo>
                    <a:pt x="480289" y="1192758"/>
                  </a:lnTo>
                  <a:lnTo>
                    <a:pt x="475374" y="1187850"/>
                  </a:lnTo>
                  <a:lnTo>
                    <a:pt x="473460" y="1188701"/>
                  </a:lnTo>
                  <a:lnTo>
                    <a:pt x="472978" y="1189934"/>
                  </a:lnTo>
                  <a:lnTo>
                    <a:pt x="473288" y="1191818"/>
                  </a:lnTo>
                  <a:lnTo>
                    <a:pt x="474627" y="1194162"/>
                  </a:lnTo>
                  <a:lnTo>
                    <a:pt x="480657" y="1201099"/>
                  </a:lnTo>
                  <a:lnTo>
                    <a:pt x="482281" y="1203583"/>
                  </a:lnTo>
                  <a:lnTo>
                    <a:pt x="483878" y="1207571"/>
                  </a:lnTo>
                  <a:lnTo>
                    <a:pt x="484601" y="1209003"/>
                  </a:lnTo>
                  <a:lnTo>
                    <a:pt x="488262" y="1214625"/>
                  </a:lnTo>
                  <a:lnTo>
                    <a:pt x="491543" y="1221157"/>
                  </a:lnTo>
                  <a:lnTo>
                    <a:pt x="492299" y="1224007"/>
                  </a:lnTo>
                  <a:lnTo>
                    <a:pt x="492040" y="1225702"/>
                  </a:lnTo>
                  <a:lnTo>
                    <a:pt x="491228" y="1225969"/>
                  </a:lnTo>
                  <a:lnTo>
                    <a:pt x="489958" y="1226182"/>
                  </a:lnTo>
                  <a:lnTo>
                    <a:pt x="488925" y="1225956"/>
                  </a:lnTo>
                  <a:lnTo>
                    <a:pt x="487899" y="1225377"/>
                  </a:lnTo>
                  <a:lnTo>
                    <a:pt x="486937" y="1224413"/>
                  </a:lnTo>
                  <a:lnTo>
                    <a:pt x="484222" y="1220612"/>
                  </a:lnTo>
                  <a:lnTo>
                    <a:pt x="483544" y="1219890"/>
                  </a:lnTo>
                  <a:lnTo>
                    <a:pt x="482915" y="1219643"/>
                  </a:lnTo>
                  <a:lnTo>
                    <a:pt x="481825" y="1219371"/>
                  </a:lnTo>
                  <a:lnTo>
                    <a:pt x="477385" y="1219807"/>
                  </a:lnTo>
                  <a:lnTo>
                    <a:pt x="473424" y="1219174"/>
                  </a:lnTo>
                  <a:lnTo>
                    <a:pt x="470368" y="1219414"/>
                  </a:lnTo>
                  <a:lnTo>
                    <a:pt x="461560" y="1227612"/>
                  </a:lnTo>
                  <a:lnTo>
                    <a:pt x="459707" y="1228200"/>
                  </a:lnTo>
                  <a:lnTo>
                    <a:pt x="457907" y="1228992"/>
                  </a:lnTo>
                  <a:lnTo>
                    <a:pt x="453087" y="1228015"/>
                  </a:lnTo>
                  <a:lnTo>
                    <a:pt x="452115" y="1227640"/>
                  </a:lnTo>
                  <a:lnTo>
                    <a:pt x="449130" y="1227125"/>
                  </a:lnTo>
                  <a:lnTo>
                    <a:pt x="429243" y="1227074"/>
                  </a:lnTo>
                  <a:lnTo>
                    <a:pt x="427678" y="1227589"/>
                  </a:lnTo>
                  <a:lnTo>
                    <a:pt x="427553" y="1228075"/>
                  </a:lnTo>
                  <a:lnTo>
                    <a:pt x="427483" y="1228724"/>
                  </a:lnTo>
                  <a:lnTo>
                    <a:pt x="427479" y="1228931"/>
                  </a:lnTo>
                  <a:lnTo>
                    <a:pt x="418810" y="1238007"/>
                  </a:lnTo>
                  <a:lnTo>
                    <a:pt x="417627" y="1239519"/>
                  </a:lnTo>
                  <a:lnTo>
                    <a:pt x="417612" y="1240302"/>
                  </a:lnTo>
                  <a:lnTo>
                    <a:pt x="417996" y="1241213"/>
                  </a:lnTo>
                  <a:lnTo>
                    <a:pt x="420185" y="1244153"/>
                  </a:lnTo>
                  <a:lnTo>
                    <a:pt x="421874" y="1247085"/>
                  </a:lnTo>
                  <a:lnTo>
                    <a:pt x="422643" y="1248992"/>
                  </a:lnTo>
                  <a:lnTo>
                    <a:pt x="423241" y="1250806"/>
                  </a:lnTo>
                  <a:lnTo>
                    <a:pt x="424142" y="1254769"/>
                  </a:lnTo>
                  <a:lnTo>
                    <a:pt x="423531" y="1256518"/>
                  </a:lnTo>
                  <a:lnTo>
                    <a:pt x="422093" y="1259177"/>
                  </a:lnTo>
                  <a:lnTo>
                    <a:pt x="414482" y="1263929"/>
                  </a:lnTo>
                  <a:lnTo>
                    <a:pt x="412222" y="1264502"/>
                  </a:lnTo>
                  <a:lnTo>
                    <a:pt x="410903" y="1264091"/>
                  </a:lnTo>
                  <a:lnTo>
                    <a:pt x="410232" y="1263102"/>
                  </a:lnTo>
                  <a:lnTo>
                    <a:pt x="409716" y="1260137"/>
                  </a:lnTo>
                  <a:lnTo>
                    <a:pt x="408586" y="1258990"/>
                  </a:lnTo>
                  <a:lnTo>
                    <a:pt x="407599" y="1259294"/>
                  </a:lnTo>
                  <a:lnTo>
                    <a:pt x="406773" y="1260252"/>
                  </a:lnTo>
                  <a:lnTo>
                    <a:pt x="406222" y="1261792"/>
                  </a:lnTo>
                  <a:lnTo>
                    <a:pt x="404699" y="1268544"/>
                  </a:lnTo>
                  <a:lnTo>
                    <a:pt x="404263" y="1270102"/>
                  </a:lnTo>
                  <a:lnTo>
                    <a:pt x="403601" y="1271447"/>
                  </a:lnTo>
                  <a:lnTo>
                    <a:pt x="398840" y="1277524"/>
                  </a:lnTo>
                  <a:lnTo>
                    <a:pt x="392113" y="1284624"/>
                  </a:lnTo>
                  <a:lnTo>
                    <a:pt x="388773" y="1287007"/>
                  </a:lnTo>
                  <a:lnTo>
                    <a:pt x="386509" y="1287624"/>
                  </a:lnTo>
                  <a:lnTo>
                    <a:pt x="383718" y="1285877"/>
                  </a:lnTo>
                  <a:lnTo>
                    <a:pt x="380776" y="1285800"/>
                  </a:lnTo>
                  <a:lnTo>
                    <a:pt x="375601" y="1284003"/>
                  </a:lnTo>
                  <a:lnTo>
                    <a:pt x="374746" y="1283526"/>
                  </a:lnTo>
                  <a:lnTo>
                    <a:pt x="374069" y="1282800"/>
                  </a:lnTo>
                  <a:lnTo>
                    <a:pt x="373464" y="1281442"/>
                  </a:lnTo>
                  <a:lnTo>
                    <a:pt x="373326" y="1279814"/>
                  </a:lnTo>
                  <a:lnTo>
                    <a:pt x="373767" y="1275420"/>
                  </a:lnTo>
                  <a:lnTo>
                    <a:pt x="374350" y="1272505"/>
                  </a:lnTo>
                  <a:lnTo>
                    <a:pt x="374711" y="1271803"/>
                  </a:lnTo>
                  <a:lnTo>
                    <a:pt x="375303" y="1271138"/>
                  </a:lnTo>
                  <a:lnTo>
                    <a:pt x="376241" y="1270419"/>
                  </a:lnTo>
                  <a:lnTo>
                    <a:pt x="380108" y="1268553"/>
                  </a:lnTo>
                  <a:lnTo>
                    <a:pt x="380873" y="1267817"/>
                  </a:lnTo>
                  <a:lnTo>
                    <a:pt x="381535" y="1266574"/>
                  </a:lnTo>
                  <a:lnTo>
                    <a:pt x="381911" y="1265133"/>
                  </a:lnTo>
                  <a:lnTo>
                    <a:pt x="381946" y="1263509"/>
                  </a:lnTo>
                  <a:lnTo>
                    <a:pt x="380811" y="1254573"/>
                  </a:lnTo>
                  <a:lnTo>
                    <a:pt x="380690" y="1252190"/>
                  </a:lnTo>
                  <a:lnTo>
                    <a:pt x="380741" y="1249797"/>
                  </a:lnTo>
                  <a:lnTo>
                    <a:pt x="381012" y="1247911"/>
                  </a:lnTo>
                  <a:lnTo>
                    <a:pt x="381684" y="1246183"/>
                  </a:lnTo>
                  <a:lnTo>
                    <a:pt x="382638" y="1244665"/>
                  </a:lnTo>
                  <a:lnTo>
                    <a:pt x="388546" y="1237847"/>
                  </a:lnTo>
                  <a:lnTo>
                    <a:pt x="389829" y="1237104"/>
                  </a:lnTo>
                  <a:lnTo>
                    <a:pt x="390923" y="1237158"/>
                  </a:lnTo>
                  <a:lnTo>
                    <a:pt x="392993" y="1240100"/>
                  </a:lnTo>
                  <a:lnTo>
                    <a:pt x="394456" y="1241727"/>
                  </a:lnTo>
                  <a:lnTo>
                    <a:pt x="396502" y="1243101"/>
                  </a:lnTo>
                  <a:lnTo>
                    <a:pt x="397770" y="1243128"/>
                  </a:lnTo>
                  <a:lnTo>
                    <a:pt x="398875" y="1242588"/>
                  </a:lnTo>
                  <a:lnTo>
                    <a:pt x="401852" y="1238926"/>
                  </a:lnTo>
                  <a:lnTo>
                    <a:pt x="403048" y="1236824"/>
                  </a:lnTo>
                  <a:lnTo>
                    <a:pt x="404134" y="1234422"/>
                  </a:lnTo>
                  <a:lnTo>
                    <a:pt x="404869" y="1232311"/>
                  </a:lnTo>
                  <a:lnTo>
                    <a:pt x="405250" y="1230619"/>
                  </a:lnTo>
                  <a:lnTo>
                    <a:pt x="405393" y="1229277"/>
                  </a:lnTo>
                  <a:lnTo>
                    <a:pt x="405353" y="1228419"/>
                  </a:lnTo>
                  <a:lnTo>
                    <a:pt x="405248" y="1227943"/>
                  </a:lnTo>
                  <a:lnTo>
                    <a:pt x="404268" y="1225174"/>
                  </a:lnTo>
                  <a:lnTo>
                    <a:pt x="386128" y="1226918"/>
                  </a:lnTo>
                  <a:lnTo>
                    <a:pt x="381183" y="1226573"/>
                  </a:lnTo>
                  <a:lnTo>
                    <a:pt x="379520" y="1225354"/>
                  </a:lnTo>
                  <a:lnTo>
                    <a:pt x="378679" y="1224273"/>
                  </a:lnTo>
                  <a:lnTo>
                    <a:pt x="378013" y="1223105"/>
                  </a:lnTo>
                  <a:lnTo>
                    <a:pt x="376622" y="1218197"/>
                  </a:lnTo>
                  <a:lnTo>
                    <a:pt x="374897" y="1215469"/>
                  </a:lnTo>
                  <a:lnTo>
                    <a:pt x="373707" y="1214585"/>
                  </a:lnTo>
                  <a:lnTo>
                    <a:pt x="371809" y="1214484"/>
                  </a:lnTo>
                  <a:lnTo>
                    <a:pt x="364021" y="1215228"/>
                  </a:lnTo>
                  <a:lnTo>
                    <a:pt x="357868" y="1214055"/>
                  </a:lnTo>
                  <a:lnTo>
                    <a:pt x="350870" y="1210379"/>
                  </a:lnTo>
                  <a:lnTo>
                    <a:pt x="340726" y="1203376"/>
                  </a:lnTo>
                  <a:lnTo>
                    <a:pt x="338233" y="1200865"/>
                  </a:lnTo>
                  <a:lnTo>
                    <a:pt x="337395" y="1199781"/>
                  </a:lnTo>
                  <a:lnTo>
                    <a:pt x="336341" y="1198072"/>
                  </a:lnTo>
                  <a:lnTo>
                    <a:pt x="335517" y="1196396"/>
                  </a:lnTo>
                  <a:lnTo>
                    <a:pt x="331297" y="1184902"/>
                  </a:lnTo>
                  <a:lnTo>
                    <a:pt x="329770" y="1178880"/>
                  </a:lnTo>
                  <a:lnTo>
                    <a:pt x="329731" y="1178096"/>
                  </a:lnTo>
                  <a:lnTo>
                    <a:pt x="329860" y="1177492"/>
                  </a:lnTo>
                  <a:lnTo>
                    <a:pt x="330645" y="1175900"/>
                  </a:lnTo>
                  <a:lnTo>
                    <a:pt x="331482" y="1174515"/>
                  </a:lnTo>
                  <a:lnTo>
                    <a:pt x="331967" y="1173449"/>
                  </a:lnTo>
                  <a:lnTo>
                    <a:pt x="332189" y="1171324"/>
                  </a:lnTo>
                  <a:lnTo>
                    <a:pt x="331737" y="1168551"/>
                  </a:lnTo>
                  <a:lnTo>
                    <a:pt x="327903" y="1162872"/>
                  </a:lnTo>
                  <a:lnTo>
                    <a:pt x="327248" y="1161409"/>
                  </a:lnTo>
                  <a:lnTo>
                    <a:pt x="327051" y="1157590"/>
                  </a:lnTo>
                  <a:lnTo>
                    <a:pt x="326092" y="1156858"/>
                  </a:lnTo>
                  <a:lnTo>
                    <a:pt x="324542" y="1156793"/>
                  </a:lnTo>
                  <a:lnTo>
                    <a:pt x="298387" y="1162776"/>
                  </a:lnTo>
                  <a:lnTo>
                    <a:pt x="297454" y="1163314"/>
                  </a:lnTo>
                  <a:lnTo>
                    <a:pt x="297032" y="1164102"/>
                  </a:lnTo>
                  <a:lnTo>
                    <a:pt x="297050" y="1165700"/>
                  </a:lnTo>
                  <a:lnTo>
                    <a:pt x="299311" y="1177403"/>
                  </a:lnTo>
                  <a:lnTo>
                    <a:pt x="299399" y="1178529"/>
                  </a:lnTo>
                  <a:lnTo>
                    <a:pt x="302528" y="1191701"/>
                  </a:lnTo>
                  <a:lnTo>
                    <a:pt x="303284" y="1196079"/>
                  </a:lnTo>
                  <a:lnTo>
                    <a:pt x="303469" y="1197961"/>
                  </a:lnTo>
                  <a:lnTo>
                    <a:pt x="303433" y="1199452"/>
                  </a:lnTo>
                  <a:lnTo>
                    <a:pt x="303117" y="1200614"/>
                  </a:lnTo>
                  <a:lnTo>
                    <a:pt x="302510" y="1201900"/>
                  </a:lnTo>
                  <a:lnTo>
                    <a:pt x="301562" y="1202998"/>
                  </a:lnTo>
                  <a:lnTo>
                    <a:pt x="300216" y="1203912"/>
                  </a:lnTo>
                  <a:lnTo>
                    <a:pt x="295555" y="1205422"/>
                  </a:lnTo>
                  <a:lnTo>
                    <a:pt x="295025" y="1205911"/>
                  </a:lnTo>
                  <a:lnTo>
                    <a:pt x="293564" y="1206791"/>
                  </a:lnTo>
                  <a:lnTo>
                    <a:pt x="292388" y="1207811"/>
                  </a:lnTo>
                  <a:lnTo>
                    <a:pt x="284153" y="1210279"/>
                  </a:lnTo>
                  <a:lnTo>
                    <a:pt x="259617" y="1183293"/>
                  </a:lnTo>
                  <a:lnTo>
                    <a:pt x="250990" y="1175986"/>
                  </a:lnTo>
                  <a:lnTo>
                    <a:pt x="246434" y="1174297"/>
                  </a:lnTo>
                  <a:lnTo>
                    <a:pt x="244946" y="1174050"/>
                  </a:lnTo>
                  <a:lnTo>
                    <a:pt x="241835" y="1174277"/>
                  </a:lnTo>
                  <a:lnTo>
                    <a:pt x="229536" y="1179013"/>
                  </a:lnTo>
                  <a:lnTo>
                    <a:pt x="223793" y="1161148"/>
                  </a:lnTo>
                  <a:lnTo>
                    <a:pt x="215164" y="1143347"/>
                  </a:lnTo>
                  <a:lnTo>
                    <a:pt x="210026" y="1129840"/>
                  </a:lnTo>
                  <a:lnTo>
                    <a:pt x="211077" y="1114732"/>
                  </a:lnTo>
                  <a:lnTo>
                    <a:pt x="217652" y="1103771"/>
                  </a:lnTo>
                  <a:lnTo>
                    <a:pt x="227907" y="1097182"/>
                  </a:lnTo>
                  <a:lnTo>
                    <a:pt x="240041" y="1095162"/>
                  </a:lnTo>
                  <a:lnTo>
                    <a:pt x="248323" y="1085510"/>
                  </a:lnTo>
                  <a:lnTo>
                    <a:pt x="253339" y="1077824"/>
                  </a:lnTo>
                  <a:lnTo>
                    <a:pt x="254521" y="1072105"/>
                  </a:lnTo>
                  <a:lnTo>
                    <a:pt x="249365" y="1069927"/>
                  </a:lnTo>
                  <a:lnTo>
                    <a:pt x="241821" y="1071456"/>
                  </a:lnTo>
                  <a:lnTo>
                    <a:pt x="235016" y="1071699"/>
                  </a:lnTo>
                  <a:lnTo>
                    <a:pt x="232220" y="1065651"/>
                  </a:lnTo>
                  <a:lnTo>
                    <a:pt x="231565" y="1061642"/>
                  </a:lnTo>
                  <a:lnTo>
                    <a:pt x="229820" y="1057041"/>
                  </a:lnTo>
                  <a:lnTo>
                    <a:pt x="223214" y="1043909"/>
                  </a:lnTo>
                  <a:lnTo>
                    <a:pt x="222070" y="1038999"/>
                  </a:lnTo>
                  <a:lnTo>
                    <a:pt x="221422" y="1034134"/>
                  </a:lnTo>
                  <a:lnTo>
                    <a:pt x="220193" y="1028216"/>
                  </a:lnTo>
                  <a:lnTo>
                    <a:pt x="216739" y="1020108"/>
                  </a:lnTo>
                  <a:lnTo>
                    <a:pt x="208653" y="1007329"/>
                  </a:lnTo>
                  <a:lnTo>
                    <a:pt x="206093" y="1000118"/>
                  </a:lnTo>
                  <a:lnTo>
                    <a:pt x="212184" y="980479"/>
                  </a:lnTo>
                  <a:lnTo>
                    <a:pt x="205487" y="960837"/>
                  </a:lnTo>
                  <a:lnTo>
                    <a:pt x="167347" y="914782"/>
                  </a:lnTo>
                  <a:lnTo>
                    <a:pt x="161914" y="911042"/>
                  </a:lnTo>
                  <a:lnTo>
                    <a:pt x="157432" y="909841"/>
                  </a:lnTo>
                  <a:lnTo>
                    <a:pt x="147539" y="909834"/>
                  </a:lnTo>
                  <a:lnTo>
                    <a:pt x="101057" y="924057"/>
                  </a:lnTo>
                  <a:lnTo>
                    <a:pt x="86449" y="934477"/>
                  </a:lnTo>
                  <a:lnTo>
                    <a:pt x="68579" y="943167"/>
                  </a:lnTo>
                  <a:lnTo>
                    <a:pt x="52466" y="947903"/>
                  </a:lnTo>
                  <a:lnTo>
                    <a:pt x="37594" y="947922"/>
                  </a:lnTo>
                  <a:lnTo>
                    <a:pt x="31360" y="937932"/>
                  </a:lnTo>
                  <a:lnTo>
                    <a:pt x="30507" y="930715"/>
                  </a:lnTo>
                  <a:lnTo>
                    <a:pt x="27936" y="925954"/>
                  </a:lnTo>
                  <a:lnTo>
                    <a:pt x="4905" y="903517"/>
                  </a:lnTo>
                  <a:lnTo>
                    <a:pt x="1316" y="901925"/>
                  </a:lnTo>
                  <a:lnTo>
                    <a:pt x="0" y="900502"/>
                  </a:lnTo>
                  <a:lnTo>
                    <a:pt x="14847" y="889767"/>
                  </a:lnTo>
                  <a:lnTo>
                    <a:pt x="21462" y="886747"/>
                  </a:lnTo>
                  <a:lnTo>
                    <a:pt x="25382" y="883737"/>
                  </a:lnTo>
                  <a:lnTo>
                    <a:pt x="26880" y="881587"/>
                  </a:lnTo>
                  <a:lnTo>
                    <a:pt x="27228" y="876483"/>
                  </a:lnTo>
                  <a:lnTo>
                    <a:pt x="27719" y="873839"/>
                  </a:lnTo>
                  <a:lnTo>
                    <a:pt x="28784" y="871036"/>
                  </a:lnTo>
                  <a:lnTo>
                    <a:pt x="31747" y="865979"/>
                  </a:lnTo>
                  <a:lnTo>
                    <a:pt x="33509" y="864371"/>
                  </a:lnTo>
                  <a:lnTo>
                    <a:pt x="35231" y="863928"/>
                  </a:lnTo>
                  <a:lnTo>
                    <a:pt x="36572" y="864626"/>
                  </a:lnTo>
                  <a:lnTo>
                    <a:pt x="38511" y="865019"/>
                  </a:lnTo>
                  <a:lnTo>
                    <a:pt x="40506" y="864924"/>
                  </a:lnTo>
                  <a:lnTo>
                    <a:pt x="43613" y="863879"/>
                  </a:lnTo>
                  <a:lnTo>
                    <a:pt x="45787" y="863496"/>
                  </a:lnTo>
                  <a:lnTo>
                    <a:pt x="47146" y="863691"/>
                  </a:lnTo>
                  <a:lnTo>
                    <a:pt x="48414" y="864857"/>
                  </a:lnTo>
                  <a:lnTo>
                    <a:pt x="50315" y="867511"/>
                  </a:lnTo>
                  <a:lnTo>
                    <a:pt x="51742" y="869023"/>
                  </a:lnTo>
                  <a:lnTo>
                    <a:pt x="53068" y="870177"/>
                  </a:lnTo>
                  <a:lnTo>
                    <a:pt x="55362" y="871321"/>
                  </a:lnTo>
                  <a:lnTo>
                    <a:pt x="56232" y="870817"/>
                  </a:lnTo>
                  <a:lnTo>
                    <a:pt x="56572" y="869187"/>
                  </a:lnTo>
                  <a:lnTo>
                    <a:pt x="56755" y="867155"/>
                  </a:lnTo>
                  <a:lnTo>
                    <a:pt x="57038" y="865492"/>
                  </a:lnTo>
                  <a:lnTo>
                    <a:pt x="57688" y="863104"/>
                  </a:lnTo>
                  <a:lnTo>
                    <a:pt x="59646" y="857878"/>
                  </a:lnTo>
                  <a:lnTo>
                    <a:pt x="59984" y="856293"/>
                  </a:lnTo>
                  <a:lnTo>
                    <a:pt x="59964" y="855184"/>
                  </a:lnTo>
                  <a:lnTo>
                    <a:pt x="59381" y="853937"/>
                  </a:lnTo>
                  <a:lnTo>
                    <a:pt x="58426" y="853046"/>
                  </a:lnTo>
                  <a:lnTo>
                    <a:pt x="51688" y="848882"/>
                  </a:lnTo>
                  <a:lnTo>
                    <a:pt x="50588" y="847810"/>
                  </a:lnTo>
                  <a:lnTo>
                    <a:pt x="49227" y="846047"/>
                  </a:lnTo>
                  <a:lnTo>
                    <a:pt x="47986" y="844083"/>
                  </a:lnTo>
                  <a:lnTo>
                    <a:pt x="47845" y="839909"/>
                  </a:lnTo>
                  <a:lnTo>
                    <a:pt x="48816" y="834782"/>
                  </a:lnTo>
                  <a:lnTo>
                    <a:pt x="53528" y="824858"/>
                  </a:lnTo>
                  <a:lnTo>
                    <a:pt x="55989" y="820950"/>
                  </a:lnTo>
                  <a:lnTo>
                    <a:pt x="58169" y="818645"/>
                  </a:lnTo>
                  <a:lnTo>
                    <a:pt x="64578" y="816053"/>
                  </a:lnTo>
                  <a:lnTo>
                    <a:pt x="69629" y="812689"/>
                  </a:lnTo>
                  <a:lnTo>
                    <a:pt x="79822" y="808315"/>
                  </a:lnTo>
                  <a:lnTo>
                    <a:pt x="82211" y="805273"/>
                  </a:lnTo>
                  <a:lnTo>
                    <a:pt x="83787" y="803951"/>
                  </a:lnTo>
                  <a:lnTo>
                    <a:pt x="84715" y="803361"/>
                  </a:lnTo>
                  <a:lnTo>
                    <a:pt x="85558" y="803597"/>
                  </a:lnTo>
                  <a:lnTo>
                    <a:pt x="86501" y="804248"/>
                  </a:lnTo>
                  <a:lnTo>
                    <a:pt x="88418" y="806368"/>
                  </a:lnTo>
                  <a:lnTo>
                    <a:pt x="89719" y="808229"/>
                  </a:lnTo>
                  <a:lnTo>
                    <a:pt x="91096" y="809516"/>
                  </a:lnTo>
                  <a:lnTo>
                    <a:pt x="92764" y="810590"/>
                  </a:lnTo>
                  <a:lnTo>
                    <a:pt x="95366" y="810853"/>
                  </a:lnTo>
                  <a:lnTo>
                    <a:pt x="96879" y="809706"/>
                  </a:lnTo>
                  <a:lnTo>
                    <a:pt x="98214" y="807042"/>
                  </a:lnTo>
                  <a:lnTo>
                    <a:pt x="102633" y="800814"/>
                  </a:lnTo>
                  <a:lnTo>
                    <a:pt x="103248" y="799357"/>
                  </a:lnTo>
                  <a:lnTo>
                    <a:pt x="102945" y="798192"/>
                  </a:lnTo>
                  <a:lnTo>
                    <a:pt x="99774" y="793919"/>
                  </a:lnTo>
                  <a:lnTo>
                    <a:pt x="99764" y="792485"/>
                  </a:lnTo>
                  <a:lnTo>
                    <a:pt x="100112" y="790501"/>
                  </a:lnTo>
                  <a:lnTo>
                    <a:pt x="101716" y="786471"/>
                  </a:lnTo>
                  <a:lnTo>
                    <a:pt x="103037" y="784801"/>
                  </a:lnTo>
                  <a:lnTo>
                    <a:pt x="104537" y="783992"/>
                  </a:lnTo>
                  <a:lnTo>
                    <a:pt x="122924" y="785322"/>
                  </a:lnTo>
                  <a:lnTo>
                    <a:pt x="128881" y="784002"/>
                  </a:lnTo>
                  <a:lnTo>
                    <a:pt x="130851" y="782643"/>
                  </a:lnTo>
                  <a:lnTo>
                    <a:pt x="131959" y="781674"/>
                  </a:lnTo>
                  <a:lnTo>
                    <a:pt x="132574" y="780126"/>
                  </a:lnTo>
                  <a:lnTo>
                    <a:pt x="132849" y="778567"/>
                  </a:lnTo>
                  <a:lnTo>
                    <a:pt x="132912" y="776559"/>
                  </a:lnTo>
                  <a:lnTo>
                    <a:pt x="132678" y="774984"/>
                  </a:lnTo>
                  <a:lnTo>
                    <a:pt x="131636" y="772053"/>
                  </a:lnTo>
                  <a:lnTo>
                    <a:pt x="127901" y="757417"/>
                  </a:lnTo>
                  <a:lnTo>
                    <a:pt x="125619" y="752554"/>
                  </a:lnTo>
                  <a:lnTo>
                    <a:pt x="124903" y="751911"/>
                  </a:lnTo>
                  <a:lnTo>
                    <a:pt x="121602" y="750016"/>
                  </a:lnTo>
                  <a:lnTo>
                    <a:pt x="118272" y="746110"/>
                  </a:lnTo>
                  <a:lnTo>
                    <a:pt x="115934" y="741304"/>
                  </a:lnTo>
                  <a:lnTo>
                    <a:pt x="109651" y="725401"/>
                  </a:lnTo>
                  <a:lnTo>
                    <a:pt x="107883" y="722327"/>
                  </a:lnTo>
                  <a:lnTo>
                    <a:pt x="101635" y="719018"/>
                  </a:lnTo>
                  <a:lnTo>
                    <a:pt x="100941" y="717755"/>
                  </a:lnTo>
                  <a:lnTo>
                    <a:pt x="100607" y="715821"/>
                  </a:lnTo>
                  <a:lnTo>
                    <a:pt x="100569" y="713513"/>
                  </a:lnTo>
                  <a:lnTo>
                    <a:pt x="99533" y="712342"/>
                  </a:lnTo>
                  <a:lnTo>
                    <a:pt x="98306" y="711812"/>
                  </a:lnTo>
                  <a:lnTo>
                    <a:pt x="83047" y="707495"/>
                  </a:lnTo>
                  <a:lnTo>
                    <a:pt x="81458" y="705961"/>
                  </a:lnTo>
                  <a:lnTo>
                    <a:pt x="80703" y="704858"/>
                  </a:lnTo>
                  <a:lnTo>
                    <a:pt x="81417" y="702087"/>
                  </a:lnTo>
                  <a:lnTo>
                    <a:pt x="86081" y="698399"/>
                  </a:lnTo>
                  <a:lnTo>
                    <a:pt x="88066" y="693053"/>
                  </a:lnTo>
                  <a:lnTo>
                    <a:pt x="89625" y="686894"/>
                  </a:lnTo>
                  <a:lnTo>
                    <a:pt x="91303" y="682278"/>
                  </a:lnTo>
                  <a:lnTo>
                    <a:pt x="96961" y="676815"/>
                  </a:lnTo>
                  <a:lnTo>
                    <a:pt x="98030" y="675224"/>
                  </a:lnTo>
                  <a:lnTo>
                    <a:pt x="98403" y="674171"/>
                  </a:lnTo>
                  <a:lnTo>
                    <a:pt x="97859" y="673533"/>
                  </a:lnTo>
                  <a:lnTo>
                    <a:pt x="94535" y="671575"/>
                  </a:lnTo>
                  <a:lnTo>
                    <a:pt x="93379" y="670651"/>
                  </a:lnTo>
                  <a:lnTo>
                    <a:pt x="92395" y="669658"/>
                  </a:lnTo>
                  <a:lnTo>
                    <a:pt x="91750" y="668689"/>
                  </a:lnTo>
                  <a:lnTo>
                    <a:pt x="91389" y="667642"/>
                  </a:lnTo>
                  <a:lnTo>
                    <a:pt x="91168" y="664057"/>
                  </a:lnTo>
                  <a:lnTo>
                    <a:pt x="91152" y="662843"/>
                  </a:lnTo>
                  <a:lnTo>
                    <a:pt x="91068" y="661953"/>
                  </a:lnTo>
                  <a:lnTo>
                    <a:pt x="92535" y="643120"/>
                  </a:lnTo>
                  <a:lnTo>
                    <a:pt x="93580" y="638780"/>
                  </a:lnTo>
                  <a:lnTo>
                    <a:pt x="94280" y="636362"/>
                  </a:lnTo>
                  <a:lnTo>
                    <a:pt x="96051" y="635681"/>
                  </a:lnTo>
                  <a:lnTo>
                    <a:pt x="98239" y="634290"/>
                  </a:lnTo>
                  <a:lnTo>
                    <a:pt x="100451" y="632158"/>
                  </a:lnTo>
                  <a:lnTo>
                    <a:pt x="104230" y="626931"/>
                  </a:lnTo>
                  <a:lnTo>
                    <a:pt x="106102" y="624833"/>
                  </a:lnTo>
                  <a:lnTo>
                    <a:pt x="108202" y="623245"/>
                  </a:lnTo>
                  <a:lnTo>
                    <a:pt x="112341" y="622493"/>
                  </a:lnTo>
                  <a:lnTo>
                    <a:pt x="115897" y="622342"/>
                  </a:lnTo>
                  <a:lnTo>
                    <a:pt x="117462" y="622717"/>
                  </a:lnTo>
                  <a:lnTo>
                    <a:pt x="118673" y="623642"/>
                  </a:lnTo>
                  <a:lnTo>
                    <a:pt x="124610" y="631950"/>
                  </a:lnTo>
                  <a:lnTo>
                    <a:pt x="125595" y="632868"/>
                  </a:lnTo>
                  <a:lnTo>
                    <a:pt x="126702" y="633539"/>
                  </a:lnTo>
                  <a:lnTo>
                    <a:pt x="130421" y="634220"/>
                  </a:lnTo>
                  <a:lnTo>
                    <a:pt x="131717" y="634261"/>
                  </a:lnTo>
                  <a:lnTo>
                    <a:pt x="132798" y="633939"/>
                  </a:lnTo>
                  <a:lnTo>
                    <a:pt x="134461" y="633060"/>
                  </a:lnTo>
                  <a:lnTo>
                    <a:pt x="140340" y="628942"/>
                  </a:lnTo>
                  <a:lnTo>
                    <a:pt x="141966" y="627412"/>
                  </a:lnTo>
                  <a:lnTo>
                    <a:pt x="142912" y="626008"/>
                  </a:lnTo>
                  <a:lnTo>
                    <a:pt x="143452" y="624959"/>
                  </a:lnTo>
                  <a:lnTo>
                    <a:pt x="149561" y="610245"/>
                  </a:lnTo>
                  <a:lnTo>
                    <a:pt x="153337" y="601020"/>
                  </a:lnTo>
                  <a:lnTo>
                    <a:pt x="152314" y="599524"/>
                  </a:lnTo>
                  <a:lnTo>
                    <a:pt x="151906" y="598107"/>
                  </a:lnTo>
                  <a:lnTo>
                    <a:pt x="148678" y="596292"/>
                  </a:lnTo>
                  <a:lnTo>
                    <a:pt x="147723" y="594398"/>
                  </a:lnTo>
                  <a:lnTo>
                    <a:pt x="146416" y="591164"/>
                  </a:lnTo>
                  <a:lnTo>
                    <a:pt x="145443" y="582618"/>
                  </a:lnTo>
                  <a:lnTo>
                    <a:pt x="143750" y="577331"/>
                  </a:lnTo>
                  <a:lnTo>
                    <a:pt x="139089" y="566245"/>
                  </a:lnTo>
                  <a:lnTo>
                    <a:pt x="138601" y="563894"/>
                  </a:lnTo>
                  <a:lnTo>
                    <a:pt x="138875" y="562320"/>
                  </a:lnTo>
                  <a:lnTo>
                    <a:pt x="139490" y="560639"/>
                  </a:lnTo>
                  <a:lnTo>
                    <a:pt x="141162" y="557528"/>
                  </a:lnTo>
                  <a:lnTo>
                    <a:pt x="142678" y="553996"/>
                  </a:lnTo>
                  <a:lnTo>
                    <a:pt x="144434" y="544529"/>
                  </a:lnTo>
                  <a:lnTo>
                    <a:pt x="148102" y="536779"/>
                  </a:lnTo>
                  <a:lnTo>
                    <a:pt x="149152" y="535570"/>
                  </a:lnTo>
                  <a:lnTo>
                    <a:pt x="150772" y="534024"/>
                  </a:lnTo>
                  <a:lnTo>
                    <a:pt x="154519" y="533357"/>
                  </a:lnTo>
                  <a:lnTo>
                    <a:pt x="155721" y="532639"/>
                  </a:lnTo>
                  <a:lnTo>
                    <a:pt x="156605" y="531276"/>
                  </a:lnTo>
                  <a:lnTo>
                    <a:pt x="157700" y="526728"/>
                  </a:lnTo>
                  <a:lnTo>
                    <a:pt x="160178" y="511813"/>
                  </a:lnTo>
                  <a:lnTo>
                    <a:pt x="160154" y="510775"/>
                  </a:lnTo>
                  <a:lnTo>
                    <a:pt x="159959" y="509793"/>
                  </a:lnTo>
                  <a:lnTo>
                    <a:pt x="159538" y="508894"/>
                  </a:lnTo>
                  <a:lnTo>
                    <a:pt x="159058" y="508080"/>
                  </a:lnTo>
                  <a:lnTo>
                    <a:pt x="157542" y="506290"/>
                  </a:lnTo>
                  <a:lnTo>
                    <a:pt x="149641" y="499894"/>
                  </a:lnTo>
                  <a:lnTo>
                    <a:pt x="148937" y="499073"/>
                  </a:lnTo>
                  <a:lnTo>
                    <a:pt x="148568" y="498293"/>
                  </a:lnTo>
                  <a:lnTo>
                    <a:pt x="148535" y="497554"/>
                  </a:lnTo>
                  <a:lnTo>
                    <a:pt x="148754" y="495935"/>
                  </a:lnTo>
                  <a:lnTo>
                    <a:pt x="148666" y="495133"/>
                  </a:lnTo>
                  <a:lnTo>
                    <a:pt x="148296" y="494412"/>
                  </a:lnTo>
                  <a:lnTo>
                    <a:pt x="147640" y="493859"/>
                  </a:lnTo>
                  <a:lnTo>
                    <a:pt x="146924" y="493453"/>
                  </a:lnTo>
                  <a:lnTo>
                    <a:pt x="146158" y="492837"/>
                  </a:lnTo>
                  <a:lnTo>
                    <a:pt x="145731" y="492143"/>
                  </a:lnTo>
                  <a:lnTo>
                    <a:pt x="145529" y="491427"/>
                  </a:lnTo>
                  <a:lnTo>
                    <a:pt x="145555" y="490585"/>
                  </a:lnTo>
                  <a:lnTo>
                    <a:pt x="145752" y="489659"/>
                  </a:lnTo>
                  <a:lnTo>
                    <a:pt x="146056" y="488900"/>
                  </a:lnTo>
                  <a:lnTo>
                    <a:pt x="147969" y="486891"/>
                  </a:lnTo>
                  <a:lnTo>
                    <a:pt x="165762" y="472242"/>
                  </a:lnTo>
                  <a:lnTo>
                    <a:pt x="168562" y="464965"/>
                  </a:lnTo>
                  <a:lnTo>
                    <a:pt x="168978" y="464163"/>
                  </a:lnTo>
                  <a:lnTo>
                    <a:pt x="169615" y="463473"/>
                  </a:lnTo>
                  <a:lnTo>
                    <a:pt x="176782" y="458648"/>
                  </a:lnTo>
                  <a:lnTo>
                    <a:pt x="177651" y="457699"/>
                  </a:lnTo>
                  <a:lnTo>
                    <a:pt x="179296" y="455131"/>
                  </a:lnTo>
                  <a:lnTo>
                    <a:pt x="180050" y="454268"/>
                  </a:lnTo>
                  <a:lnTo>
                    <a:pt x="196040" y="440595"/>
                  </a:lnTo>
                  <a:lnTo>
                    <a:pt x="200566" y="435140"/>
                  </a:lnTo>
                  <a:lnTo>
                    <a:pt x="201648" y="434460"/>
                  </a:lnTo>
                  <a:lnTo>
                    <a:pt x="203120" y="433914"/>
                  </a:lnTo>
                  <a:lnTo>
                    <a:pt x="207488" y="433803"/>
                  </a:lnTo>
                  <a:lnTo>
                    <a:pt x="208809" y="434551"/>
                  </a:lnTo>
                  <a:lnTo>
                    <a:pt x="209780" y="435821"/>
                  </a:lnTo>
                  <a:lnTo>
                    <a:pt x="212585" y="443323"/>
                  </a:lnTo>
                  <a:lnTo>
                    <a:pt x="214611" y="444921"/>
                  </a:lnTo>
                  <a:lnTo>
                    <a:pt x="220528" y="446184"/>
                  </a:lnTo>
                  <a:lnTo>
                    <a:pt x="225755" y="445431"/>
                  </a:lnTo>
                  <a:lnTo>
                    <a:pt x="230456" y="445490"/>
                  </a:lnTo>
                  <a:lnTo>
                    <a:pt x="232096" y="444916"/>
                  </a:lnTo>
                  <a:lnTo>
                    <a:pt x="234141" y="443849"/>
                  </a:lnTo>
                  <a:lnTo>
                    <a:pt x="241764" y="438088"/>
                  </a:lnTo>
                  <a:lnTo>
                    <a:pt x="242405" y="437161"/>
                  </a:lnTo>
                  <a:lnTo>
                    <a:pt x="242891" y="435768"/>
                  </a:lnTo>
                  <a:lnTo>
                    <a:pt x="242909" y="433093"/>
                  </a:lnTo>
                  <a:lnTo>
                    <a:pt x="242708" y="430250"/>
                  </a:lnTo>
                  <a:lnTo>
                    <a:pt x="244105" y="428279"/>
                  </a:lnTo>
                  <a:lnTo>
                    <a:pt x="253920" y="419177"/>
                  </a:lnTo>
                  <a:lnTo>
                    <a:pt x="260142" y="415175"/>
                  </a:lnTo>
                  <a:lnTo>
                    <a:pt x="262270" y="415056"/>
                  </a:lnTo>
                  <a:lnTo>
                    <a:pt x="266321" y="416200"/>
                  </a:lnTo>
                  <a:lnTo>
                    <a:pt x="267215" y="416239"/>
                  </a:lnTo>
                  <a:lnTo>
                    <a:pt x="268143" y="414993"/>
                  </a:lnTo>
                  <a:lnTo>
                    <a:pt x="268875" y="412691"/>
                  </a:lnTo>
                  <a:lnTo>
                    <a:pt x="269228" y="403654"/>
                  </a:lnTo>
                  <a:lnTo>
                    <a:pt x="269529" y="400764"/>
                  </a:lnTo>
                  <a:lnTo>
                    <a:pt x="269785" y="399559"/>
                  </a:lnTo>
                  <a:lnTo>
                    <a:pt x="272969" y="393287"/>
                  </a:lnTo>
                  <a:lnTo>
                    <a:pt x="277782" y="383067"/>
                  </a:lnTo>
                  <a:lnTo>
                    <a:pt x="280198" y="380411"/>
                  </a:lnTo>
                  <a:lnTo>
                    <a:pt x="283061" y="379836"/>
                  </a:lnTo>
                  <a:lnTo>
                    <a:pt x="283906" y="379534"/>
                  </a:lnTo>
                  <a:lnTo>
                    <a:pt x="284701" y="379050"/>
                  </a:lnTo>
                  <a:lnTo>
                    <a:pt x="285223" y="378296"/>
                  </a:lnTo>
                  <a:lnTo>
                    <a:pt x="285751" y="377305"/>
                  </a:lnTo>
                  <a:lnTo>
                    <a:pt x="286649" y="375022"/>
                  </a:lnTo>
                  <a:lnTo>
                    <a:pt x="288469" y="371580"/>
                  </a:lnTo>
                  <a:lnTo>
                    <a:pt x="289841" y="368156"/>
                  </a:lnTo>
                  <a:lnTo>
                    <a:pt x="291019" y="365793"/>
                  </a:lnTo>
                  <a:lnTo>
                    <a:pt x="291545" y="364890"/>
                  </a:lnTo>
                  <a:lnTo>
                    <a:pt x="295511" y="360411"/>
                  </a:lnTo>
                  <a:lnTo>
                    <a:pt x="298015" y="356305"/>
                  </a:lnTo>
                  <a:lnTo>
                    <a:pt x="297907" y="354013"/>
                  </a:lnTo>
                  <a:lnTo>
                    <a:pt x="297321" y="350759"/>
                  </a:lnTo>
                  <a:lnTo>
                    <a:pt x="295404" y="342934"/>
                  </a:lnTo>
                  <a:lnTo>
                    <a:pt x="294885" y="339284"/>
                  </a:lnTo>
                  <a:lnTo>
                    <a:pt x="295304" y="335985"/>
                  </a:lnTo>
                  <a:lnTo>
                    <a:pt x="296201" y="333657"/>
                  </a:lnTo>
                  <a:lnTo>
                    <a:pt x="295967" y="331892"/>
                  </a:lnTo>
                  <a:lnTo>
                    <a:pt x="295194" y="329478"/>
                  </a:lnTo>
                  <a:lnTo>
                    <a:pt x="292819" y="324331"/>
                  </a:lnTo>
                  <a:lnTo>
                    <a:pt x="291429" y="322078"/>
                  </a:lnTo>
                  <a:lnTo>
                    <a:pt x="290220" y="319325"/>
                  </a:lnTo>
                  <a:lnTo>
                    <a:pt x="291847" y="314579"/>
                  </a:lnTo>
                  <a:lnTo>
                    <a:pt x="328626" y="315346"/>
                  </a:lnTo>
                  <a:lnTo>
                    <a:pt x="339760" y="318618"/>
                  </a:lnTo>
                  <a:lnTo>
                    <a:pt x="340648" y="318745"/>
                  </a:lnTo>
                  <a:lnTo>
                    <a:pt x="341599" y="318588"/>
                  </a:lnTo>
                  <a:lnTo>
                    <a:pt x="342444" y="318181"/>
                  </a:lnTo>
                  <a:lnTo>
                    <a:pt x="347270" y="314380"/>
                  </a:lnTo>
                  <a:lnTo>
                    <a:pt x="356515" y="309647"/>
                  </a:lnTo>
                  <a:lnTo>
                    <a:pt x="357204" y="308747"/>
                  </a:lnTo>
                  <a:lnTo>
                    <a:pt x="357627" y="307367"/>
                  </a:lnTo>
                  <a:lnTo>
                    <a:pt x="357524" y="304630"/>
                  </a:lnTo>
                  <a:lnTo>
                    <a:pt x="357060" y="303068"/>
                  </a:lnTo>
                  <a:lnTo>
                    <a:pt x="354119" y="297944"/>
                  </a:lnTo>
                  <a:lnTo>
                    <a:pt x="353803" y="297166"/>
                  </a:lnTo>
                  <a:lnTo>
                    <a:pt x="353656" y="296351"/>
                  </a:lnTo>
                  <a:lnTo>
                    <a:pt x="353674" y="295568"/>
                  </a:lnTo>
                  <a:lnTo>
                    <a:pt x="353747" y="294845"/>
                  </a:lnTo>
                  <a:lnTo>
                    <a:pt x="354502" y="293519"/>
                  </a:lnTo>
                  <a:lnTo>
                    <a:pt x="361982" y="283791"/>
                  </a:lnTo>
                  <a:lnTo>
                    <a:pt x="373843" y="271116"/>
                  </a:lnTo>
                  <a:lnTo>
                    <a:pt x="374315" y="269944"/>
                  </a:lnTo>
                  <a:lnTo>
                    <a:pt x="374633" y="268193"/>
                  </a:lnTo>
                  <a:lnTo>
                    <a:pt x="374827" y="264605"/>
                  </a:lnTo>
                  <a:lnTo>
                    <a:pt x="374762" y="262578"/>
                  </a:lnTo>
                  <a:lnTo>
                    <a:pt x="374576" y="260994"/>
                  </a:lnTo>
                  <a:lnTo>
                    <a:pt x="374036" y="257876"/>
                  </a:lnTo>
                  <a:lnTo>
                    <a:pt x="373941" y="257165"/>
                  </a:lnTo>
                  <a:lnTo>
                    <a:pt x="373737" y="256392"/>
                  </a:lnTo>
                  <a:lnTo>
                    <a:pt x="372450" y="249503"/>
                  </a:lnTo>
                  <a:lnTo>
                    <a:pt x="372231" y="246956"/>
                  </a:lnTo>
                  <a:lnTo>
                    <a:pt x="370289" y="237274"/>
                  </a:lnTo>
                  <a:lnTo>
                    <a:pt x="370203" y="236179"/>
                  </a:lnTo>
                  <a:lnTo>
                    <a:pt x="369858" y="234279"/>
                  </a:lnTo>
                  <a:lnTo>
                    <a:pt x="368253" y="226925"/>
                  </a:lnTo>
                  <a:lnTo>
                    <a:pt x="368041" y="226477"/>
                  </a:lnTo>
                  <a:lnTo>
                    <a:pt x="367503" y="225753"/>
                  </a:lnTo>
                  <a:lnTo>
                    <a:pt x="364762" y="224255"/>
                  </a:lnTo>
                  <a:lnTo>
                    <a:pt x="364162" y="223798"/>
                  </a:lnTo>
                  <a:lnTo>
                    <a:pt x="364067" y="223146"/>
                  </a:lnTo>
                  <a:lnTo>
                    <a:pt x="364194" y="222455"/>
                  </a:lnTo>
                  <a:lnTo>
                    <a:pt x="365559" y="218659"/>
                  </a:lnTo>
                  <a:lnTo>
                    <a:pt x="365747" y="217701"/>
                  </a:lnTo>
                  <a:lnTo>
                    <a:pt x="365602" y="216827"/>
                  </a:lnTo>
                  <a:lnTo>
                    <a:pt x="365286" y="216049"/>
                  </a:lnTo>
                  <a:lnTo>
                    <a:pt x="364748" y="215358"/>
                  </a:lnTo>
                  <a:lnTo>
                    <a:pt x="363982" y="214882"/>
                  </a:lnTo>
                  <a:lnTo>
                    <a:pt x="363212" y="214613"/>
                  </a:lnTo>
                  <a:lnTo>
                    <a:pt x="361578" y="214899"/>
                  </a:lnTo>
                  <a:lnTo>
                    <a:pt x="359895" y="215659"/>
                  </a:lnTo>
                  <a:lnTo>
                    <a:pt x="351882" y="221291"/>
                  </a:lnTo>
                  <a:lnTo>
                    <a:pt x="344564" y="223305"/>
                  </a:lnTo>
                  <a:lnTo>
                    <a:pt x="337208" y="223762"/>
                  </a:lnTo>
                  <a:lnTo>
                    <a:pt x="335419" y="224294"/>
                  </a:lnTo>
                  <a:lnTo>
                    <a:pt x="334629" y="224777"/>
                  </a:lnTo>
                  <a:lnTo>
                    <a:pt x="334061" y="225310"/>
                  </a:lnTo>
                  <a:lnTo>
                    <a:pt x="333718" y="225730"/>
                  </a:lnTo>
                  <a:lnTo>
                    <a:pt x="331739" y="229466"/>
                  </a:lnTo>
                  <a:lnTo>
                    <a:pt x="330880" y="230540"/>
                  </a:lnTo>
                  <a:lnTo>
                    <a:pt x="329921" y="231136"/>
                  </a:lnTo>
                  <a:lnTo>
                    <a:pt x="328860" y="231391"/>
                  </a:lnTo>
                  <a:lnTo>
                    <a:pt x="327138" y="231423"/>
                  </a:lnTo>
                  <a:lnTo>
                    <a:pt x="323825" y="230719"/>
                  </a:lnTo>
                  <a:lnTo>
                    <a:pt x="322288" y="229971"/>
                  </a:lnTo>
                  <a:lnTo>
                    <a:pt x="321583" y="229347"/>
                  </a:lnTo>
                  <a:lnTo>
                    <a:pt x="321083" y="228610"/>
                  </a:lnTo>
                  <a:lnTo>
                    <a:pt x="320714" y="227804"/>
                  </a:lnTo>
                  <a:lnTo>
                    <a:pt x="320457" y="226999"/>
                  </a:lnTo>
                  <a:lnTo>
                    <a:pt x="320059" y="225140"/>
                  </a:lnTo>
                  <a:lnTo>
                    <a:pt x="319728" y="222841"/>
                  </a:lnTo>
                  <a:lnTo>
                    <a:pt x="319525" y="222083"/>
                  </a:lnTo>
                  <a:lnTo>
                    <a:pt x="319211" y="221322"/>
                  </a:lnTo>
                  <a:lnTo>
                    <a:pt x="317968" y="220018"/>
                  </a:lnTo>
                  <a:lnTo>
                    <a:pt x="315733" y="218395"/>
                  </a:lnTo>
                  <a:lnTo>
                    <a:pt x="314160" y="216980"/>
                  </a:lnTo>
                  <a:lnTo>
                    <a:pt x="313512" y="216240"/>
                  </a:lnTo>
                  <a:lnTo>
                    <a:pt x="313032" y="215490"/>
                  </a:lnTo>
                  <a:lnTo>
                    <a:pt x="312774" y="214713"/>
                  </a:lnTo>
                  <a:lnTo>
                    <a:pt x="312683" y="213914"/>
                  </a:lnTo>
                  <a:lnTo>
                    <a:pt x="312935" y="212766"/>
                  </a:lnTo>
                  <a:lnTo>
                    <a:pt x="313654" y="210656"/>
                  </a:lnTo>
                  <a:lnTo>
                    <a:pt x="317570" y="202728"/>
                  </a:lnTo>
                  <a:lnTo>
                    <a:pt x="319597" y="199335"/>
                  </a:lnTo>
                  <a:lnTo>
                    <a:pt x="327569" y="189438"/>
                  </a:lnTo>
                  <a:lnTo>
                    <a:pt x="339547" y="177832"/>
                  </a:lnTo>
                  <a:lnTo>
                    <a:pt x="340633" y="176468"/>
                  </a:lnTo>
                  <a:lnTo>
                    <a:pt x="341174" y="174768"/>
                  </a:lnTo>
                  <a:lnTo>
                    <a:pt x="341414" y="173975"/>
                  </a:lnTo>
                  <a:lnTo>
                    <a:pt x="341489" y="173178"/>
                  </a:lnTo>
                  <a:lnTo>
                    <a:pt x="341730" y="172385"/>
                  </a:lnTo>
                  <a:lnTo>
                    <a:pt x="344685" y="170063"/>
                  </a:lnTo>
                  <a:lnTo>
                    <a:pt x="348725" y="167915"/>
                  </a:lnTo>
                  <a:lnTo>
                    <a:pt x="351030" y="164155"/>
                  </a:lnTo>
                  <a:lnTo>
                    <a:pt x="351110" y="163138"/>
                  </a:lnTo>
                  <a:lnTo>
                    <a:pt x="351849" y="162357"/>
                  </a:lnTo>
                  <a:lnTo>
                    <a:pt x="353252" y="161576"/>
                  </a:lnTo>
                  <a:lnTo>
                    <a:pt x="359931" y="160081"/>
                  </a:lnTo>
                  <a:lnTo>
                    <a:pt x="368451" y="156406"/>
                  </a:lnTo>
                  <a:lnTo>
                    <a:pt x="370899" y="155872"/>
                  </a:lnTo>
                  <a:lnTo>
                    <a:pt x="377034" y="156310"/>
                  </a:lnTo>
                  <a:lnTo>
                    <a:pt x="384490" y="155446"/>
                  </a:lnTo>
                  <a:lnTo>
                    <a:pt x="393018" y="152799"/>
                  </a:lnTo>
                  <a:lnTo>
                    <a:pt x="397516" y="152130"/>
                  </a:lnTo>
                  <a:lnTo>
                    <a:pt x="399563" y="152176"/>
                  </a:lnTo>
                  <a:lnTo>
                    <a:pt x="401382" y="152511"/>
                  </a:lnTo>
                  <a:lnTo>
                    <a:pt x="403197" y="153054"/>
                  </a:lnTo>
                  <a:lnTo>
                    <a:pt x="404912" y="153934"/>
                  </a:lnTo>
                  <a:lnTo>
                    <a:pt x="412384" y="156475"/>
                  </a:lnTo>
                  <a:lnTo>
                    <a:pt x="413269" y="156525"/>
                  </a:lnTo>
                  <a:lnTo>
                    <a:pt x="414157" y="156426"/>
                  </a:lnTo>
                  <a:lnTo>
                    <a:pt x="414993" y="156119"/>
                  </a:lnTo>
                  <a:lnTo>
                    <a:pt x="424177" y="149397"/>
                  </a:lnTo>
                  <a:lnTo>
                    <a:pt x="427857" y="148054"/>
                  </a:lnTo>
                  <a:lnTo>
                    <a:pt x="442696" y="147624"/>
                  </a:lnTo>
                  <a:lnTo>
                    <a:pt x="444007" y="146661"/>
                  </a:lnTo>
                  <a:lnTo>
                    <a:pt x="445372" y="144840"/>
                  </a:lnTo>
                  <a:lnTo>
                    <a:pt x="447238" y="140164"/>
                  </a:lnTo>
                  <a:lnTo>
                    <a:pt x="448007" y="137682"/>
                  </a:lnTo>
                  <a:lnTo>
                    <a:pt x="448103" y="135674"/>
                  </a:lnTo>
                  <a:lnTo>
                    <a:pt x="447090" y="133820"/>
                  </a:lnTo>
                  <a:lnTo>
                    <a:pt x="446112" y="132943"/>
                  </a:lnTo>
                  <a:lnTo>
                    <a:pt x="445184" y="132391"/>
                  </a:lnTo>
                  <a:lnTo>
                    <a:pt x="437780" y="131146"/>
                  </a:lnTo>
                  <a:lnTo>
                    <a:pt x="437069" y="130806"/>
                  </a:lnTo>
                  <a:lnTo>
                    <a:pt x="436582" y="130236"/>
                  </a:lnTo>
                  <a:lnTo>
                    <a:pt x="436323" y="129401"/>
                  </a:lnTo>
                  <a:lnTo>
                    <a:pt x="436239" y="128129"/>
                  </a:lnTo>
                  <a:lnTo>
                    <a:pt x="436516" y="122784"/>
                  </a:lnTo>
                  <a:lnTo>
                    <a:pt x="436429" y="121674"/>
                  </a:lnTo>
                  <a:lnTo>
                    <a:pt x="435877" y="116297"/>
                  </a:lnTo>
                  <a:lnTo>
                    <a:pt x="435377" y="113744"/>
                  </a:lnTo>
                  <a:lnTo>
                    <a:pt x="434592" y="111659"/>
                  </a:lnTo>
                  <a:lnTo>
                    <a:pt x="434114" y="110733"/>
                  </a:lnTo>
                  <a:lnTo>
                    <a:pt x="431113" y="106265"/>
                  </a:lnTo>
                  <a:lnTo>
                    <a:pt x="430635" y="105338"/>
                  </a:lnTo>
                  <a:lnTo>
                    <a:pt x="430382" y="104211"/>
                  </a:lnTo>
                  <a:lnTo>
                    <a:pt x="430415" y="102673"/>
                  </a:lnTo>
                  <a:lnTo>
                    <a:pt x="430964" y="100201"/>
                  </a:lnTo>
                  <a:lnTo>
                    <a:pt x="431490" y="98809"/>
                  </a:lnTo>
                  <a:lnTo>
                    <a:pt x="432066" y="97682"/>
                  </a:lnTo>
                  <a:lnTo>
                    <a:pt x="433423" y="96159"/>
                  </a:lnTo>
                  <a:lnTo>
                    <a:pt x="452123" y="87216"/>
                  </a:lnTo>
                  <a:lnTo>
                    <a:pt x="466895" y="83667"/>
                  </a:lnTo>
                  <a:lnTo>
                    <a:pt x="472636" y="80793"/>
                  </a:lnTo>
                  <a:lnTo>
                    <a:pt x="474720" y="81499"/>
                  </a:lnTo>
                  <a:lnTo>
                    <a:pt x="477836" y="83064"/>
                  </a:lnTo>
                  <a:lnTo>
                    <a:pt x="484687" y="88532"/>
                  </a:lnTo>
                  <a:lnTo>
                    <a:pt x="489787" y="91288"/>
                  </a:lnTo>
                  <a:lnTo>
                    <a:pt x="490619" y="91127"/>
                  </a:lnTo>
                  <a:lnTo>
                    <a:pt x="492332" y="91039"/>
                  </a:lnTo>
                  <a:lnTo>
                    <a:pt x="493591" y="91595"/>
                  </a:lnTo>
                  <a:lnTo>
                    <a:pt x="494889" y="93037"/>
                  </a:lnTo>
                  <a:lnTo>
                    <a:pt x="496984" y="96209"/>
                  </a:lnTo>
                  <a:lnTo>
                    <a:pt x="497602" y="101690"/>
                  </a:lnTo>
                  <a:lnTo>
                    <a:pt x="497359" y="102854"/>
                  </a:lnTo>
                  <a:lnTo>
                    <a:pt x="497179" y="103633"/>
                  </a:lnTo>
                  <a:lnTo>
                    <a:pt x="496631" y="109386"/>
                  </a:lnTo>
                  <a:lnTo>
                    <a:pt x="496670" y="110245"/>
                  </a:lnTo>
                  <a:lnTo>
                    <a:pt x="496821" y="111046"/>
                  </a:lnTo>
                  <a:lnTo>
                    <a:pt x="498490" y="113455"/>
                  </a:lnTo>
                  <a:lnTo>
                    <a:pt x="505144" y="119297"/>
                  </a:lnTo>
                  <a:lnTo>
                    <a:pt x="518357" y="122193"/>
                  </a:lnTo>
                  <a:lnTo>
                    <a:pt x="521175" y="122227"/>
                  </a:lnTo>
                  <a:lnTo>
                    <a:pt x="522673" y="121912"/>
                  </a:lnTo>
                  <a:lnTo>
                    <a:pt x="535461" y="112113"/>
                  </a:lnTo>
                  <a:lnTo>
                    <a:pt x="537298" y="111301"/>
                  </a:lnTo>
                  <a:lnTo>
                    <a:pt x="541424" y="112361"/>
                  </a:lnTo>
                  <a:lnTo>
                    <a:pt x="542260" y="111902"/>
                  </a:lnTo>
                  <a:lnTo>
                    <a:pt x="543105" y="110941"/>
                  </a:lnTo>
                  <a:lnTo>
                    <a:pt x="543980" y="108147"/>
                  </a:lnTo>
                  <a:lnTo>
                    <a:pt x="544336" y="106675"/>
                  </a:lnTo>
                  <a:lnTo>
                    <a:pt x="544541" y="105407"/>
                  </a:lnTo>
                  <a:lnTo>
                    <a:pt x="544610" y="104610"/>
                  </a:lnTo>
                  <a:lnTo>
                    <a:pt x="544579" y="103101"/>
                  </a:lnTo>
                  <a:lnTo>
                    <a:pt x="544606" y="101507"/>
                  </a:lnTo>
                  <a:lnTo>
                    <a:pt x="544731" y="100623"/>
                  </a:lnTo>
                  <a:lnTo>
                    <a:pt x="545262" y="98591"/>
                  </a:lnTo>
                  <a:lnTo>
                    <a:pt x="545901" y="96667"/>
                  </a:lnTo>
                  <a:lnTo>
                    <a:pt x="546761" y="94774"/>
                  </a:lnTo>
                  <a:lnTo>
                    <a:pt x="548111" y="93289"/>
                  </a:lnTo>
                  <a:lnTo>
                    <a:pt x="549848" y="91720"/>
                  </a:lnTo>
                  <a:lnTo>
                    <a:pt x="556874" y="87401"/>
                  </a:lnTo>
                  <a:lnTo>
                    <a:pt x="560645" y="86309"/>
                  </a:lnTo>
                  <a:lnTo>
                    <a:pt x="563381" y="84343"/>
                  </a:lnTo>
                  <a:lnTo>
                    <a:pt x="567878" y="80334"/>
                  </a:lnTo>
                  <a:lnTo>
                    <a:pt x="572664" y="77721"/>
                  </a:lnTo>
                  <a:lnTo>
                    <a:pt x="573845" y="76318"/>
                  </a:lnTo>
                  <a:lnTo>
                    <a:pt x="575033" y="74417"/>
                  </a:lnTo>
                  <a:lnTo>
                    <a:pt x="576642" y="70243"/>
                  </a:lnTo>
                  <a:lnTo>
                    <a:pt x="578063" y="67488"/>
                  </a:lnTo>
                  <a:lnTo>
                    <a:pt x="579810" y="65062"/>
                  </a:lnTo>
                  <a:lnTo>
                    <a:pt x="583498" y="61896"/>
                  </a:lnTo>
                  <a:lnTo>
                    <a:pt x="585480" y="59634"/>
                  </a:lnTo>
                  <a:lnTo>
                    <a:pt x="587117" y="57132"/>
                  </a:lnTo>
                  <a:lnTo>
                    <a:pt x="588669" y="52958"/>
                  </a:lnTo>
                  <a:lnTo>
                    <a:pt x="589714" y="49382"/>
                  </a:lnTo>
                  <a:lnTo>
                    <a:pt x="589892" y="48514"/>
                  </a:lnTo>
                  <a:lnTo>
                    <a:pt x="590071" y="47615"/>
                  </a:lnTo>
                  <a:lnTo>
                    <a:pt x="591108" y="44631"/>
                  </a:lnTo>
                  <a:lnTo>
                    <a:pt x="591807" y="42038"/>
                  </a:lnTo>
                  <a:lnTo>
                    <a:pt x="592440" y="40245"/>
                  </a:lnTo>
                  <a:lnTo>
                    <a:pt x="593922" y="36899"/>
                  </a:lnTo>
                  <a:lnTo>
                    <a:pt x="594156" y="36001"/>
                  </a:lnTo>
                  <a:lnTo>
                    <a:pt x="594224" y="35114"/>
                  </a:lnTo>
                  <a:lnTo>
                    <a:pt x="594126" y="34242"/>
                  </a:lnTo>
                  <a:lnTo>
                    <a:pt x="593807" y="33498"/>
                  </a:lnTo>
                  <a:lnTo>
                    <a:pt x="593210" y="32897"/>
                  </a:lnTo>
                  <a:lnTo>
                    <a:pt x="588686" y="29712"/>
                  </a:lnTo>
                  <a:lnTo>
                    <a:pt x="587979" y="29095"/>
                  </a:lnTo>
                  <a:lnTo>
                    <a:pt x="586788" y="27777"/>
                  </a:lnTo>
                  <a:lnTo>
                    <a:pt x="586525" y="26974"/>
                  </a:lnTo>
                  <a:lnTo>
                    <a:pt x="587976" y="25668"/>
                  </a:lnTo>
                  <a:lnTo>
                    <a:pt x="591142" y="23823"/>
                  </a:lnTo>
                  <a:lnTo>
                    <a:pt x="616767" y="15708"/>
                  </a:lnTo>
                  <a:lnTo>
                    <a:pt x="619113" y="13227"/>
                  </a:lnTo>
                  <a:lnTo>
                    <a:pt x="624862" y="3287"/>
                  </a:lnTo>
                  <a:lnTo>
                    <a:pt x="627812" y="6194"/>
                  </a:lnTo>
                  <a:lnTo>
                    <a:pt x="634387" y="0"/>
                  </a:lnTo>
                  <a:lnTo>
                    <a:pt x="640104" y="267"/>
                  </a:lnTo>
                  <a:lnTo>
                    <a:pt x="641524" y="1084"/>
                  </a:lnTo>
                  <a:lnTo>
                    <a:pt x="642704" y="3375"/>
                  </a:lnTo>
                  <a:lnTo>
                    <a:pt x="642735" y="5252"/>
                  </a:lnTo>
                  <a:lnTo>
                    <a:pt x="642600" y="7187"/>
                  </a:lnTo>
                  <a:lnTo>
                    <a:pt x="642633" y="8900"/>
                  </a:lnTo>
                  <a:lnTo>
                    <a:pt x="642777" y="10530"/>
                  </a:lnTo>
                  <a:lnTo>
                    <a:pt x="643199" y="11982"/>
                  </a:lnTo>
                  <a:lnTo>
                    <a:pt x="644008" y="13234"/>
                  </a:lnTo>
                  <a:lnTo>
                    <a:pt x="645827" y="14396"/>
                  </a:lnTo>
                  <a:lnTo>
                    <a:pt x="648732" y="15408"/>
                  </a:lnTo>
                  <a:close/>
                </a:path>
              </a:pathLst>
            </a:custGeom>
            <a:solidFill>
              <a:srgbClr val="BFBFBF"/>
            </a:solidFill>
            <a:ln w="6350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Freeform 5">
              <a:extLst>
                <a:ext uri="{FF2B5EF4-FFF2-40B4-BE49-F238E27FC236}">
                  <a16:creationId xmlns:a16="http://schemas.microsoft.com/office/drawing/2014/main" id="{AA17127E-1407-0FC9-5AE1-21F932DC6827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>
            <a:xfrm>
              <a:off x="3910792" y="2528741"/>
              <a:ext cx="167570" cy="341930"/>
            </a:xfrm>
            <a:custGeom>
              <a:avLst/>
              <a:gdLst/>
              <a:ahLst/>
              <a:cxnLst/>
              <a:rect l="l" t="t" r="r" b="b"/>
              <a:pathLst>
                <a:path w="167570" h="341930">
                  <a:moveTo>
                    <a:pt x="7779" y="223546"/>
                  </a:moveTo>
                  <a:lnTo>
                    <a:pt x="11472" y="224470"/>
                  </a:lnTo>
                  <a:lnTo>
                    <a:pt x="21923" y="231658"/>
                  </a:lnTo>
                  <a:lnTo>
                    <a:pt x="23238" y="232135"/>
                  </a:lnTo>
                  <a:lnTo>
                    <a:pt x="23876" y="232123"/>
                  </a:lnTo>
                  <a:lnTo>
                    <a:pt x="30352" y="230248"/>
                  </a:lnTo>
                  <a:lnTo>
                    <a:pt x="32102" y="230323"/>
                  </a:lnTo>
                  <a:lnTo>
                    <a:pt x="41416" y="236570"/>
                  </a:lnTo>
                  <a:lnTo>
                    <a:pt x="61407" y="245337"/>
                  </a:lnTo>
                  <a:lnTo>
                    <a:pt x="66001" y="246556"/>
                  </a:lnTo>
                  <a:lnTo>
                    <a:pt x="69728" y="246261"/>
                  </a:lnTo>
                  <a:lnTo>
                    <a:pt x="70584" y="246045"/>
                  </a:lnTo>
                  <a:lnTo>
                    <a:pt x="70961" y="245816"/>
                  </a:lnTo>
                  <a:lnTo>
                    <a:pt x="71615" y="245153"/>
                  </a:lnTo>
                  <a:lnTo>
                    <a:pt x="72952" y="244816"/>
                  </a:lnTo>
                  <a:lnTo>
                    <a:pt x="80736" y="244482"/>
                  </a:lnTo>
                  <a:lnTo>
                    <a:pt x="84971" y="245185"/>
                  </a:lnTo>
                  <a:lnTo>
                    <a:pt x="85649" y="245689"/>
                  </a:lnTo>
                  <a:lnTo>
                    <a:pt x="86112" y="246365"/>
                  </a:lnTo>
                  <a:lnTo>
                    <a:pt x="86414" y="247095"/>
                  </a:lnTo>
                  <a:lnTo>
                    <a:pt x="86500" y="247926"/>
                  </a:lnTo>
                  <a:lnTo>
                    <a:pt x="86376" y="248719"/>
                  </a:lnTo>
                  <a:lnTo>
                    <a:pt x="86142" y="249630"/>
                  </a:lnTo>
                  <a:lnTo>
                    <a:pt x="86853" y="251037"/>
                  </a:lnTo>
                  <a:lnTo>
                    <a:pt x="88569" y="252643"/>
                  </a:lnTo>
                  <a:lnTo>
                    <a:pt x="96020" y="257646"/>
                  </a:lnTo>
                  <a:lnTo>
                    <a:pt x="97757" y="258410"/>
                  </a:lnTo>
                  <a:lnTo>
                    <a:pt x="107329" y="258300"/>
                  </a:lnTo>
                  <a:lnTo>
                    <a:pt x="111509" y="259250"/>
                  </a:lnTo>
                  <a:lnTo>
                    <a:pt x="112134" y="259796"/>
                  </a:lnTo>
                  <a:lnTo>
                    <a:pt x="117137" y="265167"/>
                  </a:lnTo>
                  <a:lnTo>
                    <a:pt x="123832" y="270278"/>
                  </a:lnTo>
                  <a:lnTo>
                    <a:pt x="135525" y="276482"/>
                  </a:lnTo>
                  <a:lnTo>
                    <a:pt x="138595" y="277256"/>
                  </a:lnTo>
                  <a:lnTo>
                    <a:pt x="140467" y="276778"/>
                  </a:lnTo>
                  <a:lnTo>
                    <a:pt x="141488" y="276328"/>
                  </a:lnTo>
                  <a:lnTo>
                    <a:pt x="142194" y="275603"/>
                  </a:lnTo>
                  <a:lnTo>
                    <a:pt x="142694" y="274638"/>
                  </a:lnTo>
                  <a:lnTo>
                    <a:pt x="143033" y="273714"/>
                  </a:lnTo>
                  <a:lnTo>
                    <a:pt x="143441" y="272023"/>
                  </a:lnTo>
                  <a:lnTo>
                    <a:pt x="144006" y="270409"/>
                  </a:lnTo>
                  <a:lnTo>
                    <a:pt x="145683" y="266542"/>
                  </a:lnTo>
                  <a:lnTo>
                    <a:pt x="146514" y="264993"/>
                  </a:lnTo>
                  <a:lnTo>
                    <a:pt x="147279" y="263990"/>
                  </a:lnTo>
                  <a:lnTo>
                    <a:pt x="148843" y="262958"/>
                  </a:lnTo>
                  <a:lnTo>
                    <a:pt x="149957" y="263083"/>
                  </a:lnTo>
                  <a:lnTo>
                    <a:pt x="151026" y="263668"/>
                  </a:lnTo>
                  <a:lnTo>
                    <a:pt x="154412" y="267047"/>
                  </a:lnTo>
                  <a:lnTo>
                    <a:pt x="162301" y="276634"/>
                  </a:lnTo>
                  <a:lnTo>
                    <a:pt x="163069" y="278098"/>
                  </a:lnTo>
                  <a:lnTo>
                    <a:pt x="162989" y="279427"/>
                  </a:lnTo>
                  <a:lnTo>
                    <a:pt x="161900" y="280675"/>
                  </a:lnTo>
                  <a:lnTo>
                    <a:pt x="157836" y="284259"/>
                  </a:lnTo>
                  <a:lnTo>
                    <a:pt x="157058" y="285825"/>
                  </a:lnTo>
                  <a:lnTo>
                    <a:pt x="156883" y="286605"/>
                  </a:lnTo>
                  <a:lnTo>
                    <a:pt x="158088" y="290116"/>
                  </a:lnTo>
                  <a:lnTo>
                    <a:pt x="166313" y="299296"/>
                  </a:lnTo>
                  <a:lnTo>
                    <a:pt x="167025" y="300966"/>
                  </a:lnTo>
                  <a:lnTo>
                    <a:pt x="167570" y="303014"/>
                  </a:lnTo>
                  <a:lnTo>
                    <a:pt x="166961" y="304156"/>
                  </a:lnTo>
                  <a:lnTo>
                    <a:pt x="164554" y="307344"/>
                  </a:lnTo>
                  <a:lnTo>
                    <a:pt x="163705" y="309767"/>
                  </a:lnTo>
                  <a:lnTo>
                    <a:pt x="162837" y="313207"/>
                  </a:lnTo>
                  <a:lnTo>
                    <a:pt x="162198" y="321056"/>
                  </a:lnTo>
                  <a:lnTo>
                    <a:pt x="161708" y="324194"/>
                  </a:lnTo>
                  <a:lnTo>
                    <a:pt x="161184" y="326357"/>
                  </a:lnTo>
                  <a:lnTo>
                    <a:pt x="155899" y="331954"/>
                  </a:lnTo>
                  <a:lnTo>
                    <a:pt x="143760" y="340380"/>
                  </a:lnTo>
                  <a:lnTo>
                    <a:pt x="140847" y="341930"/>
                  </a:lnTo>
                  <a:lnTo>
                    <a:pt x="124425" y="328488"/>
                  </a:lnTo>
                  <a:lnTo>
                    <a:pt x="124310" y="328855"/>
                  </a:lnTo>
                  <a:lnTo>
                    <a:pt x="124239" y="329697"/>
                  </a:lnTo>
                  <a:lnTo>
                    <a:pt x="124365" y="331265"/>
                  </a:lnTo>
                  <a:lnTo>
                    <a:pt x="124328" y="332935"/>
                  </a:lnTo>
                  <a:lnTo>
                    <a:pt x="123338" y="334317"/>
                  </a:lnTo>
                  <a:lnTo>
                    <a:pt x="121559" y="335195"/>
                  </a:lnTo>
                  <a:lnTo>
                    <a:pt x="116730" y="336510"/>
                  </a:lnTo>
                  <a:lnTo>
                    <a:pt x="113429" y="336244"/>
                  </a:lnTo>
                  <a:lnTo>
                    <a:pt x="110072" y="335328"/>
                  </a:lnTo>
                  <a:lnTo>
                    <a:pt x="93948" y="324474"/>
                  </a:lnTo>
                  <a:lnTo>
                    <a:pt x="92154" y="323695"/>
                  </a:lnTo>
                  <a:lnTo>
                    <a:pt x="90964" y="323668"/>
                  </a:lnTo>
                  <a:lnTo>
                    <a:pt x="87574" y="325037"/>
                  </a:lnTo>
                  <a:lnTo>
                    <a:pt x="74090" y="327120"/>
                  </a:lnTo>
                  <a:lnTo>
                    <a:pt x="69085" y="326070"/>
                  </a:lnTo>
                  <a:lnTo>
                    <a:pt x="68778" y="325530"/>
                  </a:lnTo>
                  <a:lnTo>
                    <a:pt x="68254" y="325149"/>
                  </a:lnTo>
                  <a:lnTo>
                    <a:pt x="68315" y="324825"/>
                  </a:lnTo>
                  <a:lnTo>
                    <a:pt x="68383" y="324235"/>
                  </a:lnTo>
                  <a:lnTo>
                    <a:pt x="68299" y="323302"/>
                  </a:lnTo>
                  <a:lnTo>
                    <a:pt x="68756" y="308726"/>
                  </a:lnTo>
                  <a:lnTo>
                    <a:pt x="68486" y="306679"/>
                  </a:lnTo>
                  <a:lnTo>
                    <a:pt x="67774" y="305272"/>
                  </a:lnTo>
                  <a:lnTo>
                    <a:pt x="65515" y="303933"/>
                  </a:lnTo>
                  <a:lnTo>
                    <a:pt x="52472" y="287818"/>
                  </a:lnTo>
                  <a:lnTo>
                    <a:pt x="47254" y="279355"/>
                  </a:lnTo>
                  <a:lnTo>
                    <a:pt x="46561" y="277269"/>
                  </a:lnTo>
                  <a:lnTo>
                    <a:pt x="45942" y="274356"/>
                  </a:lnTo>
                  <a:lnTo>
                    <a:pt x="45817" y="272965"/>
                  </a:lnTo>
                  <a:lnTo>
                    <a:pt x="45439" y="262565"/>
                  </a:lnTo>
                  <a:lnTo>
                    <a:pt x="40799" y="252562"/>
                  </a:lnTo>
                  <a:lnTo>
                    <a:pt x="38721" y="250678"/>
                  </a:lnTo>
                  <a:lnTo>
                    <a:pt x="31232" y="251109"/>
                  </a:lnTo>
                  <a:lnTo>
                    <a:pt x="27419" y="250554"/>
                  </a:lnTo>
                  <a:lnTo>
                    <a:pt x="19474" y="244736"/>
                  </a:lnTo>
                  <a:lnTo>
                    <a:pt x="5431" y="238561"/>
                  </a:lnTo>
                  <a:lnTo>
                    <a:pt x="2720" y="232015"/>
                  </a:lnTo>
                  <a:lnTo>
                    <a:pt x="1715" y="228558"/>
                  </a:lnTo>
                  <a:lnTo>
                    <a:pt x="0" y="224523"/>
                  </a:lnTo>
                  <a:close/>
                  <a:moveTo>
                    <a:pt x="11834" y="0"/>
                  </a:moveTo>
                  <a:lnTo>
                    <a:pt x="11960" y="51"/>
                  </a:lnTo>
                  <a:lnTo>
                    <a:pt x="28433" y="6629"/>
                  </a:lnTo>
                  <a:lnTo>
                    <a:pt x="35814" y="8147"/>
                  </a:lnTo>
                  <a:lnTo>
                    <a:pt x="49734" y="7892"/>
                  </a:lnTo>
                  <a:lnTo>
                    <a:pt x="51612" y="8530"/>
                  </a:lnTo>
                  <a:lnTo>
                    <a:pt x="51900" y="9659"/>
                  </a:lnTo>
                  <a:lnTo>
                    <a:pt x="50652" y="11136"/>
                  </a:lnTo>
                  <a:lnTo>
                    <a:pt x="49615" y="12574"/>
                  </a:lnTo>
                  <a:lnTo>
                    <a:pt x="48786" y="14163"/>
                  </a:lnTo>
                  <a:lnTo>
                    <a:pt x="48328" y="15586"/>
                  </a:lnTo>
                  <a:lnTo>
                    <a:pt x="47746" y="17788"/>
                  </a:lnTo>
                  <a:lnTo>
                    <a:pt x="47985" y="20853"/>
                  </a:lnTo>
                  <a:lnTo>
                    <a:pt x="48752" y="23829"/>
                  </a:lnTo>
                  <a:lnTo>
                    <a:pt x="51299" y="29360"/>
                  </a:lnTo>
                  <a:lnTo>
                    <a:pt x="52452" y="33763"/>
                  </a:lnTo>
                  <a:lnTo>
                    <a:pt x="54422" y="45574"/>
                  </a:lnTo>
                  <a:lnTo>
                    <a:pt x="54580" y="49820"/>
                  </a:lnTo>
                  <a:lnTo>
                    <a:pt x="54222" y="53581"/>
                  </a:lnTo>
                  <a:lnTo>
                    <a:pt x="53723" y="56672"/>
                  </a:lnTo>
                  <a:lnTo>
                    <a:pt x="53149" y="58506"/>
                  </a:lnTo>
                  <a:lnTo>
                    <a:pt x="47670" y="66631"/>
                  </a:lnTo>
                  <a:lnTo>
                    <a:pt x="40433" y="73159"/>
                  </a:lnTo>
                  <a:lnTo>
                    <a:pt x="39828" y="73410"/>
                  </a:lnTo>
                  <a:lnTo>
                    <a:pt x="39297" y="73558"/>
                  </a:lnTo>
                  <a:lnTo>
                    <a:pt x="38624" y="73055"/>
                  </a:lnTo>
                  <a:lnTo>
                    <a:pt x="37803" y="72118"/>
                  </a:lnTo>
                  <a:lnTo>
                    <a:pt x="35654" y="67496"/>
                  </a:lnTo>
                  <a:lnTo>
                    <a:pt x="35497" y="67403"/>
                  </a:lnTo>
                  <a:lnTo>
                    <a:pt x="35340" y="67386"/>
                  </a:lnTo>
                  <a:lnTo>
                    <a:pt x="34707" y="67383"/>
                  </a:lnTo>
                  <a:lnTo>
                    <a:pt x="32212" y="67941"/>
                  </a:lnTo>
                  <a:lnTo>
                    <a:pt x="30458" y="66404"/>
                  </a:lnTo>
                  <a:lnTo>
                    <a:pt x="26553" y="58381"/>
                  </a:lnTo>
                  <a:lnTo>
                    <a:pt x="25358" y="55926"/>
                  </a:lnTo>
                  <a:lnTo>
                    <a:pt x="28668" y="40704"/>
                  </a:lnTo>
                  <a:lnTo>
                    <a:pt x="27056" y="37800"/>
                  </a:lnTo>
                  <a:lnTo>
                    <a:pt x="18940" y="15247"/>
                  </a:lnTo>
                  <a:lnTo>
                    <a:pt x="16433" y="11829"/>
                  </a:lnTo>
                  <a:lnTo>
                    <a:pt x="13106" y="3992"/>
                  </a:lnTo>
                  <a:close/>
                </a:path>
              </a:pathLst>
            </a:custGeom>
            <a:solidFill>
              <a:srgbClr val="BFBFBF"/>
            </a:solidFill>
            <a:ln w="6350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Freeform 7">
              <a:extLst>
                <a:ext uri="{FF2B5EF4-FFF2-40B4-BE49-F238E27FC236}">
                  <a16:creationId xmlns:a16="http://schemas.microsoft.com/office/drawing/2014/main" id="{A9EB7442-2AED-5526-4E04-60C1D7C534E6}"/>
                </a:ext>
              </a:extLst>
            </p:cNvPr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>
              <a:off x="3266309" y="2372528"/>
              <a:ext cx="1702549" cy="1494066"/>
            </a:xfrm>
            <a:custGeom>
              <a:avLst/>
              <a:gdLst/>
              <a:ahLst/>
              <a:cxnLst/>
              <a:rect l="l" t="t" r="r" b="b"/>
              <a:pathLst>
                <a:path w="1702549" h="1494066">
                  <a:moveTo>
                    <a:pt x="652262" y="379759"/>
                  </a:moveTo>
                  <a:lnTo>
                    <a:pt x="644483" y="380736"/>
                  </a:lnTo>
                  <a:lnTo>
                    <a:pt x="646198" y="384771"/>
                  </a:lnTo>
                  <a:lnTo>
                    <a:pt x="647203" y="388228"/>
                  </a:lnTo>
                  <a:lnTo>
                    <a:pt x="649914" y="394774"/>
                  </a:lnTo>
                  <a:lnTo>
                    <a:pt x="663957" y="400949"/>
                  </a:lnTo>
                  <a:lnTo>
                    <a:pt x="671902" y="406767"/>
                  </a:lnTo>
                  <a:lnTo>
                    <a:pt x="675715" y="407322"/>
                  </a:lnTo>
                  <a:lnTo>
                    <a:pt x="683204" y="406891"/>
                  </a:lnTo>
                  <a:lnTo>
                    <a:pt x="685282" y="408775"/>
                  </a:lnTo>
                  <a:lnTo>
                    <a:pt x="689922" y="418778"/>
                  </a:lnTo>
                  <a:lnTo>
                    <a:pt x="690300" y="429178"/>
                  </a:lnTo>
                  <a:lnTo>
                    <a:pt x="690425" y="430569"/>
                  </a:lnTo>
                  <a:lnTo>
                    <a:pt x="691044" y="433482"/>
                  </a:lnTo>
                  <a:lnTo>
                    <a:pt x="691737" y="435568"/>
                  </a:lnTo>
                  <a:lnTo>
                    <a:pt x="696955" y="444031"/>
                  </a:lnTo>
                  <a:lnTo>
                    <a:pt x="709998" y="460146"/>
                  </a:lnTo>
                  <a:lnTo>
                    <a:pt x="712257" y="461485"/>
                  </a:lnTo>
                  <a:lnTo>
                    <a:pt x="712969" y="462892"/>
                  </a:lnTo>
                  <a:lnTo>
                    <a:pt x="713239" y="464939"/>
                  </a:lnTo>
                  <a:lnTo>
                    <a:pt x="712782" y="479515"/>
                  </a:lnTo>
                  <a:lnTo>
                    <a:pt x="712866" y="480448"/>
                  </a:lnTo>
                  <a:lnTo>
                    <a:pt x="712798" y="481038"/>
                  </a:lnTo>
                  <a:lnTo>
                    <a:pt x="712737" y="481362"/>
                  </a:lnTo>
                  <a:lnTo>
                    <a:pt x="713261" y="481743"/>
                  </a:lnTo>
                  <a:lnTo>
                    <a:pt x="713568" y="482283"/>
                  </a:lnTo>
                  <a:lnTo>
                    <a:pt x="718573" y="483333"/>
                  </a:lnTo>
                  <a:lnTo>
                    <a:pt x="732057" y="481250"/>
                  </a:lnTo>
                  <a:lnTo>
                    <a:pt x="735447" y="479881"/>
                  </a:lnTo>
                  <a:lnTo>
                    <a:pt x="736637" y="479908"/>
                  </a:lnTo>
                  <a:lnTo>
                    <a:pt x="738431" y="480687"/>
                  </a:lnTo>
                  <a:lnTo>
                    <a:pt x="754555" y="491541"/>
                  </a:lnTo>
                  <a:lnTo>
                    <a:pt x="757912" y="492457"/>
                  </a:lnTo>
                  <a:lnTo>
                    <a:pt x="761213" y="492723"/>
                  </a:lnTo>
                  <a:lnTo>
                    <a:pt x="766042" y="491408"/>
                  </a:lnTo>
                  <a:lnTo>
                    <a:pt x="767821" y="490530"/>
                  </a:lnTo>
                  <a:lnTo>
                    <a:pt x="768811" y="489148"/>
                  </a:lnTo>
                  <a:lnTo>
                    <a:pt x="768848" y="487478"/>
                  </a:lnTo>
                  <a:lnTo>
                    <a:pt x="768722" y="485910"/>
                  </a:lnTo>
                  <a:lnTo>
                    <a:pt x="768793" y="485068"/>
                  </a:lnTo>
                  <a:lnTo>
                    <a:pt x="768908" y="484701"/>
                  </a:lnTo>
                  <a:lnTo>
                    <a:pt x="785330" y="498143"/>
                  </a:lnTo>
                  <a:lnTo>
                    <a:pt x="788243" y="496593"/>
                  </a:lnTo>
                  <a:lnTo>
                    <a:pt x="800382" y="488167"/>
                  </a:lnTo>
                  <a:lnTo>
                    <a:pt x="805667" y="482570"/>
                  </a:lnTo>
                  <a:lnTo>
                    <a:pt x="806191" y="480407"/>
                  </a:lnTo>
                  <a:lnTo>
                    <a:pt x="806681" y="477269"/>
                  </a:lnTo>
                  <a:lnTo>
                    <a:pt x="807320" y="469420"/>
                  </a:lnTo>
                  <a:lnTo>
                    <a:pt x="808188" y="465980"/>
                  </a:lnTo>
                  <a:lnTo>
                    <a:pt x="809037" y="463557"/>
                  </a:lnTo>
                  <a:lnTo>
                    <a:pt x="811444" y="460369"/>
                  </a:lnTo>
                  <a:lnTo>
                    <a:pt x="812053" y="459227"/>
                  </a:lnTo>
                  <a:lnTo>
                    <a:pt x="811508" y="457179"/>
                  </a:lnTo>
                  <a:lnTo>
                    <a:pt x="810796" y="455509"/>
                  </a:lnTo>
                  <a:lnTo>
                    <a:pt x="802571" y="446329"/>
                  </a:lnTo>
                  <a:lnTo>
                    <a:pt x="801366" y="442818"/>
                  </a:lnTo>
                  <a:lnTo>
                    <a:pt x="801541" y="442038"/>
                  </a:lnTo>
                  <a:lnTo>
                    <a:pt x="802319" y="440472"/>
                  </a:lnTo>
                  <a:lnTo>
                    <a:pt x="806383" y="436888"/>
                  </a:lnTo>
                  <a:lnTo>
                    <a:pt x="807472" y="435640"/>
                  </a:lnTo>
                  <a:lnTo>
                    <a:pt x="807552" y="434311"/>
                  </a:lnTo>
                  <a:lnTo>
                    <a:pt x="806784" y="432847"/>
                  </a:lnTo>
                  <a:lnTo>
                    <a:pt x="798895" y="423260"/>
                  </a:lnTo>
                  <a:lnTo>
                    <a:pt x="795509" y="419881"/>
                  </a:lnTo>
                  <a:lnTo>
                    <a:pt x="794440" y="419296"/>
                  </a:lnTo>
                  <a:lnTo>
                    <a:pt x="793326" y="419171"/>
                  </a:lnTo>
                  <a:lnTo>
                    <a:pt x="791762" y="420203"/>
                  </a:lnTo>
                  <a:lnTo>
                    <a:pt x="790997" y="421206"/>
                  </a:lnTo>
                  <a:lnTo>
                    <a:pt x="790166" y="422755"/>
                  </a:lnTo>
                  <a:lnTo>
                    <a:pt x="788489" y="426622"/>
                  </a:lnTo>
                  <a:lnTo>
                    <a:pt x="787924" y="428236"/>
                  </a:lnTo>
                  <a:lnTo>
                    <a:pt x="787516" y="429927"/>
                  </a:lnTo>
                  <a:lnTo>
                    <a:pt x="787177" y="430851"/>
                  </a:lnTo>
                  <a:lnTo>
                    <a:pt x="786677" y="431816"/>
                  </a:lnTo>
                  <a:lnTo>
                    <a:pt x="785971" y="432541"/>
                  </a:lnTo>
                  <a:lnTo>
                    <a:pt x="784950" y="432991"/>
                  </a:lnTo>
                  <a:lnTo>
                    <a:pt x="783078" y="433469"/>
                  </a:lnTo>
                  <a:lnTo>
                    <a:pt x="780008" y="432695"/>
                  </a:lnTo>
                  <a:lnTo>
                    <a:pt x="768315" y="426491"/>
                  </a:lnTo>
                  <a:lnTo>
                    <a:pt x="761620" y="421380"/>
                  </a:lnTo>
                  <a:lnTo>
                    <a:pt x="756617" y="416009"/>
                  </a:lnTo>
                  <a:lnTo>
                    <a:pt x="755992" y="415463"/>
                  </a:lnTo>
                  <a:lnTo>
                    <a:pt x="751812" y="414513"/>
                  </a:lnTo>
                  <a:lnTo>
                    <a:pt x="742240" y="414623"/>
                  </a:lnTo>
                  <a:lnTo>
                    <a:pt x="740503" y="413859"/>
                  </a:lnTo>
                  <a:lnTo>
                    <a:pt x="733052" y="408856"/>
                  </a:lnTo>
                  <a:lnTo>
                    <a:pt x="731336" y="407250"/>
                  </a:lnTo>
                  <a:lnTo>
                    <a:pt x="730625" y="405843"/>
                  </a:lnTo>
                  <a:lnTo>
                    <a:pt x="730859" y="404932"/>
                  </a:lnTo>
                  <a:lnTo>
                    <a:pt x="730983" y="404139"/>
                  </a:lnTo>
                  <a:lnTo>
                    <a:pt x="730897" y="403308"/>
                  </a:lnTo>
                  <a:lnTo>
                    <a:pt x="730595" y="402578"/>
                  </a:lnTo>
                  <a:lnTo>
                    <a:pt x="730132" y="401902"/>
                  </a:lnTo>
                  <a:lnTo>
                    <a:pt x="729454" y="401398"/>
                  </a:lnTo>
                  <a:lnTo>
                    <a:pt x="725219" y="400695"/>
                  </a:lnTo>
                  <a:lnTo>
                    <a:pt x="717435" y="401029"/>
                  </a:lnTo>
                  <a:lnTo>
                    <a:pt x="716098" y="401366"/>
                  </a:lnTo>
                  <a:lnTo>
                    <a:pt x="715444" y="402029"/>
                  </a:lnTo>
                  <a:lnTo>
                    <a:pt x="715067" y="402258"/>
                  </a:lnTo>
                  <a:lnTo>
                    <a:pt x="714211" y="402474"/>
                  </a:lnTo>
                  <a:lnTo>
                    <a:pt x="710484" y="402769"/>
                  </a:lnTo>
                  <a:lnTo>
                    <a:pt x="705890" y="401550"/>
                  </a:lnTo>
                  <a:lnTo>
                    <a:pt x="685899" y="392783"/>
                  </a:lnTo>
                  <a:lnTo>
                    <a:pt x="676585" y="386536"/>
                  </a:lnTo>
                  <a:lnTo>
                    <a:pt x="674835" y="386461"/>
                  </a:lnTo>
                  <a:lnTo>
                    <a:pt x="668359" y="388336"/>
                  </a:lnTo>
                  <a:lnTo>
                    <a:pt x="667721" y="388348"/>
                  </a:lnTo>
                  <a:lnTo>
                    <a:pt x="666406" y="387871"/>
                  </a:lnTo>
                  <a:lnTo>
                    <a:pt x="655955" y="380683"/>
                  </a:lnTo>
                  <a:close/>
                  <a:moveTo>
                    <a:pt x="70464" y="132098"/>
                  </a:moveTo>
                  <a:lnTo>
                    <a:pt x="74560" y="141250"/>
                  </a:lnTo>
                  <a:lnTo>
                    <a:pt x="66891" y="141984"/>
                  </a:lnTo>
                  <a:lnTo>
                    <a:pt x="54848" y="146548"/>
                  </a:lnTo>
                  <a:lnTo>
                    <a:pt x="48506" y="147763"/>
                  </a:lnTo>
                  <a:lnTo>
                    <a:pt x="48324" y="151273"/>
                  </a:lnTo>
                  <a:lnTo>
                    <a:pt x="52027" y="152954"/>
                  </a:lnTo>
                  <a:lnTo>
                    <a:pt x="54844" y="155194"/>
                  </a:lnTo>
                  <a:lnTo>
                    <a:pt x="57153" y="158712"/>
                  </a:lnTo>
                  <a:lnTo>
                    <a:pt x="59248" y="164270"/>
                  </a:lnTo>
                  <a:lnTo>
                    <a:pt x="56302" y="162349"/>
                  </a:lnTo>
                  <a:lnTo>
                    <a:pt x="52184" y="156876"/>
                  </a:lnTo>
                  <a:lnTo>
                    <a:pt x="49344" y="155613"/>
                  </a:lnTo>
                  <a:lnTo>
                    <a:pt x="45890" y="156042"/>
                  </a:lnTo>
                  <a:lnTo>
                    <a:pt x="40729" y="158434"/>
                  </a:lnTo>
                  <a:lnTo>
                    <a:pt x="38625" y="158979"/>
                  </a:lnTo>
                  <a:lnTo>
                    <a:pt x="32685" y="155619"/>
                  </a:lnTo>
                  <a:lnTo>
                    <a:pt x="28374" y="148686"/>
                  </a:lnTo>
                  <a:lnTo>
                    <a:pt x="27431" y="141904"/>
                  </a:lnTo>
                  <a:lnTo>
                    <a:pt x="31535" y="139063"/>
                  </a:lnTo>
                  <a:lnTo>
                    <a:pt x="57759" y="132436"/>
                  </a:lnTo>
                  <a:close/>
                  <a:moveTo>
                    <a:pt x="161366" y="94069"/>
                  </a:moveTo>
                  <a:lnTo>
                    <a:pt x="174168" y="98763"/>
                  </a:lnTo>
                  <a:lnTo>
                    <a:pt x="102153" y="103497"/>
                  </a:lnTo>
                  <a:lnTo>
                    <a:pt x="114990" y="97878"/>
                  </a:lnTo>
                  <a:close/>
                  <a:moveTo>
                    <a:pt x="536217" y="82919"/>
                  </a:moveTo>
                  <a:lnTo>
                    <a:pt x="543773" y="84387"/>
                  </a:lnTo>
                  <a:lnTo>
                    <a:pt x="550767" y="89771"/>
                  </a:lnTo>
                  <a:lnTo>
                    <a:pt x="545922" y="89622"/>
                  </a:lnTo>
                  <a:lnTo>
                    <a:pt x="542520" y="90891"/>
                  </a:lnTo>
                  <a:lnTo>
                    <a:pt x="536958" y="95977"/>
                  </a:lnTo>
                  <a:lnTo>
                    <a:pt x="535268" y="97111"/>
                  </a:lnTo>
                  <a:lnTo>
                    <a:pt x="532374" y="96252"/>
                  </a:lnTo>
                  <a:lnTo>
                    <a:pt x="530544" y="94867"/>
                  </a:lnTo>
                  <a:lnTo>
                    <a:pt x="528516" y="94524"/>
                  </a:lnTo>
                  <a:lnTo>
                    <a:pt x="524860" y="96782"/>
                  </a:lnTo>
                  <a:lnTo>
                    <a:pt x="524986" y="92875"/>
                  </a:lnTo>
                  <a:lnTo>
                    <a:pt x="529463" y="85639"/>
                  </a:lnTo>
                  <a:close/>
                  <a:moveTo>
                    <a:pt x="225148" y="76762"/>
                  </a:moveTo>
                  <a:lnTo>
                    <a:pt x="263406" y="79254"/>
                  </a:lnTo>
                  <a:lnTo>
                    <a:pt x="263453" y="81981"/>
                  </a:lnTo>
                  <a:lnTo>
                    <a:pt x="262875" y="82610"/>
                  </a:lnTo>
                  <a:lnTo>
                    <a:pt x="261941" y="82546"/>
                  </a:lnTo>
                  <a:lnTo>
                    <a:pt x="245923" y="88218"/>
                  </a:lnTo>
                  <a:lnTo>
                    <a:pt x="204363" y="91889"/>
                  </a:lnTo>
                  <a:lnTo>
                    <a:pt x="190859" y="87458"/>
                  </a:lnTo>
                  <a:lnTo>
                    <a:pt x="206769" y="79021"/>
                  </a:lnTo>
                  <a:close/>
                  <a:moveTo>
                    <a:pt x="282987" y="75071"/>
                  </a:moveTo>
                  <a:lnTo>
                    <a:pt x="289391" y="76780"/>
                  </a:lnTo>
                  <a:lnTo>
                    <a:pt x="293616" y="80518"/>
                  </a:lnTo>
                  <a:lnTo>
                    <a:pt x="292449" y="82705"/>
                  </a:lnTo>
                  <a:lnTo>
                    <a:pt x="291283" y="83565"/>
                  </a:lnTo>
                  <a:lnTo>
                    <a:pt x="288609" y="84223"/>
                  </a:lnTo>
                  <a:lnTo>
                    <a:pt x="275249" y="79453"/>
                  </a:lnTo>
                  <a:lnTo>
                    <a:pt x="270284" y="79545"/>
                  </a:lnTo>
                  <a:lnTo>
                    <a:pt x="276037" y="75853"/>
                  </a:lnTo>
                  <a:close/>
                  <a:moveTo>
                    <a:pt x="311793" y="62118"/>
                  </a:moveTo>
                  <a:lnTo>
                    <a:pt x="322091" y="62138"/>
                  </a:lnTo>
                  <a:lnTo>
                    <a:pt x="352236" y="63049"/>
                  </a:lnTo>
                  <a:lnTo>
                    <a:pt x="358863" y="67497"/>
                  </a:lnTo>
                  <a:lnTo>
                    <a:pt x="358930" y="69990"/>
                  </a:lnTo>
                  <a:lnTo>
                    <a:pt x="358413" y="70529"/>
                  </a:lnTo>
                  <a:lnTo>
                    <a:pt x="357589" y="70475"/>
                  </a:lnTo>
                  <a:lnTo>
                    <a:pt x="356661" y="70950"/>
                  </a:lnTo>
                  <a:lnTo>
                    <a:pt x="332050" y="69218"/>
                  </a:lnTo>
                  <a:lnTo>
                    <a:pt x="320522" y="71576"/>
                  </a:lnTo>
                  <a:lnTo>
                    <a:pt x="319204" y="81559"/>
                  </a:lnTo>
                  <a:lnTo>
                    <a:pt x="309279" y="81647"/>
                  </a:lnTo>
                  <a:lnTo>
                    <a:pt x="306365" y="78804"/>
                  </a:lnTo>
                  <a:lnTo>
                    <a:pt x="305528" y="71064"/>
                  </a:lnTo>
                  <a:lnTo>
                    <a:pt x="307505" y="64577"/>
                  </a:lnTo>
                  <a:close/>
                  <a:moveTo>
                    <a:pt x="393860" y="50917"/>
                  </a:moveTo>
                  <a:lnTo>
                    <a:pt x="422342" y="53915"/>
                  </a:lnTo>
                  <a:lnTo>
                    <a:pt x="422200" y="57800"/>
                  </a:lnTo>
                  <a:lnTo>
                    <a:pt x="417389" y="57626"/>
                  </a:lnTo>
                  <a:lnTo>
                    <a:pt x="409652" y="62140"/>
                  </a:lnTo>
                  <a:lnTo>
                    <a:pt x="400043" y="65814"/>
                  </a:lnTo>
                  <a:lnTo>
                    <a:pt x="390314" y="66036"/>
                  </a:lnTo>
                  <a:lnTo>
                    <a:pt x="382247" y="60239"/>
                  </a:lnTo>
                  <a:lnTo>
                    <a:pt x="378999" y="64539"/>
                  </a:lnTo>
                  <a:lnTo>
                    <a:pt x="375941" y="66707"/>
                  </a:lnTo>
                  <a:lnTo>
                    <a:pt x="373083" y="66550"/>
                  </a:lnTo>
                  <a:lnTo>
                    <a:pt x="370564" y="64034"/>
                  </a:lnTo>
                  <a:lnTo>
                    <a:pt x="379558" y="53572"/>
                  </a:lnTo>
                  <a:close/>
                  <a:moveTo>
                    <a:pt x="451249" y="47421"/>
                  </a:moveTo>
                  <a:lnTo>
                    <a:pt x="456780" y="48148"/>
                  </a:lnTo>
                  <a:lnTo>
                    <a:pt x="461753" y="49926"/>
                  </a:lnTo>
                  <a:lnTo>
                    <a:pt x="470548" y="55744"/>
                  </a:lnTo>
                  <a:lnTo>
                    <a:pt x="467353" y="55007"/>
                  </a:lnTo>
                  <a:lnTo>
                    <a:pt x="463708" y="55371"/>
                  </a:lnTo>
                  <a:lnTo>
                    <a:pt x="449616" y="51554"/>
                  </a:lnTo>
                  <a:lnTo>
                    <a:pt x="443531" y="51666"/>
                  </a:lnTo>
                  <a:lnTo>
                    <a:pt x="442790" y="58533"/>
                  </a:lnTo>
                  <a:lnTo>
                    <a:pt x="436444" y="53605"/>
                  </a:lnTo>
                  <a:lnTo>
                    <a:pt x="438059" y="50030"/>
                  </a:lnTo>
                  <a:lnTo>
                    <a:pt x="444158" y="47987"/>
                  </a:lnTo>
                  <a:close/>
                  <a:moveTo>
                    <a:pt x="707331" y="0"/>
                  </a:moveTo>
                  <a:lnTo>
                    <a:pt x="714339" y="684"/>
                  </a:lnTo>
                  <a:lnTo>
                    <a:pt x="718300" y="2546"/>
                  </a:lnTo>
                  <a:lnTo>
                    <a:pt x="726355" y="12188"/>
                  </a:lnTo>
                  <a:lnTo>
                    <a:pt x="738077" y="22656"/>
                  </a:lnTo>
                  <a:lnTo>
                    <a:pt x="750687" y="29624"/>
                  </a:lnTo>
                  <a:lnTo>
                    <a:pt x="776931" y="36768"/>
                  </a:lnTo>
                  <a:lnTo>
                    <a:pt x="791415" y="36658"/>
                  </a:lnTo>
                  <a:lnTo>
                    <a:pt x="816068" y="31046"/>
                  </a:lnTo>
                  <a:lnTo>
                    <a:pt x="829557" y="32406"/>
                  </a:lnTo>
                  <a:lnTo>
                    <a:pt x="836020" y="25061"/>
                  </a:lnTo>
                  <a:lnTo>
                    <a:pt x="862965" y="18958"/>
                  </a:lnTo>
                  <a:lnTo>
                    <a:pt x="889639" y="19683"/>
                  </a:lnTo>
                  <a:lnTo>
                    <a:pt x="895475" y="15618"/>
                  </a:lnTo>
                  <a:lnTo>
                    <a:pt x="899999" y="19160"/>
                  </a:lnTo>
                  <a:lnTo>
                    <a:pt x="905526" y="20252"/>
                  </a:lnTo>
                  <a:lnTo>
                    <a:pt x="916981" y="19879"/>
                  </a:lnTo>
                  <a:lnTo>
                    <a:pt x="919886" y="21926"/>
                  </a:lnTo>
                  <a:lnTo>
                    <a:pt x="927143" y="31812"/>
                  </a:lnTo>
                  <a:lnTo>
                    <a:pt x="959144" y="90690"/>
                  </a:lnTo>
                  <a:lnTo>
                    <a:pt x="972520" y="106952"/>
                  </a:lnTo>
                  <a:lnTo>
                    <a:pt x="981918" y="114896"/>
                  </a:lnTo>
                  <a:lnTo>
                    <a:pt x="986495" y="120984"/>
                  </a:lnTo>
                  <a:lnTo>
                    <a:pt x="990899" y="138328"/>
                  </a:lnTo>
                  <a:lnTo>
                    <a:pt x="1013762" y="173071"/>
                  </a:lnTo>
                  <a:lnTo>
                    <a:pt x="1018898" y="177879"/>
                  </a:lnTo>
                  <a:lnTo>
                    <a:pt x="1025164" y="180789"/>
                  </a:lnTo>
                  <a:lnTo>
                    <a:pt x="1033249" y="181858"/>
                  </a:lnTo>
                  <a:lnTo>
                    <a:pt x="1037453" y="183974"/>
                  </a:lnTo>
                  <a:lnTo>
                    <a:pt x="1057483" y="198124"/>
                  </a:lnTo>
                  <a:lnTo>
                    <a:pt x="1080318" y="203461"/>
                  </a:lnTo>
                  <a:lnTo>
                    <a:pt x="1080547" y="205703"/>
                  </a:lnTo>
                  <a:lnTo>
                    <a:pt x="1081621" y="226073"/>
                  </a:lnTo>
                  <a:lnTo>
                    <a:pt x="1084597" y="229439"/>
                  </a:lnTo>
                  <a:lnTo>
                    <a:pt x="1085288" y="230715"/>
                  </a:lnTo>
                  <a:lnTo>
                    <a:pt x="1085745" y="232730"/>
                  </a:lnTo>
                  <a:lnTo>
                    <a:pt x="1086313" y="234035"/>
                  </a:lnTo>
                  <a:lnTo>
                    <a:pt x="1087253" y="235106"/>
                  </a:lnTo>
                  <a:lnTo>
                    <a:pt x="1089350" y="236632"/>
                  </a:lnTo>
                  <a:lnTo>
                    <a:pt x="1090131" y="237790"/>
                  </a:lnTo>
                  <a:lnTo>
                    <a:pt x="1090904" y="239808"/>
                  </a:lnTo>
                  <a:lnTo>
                    <a:pt x="1092441" y="244991"/>
                  </a:lnTo>
                  <a:lnTo>
                    <a:pt x="1093783" y="248460"/>
                  </a:lnTo>
                  <a:lnTo>
                    <a:pt x="1095755" y="252378"/>
                  </a:lnTo>
                  <a:lnTo>
                    <a:pt x="1097787" y="255499"/>
                  </a:lnTo>
                  <a:lnTo>
                    <a:pt x="1100400" y="258682"/>
                  </a:lnTo>
                  <a:lnTo>
                    <a:pt x="1111474" y="269382"/>
                  </a:lnTo>
                  <a:lnTo>
                    <a:pt x="1112845" y="269746"/>
                  </a:lnTo>
                  <a:lnTo>
                    <a:pt x="1114171" y="269091"/>
                  </a:lnTo>
                  <a:lnTo>
                    <a:pt x="1118448" y="262624"/>
                  </a:lnTo>
                  <a:lnTo>
                    <a:pt x="1120254" y="261235"/>
                  </a:lnTo>
                  <a:lnTo>
                    <a:pt x="1123008" y="260220"/>
                  </a:lnTo>
                  <a:lnTo>
                    <a:pt x="1124661" y="260455"/>
                  </a:lnTo>
                  <a:lnTo>
                    <a:pt x="1126131" y="261633"/>
                  </a:lnTo>
                  <a:lnTo>
                    <a:pt x="1127957" y="264719"/>
                  </a:lnTo>
                  <a:lnTo>
                    <a:pt x="1128811" y="270694"/>
                  </a:lnTo>
                  <a:lnTo>
                    <a:pt x="1128983" y="275984"/>
                  </a:lnTo>
                  <a:lnTo>
                    <a:pt x="1129180" y="277966"/>
                  </a:lnTo>
                  <a:lnTo>
                    <a:pt x="1130385" y="279393"/>
                  </a:lnTo>
                  <a:lnTo>
                    <a:pt x="1132446" y="279408"/>
                  </a:lnTo>
                  <a:lnTo>
                    <a:pt x="1139236" y="275865"/>
                  </a:lnTo>
                  <a:lnTo>
                    <a:pt x="1141353" y="275334"/>
                  </a:lnTo>
                  <a:lnTo>
                    <a:pt x="1143059" y="275816"/>
                  </a:lnTo>
                  <a:lnTo>
                    <a:pt x="1149319" y="280172"/>
                  </a:lnTo>
                  <a:lnTo>
                    <a:pt x="1151643" y="280424"/>
                  </a:lnTo>
                  <a:lnTo>
                    <a:pt x="1155082" y="279868"/>
                  </a:lnTo>
                  <a:lnTo>
                    <a:pt x="1163948" y="276243"/>
                  </a:lnTo>
                  <a:lnTo>
                    <a:pt x="1169622" y="272847"/>
                  </a:lnTo>
                  <a:lnTo>
                    <a:pt x="1170473" y="271877"/>
                  </a:lnTo>
                  <a:lnTo>
                    <a:pt x="1170637" y="270757"/>
                  </a:lnTo>
                  <a:lnTo>
                    <a:pt x="1170591" y="269661"/>
                  </a:lnTo>
                  <a:lnTo>
                    <a:pt x="1170384" y="268834"/>
                  </a:lnTo>
                  <a:lnTo>
                    <a:pt x="1170233" y="267622"/>
                  </a:lnTo>
                  <a:lnTo>
                    <a:pt x="1170185" y="266616"/>
                  </a:lnTo>
                  <a:lnTo>
                    <a:pt x="1171197" y="265145"/>
                  </a:lnTo>
                  <a:lnTo>
                    <a:pt x="1173370" y="263945"/>
                  </a:lnTo>
                  <a:lnTo>
                    <a:pt x="1186085" y="259816"/>
                  </a:lnTo>
                  <a:lnTo>
                    <a:pt x="1188515" y="259562"/>
                  </a:lnTo>
                  <a:lnTo>
                    <a:pt x="1193924" y="266118"/>
                  </a:lnTo>
                  <a:lnTo>
                    <a:pt x="1198029" y="269328"/>
                  </a:lnTo>
                  <a:lnTo>
                    <a:pt x="1204907" y="271249"/>
                  </a:lnTo>
                  <a:lnTo>
                    <a:pt x="1208868" y="275785"/>
                  </a:lnTo>
                  <a:lnTo>
                    <a:pt x="1212424" y="280970"/>
                  </a:lnTo>
                  <a:lnTo>
                    <a:pt x="1217958" y="285009"/>
                  </a:lnTo>
                  <a:lnTo>
                    <a:pt x="1223646" y="286301"/>
                  </a:lnTo>
                  <a:lnTo>
                    <a:pt x="1242417" y="285087"/>
                  </a:lnTo>
                  <a:lnTo>
                    <a:pt x="1243161" y="283494"/>
                  </a:lnTo>
                  <a:lnTo>
                    <a:pt x="1250797" y="273408"/>
                  </a:lnTo>
                  <a:lnTo>
                    <a:pt x="1254183" y="271287"/>
                  </a:lnTo>
                  <a:lnTo>
                    <a:pt x="1257373" y="270231"/>
                  </a:lnTo>
                  <a:lnTo>
                    <a:pt x="1271902" y="270257"/>
                  </a:lnTo>
                  <a:lnTo>
                    <a:pt x="1279579" y="270621"/>
                  </a:lnTo>
                  <a:lnTo>
                    <a:pt x="1291815" y="275302"/>
                  </a:lnTo>
                  <a:lnTo>
                    <a:pt x="1340239" y="304718"/>
                  </a:lnTo>
                  <a:lnTo>
                    <a:pt x="1354285" y="309571"/>
                  </a:lnTo>
                  <a:lnTo>
                    <a:pt x="1365105" y="304999"/>
                  </a:lnTo>
                  <a:lnTo>
                    <a:pt x="1390443" y="303867"/>
                  </a:lnTo>
                  <a:lnTo>
                    <a:pt x="1402129" y="306884"/>
                  </a:lnTo>
                  <a:lnTo>
                    <a:pt x="1409628" y="316206"/>
                  </a:lnTo>
                  <a:lnTo>
                    <a:pt x="1410596" y="324299"/>
                  </a:lnTo>
                  <a:lnTo>
                    <a:pt x="1410740" y="333516"/>
                  </a:lnTo>
                  <a:lnTo>
                    <a:pt x="1412414" y="341089"/>
                  </a:lnTo>
                  <a:lnTo>
                    <a:pt x="1418026" y="344213"/>
                  </a:lnTo>
                  <a:lnTo>
                    <a:pt x="1424640" y="345734"/>
                  </a:lnTo>
                  <a:lnTo>
                    <a:pt x="1428651" y="349602"/>
                  </a:lnTo>
                  <a:lnTo>
                    <a:pt x="1435717" y="359745"/>
                  </a:lnTo>
                  <a:lnTo>
                    <a:pt x="1446690" y="368567"/>
                  </a:lnTo>
                  <a:lnTo>
                    <a:pt x="1477932" y="386474"/>
                  </a:lnTo>
                  <a:lnTo>
                    <a:pt x="1515846" y="421680"/>
                  </a:lnTo>
                  <a:lnTo>
                    <a:pt x="1525504" y="427819"/>
                  </a:lnTo>
                  <a:lnTo>
                    <a:pt x="1528817" y="431512"/>
                  </a:lnTo>
                  <a:lnTo>
                    <a:pt x="1532883" y="434224"/>
                  </a:lnTo>
                  <a:lnTo>
                    <a:pt x="1536388" y="431711"/>
                  </a:lnTo>
                  <a:lnTo>
                    <a:pt x="1539629" y="427545"/>
                  </a:lnTo>
                  <a:lnTo>
                    <a:pt x="1544964" y="423861"/>
                  </a:lnTo>
                  <a:lnTo>
                    <a:pt x="1547734" y="420703"/>
                  </a:lnTo>
                  <a:lnTo>
                    <a:pt x="1551249" y="417772"/>
                  </a:lnTo>
                  <a:lnTo>
                    <a:pt x="1555601" y="417049"/>
                  </a:lnTo>
                  <a:lnTo>
                    <a:pt x="1558488" y="418735"/>
                  </a:lnTo>
                  <a:lnTo>
                    <a:pt x="1560539" y="421803"/>
                  </a:lnTo>
                  <a:lnTo>
                    <a:pt x="1562544" y="425550"/>
                  </a:lnTo>
                  <a:lnTo>
                    <a:pt x="1565296" y="429394"/>
                  </a:lnTo>
                  <a:lnTo>
                    <a:pt x="1568890" y="435740"/>
                  </a:lnTo>
                  <a:lnTo>
                    <a:pt x="1571304" y="435981"/>
                  </a:lnTo>
                  <a:lnTo>
                    <a:pt x="1575755" y="431057"/>
                  </a:lnTo>
                  <a:lnTo>
                    <a:pt x="1579222" y="428716"/>
                  </a:lnTo>
                  <a:lnTo>
                    <a:pt x="1581871" y="431111"/>
                  </a:lnTo>
                  <a:lnTo>
                    <a:pt x="1584449" y="434952"/>
                  </a:lnTo>
                  <a:lnTo>
                    <a:pt x="1590019" y="438230"/>
                  </a:lnTo>
                  <a:lnTo>
                    <a:pt x="1592324" y="441337"/>
                  </a:lnTo>
                  <a:lnTo>
                    <a:pt x="1596408" y="448821"/>
                  </a:lnTo>
                  <a:lnTo>
                    <a:pt x="1596557" y="449094"/>
                  </a:lnTo>
                  <a:lnTo>
                    <a:pt x="1602313" y="459634"/>
                  </a:lnTo>
                  <a:lnTo>
                    <a:pt x="1615097" y="474405"/>
                  </a:lnTo>
                  <a:lnTo>
                    <a:pt x="1620823" y="477820"/>
                  </a:lnTo>
                  <a:lnTo>
                    <a:pt x="1628228" y="479058"/>
                  </a:lnTo>
                  <a:lnTo>
                    <a:pt x="1634598" y="477187"/>
                  </a:lnTo>
                  <a:lnTo>
                    <a:pt x="1645697" y="469166"/>
                  </a:lnTo>
                  <a:lnTo>
                    <a:pt x="1652917" y="467384"/>
                  </a:lnTo>
                  <a:lnTo>
                    <a:pt x="1660852" y="469800"/>
                  </a:lnTo>
                  <a:lnTo>
                    <a:pt x="1671234" y="480335"/>
                  </a:lnTo>
                  <a:lnTo>
                    <a:pt x="1677664" y="482666"/>
                  </a:lnTo>
                  <a:lnTo>
                    <a:pt x="1685584" y="483613"/>
                  </a:lnTo>
                  <a:lnTo>
                    <a:pt x="1702549" y="490090"/>
                  </a:lnTo>
                  <a:lnTo>
                    <a:pt x="1696161" y="508971"/>
                  </a:lnTo>
                  <a:lnTo>
                    <a:pt x="1692785" y="511520"/>
                  </a:lnTo>
                  <a:lnTo>
                    <a:pt x="1688305" y="511647"/>
                  </a:lnTo>
                  <a:lnTo>
                    <a:pt x="1685459" y="510464"/>
                  </a:lnTo>
                  <a:lnTo>
                    <a:pt x="1683533" y="510183"/>
                  </a:lnTo>
                  <a:lnTo>
                    <a:pt x="1680079" y="511089"/>
                  </a:lnTo>
                  <a:lnTo>
                    <a:pt x="1678272" y="512771"/>
                  </a:lnTo>
                  <a:lnTo>
                    <a:pt x="1677281" y="514337"/>
                  </a:lnTo>
                  <a:lnTo>
                    <a:pt x="1675651" y="519636"/>
                  </a:lnTo>
                  <a:lnTo>
                    <a:pt x="1675354" y="521222"/>
                  </a:lnTo>
                  <a:lnTo>
                    <a:pt x="1673919" y="532533"/>
                  </a:lnTo>
                  <a:lnTo>
                    <a:pt x="1673972" y="536182"/>
                  </a:lnTo>
                  <a:lnTo>
                    <a:pt x="1674105" y="537923"/>
                  </a:lnTo>
                  <a:lnTo>
                    <a:pt x="1674632" y="541048"/>
                  </a:lnTo>
                  <a:lnTo>
                    <a:pt x="1675528" y="543873"/>
                  </a:lnTo>
                  <a:lnTo>
                    <a:pt x="1676108" y="546937"/>
                  </a:lnTo>
                  <a:lnTo>
                    <a:pt x="1675479" y="547834"/>
                  </a:lnTo>
                  <a:lnTo>
                    <a:pt x="1674845" y="548286"/>
                  </a:lnTo>
                  <a:lnTo>
                    <a:pt x="1668331" y="548720"/>
                  </a:lnTo>
                  <a:lnTo>
                    <a:pt x="1665242" y="549429"/>
                  </a:lnTo>
                  <a:lnTo>
                    <a:pt x="1645500" y="568937"/>
                  </a:lnTo>
                  <a:lnTo>
                    <a:pt x="1644262" y="569635"/>
                  </a:lnTo>
                  <a:lnTo>
                    <a:pt x="1632218" y="573042"/>
                  </a:lnTo>
                  <a:lnTo>
                    <a:pt x="1611345" y="582315"/>
                  </a:lnTo>
                  <a:lnTo>
                    <a:pt x="1604233" y="582753"/>
                  </a:lnTo>
                  <a:lnTo>
                    <a:pt x="1601526" y="581573"/>
                  </a:lnTo>
                  <a:lnTo>
                    <a:pt x="1599553" y="582157"/>
                  </a:lnTo>
                  <a:lnTo>
                    <a:pt x="1597535" y="583452"/>
                  </a:lnTo>
                  <a:lnTo>
                    <a:pt x="1594622" y="586085"/>
                  </a:lnTo>
                  <a:lnTo>
                    <a:pt x="1592489" y="586818"/>
                  </a:lnTo>
                  <a:lnTo>
                    <a:pt x="1590831" y="586926"/>
                  </a:lnTo>
                  <a:lnTo>
                    <a:pt x="1589863" y="586494"/>
                  </a:lnTo>
                  <a:lnTo>
                    <a:pt x="1589055" y="585971"/>
                  </a:lnTo>
                  <a:lnTo>
                    <a:pt x="1588348" y="585004"/>
                  </a:lnTo>
                  <a:lnTo>
                    <a:pt x="1587693" y="583857"/>
                  </a:lnTo>
                  <a:lnTo>
                    <a:pt x="1587196" y="582445"/>
                  </a:lnTo>
                  <a:lnTo>
                    <a:pt x="1586487" y="581257"/>
                  </a:lnTo>
                  <a:lnTo>
                    <a:pt x="1585442" y="580293"/>
                  </a:lnTo>
                  <a:lnTo>
                    <a:pt x="1581089" y="578552"/>
                  </a:lnTo>
                  <a:lnTo>
                    <a:pt x="1580010" y="577706"/>
                  </a:lnTo>
                  <a:lnTo>
                    <a:pt x="1579142" y="576592"/>
                  </a:lnTo>
                  <a:lnTo>
                    <a:pt x="1578168" y="575568"/>
                  </a:lnTo>
                  <a:lnTo>
                    <a:pt x="1576982" y="574723"/>
                  </a:lnTo>
                  <a:lnTo>
                    <a:pt x="1560298" y="571749"/>
                  </a:lnTo>
                  <a:lnTo>
                    <a:pt x="1540079" y="573463"/>
                  </a:lnTo>
                  <a:lnTo>
                    <a:pt x="1537400" y="573016"/>
                  </a:lnTo>
                  <a:lnTo>
                    <a:pt x="1531165" y="569584"/>
                  </a:lnTo>
                  <a:lnTo>
                    <a:pt x="1520750" y="566955"/>
                  </a:lnTo>
                  <a:lnTo>
                    <a:pt x="1515079" y="566544"/>
                  </a:lnTo>
                  <a:lnTo>
                    <a:pt x="1508293" y="567292"/>
                  </a:lnTo>
                  <a:lnTo>
                    <a:pt x="1504119" y="569127"/>
                  </a:lnTo>
                  <a:lnTo>
                    <a:pt x="1503482" y="569738"/>
                  </a:lnTo>
                  <a:lnTo>
                    <a:pt x="1503218" y="570170"/>
                  </a:lnTo>
                  <a:lnTo>
                    <a:pt x="1502848" y="570764"/>
                  </a:lnTo>
                  <a:lnTo>
                    <a:pt x="1502376" y="571889"/>
                  </a:lnTo>
                  <a:lnTo>
                    <a:pt x="1501852" y="573341"/>
                  </a:lnTo>
                  <a:lnTo>
                    <a:pt x="1501491" y="575000"/>
                  </a:lnTo>
                  <a:lnTo>
                    <a:pt x="1501236" y="576701"/>
                  </a:lnTo>
                  <a:lnTo>
                    <a:pt x="1501142" y="578340"/>
                  </a:lnTo>
                  <a:lnTo>
                    <a:pt x="1501110" y="581207"/>
                  </a:lnTo>
                  <a:lnTo>
                    <a:pt x="1500957" y="582139"/>
                  </a:lnTo>
                  <a:lnTo>
                    <a:pt x="1500485" y="583340"/>
                  </a:lnTo>
                  <a:lnTo>
                    <a:pt x="1499690" y="584365"/>
                  </a:lnTo>
                  <a:lnTo>
                    <a:pt x="1493200" y="589570"/>
                  </a:lnTo>
                  <a:lnTo>
                    <a:pt x="1489862" y="594145"/>
                  </a:lnTo>
                  <a:lnTo>
                    <a:pt x="1483338" y="597664"/>
                  </a:lnTo>
                  <a:lnTo>
                    <a:pt x="1473828" y="600786"/>
                  </a:lnTo>
                  <a:lnTo>
                    <a:pt x="1468599" y="603568"/>
                  </a:lnTo>
                  <a:lnTo>
                    <a:pt x="1463982" y="604602"/>
                  </a:lnTo>
                  <a:lnTo>
                    <a:pt x="1449126" y="603934"/>
                  </a:lnTo>
                  <a:lnTo>
                    <a:pt x="1432853" y="605245"/>
                  </a:lnTo>
                  <a:lnTo>
                    <a:pt x="1421342" y="609849"/>
                  </a:lnTo>
                  <a:lnTo>
                    <a:pt x="1420172" y="611733"/>
                  </a:lnTo>
                  <a:lnTo>
                    <a:pt x="1420936" y="614670"/>
                  </a:lnTo>
                  <a:lnTo>
                    <a:pt x="1420837" y="616649"/>
                  </a:lnTo>
                  <a:lnTo>
                    <a:pt x="1419938" y="619371"/>
                  </a:lnTo>
                  <a:lnTo>
                    <a:pt x="1419572" y="621412"/>
                  </a:lnTo>
                  <a:lnTo>
                    <a:pt x="1419687" y="623126"/>
                  </a:lnTo>
                  <a:lnTo>
                    <a:pt x="1420451" y="626078"/>
                  </a:lnTo>
                  <a:lnTo>
                    <a:pt x="1420725" y="627656"/>
                  </a:lnTo>
                  <a:lnTo>
                    <a:pt x="1420787" y="629340"/>
                  </a:lnTo>
                  <a:lnTo>
                    <a:pt x="1420794" y="631027"/>
                  </a:lnTo>
                  <a:lnTo>
                    <a:pt x="1419852" y="636127"/>
                  </a:lnTo>
                  <a:lnTo>
                    <a:pt x="1419645" y="637814"/>
                  </a:lnTo>
                  <a:lnTo>
                    <a:pt x="1419706" y="639526"/>
                  </a:lnTo>
                  <a:lnTo>
                    <a:pt x="1420089" y="641164"/>
                  </a:lnTo>
                  <a:lnTo>
                    <a:pt x="1420576" y="642271"/>
                  </a:lnTo>
                  <a:lnTo>
                    <a:pt x="1422089" y="644746"/>
                  </a:lnTo>
                  <a:lnTo>
                    <a:pt x="1425778" y="653684"/>
                  </a:lnTo>
                  <a:lnTo>
                    <a:pt x="1427343" y="655568"/>
                  </a:lnTo>
                  <a:lnTo>
                    <a:pt x="1431837" y="660126"/>
                  </a:lnTo>
                  <a:lnTo>
                    <a:pt x="1432596" y="661512"/>
                  </a:lnTo>
                  <a:lnTo>
                    <a:pt x="1432939" y="665840"/>
                  </a:lnTo>
                  <a:lnTo>
                    <a:pt x="1433440" y="669428"/>
                  </a:lnTo>
                  <a:lnTo>
                    <a:pt x="1435137" y="676069"/>
                  </a:lnTo>
                  <a:lnTo>
                    <a:pt x="1436869" y="678556"/>
                  </a:lnTo>
                  <a:lnTo>
                    <a:pt x="1438701" y="679714"/>
                  </a:lnTo>
                  <a:lnTo>
                    <a:pt x="1442353" y="679695"/>
                  </a:lnTo>
                  <a:lnTo>
                    <a:pt x="1444777" y="680982"/>
                  </a:lnTo>
                  <a:lnTo>
                    <a:pt x="1447635" y="682978"/>
                  </a:lnTo>
                  <a:lnTo>
                    <a:pt x="1451187" y="690345"/>
                  </a:lnTo>
                  <a:lnTo>
                    <a:pt x="1464460" y="716538"/>
                  </a:lnTo>
                  <a:lnTo>
                    <a:pt x="1476703" y="734724"/>
                  </a:lnTo>
                  <a:lnTo>
                    <a:pt x="1479630" y="737719"/>
                  </a:lnTo>
                  <a:lnTo>
                    <a:pt x="1481573" y="738445"/>
                  </a:lnTo>
                  <a:lnTo>
                    <a:pt x="1482808" y="737905"/>
                  </a:lnTo>
                  <a:lnTo>
                    <a:pt x="1486711" y="734064"/>
                  </a:lnTo>
                  <a:lnTo>
                    <a:pt x="1487890" y="733319"/>
                  </a:lnTo>
                  <a:lnTo>
                    <a:pt x="1489663" y="732892"/>
                  </a:lnTo>
                  <a:lnTo>
                    <a:pt x="1491782" y="733112"/>
                  </a:lnTo>
                  <a:lnTo>
                    <a:pt x="1495293" y="734683"/>
                  </a:lnTo>
                  <a:lnTo>
                    <a:pt x="1496489" y="736418"/>
                  </a:lnTo>
                  <a:lnTo>
                    <a:pt x="1496826" y="738189"/>
                  </a:lnTo>
                  <a:lnTo>
                    <a:pt x="1496353" y="739669"/>
                  </a:lnTo>
                  <a:lnTo>
                    <a:pt x="1495662" y="740975"/>
                  </a:lnTo>
                  <a:lnTo>
                    <a:pt x="1493955" y="743249"/>
                  </a:lnTo>
                  <a:lnTo>
                    <a:pt x="1488221" y="749628"/>
                  </a:lnTo>
                  <a:lnTo>
                    <a:pt x="1487422" y="750846"/>
                  </a:lnTo>
                  <a:lnTo>
                    <a:pt x="1486731" y="752120"/>
                  </a:lnTo>
                  <a:lnTo>
                    <a:pt x="1486310" y="753602"/>
                  </a:lnTo>
                  <a:lnTo>
                    <a:pt x="1486106" y="755170"/>
                  </a:lnTo>
                  <a:lnTo>
                    <a:pt x="1485953" y="764139"/>
                  </a:lnTo>
                  <a:lnTo>
                    <a:pt x="1486189" y="766989"/>
                  </a:lnTo>
                  <a:lnTo>
                    <a:pt x="1487142" y="772242"/>
                  </a:lnTo>
                  <a:lnTo>
                    <a:pt x="1487916" y="774957"/>
                  </a:lnTo>
                  <a:lnTo>
                    <a:pt x="1488757" y="776960"/>
                  </a:lnTo>
                  <a:lnTo>
                    <a:pt x="1489520" y="778152"/>
                  </a:lnTo>
                  <a:lnTo>
                    <a:pt x="1491261" y="780252"/>
                  </a:lnTo>
                  <a:lnTo>
                    <a:pt x="1492292" y="781176"/>
                  </a:lnTo>
                  <a:lnTo>
                    <a:pt x="1493217" y="782234"/>
                  </a:lnTo>
                  <a:lnTo>
                    <a:pt x="1502990" y="797720"/>
                  </a:lnTo>
                  <a:lnTo>
                    <a:pt x="1504908" y="801370"/>
                  </a:lnTo>
                  <a:lnTo>
                    <a:pt x="1505683" y="803906"/>
                  </a:lnTo>
                  <a:lnTo>
                    <a:pt x="1504716" y="804533"/>
                  </a:lnTo>
                  <a:lnTo>
                    <a:pt x="1503151" y="804634"/>
                  </a:lnTo>
                  <a:lnTo>
                    <a:pt x="1496717" y="803203"/>
                  </a:lnTo>
                  <a:lnTo>
                    <a:pt x="1495097" y="803156"/>
                  </a:lnTo>
                  <a:lnTo>
                    <a:pt x="1493533" y="803434"/>
                  </a:lnTo>
                  <a:lnTo>
                    <a:pt x="1492080" y="803889"/>
                  </a:lnTo>
                  <a:lnTo>
                    <a:pt x="1489642" y="805220"/>
                  </a:lnTo>
                  <a:lnTo>
                    <a:pt x="1488569" y="806159"/>
                  </a:lnTo>
                  <a:lnTo>
                    <a:pt x="1487713" y="807288"/>
                  </a:lnTo>
                  <a:lnTo>
                    <a:pt x="1487129" y="808593"/>
                  </a:lnTo>
                  <a:lnTo>
                    <a:pt x="1486760" y="809954"/>
                  </a:lnTo>
                  <a:lnTo>
                    <a:pt x="1486613" y="812023"/>
                  </a:lnTo>
                  <a:lnTo>
                    <a:pt x="1486402" y="812795"/>
                  </a:lnTo>
                  <a:lnTo>
                    <a:pt x="1486083" y="813506"/>
                  </a:lnTo>
                  <a:lnTo>
                    <a:pt x="1485389" y="814663"/>
                  </a:lnTo>
                  <a:lnTo>
                    <a:pt x="1484754" y="816469"/>
                  </a:lnTo>
                  <a:lnTo>
                    <a:pt x="1484444" y="818570"/>
                  </a:lnTo>
                  <a:lnTo>
                    <a:pt x="1484000" y="824662"/>
                  </a:lnTo>
                  <a:lnTo>
                    <a:pt x="1509241" y="858017"/>
                  </a:lnTo>
                  <a:lnTo>
                    <a:pt x="1510877" y="859630"/>
                  </a:lnTo>
                  <a:lnTo>
                    <a:pt x="1512799" y="860945"/>
                  </a:lnTo>
                  <a:lnTo>
                    <a:pt x="1514048" y="861555"/>
                  </a:lnTo>
                  <a:lnTo>
                    <a:pt x="1518658" y="862877"/>
                  </a:lnTo>
                  <a:lnTo>
                    <a:pt x="1528976" y="871420"/>
                  </a:lnTo>
                  <a:lnTo>
                    <a:pt x="1530075" y="873243"/>
                  </a:lnTo>
                  <a:lnTo>
                    <a:pt x="1531125" y="875732"/>
                  </a:lnTo>
                  <a:lnTo>
                    <a:pt x="1530800" y="877818"/>
                  </a:lnTo>
                  <a:lnTo>
                    <a:pt x="1530278" y="879994"/>
                  </a:lnTo>
                  <a:lnTo>
                    <a:pt x="1529840" y="883588"/>
                  </a:lnTo>
                  <a:lnTo>
                    <a:pt x="1529023" y="885177"/>
                  </a:lnTo>
                  <a:lnTo>
                    <a:pt x="1528004" y="886250"/>
                  </a:lnTo>
                  <a:lnTo>
                    <a:pt x="1522169" y="887940"/>
                  </a:lnTo>
                  <a:lnTo>
                    <a:pt x="1512377" y="889289"/>
                  </a:lnTo>
                  <a:lnTo>
                    <a:pt x="1508687" y="890708"/>
                  </a:lnTo>
                  <a:lnTo>
                    <a:pt x="1506261" y="892204"/>
                  </a:lnTo>
                  <a:lnTo>
                    <a:pt x="1505508" y="892919"/>
                  </a:lnTo>
                  <a:lnTo>
                    <a:pt x="1505518" y="894160"/>
                  </a:lnTo>
                  <a:lnTo>
                    <a:pt x="1505798" y="895399"/>
                  </a:lnTo>
                  <a:lnTo>
                    <a:pt x="1506090" y="898146"/>
                  </a:lnTo>
                  <a:lnTo>
                    <a:pt x="1506428" y="899799"/>
                  </a:lnTo>
                  <a:lnTo>
                    <a:pt x="1506869" y="900712"/>
                  </a:lnTo>
                  <a:lnTo>
                    <a:pt x="1507904" y="901367"/>
                  </a:lnTo>
                  <a:lnTo>
                    <a:pt x="1510675" y="902425"/>
                  </a:lnTo>
                  <a:lnTo>
                    <a:pt x="1513090" y="903913"/>
                  </a:lnTo>
                  <a:lnTo>
                    <a:pt x="1513856" y="904778"/>
                  </a:lnTo>
                  <a:lnTo>
                    <a:pt x="1514241" y="905471"/>
                  </a:lnTo>
                  <a:lnTo>
                    <a:pt x="1514522" y="906679"/>
                  </a:lnTo>
                  <a:lnTo>
                    <a:pt x="1514695" y="908008"/>
                  </a:lnTo>
                  <a:lnTo>
                    <a:pt x="1515030" y="909247"/>
                  </a:lnTo>
                  <a:lnTo>
                    <a:pt x="1515525" y="910129"/>
                  </a:lnTo>
                  <a:lnTo>
                    <a:pt x="1516565" y="911303"/>
                  </a:lnTo>
                  <a:lnTo>
                    <a:pt x="1517720" y="913420"/>
                  </a:lnTo>
                  <a:lnTo>
                    <a:pt x="1517733" y="915002"/>
                  </a:lnTo>
                  <a:lnTo>
                    <a:pt x="1517148" y="916338"/>
                  </a:lnTo>
                  <a:lnTo>
                    <a:pt x="1513324" y="919604"/>
                  </a:lnTo>
                  <a:lnTo>
                    <a:pt x="1511481" y="921924"/>
                  </a:lnTo>
                  <a:lnTo>
                    <a:pt x="1510948" y="923080"/>
                  </a:lnTo>
                  <a:lnTo>
                    <a:pt x="1511175" y="924379"/>
                  </a:lnTo>
                  <a:lnTo>
                    <a:pt x="1515589" y="931349"/>
                  </a:lnTo>
                  <a:lnTo>
                    <a:pt x="1517778" y="933635"/>
                  </a:lnTo>
                  <a:lnTo>
                    <a:pt x="1519198" y="934836"/>
                  </a:lnTo>
                  <a:lnTo>
                    <a:pt x="1520852" y="937984"/>
                  </a:lnTo>
                  <a:lnTo>
                    <a:pt x="1521729" y="938951"/>
                  </a:lnTo>
                  <a:lnTo>
                    <a:pt x="1522925" y="939267"/>
                  </a:lnTo>
                  <a:lnTo>
                    <a:pt x="1525686" y="938445"/>
                  </a:lnTo>
                  <a:lnTo>
                    <a:pt x="1527374" y="939111"/>
                  </a:lnTo>
                  <a:lnTo>
                    <a:pt x="1527931" y="940762"/>
                  </a:lnTo>
                  <a:lnTo>
                    <a:pt x="1527806" y="945137"/>
                  </a:lnTo>
                  <a:lnTo>
                    <a:pt x="1528156" y="947971"/>
                  </a:lnTo>
                  <a:lnTo>
                    <a:pt x="1528493" y="949237"/>
                  </a:lnTo>
                  <a:lnTo>
                    <a:pt x="1529434" y="949334"/>
                  </a:lnTo>
                  <a:lnTo>
                    <a:pt x="1530187" y="948455"/>
                  </a:lnTo>
                  <a:lnTo>
                    <a:pt x="1530865" y="947356"/>
                  </a:lnTo>
                  <a:lnTo>
                    <a:pt x="1531610" y="945635"/>
                  </a:lnTo>
                  <a:lnTo>
                    <a:pt x="1531895" y="945161"/>
                  </a:lnTo>
                  <a:lnTo>
                    <a:pt x="1532652" y="944858"/>
                  </a:lnTo>
                  <a:lnTo>
                    <a:pt x="1533631" y="945026"/>
                  </a:lnTo>
                  <a:lnTo>
                    <a:pt x="1535225" y="947200"/>
                  </a:lnTo>
                  <a:lnTo>
                    <a:pt x="1535785" y="949189"/>
                  </a:lnTo>
                  <a:lnTo>
                    <a:pt x="1536075" y="951227"/>
                  </a:lnTo>
                  <a:lnTo>
                    <a:pt x="1536068" y="956591"/>
                  </a:lnTo>
                  <a:lnTo>
                    <a:pt x="1535811" y="958247"/>
                  </a:lnTo>
                  <a:lnTo>
                    <a:pt x="1535336" y="959789"/>
                  </a:lnTo>
                  <a:lnTo>
                    <a:pt x="1534642" y="961111"/>
                  </a:lnTo>
                  <a:lnTo>
                    <a:pt x="1533728" y="962166"/>
                  </a:lnTo>
                  <a:lnTo>
                    <a:pt x="1531548" y="963472"/>
                  </a:lnTo>
                  <a:lnTo>
                    <a:pt x="1526614" y="964474"/>
                  </a:lnTo>
                  <a:lnTo>
                    <a:pt x="1519470" y="967741"/>
                  </a:lnTo>
                  <a:lnTo>
                    <a:pt x="1518338" y="968815"/>
                  </a:lnTo>
                  <a:lnTo>
                    <a:pt x="1516561" y="970823"/>
                  </a:lnTo>
                  <a:lnTo>
                    <a:pt x="1513683" y="977747"/>
                  </a:lnTo>
                  <a:lnTo>
                    <a:pt x="1513212" y="980069"/>
                  </a:lnTo>
                  <a:lnTo>
                    <a:pt x="1513226" y="981858"/>
                  </a:lnTo>
                  <a:lnTo>
                    <a:pt x="1514445" y="984641"/>
                  </a:lnTo>
                  <a:lnTo>
                    <a:pt x="1515272" y="986142"/>
                  </a:lnTo>
                  <a:lnTo>
                    <a:pt x="1516042" y="987170"/>
                  </a:lnTo>
                  <a:lnTo>
                    <a:pt x="1517028" y="988137"/>
                  </a:lnTo>
                  <a:lnTo>
                    <a:pt x="1518176" y="988926"/>
                  </a:lnTo>
                  <a:lnTo>
                    <a:pt x="1519541" y="989550"/>
                  </a:lnTo>
                  <a:lnTo>
                    <a:pt x="1521120" y="989818"/>
                  </a:lnTo>
                  <a:lnTo>
                    <a:pt x="1522641" y="989629"/>
                  </a:lnTo>
                  <a:lnTo>
                    <a:pt x="1524225" y="990442"/>
                  </a:lnTo>
                  <a:lnTo>
                    <a:pt x="1525600" y="992323"/>
                  </a:lnTo>
                  <a:lnTo>
                    <a:pt x="1526902" y="998252"/>
                  </a:lnTo>
                  <a:lnTo>
                    <a:pt x="1526927" y="1001208"/>
                  </a:lnTo>
                  <a:lnTo>
                    <a:pt x="1526457" y="1003487"/>
                  </a:lnTo>
                  <a:lnTo>
                    <a:pt x="1523617" y="1008741"/>
                  </a:lnTo>
                  <a:lnTo>
                    <a:pt x="1521896" y="1011163"/>
                  </a:lnTo>
                  <a:lnTo>
                    <a:pt x="1520118" y="1013351"/>
                  </a:lnTo>
                  <a:lnTo>
                    <a:pt x="1511613" y="1020719"/>
                  </a:lnTo>
                  <a:lnTo>
                    <a:pt x="1504296" y="1024973"/>
                  </a:lnTo>
                  <a:lnTo>
                    <a:pt x="1492109" y="1028932"/>
                  </a:lnTo>
                  <a:lnTo>
                    <a:pt x="1489831" y="1030354"/>
                  </a:lnTo>
                  <a:lnTo>
                    <a:pt x="1488862" y="1031868"/>
                  </a:lnTo>
                  <a:lnTo>
                    <a:pt x="1488491" y="1033450"/>
                  </a:lnTo>
                  <a:lnTo>
                    <a:pt x="1488772" y="1034661"/>
                  </a:lnTo>
                  <a:lnTo>
                    <a:pt x="1489104" y="1035337"/>
                  </a:lnTo>
                  <a:lnTo>
                    <a:pt x="1489927" y="1036160"/>
                  </a:lnTo>
                  <a:lnTo>
                    <a:pt x="1495369" y="1040288"/>
                  </a:lnTo>
                  <a:lnTo>
                    <a:pt x="1496137" y="1041081"/>
                  </a:lnTo>
                  <a:lnTo>
                    <a:pt x="1496419" y="1042408"/>
                  </a:lnTo>
                  <a:lnTo>
                    <a:pt x="1496654" y="1044771"/>
                  </a:lnTo>
                  <a:lnTo>
                    <a:pt x="1496416" y="1049441"/>
                  </a:lnTo>
                  <a:lnTo>
                    <a:pt x="1495889" y="1051928"/>
                  </a:lnTo>
                  <a:lnTo>
                    <a:pt x="1495030" y="1053738"/>
                  </a:lnTo>
                  <a:lnTo>
                    <a:pt x="1494001" y="1054662"/>
                  </a:lnTo>
                  <a:lnTo>
                    <a:pt x="1492625" y="1055381"/>
                  </a:lnTo>
                  <a:lnTo>
                    <a:pt x="1491392" y="1055743"/>
                  </a:lnTo>
                  <a:lnTo>
                    <a:pt x="1487886" y="1055916"/>
                  </a:lnTo>
                  <a:lnTo>
                    <a:pt x="1470529" y="1055557"/>
                  </a:lnTo>
                  <a:lnTo>
                    <a:pt x="1463503" y="1056664"/>
                  </a:lnTo>
                  <a:lnTo>
                    <a:pt x="1454420" y="1060382"/>
                  </a:lnTo>
                  <a:lnTo>
                    <a:pt x="1407693" y="1060616"/>
                  </a:lnTo>
                  <a:lnTo>
                    <a:pt x="1387783" y="1063833"/>
                  </a:lnTo>
                  <a:lnTo>
                    <a:pt x="1384841" y="1065054"/>
                  </a:lnTo>
                  <a:lnTo>
                    <a:pt x="1384354" y="1066384"/>
                  </a:lnTo>
                  <a:lnTo>
                    <a:pt x="1384413" y="1067863"/>
                  </a:lnTo>
                  <a:lnTo>
                    <a:pt x="1384690" y="1069398"/>
                  </a:lnTo>
                  <a:lnTo>
                    <a:pt x="1384749" y="1070905"/>
                  </a:lnTo>
                  <a:lnTo>
                    <a:pt x="1384427" y="1072383"/>
                  </a:lnTo>
                  <a:lnTo>
                    <a:pt x="1381653" y="1075435"/>
                  </a:lnTo>
                  <a:lnTo>
                    <a:pt x="1378772" y="1079286"/>
                  </a:lnTo>
                  <a:lnTo>
                    <a:pt x="1374035" y="1083435"/>
                  </a:lnTo>
                  <a:lnTo>
                    <a:pt x="1371728" y="1084416"/>
                  </a:lnTo>
                  <a:lnTo>
                    <a:pt x="1369709" y="1084776"/>
                  </a:lnTo>
                  <a:lnTo>
                    <a:pt x="1359392" y="1083586"/>
                  </a:lnTo>
                  <a:lnTo>
                    <a:pt x="1357210" y="1084419"/>
                  </a:lnTo>
                  <a:lnTo>
                    <a:pt x="1355903" y="1085601"/>
                  </a:lnTo>
                  <a:lnTo>
                    <a:pt x="1355742" y="1087096"/>
                  </a:lnTo>
                  <a:lnTo>
                    <a:pt x="1355907" y="1088263"/>
                  </a:lnTo>
                  <a:lnTo>
                    <a:pt x="1356072" y="1088793"/>
                  </a:lnTo>
                  <a:lnTo>
                    <a:pt x="1356291" y="1089296"/>
                  </a:lnTo>
                  <a:lnTo>
                    <a:pt x="1356839" y="1090286"/>
                  </a:lnTo>
                  <a:lnTo>
                    <a:pt x="1361602" y="1096821"/>
                  </a:lnTo>
                  <a:lnTo>
                    <a:pt x="1362150" y="1097854"/>
                  </a:lnTo>
                  <a:lnTo>
                    <a:pt x="1362425" y="1098770"/>
                  </a:lnTo>
                  <a:lnTo>
                    <a:pt x="1363034" y="1103114"/>
                  </a:lnTo>
                  <a:lnTo>
                    <a:pt x="1371893" y="1107527"/>
                  </a:lnTo>
                  <a:lnTo>
                    <a:pt x="1373043" y="1108868"/>
                  </a:lnTo>
                  <a:lnTo>
                    <a:pt x="1375201" y="1112157"/>
                  </a:lnTo>
                  <a:lnTo>
                    <a:pt x="1376842" y="1113291"/>
                  </a:lnTo>
                  <a:lnTo>
                    <a:pt x="1378756" y="1113655"/>
                  </a:lnTo>
                  <a:lnTo>
                    <a:pt x="1381267" y="1112924"/>
                  </a:lnTo>
                  <a:lnTo>
                    <a:pt x="1382196" y="1113054"/>
                  </a:lnTo>
                  <a:lnTo>
                    <a:pt x="1382527" y="1113969"/>
                  </a:lnTo>
                  <a:lnTo>
                    <a:pt x="1382148" y="1115271"/>
                  </a:lnTo>
                  <a:lnTo>
                    <a:pt x="1381222" y="1116279"/>
                  </a:lnTo>
                  <a:lnTo>
                    <a:pt x="1375982" y="1118658"/>
                  </a:lnTo>
                  <a:lnTo>
                    <a:pt x="1374837" y="1119429"/>
                  </a:lnTo>
                  <a:lnTo>
                    <a:pt x="1372912" y="1121798"/>
                  </a:lnTo>
                  <a:lnTo>
                    <a:pt x="1371832" y="1127061"/>
                  </a:lnTo>
                  <a:lnTo>
                    <a:pt x="1371134" y="1132619"/>
                  </a:lnTo>
                  <a:lnTo>
                    <a:pt x="1371300" y="1133415"/>
                  </a:lnTo>
                  <a:lnTo>
                    <a:pt x="1371850" y="1134803"/>
                  </a:lnTo>
                  <a:lnTo>
                    <a:pt x="1377785" y="1138809"/>
                  </a:lnTo>
                  <a:lnTo>
                    <a:pt x="1378992" y="1140016"/>
                  </a:lnTo>
                  <a:lnTo>
                    <a:pt x="1380038" y="1142762"/>
                  </a:lnTo>
                  <a:lnTo>
                    <a:pt x="1381102" y="1151446"/>
                  </a:lnTo>
                  <a:lnTo>
                    <a:pt x="1381055" y="1154254"/>
                  </a:lnTo>
                  <a:lnTo>
                    <a:pt x="1380676" y="1156028"/>
                  </a:lnTo>
                  <a:lnTo>
                    <a:pt x="1380186" y="1156770"/>
                  </a:lnTo>
                  <a:lnTo>
                    <a:pt x="1379423" y="1157688"/>
                  </a:lnTo>
                  <a:lnTo>
                    <a:pt x="1378714" y="1158842"/>
                  </a:lnTo>
                  <a:lnTo>
                    <a:pt x="1377518" y="1161696"/>
                  </a:lnTo>
                  <a:lnTo>
                    <a:pt x="1376754" y="1162955"/>
                  </a:lnTo>
                  <a:lnTo>
                    <a:pt x="1375716" y="1163830"/>
                  </a:lnTo>
                  <a:lnTo>
                    <a:pt x="1373019" y="1164945"/>
                  </a:lnTo>
                  <a:lnTo>
                    <a:pt x="1371707" y="1165983"/>
                  </a:lnTo>
                  <a:lnTo>
                    <a:pt x="1370506" y="1167493"/>
                  </a:lnTo>
                  <a:lnTo>
                    <a:pt x="1369308" y="1170185"/>
                  </a:lnTo>
                  <a:lnTo>
                    <a:pt x="1368161" y="1171635"/>
                  </a:lnTo>
                  <a:lnTo>
                    <a:pt x="1366850" y="1172643"/>
                  </a:lnTo>
                  <a:lnTo>
                    <a:pt x="1362089" y="1174693"/>
                  </a:lnTo>
                  <a:lnTo>
                    <a:pt x="1360340" y="1176557"/>
                  </a:lnTo>
                  <a:lnTo>
                    <a:pt x="1359632" y="1178184"/>
                  </a:lnTo>
                  <a:lnTo>
                    <a:pt x="1359648" y="1186548"/>
                  </a:lnTo>
                  <a:lnTo>
                    <a:pt x="1358854" y="1200883"/>
                  </a:lnTo>
                  <a:lnTo>
                    <a:pt x="1359023" y="1203631"/>
                  </a:lnTo>
                  <a:lnTo>
                    <a:pt x="1359244" y="1204074"/>
                  </a:lnTo>
                  <a:lnTo>
                    <a:pt x="1359631" y="1205787"/>
                  </a:lnTo>
                  <a:lnTo>
                    <a:pt x="1360522" y="1212730"/>
                  </a:lnTo>
                  <a:lnTo>
                    <a:pt x="1361020" y="1215122"/>
                  </a:lnTo>
                  <a:lnTo>
                    <a:pt x="1361517" y="1216482"/>
                  </a:lnTo>
                  <a:lnTo>
                    <a:pt x="1363331" y="1218104"/>
                  </a:lnTo>
                  <a:lnTo>
                    <a:pt x="1365145" y="1220168"/>
                  </a:lnTo>
                  <a:lnTo>
                    <a:pt x="1365916" y="1221318"/>
                  </a:lnTo>
                  <a:lnTo>
                    <a:pt x="1367786" y="1223413"/>
                  </a:lnTo>
                  <a:lnTo>
                    <a:pt x="1369985" y="1225151"/>
                  </a:lnTo>
                  <a:lnTo>
                    <a:pt x="1372458" y="1226683"/>
                  </a:lnTo>
                  <a:lnTo>
                    <a:pt x="1373558" y="1227538"/>
                  </a:lnTo>
                  <a:lnTo>
                    <a:pt x="1374623" y="1229248"/>
                  </a:lnTo>
                  <a:lnTo>
                    <a:pt x="1375452" y="1231492"/>
                  </a:lnTo>
                  <a:lnTo>
                    <a:pt x="1376785" y="1237458"/>
                  </a:lnTo>
                  <a:lnTo>
                    <a:pt x="1377448" y="1239053"/>
                  </a:lnTo>
                  <a:lnTo>
                    <a:pt x="1380314" y="1243064"/>
                  </a:lnTo>
                  <a:lnTo>
                    <a:pt x="1382472" y="1248791"/>
                  </a:lnTo>
                  <a:lnTo>
                    <a:pt x="1383243" y="1249646"/>
                  </a:lnTo>
                  <a:lnTo>
                    <a:pt x="1387428" y="1253166"/>
                  </a:lnTo>
                  <a:lnTo>
                    <a:pt x="1388477" y="1254686"/>
                  </a:lnTo>
                  <a:lnTo>
                    <a:pt x="1389527" y="1256838"/>
                  </a:lnTo>
                  <a:lnTo>
                    <a:pt x="1391027" y="1261947"/>
                  </a:lnTo>
                  <a:lnTo>
                    <a:pt x="1391366" y="1264989"/>
                  </a:lnTo>
                  <a:lnTo>
                    <a:pt x="1391353" y="1278201"/>
                  </a:lnTo>
                  <a:lnTo>
                    <a:pt x="1401555" y="1296756"/>
                  </a:lnTo>
                  <a:lnTo>
                    <a:pt x="1384288" y="1306888"/>
                  </a:lnTo>
                  <a:lnTo>
                    <a:pt x="1378087" y="1314175"/>
                  </a:lnTo>
                  <a:lnTo>
                    <a:pt x="1377486" y="1316364"/>
                  </a:lnTo>
                  <a:lnTo>
                    <a:pt x="1377325" y="1317635"/>
                  </a:lnTo>
                  <a:lnTo>
                    <a:pt x="1377878" y="1318669"/>
                  </a:lnTo>
                  <a:lnTo>
                    <a:pt x="1379426" y="1320941"/>
                  </a:lnTo>
                  <a:lnTo>
                    <a:pt x="1381475" y="1324718"/>
                  </a:lnTo>
                  <a:lnTo>
                    <a:pt x="1384956" y="1328668"/>
                  </a:lnTo>
                  <a:lnTo>
                    <a:pt x="1385564" y="1329152"/>
                  </a:lnTo>
                  <a:lnTo>
                    <a:pt x="1386229" y="1330614"/>
                  </a:lnTo>
                  <a:lnTo>
                    <a:pt x="1386677" y="1332799"/>
                  </a:lnTo>
                  <a:lnTo>
                    <a:pt x="1385975" y="1337738"/>
                  </a:lnTo>
                  <a:lnTo>
                    <a:pt x="1384768" y="1339633"/>
                  </a:lnTo>
                  <a:lnTo>
                    <a:pt x="1383117" y="1340405"/>
                  </a:lnTo>
                  <a:lnTo>
                    <a:pt x="1381793" y="1339833"/>
                  </a:lnTo>
                  <a:lnTo>
                    <a:pt x="1380633" y="1339038"/>
                  </a:lnTo>
                  <a:lnTo>
                    <a:pt x="1375658" y="1333553"/>
                  </a:lnTo>
                  <a:lnTo>
                    <a:pt x="1373545" y="1333397"/>
                  </a:lnTo>
                  <a:lnTo>
                    <a:pt x="1370681" y="1333906"/>
                  </a:lnTo>
                  <a:lnTo>
                    <a:pt x="1353485" y="1342600"/>
                  </a:lnTo>
                  <a:lnTo>
                    <a:pt x="1351887" y="1343076"/>
                  </a:lnTo>
                  <a:lnTo>
                    <a:pt x="1340918" y="1343772"/>
                  </a:lnTo>
                  <a:lnTo>
                    <a:pt x="1336507" y="1343273"/>
                  </a:lnTo>
                  <a:lnTo>
                    <a:pt x="1323915" y="1332748"/>
                  </a:lnTo>
                  <a:lnTo>
                    <a:pt x="1306926" y="1323605"/>
                  </a:lnTo>
                  <a:lnTo>
                    <a:pt x="1303621" y="1322939"/>
                  </a:lnTo>
                  <a:lnTo>
                    <a:pt x="1300977" y="1324105"/>
                  </a:lnTo>
                  <a:lnTo>
                    <a:pt x="1296074" y="1325168"/>
                  </a:lnTo>
                  <a:lnTo>
                    <a:pt x="1290657" y="1325254"/>
                  </a:lnTo>
                  <a:lnTo>
                    <a:pt x="1288233" y="1325844"/>
                  </a:lnTo>
                  <a:lnTo>
                    <a:pt x="1286965" y="1326434"/>
                  </a:lnTo>
                  <a:lnTo>
                    <a:pt x="1286689" y="1327409"/>
                  </a:lnTo>
                  <a:lnTo>
                    <a:pt x="1286688" y="1328235"/>
                  </a:lnTo>
                  <a:lnTo>
                    <a:pt x="1286743" y="1328709"/>
                  </a:lnTo>
                  <a:lnTo>
                    <a:pt x="1286963" y="1329180"/>
                  </a:lnTo>
                  <a:lnTo>
                    <a:pt x="1288008" y="1330837"/>
                  </a:lnTo>
                  <a:lnTo>
                    <a:pt x="1288283" y="1331562"/>
                  </a:lnTo>
                  <a:lnTo>
                    <a:pt x="1288558" y="1332760"/>
                  </a:lnTo>
                  <a:lnTo>
                    <a:pt x="1288611" y="1334296"/>
                  </a:lnTo>
                  <a:lnTo>
                    <a:pt x="1288058" y="1337546"/>
                  </a:lnTo>
                  <a:lnTo>
                    <a:pt x="1287118" y="1340767"/>
                  </a:lnTo>
                  <a:lnTo>
                    <a:pt x="1283305" y="1351196"/>
                  </a:lnTo>
                  <a:lnTo>
                    <a:pt x="1280820" y="1354651"/>
                  </a:lnTo>
                  <a:lnTo>
                    <a:pt x="1275023" y="1358898"/>
                  </a:lnTo>
                  <a:lnTo>
                    <a:pt x="1273900" y="1360612"/>
                  </a:lnTo>
                  <a:lnTo>
                    <a:pt x="1273566" y="1362326"/>
                  </a:lnTo>
                  <a:lnTo>
                    <a:pt x="1272792" y="1363328"/>
                  </a:lnTo>
                  <a:lnTo>
                    <a:pt x="1271798" y="1364125"/>
                  </a:lnTo>
                  <a:lnTo>
                    <a:pt x="1268762" y="1365570"/>
                  </a:lnTo>
                  <a:lnTo>
                    <a:pt x="1262576" y="1369401"/>
                  </a:lnTo>
                  <a:lnTo>
                    <a:pt x="1260862" y="1371304"/>
                  </a:lnTo>
                  <a:lnTo>
                    <a:pt x="1259810" y="1373089"/>
                  </a:lnTo>
                  <a:lnTo>
                    <a:pt x="1259364" y="1375497"/>
                  </a:lnTo>
                  <a:lnTo>
                    <a:pt x="1258308" y="1379145"/>
                  </a:lnTo>
                  <a:lnTo>
                    <a:pt x="1257146" y="1380414"/>
                  </a:lnTo>
                  <a:lnTo>
                    <a:pt x="1255599" y="1381105"/>
                  </a:lnTo>
                  <a:lnTo>
                    <a:pt x="1254034" y="1381457"/>
                  </a:lnTo>
                  <a:lnTo>
                    <a:pt x="1238716" y="1391336"/>
                  </a:lnTo>
                  <a:lnTo>
                    <a:pt x="1236117" y="1392481"/>
                  </a:lnTo>
                  <a:lnTo>
                    <a:pt x="1232730" y="1392502"/>
                  </a:lnTo>
                  <a:lnTo>
                    <a:pt x="1231295" y="1392052"/>
                  </a:lnTo>
                  <a:lnTo>
                    <a:pt x="1230358" y="1391194"/>
                  </a:lnTo>
                  <a:lnTo>
                    <a:pt x="1229754" y="1390217"/>
                  </a:lnTo>
                  <a:lnTo>
                    <a:pt x="1229590" y="1389567"/>
                  </a:lnTo>
                  <a:lnTo>
                    <a:pt x="1229428" y="1388502"/>
                  </a:lnTo>
                  <a:lnTo>
                    <a:pt x="1229209" y="1387910"/>
                  </a:lnTo>
                  <a:lnTo>
                    <a:pt x="1228052" y="1387080"/>
                  </a:lnTo>
                  <a:lnTo>
                    <a:pt x="1226231" y="1386718"/>
                  </a:lnTo>
                  <a:lnTo>
                    <a:pt x="1222750" y="1387121"/>
                  </a:lnTo>
                  <a:lnTo>
                    <a:pt x="1220926" y="1387972"/>
                  </a:lnTo>
                  <a:lnTo>
                    <a:pt x="1219596" y="1389061"/>
                  </a:lnTo>
                  <a:lnTo>
                    <a:pt x="1218764" y="1390182"/>
                  </a:lnTo>
                  <a:lnTo>
                    <a:pt x="1217987" y="1391405"/>
                  </a:lnTo>
                  <a:lnTo>
                    <a:pt x="1217541" y="1392658"/>
                  </a:lnTo>
                  <a:lnTo>
                    <a:pt x="1217371" y="1393886"/>
                  </a:lnTo>
                  <a:lnTo>
                    <a:pt x="1217479" y="1394669"/>
                  </a:lnTo>
                  <a:lnTo>
                    <a:pt x="1217917" y="1395587"/>
                  </a:lnTo>
                  <a:lnTo>
                    <a:pt x="1218245" y="1396592"/>
                  </a:lnTo>
                  <a:lnTo>
                    <a:pt x="1218187" y="1397418"/>
                  </a:lnTo>
                  <a:lnTo>
                    <a:pt x="1217407" y="1399235"/>
                  </a:lnTo>
                  <a:lnTo>
                    <a:pt x="1214682" y="1404278"/>
                  </a:lnTo>
                  <a:lnTo>
                    <a:pt x="1213332" y="1405811"/>
                  </a:lnTo>
                  <a:lnTo>
                    <a:pt x="1211505" y="1406852"/>
                  </a:lnTo>
                  <a:lnTo>
                    <a:pt x="1206692" y="1408074"/>
                  </a:lnTo>
                  <a:lnTo>
                    <a:pt x="1205582" y="1409224"/>
                  </a:lnTo>
                  <a:lnTo>
                    <a:pt x="1205411" y="1410568"/>
                  </a:lnTo>
                  <a:lnTo>
                    <a:pt x="1205519" y="1411203"/>
                  </a:lnTo>
                  <a:lnTo>
                    <a:pt x="1206613" y="1414281"/>
                  </a:lnTo>
                  <a:lnTo>
                    <a:pt x="1188799" y="1413496"/>
                  </a:lnTo>
                  <a:lnTo>
                    <a:pt x="1183432" y="1414594"/>
                  </a:lnTo>
                  <a:lnTo>
                    <a:pt x="1181315" y="1417983"/>
                  </a:lnTo>
                  <a:lnTo>
                    <a:pt x="1179368" y="1420426"/>
                  </a:lnTo>
                  <a:lnTo>
                    <a:pt x="1177873" y="1420861"/>
                  </a:lnTo>
                  <a:lnTo>
                    <a:pt x="1176770" y="1420354"/>
                  </a:lnTo>
                  <a:lnTo>
                    <a:pt x="1169543" y="1413933"/>
                  </a:lnTo>
                  <a:lnTo>
                    <a:pt x="1168106" y="1413836"/>
                  </a:lnTo>
                  <a:lnTo>
                    <a:pt x="1167382" y="1414807"/>
                  </a:lnTo>
                  <a:lnTo>
                    <a:pt x="1166433" y="1416516"/>
                  </a:lnTo>
                  <a:lnTo>
                    <a:pt x="1164653" y="1418429"/>
                  </a:lnTo>
                  <a:lnTo>
                    <a:pt x="1159497" y="1421088"/>
                  </a:lnTo>
                  <a:lnTo>
                    <a:pt x="1157276" y="1422641"/>
                  </a:lnTo>
                  <a:lnTo>
                    <a:pt x="1153192" y="1427493"/>
                  </a:lnTo>
                  <a:lnTo>
                    <a:pt x="1134953" y="1442497"/>
                  </a:lnTo>
                  <a:lnTo>
                    <a:pt x="1122660" y="1433339"/>
                  </a:lnTo>
                  <a:lnTo>
                    <a:pt x="1119531" y="1429874"/>
                  </a:lnTo>
                  <a:lnTo>
                    <a:pt x="1119482" y="1429045"/>
                  </a:lnTo>
                  <a:lnTo>
                    <a:pt x="1119397" y="1425528"/>
                  </a:lnTo>
                  <a:lnTo>
                    <a:pt x="1119033" y="1422274"/>
                  </a:lnTo>
                  <a:lnTo>
                    <a:pt x="1118102" y="1421115"/>
                  </a:lnTo>
                  <a:lnTo>
                    <a:pt x="1116665" y="1421046"/>
                  </a:lnTo>
                  <a:lnTo>
                    <a:pt x="1115444" y="1421715"/>
                  </a:lnTo>
                  <a:lnTo>
                    <a:pt x="1114497" y="1422596"/>
                  </a:lnTo>
                  <a:lnTo>
                    <a:pt x="1112134" y="1425533"/>
                  </a:lnTo>
                  <a:lnTo>
                    <a:pt x="1111193" y="1425689"/>
                  </a:lnTo>
                  <a:lnTo>
                    <a:pt x="1106714" y="1425655"/>
                  </a:lnTo>
                  <a:lnTo>
                    <a:pt x="1105217" y="1426071"/>
                  </a:lnTo>
                  <a:lnTo>
                    <a:pt x="1104215" y="1426892"/>
                  </a:lnTo>
                  <a:lnTo>
                    <a:pt x="1103875" y="1428011"/>
                  </a:lnTo>
                  <a:lnTo>
                    <a:pt x="1103809" y="1429341"/>
                  </a:lnTo>
                  <a:lnTo>
                    <a:pt x="1104183" y="1430985"/>
                  </a:lnTo>
                  <a:lnTo>
                    <a:pt x="1104562" y="1432050"/>
                  </a:lnTo>
                  <a:lnTo>
                    <a:pt x="1105106" y="1433224"/>
                  </a:lnTo>
                  <a:lnTo>
                    <a:pt x="1105707" y="1434173"/>
                  </a:lnTo>
                  <a:lnTo>
                    <a:pt x="1108645" y="1440638"/>
                  </a:lnTo>
                  <a:lnTo>
                    <a:pt x="1108632" y="1442353"/>
                  </a:lnTo>
                  <a:lnTo>
                    <a:pt x="1107790" y="1443972"/>
                  </a:lnTo>
                  <a:lnTo>
                    <a:pt x="1105219" y="1447113"/>
                  </a:lnTo>
                  <a:lnTo>
                    <a:pt x="1103387" y="1447839"/>
                  </a:lnTo>
                  <a:lnTo>
                    <a:pt x="1101782" y="1447798"/>
                  </a:lnTo>
                  <a:lnTo>
                    <a:pt x="1100353" y="1446545"/>
                  </a:lnTo>
                  <a:lnTo>
                    <a:pt x="1099201" y="1445264"/>
                  </a:lnTo>
                  <a:lnTo>
                    <a:pt x="1097564" y="1442384"/>
                  </a:lnTo>
                  <a:lnTo>
                    <a:pt x="1095614" y="1437257"/>
                  </a:lnTo>
                  <a:lnTo>
                    <a:pt x="1095020" y="1435447"/>
                  </a:lnTo>
                  <a:lnTo>
                    <a:pt x="1093471" y="1433159"/>
                  </a:lnTo>
                  <a:lnTo>
                    <a:pt x="1091053" y="1431248"/>
                  </a:lnTo>
                  <a:lnTo>
                    <a:pt x="1084668" y="1427559"/>
                  </a:lnTo>
                  <a:lnTo>
                    <a:pt x="1082077" y="1426620"/>
                  </a:lnTo>
                  <a:lnTo>
                    <a:pt x="1080526" y="1426873"/>
                  </a:lnTo>
                  <a:lnTo>
                    <a:pt x="1080352" y="1427816"/>
                  </a:lnTo>
                  <a:lnTo>
                    <a:pt x="1080506" y="1429208"/>
                  </a:lnTo>
                  <a:lnTo>
                    <a:pt x="1080828" y="1430393"/>
                  </a:lnTo>
                  <a:lnTo>
                    <a:pt x="1081207" y="1431341"/>
                  </a:lnTo>
                  <a:lnTo>
                    <a:pt x="1082352" y="1433288"/>
                  </a:lnTo>
                  <a:lnTo>
                    <a:pt x="1081287" y="1434799"/>
                  </a:lnTo>
                  <a:lnTo>
                    <a:pt x="1078887" y="1437174"/>
                  </a:lnTo>
                  <a:lnTo>
                    <a:pt x="1070269" y="1439785"/>
                  </a:lnTo>
                  <a:lnTo>
                    <a:pt x="1065919" y="1443454"/>
                  </a:lnTo>
                  <a:lnTo>
                    <a:pt x="1050763" y="1452103"/>
                  </a:lnTo>
                  <a:lnTo>
                    <a:pt x="1050369" y="1452778"/>
                  </a:lnTo>
                  <a:lnTo>
                    <a:pt x="1050360" y="1453635"/>
                  </a:lnTo>
                  <a:lnTo>
                    <a:pt x="1050403" y="1454936"/>
                  </a:lnTo>
                  <a:lnTo>
                    <a:pt x="1051319" y="1457517"/>
                  </a:lnTo>
                  <a:lnTo>
                    <a:pt x="1052572" y="1459613"/>
                  </a:lnTo>
                  <a:lnTo>
                    <a:pt x="1061030" y="1468871"/>
                  </a:lnTo>
                  <a:lnTo>
                    <a:pt x="1063838" y="1470788"/>
                  </a:lnTo>
                  <a:lnTo>
                    <a:pt x="1065165" y="1471067"/>
                  </a:lnTo>
                  <a:lnTo>
                    <a:pt x="1066058" y="1470351"/>
                  </a:lnTo>
                  <a:lnTo>
                    <a:pt x="1066955" y="1469133"/>
                  </a:lnTo>
                  <a:lnTo>
                    <a:pt x="1070754" y="1465577"/>
                  </a:lnTo>
                  <a:lnTo>
                    <a:pt x="1072644" y="1464839"/>
                  </a:lnTo>
                  <a:lnTo>
                    <a:pt x="1074158" y="1464853"/>
                  </a:lnTo>
                  <a:lnTo>
                    <a:pt x="1074928" y="1465438"/>
                  </a:lnTo>
                  <a:lnTo>
                    <a:pt x="1075477" y="1465988"/>
                  </a:lnTo>
                  <a:lnTo>
                    <a:pt x="1076024" y="1466687"/>
                  </a:lnTo>
                  <a:lnTo>
                    <a:pt x="1076019" y="1467352"/>
                  </a:lnTo>
                  <a:lnTo>
                    <a:pt x="1075844" y="1468297"/>
                  </a:lnTo>
                  <a:lnTo>
                    <a:pt x="1075280" y="1469459"/>
                  </a:lnTo>
                  <a:lnTo>
                    <a:pt x="1074270" y="1470853"/>
                  </a:lnTo>
                  <a:lnTo>
                    <a:pt x="1073805" y="1471220"/>
                  </a:lnTo>
                  <a:lnTo>
                    <a:pt x="1073414" y="1471644"/>
                  </a:lnTo>
                  <a:lnTo>
                    <a:pt x="1072911" y="1472113"/>
                  </a:lnTo>
                  <a:lnTo>
                    <a:pt x="1072294" y="1472906"/>
                  </a:lnTo>
                  <a:lnTo>
                    <a:pt x="1071901" y="1473522"/>
                  </a:lnTo>
                  <a:lnTo>
                    <a:pt x="1071672" y="1474318"/>
                  </a:lnTo>
                  <a:lnTo>
                    <a:pt x="1071607" y="1475383"/>
                  </a:lnTo>
                  <a:lnTo>
                    <a:pt x="1071706" y="1476728"/>
                  </a:lnTo>
                  <a:lnTo>
                    <a:pt x="1071751" y="1477895"/>
                  </a:lnTo>
                  <a:lnTo>
                    <a:pt x="1070455" y="1480264"/>
                  </a:lnTo>
                  <a:lnTo>
                    <a:pt x="1067766" y="1483415"/>
                  </a:lnTo>
                  <a:lnTo>
                    <a:pt x="1057480" y="1492511"/>
                  </a:lnTo>
                  <a:lnTo>
                    <a:pt x="1054638" y="1493960"/>
                  </a:lnTo>
                  <a:lnTo>
                    <a:pt x="1053344" y="1494066"/>
                  </a:lnTo>
                  <a:lnTo>
                    <a:pt x="1049580" y="1493424"/>
                  </a:lnTo>
                  <a:lnTo>
                    <a:pt x="1039405" y="1479917"/>
                  </a:lnTo>
                  <a:lnTo>
                    <a:pt x="1034722" y="1477240"/>
                  </a:lnTo>
                  <a:lnTo>
                    <a:pt x="1032151" y="1477566"/>
                  </a:lnTo>
                  <a:lnTo>
                    <a:pt x="1029883" y="1477217"/>
                  </a:lnTo>
                  <a:lnTo>
                    <a:pt x="1005119" y="1465534"/>
                  </a:lnTo>
                  <a:lnTo>
                    <a:pt x="999102" y="1463807"/>
                  </a:lnTo>
                  <a:lnTo>
                    <a:pt x="989172" y="1454558"/>
                  </a:lnTo>
                  <a:lnTo>
                    <a:pt x="987162" y="1451428"/>
                  </a:lnTo>
                  <a:lnTo>
                    <a:pt x="986905" y="1449800"/>
                  </a:lnTo>
                  <a:lnTo>
                    <a:pt x="988120" y="1450022"/>
                  </a:lnTo>
                  <a:lnTo>
                    <a:pt x="993570" y="1452540"/>
                  </a:lnTo>
                  <a:lnTo>
                    <a:pt x="996790" y="1453318"/>
                  </a:lnTo>
                  <a:lnTo>
                    <a:pt x="998395" y="1453353"/>
                  </a:lnTo>
                  <a:lnTo>
                    <a:pt x="999784" y="1452926"/>
                  </a:lnTo>
                  <a:lnTo>
                    <a:pt x="1000245" y="1451437"/>
                  </a:lnTo>
                  <a:lnTo>
                    <a:pt x="999943" y="1448922"/>
                  </a:lnTo>
                  <a:lnTo>
                    <a:pt x="997619" y="1444106"/>
                  </a:lnTo>
                  <a:lnTo>
                    <a:pt x="997042" y="1441470"/>
                  </a:lnTo>
                  <a:lnTo>
                    <a:pt x="997340" y="1439700"/>
                  </a:lnTo>
                  <a:lnTo>
                    <a:pt x="1000363" y="1436736"/>
                  </a:lnTo>
                  <a:lnTo>
                    <a:pt x="1001318" y="1435462"/>
                  </a:lnTo>
                  <a:lnTo>
                    <a:pt x="1002170" y="1433580"/>
                  </a:lnTo>
                  <a:lnTo>
                    <a:pt x="1002905" y="1432258"/>
                  </a:lnTo>
                  <a:lnTo>
                    <a:pt x="1004019" y="1431562"/>
                  </a:lnTo>
                  <a:lnTo>
                    <a:pt x="1005400" y="1431726"/>
                  </a:lnTo>
                  <a:lnTo>
                    <a:pt x="1007879" y="1432671"/>
                  </a:lnTo>
                  <a:lnTo>
                    <a:pt x="1009263" y="1432657"/>
                  </a:lnTo>
                  <a:lnTo>
                    <a:pt x="1011929" y="1431653"/>
                  </a:lnTo>
                  <a:lnTo>
                    <a:pt x="1022028" y="1430554"/>
                  </a:lnTo>
                  <a:lnTo>
                    <a:pt x="1023372" y="1428972"/>
                  </a:lnTo>
                  <a:lnTo>
                    <a:pt x="1024233" y="1426145"/>
                  </a:lnTo>
                  <a:lnTo>
                    <a:pt x="1023009" y="1411649"/>
                  </a:lnTo>
                  <a:lnTo>
                    <a:pt x="1023253" y="1409522"/>
                  </a:lnTo>
                  <a:lnTo>
                    <a:pt x="1023719" y="1407283"/>
                  </a:lnTo>
                  <a:lnTo>
                    <a:pt x="1023921" y="1404003"/>
                  </a:lnTo>
                  <a:lnTo>
                    <a:pt x="1023338" y="1401781"/>
                  </a:lnTo>
                  <a:lnTo>
                    <a:pt x="1021816" y="1399414"/>
                  </a:lnTo>
                  <a:lnTo>
                    <a:pt x="1021504" y="1397683"/>
                  </a:lnTo>
                  <a:lnTo>
                    <a:pt x="1021850" y="1396356"/>
                  </a:lnTo>
                  <a:lnTo>
                    <a:pt x="1023866" y="1393925"/>
                  </a:lnTo>
                  <a:lnTo>
                    <a:pt x="1024657" y="1392219"/>
                  </a:lnTo>
                  <a:lnTo>
                    <a:pt x="1024506" y="1390917"/>
                  </a:lnTo>
                  <a:lnTo>
                    <a:pt x="1023578" y="1389901"/>
                  </a:lnTo>
                  <a:lnTo>
                    <a:pt x="1020830" y="1388660"/>
                  </a:lnTo>
                  <a:lnTo>
                    <a:pt x="1019138" y="1386839"/>
                  </a:lnTo>
                  <a:lnTo>
                    <a:pt x="1016806" y="1383118"/>
                  </a:lnTo>
                  <a:lnTo>
                    <a:pt x="1010013" y="1367140"/>
                  </a:lnTo>
                  <a:lnTo>
                    <a:pt x="1009339" y="1363349"/>
                  </a:lnTo>
                  <a:lnTo>
                    <a:pt x="1010072" y="1361998"/>
                  </a:lnTo>
                  <a:lnTo>
                    <a:pt x="1013331" y="1361741"/>
                  </a:lnTo>
                  <a:lnTo>
                    <a:pt x="1014660" y="1361252"/>
                  </a:lnTo>
                  <a:lnTo>
                    <a:pt x="1015682" y="1360288"/>
                  </a:lnTo>
                  <a:lnTo>
                    <a:pt x="1016423" y="1358169"/>
                  </a:lnTo>
                  <a:lnTo>
                    <a:pt x="1016845" y="1354936"/>
                  </a:lnTo>
                  <a:lnTo>
                    <a:pt x="1017026" y="1348688"/>
                  </a:lnTo>
                  <a:lnTo>
                    <a:pt x="1017504" y="1345355"/>
                  </a:lnTo>
                  <a:lnTo>
                    <a:pt x="1018403" y="1343842"/>
                  </a:lnTo>
                  <a:lnTo>
                    <a:pt x="1019615" y="1343988"/>
                  </a:lnTo>
                  <a:lnTo>
                    <a:pt x="1021968" y="1345550"/>
                  </a:lnTo>
                  <a:lnTo>
                    <a:pt x="1022956" y="1345976"/>
                  </a:lnTo>
                  <a:lnTo>
                    <a:pt x="1024386" y="1346227"/>
                  </a:lnTo>
                  <a:lnTo>
                    <a:pt x="1025986" y="1346157"/>
                  </a:lnTo>
                  <a:lnTo>
                    <a:pt x="1027318" y="1345343"/>
                  </a:lnTo>
                  <a:lnTo>
                    <a:pt x="1027439" y="1344399"/>
                  </a:lnTo>
                  <a:lnTo>
                    <a:pt x="1024086" y="1338378"/>
                  </a:lnTo>
                  <a:lnTo>
                    <a:pt x="1023560" y="1336169"/>
                  </a:lnTo>
                  <a:lnTo>
                    <a:pt x="1023578" y="1334515"/>
                  </a:lnTo>
                  <a:lnTo>
                    <a:pt x="1024196" y="1333399"/>
                  </a:lnTo>
                  <a:lnTo>
                    <a:pt x="1024976" y="1332667"/>
                  </a:lnTo>
                  <a:lnTo>
                    <a:pt x="1025695" y="1332411"/>
                  </a:lnTo>
                  <a:lnTo>
                    <a:pt x="1026411" y="1332478"/>
                  </a:lnTo>
                  <a:lnTo>
                    <a:pt x="1027179" y="1332824"/>
                  </a:lnTo>
                  <a:lnTo>
                    <a:pt x="1035778" y="1339553"/>
                  </a:lnTo>
                  <a:lnTo>
                    <a:pt x="1036819" y="1340155"/>
                  </a:lnTo>
                  <a:lnTo>
                    <a:pt x="1038978" y="1339320"/>
                  </a:lnTo>
                  <a:lnTo>
                    <a:pt x="1042130" y="1332968"/>
                  </a:lnTo>
                  <a:lnTo>
                    <a:pt x="1035247" y="1325449"/>
                  </a:lnTo>
                  <a:lnTo>
                    <a:pt x="1032940" y="1319601"/>
                  </a:lnTo>
                  <a:lnTo>
                    <a:pt x="1032057" y="1314568"/>
                  </a:lnTo>
                  <a:lnTo>
                    <a:pt x="1031092" y="1312133"/>
                  </a:lnTo>
                  <a:lnTo>
                    <a:pt x="1029844" y="1310377"/>
                  </a:lnTo>
                  <a:lnTo>
                    <a:pt x="1022835" y="1306873"/>
                  </a:lnTo>
                  <a:lnTo>
                    <a:pt x="1021588" y="1305114"/>
                  </a:lnTo>
                  <a:lnTo>
                    <a:pt x="1020897" y="1302951"/>
                  </a:lnTo>
                  <a:lnTo>
                    <a:pt x="1020216" y="1299839"/>
                  </a:lnTo>
                  <a:lnTo>
                    <a:pt x="1019346" y="1298884"/>
                  </a:lnTo>
                  <a:lnTo>
                    <a:pt x="1017692" y="1299132"/>
                  </a:lnTo>
                  <a:lnTo>
                    <a:pt x="1013691" y="1300905"/>
                  </a:lnTo>
                  <a:lnTo>
                    <a:pt x="1009276" y="1301845"/>
                  </a:lnTo>
                  <a:lnTo>
                    <a:pt x="1006691" y="1301666"/>
                  </a:lnTo>
                  <a:lnTo>
                    <a:pt x="1003782" y="1301011"/>
                  </a:lnTo>
                  <a:lnTo>
                    <a:pt x="999402" y="1299067"/>
                  </a:lnTo>
                  <a:lnTo>
                    <a:pt x="997829" y="1297098"/>
                  </a:lnTo>
                  <a:lnTo>
                    <a:pt x="996429" y="1294555"/>
                  </a:lnTo>
                  <a:lnTo>
                    <a:pt x="995322" y="1293523"/>
                  </a:lnTo>
                  <a:lnTo>
                    <a:pt x="994004" y="1293358"/>
                  </a:lnTo>
                  <a:lnTo>
                    <a:pt x="992732" y="1293891"/>
                  </a:lnTo>
                  <a:lnTo>
                    <a:pt x="991621" y="1294748"/>
                  </a:lnTo>
                  <a:lnTo>
                    <a:pt x="989779" y="1296794"/>
                  </a:lnTo>
                  <a:lnTo>
                    <a:pt x="988940" y="1297937"/>
                  </a:lnTo>
                  <a:lnTo>
                    <a:pt x="987991" y="1298988"/>
                  </a:lnTo>
                  <a:lnTo>
                    <a:pt x="986330" y="1299825"/>
                  </a:lnTo>
                  <a:lnTo>
                    <a:pt x="983849" y="1300194"/>
                  </a:lnTo>
                  <a:lnTo>
                    <a:pt x="979173" y="1299958"/>
                  </a:lnTo>
                  <a:lnTo>
                    <a:pt x="976268" y="1298946"/>
                  </a:lnTo>
                  <a:lnTo>
                    <a:pt x="974449" y="1297784"/>
                  </a:lnTo>
                  <a:lnTo>
                    <a:pt x="973640" y="1296532"/>
                  </a:lnTo>
                  <a:lnTo>
                    <a:pt x="973218" y="1295080"/>
                  </a:lnTo>
                  <a:lnTo>
                    <a:pt x="973074" y="1293450"/>
                  </a:lnTo>
                  <a:lnTo>
                    <a:pt x="973041" y="1291737"/>
                  </a:lnTo>
                  <a:lnTo>
                    <a:pt x="973176" y="1289802"/>
                  </a:lnTo>
                  <a:lnTo>
                    <a:pt x="973145" y="1287925"/>
                  </a:lnTo>
                  <a:lnTo>
                    <a:pt x="971965" y="1285634"/>
                  </a:lnTo>
                  <a:lnTo>
                    <a:pt x="970545" y="1284817"/>
                  </a:lnTo>
                  <a:lnTo>
                    <a:pt x="964828" y="1284550"/>
                  </a:lnTo>
                  <a:lnTo>
                    <a:pt x="958253" y="1290744"/>
                  </a:lnTo>
                  <a:lnTo>
                    <a:pt x="955303" y="1287837"/>
                  </a:lnTo>
                  <a:lnTo>
                    <a:pt x="938783" y="1292750"/>
                  </a:lnTo>
                  <a:lnTo>
                    <a:pt x="933486" y="1292482"/>
                  </a:lnTo>
                  <a:lnTo>
                    <a:pt x="932565" y="1291478"/>
                  </a:lnTo>
                  <a:lnTo>
                    <a:pt x="931979" y="1290170"/>
                  </a:lnTo>
                  <a:lnTo>
                    <a:pt x="931507" y="1288522"/>
                  </a:lnTo>
                  <a:lnTo>
                    <a:pt x="931319" y="1286392"/>
                  </a:lnTo>
                  <a:lnTo>
                    <a:pt x="931362" y="1283377"/>
                  </a:lnTo>
                  <a:lnTo>
                    <a:pt x="931680" y="1280412"/>
                  </a:lnTo>
                  <a:lnTo>
                    <a:pt x="932260" y="1278381"/>
                  </a:lnTo>
                  <a:lnTo>
                    <a:pt x="933050" y="1277002"/>
                  </a:lnTo>
                  <a:lnTo>
                    <a:pt x="934054" y="1276041"/>
                  </a:lnTo>
                  <a:lnTo>
                    <a:pt x="936440" y="1274568"/>
                  </a:lnTo>
                  <a:lnTo>
                    <a:pt x="937302" y="1273221"/>
                  </a:lnTo>
                  <a:lnTo>
                    <a:pt x="937771" y="1271175"/>
                  </a:lnTo>
                  <a:lnTo>
                    <a:pt x="937005" y="1267071"/>
                  </a:lnTo>
                  <a:lnTo>
                    <a:pt x="936877" y="1264496"/>
                  </a:lnTo>
                  <a:lnTo>
                    <a:pt x="937182" y="1262432"/>
                  </a:lnTo>
                  <a:lnTo>
                    <a:pt x="937858" y="1261259"/>
                  </a:lnTo>
                  <a:lnTo>
                    <a:pt x="939032" y="1259858"/>
                  </a:lnTo>
                  <a:lnTo>
                    <a:pt x="939222" y="1258115"/>
                  </a:lnTo>
                  <a:lnTo>
                    <a:pt x="939040" y="1255453"/>
                  </a:lnTo>
                  <a:lnTo>
                    <a:pt x="938095" y="1248582"/>
                  </a:lnTo>
                  <a:lnTo>
                    <a:pt x="937985" y="1244769"/>
                  </a:lnTo>
                  <a:lnTo>
                    <a:pt x="938139" y="1241638"/>
                  </a:lnTo>
                  <a:lnTo>
                    <a:pt x="938615" y="1239102"/>
                  </a:lnTo>
                  <a:lnTo>
                    <a:pt x="939066" y="1238252"/>
                  </a:lnTo>
                  <a:lnTo>
                    <a:pt x="939737" y="1237478"/>
                  </a:lnTo>
                  <a:lnTo>
                    <a:pt x="940514" y="1236824"/>
                  </a:lnTo>
                  <a:lnTo>
                    <a:pt x="941577" y="1235479"/>
                  </a:lnTo>
                  <a:lnTo>
                    <a:pt x="942310" y="1234100"/>
                  </a:lnTo>
                  <a:lnTo>
                    <a:pt x="942936" y="1232542"/>
                  </a:lnTo>
                  <a:lnTo>
                    <a:pt x="943465" y="1230069"/>
                  </a:lnTo>
                  <a:lnTo>
                    <a:pt x="943813" y="1228712"/>
                  </a:lnTo>
                  <a:lnTo>
                    <a:pt x="944261" y="1228099"/>
                  </a:lnTo>
                  <a:lnTo>
                    <a:pt x="945316" y="1227256"/>
                  </a:lnTo>
                  <a:lnTo>
                    <a:pt x="949965" y="1224513"/>
                  </a:lnTo>
                  <a:lnTo>
                    <a:pt x="951965" y="1222767"/>
                  </a:lnTo>
                  <a:lnTo>
                    <a:pt x="953975" y="1220239"/>
                  </a:lnTo>
                  <a:lnTo>
                    <a:pt x="955043" y="1218391"/>
                  </a:lnTo>
                  <a:lnTo>
                    <a:pt x="958466" y="1210072"/>
                  </a:lnTo>
                  <a:lnTo>
                    <a:pt x="960648" y="1202847"/>
                  </a:lnTo>
                  <a:lnTo>
                    <a:pt x="961148" y="1198272"/>
                  </a:lnTo>
                  <a:lnTo>
                    <a:pt x="960844" y="1192370"/>
                  </a:lnTo>
                  <a:lnTo>
                    <a:pt x="961156" y="1189582"/>
                  </a:lnTo>
                  <a:lnTo>
                    <a:pt x="961783" y="1187816"/>
                  </a:lnTo>
                  <a:lnTo>
                    <a:pt x="964338" y="1185250"/>
                  </a:lnTo>
                  <a:lnTo>
                    <a:pt x="964513" y="1184395"/>
                  </a:lnTo>
                  <a:lnTo>
                    <a:pt x="964087" y="1183503"/>
                  </a:lnTo>
                  <a:lnTo>
                    <a:pt x="962948" y="1182690"/>
                  </a:lnTo>
                  <a:lnTo>
                    <a:pt x="960059" y="1181514"/>
                  </a:lnTo>
                  <a:lnTo>
                    <a:pt x="958198" y="1181384"/>
                  </a:lnTo>
                  <a:lnTo>
                    <a:pt x="956945" y="1179506"/>
                  </a:lnTo>
                  <a:lnTo>
                    <a:pt x="956799" y="1178204"/>
                  </a:lnTo>
                  <a:lnTo>
                    <a:pt x="957364" y="1176911"/>
                  </a:lnTo>
                  <a:lnTo>
                    <a:pt x="960727" y="1172672"/>
                  </a:lnTo>
                  <a:lnTo>
                    <a:pt x="962574" y="1169709"/>
                  </a:lnTo>
                  <a:lnTo>
                    <a:pt x="963422" y="1167711"/>
                  </a:lnTo>
                  <a:lnTo>
                    <a:pt x="964454" y="1164238"/>
                  </a:lnTo>
                  <a:lnTo>
                    <a:pt x="963320" y="1163041"/>
                  </a:lnTo>
                  <a:lnTo>
                    <a:pt x="962341" y="1162585"/>
                  </a:lnTo>
                  <a:lnTo>
                    <a:pt x="960416" y="1163209"/>
                  </a:lnTo>
                  <a:lnTo>
                    <a:pt x="958156" y="1164359"/>
                  </a:lnTo>
                  <a:lnTo>
                    <a:pt x="954505" y="1165699"/>
                  </a:lnTo>
                  <a:lnTo>
                    <a:pt x="946440" y="1166860"/>
                  </a:lnTo>
                  <a:lnTo>
                    <a:pt x="930663" y="1165984"/>
                  </a:lnTo>
                  <a:lnTo>
                    <a:pt x="928743" y="1166250"/>
                  </a:lnTo>
                  <a:lnTo>
                    <a:pt x="922461" y="1168863"/>
                  </a:lnTo>
                  <a:lnTo>
                    <a:pt x="918779" y="1169650"/>
                  </a:lnTo>
                  <a:lnTo>
                    <a:pt x="915215" y="1168738"/>
                  </a:lnTo>
                  <a:lnTo>
                    <a:pt x="920440" y="1153950"/>
                  </a:lnTo>
                  <a:lnTo>
                    <a:pt x="921302" y="1147579"/>
                  </a:lnTo>
                  <a:lnTo>
                    <a:pt x="920711" y="1143285"/>
                  </a:lnTo>
                  <a:lnTo>
                    <a:pt x="920096" y="1140496"/>
                  </a:lnTo>
                  <a:lnTo>
                    <a:pt x="919624" y="1139160"/>
                  </a:lnTo>
                  <a:lnTo>
                    <a:pt x="918776" y="1137343"/>
                  </a:lnTo>
                  <a:lnTo>
                    <a:pt x="917105" y="1134540"/>
                  </a:lnTo>
                  <a:lnTo>
                    <a:pt x="908802" y="1130333"/>
                  </a:lnTo>
                  <a:lnTo>
                    <a:pt x="904160" y="1129981"/>
                  </a:lnTo>
                  <a:lnTo>
                    <a:pt x="895042" y="1131329"/>
                  </a:lnTo>
                  <a:lnTo>
                    <a:pt x="892966" y="1131178"/>
                  </a:lnTo>
                  <a:lnTo>
                    <a:pt x="892265" y="1130576"/>
                  </a:lnTo>
                  <a:lnTo>
                    <a:pt x="893157" y="1129525"/>
                  </a:lnTo>
                  <a:lnTo>
                    <a:pt x="895711" y="1127173"/>
                  </a:lnTo>
                  <a:lnTo>
                    <a:pt x="897269" y="1125452"/>
                  </a:lnTo>
                  <a:lnTo>
                    <a:pt x="898672" y="1123170"/>
                  </a:lnTo>
                  <a:lnTo>
                    <a:pt x="899255" y="1122026"/>
                  </a:lnTo>
                  <a:lnTo>
                    <a:pt x="903438" y="1106382"/>
                  </a:lnTo>
                  <a:lnTo>
                    <a:pt x="903979" y="1103244"/>
                  </a:lnTo>
                  <a:lnTo>
                    <a:pt x="903564" y="1101922"/>
                  </a:lnTo>
                  <a:lnTo>
                    <a:pt x="890103" y="1095485"/>
                  </a:lnTo>
                  <a:lnTo>
                    <a:pt x="888630" y="1095402"/>
                  </a:lnTo>
                  <a:lnTo>
                    <a:pt x="886825" y="1095579"/>
                  </a:lnTo>
                  <a:lnTo>
                    <a:pt x="885343" y="1096013"/>
                  </a:lnTo>
                  <a:lnTo>
                    <a:pt x="883965" y="1096805"/>
                  </a:lnTo>
                  <a:lnTo>
                    <a:pt x="883133" y="1097528"/>
                  </a:lnTo>
                  <a:lnTo>
                    <a:pt x="882463" y="1098434"/>
                  </a:lnTo>
                  <a:lnTo>
                    <a:pt x="881843" y="1099575"/>
                  </a:lnTo>
                  <a:lnTo>
                    <a:pt x="881613" y="1100311"/>
                  </a:lnTo>
                  <a:lnTo>
                    <a:pt x="881490" y="1101136"/>
                  </a:lnTo>
                  <a:lnTo>
                    <a:pt x="881579" y="1102351"/>
                  </a:lnTo>
                  <a:lnTo>
                    <a:pt x="879984" y="1102944"/>
                  </a:lnTo>
                  <a:lnTo>
                    <a:pt x="876756" y="1102153"/>
                  </a:lnTo>
                  <a:lnTo>
                    <a:pt x="867876" y="1097569"/>
                  </a:lnTo>
                  <a:lnTo>
                    <a:pt x="864693" y="1095326"/>
                  </a:lnTo>
                  <a:lnTo>
                    <a:pt x="863192" y="1093705"/>
                  </a:lnTo>
                  <a:lnTo>
                    <a:pt x="863749" y="1093034"/>
                  </a:lnTo>
                  <a:lnTo>
                    <a:pt x="864526" y="1092308"/>
                  </a:lnTo>
                  <a:lnTo>
                    <a:pt x="865088" y="1091431"/>
                  </a:lnTo>
                  <a:lnTo>
                    <a:pt x="865375" y="1090579"/>
                  </a:lnTo>
                  <a:lnTo>
                    <a:pt x="865345" y="1089191"/>
                  </a:lnTo>
                  <a:lnTo>
                    <a:pt x="865253" y="1088211"/>
                  </a:lnTo>
                  <a:lnTo>
                    <a:pt x="865318" y="1087593"/>
                  </a:lnTo>
                  <a:lnTo>
                    <a:pt x="865546" y="1087049"/>
                  </a:lnTo>
                  <a:lnTo>
                    <a:pt x="866046" y="1086528"/>
                  </a:lnTo>
                  <a:lnTo>
                    <a:pt x="868198" y="1085218"/>
                  </a:lnTo>
                  <a:lnTo>
                    <a:pt x="870193" y="1083478"/>
                  </a:lnTo>
                  <a:lnTo>
                    <a:pt x="871196" y="1082254"/>
                  </a:lnTo>
                  <a:lnTo>
                    <a:pt x="872207" y="1080587"/>
                  </a:lnTo>
                  <a:lnTo>
                    <a:pt x="872606" y="1079590"/>
                  </a:lnTo>
                  <a:lnTo>
                    <a:pt x="872901" y="1078322"/>
                  </a:lnTo>
                  <a:lnTo>
                    <a:pt x="873265" y="1076155"/>
                  </a:lnTo>
                  <a:lnTo>
                    <a:pt x="872961" y="1074778"/>
                  </a:lnTo>
                  <a:lnTo>
                    <a:pt x="868827" y="1064450"/>
                  </a:lnTo>
                  <a:lnTo>
                    <a:pt x="866095" y="1055270"/>
                  </a:lnTo>
                  <a:lnTo>
                    <a:pt x="865857" y="1053256"/>
                  </a:lnTo>
                  <a:lnTo>
                    <a:pt x="865986" y="1052091"/>
                  </a:lnTo>
                  <a:lnTo>
                    <a:pt x="866274" y="1051195"/>
                  </a:lnTo>
                  <a:lnTo>
                    <a:pt x="870096" y="1044521"/>
                  </a:lnTo>
                  <a:lnTo>
                    <a:pt x="870668" y="1042933"/>
                  </a:lnTo>
                  <a:lnTo>
                    <a:pt x="870599" y="1040613"/>
                  </a:lnTo>
                  <a:lnTo>
                    <a:pt x="870222" y="1037163"/>
                  </a:lnTo>
                  <a:lnTo>
                    <a:pt x="866397" y="1031482"/>
                  </a:lnTo>
                  <a:lnTo>
                    <a:pt x="856705" y="1027115"/>
                  </a:lnTo>
                  <a:lnTo>
                    <a:pt x="853820" y="1023931"/>
                  </a:lnTo>
                  <a:lnTo>
                    <a:pt x="853574" y="1022493"/>
                  </a:lnTo>
                  <a:lnTo>
                    <a:pt x="853652" y="1021179"/>
                  </a:lnTo>
                  <a:lnTo>
                    <a:pt x="854172" y="1019475"/>
                  </a:lnTo>
                  <a:lnTo>
                    <a:pt x="855427" y="1016246"/>
                  </a:lnTo>
                  <a:lnTo>
                    <a:pt x="855910" y="1013549"/>
                  </a:lnTo>
                  <a:lnTo>
                    <a:pt x="854744" y="1011755"/>
                  </a:lnTo>
                  <a:lnTo>
                    <a:pt x="852162" y="1010040"/>
                  </a:lnTo>
                  <a:lnTo>
                    <a:pt x="827125" y="1006081"/>
                  </a:lnTo>
                  <a:lnTo>
                    <a:pt x="820016" y="1006876"/>
                  </a:lnTo>
                  <a:lnTo>
                    <a:pt x="815508" y="1006391"/>
                  </a:lnTo>
                  <a:lnTo>
                    <a:pt x="810108" y="1006998"/>
                  </a:lnTo>
                  <a:lnTo>
                    <a:pt x="805890" y="1008319"/>
                  </a:lnTo>
                  <a:lnTo>
                    <a:pt x="804201" y="1008404"/>
                  </a:lnTo>
                  <a:lnTo>
                    <a:pt x="803395" y="1007870"/>
                  </a:lnTo>
                  <a:lnTo>
                    <a:pt x="803756" y="1006150"/>
                  </a:lnTo>
                  <a:lnTo>
                    <a:pt x="805286" y="1003075"/>
                  </a:lnTo>
                  <a:lnTo>
                    <a:pt x="805959" y="1002053"/>
                  </a:lnTo>
                  <a:lnTo>
                    <a:pt x="806805" y="1000562"/>
                  </a:lnTo>
                  <a:lnTo>
                    <a:pt x="807377" y="999155"/>
                  </a:lnTo>
                  <a:lnTo>
                    <a:pt x="807575" y="997385"/>
                  </a:lnTo>
                  <a:lnTo>
                    <a:pt x="807504" y="995463"/>
                  </a:lnTo>
                  <a:lnTo>
                    <a:pt x="807017" y="992541"/>
                  </a:lnTo>
                  <a:lnTo>
                    <a:pt x="806458" y="990566"/>
                  </a:lnTo>
                  <a:lnTo>
                    <a:pt x="803131" y="982785"/>
                  </a:lnTo>
                  <a:lnTo>
                    <a:pt x="801059" y="976713"/>
                  </a:lnTo>
                  <a:lnTo>
                    <a:pt x="812116" y="973737"/>
                  </a:lnTo>
                  <a:lnTo>
                    <a:pt x="819928" y="974568"/>
                  </a:lnTo>
                  <a:lnTo>
                    <a:pt x="821408" y="973916"/>
                  </a:lnTo>
                  <a:lnTo>
                    <a:pt x="822029" y="972716"/>
                  </a:lnTo>
                  <a:lnTo>
                    <a:pt x="821467" y="967990"/>
                  </a:lnTo>
                  <a:lnTo>
                    <a:pt x="820499" y="964647"/>
                  </a:lnTo>
                  <a:lnTo>
                    <a:pt x="819823" y="963052"/>
                  </a:lnTo>
                  <a:lnTo>
                    <a:pt x="819259" y="961313"/>
                  </a:lnTo>
                  <a:lnTo>
                    <a:pt x="819070" y="959832"/>
                  </a:lnTo>
                  <a:lnTo>
                    <a:pt x="820321" y="956900"/>
                  </a:lnTo>
                  <a:lnTo>
                    <a:pt x="822698" y="954743"/>
                  </a:lnTo>
                  <a:lnTo>
                    <a:pt x="830472" y="949583"/>
                  </a:lnTo>
                  <a:lnTo>
                    <a:pt x="831256" y="948297"/>
                  </a:lnTo>
                  <a:lnTo>
                    <a:pt x="830617" y="947678"/>
                  </a:lnTo>
                  <a:lnTo>
                    <a:pt x="829055" y="946955"/>
                  </a:lnTo>
                  <a:lnTo>
                    <a:pt x="821310" y="944976"/>
                  </a:lnTo>
                  <a:lnTo>
                    <a:pt x="809801" y="939361"/>
                  </a:lnTo>
                  <a:lnTo>
                    <a:pt x="803465" y="937655"/>
                  </a:lnTo>
                  <a:lnTo>
                    <a:pt x="802396" y="936822"/>
                  </a:lnTo>
                  <a:lnTo>
                    <a:pt x="801390" y="935545"/>
                  </a:lnTo>
                  <a:lnTo>
                    <a:pt x="800248" y="932950"/>
                  </a:lnTo>
                  <a:lnTo>
                    <a:pt x="800010" y="931261"/>
                  </a:lnTo>
                  <a:lnTo>
                    <a:pt x="800144" y="930007"/>
                  </a:lnTo>
                  <a:lnTo>
                    <a:pt x="800944" y="927998"/>
                  </a:lnTo>
                  <a:lnTo>
                    <a:pt x="801716" y="924688"/>
                  </a:lnTo>
                  <a:lnTo>
                    <a:pt x="802576" y="919608"/>
                  </a:lnTo>
                  <a:lnTo>
                    <a:pt x="804354" y="903828"/>
                  </a:lnTo>
                  <a:lnTo>
                    <a:pt x="805042" y="900147"/>
                  </a:lnTo>
                  <a:lnTo>
                    <a:pt x="807272" y="894249"/>
                  </a:lnTo>
                  <a:lnTo>
                    <a:pt x="808397" y="892172"/>
                  </a:lnTo>
                  <a:lnTo>
                    <a:pt x="809673" y="890661"/>
                  </a:lnTo>
                  <a:lnTo>
                    <a:pt x="811367" y="889911"/>
                  </a:lnTo>
                  <a:lnTo>
                    <a:pt x="813268" y="889682"/>
                  </a:lnTo>
                  <a:lnTo>
                    <a:pt x="821317" y="890886"/>
                  </a:lnTo>
                  <a:lnTo>
                    <a:pt x="824140" y="890614"/>
                  </a:lnTo>
                  <a:lnTo>
                    <a:pt x="827132" y="888083"/>
                  </a:lnTo>
                  <a:lnTo>
                    <a:pt x="828993" y="887069"/>
                  </a:lnTo>
                  <a:lnTo>
                    <a:pt x="832866" y="885664"/>
                  </a:lnTo>
                  <a:lnTo>
                    <a:pt x="834313" y="883592"/>
                  </a:lnTo>
                  <a:lnTo>
                    <a:pt x="840678" y="870380"/>
                  </a:lnTo>
                  <a:lnTo>
                    <a:pt x="852506" y="851869"/>
                  </a:lnTo>
                  <a:lnTo>
                    <a:pt x="846747" y="832538"/>
                  </a:lnTo>
                  <a:lnTo>
                    <a:pt x="846412" y="830139"/>
                  </a:lnTo>
                  <a:lnTo>
                    <a:pt x="846197" y="827119"/>
                  </a:lnTo>
                  <a:lnTo>
                    <a:pt x="847027" y="826070"/>
                  </a:lnTo>
                  <a:lnTo>
                    <a:pt x="849163" y="824483"/>
                  </a:lnTo>
                  <a:lnTo>
                    <a:pt x="850474" y="823738"/>
                  </a:lnTo>
                  <a:lnTo>
                    <a:pt x="852234" y="822027"/>
                  </a:lnTo>
                  <a:lnTo>
                    <a:pt x="853733" y="819806"/>
                  </a:lnTo>
                  <a:lnTo>
                    <a:pt x="855320" y="815667"/>
                  </a:lnTo>
                  <a:lnTo>
                    <a:pt x="855189" y="813921"/>
                  </a:lnTo>
                  <a:lnTo>
                    <a:pt x="854345" y="812841"/>
                  </a:lnTo>
                  <a:lnTo>
                    <a:pt x="851601" y="812260"/>
                  </a:lnTo>
                  <a:lnTo>
                    <a:pt x="850259" y="811762"/>
                  </a:lnTo>
                  <a:lnTo>
                    <a:pt x="848925" y="810883"/>
                  </a:lnTo>
                  <a:lnTo>
                    <a:pt x="847808" y="809947"/>
                  </a:lnTo>
                  <a:lnTo>
                    <a:pt x="847066" y="809150"/>
                  </a:lnTo>
                  <a:lnTo>
                    <a:pt x="842375" y="801925"/>
                  </a:lnTo>
                  <a:lnTo>
                    <a:pt x="840399" y="800752"/>
                  </a:lnTo>
                  <a:lnTo>
                    <a:pt x="838572" y="800289"/>
                  </a:lnTo>
                  <a:lnTo>
                    <a:pt x="837001" y="800615"/>
                  </a:lnTo>
                  <a:lnTo>
                    <a:pt x="817461" y="810547"/>
                  </a:lnTo>
                  <a:lnTo>
                    <a:pt x="808039" y="819968"/>
                  </a:lnTo>
                  <a:lnTo>
                    <a:pt x="806189" y="822415"/>
                  </a:lnTo>
                  <a:lnTo>
                    <a:pt x="802576" y="830161"/>
                  </a:lnTo>
                  <a:lnTo>
                    <a:pt x="797114" y="846310"/>
                  </a:lnTo>
                  <a:lnTo>
                    <a:pt x="796158" y="848124"/>
                  </a:lnTo>
                  <a:lnTo>
                    <a:pt x="795155" y="849538"/>
                  </a:lnTo>
                  <a:lnTo>
                    <a:pt x="794218" y="850405"/>
                  </a:lnTo>
                  <a:lnTo>
                    <a:pt x="770783" y="855139"/>
                  </a:lnTo>
                  <a:lnTo>
                    <a:pt x="768537" y="856453"/>
                  </a:lnTo>
                  <a:lnTo>
                    <a:pt x="758378" y="859974"/>
                  </a:lnTo>
                  <a:lnTo>
                    <a:pt x="747043" y="861012"/>
                  </a:lnTo>
                  <a:lnTo>
                    <a:pt x="711287" y="856299"/>
                  </a:lnTo>
                  <a:lnTo>
                    <a:pt x="707399" y="855189"/>
                  </a:lnTo>
                  <a:lnTo>
                    <a:pt x="706821" y="854481"/>
                  </a:lnTo>
                  <a:lnTo>
                    <a:pt x="705987" y="853130"/>
                  </a:lnTo>
                  <a:lnTo>
                    <a:pt x="705642" y="851732"/>
                  </a:lnTo>
                  <a:lnTo>
                    <a:pt x="705425" y="849481"/>
                  </a:lnTo>
                  <a:lnTo>
                    <a:pt x="705437" y="846701"/>
                  </a:lnTo>
                  <a:lnTo>
                    <a:pt x="705728" y="843562"/>
                  </a:lnTo>
                  <a:lnTo>
                    <a:pt x="706961" y="837219"/>
                  </a:lnTo>
                  <a:lnTo>
                    <a:pt x="707114" y="835330"/>
                  </a:lnTo>
                  <a:lnTo>
                    <a:pt x="706770" y="833889"/>
                  </a:lnTo>
                  <a:lnTo>
                    <a:pt x="705699" y="831203"/>
                  </a:lnTo>
                  <a:lnTo>
                    <a:pt x="705203" y="829315"/>
                  </a:lnTo>
                  <a:lnTo>
                    <a:pt x="705098" y="826888"/>
                  </a:lnTo>
                  <a:lnTo>
                    <a:pt x="705218" y="824141"/>
                  </a:lnTo>
                  <a:lnTo>
                    <a:pt x="706157" y="818739"/>
                  </a:lnTo>
                  <a:lnTo>
                    <a:pt x="706369" y="816660"/>
                  </a:lnTo>
                  <a:lnTo>
                    <a:pt x="706241" y="812993"/>
                  </a:lnTo>
                  <a:lnTo>
                    <a:pt x="705338" y="807797"/>
                  </a:lnTo>
                  <a:lnTo>
                    <a:pt x="696212" y="789932"/>
                  </a:lnTo>
                  <a:lnTo>
                    <a:pt x="693246" y="787613"/>
                  </a:lnTo>
                  <a:lnTo>
                    <a:pt x="690563" y="784740"/>
                  </a:lnTo>
                  <a:lnTo>
                    <a:pt x="684780" y="782189"/>
                  </a:lnTo>
                  <a:lnTo>
                    <a:pt x="682625" y="782062"/>
                  </a:lnTo>
                  <a:lnTo>
                    <a:pt x="681057" y="782172"/>
                  </a:lnTo>
                  <a:lnTo>
                    <a:pt x="663620" y="790205"/>
                  </a:lnTo>
                  <a:lnTo>
                    <a:pt x="657981" y="791201"/>
                  </a:lnTo>
                  <a:lnTo>
                    <a:pt x="640768" y="790192"/>
                  </a:lnTo>
                  <a:lnTo>
                    <a:pt x="633677" y="790922"/>
                  </a:lnTo>
                  <a:lnTo>
                    <a:pt x="631954" y="792752"/>
                  </a:lnTo>
                  <a:lnTo>
                    <a:pt x="628134" y="795623"/>
                  </a:lnTo>
                  <a:lnTo>
                    <a:pt x="624950" y="797517"/>
                  </a:lnTo>
                  <a:lnTo>
                    <a:pt x="622687" y="799320"/>
                  </a:lnTo>
                  <a:lnTo>
                    <a:pt x="622016" y="800188"/>
                  </a:lnTo>
                  <a:lnTo>
                    <a:pt x="621558" y="801123"/>
                  </a:lnTo>
                  <a:lnTo>
                    <a:pt x="621204" y="802237"/>
                  </a:lnTo>
                  <a:lnTo>
                    <a:pt x="618120" y="816254"/>
                  </a:lnTo>
                  <a:lnTo>
                    <a:pt x="617417" y="818245"/>
                  </a:lnTo>
                  <a:lnTo>
                    <a:pt x="615960" y="820128"/>
                  </a:lnTo>
                  <a:lnTo>
                    <a:pt x="613474" y="822101"/>
                  </a:lnTo>
                  <a:lnTo>
                    <a:pt x="607326" y="824829"/>
                  </a:lnTo>
                  <a:lnTo>
                    <a:pt x="587462" y="826907"/>
                  </a:lnTo>
                  <a:lnTo>
                    <a:pt x="584514" y="826009"/>
                  </a:lnTo>
                  <a:lnTo>
                    <a:pt x="581855" y="824500"/>
                  </a:lnTo>
                  <a:lnTo>
                    <a:pt x="580461" y="824076"/>
                  </a:lnTo>
                  <a:lnTo>
                    <a:pt x="572520" y="823878"/>
                  </a:lnTo>
                  <a:lnTo>
                    <a:pt x="564810" y="820697"/>
                  </a:lnTo>
                  <a:lnTo>
                    <a:pt x="571060" y="844267"/>
                  </a:lnTo>
                  <a:lnTo>
                    <a:pt x="572755" y="847389"/>
                  </a:lnTo>
                  <a:lnTo>
                    <a:pt x="575243" y="851186"/>
                  </a:lnTo>
                  <a:lnTo>
                    <a:pt x="597617" y="862552"/>
                  </a:lnTo>
                  <a:lnTo>
                    <a:pt x="607477" y="870156"/>
                  </a:lnTo>
                  <a:lnTo>
                    <a:pt x="609954" y="873270"/>
                  </a:lnTo>
                  <a:lnTo>
                    <a:pt x="611890" y="877727"/>
                  </a:lnTo>
                  <a:lnTo>
                    <a:pt x="614677" y="886762"/>
                  </a:lnTo>
                  <a:lnTo>
                    <a:pt x="616635" y="896422"/>
                  </a:lnTo>
                  <a:lnTo>
                    <a:pt x="617831" y="906240"/>
                  </a:lnTo>
                  <a:lnTo>
                    <a:pt x="617828" y="916323"/>
                  </a:lnTo>
                  <a:lnTo>
                    <a:pt x="616502" y="937160"/>
                  </a:lnTo>
                  <a:lnTo>
                    <a:pt x="616706" y="957624"/>
                  </a:lnTo>
                  <a:lnTo>
                    <a:pt x="617589" y="963117"/>
                  </a:lnTo>
                  <a:lnTo>
                    <a:pt x="618171" y="963695"/>
                  </a:lnTo>
                  <a:lnTo>
                    <a:pt x="625479" y="968887"/>
                  </a:lnTo>
                  <a:lnTo>
                    <a:pt x="629156" y="972339"/>
                  </a:lnTo>
                  <a:lnTo>
                    <a:pt x="629392" y="973692"/>
                  </a:lnTo>
                  <a:lnTo>
                    <a:pt x="628905" y="975629"/>
                  </a:lnTo>
                  <a:lnTo>
                    <a:pt x="626947" y="979716"/>
                  </a:lnTo>
                  <a:lnTo>
                    <a:pt x="624878" y="983179"/>
                  </a:lnTo>
                  <a:lnTo>
                    <a:pt x="622957" y="985849"/>
                  </a:lnTo>
                  <a:lnTo>
                    <a:pt x="621107" y="987868"/>
                  </a:lnTo>
                  <a:lnTo>
                    <a:pt x="617605" y="990614"/>
                  </a:lnTo>
                  <a:lnTo>
                    <a:pt x="603310" y="999226"/>
                  </a:lnTo>
                  <a:lnTo>
                    <a:pt x="601738" y="1000972"/>
                  </a:lnTo>
                  <a:lnTo>
                    <a:pt x="600476" y="1003303"/>
                  </a:lnTo>
                  <a:lnTo>
                    <a:pt x="597409" y="1011763"/>
                  </a:lnTo>
                  <a:lnTo>
                    <a:pt x="596542" y="1013557"/>
                  </a:lnTo>
                  <a:lnTo>
                    <a:pt x="595813" y="1014320"/>
                  </a:lnTo>
                  <a:lnTo>
                    <a:pt x="593988" y="1015304"/>
                  </a:lnTo>
                  <a:lnTo>
                    <a:pt x="591466" y="1015900"/>
                  </a:lnTo>
                  <a:lnTo>
                    <a:pt x="547346" y="1001843"/>
                  </a:lnTo>
                  <a:lnTo>
                    <a:pt x="535766" y="1011492"/>
                  </a:lnTo>
                  <a:lnTo>
                    <a:pt x="529557" y="1018636"/>
                  </a:lnTo>
                  <a:lnTo>
                    <a:pt x="527263" y="1022382"/>
                  </a:lnTo>
                  <a:lnTo>
                    <a:pt x="522764" y="1026325"/>
                  </a:lnTo>
                  <a:lnTo>
                    <a:pt x="516333" y="1029825"/>
                  </a:lnTo>
                  <a:lnTo>
                    <a:pt x="491237" y="1038500"/>
                  </a:lnTo>
                  <a:lnTo>
                    <a:pt x="478787" y="1033431"/>
                  </a:lnTo>
                  <a:lnTo>
                    <a:pt x="465950" y="1035291"/>
                  </a:lnTo>
                  <a:lnTo>
                    <a:pt x="460471" y="1037728"/>
                  </a:lnTo>
                  <a:lnTo>
                    <a:pt x="444704" y="1051945"/>
                  </a:lnTo>
                  <a:lnTo>
                    <a:pt x="442705" y="1052987"/>
                  </a:lnTo>
                  <a:lnTo>
                    <a:pt x="441289" y="1052896"/>
                  </a:lnTo>
                  <a:lnTo>
                    <a:pt x="439706" y="1051303"/>
                  </a:lnTo>
                  <a:lnTo>
                    <a:pt x="433721" y="1047628"/>
                  </a:lnTo>
                  <a:lnTo>
                    <a:pt x="423955" y="1043967"/>
                  </a:lnTo>
                  <a:lnTo>
                    <a:pt x="422241" y="1043020"/>
                  </a:lnTo>
                  <a:lnTo>
                    <a:pt x="421452" y="1042209"/>
                  </a:lnTo>
                  <a:lnTo>
                    <a:pt x="418879" y="1033041"/>
                  </a:lnTo>
                  <a:lnTo>
                    <a:pt x="417589" y="1029403"/>
                  </a:lnTo>
                  <a:lnTo>
                    <a:pt x="414825" y="1022668"/>
                  </a:lnTo>
                  <a:lnTo>
                    <a:pt x="415478" y="1019602"/>
                  </a:lnTo>
                  <a:lnTo>
                    <a:pt x="419661" y="1015280"/>
                  </a:lnTo>
                  <a:lnTo>
                    <a:pt x="425980" y="1010588"/>
                  </a:lnTo>
                  <a:lnTo>
                    <a:pt x="434899" y="1006798"/>
                  </a:lnTo>
                  <a:lnTo>
                    <a:pt x="441753" y="1005447"/>
                  </a:lnTo>
                  <a:lnTo>
                    <a:pt x="446276" y="1005363"/>
                  </a:lnTo>
                  <a:lnTo>
                    <a:pt x="450074" y="1004722"/>
                  </a:lnTo>
                  <a:lnTo>
                    <a:pt x="451631" y="1002141"/>
                  </a:lnTo>
                  <a:lnTo>
                    <a:pt x="452610" y="998937"/>
                  </a:lnTo>
                  <a:lnTo>
                    <a:pt x="452813" y="996119"/>
                  </a:lnTo>
                  <a:lnTo>
                    <a:pt x="455281" y="989074"/>
                  </a:lnTo>
                  <a:lnTo>
                    <a:pt x="459174" y="981663"/>
                  </a:lnTo>
                  <a:lnTo>
                    <a:pt x="460484" y="978275"/>
                  </a:lnTo>
                  <a:lnTo>
                    <a:pt x="460616" y="975943"/>
                  </a:lnTo>
                  <a:lnTo>
                    <a:pt x="459347" y="974851"/>
                  </a:lnTo>
                  <a:lnTo>
                    <a:pt x="457533" y="973787"/>
                  </a:lnTo>
                  <a:lnTo>
                    <a:pt x="451307" y="971272"/>
                  </a:lnTo>
                  <a:lnTo>
                    <a:pt x="447007" y="970847"/>
                  </a:lnTo>
                  <a:lnTo>
                    <a:pt x="440662" y="971891"/>
                  </a:lnTo>
                  <a:lnTo>
                    <a:pt x="436203" y="971872"/>
                  </a:lnTo>
                  <a:lnTo>
                    <a:pt x="434496" y="970869"/>
                  </a:lnTo>
                  <a:lnTo>
                    <a:pt x="433190" y="969316"/>
                  </a:lnTo>
                  <a:lnTo>
                    <a:pt x="432663" y="965661"/>
                  </a:lnTo>
                  <a:lnTo>
                    <a:pt x="431880" y="963120"/>
                  </a:lnTo>
                  <a:lnTo>
                    <a:pt x="431454" y="962869"/>
                  </a:lnTo>
                  <a:lnTo>
                    <a:pt x="428308" y="962111"/>
                  </a:lnTo>
                  <a:lnTo>
                    <a:pt x="425056" y="961821"/>
                  </a:lnTo>
                  <a:lnTo>
                    <a:pt x="422643" y="960820"/>
                  </a:lnTo>
                  <a:lnTo>
                    <a:pt x="421218" y="959590"/>
                  </a:lnTo>
                  <a:lnTo>
                    <a:pt x="420277" y="956953"/>
                  </a:lnTo>
                  <a:lnTo>
                    <a:pt x="420390" y="955272"/>
                  </a:lnTo>
                  <a:lnTo>
                    <a:pt x="421656" y="953261"/>
                  </a:lnTo>
                  <a:lnTo>
                    <a:pt x="426441" y="948502"/>
                  </a:lnTo>
                  <a:lnTo>
                    <a:pt x="428630" y="944940"/>
                  </a:lnTo>
                  <a:lnTo>
                    <a:pt x="429467" y="942722"/>
                  </a:lnTo>
                  <a:lnTo>
                    <a:pt x="429582" y="940980"/>
                  </a:lnTo>
                  <a:lnTo>
                    <a:pt x="429148" y="939369"/>
                  </a:lnTo>
                  <a:lnTo>
                    <a:pt x="427327" y="935490"/>
                  </a:lnTo>
                  <a:lnTo>
                    <a:pt x="426650" y="933073"/>
                  </a:lnTo>
                  <a:lnTo>
                    <a:pt x="426584" y="931859"/>
                  </a:lnTo>
                  <a:lnTo>
                    <a:pt x="426668" y="930988"/>
                  </a:lnTo>
                  <a:lnTo>
                    <a:pt x="428041" y="928979"/>
                  </a:lnTo>
                  <a:lnTo>
                    <a:pt x="434633" y="922582"/>
                  </a:lnTo>
                  <a:lnTo>
                    <a:pt x="436855" y="919508"/>
                  </a:lnTo>
                  <a:lnTo>
                    <a:pt x="437618" y="917864"/>
                  </a:lnTo>
                  <a:lnTo>
                    <a:pt x="437725" y="916315"/>
                  </a:lnTo>
                  <a:lnTo>
                    <a:pt x="435896" y="912660"/>
                  </a:lnTo>
                  <a:lnTo>
                    <a:pt x="433888" y="909530"/>
                  </a:lnTo>
                  <a:lnTo>
                    <a:pt x="433233" y="908043"/>
                  </a:lnTo>
                  <a:lnTo>
                    <a:pt x="432799" y="906492"/>
                  </a:lnTo>
                  <a:lnTo>
                    <a:pt x="432159" y="903010"/>
                  </a:lnTo>
                  <a:lnTo>
                    <a:pt x="432383" y="901242"/>
                  </a:lnTo>
                  <a:lnTo>
                    <a:pt x="433296" y="899942"/>
                  </a:lnTo>
                  <a:lnTo>
                    <a:pt x="434617" y="899396"/>
                  </a:lnTo>
                  <a:lnTo>
                    <a:pt x="445342" y="898193"/>
                  </a:lnTo>
                  <a:lnTo>
                    <a:pt x="446607" y="897705"/>
                  </a:lnTo>
                  <a:lnTo>
                    <a:pt x="447893" y="896565"/>
                  </a:lnTo>
                  <a:lnTo>
                    <a:pt x="447671" y="895108"/>
                  </a:lnTo>
                  <a:lnTo>
                    <a:pt x="446915" y="893426"/>
                  </a:lnTo>
                  <a:lnTo>
                    <a:pt x="443680" y="888084"/>
                  </a:lnTo>
                  <a:lnTo>
                    <a:pt x="437647" y="875901"/>
                  </a:lnTo>
                  <a:lnTo>
                    <a:pt x="433181" y="868726"/>
                  </a:lnTo>
                  <a:lnTo>
                    <a:pt x="430232" y="865741"/>
                  </a:lnTo>
                  <a:lnTo>
                    <a:pt x="427222" y="861970"/>
                  </a:lnTo>
                  <a:lnTo>
                    <a:pt x="425501" y="858509"/>
                  </a:lnTo>
                  <a:lnTo>
                    <a:pt x="423415" y="857758"/>
                  </a:lnTo>
                  <a:lnTo>
                    <a:pt x="421741" y="857611"/>
                  </a:lnTo>
                  <a:lnTo>
                    <a:pt x="398519" y="865888"/>
                  </a:lnTo>
                  <a:lnTo>
                    <a:pt x="396203" y="865496"/>
                  </a:lnTo>
                  <a:lnTo>
                    <a:pt x="394006" y="864352"/>
                  </a:lnTo>
                  <a:lnTo>
                    <a:pt x="390342" y="859310"/>
                  </a:lnTo>
                  <a:lnTo>
                    <a:pt x="389196" y="858071"/>
                  </a:lnTo>
                  <a:lnTo>
                    <a:pt x="366152" y="842282"/>
                  </a:lnTo>
                  <a:lnTo>
                    <a:pt x="357782" y="838865"/>
                  </a:lnTo>
                  <a:lnTo>
                    <a:pt x="356380" y="837304"/>
                  </a:lnTo>
                  <a:lnTo>
                    <a:pt x="355515" y="835350"/>
                  </a:lnTo>
                  <a:lnTo>
                    <a:pt x="353287" y="815570"/>
                  </a:lnTo>
                  <a:lnTo>
                    <a:pt x="352596" y="812378"/>
                  </a:lnTo>
                  <a:lnTo>
                    <a:pt x="351509" y="809676"/>
                  </a:lnTo>
                  <a:lnTo>
                    <a:pt x="350416" y="808569"/>
                  </a:lnTo>
                  <a:lnTo>
                    <a:pt x="348791" y="807237"/>
                  </a:lnTo>
                  <a:lnTo>
                    <a:pt x="324191" y="798550"/>
                  </a:lnTo>
                  <a:lnTo>
                    <a:pt x="322951" y="798471"/>
                  </a:lnTo>
                  <a:lnTo>
                    <a:pt x="321415" y="799063"/>
                  </a:lnTo>
                  <a:lnTo>
                    <a:pt x="320571" y="799916"/>
                  </a:lnTo>
                  <a:lnTo>
                    <a:pt x="318795" y="802480"/>
                  </a:lnTo>
                  <a:lnTo>
                    <a:pt x="313849" y="820567"/>
                  </a:lnTo>
                  <a:lnTo>
                    <a:pt x="314201" y="822622"/>
                  </a:lnTo>
                  <a:lnTo>
                    <a:pt x="315163" y="825675"/>
                  </a:lnTo>
                  <a:lnTo>
                    <a:pt x="317774" y="827139"/>
                  </a:lnTo>
                  <a:lnTo>
                    <a:pt x="320028" y="830391"/>
                  </a:lnTo>
                  <a:lnTo>
                    <a:pt x="320622" y="831804"/>
                  </a:lnTo>
                  <a:lnTo>
                    <a:pt x="320419" y="832832"/>
                  </a:lnTo>
                  <a:lnTo>
                    <a:pt x="317956" y="833563"/>
                  </a:lnTo>
                  <a:lnTo>
                    <a:pt x="316289" y="835584"/>
                  </a:lnTo>
                  <a:lnTo>
                    <a:pt x="314921" y="838712"/>
                  </a:lnTo>
                  <a:lnTo>
                    <a:pt x="312437" y="846822"/>
                  </a:lnTo>
                  <a:lnTo>
                    <a:pt x="310484" y="851034"/>
                  </a:lnTo>
                  <a:lnTo>
                    <a:pt x="310161" y="850978"/>
                  </a:lnTo>
                  <a:lnTo>
                    <a:pt x="309546" y="851487"/>
                  </a:lnTo>
                  <a:lnTo>
                    <a:pt x="308637" y="852545"/>
                  </a:lnTo>
                  <a:lnTo>
                    <a:pt x="306847" y="855344"/>
                  </a:lnTo>
                  <a:lnTo>
                    <a:pt x="305313" y="857177"/>
                  </a:lnTo>
                  <a:lnTo>
                    <a:pt x="304928" y="857308"/>
                  </a:lnTo>
                  <a:lnTo>
                    <a:pt x="304221" y="857370"/>
                  </a:lnTo>
                  <a:lnTo>
                    <a:pt x="297722" y="855989"/>
                  </a:lnTo>
                  <a:lnTo>
                    <a:pt x="295489" y="855841"/>
                  </a:lnTo>
                  <a:lnTo>
                    <a:pt x="290475" y="856589"/>
                  </a:lnTo>
                  <a:lnTo>
                    <a:pt x="288541" y="857547"/>
                  </a:lnTo>
                  <a:lnTo>
                    <a:pt x="271853" y="870407"/>
                  </a:lnTo>
                  <a:lnTo>
                    <a:pt x="253316" y="888211"/>
                  </a:lnTo>
                  <a:lnTo>
                    <a:pt x="250635" y="890052"/>
                  </a:lnTo>
                  <a:lnTo>
                    <a:pt x="246821" y="891744"/>
                  </a:lnTo>
                  <a:lnTo>
                    <a:pt x="237750" y="893303"/>
                  </a:lnTo>
                  <a:lnTo>
                    <a:pt x="236148" y="893976"/>
                  </a:lnTo>
                  <a:lnTo>
                    <a:pt x="234401" y="895086"/>
                  </a:lnTo>
                  <a:lnTo>
                    <a:pt x="229049" y="899711"/>
                  </a:lnTo>
                  <a:lnTo>
                    <a:pt x="211790" y="910604"/>
                  </a:lnTo>
                  <a:lnTo>
                    <a:pt x="197179" y="913199"/>
                  </a:lnTo>
                  <a:lnTo>
                    <a:pt x="148958" y="913072"/>
                  </a:lnTo>
                  <a:lnTo>
                    <a:pt x="146877" y="914633"/>
                  </a:lnTo>
                  <a:lnTo>
                    <a:pt x="144205" y="917235"/>
                  </a:lnTo>
                  <a:lnTo>
                    <a:pt x="139106" y="920611"/>
                  </a:lnTo>
                  <a:lnTo>
                    <a:pt x="124379" y="926105"/>
                  </a:lnTo>
                  <a:lnTo>
                    <a:pt x="115161" y="925277"/>
                  </a:lnTo>
                  <a:lnTo>
                    <a:pt x="115133" y="925274"/>
                  </a:lnTo>
                  <a:lnTo>
                    <a:pt x="113261" y="921385"/>
                  </a:lnTo>
                  <a:lnTo>
                    <a:pt x="110728" y="909033"/>
                  </a:lnTo>
                  <a:lnTo>
                    <a:pt x="111438" y="898575"/>
                  </a:lnTo>
                  <a:lnTo>
                    <a:pt x="114371" y="890073"/>
                  </a:lnTo>
                  <a:lnTo>
                    <a:pt x="122139" y="874071"/>
                  </a:lnTo>
                  <a:lnTo>
                    <a:pt x="126070" y="853378"/>
                  </a:lnTo>
                  <a:lnTo>
                    <a:pt x="121856" y="838463"/>
                  </a:lnTo>
                  <a:lnTo>
                    <a:pt x="102288" y="802850"/>
                  </a:lnTo>
                  <a:lnTo>
                    <a:pt x="100045" y="803779"/>
                  </a:lnTo>
                  <a:lnTo>
                    <a:pt x="97702" y="807514"/>
                  </a:lnTo>
                  <a:lnTo>
                    <a:pt x="94316" y="810431"/>
                  </a:lnTo>
                  <a:lnTo>
                    <a:pt x="85483" y="812584"/>
                  </a:lnTo>
                  <a:lnTo>
                    <a:pt x="76311" y="812749"/>
                  </a:lnTo>
                  <a:lnTo>
                    <a:pt x="66565" y="810662"/>
                  </a:lnTo>
                  <a:lnTo>
                    <a:pt x="48916" y="802870"/>
                  </a:lnTo>
                  <a:lnTo>
                    <a:pt x="21558" y="797581"/>
                  </a:lnTo>
                  <a:lnTo>
                    <a:pt x="12618" y="792616"/>
                  </a:lnTo>
                  <a:lnTo>
                    <a:pt x="6163" y="784236"/>
                  </a:lnTo>
                  <a:lnTo>
                    <a:pt x="4482" y="775612"/>
                  </a:lnTo>
                  <a:lnTo>
                    <a:pt x="4500" y="765519"/>
                  </a:lnTo>
                  <a:lnTo>
                    <a:pt x="3807" y="755258"/>
                  </a:lnTo>
                  <a:lnTo>
                    <a:pt x="0" y="746079"/>
                  </a:lnTo>
                  <a:lnTo>
                    <a:pt x="5770" y="745857"/>
                  </a:lnTo>
                  <a:lnTo>
                    <a:pt x="25545" y="737054"/>
                  </a:lnTo>
                  <a:lnTo>
                    <a:pt x="14667" y="726809"/>
                  </a:lnTo>
                  <a:lnTo>
                    <a:pt x="12418" y="723011"/>
                  </a:lnTo>
                  <a:lnTo>
                    <a:pt x="12555" y="718253"/>
                  </a:lnTo>
                  <a:lnTo>
                    <a:pt x="14377" y="713594"/>
                  </a:lnTo>
                  <a:lnTo>
                    <a:pt x="15322" y="708508"/>
                  </a:lnTo>
                  <a:lnTo>
                    <a:pt x="12727" y="702383"/>
                  </a:lnTo>
                  <a:lnTo>
                    <a:pt x="18946" y="698322"/>
                  </a:lnTo>
                  <a:lnTo>
                    <a:pt x="25401" y="694103"/>
                  </a:lnTo>
                  <a:lnTo>
                    <a:pt x="37191" y="691073"/>
                  </a:lnTo>
                  <a:lnTo>
                    <a:pt x="70098" y="692169"/>
                  </a:lnTo>
                  <a:lnTo>
                    <a:pt x="88203" y="698640"/>
                  </a:lnTo>
                  <a:lnTo>
                    <a:pt x="105415" y="696905"/>
                  </a:lnTo>
                  <a:lnTo>
                    <a:pt x="110540" y="699366"/>
                  </a:lnTo>
                  <a:lnTo>
                    <a:pt x="122718" y="703829"/>
                  </a:lnTo>
                  <a:lnTo>
                    <a:pt x="129600" y="691901"/>
                  </a:lnTo>
                  <a:lnTo>
                    <a:pt x="133087" y="671884"/>
                  </a:lnTo>
                  <a:lnTo>
                    <a:pt x="139195" y="610358"/>
                  </a:lnTo>
                  <a:lnTo>
                    <a:pt x="143086" y="591395"/>
                  </a:lnTo>
                  <a:lnTo>
                    <a:pt x="147058" y="581671"/>
                  </a:lnTo>
                  <a:lnTo>
                    <a:pt x="150065" y="574305"/>
                  </a:lnTo>
                  <a:lnTo>
                    <a:pt x="180401" y="530904"/>
                  </a:lnTo>
                  <a:lnTo>
                    <a:pt x="188737" y="512107"/>
                  </a:lnTo>
                  <a:lnTo>
                    <a:pt x="192722" y="494031"/>
                  </a:lnTo>
                  <a:lnTo>
                    <a:pt x="194176" y="473579"/>
                  </a:lnTo>
                  <a:lnTo>
                    <a:pt x="192826" y="432531"/>
                  </a:lnTo>
                  <a:lnTo>
                    <a:pt x="191776" y="427485"/>
                  </a:lnTo>
                  <a:lnTo>
                    <a:pt x="190245" y="424427"/>
                  </a:lnTo>
                  <a:lnTo>
                    <a:pt x="189098" y="420738"/>
                  </a:lnTo>
                  <a:lnTo>
                    <a:pt x="189160" y="413892"/>
                  </a:lnTo>
                  <a:lnTo>
                    <a:pt x="190219" y="409325"/>
                  </a:lnTo>
                  <a:lnTo>
                    <a:pt x="195639" y="396964"/>
                  </a:lnTo>
                  <a:lnTo>
                    <a:pt x="198418" y="387236"/>
                  </a:lnTo>
                  <a:lnTo>
                    <a:pt x="199879" y="378383"/>
                  </a:lnTo>
                  <a:lnTo>
                    <a:pt x="199939" y="369198"/>
                  </a:lnTo>
                  <a:lnTo>
                    <a:pt x="199684" y="352931"/>
                  </a:lnTo>
                  <a:lnTo>
                    <a:pt x="203134" y="351221"/>
                  </a:lnTo>
                  <a:lnTo>
                    <a:pt x="207217" y="347209"/>
                  </a:lnTo>
                  <a:lnTo>
                    <a:pt x="210407" y="343157"/>
                  </a:lnTo>
                  <a:lnTo>
                    <a:pt x="213739" y="337176"/>
                  </a:lnTo>
                  <a:lnTo>
                    <a:pt x="215210" y="330417"/>
                  </a:lnTo>
                  <a:lnTo>
                    <a:pt x="212934" y="324004"/>
                  </a:lnTo>
                  <a:lnTo>
                    <a:pt x="222129" y="311270"/>
                  </a:lnTo>
                  <a:lnTo>
                    <a:pt x="226872" y="309100"/>
                  </a:lnTo>
                  <a:lnTo>
                    <a:pt x="234794" y="309303"/>
                  </a:lnTo>
                  <a:lnTo>
                    <a:pt x="242097" y="311574"/>
                  </a:lnTo>
                  <a:lnTo>
                    <a:pt x="253551" y="319586"/>
                  </a:lnTo>
                  <a:lnTo>
                    <a:pt x="259886" y="322461"/>
                  </a:lnTo>
                  <a:lnTo>
                    <a:pt x="252211" y="309979"/>
                  </a:lnTo>
                  <a:lnTo>
                    <a:pt x="238902" y="304428"/>
                  </a:lnTo>
                  <a:lnTo>
                    <a:pt x="161343" y="298200"/>
                  </a:lnTo>
                  <a:lnTo>
                    <a:pt x="149038" y="291340"/>
                  </a:lnTo>
                  <a:lnTo>
                    <a:pt x="144798" y="275207"/>
                  </a:lnTo>
                  <a:lnTo>
                    <a:pt x="146699" y="232875"/>
                  </a:lnTo>
                  <a:lnTo>
                    <a:pt x="148652" y="223322"/>
                  </a:lnTo>
                  <a:lnTo>
                    <a:pt x="156058" y="206290"/>
                  </a:lnTo>
                  <a:lnTo>
                    <a:pt x="157953" y="197852"/>
                  </a:lnTo>
                  <a:lnTo>
                    <a:pt x="161017" y="192777"/>
                  </a:lnTo>
                  <a:lnTo>
                    <a:pt x="167674" y="193176"/>
                  </a:lnTo>
                  <a:lnTo>
                    <a:pt x="181219" y="196801"/>
                  </a:lnTo>
                  <a:lnTo>
                    <a:pt x="183256" y="192282"/>
                  </a:lnTo>
                  <a:lnTo>
                    <a:pt x="186570" y="190685"/>
                  </a:lnTo>
                  <a:lnTo>
                    <a:pt x="189286" y="185218"/>
                  </a:lnTo>
                  <a:lnTo>
                    <a:pt x="189009" y="177986"/>
                  </a:lnTo>
                  <a:lnTo>
                    <a:pt x="186187" y="173757"/>
                  </a:lnTo>
                  <a:lnTo>
                    <a:pt x="176506" y="168284"/>
                  </a:lnTo>
                  <a:lnTo>
                    <a:pt x="172300" y="163527"/>
                  </a:lnTo>
                  <a:lnTo>
                    <a:pt x="171933" y="155985"/>
                  </a:lnTo>
                  <a:lnTo>
                    <a:pt x="177029" y="149908"/>
                  </a:lnTo>
                  <a:lnTo>
                    <a:pt x="188308" y="142757"/>
                  </a:lnTo>
                  <a:lnTo>
                    <a:pt x="201241" y="129482"/>
                  </a:lnTo>
                  <a:lnTo>
                    <a:pt x="208066" y="125197"/>
                  </a:lnTo>
                  <a:lnTo>
                    <a:pt x="221224" y="112622"/>
                  </a:lnTo>
                  <a:lnTo>
                    <a:pt x="248406" y="103325"/>
                  </a:lnTo>
                  <a:lnTo>
                    <a:pt x="300704" y="99602"/>
                  </a:lnTo>
                  <a:lnTo>
                    <a:pt x="304235" y="102261"/>
                  </a:lnTo>
                  <a:lnTo>
                    <a:pt x="307637" y="107384"/>
                  </a:lnTo>
                  <a:lnTo>
                    <a:pt x="315574" y="109637"/>
                  </a:lnTo>
                  <a:lnTo>
                    <a:pt x="365899" y="101133"/>
                  </a:lnTo>
                  <a:lnTo>
                    <a:pt x="467935" y="90554"/>
                  </a:lnTo>
                  <a:lnTo>
                    <a:pt x="494729" y="99367"/>
                  </a:lnTo>
                  <a:lnTo>
                    <a:pt x="494586" y="103623"/>
                  </a:lnTo>
                  <a:lnTo>
                    <a:pt x="491842" y="119595"/>
                  </a:lnTo>
                  <a:lnTo>
                    <a:pt x="500634" y="140627"/>
                  </a:lnTo>
                  <a:lnTo>
                    <a:pt x="514001" y="159126"/>
                  </a:lnTo>
                  <a:lnTo>
                    <a:pt x="525117" y="167464"/>
                  </a:lnTo>
                  <a:lnTo>
                    <a:pt x="525004" y="170977"/>
                  </a:lnTo>
                  <a:lnTo>
                    <a:pt x="521897" y="178141"/>
                  </a:lnTo>
                  <a:lnTo>
                    <a:pt x="527064" y="180865"/>
                  </a:lnTo>
                  <a:lnTo>
                    <a:pt x="534511" y="183264"/>
                  </a:lnTo>
                  <a:lnTo>
                    <a:pt x="538135" y="189361"/>
                  </a:lnTo>
                  <a:lnTo>
                    <a:pt x="536758" y="199606"/>
                  </a:lnTo>
                  <a:lnTo>
                    <a:pt x="533384" y="204762"/>
                  </a:lnTo>
                  <a:lnTo>
                    <a:pt x="525849" y="210088"/>
                  </a:lnTo>
                  <a:lnTo>
                    <a:pt x="519605" y="213081"/>
                  </a:lnTo>
                  <a:lnTo>
                    <a:pt x="506175" y="213859"/>
                  </a:lnTo>
                  <a:lnTo>
                    <a:pt x="500074" y="217432"/>
                  </a:lnTo>
                  <a:lnTo>
                    <a:pt x="505646" y="236679"/>
                  </a:lnTo>
                  <a:lnTo>
                    <a:pt x="508540" y="243966"/>
                  </a:lnTo>
                  <a:lnTo>
                    <a:pt x="513004" y="249092"/>
                  </a:lnTo>
                  <a:lnTo>
                    <a:pt x="517394" y="247137"/>
                  </a:lnTo>
                  <a:lnTo>
                    <a:pt x="521326" y="245586"/>
                  </a:lnTo>
                  <a:lnTo>
                    <a:pt x="527026" y="246000"/>
                  </a:lnTo>
                  <a:lnTo>
                    <a:pt x="530946" y="248310"/>
                  </a:lnTo>
                  <a:lnTo>
                    <a:pt x="537191" y="256047"/>
                  </a:lnTo>
                  <a:lnTo>
                    <a:pt x="539579" y="257752"/>
                  </a:lnTo>
                  <a:lnTo>
                    <a:pt x="542275" y="260255"/>
                  </a:lnTo>
                  <a:lnTo>
                    <a:pt x="544879" y="265713"/>
                  </a:lnTo>
                  <a:lnTo>
                    <a:pt x="548289" y="271195"/>
                  </a:lnTo>
                  <a:lnTo>
                    <a:pt x="553122" y="273786"/>
                  </a:lnTo>
                  <a:lnTo>
                    <a:pt x="558840" y="273798"/>
                  </a:lnTo>
                  <a:lnTo>
                    <a:pt x="563030" y="272968"/>
                  </a:lnTo>
                  <a:lnTo>
                    <a:pt x="566759" y="270845"/>
                  </a:lnTo>
                  <a:lnTo>
                    <a:pt x="571070" y="266853"/>
                  </a:lnTo>
                  <a:lnTo>
                    <a:pt x="578609" y="255065"/>
                  </a:lnTo>
                  <a:lnTo>
                    <a:pt x="586785" y="235611"/>
                  </a:lnTo>
                  <a:lnTo>
                    <a:pt x="589191" y="216058"/>
                  </a:lnTo>
                  <a:lnTo>
                    <a:pt x="579685" y="204258"/>
                  </a:lnTo>
                  <a:lnTo>
                    <a:pt x="566218" y="207444"/>
                  </a:lnTo>
                  <a:lnTo>
                    <a:pt x="559119" y="206019"/>
                  </a:lnTo>
                  <a:lnTo>
                    <a:pt x="560040" y="197667"/>
                  </a:lnTo>
                  <a:lnTo>
                    <a:pt x="563231" y="188359"/>
                  </a:lnTo>
                  <a:lnTo>
                    <a:pt x="566255" y="169013"/>
                  </a:lnTo>
                  <a:lnTo>
                    <a:pt x="569373" y="161006"/>
                  </a:lnTo>
                  <a:lnTo>
                    <a:pt x="574047" y="156327"/>
                  </a:lnTo>
                  <a:lnTo>
                    <a:pt x="579857" y="154194"/>
                  </a:lnTo>
                  <a:lnTo>
                    <a:pt x="594036" y="153910"/>
                  </a:lnTo>
                  <a:lnTo>
                    <a:pt x="600434" y="157097"/>
                  </a:lnTo>
                  <a:lnTo>
                    <a:pt x="605255" y="164265"/>
                  </a:lnTo>
                  <a:lnTo>
                    <a:pt x="609172" y="172197"/>
                  </a:lnTo>
                  <a:lnTo>
                    <a:pt x="613155" y="177896"/>
                  </a:lnTo>
                  <a:lnTo>
                    <a:pt x="626660" y="185346"/>
                  </a:lnTo>
                  <a:lnTo>
                    <a:pt x="655497" y="191850"/>
                  </a:lnTo>
                  <a:lnTo>
                    <a:pt x="668459" y="198566"/>
                  </a:lnTo>
                  <a:lnTo>
                    <a:pt x="668348" y="202799"/>
                  </a:lnTo>
                  <a:lnTo>
                    <a:pt x="660030" y="209613"/>
                  </a:lnTo>
                  <a:lnTo>
                    <a:pt x="652316" y="218533"/>
                  </a:lnTo>
                  <a:lnTo>
                    <a:pt x="646475" y="230712"/>
                  </a:lnTo>
                  <a:lnTo>
                    <a:pt x="643947" y="247264"/>
                  </a:lnTo>
                  <a:lnTo>
                    <a:pt x="643462" y="279371"/>
                  </a:lnTo>
                  <a:lnTo>
                    <a:pt x="645077" y="293567"/>
                  </a:lnTo>
                  <a:lnTo>
                    <a:pt x="649402" y="304202"/>
                  </a:lnTo>
                  <a:lnTo>
                    <a:pt x="650781" y="290088"/>
                  </a:lnTo>
                  <a:lnTo>
                    <a:pt x="648138" y="254288"/>
                  </a:lnTo>
                  <a:lnTo>
                    <a:pt x="648870" y="237434"/>
                  </a:lnTo>
                  <a:lnTo>
                    <a:pt x="654410" y="225152"/>
                  </a:lnTo>
                  <a:lnTo>
                    <a:pt x="662362" y="219820"/>
                  </a:lnTo>
                  <a:lnTo>
                    <a:pt x="669627" y="213120"/>
                  </a:lnTo>
                  <a:lnTo>
                    <a:pt x="669841" y="212139"/>
                  </a:lnTo>
                  <a:lnTo>
                    <a:pt x="671036" y="214594"/>
                  </a:lnTo>
                  <a:lnTo>
                    <a:pt x="674941" y="222617"/>
                  </a:lnTo>
                  <a:lnTo>
                    <a:pt x="676695" y="224154"/>
                  </a:lnTo>
                  <a:lnTo>
                    <a:pt x="679190" y="223596"/>
                  </a:lnTo>
                  <a:lnTo>
                    <a:pt x="679823" y="223599"/>
                  </a:lnTo>
                  <a:lnTo>
                    <a:pt x="679980" y="223616"/>
                  </a:lnTo>
                  <a:lnTo>
                    <a:pt x="680137" y="223709"/>
                  </a:lnTo>
                  <a:lnTo>
                    <a:pt x="682286" y="228331"/>
                  </a:lnTo>
                  <a:lnTo>
                    <a:pt x="683107" y="229268"/>
                  </a:lnTo>
                  <a:lnTo>
                    <a:pt x="683780" y="229771"/>
                  </a:lnTo>
                  <a:lnTo>
                    <a:pt x="684311" y="229623"/>
                  </a:lnTo>
                  <a:lnTo>
                    <a:pt x="684916" y="229372"/>
                  </a:lnTo>
                  <a:lnTo>
                    <a:pt x="692153" y="222844"/>
                  </a:lnTo>
                  <a:lnTo>
                    <a:pt x="697632" y="214719"/>
                  </a:lnTo>
                  <a:lnTo>
                    <a:pt x="698206" y="212885"/>
                  </a:lnTo>
                  <a:lnTo>
                    <a:pt x="698705" y="209794"/>
                  </a:lnTo>
                  <a:lnTo>
                    <a:pt x="699063" y="206033"/>
                  </a:lnTo>
                  <a:lnTo>
                    <a:pt x="698905" y="201787"/>
                  </a:lnTo>
                  <a:lnTo>
                    <a:pt x="696935" y="189976"/>
                  </a:lnTo>
                  <a:lnTo>
                    <a:pt x="695782" y="185573"/>
                  </a:lnTo>
                  <a:lnTo>
                    <a:pt x="693235" y="180042"/>
                  </a:lnTo>
                  <a:lnTo>
                    <a:pt x="692468" y="177066"/>
                  </a:lnTo>
                  <a:lnTo>
                    <a:pt x="692229" y="174001"/>
                  </a:lnTo>
                  <a:lnTo>
                    <a:pt x="692811" y="171799"/>
                  </a:lnTo>
                  <a:lnTo>
                    <a:pt x="693269" y="170376"/>
                  </a:lnTo>
                  <a:lnTo>
                    <a:pt x="694098" y="168787"/>
                  </a:lnTo>
                  <a:lnTo>
                    <a:pt x="695135" y="167349"/>
                  </a:lnTo>
                  <a:lnTo>
                    <a:pt x="696383" y="165872"/>
                  </a:lnTo>
                  <a:lnTo>
                    <a:pt x="696095" y="164743"/>
                  </a:lnTo>
                  <a:lnTo>
                    <a:pt x="694217" y="164105"/>
                  </a:lnTo>
                  <a:lnTo>
                    <a:pt x="680297" y="164360"/>
                  </a:lnTo>
                  <a:lnTo>
                    <a:pt x="672916" y="162842"/>
                  </a:lnTo>
                  <a:lnTo>
                    <a:pt x="656443" y="156264"/>
                  </a:lnTo>
                  <a:lnTo>
                    <a:pt x="656317" y="156213"/>
                  </a:lnTo>
                  <a:lnTo>
                    <a:pt x="654837" y="151568"/>
                  </a:lnTo>
                  <a:lnTo>
                    <a:pt x="652730" y="140619"/>
                  </a:lnTo>
                  <a:lnTo>
                    <a:pt x="648285" y="127490"/>
                  </a:lnTo>
                  <a:lnTo>
                    <a:pt x="647469" y="117950"/>
                  </a:lnTo>
                  <a:lnTo>
                    <a:pt x="648475" y="108341"/>
                  </a:lnTo>
                  <a:lnTo>
                    <a:pt x="650770" y="99976"/>
                  </a:lnTo>
                  <a:lnTo>
                    <a:pt x="664283" y="68564"/>
                  </a:lnTo>
                  <a:lnTo>
                    <a:pt x="674155" y="34353"/>
                  </a:lnTo>
                  <a:lnTo>
                    <a:pt x="680320" y="19245"/>
                  </a:lnTo>
                  <a:lnTo>
                    <a:pt x="685340" y="12064"/>
                  </a:lnTo>
                  <a:lnTo>
                    <a:pt x="692087" y="5881"/>
                  </a:lnTo>
                  <a:lnTo>
                    <a:pt x="699662" y="1580"/>
                  </a:lnTo>
                  <a:close/>
                </a:path>
              </a:pathLst>
            </a:custGeom>
            <a:solidFill>
              <a:srgbClr val="BFBFBF"/>
            </a:solidFill>
            <a:ln w="6350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Freeform 17">
              <a:extLst>
                <a:ext uri="{FF2B5EF4-FFF2-40B4-BE49-F238E27FC236}">
                  <a16:creationId xmlns:a16="http://schemas.microsoft.com/office/drawing/2014/main" id="{F2AFCD47-3D4A-79BB-C284-574FD26F2F40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4372509" y="3669285"/>
              <a:ext cx="1000006" cy="817821"/>
            </a:xfrm>
            <a:custGeom>
              <a:avLst/>
              <a:gdLst/>
              <a:ahLst/>
              <a:cxnLst/>
              <a:rect l="0" t="0" r="0" b="0"/>
              <a:pathLst>
                <a:path w="1000006" h="817821">
                  <a:moveTo>
                    <a:pt x="300981" y="3555"/>
                  </a:moveTo>
                  <a:lnTo>
                    <a:pt x="332933" y="2586"/>
                  </a:lnTo>
                  <a:lnTo>
                    <a:pt x="335413" y="3313"/>
                  </a:lnTo>
                  <a:lnTo>
                    <a:pt x="338392" y="4629"/>
                  </a:lnTo>
                  <a:lnTo>
                    <a:pt x="346125" y="9758"/>
                  </a:lnTo>
                  <a:lnTo>
                    <a:pt x="349012" y="10909"/>
                  </a:lnTo>
                  <a:lnTo>
                    <a:pt x="350777" y="11329"/>
                  </a:lnTo>
                  <a:lnTo>
                    <a:pt x="359584" y="11114"/>
                  </a:lnTo>
                  <a:lnTo>
                    <a:pt x="364070" y="15550"/>
                  </a:lnTo>
                  <a:lnTo>
                    <a:pt x="375904" y="20425"/>
                  </a:lnTo>
                  <a:lnTo>
                    <a:pt x="380641" y="20541"/>
                  </a:lnTo>
                  <a:lnTo>
                    <a:pt x="382191" y="21757"/>
                  </a:lnTo>
                  <a:lnTo>
                    <a:pt x="383529" y="23920"/>
                  </a:lnTo>
                  <a:lnTo>
                    <a:pt x="385270" y="28784"/>
                  </a:lnTo>
                  <a:lnTo>
                    <a:pt x="385896" y="31616"/>
                  </a:lnTo>
                  <a:lnTo>
                    <a:pt x="385858" y="34071"/>
                  </a:lnTo>
                  <a:lnTo>
                    <a:pt x="384383" y="35942"/>
                  </a:lnTo>
                  <a:lnTo>
                    <a:pt x="382846" y="36779"/>
                  </a:lnTo>
                  <a:lnTo>
                    <a:pt x="381138" y="36896"/>
                  </a:lnTo>
                  <a:lnTo>
                    <a:pt x="379813" y="36475"/>
                  </a:lnTo>
                  <a:lnTo>
                    <a:pt x="377158" y="35046"/>
                  </a:lnTo>
                  <a:lnTo>
                    <a:pt x="375778" y="34670"/>
                  </a:lnTo>
                  <a:lnTo>
                    <a:pt x="374235" y="34621"/>
                  </a:lnTo>
                  <a:lnTo>
                    <a:pt x="373027" y="35235"/>
                  </a:lnTo>
                  <a:lnTo>
                    <a:pt x="372097" y="36173"/>
                  </a:lnTo>
                  <a:lnTo>
                    <a:pt x="371499" y="37505"/>
                  </a:lnTo>
                  <a:lnTo>
                    <a:pt x="371740" y="40726"/>
                  </a:lnTo>
                  <a:lnTo>
                    <a:pt x="373038" y="45417"/>
                  </a:lnTo>
                  <a:lnTo>
                    <a:pt x="376908" y="55322"/>
                  </a:lnTo>
                  <a:lnTo>
                    <a:pt x="379141" y="59354"/>
                  </a:lnTo>
                  <a:lnTo>
                    <a:pt x="381145" y="61943"/>
                  </a:lnTo>
                  <a:lnTo>
                    <a:pt x="382363" y="62672"/>
                  </a:lnTo>
                  <a:lnTo>
                    <a:pt x="383527" y="63493"/>
                  </a:lnTo>
                  <a:lnTo>
                    <a:pt x="384256" y="65142"/>
                  </a:lnTo>
                  <a:lnTo>
                    <a:pt x="384603" y="67489"/>
                  </a:lnTo>
                  <a:lnTo>
                    <a:pt x="383784" y="76760"/>
                  </a:lnTo>
                  <a:lnTo>
                    <a:pt x="383851" y="78355"/>
                  </a:lnTo>
                  <a:lnTo>
                    <a:pt x="384303" y="79949"/>
                  </a:lnTo>
                  <a:lnTo>
                    <a:pt x="385092" y="82277"/>
                  </a:lnTo>
                  <a:lnTo>
                    <a:pt x="389424" y="91026"/>
                  </a:lnTo>
                  <a:lnTo>
                    <a:pt x="392769" y="95448"/>
                  </a:lnTo>
                  <a:lnTo>
                    <a:pt x="393279" y="97144"/>
                  </a:lnTo>
                  <a:lnTo>
                    <a:pt x="393405" y="99360"/>
                  </a:lnTo>
                  <a:lnTo>
                    <a:pt x="391274" y="110192"/>
                  </a:lnTo>
                  <a:lnTo>
                    <a:pt x="390918" y="114451"/>
                  </a:lnTo>
                  <a:lnTo>
                    <a:pt x="390953" y="119326"/>
                  </a:lnTo>
                  <a:lnTo>
                    <a:pt x="393867" y="124803"/>
                  </a:lnTo>
                  <a:lnTo>
                    <a:pt x="403363" y="130141"/>
                  </a:lnTo>
                  <a:lnTo>
                    <a:pt x="458620" y="136458"/>
                  </a:lnTo>
                  <a:lnTo>
                    <a:pt x="473736" y="135982"/>
                  </a:lnTo>
                  <a:lnTo>
                    <a:pt x="506888" y="140523"/>
                  </a:lnTo>
                  <a:lnTo>
                    <a:pt x="516183" y="143577"/>
                  </a:lnTo>
                  <a:lnTo>
                    <a:pt x="535034" y="158122"/>
                  </a:lnTo>
                  <a:lnTo>
                    <a:pt x="545019" y="176496"/>
                  </a:lnTo>
                  <a:lnTo>
                    <a:pt x="565959" y="206896"/>
                  </a:lnTo>
                  <a:lnTo>
                    <a:pt x="563005" y="213986"/>
                  </a:lnTo>
                  <a:lnTo>
                    <a:pt x="559798" y="218937"/>
                  </a:lnTo>
                  <a:lnTo>
                    <a:pt x="555633" y="222907"/>
                  </a:lnTo>
                  <a:lnTo>
                    <a:pt x="546636" y="228184"/>
                  </a:lnTo>
                  <a:lnTo>
                    <a:pt x="530665" y="231063"/>
                  </a:lnTo>
                  <a:lnTo>
                    <a:pt x="528529" y="231947"/>
                  </a:lnTo>
                  <a:lnTo>
                    <a:pt x="526429" y="234294"/>
                  </a:lnTo>
                  <a:lnTo>
                    <a:pt x="525285" y="236095"/>
                  </a:lnTo>
                  <a:lnTo>
                    <a:pt x="523821" y="239010"/>
                  </a:lnTo>
                  <a:lnTo>
                    <a:pt x="524966" y="241804"/>
                  </a:lnTo>
                  <a:lnTo>
                    <a:pt x="528015" y="245770"/>
                  </a:lnTo>
                  <a:lnTo>
                    <a:pt x="536154" y="250975"/>
                  </a:lnTo>
                  <a:lnTo>
                    <a:pt x="543915" y="253860"/>
                  </a:lnTo>
                  <a:lnTo>
                    <a:pt x="547636" y="257892"/>
                  </a:lnTo>
                  <a:lnTo>
                    <a:pt x="555499" y="270999"/>
                  </a:lnTo>
                  <a:lnTo>
                    <a:pt x="557546" y="278448"/>
                  </a:lnTo>
                  <a:lnTo>
                    <a:pt x="557847" y="280159"/>
                  </a:lnTo>
                  <a:lnTo>
                    <a:pt x="558216" y="282770"/>
                  </a:lnTo>
                  <a:lnTo>
                    <a:pt x="558425" y="285886"/>
                  </a:lnTo>
                  <a:lnTo>
                    <a:pt x="558347" y="288428"/>
                  </a:lnTo>
                  <a:lnTo>
                    <a:pt x="557863" y="289602"/>
                  </a:lnTo>
                  <a:lnTo>
                    <a:pt x="556480" y="290286"/>
                  </a:lnTo>
                  <a:lnTo>
                    <a:pt x="555315" y="290553"/>
                  </a:lnTo>
                  <a:lnTo>
                    <a:pt x="554716" y="291492"/>
                  </a:lnTo>
                  <a:lnTo>
                    <a:pt x="554450" y="292441"/>
                  </a:lnTo>
                  <a:lnTo>
                    <a:pt x="555704" y="298838"/>
                  </a:lnTo>
                  <a:lnTo>
                    <a:pt x="557096" y="302957"/>
                  </a:lnTo>
                  <a:lnTo>
                    <a:pt x="557669" y="304205"/>
                  </a:lnTo>
                  <a:lnTo>
                    <a:pt x="558525" y="305776"/>
                  </a:lnTo>
                  <a:lnTo>
                    <a:pt x="559428" y="306695"/>
                  </a:lnTo>
                  <a:lnTo>
                    <a:pt x="560665" y="307565"/>
                  </a:lnTo>
                  <a:lnTo>
                    <a:pt x="564645" y="309476"/>
                  </a:lnTo>
                  <a:lnTo>
                    <a:pt x="566659" y="310127"/>
                  </a:lnTo>
                  <a:lnTo>
                    <a:pt x="586347" y="310855"/>
                  </a:lnTo>
                  <a:lnTo>
                    <a:pt x="587789" y="310465"/>
                  </a:lnTo>
                  <a:lnTo>
                    <a:pt x="589116" y="309824"/>
                  </a:lnTo>
                  <a:lnTo>
                    <a:pt x="590292" y="308995"/>
                  </a:lnTo>
                  <a:lnTo>
                    <a:pt x="593258" y="306202"/>
                  </a:lnTo>
                  <a:lnTo>
                    <a:pt x="595688" y="304807"/>
                  </a:lnTo>
                  <a:lnTo>
                    <a:pt x="597241" y="304369"/>
                  </a:lnTo>
                  <a:lnTo>
                    <a:pt x="613829" y="306451"/>
                  </a:lnTo>
                  <a:lnTo>
                    <a:pt x="623229" y="305801"/>
                  </a:lnTo>
                  <a:lnTo>
                    <a:pt x="630424" y="306513"/>
                  </a:lnTo>
                  <a:lnTo>
                    <a:pt x="633054" y="306175"/>
                  </a:lnTo>
                  <a:lnTo>
                    <a:pt x="635985" y="304914"/>
                  </a:lnTo>
                  <a:lnTo>
                    <a:pt x="643138" y="303096"/>
                  </a:lnTo>
                  <a:lnTo>
                    <a:pt x="644814" y="303409"/>
                  </a:lnTo>
                  <a:lnTo>
                    <a:pt x="646944" y="304261"/>
                  </a:lnTo>
                  <a:lnTo>
                    <a:pt x="652581" y="308303"/>
                  </a:lnTo>
                  <a:lnTo>
                    <a:pt x="654249" y="310299"/>
                  </a:lnTo>
                  <a:lnTo>
                    <a:pt x="655127" y="312798"/>
                  </a:lnTo>
                  <a:lnTo>
                    <a:pt x="655276" y="318276"/>
                  </a:lnTo>
                  <a:lnTo>
                    <a:pt x="655821" y="324091"/>
                  </a:lnTo>
                  <a:lnTo>
                    <a:pt x="659092" y="329533"/>
                  </a:lnTo>
                  <a:lnTo>
                    <a:pt x="660223" y="333696"/>
                  </a:lnTo>
                  <a:lnTo>
                    <a:pt x="662219" y="336278"/>
                  </a:lnTo>
                  <a:lnTo>
                    <a:pt x="664456" y="339903"/>
                  </a:lnTo>
                  <a:lnTo>
                    <a:pt x="664984" y="341432"/>
                  </a:lnTo>
                  <a:lnTo>
                    <a:pt x="665961" y="346261"/>
                  </a:lnTo>
                  <a:lnTo>
                    <a:pt x="666487" y="347642"/>
                  </a:lnTo>
                  <a:lnTo>
                    <a:pt x="667404" y="349044"/>
                  </a:lnTo>
                  <a:lnTo>
                    <a:pt x="668938" y="350584"/>
                  </a:lnTo>
                  <a:lnTo>
                    <a:pt x="671437" y="352106"/>
                  </a:lnTo>
                  <a:lnTo>
                    <a:pt x="674022" y="353156"/>
                  </a:lnTo>
                  <a:lnTo>
                    <a:pt x="678531" y="349496"/>
                  </a:lnTo>
                  <a:lnTo>
                    <a:pt x="707505" y="346802"/>
                  </a:lnTo>
                  <a:lnTo>
                    <a:pt x="710725" y="346031"/>
                  </a:lnTo>
                  <a:lnTo>
                    <a:pt x="714941" y="346779"/>
                  </a:lnTo>
                  <a:lnTo>
                    <a:pt x="722921" y="352668"/>
                  </a:lnTo>
                  <a:lnTo>
                    <a:pt x="740669" y="360309"/>
                  </a:lnTo>
                  <a:lnTo>
                    <a:pt x="743905" y="362992"/>
                  </a:lnTo>
                  <a:lnTo>
                    <a:pt x="746071" y="365195"/>
                  </a:lnTo>
                  <a:lnTo>
                    <a:pt x="747776" y="369387"/>
                  </a:lnTo>
                  <a:lnTo>
                    <a:pt x="748327" y="371770"/>
                  </a:lnTo>
                  <a:lnTo>
                    <a:pt x="750107" y="374173"/>
                  </a:lnTo>
                  <a:lnTo>
                    <a:pt x="751588" y="375576"/>
                  </a:lnTo>
                  <a:lnTo>
                    <a:pt x="763463" y="381712"/>
                  </a:lnTo>
                  <a:lnTo>
                    <a:pt x="764215" y="385539"/>
                  </a:lnTo>
                  <a:lnTo>
                    <a:pt x="764352" y="386747"/>
                  </a:lnTo>
                  <a:lnTo>
                    <a:pt x="765322" y="387702"/>
                  </a:lnTo>
                  <a:lnTo>
                    <a:pt x="767614" y="387802"/>
                  </a:lnTo>
                  <a:lnTo>
                    <a:pt x="779885" y="386002"/>
                  </a:lnTo>
                  <a:lnTo>
                    <a:pt x="786320" y="383938"/>
                  </a:lnTo>
                  <a:lnTo>
                    <a:pt x="787534" y="383261"/>
                  </a:lnTo>
                  <a:lnTo>
                    <a:pt x="790327" y="383258"/>
                  </a:lnTo>
                  <a:lnTo>
                    <a:pt x="809368" y="389453"/>
                  </a:lnTo>
                  <a:lnTo>
                    <a:pt x="811268" y="389483"/>
                  </a:lnTo>
                  <a:lnTo>
                    <a:pt x="813436" y="388988"/>
                  </a:lnTo>
                  <a:lnTo>
                    <a:pt x="816705" y="386977"/>
                  </a:lnTo>
                  <a:lnTo>
                    <a:pt x="819598" y="384073"/>
                  </a:lnTo>
                  <a:lnTo>
                    <a:pt x="821218" y="384064"/>
                  </a:lnTo>
                  <a:lnTo>
                    <a:pt x="823360" y="384856"/>
                  </a:lnTo>
                  <a:lnTo>
                    <a:pt x="830104" y="391290"/>
                  </a:lnTo>
                  <a:lnTo>
                    <a:pt x="832833" y="393281"/>
                  </a:lnTo>
                  <a:lnTo>
                    <a:pt x="835593" y="398093"/>
                  </a:lnTo>
                  <a:lnTo>
                    <a:pt x="838561" y="398288"/>
                  </a:lnTo>
                  <a:lnTo>
                    <a:pt x="844965" y="392709"/>
                  </a:lnTo>
                  <a:lnTo>
                    <a:pt x="843450" y="387822"/>
                  </a:lnTo>
                  <a:lnTo>
                    <a:pt x="844063" y="383106"/>
                  </a:lnTo>
                  <a:lnTo>
                    <a:pt x="854023" y="370092"/>
                  </a:lnTo>
                  <a:lnTo>
                    <a:pt x="856249" y="366786"/>
                  </a:lnTo>
                  <a:lnTo>
                    <a:pt x="864282" y="350830"/>
                  </a:lnTo>
                  <a:lnTo>
                    <a:pt x="864460" y="349051"/>
                  </a:lnTo>
                  <a:lnTo>
                    <a:pt x="864181" y="346810"/>
                  </a:lnTo>
                  <a:lnTo>
                    <a:pt x="862419" y="343249"/>
                  </a:lnTo>
                  <a:lnTo>
                    <a:pt x="860927" y="341571"/>
                  </a:lnTo>
                  <a:lnTo>
                    <a:pt x="859335" y="340353"/>
                  </a:lnTo>
                  <a:lnTo>
                    <a:pt x="853533" y="338028"/>
                  </a:lnTo>
                  <a:lnTo>
                    <a:pt x="852704" y="336069"/>
                  </a:lnTo>
                  <a:lnTo>
                    <a:pt x="852726" y="332402"/>
                  </a:lnTo>
                  <a:lnTo>
                    <a:pt x="854236" y="324264"/>
                  </a:lnTo>
                  <a:lnTo>
                    <a:pt x="859689" y="314166"/>
                  </a:lnTo>
                  <a:lnTo>
                    <a:pt x="860160" y="312928"/>
                  </a:lnTo>
                  <a:lnTo>
                    <a:pt x="859328" y="308617"/>
                  </a:lnTo>
                  <a:lnTo>
                    <a:pt x="882392" y="305699"/>
                  </a:lnTo>
                  <a:lnTo>
                    <a:pt x="938416" y="321080"/>
                  </a:lnTo>
                  <a:lnTo>
                    <a:pt x="941678" y="338079"/>
                  </a:lnTo>
                  <a:lnTo>
                    <a:pt x="942855" y="340264"/>
                  </a:lnTo>
                  <a:lnTo>
                    <a:pt x="953199" y="356886"/>
                  </a:lnTo>
                  <a:lnTo>
                    <a:pt x="957204" y="365553"/>
                  </a:lnTo>
                  <a:lnTo>
                    <a:pt x="962140" y="370231"/>
                  </a:lnTo>
                  <a:lnTo>
                    <a:pt x="967297" y="372833"/>
                  </a:lnTo>
                  <a:lnTo>
                    <a:pt x="972375" y="374578"/>
                  </a:lnTo>
                  <a:lnTo>
                    <a:pt x="982787" y="380379"/>
                  </a:lnTo>
                  <a:lnTo>
                    <a:pt x="991788" y="393731"/>
                  </a:lnTo>
                  <a:lnTo>
                    <a:pt x="999894" y="409926"/>
                  </a:lnTo>
                  <a:lnTo>
                    <a:pt x="1000005" y="411757"/>
                  </a:lnTo>
                  <a:lnTo>
                    <a:pt x="999912" y="414243"/>
                  </a:lnTo>
                  <a:lnTo>
                    <a:pt x="996087" y="416073"/>
                  </a:lnTo>
                  <a:lnTo>
                    <a:pt x="994012" y="417792"/>
                  </a:lnTo>
                  <a:lnTo>
                    <a:pt x="993207" y="418910"/>
                  </a:lnTo>
                  <a:lnTo>
                    <a:pt x="990064" y="424296"/>
                  </a:lnTo>
                  <a:lnTo>
                    <a:pt x="987300" y="427364"/>
                  </a:lnTo>
                  <a:lnTo>
                    <a:pt x="986405" y="427375"/>
                  </a:lnTo>
                  <a:lnTo>
                    <a:pt x="985540" y="426514"/>
                  </a:lnTo>
                  <a:lnTo>
                    <a:pt x="983896" y="423886"/>
                  </a:lnTo>
                  <a:lnTo>
                    <a:pt x="982366" y="423250"/>
                  </a:lnTo>
                  <a:lnTo>
                    <a:pt x="980965" y="423159"/>
                  </a:lnTo>
                  <a:lnTo>
                    <a:pt x="978200" y="424320"/>
                  </a:lnTo>
                  <a:lnTo>
                    <a:pt x="976642" y="424631"/>
                  </a:lnTo>
                  <a:lnTo>
                    <a:pt x="964946" y="423343"/>
                  </a:lnTo>
                  <a:lnTo>
                    <a:pt x="957127" y="424543"/>
                  </a:lnTo>
                  <a:lnTo>
                    <a:pt x="955382" y="424205"/>
                  </a:lnTo>
                  <a:lnTo>
                    <a:pt x="949946" y="421921"/>
                  </a:lnTo>
                  <a:lnTo>
                    <a:pt x="949301" y="426861"/>
                  </a:lnTo>
                  <a:lnTo>
                    <a:pt x="948544" y="427799"/>
                  </a:lnTo>
                  <a:lnTo>
                    <a:pt x="947563" y="428759"/>
                  </a:lnTo>
                  <a:lnTo>
                    <a:pt x="934103" y="436599"/>
                  </a:lnTo>
                  <a:lnTo>
                    <a:pt x="926846" y="445606"/>
                  </a:lnTo>
                  <a:lnTo>
                    <a:pt x="920726" y="455441"/>
                  </a:lnTo>
                  <a:lnTo>
                    <a:pt x="919393" y="455861"/>
                  </a:lnTo>
                  <a:lnTo>
                    <a:pt x="918310" y="455862"/>
                  </a:lnTo>
                  <a:lnTo>
                    <a:pt x="918162" y="454535"/>
                  </a:lnTo>
                  <a:lnTo>
                    <a:pt x="916798" y="453803"/>
                  </a:lnTo>
                  <a:lnTo>
                    <a:pt x="914202" y="453073"/>
                  </a:lnTo>
                  <a:lnTo>
                    <a:pt x="903701" y="454241"/>
                  </a:lnTo>
                  <a:lnTo>
                    <a:pt x="901256" y="455014"/>
                  </a:lnTo>
                  <a:lnTo>
                    <a:pt x="899002" y="456640"/>
                  </a:lnTo>
                  <a:lnTo>
                    <a:pt x="890171" y="464705"/>
                  </a:lnTo>
                  <a:lnTo>
                    <a:pt x="887194" y="466613"/>
                  </a:lnTo>
                  <a:lnTo>
                    <a:pt x="861103" y="475195"/>
                  </a:lnTo>
                  <a:lnTo>
                    <a:pt x="860798" y="481028"/>
                  </a:lnTo>
                  <a:lnTo>
                    <a:pt x="865349" y="485910"/>
                  </a:lnTo>
                  <a:lnTo>
                    <a:pt x="871352" y="488213"/>
                  </a:lnTo>
                  <a:lnTo>
                    <a:pt x="872521" y="490137"/>
                  </a:lnTo>
                  <a:lnTo>
                    <a:pt x="872727" y="491609"/>
                  </a:lnTo>
                  <a:lnTo>
                    <a:pt x="872089" y="493016"/>
                  </a:lnTo>
                  <a:lnTo>
                    <a:pt x="869363" y="496187"/>
                  </a:lnTo>
                  <a:lnTo>
                    <a:pt x="867086" y="499406"/>
                  </a:lnTo>
                  <a:lnTo>
                    <a:pt x="866536" y="499835"/>
                  </a:lnTo>
                  <a:lnTo>
                    <a:pt x="865706" y="500298"/>
                  </a:lnTo>
                  <a:lnTo>
                    <a:pt x="864536" y="500624"/>
                  </a:lnTo>
                  <a:lnTo>
                    <a:pt x="862345" y="500515"/>
                  </a:lnTo>
                  <a:lnTo>
                    <a:pt x="860687" y="501577"/>
                  </a:lnTo>
                  <a:lnTo>
                    <a:pt x="858610" y="503815"/>
                  </a:lnTo>
                  <a:lnTo>
                    <a:pt x="856003" y="510442"/>
                  </a:lnTo>
                  <a:lnTo>
                    <a:pt x="855573" y="513527"/>
                  </a:lnTo>
                  <a:lnTo>
                    <a:pt x="856016" y="515557"/>
                  </a:lnTo>
                  <a:lnTo>
                    <a:pt x="857367" y="515731"/>
                  </a:lnTo>
                  <a:lnTo>
                    <a:pt x="858674" y="515609"/>
                  </a:lnTo>
                  <a:lnTo>
                    <a:pt x="860623" y="514941"/>
                  </a:lnTo>
                  <a:lnTo>
                    <a:pt x="862081" y="514860"/>
                  </a:lnTo>
                  <a:lnTo>
                    <a:pt x="863834" y="515364"/>
                  </a:lnTo>
                  <a:lnTo>
                    <a:pt x="866078" y="517556"/>
                  </a:lnTo>
                  <a:lnTo>
                    <a:pt x="866743" y="519460"/>
                  </a:lnTo>
                  <a:lnTo>
                    <a:pt x="866455" y="521449"/>
                  </a:lnTo>
                  <a:lnTo>
                    <a:pt x="865664" y="523507"/>
                  </a:lnTo>
                  <a:lnTo>
                    <a:pt x="865087" y="527454"/>
                  </a:lnTo>
                  <a:lnTo>
                    <a:pt x="865783" y="530601"/>
                  </a:lnTo>
                  <a:lnTo>
                    <a:pt x="867645" y="535461"/>
                  </a:lnTo>
                  <a:lnTo>
                    <a:pt x="869051" y="537791"/>
                  </a:lnTo>
                  <a:lnTo>
                    <a:pt x="870218" y="539506"/>
                  </a:lnTo>
                  <a:lnTo>
                    <a:pt x="871362" y="540307"/>
                  </a:lnTo>
                  <a:lnTo>
                    <a:pt x="872672" y="540983"/>
                  </a:lnTo>
                  <a:lnTo>
                    <a:pt x="874200" y="541418"/>
                  </a:lnTo>
                  <a:lnTo>
                    <a:pt x="877575" y="541569"/>
                  </a:lnTo>
                  <a:lnTo>
                    <a:pt x="882411" y="540913"/>
                  </a:lnTo>
                  <a:lnTo>
                    <a:pt x="885876" y="542361"/>
                  </a:lnTo>
                  <a:lnTo>
                    <a:pt x="878842" y="555388"/>
                  </a:lnTo>
                  <a:lnTo>
                    <a:pt x="877464" y="557226"/>
                  </a:lnTo>
                  <a:lnTo>
                    <a:pt x="874782" y="560146"/>
                  </a:lnTo>
                  <a:lnTo>
                    <a:pt x="863755" y="569142"/>
                  </a:lnTo>
                  <a:lnTo>
                    <a:pt x="861589" y="570260"/>
                  </a:lnTo>
                  <a:lnTo>
                    <a:pt x="852586" y="570982"/>
                  </a:lnTo>
                  <a:lnTo>
                    <a:pt x="845637" y="569762"/>
                  </a:lnTo>
                  <a:lnTo>
                    <a:pt x="839345" y="570118"/>
                  </a:lnTo>
                  <a:lnTo>
                    <a:pt x="837655" y="570811"/>
                  </a:lnTo>
                  <a:lnTo>
                    <a:pt x="836118" y="572458"/>
                  </a:lnTo>
                  <a:lnTo>
                    <a:pt x="834112" y="575683"/>
                  </a:lnTo>
                  <a:lnTo>
                    <a:pt x="827723" y="583992"/>
                  </a:lnTo>
                  <a:lnTo>
                    <a:pt x="828552" y="595443"/>
                  </a:lnTo>
                  <a:lnTo>
                    <a:pt x="827735" y="599039"/>
                  </a:lnTo>
                  <a:lnTo>
                    <a:pt x="826224" y="604337"/>
                  </a:lnTo>
                  <a:lnTo>
                    <a:pt x="824865" y="606438"/>
                  </a:lnTo>
                  <a:lnTo>
                    <a:pt x="823428" y="607654"/>
                  </a:lnTo>
                  <a:lnTo>
                    <a:pt x="819827" y="608623"/>
                  </a:lnTo>
                  <a:lnTo>
                    <a:pt x="815593" y="610702"/>
                  </a:lnTo>
                  <a:lnTo>
                    <a:pt x="813685" y="611071"/>
                  </a:lnTo>
                  <a:lnTo>
                    <a:pt x="812160" y="610898"/>
                  </a:lnTo>
                  <a:lnTo>
                    <a:pt x="810737" y="610221"/>
                  </a:lnTo>
                  <a:lnTo>
                    <a:pt x="809648" y="609417"/>
                  </a:lnTo>
                  <a:lnTo>
                    <a:pt x="808670" y="608522"/>
                  </a:lnTo>
                  <a:lnTo>
                    <a:pt x="805833" y="607626"/>
                  </a:lnTo>
                  <a:lnTo>
                    <a:pt x="800116" y="608922"/>
                  </a:lnTo>
                  <a:lnTo>
                    <a:pt x="792287" y="622664"/>
                  </a:lnTo>
                  <a:lnTo>
                    <a:pt x="788643" y="626159"/>
                  </a:lnTo>
                  <a:lnTo>
                    <a:pt x="787013" y="626371"/>
                  </a:lnTo>
                  <a:lnTo>
                    <a:pt x="785208" y="626337"/>
                  </a:lnTo>
                  <a:lnTo>
                    <a:pt x="783680" y="626075"/>
                  </a:lnTo>
                  <a:lnTo>
                    <a:pt x="782315" y="625498"/>
                  </a:lnTo>
                  <a:lnTo>
                    <a:pt x="781169" y="624650"/>
                  </a:lnTo>
                  <a:lnTo>
                    <a:pt x="780345" y="623871"/>
                  </a:lnTo>
                  <a:lnTo>
                    <a:pt x="779841" y="623173"/>
                  </a:lnTo>
                  <a:lnTo>
                    <a:pt x="777316" y="619295"/>
                  </a:lnTo>
                  <a:lnTo>
                    <a:pt x="776398" y="618547"/>
                  </a:lnTo>
                  <a:lnTo>
                    <a:pt x="774580" y="617830"/>
                  </a:lnTo>
                  <a:lnTo>
                    <a:pt x="771182" y="617017"/>
                  </a:lnTo>
                  <a:lnTo>
                    <a:pt x="768600" y="617530"/>
                  </a:lnTo>
                  <a:lnTo>
                    <a:pt x="766982" y="618301"/>
                  </a:lnTo>
                  <a:lnTo>
                    <a:pt x="766163" y="619501"/>
                  </a:lnTo>
                  <a:lnTo>
                    <a:pt x="765842" y="620337"/>
                  </a:lnTo>
                  <a:lnTo>
                    <a:pt x="764972" y="621848"/>
                  </a:lnTo>
                  <a:lnTo>
                    <a:pt x="764327" y="623382"/>
                  </a:lnTo>
                  <a:lnTo>
                    <a:pt x="759525" y="629189"/>
                  </a:lnTo>
                  <a:lnTo>
                    <a:pt x="751094" y="635940"/>
                  </a:lnTo>
                  <a:lnTo>
                    <a:pt x="747316" y="641500"/>
                  </a:lnTo>
                  <a:lnTo>
                    <a:pt x="745107" y="646645"/>
                  </a:lnTo>
                  <a:lnTo>
                    <a:pt x="744488" y="649540"/>
                  </a:lnTo>
                  <a:lnTo>
                    <a:pt x="744533" y="651784"/>
                  </a:lnTo>
                  <a:lnTo>
                    <a:pt x="745181" y="653102"/>
                  </a:lnTo>
                  <a:lnTo>
                    <a:pt x="746160" y="654145"/>
                  </a:lnTo>
                  <a:lnTo>
                    <a:pt x="750684" y="657409"/>
                  </a:lnTo>
                  <a:lnTo>
                    <a:pt x="751737" y="659205"/>
                  </a:lnTo>
                  <a:lnTo>
                    <a:pt x="752462" y="661556"/>
                  </a:lnTo>
                  <a:lnTo>
                    <a:pt x="752734" y="666576"/>
                  </a:lnTo>
                  <a:lnTo>
                    <a:pt x="751932" y="668837"/>
                  </a:lnTo>
                  <a:lnTo>
                    <a:pt x="749057" y="671822"/>
                  </a:lnTo>
                  <a:lnTo>
                    <a:pt x="748701" y="673736"/>
                  </a:lnTo>
                  <a:lnTo>
                    <a:pt x="748702" y="676560"/>
                  </a:lnTo>
                  <a:lnTo>
                    <a:pt x="748170" y="678197"/>
                  </a:lnTo>
                  <a:lnTo>
                    <a:pt x="747004" y="679226"/>
                  </a:lnTo>
                  <a:lnTo>
                    <a:pt x="741172" y="681279"/>
                  </a:lnTo>
                  <a:lnTo>
                    <a:pt x="739609" y="682212"/>
                  </a:lnTo>
                  <a:lnTo>
                    <a:pt x="737978" y="683471"/>
                  </a:lnTo>
                  <a:lnTo>
                    <a:pt x="735706" y="685748"/>
                  </a:lnTo>
                  <a:lnTo>
                    <a:pt x="734894" y="687508"/>
                  </a:lnTo>
                  <a:lnTo>
                    <a:pt x="734926" y="689148"/>
                  </a:lnTo>
                  <a:lnTo>
                    <a:pt x="737900" y="693804"/>
                  </a:lnTo>
                  <a:lnTo>
                    <a:pt x="729235" y="698645"/>
                  </a:lnTo>
                  <a:lnTo>
                    <a:pt x="726006" y="701161"/>
                  </a:lnTo>
                  <a:lnTo>
                    <a:pt x="724270" y="701993"/>
                  </a:lnTo>
                  <a:lnTo>
                    <a:pt x="717786" y="703833"/>
                  </a:lnTo>
                  <a:lnTo>
                    <a:pt x="713921" y="705709"/>
                  </a:lnTo>
                  <a:lnTo>
                    <a:pt x="712922" y="706660"/>
                  </a:lnTo>
                  <a:lnTo>
                    <a:pt x="711581" y="707527"/>
                  </a:lnTo>
                  <a:lnTo>
                    <a:pt x="710292" y="708128"/>
                  </a:lnTo>
                  <a:lnTo>
                    <a:pt x="708424" y="707942"/>
                  </a:lnTo>
                  <a:lnTo>
                    <a:pt x="707824" y="706136"/>
                  </a:lnTo>
                  <a:lnTo>
                    <a:pt x="708023" y="704699"/>
                  </a:lnTo>
                  <a:lnTo>
                    <a:pt x="708623" y="703533"/>
                  </a:lnTo>
                  <a:lnTo>
                    <a:pt x="708095" y="702509"/>
                  </a:lnTo>
                  <a:lnTo>
                    <a:pt x="706837" y="701706"/>
                  </a:lnTo>
                  <a:lnTo>
                    <a:pt x="702969" y="700388"/>
                  </a:lnTo>
                  <a:lnTo>
                    <a:pt x="701141" y="699329"/>
                  </a:lnTo>
                  <a:lnTo>
                    <a:pt x="699917" y="698345"/>
                  </a:lnTo>
                  <a:lnTo>
                    <a:pt x="699643" y="697790"/>
                  </a:lnTo>
                  <a:lnTo>
                    <a:pt x="699095" y="696648"/>
                  </a:lnTo>
                  <a:lnTo>
                    <a:pt x="698861" y="696222"/>
                  </a:lnTo>
                  <a:lnTo>
                    <a:pt x="698358" y="695507"/>
                  </a:lnTo>
                  <a:lnTo>
                    <a:pt x="696639" y="695214"/>
                  </a:lnTo>
                  <a:lnTo>
                    <a:pt x="693982" y="695160"/>
                  </a:lnTo>
                  <a:lnTo>
                    <a:pt x="687952" y="696053"/>
                  </a:lnTo>
                  <a:lnTo>
                    <a:pt x="685424" y="696866"/>
                  </a:lnTo>
                  <a:lnTo>
                    <a:pt x="684882" y="698207"/>
                  </a:lnTo>
                  <a:lnTo>
                    <a:pt x="684332" y="699013"/>
                  </a:lnTo>
                  <a:lnTo>
                    <a:pt x="683954" y="699995"/>
                  </a:lnTo>
                  <a:lnTo>
                    <a:pt x="677641" y="702030"/>
                  </a:lnTo>
                  <a:lnTo>
                    <a:pt x="634637" y="711888"/>
                  </a:lnTo>
                  <a:lnTo>
                    <a:pt x="623773" y="707671"/>
                  </a:lnTo>
                  <a:lnTo>
                    <a:pt x="619074" y="707168"/>
                  </a:lnTo>
                  <a:lnTo>
                    <a:pt x="615841" y="707720"/>
                  </a:lnTo>
                  <a:lnTo>
                    <a:pt x="614608" y="708419"/>
                  </a:lnTo>
                  <a:lnTo>
                    <a:pt x="613778" y="709599"/>
                  </a:lnTo>
                  <a:lnTo>
                    <a:pt x="612806" y="712629"/>
                  </a:lnTo>
                  <a:lnTo>
                    <a:pt x="612034" y="713882"/>
                  </a:lnTo>
                  <a:lnTo>
                    <a:pt x="610917" y="714770"/>
                  </a:lnTo>
                  <a:lnTo>
                    <a:pt x="609568" y="715323"/>
                  </a:lnTo>
                  <a:lnTo>
                    <a:pt x="604831" y="716162"/>
                  </a:lnTo>
                  <a:lnTo>
                    <a:pt x="602075" y="717178"/>
                  </a:lnTo>
                  <a:lnTo>
                    <a:pt x="599920" y="716798"/>
                  </a:lnTo>
                  <a:lnTo>
                    <a:pt x="596938" y="715245"/>
                  </a:lnTo>
                  <a:lnTo>
                    <a:pt x="591160" y="710483"/>
                  </a:lnTo>
                  <a:lnTo>
                    <a:pt x="588025" y="708739"/>
                  </a:lnTo>
                  <a:lnTo>
                    <a:pt x="585739" y="706954"/>
                  </a:lnTo>
                  <a:lnTo>
                    <a:pt x="584756" y="705371"/>
                  </a:lnTo>
                  <a:lnTo>
                    <a:pt x="584415" y="697248"/>
                  </a:lnTo>
                  <a:lnTo>
                    <a:pt x="583611" y="692353"/>
                  </a:lnTo>
                  <a:lnTo>
                    <a:pt x="582967" y="690736"/>
                  </a:lnTo>
                  <a:lnTo>
                    <a:pt x="581819" y="689409"/>
                  </a:lnTo>
                  <a:lnTo>
                    <a:pt x="579488" y="688361"/>
                  </a:lnTo>
                  <a:lnTo>
                    <a:pt x="577680" y="688299"/>
                  </a:lnTo>
                  <a:lnTo>
                    <a:pt x="576142" y="688705"/>
                  </a:lnTo>
                  <a:lnTo>
                    <a:pt x="574910" y="689490"/>
                  </a:lnTo>
                  <a:lnTo>
                    <a:pt x="573327" y="689394"/>
                  </a:lnTo>
                  <a:lnTo>
                    <a:pt x="571337" y="688475"/>
                  </a:lnTo>
                  <a:lnTo>
                    <a:pt x="568467" y="685117"/>
                  </a:lnTo>
                  <a:lnTo>
                    <a:pt x="564872" y="682299"/>
                  </a:lnTo>
                  <a:lnTo>
                    <a:pt x="561294" y="680793"/>
                  </a:lnTo>
                  <a:lnTo>
                    <a:pt x="560521" y="677893"/>
                  </a:lnTo>
                  <a:lnTo>
                    <a:pt x="560095" y="675534"/>
                  </a:lnTo>
                  <a:lnTo>
                    <a:pt x="560744" y="656404"/>
                  </a:lnTo>
                  <a:lnTo>
                    <a:pt x="562863" y="654512"/>
                  </a:lnTo>
                  <a:lnTo>
                    <a:pt x="566216" y="652176"/>
                  </a:lnTo>
                  <a:lnTo>
                    <a:pt x="567048" y="651087"/>
                  </a:lnTo>
                  <a:lnTo>
                    <a:pt x="567255" y="649738"/>
                  </a:lnTo>
                  <a:lnTo>
                    <a:pt x="567072" y="648693"/>
                  </a:lnTo>
                  <a:lnTo>
                    <a:pt x="566895" y="648104"/>
                  </a:lnTo>
                  <a:lnTo>
                    <a:pt x="566255" y="646693"/>
                  </a:lnTo>
                  <a:lnTo>
                    <a:pt x="562904" y="640709"/>
                  </a:lnTo>
                  <a:lnTo>
                    <a:pt x="556846" y="638840"/>
                  </a:lnTo>
                  <a:lnTo>
                    <a:pt x="533644" y="637864"/>
                  </a:lnTo>
                  <a:lnTo>
                    <a:pt x="530294" y="642103"/>
                  </a:lnTo>
                  <a:lnTo>
                    <a:pt x="527653" y="642859"/>
                  </a:lnTo>
                  <a:lnTo>
                    <a:pt x="525754" y="644375"/>
                  </a:lnTo>
                  <a:lnTo>
                    <a:pt x="524541" y="646739"/>
                  </a:lnTo>
                  <a:lnTo>
                    <a:pt x="524275" y="648027"/>
                  </a:lnTo>
                  <a:lnTo>
                    <a:pt x="524172" y="648886"/>
                  </a:lnTo>
                  <a:lnTo>
                    <a:pt x="524237" y="649594"/>
                  </a:lnTo>
                  <a:lnTo>
                    <a:pt x="524192" y="650541"/>
                  </a:lnTo>
                  <a:lnTo>
                    <a:pt x="523975" y="651266"/>
                  </a:lnTo>
                  <a:lnTo>
                    <a:pt x="522755" y="652980"/>
                  </a:lnTo>
                  <a:lnTo>
                    <a:pt x="515348" y="657975"/>
                  </a:lnTo>
                  <a:lnTo>
                    <a:pt x="508315" y="659665"/>
                  </a:lnTo>
                  <a:lnTo>
                    <a:pt x="498270" y="664641"/>
                  </a:lnTo>
                  <a:lnTo>
                    <a:pt x="500087" y="670856"/>
                  </a:lnTo>
                  <a:lnTo>
                    <a:pt x="501192" y="673741"/>
                  </a:lnTo>
                  <a:lnTo>
                    <a:pt x="501373" y="674802"/>
                  </a:lnTo>
                  <a:lnTo>
                    <a:pt x="501274" y="676044"/>
                  </a:lnTo>
                  <a:lnTo>
                    <a:pt x="500506" y="678093"/>
                  </a:lnTo>
                  <a:lnTo>
                    <a:pt x="501155" y="680627"/>
                  </a:lnTo>
                  <a:lnTo>
                    <a:pt x="501795" y="682394"/>
                  </a:lnTo>
                  <a:lnTo>
                    <a:pt x="502490" y="683952"/>
                  </a:lnTo>
                  <a:lnTo>
                    <a:pt x="502902" y="685425"/>
                  </a:lnTo>
                  <a:lnTo>
                    <a:pt x="503446" y="688582"/>
                  </a:lnTo>
                  <a:lnTo>
                    <a:pt x="503634" y="690265"/>
                  </a:lnTo>
                  <a:lnTo>
                    <a:pt x="503597" y="692067"/>
                  </a:lnTo>
                  <a:lnTo>
                    <a:pt x="502467" y="702159"/>
                  </a:lnTo>
                  <a:lnTo>
                    <a:pt x="502490" y="704286"/>
                  </a:lnTo>
                  <a:lnTo>
                    <a:pt x="503015" y="705757"/>
                  </a:lnTo>
                  <a:lnTo>
                    <a:pt x="504399" y="708255"/>
                  </a:lnTo>
                  <a:lnTo>
                    <a:pt x="504643" y="709819"/>
                  </a:lnTo>
                  <a:lnTo>
                    <a:pt x="504612" y="712154"/>
                  </a:lnTo>
                  <a:lnTo>
                    <a:pt x="504914" y="713878"/>
                  </a:lnTo>
                  <a:lnTo>
                    <a:pt x="505552" y="715291"/>
                  </a:lnTo>
                  <a:lnTo>
                    <a:pt x="508189" y="718527"/>
                  </a:lnTo>
                  <a:lnTo>
                    <a:pt x="508769" y="719821"/>
                  </a:lnTo>
                  <a:lnTo>
                    <a:pt x="509294" y="721203"/>
                  </a:lnTo>
                  <a:lnTo>
                    <a:pt x="509425" y="722798"/>
                  </a:lnTo>
                  <a:lnTo>
                    <a:pt x="509443" y="724393"/>
                  </a:lnTo>
                  <a:lnTo>
                    <a:pt x="509514" y="725692"/>
                  </a:lnTo>
                  <a:lnTo>
                    <a:pt x="509757" y="727110"/>
                  </a:lnTo>
                  <a:lnTo>
                    <a:pt x="510522" y="729702"/>
                  </a:lnTo>
                  <a:lnTo>
                    <a:pt x="510419" y="730678"/>
                  </a:lnTo>
                  <a:lnTo>
                    <a:pt x="509919" y="731437"/>
                  </a:lnTo>
                  <a:lnTo>
                    <a:pt x="507270" y="732281"/>
                  </a:lnTo>
                  <a:lnTo>
                    <a:pt x="506371" y="732926"/>
                  </a:lnTo>
                  <a:lnTo>
                    <a:pt x="506270" y="733902"/>
                  </a:lnTo>
                  <a:lnTo>
                    <a:pt x="506525" y="736471"/>
                  </a:lnTo>
                  <a:lnTo>
                    <a:pt x="506939" y="738151"/>
                  </a:lnTo>
                  <a:lnTo>
                    <a:pt x="507069" y="739611"/>
                  </a:lnTo>
                  <a:lnTo>
                    <a:pt x="506635" y="741242"/>
                  </a:lnTo>
                  <a:lnTo>
                    <a:pt x="503547" y="748607"/>
                  </a:lnTo>
                  <a:lnTo>
                    <a:pt x="503012" y="751361"/>
                  </a:lnTo>
                  <a:lnTo>
                    <a:pt x="503034" y="753430"/>
                  </a:lnTo>
                  <a:lnTo>
                    <a:pt x="505114" y="757130"/>
                  </a:lnTo>
                  <a:lnTo>
                    <a:pt x="505639" y="758469"/>
                  </a:lnTo>
                  <a:lnTo>
                    <a:pt x="505604" y="760406"/>
                  </a:lnTo>
                  <a:lnTo>
                    <a:pt x="505064" y="762775"/>
                  </a:lnTo>
                  <a:lnTo>
                    <a:pt x="502840" y="766511"/>
                  </a:lnTo>
                  <a:lnTo>
                    <a:pt x="502183" y="768602"/>
                  </a:lnTo>
                  <a:lnTo>
                    <a:pt x="501802" y="769994"/>
                  </a:lnTo>
                  <a:lnTo>
                    <a:pt x="502471" y="774212"/>
                  </a:lnTo>
                  <a:lnTo>
                    <a:pt x="502543" y="775542"/>
                  </a:lnTo>
                  <a:lnTo>
                    <a:pt x="502439" y="776460"/>
                  </a:lnTo>
                  <a:lnTo>
                    <a:pt x="501943" y="777707"/>
                  </a:lnTo>
                  <a:lnTo>
                    <a:pt x="500365" y="778492"/>
                  </a:lnTo>
                  <a:lnTo>
                    <a:pt x="497874" y="778757"/>
                  </a:lnTo>
                  <a:lnTo>
                    <a:pt x="489555" y="776275"/>
                  </a:lnTo>
                  <a:lnTo>
                    <a:pt x="487618" y="775202"/>
                  </a:lnTo>
                  <a:lnTo>
                    <a:pt x="484412" y="772044"/>
                  </a:lnTo>
                  <a:lnTo>
                    <a:pt x="482496" y="773054"/>
                  </a:lnTo>
                  <a:lnTo>
                    <a:pt x="478939" y="779843"/>
                  </a:lnTo>
                  <a:lnTo>
                    <a:pt x="460853" y="763058"/>
                  </a:lnTo>
                  <a:lnTo>
                    <a:pt x="457921" y="758446"/>
                  </a:lnTo>
                  <a:lnTo>
                    <a:pt x="464976" y="750251"/>
                  </a:lnTo>
                  <a:lnTo>
                    <a:pt x="465475" y="749122"/>
                  </a:lnTo>
                  <a:lnTo>
                    <a:pt x="465637" y="748322"/>
                  </a:lnTo>
                  <a:lnTo>
                    <a:pt x="465511" y="747039"/>
                  </a:lnTo>
                  <a:lnTo>
                    <a:pt x="465046" y="745758"/>
                  </a:lnTo>
                  <a:lnTo>
                    <a:pt x="464467" y="744433"/>
                  </a:lnTo>
                  <a:lnTo>
                    <a:pt x="463029" y="742010"/>
                  </a:lnTo>
                  <a:lnTo>
                    <a:pt x="461366" y="739779"/>
                  </a:lnTo>
                  <a:lnTo>
                    <a:pt x="458491" y="734915"/>
                  </a:lnTo>
                  <a:lnTo>
                    <a:pt x="457408" y="734040"/>
                  </a:lnTo>
                  <a:lnTo>
                    <a:pt x="456102" y="733548"/>
                  </a:lnTo>
                  <a:lnTo>
                    <a:pt x="453766" y="733777"/>
                  </a:lnTo>
                  <a:lnTo>
                    <a:pt x="452572" y="733169"/>
                  </a:lnTo>
                  <a:lnTo>
                    <a:pt x="451420" y="730873"/>
                  </a:lnTo>
                  <a:lnTo>
                    <a:pt x="450483" y="727365"/>
                  </a:lnTo>
                  <a:lnTo>
                    <a:pt x="449288" y="726578"/>
                  </a:lnTo>
                  <a:lnTo>
                    <a:pt x="447818" y="726665"/>
                  </a:lnTo>
                  <a:lnTo>
                    <a:pt x="444094" y="727720"/>
                  </a:lnTo>
                  <a:lnTo>
                    <a:pt x="442466" y="729063"/>
                  </a:lnTo>
                  <a:lnTo>
                    <a:pt x="441235" y="730538"/>
                  </a:lnTo>
                  <a:lnTo>
                    <a:pt x="440510" y="731786"/>
                  </a:lnTo>
                  <a:lnTo>
                    <a:pt x="439501" y="732798"/>
                  </a:lnTo>
                  <a:lnTo>
                    <a:pt x="438148" y="733358"/>
                  </a:lnTo>
                  <a:lnTo>
                    <a:pt x="433212" y="733932"/>
                  </a:lnTo>
                  <a:lnTo>
                    <a:pt x="431688" y="734330"/>
                  </a:lnTo>
                  <a:lnTo>
                    <a:pt x="426447" y="736767"/>
                  </a:lnTo>
                  <a:lnTo>
                    <a:pt x="424975" y="736661"/>
                  </a:lnTo>
                  <a:lnTo>
                    <a:pt x="423497" y="735788"/>
                  </a:lnTo>
                  <a:lnTo>
                    <a:pt x="421774" y="732610"/>
                  </a:lnTo>
                  <a:lnTo>
                    <a:pt x="419835" y="730644"/>
                  </a:lnTo>
                  <a:lnTo>
                    <a:pt x="417221" y="729158"/>
                  </a:lnTo>
                  <a:lnTo>
                    <a:pt x="407350" y="727817"/>
                  </a:lnTo>
                  <a:lnTo>
                    <a:pt x="406503" y="728030"/>
                  </a:lnTo>
                  <a:lnTo>
                    <a:pt x="405998" y="728595"/>
                  </a:lnTo>
                  <a:lnTo>
                    <a:pt x="405520" y="732737"/>
                  </a:lnTo>
                  <a:lnTo>
                    <a:pt x="405245" y="733802"/>
                  </a:lnTo>
                  <a:lnTo>
                    <a:pt x="404687" y="734855"/>
                  </a:lnTo>
                  <a:lnTo>
                    <a:pt x="403901" y="735703"/>
                  </a:lnTo>
                  <a:lnTo>
                    <a:pt x="401626" y="734066"/>
                  </a:lnTo>
                  <a:lnTo>
                    <a:pt x="400088" y="732570"/>
                  </a:lnTo>
                  <a:lnTo>
                    <a:pt x="387500" y="714410"/>
                  </a:lnTo>
                  <a:lnTo>
                    <a:pt x="384725" y="713733"/>
                  </a:lnTo>
                  <a:lnTo>
                    <a:pt x="381788" y="714093"/>
                  </a:lnTo>
                  <a:lnTo>
                    <a:pt x="372575" y="717301"/>
                  </a:lnTo>
                  <a:lnTo>
                    <a:pt x="371294" y="717486"/>
                  </a:lnTo>
                  <a:lnTo>
                    <a:pt x="370144" y="717375"/>
                  </a:lnTo>
                  <a:lnTo>
                    <a:pt x="369294" y="717055"/>
                  </a:lnTo>
                  <a:lnTo>
                    <a:pt x="368441" y="716173"/>
                  </a:lnTo>
                  <a:lnTo>
                    <a:pt x="367700" y="715158"/>
                  </a:lnTo>
                  <a:lnTo>
                    <a:pt x="367070" y="713921"/>
                  </a:lnTo>
                  <a:lnTo>
                    <a:pt x="366272" y="712730"/>
                  </a:lnTo>
                  <a:lnTo>
                    <a:pt x="365361" y="711730"/>
                  </a:lnTo>
                  <a:lnTo>
                    <a:pt x="364339" y="711012"/>
                  </a:lnTo>
                  <a:lnTo>
                    <a:pt x="363376" y="710590"/>
                  </a:lnTo>
                  <a:lnTo>
                    <a:pt x="362415" y="710596"/>
                  </a:lnTo>
                  <a:lnTo>
                    <a:pt x="361118" y="711031"/>
                  </a:lnTo>
                  <a:lnTo>
                    <a:pt x="359541" y="712148"/>
                  </a:lnTo>
                  <a:lnTo>
                    <a:pt x="356778" y="713375"/>
                  </a:lnTo>
                  <a:lnTo>
                    <a:pt x="350027" y="712246"/>
                  </a:lnTo>
                  <a:lnTo>
                    <a:pt x="348557" y="712387"/>
                  </a:lnTo>
                  <a:lnTo>
                    <a:pt x="347204" y="712927"/>
                  </a:lnTo>
                  <a:lnTo>
                    <a:pt x="342699" y="716201"/>
                  </a:lnTo>
                  <a:lnTo>
                    <a:pt x="341458" y="716814"/>
                  </a:lnTo>
                  <a:lnTo>
                    <a:pt x="338805" y="717610"/>
                  </a:lnTo>
                  <a:lnTo>
                    <a:pt x="337561" y="717558"/>
                  </a:lnTo>
                  <a:lnTo>
                    <a:pt x="336655" y="717386"/>
                  </a:lnTo>
                  <a:lnTo>
                    <a:pt x="333198" y="715703"/>
                  </a:lnTo>
                  <a:lnTo>
                    <a:pt x="332462" y="715515"/>
                  </a:lnTo>
                  <a:lnTo>
                    <a:pt x="331162" y="715357"/>
                  </a:lnTo>
                  <a:lnTo>
                    <a:pt x="329565" y="716414"/>
                  </a:lnTo>
                  <a:lnTo>
                    <a:pt x="327764" y="718284"/>
                  </a:lnTo>
                  <a:lnTo>
                    <a:pt x="322658" y="726937"/>
                  </a:lnTo>
                  <a:lnTo>
                    <a:pt x="321930" y="728537"/>
                  </a:lnTo>
                  <a:lnTo>
                    <a:pt x="320919" y="730403"/>
                  </a:lnTo>
                  <a:lnTo>
                    <a:pt x="319907" y="731707"/>
                  </a:lnTo>
                  <a:lnTo>
                    <a:pt x="318722" y="732363"/>
                  </a:lnTo>
                  <a:lnTo>
                    <a:pt x="317477" y="732279"/>
                  </a:lnTo>
                  <a:lnTo>
                    <a:pt x="316684" y="732077"/>
                  </a:lnTo>
                  <a:lnTo>
                    <a:pt x="311528" y="729866"/>
                  </a:lnTo>
                  <a:lnTo>
                    <a:pt x="309925" y="729798"/>
                  </a:lnTo>
                  <a:lnTo>
                    <a:pt x="308399" y="730040"/>
                  </a:lnTo>
                  <a:lnTo>
                    <a:pt x="306822" y="731937"/>
                  </a:lnTo>
                  <a:lnTo>
                    <a:pt x="305364" y="735255"/>
                  </a:lnTo>
                  <a:lnTo>
                    <a:pt x="304056" y="748646"/>
                  </a:lnTo>
                  <a:lnTo>
                    <a:pt x="304353" y="752251"/>
                  </a:lnTo>
                  <a:lnTo>
                    <a:pt x="305833" y="754521"/>
                  </a:lnTo>
                  <a:lnTo>
                    <a:pt x="307197" y="755757"/>
                  </a:lnTo>
                  <a:lnTo>
                    <a:pt x="308672" y="756726"/>
                  </a:lnTo>
                  <a:lnTo>
                    <a:pt x="312719" y="758616"/>
                  </a:lnTo>
                  <a:lnTo>
                    <a:pt x="317034" y="761509"/>
                  </a:lnTo>
                  <a:lnTo>
                    <a:pt x="317660" y="762098"/>
                  </a:lnTo>
                  <a:lnTo>
                    <a:pt x="322042" y="767133"/>
                  </a:lnTo>
                  <a:lnTo>
                    <a:pt x="323009" y="768074"/>
                  </a:lnTo>
                  <a:lnTo>
                    <a:pt x="324202" y="768895"/>
                  </a:lnTo>
                  <a:lnTo>
                    <a:pt x="325677" y="769392"/>
                  </a:lnTo>
                  <a:lnTo>
                    <a:pt x="327265" y="769651"/>
                  </a:lnTo>
                  <a:lnTo>
                    <a:pt x="333625" y="769030"/>
                  </a:lnTo>
                  <a:lnTo>
                    <a:pt x="335043" y="769494"/>
                  </a:lnTo>
                  <a:lnTo>
                    <a:pt x="336237" y="770258"/>
                  </a:lnTo>
                  <a:lnTo>
                    <a:pt x="337035" y="771406"/>
                  </a:lnTo>
                  <a:lnTo>
                    <a:pt x="337900" y="774343"/>
                  </a:lnTo>
                  <a:lnTo>
                    <a:pt x="338416" y="775684"/>
                  </a:lnTo>
                  <a:lnTo>
                    <a:pt x="339215" y="776773"/>
                  </a:lnTo>
                  <a:lnTo>
                    <a:pt x="340183" y="777743"/>
                  </a:lnTo>
                  <a:lnTo>
                    <a:pt x="341490" y="778476"/>
                  </a:lnTo>
                  <a:lnTo>
                    <a:pt x="342967" y="779090"/>
                  </a:lnTo>
                  <a:lnTo>
                    <a:pt x="349379" y="780799"/>
                  </a:lnTo>
                  <a:lnTo>
                    <a:pt x="350574" y="781678"/>
                  </a:lnTo>
                  <a:lnTo>
                    <a:pt x="351374" y="782828"/>
                  </a:lnTo>
                  <a:lnTo>
                    <a:pt x="351967" y="784153"/>
                  </a:lnTo>
                  <a:lnTo>
                    <a:pt x="352663" y="787149"/>
                  </a:lnTo>
                  <a:lnTo>
                    <a:pt x="352899" y="788758"/>
                  </a:lnTo>
                  <a:lnTo>
                    <a:pt x="353023" y="790679"/>
                  </a:lnTo>
                  <a:lnTo>
                    <a:pt x="352864" y="792720"/>
                  </a:lnTo>
                  <a:lnTo>
                    <a:pt x="352310" y="795146"/>
                  </a:lnTo>
                  <a:lnTo>
                    <a:pt x="351392" y="796585"/>
                  </a:lnTo>
                  <a:lnTo>
                    <a:pt x="350321" y="797727"/>
                  </a:lnTo>
                  <a:lnTo>
                    <a:pt x="348566" y="798328"/>
                  </a:lnTo>
                  <a:lnTo>
                    <a:pt x="346242" y="798430"/>
                  </a:lnTo>
                  <a:lnTo>
                    <a:pt x="341757" y="797419"/>
                  </a:lnTo>
                  <a:lnTo>
                    <a:pt x="336527" y="794710"/>
                  </a:lnTo>
                  <a:lnTo>
                    <a:pt x="335051" y="794274"/>
                  </a:lnTo>
                  <a:lnTo>
                    <a:pt x="323421" y="796988"/>
                  </a:lnTo>
                  <a:lnTo>
                    <a:pt x="320417" y="797224"/>
                  </a:lnTo>
                  <a:lnTo>
                    <a:pt x="318431" y="796923"/>
                  </a:lnTo>
                  <a:lnTo>
                    <a:pt x="317007" y="795598"/>
                  </a:lnTo>
                  <a:lnTo>
                    <a:pt x="316098" y="794998"/>
                  </a:lnTo>
                  <a:lnTo>
                    <a:pt x="314736" y="794617"/>
                  </a:lnTo>
                  <a:lnTo>
                    <a:pt x="313262" y="794682"/>
                  </a:lnTo>
                  <a:lnTo>
                    <a:pt x="310590" y="797767"/>
                  </a:lnTo>
                  <a:lnTo>
                    <a:pt x="308936" y="809802"/>
                  </a:lnTo>
                  <a:lnTo>
                    <a:pt x="308954" y="814322"/>
                  </a:lnTo>
                  <a:lnTo>
                    <a:pt x="308847" y="816009"/>
                  </a:lnTo>
                  <a:lnTo>
                    <a:pt x="308341" y="817355"/>
                  </a:lnTo>
                  <a:lnTo>
                    <a:pt x="306641" y="817820"/>
                  </a:lnTo>
                  <a:lnTo>
                    <a:pt x="304085" y="817195"/>
                  </a:lnTo>
                  <a:lnTo>
                    <a:pt x="299024" y="814183"/>
                  </a:lnTo>
                  <a:lnTo>
                    <a:pt x="294302" y="810506"/>
                  </a:lnTo>
                  <a:lnTo>
                    <a:pt x="285256" y="808022"/>
                  </a:lnTo>
                  <a:lnTo>
                    <a:pt x="268730" y="808141"/>
                  </a:lnTo>
                  <a:lnTo>
                    <a:pt x="265828" y="804557"/>
                  </a:lnTo>
                  <a:lnTo>
                    <a:pt x="264234" y="801828"/>
                  </a:lnTo>
                  <a:lnTo>
                    <a:pt x="263891" y="800395"/>
                  </a:lnTo>
                  <a:lnTo>
                    <a:pt x="263887" y="798947"/>
                  </a:lnTo>
                  <a:lnTo>
                    <a:pt x="264848" y="797232"/>
                  </a:lnTo>
                  <a:lnTo>
                    <a:pt x="265241" y="795488"/>
                  </a:lnTo>
                  <a:lnTo>
                    <a:pt x="265066" y="793300"/>
                  </a:lnTo>
                  <a:lnTo>
                    <a:pt x="261707" y="786984"/>
                  </a:lnTo>
                  <a:lnTo>
                    <a:pt x="260452" y="783470"/>
                  </a:lnTo>
                  <a:lnTo>
                    <a:pt x="260165" y="781372"/>
                  </a:lnTo>
                  <a:lnTo>
                    <a:pt x="260726" y="778785"/>
                  </a:lnTo>
                  <a:lnTo>
                    <a:pt x="261515" y="776877"/>
                  </a:lnTo>
                  <a:lnTo>
                    <a:pt x="261791" y="773743"/>
                  </a:lnTo>
                  <a:lnTo>
                    <a:pt x="262411" y="771910"/>
                  </a:lnTo>
                  <a:lnTo>
                    <a:pt x="262461" y="769102"/>
                  </a:lnTo>
                  <a:lnTo>
                    <a:pt x="262057" y="765558"/>
                  </a:lnTo>
                  <a:lnTo>
                    <a:pt x="260287" y="758470"/>
                  </a:lnTo>
                  <a:lnTo>
                    <a:pt x="259769" y="754716"/>
                  </a:lnTo>
                  <a:lnTo>
                    <a:pt x="259593" y="751850"/>
                  </a:lnTo>
                  <a:lnTo>
                    <a:pt x="259193" y="750077"/>
                  </a:lnTo>
                  <a:lnTo>
                    <a:pt x="258001" y="748439"/>
                  </a:lnTo>
                  <a:lnTo>
                    <a:pt x="252958" y="745687"/>
                  </a:lnTo>
                  <a:lnTo>
                    <a:pt x="249783" y="742087"/>
                  </a:lnTo>
                  <a:lnTo>
                    <a:pt x="244937" y="731337"/>
                  </a:lnTo>
                  <a:lnTo>
                    <a:pt x="238886" y="732173"/>
                  </a:lnTo>
                  <a:lnTo>
                    <a:pt x="236513" y="734305"/>
                  </a:lnTo>
                  <a:lnTo>
                    <a:pt x="235383" y="735105"/>
                  </a:lnTo>
                  <a:lnTo>
                    <a:pt x="233629" y="735312"/>
                  </a:lnTo>
                  <a:lnTo>
                    <a:pt x="230574" y="734696"/>
                  </a:lnTo>
                  <a:lnTo>
                    <a:pt x="225746" y="734375"/>
                  </a:lnTo>
                  <a:lnTo>
                    <a:pt x="224840" y="733828"/>
                  </a:lnTo>
                  <a:lnTo>
                    <a:pt x="224217" y="732780"/>
                  </a:lnTo>
                  <a:lnTo>
                    <a:pt x="224385" y="730742"/>
                  </a:lnTo>
                  <a:lnTo>
                    <a:pt x="224101" y="729012"/>
                  </a:lnTo>
                  <a:lnTo>
                    <a:pt x="223252" y="727373"/>
                  </a:lnTo>
                  <a:lnTo>
                    <a:pt x="213464" y="719044"/>
                  </a:lnTo>
                  <a:lnTo>
                    <a:pt x="211597" y="716741"/>
                  </a:lnTo>
                  <a:lnTo>
                    <a:pt x="210353" y="714879"/>
                  </a:lnTo>
                  <a:lnTo>
                    <a:pt x="209165" y="712248"/>
                  </a:lnTo>
                  <a:lnTo>
                    <a:pt x="208826" y="710697"/>
                  </a:lnTo>
                  <a:lnTo>
                    <a:pt x="208298" y="709264"/>
                  </a:lnTo>
                  <a:lnTo>
                    <a:pt x="207394" y="708289"/>
                  </a:lnTo>
                  <a:lnTo>
                    <a:pt x="204907" y="708939"/>
                  </a:lnTo>
                  <a:lnTo>
                    <a:pt x="201628" y="710329"/>
                  </a:lnTo>
                  <a:lnTo>
                    <a:pt x="198350" y="710802"/>
                  </a:lnTo>
                  <a:lnTo>
                    <a:pt x="191342" y="710119"/>
                  </a:lnTo>
                  <a:lnTo>
                    <a:pt x="189760" y="709261"/>
                  </a:lnTo>
                  <a:lnTo>
                    <a:pt x="188404" y="708050"/>
                  </a:lnTo>
                  <a:lnTo>
                    <a:pt x="186691" y="704811"/>
                  </a:lnTo>
                  <a:lnTo>
                    <a:pt x="186524" y="702817"/>
                  </a:lnTo>
                  <a:lnTo>
                    <a:pt x="186920" y="701103"/>
                  </a:lnTo>
                  <a:lnTo>
                    <a:pt x="188804" y="699066"/>
                  </a:lnTo>
                  <a:lnTo>
                    <a:pt x="189652" y="697972"/>
                  </a:lnTo>
                  <a:lnTo>
                    <a:pt x="190049" y="696643"/>
                  </a:lnTo>
                  <a:lnTo>
                    <a:pt x="189146" y="694677"/>
                  </a:lnTo>
                  <a:lnTo>
                    <a:pt x="179474" y="686854"/>
                  </a:lnTo>
                  <a:lnTo>
                    <a:pt x="177951" y="685110"/>
                  </a:lnTo>
                  <a:lnTo>
                    <a:pt x="176485" y="682684"/>
                  </a:lnTo>
                  <a:lnTo>
                    <a:pt x="174850" y="680436"/>
                  </a:lnTo>
                  <a:lnTo>
                    <a:pt x="173046" y="678335"/>
                  </a:lnTo>
                  <a:lnTo>
                    <a:pt x="167914" y="674162"/>
                  </a:lnTo>
                  <a:lnTo>
                    <a:pt x="166994" y="672802"/>
                  </a:lnTo>
                  <a:lnTo>
                    <a:pt x="166544" y="671235"/>
                  </a:lnTo>
                  <a:lnTo>
                    <a:pt x="166546" y="669640"/>
                  </a:lnTo>
                  <a:lnTo>
                    <a:pt x="166777" y="666124"/>
                  </a:lnTo>
                  <a:lnTo>
                    <a:pt x="166722" y="664527"/>
                  </a:lnTo>
                  <a:lnTo>
                    <a:pt x="166442" y="663226"/>
                  </a:lnTo>
                  <a:lnTo>
                    <a:pt x="165205" y="660151"/>
                  </a:lnTo>
                  <a:lnTo>
                    <a:pt x="164869" y="658688"/>
                  </a:lnTo>
                  <a:lnTo>
                    <a:pt x="163010" y="656808"/>
                  </a:lnTo>
                  <a:lnTo>
                    <a:pt x="159798" y="654942"/>
                  </a:lnTo>
                  <a:lnTo>
                    <a:pt x="130476" y="644728"/>
                  </a:lnTo>
                  <a:lnTo>
                    <a:pt x="128111" y="643288"/>
                  </a:lnTo>
                  <a:lnTo>
                    <a:pt x="126876" y="641570"/>
                  </a:lnTo>
                  <a:lnTo>
                    <a:pt x="126246" y="638494"/>
                  </a:lnTo>
                  <a:lnTo>
                    <a:pt x="124679" y="634381"/>
                  </a:lnTo>
                  <a:lnTo>
                    <a:pt x="124125" y="631219"/>
                  </a:lnTo>
                  <a:lnTo>
                    <a:pt x="123284" y="629768"/>
                  </a:lnTo>
                  <a:lnTo>
                    <a:pt x="121992" y="628346"/>
                  </a:lnTo>
                  <a:lnTo>
                    <a:pt x="119799" y="626714"/>
                  </a:lnTo>
                  <a:lnTo>
                    <a:pt x="118564" y="625320"/>
                  </a:lnTo>
                  <a:lnTo>
                    <a:pt x="117667" y="623973"/>
                  </a:lnTo>
                  <a:lnTo>
                    <a:pt x="115698" y="622918"/>
                  </a:lnTo>
                  <a:lnTo>
                    <a:pt x="112489" y="622344"/>
                  </a:lnTo>
                  <a:lnTo>
                    <a:pt x="94661" y="624154"/>
                  </a:lnTo>
                  <a:lnTo>
                    <a:pt x="92691" y="623688"/>
                  </a:lnTo>
                  <a:lnTo>
                    <a:pt x="91285" y="622886"/>
                  </a:lnTo>
                  <a:lnTo>
                    <a:pt x="90671" y="621642"/>
                  </a:lnTo>
                  <a:lnTo>
                    <a:pt x="90338" y="620310"/>
                  </a:lnTo>
                  <a:lnTo>
                    <a:pt x="90458" y="618611"/>
                  </a:lnTo>
                  <a:lnTo>
                    <a:pt x="90634" y="617030"/>
                  </a:lnTo>
                  <a:lnTo>
                    <a:pt x="90528" y="615404"/>
                  </a:lnTo>
                  <a:lnTo>
                    <a:pt x="89912" y="614427"/>
                  </a:lnTo>
                  <a:lnTo>
                    <a:pt x="83905" y="618628"/>
                  </a:lnTo>
                  <a:lnTo>
                    <a:pt x="63943" y="640815"/>
                  </a:lnTo>
                  <a:lnTo>
                    <a:pt x="61182" y="640535"/>
                  </a:lnTo>
                  <a:lnTo>
                    <a:pt x="60232" y="639050"/>
                  </a:lnTo>
                  <a:lnTo>
                    <a:pt x="60126" y="637706"/>
                  </a:lnTo>
                  <a:lnTo>
                    <a:pt x="60478" y="635151"/>
                  </a:lnTo>
                  <a:lnTo>
                    <a:pt x="61229" y="631787"/>
                  </a:lnTo>
                  <a:lnTo>
                    <a:pt x="64379" y="621962"/>
                  </a:lnTo>
                  <a:lnTo>
                    <a:pt x="64731" y="619125"/>
                  </a:lnTo>
                  <a:lnTo>
                    <a:pt x="62285" y="613026"/>
                  </a:lnTo>
                  <a:lnTo>
                    <a:pt x="61953" y="611724"/>
                  </a:lnTo>
                  <a:lnTo>
                    <a:pt x="61680" y="610200"/>
                  </a:lnTo>
                  <a:lnTo>
                    <a:pt x="61576" y="608530"/>
                  </a:lnTo>
                  <a:lnTo>
                    <a:pt x="61529" y="606726"/>
                  </a:lnTo>
                  <a:lnTo>
                    <a:pt x="62090" y="596416"/>
                  </a:lnTo>
                  <a:lnTo>
                    <a:pt x="61932" y="594361"/>
                  </a:lnTo>
                  <a:lnTo>
                    <a:pt x="61546" y="592777"/>
                  </a:lnTo>
                  <a:lnTo>
                    <a:pt x="60820" y="591769"/>
                  </a:lnTo>
                  <a:lnTo>
                    <a:pt x="60886" y="589907"/>
                  </a:lnTo>
                  <a:lnTo>
                    <a:pt x="61799" y="587592"/>
                  </a:lnTo>
                  <a:lnTo>
                    <a:pt x="65534" y="583445"/>
                  </a:lnTo>
                  <a:lnTo>
                    <a:pt x="67865" y="582216"/>
                  </a:lnTo>
                  <a:lnTo>
                    <a:pt x="69609" y="582091"/>
                  </a:lnTo>
                  <a:lnTo>
                    <a:pt x="70562" y="582895"/>
                  </a:lnTo>
                  <a:lnTo>
                    <a:pt x="71242" y="581877"/>
                  </a:lnTo>
                  <a:lnTo>
                    <a:pt x="71867" y="580521"/>
                  </a:lnTo>
                  <a:lnTo>
                    <a:pt x="71089" y="567277"/>
                  </a:lnTo>
                  <a:lnTo>
                    <a:pt x="67205" y="557076"/>
                  </a:lnTo>
                  <a:lnTo>
                    <a:pt x="66314" y="555402"/>
                  </a:lnTo>
                  <a:lnTo>
                    <a:pt x="65064" y="554318"/>
                  </a:lnTo>
                  <a:lnTo>
                    <a:pt x="63328" y="553275"/>
                  </a:lnTo>
                  <a:lnTo>
                    <a:pt x="59905" y="552279"/>
                  </a:lnTo>
                  <a:lnTo>
                    <a:pt x="53560" y="551477"/>
                  </a:lnTo>
                  <a:lnTo>
                    <a:pt x="47504" y="549404"/>
                  </a:lnTo>
                  <a:lnTo>
                    <a:pt x="45988" y="549189"/>
                  </a:lnTo>
                  <a:lnTo>
                    <a:pt x="43608" y="549351"/>
                  </a:lnTo>
                  <a:lnTo>
                    <a:pt x="41074" y="550370"/>
                  </a:lnTo>
                  <a:lnTo>
                    <a:pt x="36447" y="553533"/>
                  </a:lnTo>
                  <a:lnTo>
                    <a:pt x="33854" y="554817"/>
                  </a:lnTo>
                  <a:lnTo>
                    <a:pt x="27943" y="556317"/>
                  </a:lnTo>
                  <a:lnTo>
                    <a:pt x="26647" y="556959"/>
                  </a:lnTo>
                  <a:lnTo>
                    <a:pt x="25796" y="558105"/>
                  </a:lnTo>
                  <a:lnTo>
                    <a:pt x="25262" y="559461"/>
                  </a:lnTo>
                  <a:lnTo>
                    <a:pt x="25083" y="561085"/>
                  </a:lnTo>
                  <a:lnTo>
                    <a:pt x="25298" y="562565"/>
                  </a:lnTo>
                  <a:lnTo>
                    <a:pt x="26094" y="564076"/>
                  </a:lnTo>
                  <a:lnTo>
                    <a:pt x="28938" y="567524"/>
                  </a:lnTo>
                  <a:lnTo>
                    <a:pt x="29829" y="568919"/>
                  </a:lnTo>
                  <a:lnTo>
                    <a:pt x="29990" y="570190"/>
                  </a:lnTo>
                  <a:lnTo>
                    <a:pt x="28793" y="572635"/>
                  </a:lnTo>
                  <a:lnTo>
                    <a:pt x="27705" y="575584"/>
                  </a:lnTo>
                  <a:lnTo>
                    <a:pt x="26686" y="576611"/>
                  </a:lnTo>
                  <a:lnTo>
                    <a:pt x="25333" y="577150"/>
                  </a:lnTo>
                  <a:lnTo>
                    <a:pt x="23738" y="577301"/>
                  </a:lnTo>
                  <a:lnTo>
                    <a:pt x="20367" y="576761"/>
                  </a:lnTo>
                  <a:lnTo>
                    <a:pt x="17394" y="575588"/>
                  </a:lnTo>
                  <a:lnTo>
                    <a:pt x="11573" y="571705"/>
                  </a:lnTo>
                  <a:lnTo>
                    <a:pt x="10058" y="571252"/>
                  </a:lnTo>
                  <a:lnTo>
                    <a:pt x="8651" y="571403"/>
                  </a:lnTo>
                  <a:lnTo>
                    <a:pt x="7354" y="571926"/>
                  </a:lnTo>
                  <a:lnTo>
                    <a:pt x="6111" y="572656"/>
                  </a:lnTo>
                  <a:lnTo>
                    <a:pt x="3329" y="573670"/>
                  </a:lnTo>
                  <a:lnTo>
                    <a:pt x="1758" y="573215"/>
                  </a:lnTo>
                  <a:lnTo>
                    <a:pt x="647" y="571433"/>
                  </a:lnTo>
                  <a:lnTo>
                    <a:pt x="0" y="567719"/>
                  </a:lnTo>
                  <a:lnTo>
                    <a:pt x="318" y="562889"/>
                  </a:lnTo>
                  <a:lnTo>
                    <a:pt x="227" y="560050"/>
                  </a:lnTo>
                  <a:lnTo>
                    <a:pt x="586" y="557143"/>
                  </a:lnTo>
                  <a:lnTo>
                    <a:pt x="1395" y="554282"/>
                  </a:lnTo>
                  <a:lnTo>
                    <a:pt x="3960" y="549262"/>
                  </a:lnTo>
                  <a:lnTo>
                    <a:pt x="5738" y="547015"/>
                  </a:lnTo>
                  <a:lnTo>
                    <a:pt x="7321" y="545534"/>
                  </a:lnTo>
                  <a:lnTo>
                    <a:pt x="8618" y="544922"/>
                  </a:lnTo>
                  <a:lnTo>
                    <a:pt x="9747" y="544134"/>
                  </a:lnTo>
                  <a:lnTo>
                    <a:pt x="10709" y="543104"/>
                  </a:lnTo>
                  <a:lnTo>
                    <a:pt x="13093" y="539753"/>
                  </a:lnTo>
                  <a:lnTo>
                    <a:pt x="13384" y="538278"/>
                  </a:lnTo>
                  <a:lnTo>
                    <a:pt x="12729" y="535599"/>
                  </a:lnTo>
                  <a:lnTo>
                    <a:pt x="12916" y="532954"/>
                  </a:lnTo>
                  <a:lnTo>
                    <a:pt x="14348" y="529035"/>
                  </a:lnTo>
                  <a:lnTo>
                    <a:pt x="19350" y="520055"/>
                  </a:lnTo>
                  <a:lnTo>
                    <a:pt x="20550" y="516841"/>
                  </a:lnTo>
                  <a:lnTo>
                    <a:pt x="21070" y="514628"/>
                  </a:lnTo>
                  <a:lnTo>
                    <a:pt x="21542" y="511278"/>
                  </a:lnTo>
                  <a:lnTo>
                    <a:pt x="21567" y="507715"/>
                  </a:lnTo>
                  <a:lnTo>
                    <a:pt x="21407" y="506460"/>
                  </a:lnTo>
                  <a:lnTo>
                    <a:pt x="20191" y="503792"/>
                  </a:lnTo>
                  <a:lnTo>
                    <a:pt x="16073" y="499108"/>
                  </a:lnTo>
                  <a:lnTo>
                    <a:pt x="18073" y="493714"/>
                  </a:lnTo>
                  <a:lnTo>
                    <a:pt x="19871" y="493104"/>
                  </a:lnTo>
                  <a:lnTo>
                    <a:pt x="21503" y="492199"/>
                  </a:lnTo>
                  <a:lnTo>
                    <a:pt x="22683" y="491913"/>
                  </a:lnTo>
                  <a:lnTo>
                    <a:pt x="23466" y="492228"/>
                  </a:lnTo>
                  <a:lnTo>
                    <a:pt x="24077" y="493045"/>
                  </a:lnTo>
                  <a:lnTo>
                    <a:pt x="24862" y="493051"/>
                  </a:lnTo>
                  <a:lnTo>
                    <a:pt x="25374" y="491841"/>
                  </a:lnTo>
                  <a:lnTo>
                    <a:pt x="25224" y="489181"/>
                  </a:lnTo>
                  <a:lnTo>
                    <a:pt x="24957" y="487185"/>
                  </a:lnTo>
                  <a:lnTo>
                    <a:pt x="24194" y="483973"/>
                  </a:lnTo>
                  <a:lnTo>
                    <a:pt x="23925" y="482346"/>
                  </a:lnTo>
                  <a:lnTo>
                    <a:pt x="23993" y="480483"/>
                  </a:lnTo>
                  <a:lnTo>
                    <a:pt x="24173" y="478682"/>
                  </a:lnTo>
                  <a:lnTo>
                    <a:pt x="24801" y="476884"/>
                  </a:lnTo>
                  <a:lnTo>
                    <a:pt x="26752" y="472774"/>
                  </a:lnTo>
                  <a:lnTo>
                    <a:pt x="26819" y="471193"/>
                  </a:lnTo>
                  <a:lnTo>
                    <a:pt x="26660" y="469774"/>
                  </a:lnTo>
                  <a:lnTo>
                    <a:pt x="27565" y="468436"/>
                  </a:lnTo>
                  <a:lnTo>
                    <a:pt x="29704" y="466868"/>
                  </a:lnTo>
                  <a:lnTo>
                    <a:pt x="35039" y="464627"/>
                  </a:lnTo>
                  <a:lnTo>
                    <a:pt x="42270" y="463784"/>
                  </a:lnTo>
                  <a:lnTo>
                    <a:pt x="44347" y="462941"/>
                  </a:lnTo>
                  <a:lnTo>
                    <a:pt x="47569" y="461068"/>
                  </a:lnTo>
                  <a:lnTo>
                    <a:pt x="49868" y="460563"/>
                  </a:lnTo>
                  <a:lnTo>
                    <a:pt x="51772" y="460501"/>
                  </a:lnTo>
                  <a:lnTo>
                    <a:pt x="53345" y="459579"/>
                  </a:lnTo>
                  <a:lnTo>
                    <a:pt x="54421" y="457458"/>
                  </a:lnTo>
                  <a:lnTo>
                    <a:pt x="54732" y="451857"/>
                  </a:lnTo>
                  <a:lnTo>
                    <a:pt x="53469" y="447537"/>
                  </a:lnTo>
                  <a:lnTo>
                    <a:pt x="54490" y="445029"/>
                  </a:lnTo>
                  <a:lnTo>
                    <a:pt x="55565" y="442967"/>
                  </a:lnTo>
                  <a:lnTo>
                    <a:pt x="65362" y="431435"/>
                  </a:lnTo>
                  <a:lnTo>
                    <a:pt x="62360" y="427903"/>
                  </a:lnTo>
                  <a:lnTo>
                    <a:pt x="61141" y="425767"/>
                  </a:lnTo>
                  <a:lnTo>
                    <a:pt x="59435" y="420615"/>
                  </a:lnTo>
                  <a:lnTo>
                    <a:pt x="58218" y="418231"/>
                  </a:lnTo>
                  <a:lnTo>
                    <a:pt x="57053" y="416451"/>
                  </a:lnTo>
                  <a:lnTo>
                    <a:pt x="52993" y="412704"/>
                  </a:lnTo>
                  <a:lnTo>
                    <a:pt x="49375" y="410185"/>
                  </a:lnTo>
                  <a:lnTo>
                    <a:pt x="48372" y="409678"/>
                  </a:lnTo>
                  <a:lnTo>
                    <a:pt x="47534" y="409407"/>
                  </a:lnTo>
                  <a:lnTo>
                    <a:pt x="46287" y="409340"/>
                  </a:lnTo>
                  <a:lnTo>
                    <a:pt x="45391" y="409512"/>
                  </a:lnTo>
                  <a:lnTo>
                    <a:pt x="44383" y="409875"/>
                  </a:lnTo>
                  <a:lnTo>
                    <a:pt x="43373" y="410475"/>
                  </a:lnTo>
                  <a:lnTo>
                    <a:pt x="42418" y="411327"/>
                  </a:lnTo>
                  <a:lnTo>
                    <a:pt x="41629" y="412328"/>
                  </a:lnTo>
                  <a:lnTo>
                    <a:pt x="40840" y="413475"/>
                  </a:lnTo>
                  <a:lnTo>
                    <a:pt x="40161" y="414830"/>
                  </a:lnTo>
                  <a:lnTo>
                    <a:pt x="39315" y="415976"/>
                  </a:lnTo>
                  <a:lnTo>
                    <a:pt x="38359" y="416976"/>
                  </a:lnTo>
                  <a:lnTo>
                    <a:pt x="37237" y="417650"/>
                  </a:lnTo>
                  <a:lnTo>
                    <a:pt x="35949" y="417819"/>
                  </a:lnTo>
                  <a:lnTo>
                    <a:pt x="35009" y="416187"/>
                  </a:lnTo>
                  <a:lnTo>
                    <a:pt x="34581" y="413200"/>
                  </a:lnTo>
                  <a:lnTo>
                    <a:pt x="35014" y="406641"/>
                  </a:lnTo>
                  <a:lnTo>
                    <a:pt x="34411" y="404686"/>
                  </a:lnTo>
                  <a:lnTo>
                    <a:pt x="33521" y="404090"/>
                  </a:lnTo>
                  <a:lnTo>
                    <a:pt x="31663" y="406161"/>
                  </a:lnTo>
                  <a:lnTo>
                    <a:pt x="30652" y="406968"/>
                  </a:lnTo>
                  <a:lnTo>
                    <a:pt x="29310" y="407108"/>
                  </a:lnTo>
                  <a:lnTo>
                    <a:pt x="28255" y="406124"/>
                  </a:lnTo>
                  <a:lnTo>
                    <a:pt x="27764" y="404274"/>
                  </a:lnTo>
                  <a:lnTo>
                    <a:pt x="28011" y="400744"/>
                  </a:lnTo>
                  <a:lnTo>
                    <a:pt x="28525" y="399004"/>
                  </a:lnTo>
                  <a:lnTo>
                    <a:pt x="29485" y="397355"/>
                  </a:lnTo>
                  <a:lnTo>
                    <a:pt x="31948" y="396647"/>
                  </a:lnTo>
                  <a:lnTo>
                    <a:pt x="33736" y="396584"/>
                  </a:lnTo>
                  <a:lnTo>
                    <a:pt x="34962" y="397124"/>
                  </a:lnTo>
                  <a:lnTo>
                    <a:pt x="35627" y="397896"/>
                  </a:lnTo>
                  <a:lnTo>
                    <a:pt x="36239" y="398432"/>
                  </a:lnTo>
                  <a:lnTo>
                    <a:pt x="37466" y="398795"/>
                  </a:lnTo>
                  <a:lnTo>
                    <a:pt x="50158" y="400231"/>
                  </a:lnTo>
                  <a:lnTo>
                    <a:pt x="54519" y="399695"/>
                  </a:lnTo>
                  <a:lnTo>
                    <a:pt x="60282" y="398071"/>
                  </a:lnTo>
                  <a:lnTo>
                    <a:pt x="61465" y="396393"/>
                  </a:lnTo>
                  <a:lnTo>
                    <a:pt x="61983" y="393439"/>
                  </a:lnTo>
                  <a:lnTo>
                    <a:pt x="60961" y="386224"/>
                  </a:lnTo>
                  <a:lnTo>
                    <a:pt x="58916" y="382312"/>
                  </a:lnTo>
                  <a:lnTo>
                    <a:pt x="57365" y="379954"/>
                  </a:lnTo>
                  <a:lnTo>
                    <a:pt x="56031" y="378956"/>
                  </a:lnTo>
                  <a:lnTo>
                    <a:pt x="54975" y="377975"/>
                  </a:lnTo>
                  <a:lnTo>
                    <a:pt x="53990" y="374481"/>
                  </a:lnTo>
                  <a:lnTo>
                    <a:pt x="54983" y="366700"/>
                  </a:lnTo>
                  <a:lnTo>
                    <a:pt x="64000" y="360292"/>
                  </a:lnTo>
                  <a:lnTo>
                    <a:pt x="68319" y="359382"/>
                  </a:lnTo>
                  <a:lnTo>
                    <a:pt x="79197" y="359509"/>
                  </a:lnTo>
                  <a:lnTo>
                    <a:pt x="83151" y="361050"/>
                  </a:lnTo>
                  <a:lnTo>
                    <a:pt x="84323" y="360981"/>
                  </a:lnTo>
                  <a:lnTo>
                    <a:pt x="88086" y="359386"/>
                  </a:lnTo>
                  <a:lnTo>
                    <a:pt x="89202" y="359257"/>
                  </a:lnTo>
                  <a:lnTo>
                    <a:pt x="89925" y="359839"/>
                  </a:lnTo>
                  <a:lnTo>
                    <a:pt x="90087" y="361168"/>
                  </a:lnTo>
                  <a:lnTo>
                    <a:pt x="89629" y="363754"/>
                  </a:lnTo>
                  <a:lnTo>
                    <a:pt x="89627" y="364342"/>
                  </a:lnTo>
                  <a:lnTo>
                    <a:pt x="89736" y="364816"/>
                  </a:lnTo>
                  <a:lnTo>
                    <a:pt x="90291" y="365528"/>
                  </a:lnTo>
                  <a:lnTo>
                    <a:pt x="92182" y="366956"/>
                  </a:lnTo>
                  <a:lnTo>
                    <a:pt x="93519" y="367553"/>
                  </a:lnTo>
                  <a:lnTo>
                    <a:pt x="95192" y="367885"/>
                  </a:lnTo>
                  <a:lnTo>
                    <a:pt x="97033" y="367979"/>
                  </a:lnTo>
                  <a:lnTo>
                    <a:pt x="104963" y="366533"/>
                  </a:lnTo>
                  <a:lnTo>
                    <a:pt x="113183" y="366974"/>
                  </a:lnTo>
                  <a:lnTo>
                    <a:pt x="114356" y="366448"/>
                  </a:lnTo>
                  <a:lnTo>
                    <a:pt x="115421" y="364929"/>
                  </a:lnTo>
                  <a:lnTo>
                    <a:pt x="120704" y="352607"/>
                  </a:lnTo>
                  <a:lnTo>
                    <a:pt x="121045" y="350540"/>
                  </a:lnTo>
                  <a:lnTo>
                    <a:pt x="120328" y="348055"/>
                  </a:lnTo>
                  <a:lnTo>
                    <a:pt x="119553" y="346397"/>
                  </a:lnTo>
                  <a:lnTo>
                    <a:pt x="117000" y="342726"/>
                  </a:lnTo>
                  <a:lnTo>
                    <a:pt x="115894" y="339988"/>
                  </a:lnTo>
                  <a:lnTo>
                    <a:pt x="115173" y="338878"/>
                  </a:lnTo>
                  <a:lnTo>
                    <a:pt x="113893" y="338282"/>
                  </a:lnTo>
                  <a:lnTo>
                    <a:pt x="108988" y="338117"/>
                  </a:lnTo>
                  <a:lnTo>
                    <a:pt x="107596" y="337669"/>
                  </a:lnTo>
                  <a:lnTo>
                    <a:pt x="106410" y="336866"/>
                  </a:lnTo>
                  <a:lnTo>
                    <a:pt x="104410" y="334967"/>
                  </a:lnTo>
                  <a:lnTo>
                    <a:pt x="103243" y="334180"/>
                  </a:lnTo>
                  <a:lnTo>
                    <a:pt x="101740" y="333775"/>
                  </a:lnTo>
                  <a:lnTo>
                    <a:pt x="98398" y="333408"/>
                  </a:lnTo>
                  <a:lnTo>
                    <a:pt x="96950" y="332870"/>
                  </a:lnTo>
                  <a:lnTo>
                    <a:pt x="96457" y="330888"/>
                  </a:lnTo>
                  <a:lnTo>
                    <a:pt x="96581" y="327814"/>
                  </a:lnTo>
                  <a:lnTo>
                    <a:pt x="97662" y="322041"/>
                  </a:lnTo>
                  <a:lnTo>
                    <a:pt x="98792" y="318040"/>
                  </a:lnTo>
                  <a:lnTo>
                    <a:pt x="100481" y="313468"/>
                  </a:lnTo>
                  <a:lnTo>
                    <a:pt x="105243" y="305861"/>
                  </a:lnTo>
                  <a:lnTo>
                    <a:pt x="106540" y="301166"/>
                  </a:lnTo>
                  <a:lnTo>
                    <a:pt x="106661" y="298446"/>
                  </a:lnTo>
                  <a:lnTo>
                    <a:pt x="105441" y="297423"/>
                  </a:lnTo>
                  <a:lnTo>
                    <a:pt x="98823" y="296231"/>
                  </a:lnTo>
                  <a:lnTo>
                    <a:pt x="97489" y="295752"/>
                  </a:lnTo>
                  <a:lnTo>
                    <a:pt x="96379" y="294921"/>
                  </a:lnTo>
                  <a:lnTo>
                    <a:pt x="95661" y="293764"/>
                  </a:lnTo>
                  <a:lnTo>
                    <a:pt x="95109" y="292433"/>
                  </a:lnTo>
                  <a:lnTo>
                    <a:pt x="94726" y="290954"/>
                  </a:lnTo>
                  <a:lnTo>
                    <a:pt x="94175" y="289621"/>
                  </a:lnTo>
                  <a:lnTo>
                    <a:pt x="93401" y="288407"/>
                  </a:lnTo>
                  <a:lnTo>
                    <a:pt x="92404" y="287428"/>
                  </a:lnTo>
                  <a:lnTo>
                    <a:pt x="91239" y="286594"/>
                  </a:lnTo>
                  <a:lnTo>
                    <a:pt x="91912" y="285355"/>
                  </a:lnTo>
                  <a:lnTo>
                    <a:pt x="94254" y="283771"/>
                  </a:lnTo>
                  <a:lnTo>
                    <a:pt x="102217" y="281570"/>
                  </a:lnTo>
                  <a:lnTo>
                    <a:pt x="105778" y="281333"/>
                  </a:lnTo>
                  <a:lnTo>
                    <a:pt x="108354" y="281667"/>
                  </a:lnTo>
                  <a:lnTo>
                    <a:pt x="109740" y="283180"/>
                  </a:lnTo>
                  <a:lnTo>
                    <a:pt x="112563" y="287239"/>
                  </a:lnTo>
                  <a:lnTo>
                    <a:pt x="112892" y="288420"/>
                  </a:lnTo>
                  <a:lnTo>
                    <a:pt x="112721" y="289661"/>
                  </a:lnTo>
                  <a:lnTo>
                    <a:pt x="112273" y="290547"/>
                  </a:lnTo>
                  <a:lnTo>
                    <a:pt x="112437" y="291405"/>
                  </a:lnTo>
                  <a:lnTo>
                    <a:pt x="112602" y="291877"/>
                  </a:lnTo>
                  <a:lnTo>
                    <a:pt x="114711" y="293599"/>
                  </a:lnTo>
                  <a:lnTo>
                    <a:pt x="115486" y="294548"/>
                  </a:lnTo>
                  <a:lnTo>
                    <a:pt x="115924" y="297032"/>
                  </a:lnTo>
                  <a:lnTo>
                    <a:pt x="116476" y="298260"/>
                  </a:lnTo>
                  <a:lnTo>
                    <a:pt x="117312" y="297996"/>
                  </a:lnTo>
                  <a:lnTo>
                    <a:pt x="118766" y="295785"/>
                  </a:lnTo>
                  <a:lnTo>
                    <a:pt x="120528" y="283953"/>
                  </a:lnTo>
                  <a:lnTo>
                    <a:pt x="120594" y="280554"/>
                  </a:lnTo>
                  <a:lnTo>
                    <a:pt x="120880" y="278103"/>
                  </a:lnTo>
                  <a:lnTo>
                    <a:pt x="122900" y="272317"/>
                  </a:lnTo>
                  <a:lnTo>
                    <a:pt x="128331" y="265683"/>
                  </a:lnTo>
                  <a:lnTo>
                    <a:pt x="129562" y="262436"/>
                  </a:lnTo>
                  <a:lnTo>
                    <a:pt x="129675" y="261697"/>
                  </a:lnTo>
                  <a:lnTo>
                    <a:pt x="129346" y="260188"/>
                  </a:lnTo>
                  <a:lnTo>
                    <a:pt x="128738" y="259153"/>
                  </a:lnTo>
                  <a:lnTo>
                    <a:pt x="124057" y="257337"/>
                  </a:lnTo>
                  <a:lnTo>
                    <a:pt x="116846" y="253176"/>
                  </a:lnTo>
                  <a:lnTo>
                    <a:pt x="113025" y="249587"/>
                  </a:lnTo>
                  <a:lnTo>
                    <a:pt x="108202" y="246645"/>
                  </a:lnTo>
                  <a:lnTo>
                    <a:pt x="104741" y="246190"/>
                  </a:lnTo>
                  <a:lnTo>
                    <a:pt x="101407" y="246471"/>
                  </a:lnTo>
                  <a:lnTo>
                    <a:pt x="99465" y="246111"/>
                  </a:lnTo>
                  <a:lnTo>
                    <a:pt x="97191" y="245155"/>
                  </a:lnTo>
                  <a:lnTo>
                    <a:pt x="94035" y="242659"/>
                  </a:lnTo>
                  <a:lnTo>
                    <a:pt x="91927" y="242059"/>
                  </a:lnTo>
                  <a:lnTo>
                    <a:pt x="88319" y="241631"/>
                  </a:lnTo>
                  <a:lnTo>
                    <a:pt x="86359" y="241119"/>
                  </a:lnTo>
                  <a:lnTo>
                    <a:pt x="83976" y="240015"/>
                  </a:lnTo>
                  <a:lnTo>
                    <a:pt x="82256" y="239654"/>
                  </a:lnTo>
                  <a:lnTo>
                    <a:pt x="80759" y="238966"/>
                  </a:lnTo>
                  <a:lnTo>
                    <a:pt x="78435" y="237448"/>
                  </a:lnTo>
                  <a:lnTo>
                    <a:pt x="77049" y="236909"/>
                  </a:lnTo>
                  <a:lnTo>
                    <a:pt x="75440" y="236696"/>
                  </a:lnTo>
                  <a:lnTo>
                    <a:pt x="74001" y="235742"/>
                  </a:lnTo>
                  <a:lnTo>
                    <a:pt x="72843" y="234052"/>
                  </a:lnTo>
                  <a:lnTo>
                    <a:pt x="72098" y="227414"/>
                  </a:lnTo>
                  <a:lnTo>
                    <a:pt x="71222" y="225001"/>
                  </a:lnTo>
                  <a:lnTo>
                    <a:pt x="65623" y="220361"/>
                  </a:lnTo>
                  <a:lnTo>
                    <a:pt x="64686" y="219056"/>
                  </a:lnTo>
                  <a:lnTo>
                    <a:pt x="63809" y="216893"/>
                  </a:lnTo>
                  <a:lnTo>
                    <a:pt x="63825" y="213953"/>
                  </a:lnTo>
                  <a:lnTo>
                    <a:pt x="65736" y="209324"/>
                  </a:lnTo>
                  <a:lnTo>
                    <a:pt x="65300" y="207681"/>
                  </a:lnTo>
                  <a:lnTo>
                    <a:pt x="64088" y="206137"/>
                  </a:lnTo>
                  <a:lnTo>
                    <a:pt x="60935" y="204674"/>
                  </a:lnTo>
                  <a:lnTo>
                    <a:pt x="55503" y="204112"/>
                  </a:lnTo>
                  <a:lnTo>
                    <a:pt x="47408" y="200666"/>
                  </a:lnTo>
                  <a:lnTo>
                    <a:pt x="46466" y="200453"/>
                  </a:lnTo>
                  <a:lnTo>
                    <a:pt x="42527" y="200829"/>
                  </a:lnTo>
                  <a:lnTo>
                    <a:pt x="40808" y="200729"/>
                  </a:lnTo>
                  <a:lnTo>
                    <a:pt x="38986" y="199476"/>
                  </a:lnTo>
                  <a:lnTo>
                    <a:pt x="36837" y="197410"/>
                  </a:lnTo>
                  <a:lnTo>
                    <a:pt x="33985" y="192603"/>
                  </a:lnTo>
                  <a:lnTo>
                    <a:pt x="31778" y="190963"/>
                  </a:lnTo>
                  <a:lnTo>
                    <a:pt x="30008" y="190360"/>
                  </a:lnTo>
                  <a:lnTo>
                    <a:pt x="28675" y="190795"/>
                  </a:lnTo>
                  <a:lnTo>
                    <a:pt x="27662" y="190257"/>
                  </a:lnTo>
                  <a:lnTo>
                    <a:pt x="26902" y="187916"/>
                  </a:lnTo>
                  <a:lnTo>
                    <a:pt x="27271" y="182540"/>
                  </a:lnTo>
                  <a:lnTo>
                    <a:pt x="26253" y="177302"/>
                  </a:lnTo>
                  <a:lnTo>
                    <a:pt x="25496" y="174489"/>
                  </a:lnTo>
                  <a:lnTo>
                    <a:pt x="24288" y="172915"/>
                  </a:lnTo>
                  <a:lnTo>
                    <a:pt x="22307" y="170981"/>
                  </a:lnTo>
                  <a:lnTo>
                    <a:pt x="21651" y="169794"/>
                  </a:lnTo>
                  <a:lnTo>
                    <a:pt x="21274" y="168284"/>
                  </a:lnTo>
                  <a:lnTo>
                    <a:pt x="20965" y="164824"/>
                  </a:lnTo>
                  <a:lnTo>
                    <a:pt x="20588" y="163299"/>
                  </a:lnTo>
                  <a:lnTo>
                    <a:pt x="20044" y="161982"/>
                  </a:lnTo>
                  <a:lnTo>
                    <a:pt x="19557" y="160263"/>
                  </a:lnTo>
                  <a:lnTo>
                    <a:pt x="19462" y="157987"/>
                  </a:lnTo>
                  <a:lnTo>
                    <a:pt x="20653" y="153961"/>
                  </a:lnTo>
                  <a:lnTo>
                    <a:pt x="21999" y="151473"/>
                  </a:lnTo>
                  <a:lnTo>
                    <a:pt x="28753" y="145741"/>
                  </a:lnTo>
                  <a:lnTo>
                    <a:pt x="46992" y="130737"/>
                  </a:lnTo>
                  <a:lnTo>
                    <a:pt x="51076" y="125885"/>
                  </a:lnTo>
                  <a:lnTo>
                    <a:pt x="53297" y="124332"/>
                  </a:lnTo>
                  <a:lnTo>
                    <a:pt x="58453" y="121673"/>
                  </a:lnTo>
                  <a:lnTo>
                    <a:pt x="60233" y="119760"/>
                  </a:lnTo>
                  <a:lnTo>
                    <a:pt x="61182" y="118051"/>
                  </a:lnTo>
                  <a:lnTo>
                    <a:pt x="61906" y="117080"/>
                  </a:lnTo>
                  <a:lnTo>
                    <a:pt x="63343" y="117177"/>
                  </a:lnTo>
                  <a:lnTo>
                    <a:pt x="70570" y="123598"/>
                  </a:lnTo>
                  <a:lnTo>
                    <a:pt x="71673" y="124105"/>
                  </a:lnTo>
                  <a:lnTo>
                    <a:pt x="73168" y="123670"/>
                  </a:lnTo>
                  <a:lnTo>
                    <a:pt x="75115" y="121227"/>
                  </a:lnTo>
                  <a:lnTo>
                    <a:pt x="77232" y="117838"/>
                  </a:lnTo>
                  <a:lnTo>
                    <a:pt x="82599" y="116740"/>
                  </a:lnTo>
                  <a:lnTo>
                    <a:pt x="100413" y="117525"/>
                  </a:lnTo>
                  <a:lnTo>
                    <a:pt x="99319" y="114447"/>
                  </a:lnTo>
                  <a:lnTo>
                    <a:pt x="99211" y="113812"/>
                  </a:lnTo>
                  <a:lnTo>
                    <a:pt x="99382" y="112468"/>
                  </a:lnTo>
                  <a:lnTo>
                    <a:pt x="100492" y="111318"/>
                  </a:lnTo>
                  <a:lnTo>
                    <a:pt x="105305" y="110096"/>
                  </a:lnTo>
                  <a:lnTo>
                    <a:pt x="107132" y="109055"/>
                  </a:lnTo>
                  <a:lnTo>
                    <a:pt x="108482" y="107522"/>
                  </a:lnTo>
                  <a:lnTo>
                    <a:pt x="111207" y="102479"/>
                  </a:lnTo>
                  <a:lnTo>
                    <a:pt x="111987" y="100662"/>
                  </a:lnTo>
                  <a:lnTo>
                    <a:pt x="112045" y="99836"/>
                  </a:lnTo>
                  <a:lnTo>
                    <a:pt x="111717" y="98831"/>
                  </a:lnTo>
                  <a:lnTo>
                    <a:pt x="111279" y="97913"/>
                  </a:lnTo>
                  <a:lnTo>
                    <a:pt x="111171" y="97130"/>
                  </a:lnTo>
                  <a:lnTo>
                    <a:pt x="111341" y="95902"/>
                  </a:lnTo>
                  <a:lnTo>
                    <a:pt x="111787" y="94649"/>
                  </a:lnTo>
                  <a:lnTo>
                    <a:pt x="112564" y="93426"/>
                  </a:lnTo>
                  <a:lnTo>
                    <a:pt x="113396" y="92305"/>
                  </a:lnTo>
                  <a:lnTo>
                    <a:pt x="114726" y="91216"/>
                  </a:lnTo>
                  <a:lnTo>
                    <a:pt x="116550" y="90365"/>
                  </a:lnTo>
                  <a:lnTo>
                    <a:pt x="120031" y="89962"/>
                  </a:lnTo>
                  <a:lnTo>
                    <a:pt x="121852" y="90324"/>
                  </a:lnTo>
                  <a:lnTo>
                    <a:pt x="123009" y="91154"/>
                  </a:lnTo>
                  <a:lnTo>
                    <a:pt x="123228" y="91746"/>
                  </a:lnTo>
                  <a:lnTo>
                    <a:pt x="123390" y="92811"/>
                  </a:lnTo>
                  <a:lnTo>
                    <a:pt x="123554" y="93461"/>
                  </a:lnTo>
                  <a:lnTo>
                    <a:pt x="124158" y="94438"/>
                  </a:lnTo>
                  <a:lnTo>
                    <a:pt x="125095" y="95296"/>
                  </a:lnTo>
                  <a:lnTo>
                    <a:pt x="126530" y="95746"/>
                  </a:lnTo>
                  <a:lnTo>
                    <a:pt x="129917" y="95725"/>
                  </a:lnTo>
                  <a:lnTo>
                    <a:pt x="132516" y="94580"/>
                  </a:lnTo>
                  <a:lnTo>
                    <a:pt x="147834" y="84701"/>
                  </a:lnTo>
                  <a:lnTo>
                    <a:pt x="149399" y="84349"/>
                  </a:lnTo>
                  <a:lnTo>
                    <a:pt x="150946" y="83658"/>
                  </a:lnTo>
                  <a:lnTo>
                    <a:pt x="152108" y="82389"/>
                  </a:lnTo>
                  <a:lnTo>
                    <a:pt x="153164" y="78741"/>
                  </a:lnTo>
                  <a:lnTo>
                    <a:pt x="153610" y="76333"/>
                  </a:lnTo>
                  <a:lnTo>
                    <a:pt x="154662" y="74548"/>
                  </a:lnTo>
                  <a:lnTo>
                    <a:pt x="156376" y="72645"/>
                  </a:lnTo>
                  <a:lnTo>
                    <a:pt x="162562" y="68814"/>
                  </a:lnTo>
                  <a:lnTo>
                    <a:pt x="165598" y="67369"/>
                  </a:lnTo>
                  <a:lnTo>
                    <a:pt x="166592" y="66572"/>
                  </a:lnTo>
                  <a:lnTo>
                    <a:pt x="167366" y="65570"/>
                  </a:lnTo>
                  <a:lnTo>
                    <a:pt x="167700" y="63856"/>
                  </a:lnTo>
                  <a:lnTo>
                    <a:pt x="168823" y="62142"/>
                  </a:lnTo>
                  <a:lnTo>
                    <a:pt x="174620" y="57895"/>
                  </a:lnTo>
                  <a:lnTo>
                    <a:pt x="177105" y="54440"/>
                  </a:lnTo>
                  <a:lnTo>
                    <a:pt x="180918" y="44011"/>
                  </a:lnTo>
                  <a:lnTo>
                    <a:pt x="181858" y="40790"/>
                  </a:lnTo>
                  <a:lnTo>
                    <a:pt x="182411" y="37540"/>
                  </a:lnTo>
                  <a:lnTo>
                    <a:pt x="182358" y="36004"/>
                  </a:lnTo>
                  <a:lnTo>
                    <a:pt x="182083" y="34806"/>
                  </a:lnTo>
                  <a:lnTo>
                    <a:pt x="181808" y="34081"/>
                  </a:lnTo>
                  <a:lnTo>
                    <a:pt x="180763" y="32424"/>
                  </a:lnTo>
                  <a:lnTo>
                    <a:pt x="180543" y="31953"/>
                  </a:lnTo>
                  <a:lnTo>
                    <a:pt x="180488" y="31479"/>
                  </a:lnTo>
                  <a:lnTo>
                    <a:pt x="180489" y="30653"/>
                  </a:lnTo>
                  <a:lnTo>
                    <a:pt x="180765" y="29678"/>
                  </a:lnTo>
                  <a:lnTo>
                    <a:pt x="182033" y="29088"/>
                  </a:lnTo>
                  <a:lnTo>
                    <a:pt x="184457" y="28498"/>
                  </a:lnTo>
                  <a:lnTo>
                    <a:pt x="189874" y="28412"/>
                  </a:lnTo>
                  <a:lnTo>
                    <a:pt x="194777" y="27349"/>
                  </a:lnTo>
                  <a:lnTo>
                    <a:pt x="197421" y="26183"/>
                  </a:lnTo>
                  <a:lnTo>
                    <a:pt x="200726" y="26849"/>
                  </a:lnTo>
                  <a:lnTo>
                    <a:pt x="217715" y="35992"/>
                  </a:lnTo>
                  <a:lnTo>
                    <a:pt x="230307" y="46517"/>
                  </a:lnTo>
                  <a:lnTo>
                    <a:pt x="234718" y="47016"/>
                  </a:lnTo>
                  <a:lnTo>
                    <a:pt x="245687" y="46320"/>
                  </a:lnTo>
                  <a:lnTo>
                    <a:pt x="247285" y="45844"/>
                  </a:lnTo>
                  <a:lnTo>
                    <a:pt x="264481" y="37150"/>
                  </a:lnTo>
                  <a:lnTo>
                    <a:pt x="267345" y="36641"/>
                  </a:lnTo>
                  <a:lnTo>
                    <a:pt x="269458" y="36797"/>
                  </a:lnTo>
                  <a:lnTo>
                    <a:pt x="274433" y="42282"/>
                  </a:lnTo>
                  <a:lnTo>
                    <a:pt x="275593" y="43077"/>
                  </a:lnTo>
                  <a:lnTo>
                    <a:pt x="276917" y="43649"/>
                  </a:lnTo>
                  <a:lnTo>
                    <a:pt x="278568" y="42877"/>
                  </a:lnTo>
                  <a:lnTo>
                    <a:pt x="279775" y="40982"/>
                  </a:lnTo>
                  <a:lnTo>
                    <a:pt x="280477" y="36043"/>
                  </a:lnTo>
                  <a:lnTo>
                    <a:pt x="280029" y="33858"/>
                  </a:lnTo>
                  <a:lnTo>
                    <a:pt x="279364" y="32396"/>
                  </a:lnTo>
                  <a:lnTo>
                    <a:pt x="278756" y="31912"/>
                  </a:lnTo>
                  <a:lnTo>
                    <a:pt x="275275" y="27962"/>
                  </a:lnTo>
                  <a:lnTo>
                    <a:pt x="273226" y="24185"/>
                  </a:lnTo>
                  <a:lnTo>
                    <a:pt x="271678" y="21913"/>
                  </a:lnTo>
                  <a:lnTo>
                    <a:pt x="271125" y="20879"/>
                  </a:lnTo>
                  <a:lnTo>
                    <a:pt x="271286" y="19608"/>
                  </a:lnTo>
                  <a:lnTo>
                    <a:pt x="271887" y="17419"/>
                  </a:lnTo>
                  <a:lnTo>
                    <a:pt x="278088" y="10132"/>
                  </a:lnTo>
                  <a:lnTo>
                    <a:pt x="295355" y="0"/>
                  </a:lnTo>
                  <a:close/>
                </a:path>
              </a:pathLst>
            </a:custGeom>
            <a:solidFill>
              <a:srgbClr val="BFBFBF"/>
            </a:solidFill>
            <a:ln w="6350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Freeform 18">
              <a:extLst>
                <a:ext uri="{FF2B5EF4-FFF2-40B4-BE49-F238E27FC236}">
                  <a16:creationId xmlns:a16="http://schemas.microsoft.com/office/drawing/2014/main" id="{D5E6DF61-402D-255A-9576-72FAA274A662}"/>
                </a:ext>
              </a:extLst>
            </p:cNvPr>
            <p:cNvSpPr>
              <a:spLocks noChangeAspect="1"/>
            </p:cNvSpPr>
            <p:nvPr>
              <p:custDataLst>
                <p:tags r:id="rId8"/>
              </p:custDataLst>
            </p:nvPr>
          </p:nvSpPr>
          <p:spPr>
            <a:xfrm>
              <a:off x="4338894" y="2473921"/>
              <a:ext cx="199318" cy="184910"/>
            </a:xfrm>
            <a:custGeom>
              <a:avLst/>
              <a:gdLst/>
              <a:ahLst/>
              <a:cxnLst/>
              <a:rect l="0" t="0" r="0" b="0"/>
              <a:pathLst>
                <a:path w="199318" h="184910">
                  <a:moveTo>
                    <a:pt x="194108" y="156121"/>
                  </a:moveTo>
                  <a:lnTo>
                    <a:pt x="194373" y="155945"/>
                  </a:lnTo>
                  <a:lnTo>
                    <a:pt x="194901" y="155738"/>
                  </a:lnTo>
                  <a:lnTo>
                    <a:pt x="196221" y="155592"/>
                  </a:lnTo>
                  <a:lnTo>
                    <a:pt x="196855" y="155713"/>
                  </a:lnTo>
                  <a:lnTo>
                    <a:pt x="197695" y="158699"/>
                  </a:lnTo>
                  <a:lnTo>
                    <a:pt x="199317" y="168865"/>
                  </a:lnTo>
                  <a:lnTo>
                    <a:pt x="184788" y="168839"/>
                  </a:lnTo>
                  <a:lnTo>
                    <a:pt x="181598" y="169895"/>
                  </a:lnTo>
                  <a:lnTo>
                    <a:pt x="178212" y="172016"/>
                  </a:lnTo>
                  <a:lnTo>
                    <a:pt x="170576" y="182102"/>
                  </a:lnTo>
                  <a:lnTo>
                    <a:pt x="169832" y="183695"/>
                  </a:lnTo>
                  <a:lnTo>
                    <a:pt x="151061" y="184909"/>
                  </a:lnTo>
                  <a:lnTo>
                    <a:pt x="145373" y="183617"/>
                  </a:lnTo>
                  <a:lnTo>
                    <a:pt x="139839" y="179578"/>
                  </a:lnTo>
                  <a:lnTo>
                    <a:pt x="136283" y="174393"/>
                  </a:lnTo>
                  <a:lnTo>
                    <a:pt x="132322" y="169857"/>
                  </a:lnTo>
                  <a:lnTo>
                    <a:pt x="125444" y="167936"/>
                  </a:lnTo>
                  <a:lnTo>
                    <a:pt x="121339" y="164726"/>
                  </a:lnTo>
                  <a:lnTo>
                    <a:pt x="115930" y="158170"/>
                  </a:lnTo>
                  <a:lnTo>
                    <a:pt x="113500" y="158424"/>
                  </a:lnTo>
                  <a:lnTo>
                    <a:pt x="100785" y="162553"/>
                  </a:lnTo>
                  <a:lnTo>
                    <a:pt x="98612" y="163753"/>
                  </a:lnTo>
                  <a:lnTo>
                    <a:pt x="97600" y="165224"/>
                  </a:lnTo>
                  <a:lnTo>
                    <a:pt x="97648" y="166230"/>
                  </a:lnTo>
                  <a:lnTo>
                    <a:pt x="97799" y="167442"/>
                  </a:lnTo>
                  <a:lnTo>
                    <a:pt x="98006" y="168269"/>
                  </a:lnTo>
                  <a:lnTo>
                    <a:pt x="98052" y="169365"/>
                  </a:lnTo>
                  <a:lnTo>
                    <a:pt x="97888" y="170485"/>
                  </a:lnTo>
                  <a:lnTo>
                    <a:pt x="97037" y="171455"/>
                  </a:lnTo>
                  <a:lnTo>
                    <a:pt x="91363" y="174851"/>
                  </a:lnTo>
                  <a:lnTo>
                    <a:pt x="82497" y="178476"/>
                  </a:lnTo>
                  <a:lnTo>
                    <a:pt x="79058" y="179032"/>
                  </a:lnTo>
                  <a:lnTo>
                    <a:pt x="76734" y="178780"/>
                  </a:lnTo>
                  <a:lnTo>
                    <a:pt x="70474" y="174424"/>
                  </a:lnTo>
                  <a:lnTo>
                    <a:pt x="68768" y="173942"/>
                  </a:lnTo>
                  <a:lnTo>
                    <a:pt x="66651" y="174473"/>
                  </a:lnTo>
                  <a:lnTo>
                    <a:pt x="59861" y="178016"/>
                  </a:lnTo>
                  <a:lnTo>
                    <a:pt x="57800" y="178001"/>
                  </a:lnTo>
                  <a:lnTo>
                    <a:pt x="56595" y="176574"/>
                  </a:lnTo>
                  <a:lnTo>
                    <a:pt x="56398" y="174592"/>
                  </a:lnTo>
                  <a:lnTo>
                    <a:pt x="56226" y="169302"/>
                  </a:lnTo>
                  <a:lnTo>
                    <a:pt x="55372" y="163327"/>
                  </a:lnTo>
                  <a:lnTo>
                    <a:pt x="53546" y="160241"/>
                  </a:lnTo>
                  <a:lnTo>
                    <a:pt x="52076" y="159063"/>
                  </a:lnTo>
                  <a:lnTo>
                    <a:pt x="50423" y="158828"/>
                  </a:lnTo>
                  <a:lnTo>
                    <a:pt x="47669" y="159843"/>
                  </a:lnTo>
                  <a:lnTo>
                    <a:pt x="45863" y="161232"/>
                  </a:lnTo>
                  <a:lnTo>
                    <a:pt x="41586" y="167699"/>
                  </a:lnTo>
                  <a:lnTo>
                    <a:pt x="40260" y="168354"/>
                  </a:lnTo>
                  <a:lnTo>
                    <a:pt x="38889" y="167990"/>
                  </a:lnTo>
                  <a:lnTo>
                    <a:pt x="27815" y="157290"/>
                  </a:lnTo>
                  <a:lnTo>
                    <a:pt x="25202" y="154107"/>
                  </a:lnTo>
                  <a:lnTo>
                    <a:pt x="23170" y="150986"/>
                  </a:lnTo>
                  <a:lnTo>
                    <a:pt x="21198" y="147068"/>
                  </a:lnTo>
                  <a:lnTo>
                    <a:pt x="19856" y="143599"/>
                  </a:lnTo>
                  <a:lnTo>
                    <a:pt x="18319" y="138416"/>
                  </a:lnTo>
                  <a:lnTo>
                    <a:pt x="17546" y="136398"/>
                  </a:lnTo>
                  <a:lnTo>
                    <a:pt x="16765" y="135240"/>
                  </a:lnTo>
                  <a:lnTo>
                    <a:pt x="14668" y="133714"/>
                  </a:lnTo>
                  <a:lnTo>
                    <a:pt x="13728" y="132643"/>
                  </a:lnTo>
                  <a:lnTo>
                    <a:pt x="13160" y="131338"/>
                  </a:lnTo>
                  <a:lnTo>
                    <a:pt x="12703" y="129323"/>
                  </a:lnTo>
                  <a:lnTo>
                    <a:pt x="12012" y="128047"/>
                  </a:lnTo>
                  <a:lnTo>
                    <a:pt x="9036" y="124681"/>
                  </a:lnTo>
                  <a:lnTo>
                    <a:pt x="7962" y="104311"/>
                  </a:lnTo>
                  <a:lnTo>
                    <a:pt x="7733" y="102069"/>
                  </a:lnTo>
                  <a:lnTo>
                    <a:pt x="7745" y="102071"/>
                  </a:lnTo>
                  <a:lnTo>
                    <a:pt x="26405" y="106424"/>
                  </a:lnTo>
                  <a:lnTo>
                    <a:pt x="30847" y="104601"/>
                  </a:lnTo>
                  <a:lnTo>
                    <a:pt x="26679" y="97121"/>
                  </a:lnTo>
                  <a:lnTo>
                    <a:pt x="14000" y="89518"/>
                  </a:lnTo>
                  <a:lnTo>
                    <a:pt x="0" y="87761"/>
                  </a:lnTo>
                  <a:lnTo>
                    <a:pt x="26" y="87661"/>
                  </a:lnTo>
                  <a:lnTo>
                    <a:pt x="2851" y="76694"/>
                  </a:lnTo>
                  <a:lnTo>
                    <a:pt x="3464" y="73243"/>
                  </a:lnTo>
                  <a:lnTo>
                    <a:pt x="3868" y="69436"/>
                  </a:lnTo>
                  <a:lnTo>
                    <a:pt x="4254" y="67608"/>
                  </a:lnTo>
                  <a:lnTo>
                    <a:pt x="4687" y="66386"/>
                  </a:lnTo>
                  <a:lnTo>
                    <a:pt x="5433" y="65372"/>
                  </a:lnTo>
                  <a:lnTo>
                    <a:pt x="6814" y="64026"/>
                  </a:lnTo>
                  <a:lnTo>
                    <a:pt x="7879" y="62677"/>
                  </a:lnTo>
                  <a:lnTo>
                    <a:pt x="8469" y="61367"/>
                  </a:lnTo>
                  <a:lnTo>
                    <a:pt x="9035" y="57132"/>
                  </a:lnTo>
                  <a:lnTo>
                    <a:pt x="9682" y="55484"/>
                  </a:lnTo>
                  <a:lnTo>
                    <a:pt x="10789" y="55198"/>
                  </a:lnTo>
                  <a:lnTo>
                    <a:pt x="12417" y="55392"/>
                  </a:lnTo>
                  <a:lnTo>
                    <a:pt x="16369" y="56461"/>
                  </a:lnTo>
                  <a:lnTo>
                    <a:pt x="19194" y="58170"/>
                  </a:lnTo>
                  <a:lnTo>
                    <a:pt x="19923" y="58975"/>
                  </a:lnTo>
                  <a:lnTo>
                    <a:pt x="22694" y="60918"/>
                  </a:lnTo>
                  <a:lnTo>
                    <a:pt x="23736" y="62081"/>
                  </a:lnTo>
                  <a:lnTo>
                    <a:pt x="23879" y="63677"/>
                  </a:lnTo>
                  <a:lnTo>
                    <a:pt x="22837" y="68573"/>
                  </a:lnTo>
                  <a:lnTo>
                    <a:pt x="22446" y="71198"/>
                  </a:lnTo>
                  <a:lnTo>
                    <a:pt x="22326" y="72825"/>
                  </a:lnTo>
                  <a:lnTo>
                    <a:pt x="22580" y="73920"/>
                  </a:lnTo>
                  <a:lnTo>
                    <a:pt x="22942" y="74514"/>
                  </a:lnTo>
                  <a:lnTo>
                    <a:pt x="23307" y="74988"/>
                  </a:lnTo>
                  <a:lnTo>
                    <a:pt x="23777" y="75378"/>
                  </a:lnTo>
                  <a:lnTo>
                    <a:pt x="24458" y="75796"/>
                  </a:lnTo>
                  <a:lnTo>
                    <a:pt x="25665" y="76249"/>
                  </a:lnTo>
                  <a:lnTo>
                    <a:pt x="29947" y="73923"/>
                  </a:lnTo>
                  <a:lnTo>
                    <a:pt x="63650" y="46494"/>
                  </a:lnTo>
                  <a:lnTo>
                    <a:pt x="72307" y="43866"/>
                  </a:lnTo>
                  <a:lnTo>
                    <a:pt x="81649" y="46009"/>
                  </a:lnTo>
                  <a:lnTo>
                    <a:pt x="82964" y="45928"/>
                  </a:lnTo>
                  <a:lnTo>
                    <a:pt x="84862" y="44980"/>
                  </a:lnTo>
                  <a:lnTo>
                    <a:pt x="86291" y="43348"/>
                  </a:lnTo>
                  <a:lnTo>
                    <a:pt x="89621" y="34578"/>
                  </a:lnTo>
                  <a:lnTo>
                    <a:pt x="91158" y="32371"/>
                  </a:lnTo>
                  <a:lnTo>
                    <a:pt x="93004" y="31052"/>
                  </a:lnTo>
                  <a:lnTo>
                    <a:pt x="97163" y="29642"/>
                  </a:lnTo>
                  <a:lnTo>
                    <a:pt x="99529" y="29213"/>
                  </a:lnTo>
                  <a:lnTo>
                    <a:pt x="101630" y="29240"/>
                  </a:lnTo>
                  <a:lnTo>
                    <a:pt x="106091" y="30062"/>
                  </a:lnTo>
                  <a:lnTo>
                    <a:pt x="108797" y="28303"/>
                  </a:lnTo>
                  <a:lnTo>
                    <a:pt x="110486" y="26687"/>
                  </a:lnTo>
                  <a:lnTo>
                    <a:pt x="114990" y="8360"/>
                  </a:lnTo>
                  <a:lnTo>
                    <a:pt x="116312" y="6388"/>
                  </a:lnTo>
                  <a:lnTo>
                    <a:pt x="117789" y="4947"/>
                  </a:lnTo>
                  <a:lnTo>
                    <a:pt x="118578" y="4477"/>
                  </a:lnTo>
                  <a:lnTo>
                    <a:pt x="119104" y="4273"/>
                  </a:lnTo>
                  <a:lnTo>
                    <a:pt x="119997" y="4218"/>
                  </a:lnTo>
                  <a:lnTo>
                    <a:pt x="136685" y="8221"/>
                  </a:lnTo>
                  <a:lnTo>
                    <a:pt x="138628" y="8022"/>
                  </a:lnTo>
                  <a:lnTo>
                    <a:pt x="140521" y="6906"/>
                  </a:lnTo>
                  <a:lnTo>
                    <a:pt x="146473" y="1404"/>
                  </a:lnTo>
                  <a:lnTo>
                    <a:pt x="148435" y="318"/>
                  </a:lnTo>
                  <a:lnTo>
                    <a:pt x="150168" y="0"/>
                  </a:lnTo>
                  <a:lnTo>
                    <a:pt x="152004" y="154"/>
                  </a:lnTo>
                  <a:lnTo>
                    <a:pt x="153523" y="705"/>
                  </a:lnTo>
                  <a:lnTo>
                    <a:pt x="154150" y="1549"/>
                  </a:lnTo>
                  <a:lnTo>
                    <a:pt x="154512" y="3013"/>
                  </a:lnTo>
                  <a:lnTo>
                    <a:pt x="153821" y="5772"/>
                  </a:lnTo>
                  <a:lnTo>
                    <a:pt x="153238" y="7218"/>
                  </a:lnTo>
                  <a:lnTo>
                    <a:pt x="149388" y="12671"/>
                  </a:lnTo>
                  <a:lnTo>
                    <a:pt x="145985" y="19529"/>
                  </a:lnTo>
                  <a:lnTo>
                    <a:pt x="144606" y="23084"/>
                  </a:lnTo>
                  <a:lnTo>
                    <a:pt x="144232" y="24707"/>
                  </a:lnTo>
                  <a:lnTo>
                    <a:pt x="144647" y="26098"/>
                  </a:lnTo>
                  <a:lnTo>
                    <a:pt x="145743" y="28082"/>
                  </a:lnTo>
                  <a:lnTo>
                    <a:pt x="157760" y="37164"/>
                  </a:lnTo>
                  <a:lnTo>
                    <a:pt x="157969" y="37431"/>
                  </a:lnTo>
                  <a:lnTo>
                    <a:pt x="158327" y="40506"/>
                  </a:lnTo>
                  <a:lnTo>
                    <a:pt x="158420" y="44229"/>
                  </a:lnTo>
                  <a:lnTo>
                    <a:pt x="159198" y="47481"/>
                  </a:lnTo>
                  <a:lnTo>
                    <a:pt x="161033" y="49171"/>
                  </a:lnTo>
                  <a:lnTo>
                    <a:pt x="162502" y="50091"/>
                  </a:lnTo>
                  <a:lnTo>
                    <a:pt x="163392" y="51483"/>
                  </a:lnTo>
                  <a:lnTo>
                    <a:pt x="163805" y="53862"/>
                  </a:lnTo>
                  <a:lnTo>
                    <a:pt x="163266" y="58131"/>
                  </a:lnTo>
                  <a:lnTo>
                    <a:pt x="162840" y="60021"/>
                  </a:lnTo>
                  <a:lnTo>
                    <a:pt x="161727" y="62971"/>
                  </a:lnTo>
                  <a:lnTo>
                    <a:pt x="161247" y="64978"/>
                  </a:lnTo>
                  <a:lnTo>
                    <a:pt x="160541" y="72128"/>
                  </a:lnTo>
                  <a:lnTo>
                    <a:pt x="160200" y="79867"/>
                  </a:lnTo>
                  <a:lnTo>
                    <a:pt x="159933" y="81343"/>
                  </a:lnTo>
                  <a:lnTo>
                    <a:pt x="159615" y="82038"/>
                  </a:lnTo>
                  <a:lnTo>
                    <a:pt x="158928" y="82788"/>
                  </a:lnTo>
                  <a:lnTo>
                    <a:pt x="158031" y="83451"/>
                  </a:lnTo>
                  <a:lnTo>
                    <a:pt x="154604" y="84960"/>
                  </a:lnTo>
                  <a:lnTo>
                    <a:pt x="148543" y="86477"/>
                  </a:lnTo>
                  <a:lnTo>
                    <a:pt x="147646" y="87093"/>
                  </a:lnTo>
                  <a:lnTo>
                    <a:pt x="146853" y="88037"/>
                  </a:lnTo>
                  <a:lnTo>
                    <a:pt x="146740" y="89897"/>
                  </a:lnTo>
                  <a:lnTo>
                    <a:pt x="147152" y="92498"/>
                  </a:lnTo>
                  <a:lnTo>
                    <a:pt x="149384" y="101859"/>
                  </a:lnTo>
                  <a:lnTo>
                    <a:pt x="149893" y="106810"/>
                  </a:lnTo>
                  <a:lnTo>
                    <a:pt x="149826" y="110769"/>
                  </a:lnTo>
                  <a:lnTo>
                    <a:pt x="150185" y="113682"/>
                  </a:lnTo>
                  <a:lnTo>
                    <a:pt x="151337" y="115769"/>
                  </a:lnTo>
                  <a:lnTo>
                    <a:pt x="155020" y="117818"/>
                  </a:lnTo>
                  <a:lnTo>
                    <a:pt x="160604" y="119507"/>
                  </a:lnTo>
                  <a:lnTo>
                    <a:pt x="163599" y="122840"/>
                  </a:lnTo>
                  <a:lnTo>
                    <a:pt x="172017" y="136720"/>
                  </a:lnTo>
                  <a:lnTo>
                    <a:pt x="179552" y="140904"/>
                  </a:lnTo>
                  <a:lnTo>
                    <a:pt x="182291" y="143186"/>
                  </a:lnTo>
                  <a:close/>
                </a:path>
              </a:pathLst>
            </a:custGeom>
            <a:solidFill>
              <a:srgbClr val="BFBFBF"/>
            </a:solidFill>
            <a:ln w="6350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Freeform 19">
              <a:extLst>
                <a:ext uri="{FF2B5EF4-FFF2-40B4-BE49-F238E27FC236}">
                  <a16:creationId xmlns:a16="http://schemas.microsoft.com/office/drawing/2014/main" id="{9231E5CF-6A5E-A5CD-2ABC-55FE4744FDB7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3719706" y="1700212"/>
              <a:ext cx="1147707" cy="981888"/>
            </a:xfrm>
            <a:custGeom>
              <a:avLst/>
              <a:gdLst/>
              <a:ahLst/>
              <a:cxnLst/>
              <a:rect l="l" t="t" r="r" b="b"/>
              <a:pathLst>
                <a:path w="1147707" h="981888">
                  <a:moveTo>
                    <a:pt x="16740" y="492113"/>
                  </a:moveTo>
                  <a:lnTo>
                    <a:pt x="17829" y="495245"/>
                  </a:lnTo>
                  <a:lnTo>
                    <a:pt x="12490" y="496715"/>
                  </a:lnTo>
                  <a:lnTo>
                    <a:pt x="10828" y="493630"/>
                  </a:lnTo>
                  <a:close/>
                  <a:moveTo>
                    <a:pt x="4914" y="492073"/>
                  </a:moveTo>
                  <a:lnTo>
                    <a:pt x="6875" y="494424"/>
                  </a:lnTo>
                  <a:lnTo>
                    <a:pt x="7837" y="500324"/>
                  </a:lnTo>
                  <a:lnTo>
                    <a:pt x="6131" y="501544"/>
                  </a:lnTo>
                  <a:lnTo>
                    <a:pt x="5725" y="499155"/>
                  </a:lnTo>
                  <a:lnTo>
                    <a:pt x="4352" y="498666"/>
                  </a:lnTo>
                  <a:lnTo>
                    <a:pt x="3382" y="496070"/>
                  </a:lnTo>
                  <a:lnTo>
                    <a:pt x="1948" y="494252"/>
                  </a:lnTo>
                  <a:lnTo>
                    <a:pt x="0" y="492320"/>
                  </a:lnTo>
                  <a:close/>
                  <a:moveTo>
                    <a:pt x="1082799" y="310754"/>
                  </a:moveTo>
                  <a:lnTo>
                    <a:pt x="1111241" y="322752"/>
                  </a:lnTo>
                  <a:lnTo>
                    <a:pt x="1119810" y="329988"/>
                  </a:lnTo>
                  <a:lnTo>
                    <a:pt x="1122472" y="333448"/>
                  </a:lnTo>
                  <a:lnTo>
                    <a:pt x="1127774" y="343019"/>
                  </a:lnTo>
                  <a:lnTo>
                    <a:pt x="1147707" y="379892"/>
                  </a:lnTo>
                  <a:lnTo>
                    <a:pt x="1105775" y="373289"/>
                  </a:lnTo>
                  <a:lnTo>
                    <a:pt x="1099717" y="376840"/>
                  </a:lnTo>
                  <a:lnTo>
                    <a:pt x="1101231" y="379152"/>
                  </a:lnTo>
                  <a:lnTo>
                    <a:pt x="1102704" y="380160"/>
                  </a:lnTo>
                  <a:lnTo>
                    <a:pt x="1089330" y="381176"/>
                  </a:lnTo>
                  <a:lnTo>
                    <a:pt x="1080591" y="379793"/>
                  </a:lnTo>
                  <a:lnTo>
                    <a:pt x="1076781" y="375107"/>
                  </a:lnTo>
                  <a:lnTo>
                    <a:pt x="1077323" y="363471"/>
                  </a:lnTo>
                  <a:lnTo>
                    <a:pt x="1075738" y="359019"/>
                  </a:lnTo>
                  <a:lnTo>
                    <a:pt x="1070957" y="357270"/>
                  </a:lnTo>
                  <a:lnTo>
                    <a:pt x="1062240" y="357067"/>
                  </a:lnTo>
                  <a:lnTo>
                    <a:pt x="1058677" y="358238"/>
                  </a:lnTo>
                  <a:lnTo>
                    <a:pt x="1056215" y="361654"/>
                  </a:lnTo>
                  <a:lnTo>
                    <a:pt x="1053752" y="361674"/>
                  </a:lnTo>
                  <a:lnTo>
                    <a:pt x="1052607" y="357496"/>
                  </a:lnTo>
                  <a:lnTo>
                    <a:pt x="1051451" y="355133"/>
                  </a:lnTo>
                  <a:lnTo>
                    <a:pt x="1049664" y="355056"/>
                  </a:lnTo>
                  <a:lnTo>
                    <a:pt x="1045733" y="357551"/>
                  </a:lnTo>
                  <a:lnTo>
                    <a:pt x="1044749" y="349673"/>
                  </a:lnTo>
                  <a:lnTo>
                    <a:pt x="1053863" y="326501"/>
                  </a:lnTo>
                  <a:lnTo>
                    <a:pt x="1066778" y="313621"/>
                  </a:lnTo>
                  <a:close/>
                  <a:moveTo>
                    <a:pt x="351798" y="309700"/>
                  </a:moveTo>
                  <a:lnTo>
                    <a:pt x="366304" y="313886"/>
                  </a:lnTo>
                  <a:lnTo>
                    <a:pt x="364749" y="314552"/>
                  </a:lnTo>
                  <a:lnTo>
                    <a:pt x="363983" y="316258"/>
                  </a:lnTo>
                  <a:lnTo>
                    <a:pt x="363768" y="318812"/>
                  </a:lnTo>
                  <a:lnTo>
                    <a:pt x="364053" y="321982"/>
                  </a:lnTo>
                  <a:lnTo>
                    <a:pt x="357821" y="327764"/>
                  </a:lnTo>
                  <a:lnTo>
                    <a:pt x="353454" y="334723"/>
                  </a:lnTo>
                  <a:lnTo>
                    <a:pt x="348503" y="341065"/>
                  </a:lnTo>
                  <a:lnTo>
                    <a:pt x="340653" y="344923"/>
                  </a:lnTo>
                  <a:lnTo>
                    <a:pt x="326183" y="345727"/>
                  </a:lnTo>
                  <a:lnTo>
                    <a:pt x="319395" y="343089"/>
                  </a:lnTo>
                  <a:lnTo>
                    <a:pt x="315863" y="336564"/>
                  </a:lnTo>
                  <a:lnTo>
                    <a:pt x="319531" y="334692"/>
                  </a:lnTo>
                  <a:lnTo>
                    <a:pt x="320199" y="331474"/>
                  </a:lnTo>
                  <a:lnTo>
                    <a:pt x="318765" y="327974"/>
                  </a:lnTo>
                  <a:lnTo>
                    <a:pt x="316122" y="325241"/>
                  </a:lnTo>
                  <a:lnTo>
                    <a:pt x="326864" y="315309"/>
                  </a:lnTo>
                  <a:lnTo>
                    <a:pt x="338654" y="310190"/>
                  </a:lnTo>
                  <a:close/>
                  <a:moveTo>
                    <a:pt x="279076" y="291995"/>
                  </a:moveTo>
                  <a:lnTo>
                    <a:pt x="279599" y="298196"/>
                  </a:lnTo>
                  <a:lnTo>
                    <a:pt x="276582" y="312130"/>
                  </a:lnTo>
                  <a:lnTo>
                    <a:pt x="268606" y="324154"/>
                  </a:lnTo>
                  <a:lnTo>
                    <a:pt x="259010" y="329363"/>
                  </a:lnTo>
                  <a:lnTo>
                    <a:pt x="251552" y="329038"/>
                  </a:lnTo>
                  <a:lnTo>
                    <a:pt x="247432" y="325165"/>
                  </a:lnTo>
                  <a:lnTo>
                    <a:pt x="244240" y="316825"/>
                  </a:lnTo>
                  <a:lnTo>
                    <a:pt x="246532" y="307669"/>
                  </a:lnTo>
                  <a:lnTo>
                    <a:pt x="252646" y="303167"/>
                  </a:lnTo>
                  <a:lnTo>
                    <a:pt x="255106" y="302066"/>
                  </a:lnTo>
                  <a:lnTo>
                    <a:pt x="257495" y="300589"/>
                  </a:lnTo>
                  <a:close/>
                  <a:moveTo>
                    <a:pt x="169417" y="199762"/>
                  </a:moveTo>
                  <a:lnTo>
                    <a:pt x="169444" y="202507"/>
                  </a:lnTo>
                  <a:lnTo>
                    <a:pt x="168915" y="203120"/>
                  </a:lnTo>
                  <a:lnTo>
                    <a:pt x="167978" y="202953"/>
                  </a:lnTo>
                  <a:lnTo>
                    <a:pt x="167044" y="203603"/>
                  </a:lnTo>
                  <a:lnTo>
                    <a:pt x="163276" y="207264"/>
                  </a:lnTo>
                  <a:lnTo>
                    <a:pt x="159811" y="211515"/>
                  </a:lnTo>
                  <a:lnTo>
                    <a:pt x="175422" y="243215"/>
                  </a:lnTo>
                  <a:lnTo>
                    <a:pt x="181623" y="246927"/>
                  </a:lnTo>
                  <a:lnTo>
                    <a:pt x="176985" y="250706"/>
                  </a:lnTo>
                  <a:lnTo>
                    <a:pt x="165603" y="254477"/>
                  </a:lnTo>
                  <a:lnTo>
                    <a:pt x="158053" y="247138"/>
                  </a:lnTo>
                  <a:lnTo>
                    <a:pt x="152145" y="235564"/>
                  </a:lnTo>
                  <a:lnTo>
                    <a:pt x="145847" y="226395"/>
                  </a:lnTo>
                  <a:lnTo>
                    <a:pt x="155969" y="208588"/>
                  </a:lnTo>
                  <a:lnTo>
                    <a:pt x="162079" y="202225"/>
                  </a:lnTo>
                  <a:close/>
                  <a:moveTo>
                    <a:pt x="215395" y="177250"/>
                  </a:moveTo>
                  <a:lnTo>
                    <a:pt x="233737" y="178850"/>
                  </a:lnTo>
                  <a:lnTo>
                    <a:pt x="241110" y="183647"/>
                  </a:lnTo>
                  <a:lnTo>
                    <a:pt x="246728" y="194030"/>
                  </a:lnTo>
                  <a:lnTo>
                    <a:pt x="246626" y="197936"/>
                  </a:lnTo>
                  <a:lnTo>
                    <a:pt x="243764" y="202471"/>
                  </a:lnTo>
                  <a:lnTo>
                    <a:pt x="239711" y="213348"/>
                  </a:lnTo>
                  <a:lnTo>
                    <a:pt x="236864" y="217184"/>
                  </a:lnTo>
                  <a:lnTo>
                    <a:pt x="232305" y="218532"/>
                  </a:lnTo>
                  <a:lnTo>
                    <a:pt x="226727" y="217713"/>
                  </a:lnTo>
                  <a:lnTo>
                    <a:pt x="221722" y="215626"/>
                  </a:lnTo>
                  <a:lnTo>
                    <a:pt x="218935" y="213155"/>
                  </a:lnTo>
                  <a:lnTo>
                    <a:pt x="210237" y="216204"/>
                  </a:lnTo>
                  <a:lnTo>
                    <a:pt x="199622" y="212613"/>
                  </a:lnTo>
                  <a:lnTo>
                    <a:pt x="180708" y="200082"/>
                  </a:lnTo>
                  <a:lnTo>
                    <a:pt x="187556" y="188288"/>
                  </a:lnTo>
                  <a:lnTo>
                    <a:pt x="195204" y="181240"/>
                  </a:lnTo>
                  <a:lnTo>
                    <a:pt x="204330" y="177883"/>
                  </a:lnTo>
                  <a:close/>
                  <a:moveTo>
                    <a:pt x="325165" y="94462"/>
                  </a:moveTo>
                  <a:lnTo>
                    <a:pt x="351341" y="99579"/>
                  </a:lnTo>
                  <a:lnTo>
                    <a:pt x="376961" y="110743"/>
                  </a:lnTo>
                  <a:lnTo>
                    <a:pt x="446470" y="128578"/>
                  </a:lnTo>
                  <a:lnTo>
                    <a:pt x="451899" y="133575"/>
                  </a:lnTo>
                  <a:lnTo>
                    <a:pt x="453298" y="139358"/>
                  </a:lnTo>
                  <a:lnTo>
                    <a:pt x="454149" y="147350"/>
                  </a:lnTo>
                  <a:lnTo>
                    <a:pt x="456451" y="154182"/>
                  </a:lnTo>
                  <a:lnTo>
                    <a:pt x="462239" y="156642"/>
                  </a:lnTo>
                  <a:lnTo>
                    <a:pt x="486299" y="157115"/>
                  </a:lnTo>
                  <a:lnTo>
                    <a:pt x="491255" y="156275"/>
                  </a:lnTo>
                  <a:lnTo>
                    <a:pt x="494510" y="152985"/>
                  </a:lnTo>
                  <a:lnTo>
                    <a:pt x="499233" y="151756"/>
                  </a:lnTo>
                  <a:lnTo>
                    <a:pt x="502894" y="148561"/>
                  </a:lnTo>
                  <a:lnTo>
                    <a:pt x="508876" y="147290"/>
                  </a:lnTo>
                  <a:lnTo>
                    <a:pt x="515428" y="153675"/>
                  </a:lnTo>
                  <a:lnTo>
                    <a:pt x="521007" y="154404"/>
                  </a:lnTo>
                  <a:lnTo>
                    <a:pt x="525904" y="152819"/>
                  </a:lnTo>
                  <a:lnTo>
                    <a:pt x="526097" y="152669"/>
                  </a:lnTo>
                  <a:lnTo>
                    <a:pt x="526100" y="152669"/>
                  </a:lnTo>
                  <a:lnTo>
                    <a:pt x="530688" y="152754"/>
                  </a:lnTo>
                  <a:lnTo>
                    <a:pt x="550459" y="143035"/>
                  </a:lnTo>
                  <a:lnTo>
                    <a:pt x="556809" y="135299"/>
                  </a:lnTo>
                  <a:lnTo>
                    <a:pt x="564892" y="132189"/>
                  </a:lnTo>
                  <a:lnTo>
                    <a:pt x="569112" y="124774"/>
                  </a:lnTo>
                  <a:lnTo>
                    <a:pt x="573442" y="121336"/>
                  </a:lnTo>
                  <a:lnTo>
                    <a:pt x="574266" y="141931"/>
                  </a:lnTo>
                  <a:lnTo>
                    <a:pt x="590156" y="148044"/>
                  </a:lnTo>
                  <a:lnTo>
                    <a:pt x="610398" y="149331"/>
                  </a:lnTo>
                  <a:lnTo>
                    <a:pt x="624047" y="155583"/>
                  </a:lnTo>
                  <a:lnTo>
                    <a:pt x="629774" y="160034"/>
                  </a:lnTo>
                  <a:lnTo>
                    <a:pt x="638301" y="163812"/>
                  </a:lnTo>
                  <a:lnTo>
                    <a:pt x="646063" y="169463"/>
                  </a:lnTo>
                  <a:lnTo>
                    <a:pt x="649413" y="179401"/>
                  </a:lnTo>
                  <a:lnTo>
                    <a:pt x="653181" y="184760"/>
                  </a:lnTo>
                  <a:lnTo>
                    <a:pt x="661818" y="183342"/>
                  </a:lnTo>
                  <a:lnTo>
                    <a:pt x="676881" y="177668"/>
                  </a:lnTo>
                  <a:lnTo>
                    <a:pt x="675683" y="165774"/>
                  </a:lnTo>
                  <a:lnTo>
                    <a:pt x="683473" y="165295"/>
                  </a:lnTo>
                  <a:lnTo>
                    <a:pt x="694138" y="172047"/>
                  </a:lnTo>
                  <a:lnTo>
                    <a:pt x="701647" y="181747"/>
                  </a:lnTo>
                  <a:lnTo>
                    <a:pt x="706036" y="201292"/>
                  </a:lnTo>
                  <a:lnTo>
                    <a:pt x="708104" y="205862"/>
                  </a:lnTo>
                  <a:lnTo>
                    <a:pt x="711063" y="210206"/>
                  </a:lnTo>
                  <a:lnTo>
                    <a:pt x="717210" y="216941"/>
                  </a:lnTo>
                  <a:lnTo>
                    <a:pt x="712939" y="220196"/>
                  </a:lnTo>
                  <a:lnTo>
                    <a:pt x="708583" y="219611"/>
                  </a:lnTo>
                  <a:lnTo>
                    <a:pt x="704505" y="217702"/>
                  </a:lnTo>
                  <a:lnTo>
                    <a:pt x="701416" y="216845"/>
                  </a:lnTo>
                  <a:lnTo>
                    <a:pt x="701596" y="218102"/>
                  </a:lnTo>
                  <a:lnTo>
                    <a:pt x="693372" y="224561"/>
                  </a:lnTo>
                  <a:lnTo>
                    <a:pt x="692321" y="224600"/>
                  </a:lnTo>
                  <a:lnTo>
                    <a:pt x="690185" y="226051"/>
                  </a:lnTo>
                  <a:lnTo>
                    <a:pt x="688759" y="225901"/>
                  </a:lnTo>
                  <a:lnTo>
                    <a:pt x="687943" y="227130"/>
                  </a:lnTo>
                  <a:lnTo>
                    <a:pt x="687744" y="232384"/>
                  </a:lnTo>
                  <a:lnTo>
                    <a:pt x="692588" y="232744"/>
                  </a:lnTo>
                  <a:lnTo>
                    <a:pt x="701247" y="230172"/>
                  </a:lnTo>
                  <a:lnTo>
                    <a:pt x="709892" y="229737"/>
                  </a:lnTo>
                  <a:lnTo>
                    <a:pt x="714832" y="236466"/>
                  </a:lnTo>
                  <a:lnTo>
                    <a:pt x="718404" y="233416"/>
                  </a:lnTo>
                  <a:lnTo>
                    <a:pt x="722176" y="233158"/>
                  </a:lnTo>
                  <a:lnTo>
                    <a:pt x="723987" y="236657"/>
                  </a:lnTo>
                  <a:lnTo>
                    <a:pt x="721571" y="244669"/>
                  </a:lnTo>
                  <a:lnTo>
                    <a:pt x="723196" y="252611"/>
                  </a:lnTo>
                  <a:lnTo>
                    <a:pt x="723348" y="263938"/>
                  </a:lnTo>
                  <a:lnTo>
                    <a:pt x="721326" y="287583"/>
                  </a:lnTo>
                  <a:lnTo>
                    <a:pt x="719594" y="297715"/>
                  </a:lnTo>
                  <a:lnTo>
                    <a:pt x="717279" y="305773"/>
                  </a:lnTo>
                  <a:lnTo>
                    <a:pt x="714053" y="312338"/>
                  </a:lnTo>
                  <a:lnTo>
                    <a:pt x="709828" y="318407"/>
                  </a:lnTo>
                  <a:lnTo>
                    <a:pt x="699061" y="328341"/>
                  </a:lnTo>
                  <a:lnTo>
                    <a:pt x="685625" y="335717"/>
                  </a:lnTo>
                  <a:lnTo>
                    <a:pt x="671203" y="340334"/>
                  </a:lnTo>
                  <a:lnTo>
                    <a:pt x="657260" y="341781"/>
                  </a:lnTo>
                  <a:lnTo>
                    <a:pt x="657228" y="345689"/>
                  </a:lnTo>
                  <a:lnTo>
                    <a:pt x="671534" y="353339"/>
                  </a:lnTo>
                  <a:lnTo>
                    <a:pt x="751885" y="334581"/>
                  </a:lnTo>
                  <a:lnTo>
                    <a:pt x="758095" y="336840"/>
                  </a:lnTo>
                  <a:lnTo>
                    <a:pt x="778130" y="354544"/>
                  </a:lnTo>
                  <a:lnTo>
                    <a:pt x="771476" y="361175"/>
                  </a:lnTo>
                  <a:lnTo>
                    <a:pt x="771426" y="367431"/>
                  </a:lnTo>
                  <a:lnTo>
                    <a:pt x="774029" y="374443"/>
                  </a:lnTo>
                  <a:lnTo>
                    <a:pt x="775758" y="383636"/>
                  </a:lnTo>
                  <a:lnTo>
                    <a:pt x="773808" y="391284"/>
                  </a:lnTo>
                  <a:lnTo>
                    <a:pt x="769065" y="398385"/>
                  </a:lnTo>
                  <a:lnTo>
                    <a:pt x="763026" y="403479"/>
                  </a:lnTo>
                  <a:lnTo>
                    <a:pt x="757270" y="405201"/>
                  </a:lnTo>
                  <a:lnTo>
                    <a:pt x="758132" y="406485"/>
                  </a:lnTo>
                  <a:lnTo>
                    <a:pt x="759268" y="407466"/>
                  </a:lnTo>
                  <a:lnTo>
                    <a:pt x="759423" y="409257"/>
                  </a:lnTo>
                  <a:lnTo>
                    <a:pt x="757237" y="413017"/>
                  </a:lnTo>
                  <a:lnTo>
                    <a:pt x="760803" y="416917"/>
                  </a:lnTo>
                  <a:lnTo>
                    <a:pt x="761788" y="421712"/>
                  </a:lnTo>
                  <a:lnTo>
                    <a:pt x="760464" y="427104"/>
                  </a:lnTo>
                  <a:lnTo>
                    <a:pt x="757156" y="432556"/>
                  </a:lnTo>
                  <a:lnTo>
                    <a:pt x="764498" y="429863"/>
                  </a:lnTo>
                  <a:lnTo>
                    <a:pt x="770061" y="423045"/>
                  </a:lnTo>
                  <a:lnTo>
                    <a:pt x="777963" y="405276"/>
                  </a:lnTo>
                  <a:lnTo>
                    <a:pt x="782442" y="386333"/>
                  </a:lnTo>
                  <a:lnTo>
                    <a:pt x="784869" y="381549"/>
                  </a:lnTo>
                  <a:lnTo>
                    <a:pt x="788208" y="379325"/>
                  </a:lnTo>
                  <a:lnTo>
                    <a:pt x="800782" y="378007"/>
                  </a:lnTo>
                  <a:lnTo>
                    <a:pt x="805338" y="375342"/>
                  </a:lnTo>
                  <a:lnTo>
                    <a:pt x="807566" y="372254"/>
                  </a:lnTo>
                  <a:lnTo>
                    <a:pt x="809278" y="369069"/>
                  </a:lnTo>
                  <a:lnTo>
                    <a:pt x="812371" y="366004"/>
                  </a:lnTo>
                  <a:lnTo>
                    <a:pt x="816191" y="364755"/>
                  </a:lnTo>
                  <a:lnTo>
                    <a:pt x="830323" y="366030"/>
                  </a:lnTo>
                  <a:lnTo>
                    <a:pt x="837631" y="369665"/>
                  </a:lnTo>
                  <a:lnTo>
                    <a:pt x="857780" y="385885"/>
                  </a:lnTo>
                  <a:lnTo>
                    <a:pt x="910352" y="409247"/>
                  </a:lnTo>
                  <a:lnTo>
                    <a:pt x="940155" y="437285"/>
                  </a:lnTo>
                  <a:lnTo>
                    <a:pt x="953884" y="440677"/>
                  </a:lnTo>
                  <a:lnTo>
                    <a:pt x="969162" y="437795"/>
                  </a:lnTo>
                  <a:lnTo>
                    <a:pt x="980369" y="430740"/>
                  </a:lnTo>
                  <a:lnTo>
                    <a:pt x="999321" y="412792"/>
                  </a:lnTo>
                  <a:lnTo>
                    <a:pt x="1010262" y="405606"/>
                  </a:lnTo>
                  <a:lnTo>
                    <a:pt x="1021700" y="400670"/>
                  </a:lnTo>
                  <a:lnTo>
                    <a:pt x="1049491" y="396835"/>
                  </a:lnTo>
                  <a:lnTo>
                    <a:pt x="1049523" y="400718"/>
                  </a:lnTo>
                  <a:lnTo>
                    <a:pt x="1043533" y="401069"/>
                  </a:lnTo>
                  <a:lnTo>
                    <a:pt x="1035209" y="401226"/>
                  </a:lnTo>
                  <a:lnTo>
                    <a:pt x="1041005" y="403786"/>
                  </a:lnTo>
                  <a:lnTo>
                    <a:pt x="1046766" y="401835"/>
                  </a:lnTo>
                  <a:lnTo>
                    <a:pt x="1054622" y="407237"/>
                  </a:lnTo>
                  <a:lnTo>
                    <a:pt x="1077894" y="392589"/>
                  </a:lnTo>
                  <a:lnTo>
                    <a:pt x="1088369" y="396493"/>
                  </a:lnTo>
                  <a:lnTo>
                    <a:pt x="1076136" y="410540"/>
                  </a:lnTo>
                  <a:lnTo>
                    <a:pt x="1072633" y="416155"/>
                  </a:lnTo>
                  <a:lnTo>
                    <a:pt x="1070637" y="414522"/>
                  </a:lnTo>
                  <a:lnTo>
                    <a:pt x="1065544" y="412309"/>
                  </a:lnTo>
                  <a:lnTo>
                    <a:pt x="1069236" y="421629"/>
                  </a:lnTo>
                  <a:lnTo>
                    <a:pt x="1072510" y="444351"/>
                  </a:lnTo>
                  <a:lnTo>
                    <a:pt x="1075246" y="455143"/>
                  </a:lnTo>
                  <a:lnTo>
                    <a:pt x="1072838" y="462377"/>
                  </a:lnTo>
                  <a:lnTo>
                    <a:pt x="1073144" y="472099"/>
                  </a:lnTo>
                  <a:lnTo>
                    <a:pt x="1075554" y="488548"/>
                  </a:lnTo>
                  <a:lnTo>
                    <a:pt x="1074201" y="498331"/>
                  </a:lnTo>
                  <a:lnTo>
                    <a:pt x="1071035" y="503569"/>
                  </a:lnTo>
                  <a:lnTo>
                    <a:pt x="1067853" y="507202"/>
                  </a:lnTo>
                  <a:lnTo>
                    <a:pt x="1066426" y="512169"/>
                  </a:lnTo>
                  <a:lnTo>
                    <a:pt x="1027733" y="537877"/>
                  </a:lnTo>
                  <a:lnTo>
                    <a:pt x="1014402" y="555275"/>
                  </a:lnTo>
                  <a:lnTo>
                    <a:pt x="1008558" y="559129"/>
                  </a:lnTo>
                  <a:lnTo>
                    <a:pt x="995019" y="563908"/>
                  </a:lnTo>
                  <a:lnTo>
                    <a:pt x="992397" y="563831"/>
                  </a:lnTo>
                  <a:lnTo>
                    <a:pt x="989572" y="566405"/>
                  </a:lnTo>
                  <a:lnTo>
                    <a:pt x="987297" y="564788"/>
                  </a:lnTo>
                  <a:lnTo>
                    <a:pt x="984908" y="562218"/>
                  </a:lnTo>
                  <a:lnTo>
                    <a:pt x="981903" y="561933"/>
                  </a:lnTo>
                  <a:lnTo>
                    <a:pt x="979264" y="563667"/>
                  </a:lnTo>
                  <a:lnTo>
                    <a:pt x="977934" y="565185"/>
                  </a:lnTo>
                  <a:lnTo>
                    <a:pt x="965084" y="585485"/>
                  </a:lnTo>
                  <a:lnTo>
                    <a:pt x="961658" y="589339"/>
                  </a:lnTo>
                  <a:lnTo>
                    <a:pt x="961673" y="592898"/>
                  </a:lnTo>
                  <a:lnTo>
                    <a:pt x="966180" y="604045"/>
                  </a:lnTo>
                  <a:lnTo>
                    <a:pt x="971115" y="612257"/>
                  </a:lnTo>
                  <a:lnTo>
                    <a:pt x="977599" y="617600"/>
                  </a:lnTo>
                  <a:lnTo>
                    <a:pt x="986782" y="620484"/>
                  </a:lnTo>
                  <a:lnTo>
                    <a:pt x="999773" y="619063"/>
                  </a:lnTo>
                  <a:lnTo>
                    <a:pt x="1003120" y="620391"/>
                  </a:lnTo>
                  <a:lnTo>
                    <a:pt x="1005538" y="626308"/>
                  </a:lnTo>
                  <a:lnTo>
                    <a:pt x="1005909" y="633124"/>
                  </a:lnTo>
                  <a:lnTo>
                    <a:pt x="1007229" y="638372"/>
                  </a:lnTo>
                  <a:lnTo>
                    <a:pt x="1012195" y="639806"/>
                  </a:lnTo>
                  <a:lnTo>
                    <a:pt x="1013511" y="639892"/>
                  </a:lnTo>
                  <a:lnTo>
                    <a:pt x="1013514" y="639892"/>
                  </a:lnTo>
                  <a:lnTo>
                    <a:pt x="1013009" y="642113"/>
                  </a:lnTo>
                  <a:lnTo>
                    <a:pt x="1013002" y="657005"/>
                  </a:lnTo>
                  <a:lnTo>
                    <a:pt x="1014109" y="658653"/>
                  </a:lnTo>
                  <a:lnTo>
                    <a:pt x="1015220" y="660773"/>
                  </a:lnTo>
                  <a:lnTo>
                    <a:pt x="1016793" y="661796"/>
                  </a:lnTo>
                  <a:lnTo>
                    <a:pt x="1017792" y="662677"/>
                  </a:lnTo>
                  <a:lnTo>
                    <a:pt x="1018473" y="663115"/>
                  </a:lnTo>
                  <a:lnTo>
                    <a:pt x="1032050" y="667364"/>
                  </a:lnTo>
                  <a:lnTo>
                    <a:pt x="1032315" y="667953"/>
                  </a:lnTo>
                  <a:lnTo>
                    <a:pt x="1032056" y="668236"/>
                  </a:lnTo>
                  <a:lnTo>
                    <a:pt x="1031361" y="668403"/>
                  </a:lnTo>
                  <a:lnTo>
                    <a:pt x="1030840" y="668644"/>
                  </a:lnTo>
                  <a:lnTo>
                    <a:pt x="1030078" y="669241"/>
                  </a:lnTo>
                  <a:lnTo>
                    <a:pt x="1028764" y="670550"/>
                  </a:lnTo>
                  <a:lnTo>
                    <a:pt x="1026944" y="671832"/>
                  </a:lnTo>
                  <a:lnTo>
                    <a:pt x="1017656" y="673638"/>
                  </a:lnTo>
                  <a:lnTo>
                    <a:pt x="1016037" y="673649"/>
                  </a:lnTo>
                  <a:lnTo>
                    <a:pt x="1015618" y="673505"/>
                  </a:lnTo>
                  <a:lnTo>
                    <a:pt x="1015251" y="673300"/>
                  </a:lnTo>
                  <a:lnTo>
                    <a:pt x="1014620" y="672742"/>
                  </a:lnTo>
                  <a:lnTo>
                    <a:pt x="1013935" y="671830"/>
                  </a:lnTo>
                  <a:lnTo>
                    <a:pt x="1013666" y="670680"/>
                  </a:lnTo>
                  <a:lnTo>
                    <a:pt x="1013712" y="669794"/>
                  </a:lnTo>
                  <a:lnTo>
                    <a:pt x="1014019" y="668728"/>
                  </a:lnTo>
                  <a:lnTo>
                    <a:pt x="1014430" y="667661"/>
                  </a:lnTo>
                  <a:lnTo>
                    <a:pt x="1014476" y="666775"/>
                  </a:lnTo>
                  <a:lnTo>
                    <a:pt x="1014105" y="666038"/>
                  </a:lnTo>
                  <a:lnTo>
                    <a:pt x="1009953" y="664678"/>
                  </a:lnTo>
                  <a:lnTo>
                    <a:pt x="1008852" y="664035"/>
                  </a:lnTo>
                  <a:lnTo>
                    <a:pt x="1007858" y="663849"/>
                  </a:lnTo>
                  <a:lnTo>
                    <a:pt x="1006658" y="663987"/>
                  </a:lnTo>
                  <a:lnTo>
                    <a:pt x="998646" y="669355"/>
                  </a:lnTo>
                  <a:lnTo>
                    <a:pt x="982202" y="684984"/>
                  </a:lnTo>
                  <a:lnTo>
                    <a:pt x="975637" y="689183"/>
                  </a:lnTo>
                  <a:lnTo>
                    <a:pt x="968837" y="692319"/>
                  </a:lnTo>
                  <a:lnTo>
                    <a:pt x="966961" y="693804"/>
                  </a:lnTo>
                  <a:lnTo>
                    <a:pt x="965712" y="695125"/>
                  </a:lnTo>
                  <a:lnTo>
                    <a:pt x="963125" y="701267"/>
                  </a:lnTo>
                  <a:lnTo>
                    <a:pt x="962661" y="702792"/>
                  </a:lnTo>
                  <a:lnTo>
                    <a:pt x="961741" y="707685"/>
                  </a:lnTo>
                  <a:lnTo>
                    <a:pt x="961641" y="708896"/>
                  </a:lnTo>
                  <a:lnTo>
                    <a:pt x="961647" y="710094"/>
                  </a:lnTo>
                  <a:lnTo>
                    <a:pt x="961862" y="711436"/>
                  </a:lnTo>
                  <a:lnTo>
                    <a:pt x="962339" y="712824"/>
                  </a:lnTo>
                  <a:lnTo>
                    <a:pt x="965248" y="719459"/>
                  </a:lnTo>
                  <a:lnTo>
                    <a:pt x="965673" y="720918"/>
                  </a:lnTo>
                  <a:lnTo>
                    <a:pt x="966429" y="725864"/>
                  </a:lnTo>
                  <a:lnTo>
                    <a:pt x="967283" y="729613"/>
                  </a:lnTo>
                  <a:lnTo>
                    <a:pt x="968518" y="736122"/>
                  </a:lnTo>
                  <a:lnTo>
                    <a:pt x="968075" y="742225"/>
                  </a:lnTo>
                  <a:lnTo>
                    <a:pt x="967363" y="746837"/>
                  </a:lnTo>
                  <a:lnTo>
                    <a:pt x="964382" y="759821"/>
                  </a:lnTo>
                  <a:lnTo>
                    <a:pt x="964179" y="761388"/>
                  </a:lnTo>
                  <a:lnTo>
                    <a:pt x="964549" y="762125"/>
                  </a:lnTo>
                  <a:lnTo>
                    <a:pt x="965234" y="762803"/>
                  </a:lnTo>
                  <a:lnTo>
                    <a:pt x="968068" y="763292"/>
                  </a:lnTo>
                  <a:lnTo>
                    <a:pt x="971058" y="763263"/>
                  </a:lnTo>
                  <a:lnTo>
                    <a:pt x="980476" y="765876"/>
                  </a:lnTo>
                  <a:lnTo>
                    <a:pt x="981741" y="767008"/>
                  </a:lnTo>
                  <a:lnTo>
                    <a:pt x="984381" y="770362"/>
                  </a:lnTo>
                  <a:lnTo>
                    <a:pt x="987029" y="774869"/>
                  </a:lnTo>
                  <a:lnTo>
                    <a:pt x="994342" y="784476"/>
                  </a:lnTo>
                  <a:lnTo>
                    <a:pt x="998036" y="787853"/>
                  </a:lnTo>
                  <a:lnTo>
                    <a:pt x="1000775" y="789388"/>
                  </a:lnTo>
                  <a:lnTo>
                    <a:pt x="1005283" y="788164"/>
                  </a:lnTo>
                  <a:lnTo>
                    <a:pt x="1007803" y="788194"/>
                  </a:lnTo>
                  <a:lnTo>
                    <a:pt x="1010956" y="788735"/>
                  </a:lnTo>
                  <a:lnTo>
                    <a:pt x="1017395" y="791058"/>
                  </a:lnTo>
                  <a:lnTo>
                    <a:pt x="1021034" y="793516"/>
                  </a:lnTo>
                  <a:lnTo>
                    <a:pt x="1025423" y="797903"/>
                  </a:lnTo>
                  <a:lnTo>
                    <a:pt x="1027016" y="800270"/>
                  </a:lnTo>
                  <a:lnTo>
                    <a:pt x="1027975" y="802259"/>
                  </a:lnTo>
                  <a:lnTo>
                    <a:pt x="1028039" y="803942"/>
                  </a:lnTo>
                  <a:lnTo>
                    <a:pt x="1027841" y="805540"/>
                  </a:lnTo>
                  <a:lnTo>
                    <a:pt x="1027959" y="807356"/>
                  </a:lnTo>
                  <a:lnTo>
                    <a:pt x="1028339" y="809186"/>
                  </a:lnTo>
                  <a:lnTo>
                    <a:pt x="1031269" y="814585"/>
                  </a:lnTo>
                  <a:lnTo>
                    <a:pt x="1031664" y="816046"/>
                  </a:lnTo>
                  <a:lnTo>
                    <a:pt x="1031780" y="817507"/>
                  </a:lnTo>
                  <a:lnTo>
                    <a:pt x="1031686" y="819045"/>
                  </a:lnTo>
                  <a:lnTo>
                    <a:pt x="1031524" y="820804"/>
                  </a:lnTo>
                  <a:lnTo>
                    <a:pt x="1031640" y="822369"/>
                  </a:lnTo>
                  <a:lnTo>
                    <a:pt x="1031652" y="823935"/>
                  </a:lnTo>
                  <a:lnTo>
                    <a:pt x="1031311" y="825356"/>
                  </a:lnTo>
                  <a:lnTo>
                    <a:pt x="1030725" y="826703"/>
                  </a:lnTo>
                  <a:lnTo>
                    <a:pt x="1028899" y="828712"/>
                  </a:lnTo>
                  <a:lnTo>
                    <a:pt x="1026226" y="829913"/>
                  </a:lnTo>
                  <a:lnTo>
                    <a:pt x="1026558" y="839809"/>
                  </a:lnTo>
                  <a:lnTo>
                    <a:pt x="1030772" y="855233"/>
                  </a:lnTo>
                  <a:lnTo>
                    <a:pt x="1031167" y="858894"/>
                  </a:lnTo>
                  <a:lnTo>
                    <a:pt x="1030921" y="861348"/>
                  </a:lnTo>
                  <a:lnTo>
                    <a:pt x="1029770" y="862272"/>
                  </a:lnTo>
                  <a:lnTo>
                    <a:pt x="1027305" y="863648"/>
                  </a:lnTo>
                  <a:lnTo>
                    <a:pt x="1027677" y="864162"/>
                  </a:lnTo>
                  <a:lnTo>
                    <a:pt x="1030261" y="864677"/>
                  </a:lnTo>
                  <a:lnTo>
                    <a:pt x="1031426" y="865659"/>
                  </a:lnTo>
                  <a:lnTo>
                    <a:pt x="1031064" y="866429"/>
                  </a:lnTo>
                  <a:lnTo>
                    <a:pt x="1029861" y="867737"/>
                  </a:lnTo>
                  <a:lnTo>
                    <a:pt x="1028029" y="869347"/>
                  </a:lnTo>
                  <a:lnTo>
                    <a:pt x="1025951" y="873469"/>
                  </a:lnTo>
                  <a:lnTo>
                    <a:pt x="1024382" y="875163"/>
                  </a:lnTo>
                  <a:lnTo>
                    <a:pt x="1022859" y="875823"/>
                  </a:lnTo>
                  <a:lnTo>
                    <a:pt x="1021852" y="875032"/>
                  </a:lnTo>
                  <a:lnTo>
                    <a:pt x="1021107" y="873898"/>
                  </a:lnTo>
                  <a:lnTo>
                    <a:pt x="1020780" y="872306"/>
                  </a:lnTo>
                  <a:lnTo>
                    <a:pt x="1020389" y="868954"/>
                  </a:lnTo>
                  <a:lnTo>
                    <a:pt x="1019957" y="867480"/>
                  </a:lnTo>
                  <a:lnTo>
                    <a:pt x="1019422" y="866153"/>
                  </a:lnTo>
                  <a:lnTo>
                    <a:pt x="1018781" y="864829"/>
                  </a:lnTo>
                  <a:lnTo>
                    <a:pt x="1017983" y="863711"/>
                  </a:lnTo>
                  <a:lnTo>
                    <a:pt x="1016818" y="862774"/>
                  </a:lnTo>
                  <a:lnTo>
                    <a:pt x="1015552" y="862294"/>
                  </a:lnTo>
                  <a:lnTo>
                    <a:pt x="1014129" y="862229"/>
                  </a:lnTo>
                  <a:lnTo>
                    <a:pt x="998592" y="864688"/>
                  </a:lnTo>
                  <a:lnTo>
                    <a:pt x="997064" y="864607"/>
                  </a:lnTo>
                  <a:lnTo>
                    <a:pt x="995850" y="864186"/>
                  </a:lnTo>
                  <a:lnTo>
                    <a:pt x="993033" y="862621"/>
                  </a:lnTo>
                  <a:lnTo>
                    <a:pt x="990242" y="862636"/>
                  </a:lnTo>
                  <a:lnTo>
                    <a:pt x="989036" y="863676"/>
                  </a:lnTo>
                  <a:lnTo>
                    <a:pt x="988571" y="865186"/>
                  </a:lnTo>
                  <a:lnTo>
                    <a:pt x="988685" y="866782"/>
                  </a:lnTo>
                  <a:lnTo>
                    <a:pt x="989553" y="871519"/>
                  </a:lnTo>
                  <a:lnTo>
                    <a:pt x="990308" y="874558"/>
                  </a:lnTo>
                  <a:lnTo>
                    <a:pt x="990370" y="876405"/>
                  </a:lnTo>
                  <a:lnTo>
                    <a:pt x="990066" y="878533"/>
                  </a:lnTo>
                  <a:lnTo>
                    <a:pt x="987776" y="883894"/>
                  </a:lnTo>
                  <a:lnTo>
                    <a:pt x="987207" y="885862"/>
                  </a:lnTo>
                  <a:lnTo>
                    <a:pt x="987111" y="887457"/>
                  </a:lnTo>
                  <a:lnTo>
                    <a:pt x="986548" y="890697"/>
                  </a:lnTo>
                  <a:lnTo>
                    <a:pt x="986399" y="892412"/>
                  </a:lnTo>
                  <a:lnTo>
                    <a:pt x="986778" y="894329"/>
                  </a:lnTo>
                  <a:lnTo>
                    <a:pt x="986045" y="895293"/>
                  </a:lnTo>
                  <a:lnTo>
                    <a:pt x="980788" y="898409"/>
                  </a:lnTo>
                  <a:lnTo>
                    <a:pt x="965637" y="910625"/>
                  </a:lnTo>
                  <a:lnTo>
                    <a:pt x="964005" y="911326"/>
                  </a:lnTo>
                  <a:lnTo>
                    <a:pt x="960525" y="911947"/>
                  </a:lnTo>
                  <a:lnTo>
                    <a:pt x="953923" y="914692"/>
                  </a:lnTo>
                  <a:lnTo>
                    <a:pt x="947963" y="915675"/>
                  </a:lnTo>
                  <a:lnTo>
                    <a:pt x="946648" y="916641"/>
                  </a:lnTo>
                  <a:lnTo>
                    <a:pt x="945755" y="917914"/>
                  </a:lnTo>
                  <a:lnTo>
                    <a:pt x="944712" y="921449"/>
                  </a:lnTo>
                  <a:lnTo>
                    <a:pt x="944245" y="923710"/>
                  </a:lnTo>
                  <a:lnTo>
                    <a:pt x="943359" y="926759"/>
                  </a:lnTo>
                  <a:lnTo>
                    <a:pt x="942149" y="928122"/>
                  </a:lnTo>
                  <a:lnTo>
                    <a:pt x="940567" y="928629"/>
                  </a:lnTo>
                  <a:lnTo>
                    <a:pt x="936585" y="927178"/>
                  </a:lnTo>
                  <a:lnTo>
                    <a:pt x="934684" y="927259"/>
                  </a:lnTo>
                  <a:lnTo>
                    <a:pt x="931993" y="927889"/>
                  </a:lnTo>
                  <a:lnTo>
                    <a:pt x="927248" y="930326"/>
                  </a:lnTo>
                  <a:lnTo>
                    <a:pt x="925088" y="932029"/>
                  </a:lnTo>
                  <a:lnTo>
                    <a:pt x="923720" y="933806"/>
                  </a:lnTo>
                  <a:lnTo>
                    <a:pt x="923249" y="935315"/>
                  </a:lnTo>
                  <a:lnTo>
                    <a:pt x="920498" y="953361"/>
                  </a:lnTo>
                  <a:lnTo>
                    <a:pt x="920243" y="956908"/>
                  </a:lnTo>
                  <a:lnTo>
                    <a:pt x="920353" y="958650"/>
                  </a:lnTo>
                  <a:lnTo>
                    <a:pt x="920516" y="960305"/>
                  </a:lnTo>
                  <a:lnTo>
                    <a:pt x="920046" y="962758"/>
                  </a:lnTo>
                  <a:lnTo>
                    <a:pt x="918840" y="966336"/>
                  </a:lnTo>
                  <a:lnTo>
                    <a:pt x="915399" y="972108"/>
                  </a:lnTo>
                  <a:lnTo>
                    <a:pt x="911708" y="977316"/>
                  </a:lnTo>
                  <a:lnTo>
                    <a:pt x="900888" y="981888"/>
                  </a:lnTo>
                  <a:lnTo>
                    <a:pt x="886842" y="977035"/>
                  </a:lnTo>
                  <a:lnTo>
                    <a:pt x="838418" y="947619"/>
                  </a:lnTo>
                  <a:lnTo>
                    <a:pt x="826182" y="942938"/>
                  </a:lnTo>
                  <a:lnTo>
                    <a:pt x="818505" y="942574"/>
                  </a:lnTo>
                  <a:lnTo>
                    <a:pt x="816883" y="932408"/>
                  </a:lnTo>
                  <a:lnTo>
                    <a:pt x="816043" y="929422"/>
                  </a:lnTo>
                  <a:lnTo>
                    <a:pt x="815409" y="929301"/>
                  </a:lnTo>
                  <a:lnTo>
                    <a:pt x="814089" y="929447"/>
                  </a:lnTo>
                  <a:lnTo>
                    <a:pt x="813561" y="929654"/>
                  </a:lnTo>
                  <a:lnTo>
                    <a:pt x="813296" y="929830"/>
                  </a:lnTo>
                  <a:lnTo>
                    <a:pt x="801479" y="916895"/>
                  </a:lnTo>
                  <a:lnTo>
                    <a:pt x="798740" y="914613"/>
                  </a:lnTo>
                  <a:lnTo>
                    <a:pt x="791205" y="910429"/>
                  </a:lnTo>
                  <a:lnTo>
                    <a:pt x="782787" y="896549"/>
                  </a:lnTo>
                  <a:lnTo>
                    <a:pt x="779792" y="893216"/>
                  </a:lnTo>
                  <a:lnTo>
                    <a:pt x="774208" y="891527"/>
                  </a:lnTo>
                  <a:lnTo>
                    <a:pt x="770525" y="889478"/>
                  </a:lnTo>
                  <a:lnTo>
                    <a:pt x="769373" y="887391"/>
                  </a:lnTo>
                  <a:lnTo>
                    <a:pt x="769014" y="884478"/>
                  </a:lnTo>
                  <a:lnTo>
                    <a:pt x="769081" y="880519"/>
                  </a:lnTo>
                  <a:lnTo>
                    <a:pt x="768572" y="875568"/>
                  </a:lnTo>
                  <a:lnTo>
                    <a:pt x="766340" y="866207"/>
                  </a:lnTo>
                  <a:lnTo>
                    <a:pt x="765928" y="863606"/>
                  </a:lnTo>
                  <a:lnTo>
                    <a:pt x="766041" y="861746"/>
                  </a:lnTo>
                  <a:lnTo>
                    <a:pt x="766834" y="860802"/>
                  </a:lnTo>
                  <a:lnTo>
                    <a:pt x="767731" y="860186"/>
                  </a:lnTo>
                  <a:lnTo>
                    <a:pt x="773792" y="858669"/>
                  </a:lnTo>
                  <a:lnTo>
                    <a:pt x="777219" y="857160"/>
                  </a:lnTo>
                  <a:lnTo>
                    <a:pt x="778116" y="856497"/>
                  </a:lnTo>
                  <a:lnTo>
                    <a:pt x="778803" y="855747"/>
                  </a:lnTo>
                  <a:lnTo>
                    <a:pt x="779121" y="855052"/>
                  </a:lnTo>
                  <a:lnTo>
                    <a:pt x="779388" y="853576"/>
                  </a:lnTo>
                  <a:lnTo>
                    <a:pt x="779729" y="845837"/>
                  </a:lnTo>
                  <a:lnTo>
                    <a:pt x="780435" y="838687"/>
                  </a:lnTo>
                  <a:lnTo>
                    <a:pt x="780915" y="836680"/>
                  </a:lnTo>
                  <a:lnTo>
                    <a:pt x="782028" y="833730"/>
                  </a:lnTo>
                  <a:lnTo>
                    <a:pt x="782454" y="831840"/>
                  </a:lnTo>
                  <a:lnTo>
                    <a:pt x="782993" y="827571"/>
                  </a:lnTo>
                  <a:lnTo>
                    <a:pt x="782580" y="825192"/>
                  </a:lnTo>
                  <a:lnTo>
                    <a:pt x="781690" y="823800"/>
                  </a:lnTo>
                  <a:lnTo>
                    <a:pt x="780221" y="822880"/>
                  </a:lnTo>
                  <a:lnTo>
                    <a:pt x="778386" y="821190"/>
                  </a:lnTo>
                  <a:lnTo>
                    <a:pt x="777608" y="817938"/>
                  </a:lnTo>
                  <a:lnTo>
                    <a:pt x="777515" y="814215"/>
                  </a:lnTo>
                  <a:lnTo>
                    <a:pt x="777157" y="811140"/>
                  </a:lnTo>
                  <a:lnTo>
                    <a:pt x="776948" y="810873"/>
                  </a:lnTo>
                  <a:lnTo>
                    <a:pt x="764931" y="801791"/>
                  </a:lnTo>
                  <a:lnTo>
                    <a:pt x="763835" y="799807"/>
                  </a:lnTo>
                  <a:lnTo>
                    <a:pt x="763420" y="798416"/>
                  </a:lnTo>
                  <a:lnTo>
                    <a:pt x="763794" y="796793"/>
                  </a:lnTo>
                  <a:lnTo>
                    <a:pt x="765173" y="793238"/>
                  </a:lnTo>
                  <a:lnTo>
                    <a:pt x="768576" y="786380"/>
                  </a:lnTo>
                  <a:lnTo>
                    <a:pt x="772426" y="780927"/>
                  </a:lnTo>
                  <a:lnTo>
                    <a:pt x="773009" y="779481"/>
                  </a:lnTo>
                  <a:lnTo>
                    <a:pt x="773700" y="776722"/>
                  </a:lnTo>
                  <a:lnTo>
                    <a:pt x="773338" y="775258"/>
                  </a:lnTo>
                  <a:lnTo>
                    <a:pt x="772711" y="774414"/>
                  </a:lnTo>
                  <a:lnTo>
                    <a:pt x="771192" y="773863"/>
                  </a:lnTo>
                  <a:lnTo>
                    <a:pt x="769356" y="773709"/>
                  </a:lnTo>
                  <a:lnTo>
                    <a:pt x="767623" y="774027"/>
                  </a:lnTo>
                  <a:lnTo>
                    <a:pt x="765661" y="775113"/>
                  </a:lnTo>
                  <a:lnTo>
                    <a:pt x="759709" y="780615"/>
                  </a:lnTo>
                  <a:lnTo>
                    <a:pt x="757816" y="781731"/>
                  </a:lnTo>
                  <a:lnTo>
                    <a:pt x="755873" y="781930"/>
                  </a:lnTo>
                  <a:lnTo>
                    <a:pt x="739185" y="777927"/>
                  </a:lnTo>
                  <a:lnTo>
                    <a:pt x="738292" y="777982"/>
                  </a:lnTo>
                  <a:lnTo>
                    <a:pt x="737766" y="778186"/>
                  </a:lnTo>
                  <a:lnTo>
                    <a:pt x="736977" y="778656"/>
                  </a:lnTo>
                  <a:lnTo>
                    <a:pt x="735500" y="780097"/>
                  </a:lnTo>
                  <a:lnTo>
                    <a:pt x="734178" y="782069"/>
                  </a:lnTo>
                  <a:lnTo>
                    <a:pt x="729674" y="800396"/>
                  </a:lnTo>
                  <a:lnTo>
                    <a:pt x="727985" y="802012"/>
                  </a:lnTo>
                  <a:lnTo>
                    <a:pt x="725279" y="803771"/>
                  </a:lnTo>
                  <a:lnTo>
                    <a:pt x="720818" y="802949"/>
                  </a:lnTo>
                  <a:lnTo>
                    <a:pt x="718717" y="802922"/>
                  </a:lnTo>
                  <a:lnTo>
                    <a:pt x="716351" y="803351"/>
                  </a:lnTo>
                  <a:lnTo>
                    <a:pt x="712192" y="804761"/>
                  </a:lnTo>
                  <a:lnTo>
                    <a:pt x="710346" y="806080"/>
                  </a:lnTo>
                  <a:lnTo>
                    <a:pt x="708809" y="808287"/>
                  </a:lnTo>
                  <a:lnTo>
                    <a:pt x="705479" y="817057"/>
                  </a:lnTo>
                  <a:lnTo>
                    <a:pt x="704050" y="818689"/>
                  </a:lnTo>
                  <a:lnTo>
                    <a:pt x="702152" y="819637"/>
                  </a:lnTo>
                  <a:lnTo>
                    <a:pt x="700837" y="819718"/>
                  </a:lnTo>
                  <a:lnTo>
                    <a:pt x="691495" y="817575"/>
                  </a:lnTo>
                  <a:lnTo>
                    <a:pt x="682838" y="820203"/>
                  </a:lnTo>
                  <a:lnTo>
                    <a:pt x="649135" y="847632"/>
                  </a:lnTo>
                  <a:lnTo>
                    <a:pt x="644853" y="849958"/>
                  </a:lnTo>
                  <a:lnTo>
                    <a:pt x="643646" y="849505"/>
                  </a:lnTo>
                  <a:lnTo>
                    <a:pt x="642965" y="849087"/>
                  </a:lnTo>
                  <a:lnTo>
                    <a:pt x="642495" y="848697"/>
                  </a:lnTo>
                  <a:lnTo>
                    <a:pt x="642130" y="848223"/>
                  </a:lnTo>
                  <a:lnTo>
                    <a:pt x="641768" y="847629"/>
                  </a:lnTo>
                  <a:lnTo>
                    <a:pt x="641514" y="846534"/>
                  </a:lnTo>
                  <a:lnTo>
                    <a:pt x="641634" y="844907"/>
                  </a:lnTo>
                  <a:lnTo>
                    <a:pt x="642025" y="842282"/>
                  </a:lnTo>
                  <a:lnTo>
                    <a:pt x="643067" y="837386"/>
                  </a:lnTo>
                  <a:lnTo>
                    <a:pt x="642924" y="835790"/>
                  </a:lnTo>
                  <a:lnTo>
                    <a:pt x="641882" y="834627"/>
                  </a:lnTo>
                  <a:lnTo>
                    <a:pt x="639111" y="832684"/>
                  </a:lnTo>
                  <a:lnTo>
                    <a:pt x="638382" y="831879"/>
                  </a:lnTo>
                  <a:lnTo>
                    <a:pt x="635557" y="830170"/>
                  </a:lnTo>
                  <a:lnTo>
                    <a:pt x="631605" y="829101"/>
                  </a:lnTo>
                  <a:lnTo>
                    <a:pt x="629977" y="828907"/>
                  </a:lnTo>
                  <a:lnTo>
                    <a:pt x="628870" y="829193"/>
                  </a:lnTo>
                  <a:lnTo>
                    <a:pt x="628223" y="830841"/>
                  </a:lnTo>
                  <a:lnTo>
                    <a:pt x="627657" y="835076"/>
                  </a:lnTo>
                  <a:lnTo>
                    <a:pt x="627067" y="836386"/>
                  </a:lnTo>
                  <a:lnTo>
                    <a:pt x="626002" y="837735"/>
                  </a:lnTo>
                  <a:lnTo>
                    <a:pt x="624621" y="839081"/>
                  </a:lnTo>
                  <a:lnTo>
                    <a:pt x="623875" y="840095"/>
                  </a:lnTo>
                  <a:lnTo>
                    <a:pt x="623442" y="841317"/>
                  </a:lnTo>
                  <a:lnTo>
                    <a:pt x="623056" y="843145"/>
                  </a:lnTo>
                  <a:lnTo>
                    <a:pt x="622652" y="846952"/>
                  </a:lnTo>
                  <a:lnTo>
                    <a:pt x="622039" y="850403"/>
                  </a:lnTo>
                  <a:lnTo>
                    <a:pt x="619214" y="861370"/>
                  </a:lnTo>
                  <a:lnTo>
                    <a:pt x="619188" y="861470"/>
                  </a:lnTo>
                  <a:lnTo>
                    <a:pt x="602763" y="859399"/>
                  </a:lnTo>
                  <a:lnTo>
                    <a:pt x="590380" y="854290"/>
                  </a:lnTo>
                  <a:lnTo>
                    <a:pt x="566087" y="838103"/>
                  </a:lnTo>
                  <a:lnTo>
                    <a:pt x="555087" y="825314"/>
                  </a:lnTo>
                  <a:lnTo>
                    <a:pt x="551341" y="807028"/>
                  </a:lnTo>
                  <a:lnTo>
                    <a:pt x="550545" y="791429"/>
                  </a:lnTo>
                  <a:lnTo>
                    <a:pt x="549347" y="781456"/>
                  </a:lnTo>
                  <a:lnTo>
                    <a:pt x="545999" y="778295"/>
                  </a:lnTo>
                  <a:lnTo>
                    <a:pt x="530224" y="769206"/>
                  </a:lnTo>
                  <a:lnTo>
                    <a:pt x="525155" y="767275"/>
                  </a:lnTo>
                  <a:lnTo>
                    <a:pt x="517001" y="759580"/>
                  </a:lnTo>
                  <a:lnTo>
                    <a:pt x="509347" y="742279"/>
                  </a:lnTo>
                  <a:lnTo>
                    <a:pt x="504280" y="723758"/>
                  </a:lnTo>
                  <a:lnTo>
                    <a:pt x="503952" y="712327"/>
                  </a:lnTo>
                  <a:lnTo>
                    <a:pt x="491718" y="707263"/>
                  </a:lnTo>
                  <a:lnTo>
                    <a:pt x="470701" y="688446"/>
                  </a:lnTo>
                  <a:lnTo>
                    <a:pt x="458096" y="680427"/>
                  </a:lnTo>
                  <a:lnTo>
                    <a:pt x="445554" y="677243"/>
                  </a:lnTo>
                  <a:lnTo>
                    <a:pt x="402753" y="675514"/>
                  </a:lnTo>
                  <a:lnTo>
                    <a:pt x="390059" y="669319"/>
                  </a:lnTo>
                  <a:lnTo>
                    <a:pt x="381524" y="666736"/>
                  </a:lnTo>
                  <a:lnTo>
                    <a:pt x="377552" y="669172"/>
                  </a:lnTo>
                  <a:lnTo>
                    <a:pt x="373898" y="674964"/>
                  </a:lnTo>
                  <a:lnTo>
                    <a:pt x="366134" y="672204"/>
                  </a:lnTo>
                  <a:lnTo>
                    <a:pt x="354475" y="662894"/>
                  </a:lnTo>
                  <a:lnTo>
                    <a:pt x="343506" y="648659"/>
                  </a:lnTo>
                  <a:lnTo>
                    <a:pt x="316941" y="591450"/>
                  </a:lnTo>
                  <a:lnTo>
                    <a:pt x="330001" y="585731"/>
                  </a:lnTo>
                  <a:lnTo>
                    <a:pt x="336324" y="585377"/>
                  </a:lnTo>
                  <a:lnTo>
                    <a:pt x="344311" y="587780"/>
                  </a:lnTo>
                  <a:lnTo>
                    <a:pt x="357325" y="596962"/>
                  </a:lnTo>
                  <a:lnTo>
                    <a:pt x="364494" y="599526"/>
                  </a:lnTo>
                  <a:lnTo>
                    <a:pt x="371919" y="596160"/>
                  </a:lnTo>
                  <a:lnTo>
                    <a:pt x="374615" y="589954"/>
                  </a:lnTo>
                  <a:lnTo>
                    <a:pt x="377574" y="578680"/>
                  </a:lnTo>
                  <a:lnTo>
                    <a:pt x="379675" y="566460"/>
                  </a:lnTo>
                  <a:lnTo>
                    <a:pt x="379769" y="557620"/>
                  </a:lnTo>
                  <a:lnTo>
                    <a:pt x="375984" y="551683"/>
                  </a:lnTo>
                  <a:lnTo>
                    <a:pt x="369875" y="545999"/>
                  </a:lnTo>
                  <a:lnTo>
                    <a:pt x="365411" y="540070"/>
                  </a:lnTo>
                  <a:lnTo>
                    <a:pt x="366499" y="533576"/>
                  </a:lnTo>
                  <a:lnTo>
                    <a:pt x="366572" y="530018"/>
                  </a:lnTo>
                  <a:lnTo>
                    <a:pt x="358445" y="527340"/>
                  </a:lnTo>
                  <a:lnTo>
                    <a:pt x="346705" y="529262"/>
                  </a:lnTo>
                  <a:lnTo>
                    <a:pt x="335685" y="534335"/>
                  </a:lnTo>
                  <a:lnTo>
                    <a:pt x="329510" y="540973"/>
                  </a:lnTo>
                  <a:lnTo>
                    <a:pt x="327246" y="540925"/>
                  </a:lnTo>
                  <a:lnTo>
                    <a:pt x="318441" y="524746"/>
                  </a:lnTo>
                  <a:lnTo>
                    <a:pt x="312818" y="511777"/>
                  </a:lnTo>
                  <a:lnTo>
                    <a:pt x="311928" y="508965"/>
                  </a:lnTo>
                  <a:lnTo>
                    <a:pt x="314912" y="497583"/>
                  </a:lnTo>
                  <a:lnTo>
                    <a:pt x="320252" y="487836"/>
                  </a:lnTo>
                  <a:lnTo>
                    <a:pt x="323937" y="478888"/>
                  </a:lnTo>
                  <a:lnTo>
                    <a:pt x="321764" y="470161"/>
                  </a:lnTo>
                  <a:lnTo>
                    <a:pt x="321852" y="466254"/>
                  </a:lnTo>
                  <a:lnTo>
                    <a:pt x="326028" y="463204"/>
                  </a:lnTo>
                  <a:lnTo>
                    <a:pt x="340254" y="459415"/>
                  </a:lnTo>
                  <a:lnTo>
                    <a:pt x="346028" y="458979"/>
                  </a:lnTo>
                  <a:lnTo>
                    <a:pt x="349623" y="456168"/>
                  </a:lnTo>
                  <a:lnTo>
                    <a:pt x="354937" y="449158"/>
                  </a:lnTo>
                  <a:lnTo>
                    <a:pt x="360343" y="440195"/>
                  </a:lnTo>
                  <a:lnTo>
                    <a:pt x="363862" y="431659"/>
                  </a:lnTo>
                  <a:lnTo>
                    <a:pt x="356201" y="432990"/>
                  </a:lnTo>
                  <a:lnTo>
                    <a:pt x="343394" y="443682"/>
                  </a:lnTo>
                  <a:lnTo>
                    <a:pt x="336153" y="446717"/>
                  </a:lnTo>
                  <a:lnTo>
                    <a:pt x="336846" y="444823"/>
                  </a:lnTo>
                  <a:lnTo>
                    <a:pt x="337886" y="440773"/>
                  </a:lnTo>
                  <a:lnTo>
                    <a:pt x="338605" y="438952"/>
                  </a:lnTo>
                  <a:lnTo>
                    <a:pt x="328448" y="439942"/>
                  </a:lnTo>
                  <a:lnTo>
                    <a:pt x="310915" y="444930"/>
                  </a:lnTo>
                  <a:lnTo>
                    <a:pt x="300618" y="445931"/>
                  </a:lnTo>
                  <a:lnTo>
                    <a:pt x="288741" y="443584"/>
                  </a:lnTo>
                  <a:lnTo>
                    <a:pt x="283530" y="445534"/>
                  </a:lnTo>
                  <a:lnTo>
                    <a:pt x="272155" y="456014"/>
                  </a:lnTo>
                  <a:lnTo>
                    <a:pt x="268210" y="457222"/>
                  </a:lnTo>
                  <a:lnTo>
                    <a:pt x="259403" y="453772"/>
                  </a:lnTo>
                  <a:lnTo>
                    <a:pt x="250114" y="444816"/>
                  </a:lnTo>
                  <a:lnTo>
                    <a:pt x="243538" y="432085"/>
                  </a:lnTo>
                  <a:lnTo>
                    <a:pt x="242971" y="417201"/>
                  </a:lnTo>
                  <a:lnTo>
                    <a:pt x="247843" y="411437"/>
                  </a:lnTo>
                  <a:lnTo>
                    <a:pt x="257063" y="407500"/>
                  </a:lnTo>
                  <a:lnTo>
                    <a:pt x="267339" y="405682"/>
                  </a:lnTo>
                  <a:lnTo>
                    <a:pt x="275168" y="406265"/>
                  </a:lnTo>
                  <a:lnTo>
                    <a:pt x="275263" y="402358"/>
                  </a:lnTo>
                  <a:lnTo>
                    <a:pt x="269306" y="400797"/>
                  </a:lnTo>
                  <a:lnTo>
                    <a:pt x="264832" y="396312"/>
                  </a:lnTo>
                  <a:lnTo>
                    <a:pt x="260475" y="394809"/>
                  </a:lnTo>
                  <a:lnTo>
                    <a:pt x="255007" y="401865"/>
                  </a:lnTo>
                  <a:lnTo>
                    <a:pt x="252320" y="395515"/>
                  </a:lnTo>
                  <a:lnTo>
                    <a:pt x="253460" y="389099"/>
                  </a:lnTo>
                  <a:lnTo>
                    <a:pt x="256701" y="383198"/>
                  </a:lnTo>
                  <a:lnTo>
                    <a:pt x="260152" y="378560"/>
                  </a:lnTo>
                  <a:lnTo>
                    <a:pt x="267170" y="381919"/>
                  </a:lnTo>
                  <a:lnTo>
                    <a:pt x="294331" y="375143"/>
                  </a:lnTo>
                  <a:lnTo>
                    <a:pt x="330898" y="375963"/>
                  </a:lnTo>
                  <a:lnTo>
                    <a:pt x="339399" y="373864"/>
                  </a:lnTo>
                  <a:lnTo>
                    <a:pt x="346536" y="369596"/>
                  </a:lnTo>
                  <a:lnTo>
                    <a:pt x="360851" y="357421"/>
                  </a:lnTo>
                  <a:lnTo>
                    <a:pt x="373810" y="351331"/>
                  </a:lnTo>
                  <a:lnTo>
                    <a:pt x="379443" y="347185"/>
                  </a:lnTo>
                  <a:lnTo>
                    <a:pt x="381874" y="337949"/>
                  </a:lnTo>
                  <a:lnTo>
                    <a:pt x="382179" y="324114"/>
                  </a:lnTo>
                  <a:lnTo>
                    <a:pt x="373988" y="310830"/>
                  </a:lnTo>
                  <a:lnTo>
                    <a:pt x="347528" y="280923"/>
                  </a:lnTo>
                  <a:lnTo>
                    <a:pt x="343802" y="274772"/>
                  </a:lnTo>
                  <a:lnTo>
                    <a:pt x="342316" y="268668"/>
                  </a:lnTo>
                  <a:lnTo>
                    <a:pt x="339328" y="265952"/>
                  </a:lnTo>
                  <a:lnTo>
                    <a:pt x="332502" y="266014"/>
                  </a:lnTo>
                  <a:lnTo>
                    <a:pt x="325475" y="267838"/>
                  </a:lnTo>
                  <a:lnTo>
                    <a:pt x="321695" y="270361"/>
                  </a:lnTo>
                  <a:lnTo>
                    <a:pt x="319527" y="266031"/>
                  </a:lnTo>
                  <a:lnTo>
                    <a:pt x="331052" y="258468"/>
                  </a:lnTo>
                  <a:lnTo>
                    <a:pt x="320199" y="227144"/>
                  </a:lnTo>
                  <a:lnTo>
                    <a:pt x="316102" y="219095"/>
                  </a:lnTo>
                  <a:lnTo>
                    <a:pt x="306743" y="212928"/>
                  </a:lnTo>
                  <a:lnTo>
                    <a:pt x="289262" y="196769"/>
                  </a:lnTo>
                  <a:lnTo>
                    <a:pt x="278191" y="190921"/>
                  </a:lnTo>
                  <a:lnTo>
                    <a:pt x="278288" y="186993"/>
                  </a:lnTo>
                  <a:lnTo>
                    <a:pt x="280396" y="176713"/>
                  </a:lnTo>
                  <a:lnTo>
                    <a:pt x="276387" y="164981"/>
                  </a:lnTo>
                  <a:lnTo>
                    <a:pt x="270257" y="153385"/>
                  </a:lnTo>
                  <a:lnTo>
                    <a:pt x="266079" y="143418"/>
                  </a:lnTo>
                  <a:lnTo>
                    <a:pt x="264583" y="128327"/>
                  </a:lnTo>
                  <a:lnTo>
                    <a:pt x="266393" y="115109"/>
                  </a:lnTo>
                  <a:lnTo>
                    <a:pt x="271281" y="98689"/>
                  </a:lnTo>
                  <a:lnTo>
                    <a:pt x="282726" y="102581"/>
                  </a:lnTo>
                  <a:lnTo>
                    <a:pt x="294852" y="103401"/>
                  </a:lnTo>
                  <a:lnTo>
                    <a:pt x="317456" y="95471"/>
                  </a:lnTo>
                  <a:close/>
                  <a:moveTo>
                    <a:pt x="193447" y="0"/>
                  </a:moveTo>
                  <a:lnTo>
                    <a:pt x="208806" y="8799"/>
                  </a:lnTo>
                  <a:lnTo>
                    <a:pt x="188776" y="9338"/>
                  </a:lnTo>
                  <a:lnTo>
                    <a:pt x="186135" y="12080"/>
                  </a:lnTo>
                  <a:lnTo>
                    <a:pt x="195175" y="13286"/>
                  </a:lnTo>
                  <a:lnTo>
                    <a:pt x="197672" y="20314"/>
                  </a:lnTo>
                  <a:lnTo>
                    <a:pt x="194540" y="28091"/>
                  </a:lnTo>
                  <a:lnTo>
                    <a:pt x="180977" y="35250"/>
                  </a:lnTo>
                  <a:lnTo>
                    <a:pt x="174511" y="44373"/>
                  </a:lnTo>
                  <a:lnTo>
                    <a:pt x="170754" y="55736"/>
                  </a:lnTo>
                  <a:lnTo>
                    <a:pt x="173328" y="66420"/>
                  </a:lnTo>
                  <a:lnTo>
                    <a:pt x="170807" y="86616"/>
                  </a:lnTo>
                  <a:lnTo>
                    <a:pt x="181631" y="97511"/>
                  </a:lnTo>
                  <a:lnTo>
                    <a:pt x="197365" y="101929"/>
                  </a:lnTo>
                  <a:lnTo>
                    <a:pt x="269155" y="100170"/>
                  </a:lnTo>
                  <a:lnTo>
                    <a:pt x="260742" y="106523"/>
                  </a:lnTo>
                  <a:lnTo>
                    <a:pt x="219676" y="103161"/>
                  </a:lnTo>
                  <a:lnTo>
                    <a:pt x="214458" y="105814"/>
                  </a:lnTo>
                  <a:lnTo>
                    <a:pt x="205182" y="112708"/>
                  </a:lnTo>
                  <a:lnTo>
                    <a:pt x="200159" y="114012"/>
                  </a:lnTo>
                  <a:lnTo>
                    <a:pt x="177472" y="113379"/>
                  </a:lnTo>
                  <a:lnTo>
                    <a:pt x="175362" y="112202"/>
                  </a:lnTo>
                  <a:lnTo>
                    <a:pt x="172669" y="107147"/>
                  </a:lnTo>
                  <a:lnTo>
                    <a:pt x="169924" y="105694"/>
                  </a:lnTo>
                  <a:lnTo>
                    <a:pt x="166761" y="105743"/>
                  </a:lnTo>
                  <a:lnTo>
                    <a:pt x="164593" y="106542"/>
                  </a:lnTo>
                  <a:lnTo>
                    <a:pt x="154422" y="113226"/>
                  </a:lnTo>
                  <a:lnTo>
                    <a:pt x="152687" y="114757"/>
                  </a:lnTo>
                  <a:lnTo>
                    <a:pt x="151676" y="118916"/>
                  </a:lnTo>
                  <a:lnTo>
                    <a:pt x="150854" y="130155"/>
                  </a:lnTo>
                  <a:lnTo>
                    <a:pt x="149819" y="132452"/>
                  </a:lnTo>
                  <a:lnTo>
                    <a:pt x="150002" y="163686"/>
                  </a:lnTo>
                  <a:lnTo>
                    <a:pt x="148835" y="173844"/>
                  </a:lnTo>
                  <a:lnTo>
                    <a:pt x="146932" y="181676"/>
                  </a:lnTo>
                  <a:lnTo>
                    <a:pt x="144812" y="183289"/>
                  </a:lnTo>
                  <a:lnTo>
                    <a:pt x="142881" y="175203"/>
                  </a:lnTo>
                  <a:lnTo>
                    <a:pt x="143072" y="160129"/>
                  </a:lnTo>
                  <a:lnTo>
                    <a:pt x="148765" y="98236"/>
                  </a:lnTo>
                  <a:lnTo>
                    <a:pt x="152237" y="86192"/>
                  </a:lnTo>
                  <a:lnTo>
                    <a:pt x="179160" y="16955"/>
                  </a:lnTo>
                  <a:close/>
                </a:path>
              </a:pathLst>
            </a:custGeom>
            <a:solidFill>
              <a:srgbClr val="BFBFBF"/>
            </a:solidFill>
            <a:ln w="6350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Freeform 28">
              <a:extLst>
                <a:ext uri="{FF2B5EF4-FFF2-40B4-BE49-F238E27FC236}">
                  <a16:creationId xmlns:a16="http://schemas.microsoft.com/office/drawing/2014/main" id="{02294D02-0F85-CEDD-E88A-C2285B8CDF1E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2982325" y="4055433"/>
              <a:ext cx="874299" cy="1133426"/>
            </a:xfrm>
            <a:custGeom>
              <a:avLst/>
              <a:gdLst/>
              <a:ahLst/>
              <a:cxnLst/>
              <a:rect l="0" t="0" r="0" b="0"/>
              <a:pathLst>
                <a:path w="874299" h="1133426">
                  <a:moveTo>
                    <a:pt x="692215" y="59313"/>
                  </a:moveTo>
                  <a:lnTo>
                    <a:pt x="693671" y="59331"/>
                  </a:lnTo>
                  <a:lnTo>
                    <a:pt x="694630" y="59113"/>
                  </a:lnTo>
                  <a:lnTo>
                    <a:pt x="699359" y="56773"/>
                  </a:lnTo>
                  <a:lnTo>
                    <a:pt x="700376" y="56512"/>
                  </a:lnTo>
                  <a:lnTo>
                    <a:pt x="701384" y="56515"/>
                  </a:lnTo>
                  <a:lnTo>
                    <a:pt x="702327" y="56800"/>
                  </a:lnTo>
                  <a:lnTo>
                    <a:pt x="703373" y="59038"/>
                  </a:lnTo>
                  <a:lnTo>
                    <a:pt x="704430" y="62621"/>
                  </a:lnTo>
                  <a:lnTo>
                    <a:pt x="706133" y="72067"/>
                  </a:lnTo>
                  <a:lnTo>
                    <a:pt x="706604" y="76416"/>
                  </a:lnTo>
                  <a:lnTo>
                    <a:pt x="706387" y="81259"/>
                  </a:lnTo>
                  <a:lnTo>
                    <a:pt x="705311" y="86648"/>
                  </a:lnTo>
                  <a:lnTo>
                    <a:pt x="704896" y="90701"/>
                  </a:lnTo>
                  <a:lnTo>
                    <a:pt x="705036" y="93220"/>
                  </a:lnTo>
                  <a:lnTo>
                    <a:pt x="708516" y="100521"/>
                  </a:lnTo>
                  <a:lnTo>
                    <a:pt x="723165" y="121025"/>
                  </a:lnTo>
                  <a:lnTo>
                    <a:pt x="728841" y="131884"/>
                  </a:lnTo>
                  <a:lnTo>
                    <a:pt x="729509" y="133827"/>
                  </a:lnTo>
                  <a:lnTo>
                    <a:pt x="730196" y="136925"/>
                  </a:lnTo>
                  <a:lnTo>
                    <a:pt x="730671" y="141348"/>
                  </a:lnTo>
                  <a:lnTo>
                    <a:pt x="731703" y="142444"/>
                  </a:lnTo>
                  <a:lnTo>
                    <a:pt x="733621" y="142239"/>
                  </a:lnTo>
                  <a:lnTo>
                    <a:pt x="742791" y="138364"/>
                  </a:lnTo>
                  <a:lnTo>
                    <a:pt x="744986" y="138242"/>
                  </a:lnTo>
                  <a:lnTo>
                    <a:pt x="749008" y="139568"/>
                  </a:lnTo>
                  <a:lnTo>
                    <a:pt x="758859" y="146175"/>
                  </a:lnTo>
                  <a:lnTo>
                    <a:pt x="757103" y="155642"/>
                  </a:lnTo>
                  <a:lnTo>
                    <a:pt x="755587" y="159174"/>
                  </a:lnTo>
                  <a:lnTo>
                    <a:pt x="753915" y="162285"/>
                  </a:lnTo>
                  <a:lnTo>
                    <a:pt x="753300" y="163966"/>
                  </a:lnTo>
                  <a:lnTo>
                    <a:pt x="753026" y="165540"/>
                  </a:lnTo>
                  <a:lnTo>
                    <a:pt x="753514" y="167891"/>
                  </a:lnTo>
                  <a:lnTo>
                    <a:pt x="758175" y="178977"/>
                  </a:lnTo>
                  <a:lnTo>
                    <a:pt x="759868" y="184264"/>
                  </a:lnTo>
                  <a:lnTo>
                    <a:pt x="760841" y="192810"/>
                  </a:lnTo>
                  <a:lnTo>
                    <a:pt x="762148" y="196044"/>
                  </a:lnTo>
                  <a:lnTo>
                    <a:pt x="763103" y="197938"/>
                  </a:lnTo>
                  <a:lnTo>
                    <a:pt x="766331" y="199753"/>
                  </a:lnTo>
                  <a:lnTo>
                    <a:pt x="766739" y="201170"/>
                  </a:lnTo>
                  <a:lnTo>
                    <a:pt x="767762" y="202666"/>
                  </a:lnTo>
                  <a:lnTo>
                    <a:pt x="763986" y="211891"/>
                  </a:lnTo>
                  <a:lnTo>
                    <a:pt x="757877" y="226605"/>
                  </a:lnTo>
                  <a:lnTo>
                    <a:pt x="757337" y="227654"/>
                  </a:lnTo>
                  <a:lnTo>
                    <a:pt x="756391" y="229058"/>
                  </a:lnTo>
                  <a:lnTo>
                    <a:pt x="754765" y="230588"/>
                  </a:lnTo>
                  <a:lnTo>
                    <a:pt x="748886" y="234706"/>
                  </a:lnTo>
                  <a:lnTo>
                    <a:pt x="747223" y="235585"/>
                  </a:lnTo>
                  <a:lnTo>
                    <a:pt x="746142" y="235907"/>
                  </a:lnTo>
                  <a:lnTo>
                    <a:pt x="744846" y="235866"/>
                  </a:lnTo>
                  <a:lnTo>
                    <a:pt x="741127" y="235185"/>
                  </a:lnTo>
                  <a:lnTo>
                    <a:pt x="740020" y="234514"/>
                  </a:lnTo>
                  <a:lnTo>
                    <a:pt x="739035" y="233596"/>
                  </a:lnTo>
                  <a:lnTo>
                    <a:pt x="733098" y="225288"/>
                  </a:lnTo>
                  <a:lnTo>
                    <a:pt x="731887" y="224363"/>
                  </a:lnTo>
                  <a:lnTo>
                    <a:pt x="730322" y="223988"/>
                  </a:lnTo>
                  <a:lnTo>
                    <a:pt x="726766" y="224139"/>
                  </a:lnTo>
                  <a:lnTo>
                    <a:pt x="722627" y="224891"/>
                  </a:lnTo>
                  <a:lnTo>
                    <a:pt x="720527" y="226479"/>
                  </a:lnTo>
                  <a:lnTo>
                    <a:pt x="718655" y="228577"/>
                  </a:lnTo>
                  <a:lnTo>
                    <a:pt x="714876" y="233804"/>
                  </a:lnTo>
                  <a:lnTo>
                    <a:pt x="712664" y="235936"/>
                  </a:lnTo>
                  <a:lnTo>
                    <a:pt x="710476" y="237327"/>
                  </a:lnTo>
                  <a:lnTo>
                    <a:pt x="708705" y="238008"/>
                  </a:lnTo>
                  <a:lnTo>
                    <a:pt x="708005" y="240426"/>
                  </a:lnTo>
                  <a:lnTo>
                    <a:pt x="706960" y="244766"/>
                  </a:lnTo>
                  <a:lnTo>
                    <a:pt x="705493" y="263599"/>
                  </a:lnTo>
                  <a:lnTo>
                    <a:pt x="705577" y="264489"/>
                  </a:lnTo>
                  <a:lnTo>
                    <a:pt x="705593" y="265703"/>
                  </a:lnTo>
                  <a:lnTo>
                    <a:pt x="705814" y="269288"/>
                  </a:lnTo>
                  <a:lnTo>
                    <a:pt x="706175" y="270335"/>
                  </a:lnTo>
                  <a:lnTo>
                    <a:pt x="706820" y="271304"/>
                  </a:lnTo>
                  <a:lnTo>
                    <a:pt x="707804" y="272297"/>
                  </a:lnTo>
                  <a:lnTo>
                    <a:pt x="708960" y="273221"/>
                  </a:lnTo>
                  <a:lnTo>
                    <a:pt x="712284" y="275179"/>
                  </a:lnTo>
                  <a:lnTo>
                    <a:pt x="712828" y="275817"/>
                  </a:lnTo>
                  <a:lnTo>
                    <a:pt x="712455" y="276870"/>
                  </a:lnTo>
                  <a:lnTo>
                    <a:pt x="711386" y="278461"/>
                  </a:lnTo>
                  <a:lnTo>
                    <a:pt x="705728" y="283924"/>
                  </a:lnTo>
                  <a:lnTo>
                    <a:pt x="704050" y="288540"/>
                  </a:lnTo>
                  <a:lnTo>
                    <a:pt x="702491" y="294699"/>
                  </a:lnTo>
                  <a:lnTo>
                    <a:pt x="700506" y="300045"/>
                  </a:lnTo>
                  <a:lnTo>
                    <a:pt x="695842" y="303733"/>
                  </a:lnTo>
                  <a:lnTo>
                    <a:pt x="695128" y="306504"/>
                  </a:lnTo>
                  <a:lnTo>
                    <a:pt x="695883" y="307607"/>
                  </a:lnTo>
                  <a:lnTo>
                    <a:pt x="697472" y="309141"/>
                  </a:lnTo>
                  <a:lnTo>
                    <a:pt x="712731" y="313458"/>
                  </a:lnTo>
                  <a:lnTo>
                    <a:pt x="713958" y="313988"/>
                  </a:lnTo>
                  <a:lnTo>
                    <a:pt x="714994" y="315159"/>
                  </a:lnTo>
                  <a:lnTo>
                    <a:pt x="715032" y="317467"/>
                  </a:lnTo>
                  <a:lnTo>
                    <a:pt x="715366" y="319401"/>
                  </a:lnTo>
                  <a:lnTo>
                    <a:pt x="716060" y="320664"/>
                  </a:lnTo>
                  <a:lnTo>
                    <a:pt x="722308" y="323973"/>
                  </a:lnTo>
                  <a:lnTo>
                    <a:pt x="724076" y="327047"/>
                  </a:lnTo>
                  <a:lnTo>
                    <a:pt x="730359" y="342950"/>
                  </a:lnTo>
                  <a:lnTo>
                    <a:pt x="732697" y="347756"/>
                  </a:lnTo>
                  <a:lnTo>
                    <a:pt x="736027" y="351662"/>
                  </a:lnTo>
                  <a:lnTo>
                    <a:pt x="739328" y="353557"/>
                  </a:lnTo>
                  <a:lnTo>
                    <a:pt x="740044" y="354200"/>
                  </a:lnTo>
                  <a:lnTo>
                    <a:pt x="742326" y="359063"/>
                  </a:lnTo>
                  <a:lnTo>
                    <a:pt x="746061" y="373699"/>
                  </a:lnTo>
                  <a:lnTo>
                    <a:pt x="747103" y="376630"/>
                  </a:lnTo>
                  <a:lnTo>
                    <a:pt x="747337" y="378205"/>
                  </a:lnTo>
                  <a:lnTo>
                    <a:pt x="747274" y="380213"/>
                  </a:lnTo>
                  <a:lnTo>
                    <a:pt x="746999" y="381772"/>
                  </a:lnTo>
                  <a:lnTo>
                    <a:pt x="746384" y="383320"/>
                  </a:lnTo>
                  <a:lnTo>
                    <a:pt x="745276" y="384289"/>
                  </a:lnTo>
                  <a:lnTo>
                    <a:pt x="743306" y="385648"/>
                  </a:lnTo>
                  <a:lnTo>
                    <a:pt x="737349" y="386968"/>
                  </a:lnTo>
                  <a:lnTo>
                    <a:pt x="718962" y="385638"/>
                  </a:lnTo>
                  <a:lnTo>
                    <a:pt x="717462" y="386447"/>
                  </a:lnTo>
                  <a:lnTo>
                    <a:pt x="716141" y="388117"/>
                  </a:lnTo>
                  <a:lnTo>
                    <a:pt x="714537" y="392147"/>
                  </a:lnTo>
                  <a:lnTo>
                    <a:pt x="714189" y="394131"/>
                  </a:lnTo>
                  <a:lnTo>
                    <a:pt x="714199" y="395565"/>
                  </a:lnTo>
                  <a:lnTo>
                    <a:pt x="717370" y="399838"/>
                  </a:lnTo>
                  <a:lnTo>
                    <a:pt x="717673" y="401003"/>
                  </a:lnTo>
                  <a:lnTo>
                    <a:pt x="717058" y="402460"/>
                  </a:lnTo>
                  <a:lnTo>
                    <a:pt x="712639" y="408688"/>
                  </a:lnTo>
                  <a:lnTo>
                    <a:pt x="711304" y="411352"/>
                  </a:lnTo>
                  <a:lnTo>
                    <a:pt x="709791" y="412499"/>
                  </a:lnTo>
                  <a:lnTo>
                    <a:pt x="707189" y="412236"/>
                  </a:lnTo>
                  <a:lnTo>
                    <a:pt x="705521" y="411162"/>
                  </a:lnTo>
                  <a:lnTo>
                    <a:pt x="704144" y="409875"/>
                  </a:lnTo>
                  <a:lnTo>
                    <a:pt x="702843" y="408014"/>
                  </a:lnTo>
                  <a:lnTo>
                    <a:pt x="700926" y="405894"/>
                  </a:lnTo>
                  <a:lnTo>
                    <a:pt x="699983" y="405243"/>
                  </a:lnTo>
                  <a:lnTo>
                    <a:pt x="699140" y="405007"/>
                  </a:lnTo>
                  <a:lnTo>
                    <a:pt x="698212" y="405597"/>
                  </a:lnTo>
                  <a:lnTo>
                    <a:pt x="696636" y="406919"/>
                  </a:lnTo>
                  <a:lnTo>
                    <a:pt x="694247" y="409961"/>
                  </a:lnTo>
                  <a:lnTo>
                    <a:pt x="684054" y="414335"/>
                  </a:lnTo>
                  <a:lnTo>
                    <a:pt x="679003" y="417699"/>
                  </a:lnTo>
                  <a:lnTo>
                    <a:pt x="672594" y="420291"/>
                  </a:lnTo>
                  <a:lnTo>
                    <a:pt x="670414" y="422596"/>
                  </a:lnTo>
                  <a:lnTo>
                    <a:pt x="667953" y="426504"/>
                  </a:lnTo>
                  <a:lnTo>
                    <a:pt x="663241" y="436428"/>
                  </a:lnTo>
                  <a:lnTo>
                    <a:pt x="662270" y="441555"/>
                  </a:lnTo>
                  <a:lnTo>
                    <a:pt x="662411" y="445729"/>
                  </a:lnTo>
                  <a:lnTo>
                    <a:pt x="663652" y="447693"/>
                  </a:lnTo>
                  <a:lnTo>
                    <a:pt x="665013" y="449456"/>
                  </a:lnTo>
                  <a:lnTo>
                    <a:pt x="666113" y="450528"/>
                  </a:lnTo>
                  <a:lnTo>
                    <a:pt x="672851" y="454692"/>
                  </a:lnTo>
                  <a:lnTo>
                    <a:pt x="673806" y="455583"/>
                  </a:lnTo>
                  <a:lnTo>
                    <a:pt x="674389" y="456830"/>
                  </a:lnTo>
                  <a:lnTo>
                    <a:pt x="674409" y="457939"/>
                  </a:lnTo>
                  <a:lnTo>
                    <a:pt x="674071" y="459524"/>
                  </a:lnTo>
                  <a:lnTo>
                    <a:pt x="672113" y="464750"/>
                  </a:lnTo>
                  <a:lnTo>
                    <a:pt x="671463" y="467138"/>
                  </a:lnTo>
                  <a:lnTo>
                    <a:pt x="671180" y="468801"/>
                  </a:lnTo>
                  <a:lnTo>
                    <a:pt x="670997" y="470833"/>
                  </a:lnTo>
                  <a:lnTo>
                    <a:pt x="670657" y="472463"/>
                  </a:lnTo>
                  <a:lnTo>
                    <a:pt x="669787" y="472967"/>
                  </a:lnTo>
                  <a:lnTo>
                    <a:pt x="667493" y="471823"/>
                  </a:lnTo>
                  <a:lnTo>
                    <a:pt x="666167" y="470669"/>
                  </a:lnTo>
                  <a:lnTo>
                    <a:pt x="664740" y="469157"/>
                  </a:lnTo>
                  <a:lnTo>
                    <a:pt x="662839" y="466503"/>
                  </a:lnTo>
                  <a:lnTo>
                    <a:pt x="661571" y="465337"/>
                  </a:lnTo>
                  <a:lnTo>
                    <a:pt x="660212" y="465142"/>
                  </a:lnTo>
                  <a:lnTo>
                    <a:pt x="658038" y="465525"/>
                  </a:lnTo>
                  <a:lnTo>
                    <a:pt x="654931" y="466570"/>
                  </a:lnTo>
                  <a:lnTo>
                    <a:pt x="652936" y="466665"/>
                  </a:lnTo>
                  <a:lnTo>
                    <a:pt x="650997" y="466272"/>
                  </a:lnTo>
                  <a:lnTo>
                    <a:pt x="649656" y="465574"/>
                  </a:lnTo>
                  <a:lnTo>
                    <a:pt x="647934" y="466017"/>
                  </a:lnTo>
                  <a:lnTo>
                    <a:pt x="646172" y="467625"/>
                  </a:lnTo>
                  <a:lnTo>
                    <a:pt x="643209" y="472682"/>
                  </a:lnTo>
                  <a:lnTo>
                    <a:pt x="642144" y="475485"/>
                  </a:lnTo>
                  <a:lnTo>
                    <a:pt x="641653" y="478129"/>
                  </a:lnTo>
                  <a:lnTo>
                    <a:pt x="641305" y="483233"/>
                  </a:lnTo>
                  <a:lnTo>
                    <a:pt x="639807" y="485383"/>
                  </a:lnTo>
                  <a:lnTo>
                    <a:pt x="635887" y="488393"/>
                  </a:lnTo>
                  <a:lnTo>
                    <a:pt x="629272" y="491413"/>
                  </a:lnTo>
                  <a:lnTo>
                    <a:pt x="614425" y="502148"/>
                  </a:lnTo>
                  <a:lnTo>
                    <a:pt x="615741" y="503571"/>
                  </a:lnTo>
                  <a:lnTo>
                    <a:pt x="619330" y="505163"/>
                  </a:lnTo>
                  <a:lnTo>
                    <a:pt x="642361" y="527600"/>
                  </a:lnTo>
                  <a:lnTo>
                    <a:pt x="644932" y="532361"/>
                  </a:lnTo>
                  <a:lnTo>
                    <a:pt x="645785" y="539578"/>
                  </a:lnTo>
                  <a:lnTo>
                    <a:pt x="652019" y="549568"/>
                  </a:lnTo>
                  <a:lnTo>
                    <a:pt x="666891" y="549549"/>
                  </a:lnTo>
                  <a:lnTo>
                    <a:pt x="683004" y="544813"/>
                  </a:lnTo>
                  <a:lnTo>
                    <a:pt x="700874" y="536123"/>
                  </a:lnTo>
                  <a:lnTo>
                    <a:pt x="715482" y="525703"/>
                  </a:lnTo>
                  <a:lnTo>
                    <a:pt x="761964" y="511480"/>
                  </a:lnTo>
                  <a:lnTo>
                    <a:pt x="771857" y="511487"/>
                  </a:lnTo>
                  <a:lnTo>
                    <a:pt x="776339" y="512688"/>
                  </a:lnTo>
                  <a:lnTo>
                    <a:pt x="781772" y="516428"/>
                  </a:lnTo>
                  <a:lnTo>
                    <a:pt x="819912" y="562483"/>
                  </a:lnTo>
                  <a:lnTo>
                    <a:pt x="826609" y="582125"/>
                  </a:lnTo>
                  <a:lnTo>
                    <a:pt x="820518" y="601764"/>
                  </a:lnTo>
                  <a:lnTo>
                    <a:pt x="823078" y="608975"/>
                  </a:lnTo>
                  <a:lnTo>
                    <a:pt x="831164" y="621754"/>
                  </a:lnTo>
                  <a:lnTo>
                    <a:pt x="834618" y="629862"/>
                  </a:lnTo>
                  <a:lnTo>
                    <a:pt x="835847" y="635780"/>
                  </a:lnTo>
                  <a:lnTo>
                    <a:pt x="836495" y="640645"/>
                  </a:lnTo>
                  <a:lnTo>
                    <a:pt x="837639" y="645555"/>
                  </a:lnTo>
                  <a:lnTo>
                    <a:pt x="844245" y="658687"/>
                  </a:lnTo>
                  <a:lnTo>
                    <a:pt x="845990" y="663288"/>
                  </a:lnTo>
                  <a:lnTo>
                    <a:pt x="846645" y="667297"/>
                  </a:lnTo>
                  <a:lnTo>
                    <a:pt x="849441" y="673345"/>
                  </a:lnTo>
                  <a:lnTo>
                    <a:pt x="856246" y="673102"/>
                  </a:lnTo>
                  <a:lnTo>
                    <a:pt x="863790" y="671573"/>
                  </a:lnTo>
                  <a:lnTo>
                    <a:pt x="868946" y="673751"/>
                  </a:lnTo>
                  <a:lnTo>
                    <a:pt x="867764" y="679470"/>
                  </a:lnTo>
                  <a:lnTo>
                    <a:pt x="862748" y="687156"/>
                  </a:lnTo>
                  <a:lnTo>
                    <a:pt x="854466" y="696808"/>
                  </a:lnTo>
                  <a:lnTo>
                    <a:pt x="842332" y="698828"/>
                  </a:lnTo>
                  <a:lnTo>
                    <a:pt x="832077" y="705417"/>
                  </a:lnTo>
                  <a:lnTo>
                    <a:pt x="825502" y="716378"/>
                  </a:lnTo>
                  <a:lnTo>
                    <a:pt x="824451" y="731486"/>
                  </a:lnTo>
                  <a:lnTo>
                    <a:pt x="829589" y="744993"/>
                  </a:lnTo>
                  <a:lnTo>
                    <a:pt x="838218" y="762794"/>
                  </a:lnTo>
                  <a:lnTo>
                    <a:pt x="843961" y="780659"/>
                  </a:lnTo>
                  <a:lnTo>
                    <a:pt x="840444" y="794429"/>
                  </a:lnTo>
                  <a:lnTo>
                    <a:pt x="847309" y="806619"/>
                  </a:lnTo>
                  <a:lnTo>
                    <a:pt x="854978" y="831423"/>
                  </a:lnTo>
                  <a:lnTo>
                    <a:pt x="859687" y="842162"/>
                  </a:lnTo>
                  <a:lnTo>
                    <a:pt x="859584" y="846076"/>
                  </a:lnTo>
                  <a:lnTo>
                    <a:pt x="851646" y="849780"/>
                  </a:lnTo>
                  <a:lnTo>
                    <a:pt x="851542" y="853680"/>
                  </a:lnTo>
                  <a:lnTo>
                    <a:pt x="857814" y="856360"/>
                  </a:lnTo>
                  <a:lnTo>
                    <a:pt x="864574" y="857338"/>
                  </a:lnTo>
                  <a:lnTo>
                    <a:pt x="870492" y="859653"/>
                  </a:lnTo>
                  <a:lnTo>
                    <a:pt x="874298" y="866345"/>
                  </a:lnTo>
                  <a:lnTo>
                    <a:pt x="873117" y="867408"/>
                  </a:lnTo>
                  <a:lnTo>
                    <a:pt x="869364" y="876444"/>
                  </a:lnTo>
                  <a:lnTo>
                    <a:pt x="868700" y="877566"/>
                  </a:lnTo>
                  <a:lnTo>
                    <a:pt x="868886" y="882225"/>
                  </a:lnTo>
                  <a:lnTo>
                    <a:pt x="871063" y="891773"/>
                  </a:lnTo>
                  <a:lnTo>
                    <a:pt x="870954" y="897505"/>
                  </a:lnTo>
                  <a:lnTo>
                    <a:pt x="856786" y="927445"/>
                  </a:lnTo>
                  <a:lnTo>
                    <a:pt x="855927" y="932256"/>
                  </a:lnTo>
                  <a:lnTo>
                    <a:pt x="864628" y="935620"/>
                  </a:lnTo>
                  <a:lnTo>
                    <a:pt x="863112" y="942764"/>
                  </a:lnTo>
                  <a:lnTo>
                    <a:pt x="836547" y="972557"/>
                  </a:lnTo>
                  <a:lnTo>
                    <a:pt x="831734" y="974921"/>
                  </a:lnTo>
                  <a:lnTo>
                    <a:pt x="827589" y="978990"/>
                  </a:lnTo>
                  <a:lnTo>
                    <a:pt x="824832" y="988714"/>
                  </a:lnTo>
                  <a:lnTo>
                    <a:pt x="816206" y="1042956"/>
                  </a:lnTo>
                  <a:lnTo>
                    <a:pt x="814384" y="1048655"/>
                  </a:lnTo>
                  <a:lnTo>
                    <a:pt x="785233" y="1104803"/>
                  </a:lnTo>
                  <a:lnTo>
                    <a:pt x="776990" y="1116861"/>
                  </a:lnTo>
                  <a:lnTo>
                    <a:pt x="764470" y="1129602"/>
                  </a:lnTo>
                  <a:lnTo>
                    <a:pt x="752960" y="1133425"/>
                  </a:lnTo>
                  <a:lnTo>
                    <a:pt x="753121" y="1133251"/>
                  </a:lnTo>
                  <a:lnTo>
                    <a:pt x="748898" y="1129014"/>
                  </a:lnTo>
                  <a:lnTo>
                    <a:pt x="712248" y="1120191"/>
                  </a:lnTo>
                  <a:lnTo>
                    <a:pt x="653824" y="1086436"/>
                  </a:lnTo>
                  <a:lnTo>
                    <a:pt x="647072" y="1085437"/>
                  </a:lnTo>
                  <a:lnTo>
                    <a:pt x="625654" y="1086947"/>
                  </a:lnTo>
                  <a:lnTo>
                    <a:pt x="594797" y="1076776"/>
                  </a:lnTo>
                  <a:lnTo>
                    <a:pt x="590614" y="1077749"/>
                  </a:lnTo>
                  <a:lnTo>
                    <a:pt x="581652" y="1082244"/>
                  </a:lnTo>
                  <a:lnTo>
                    <a:pt x="577040" y="1083259"/>
                  </a:lnTo>
                  <a:lnTo>
                    <a:pt x="573458" y="1082595"/>
                  </a:lnTo>
                  <a:lnTo>
                    <a:pt x="565623" y="1079466"/>
                  </a:lnTo>
                  <a:lnTo>
                    <a:pt x="561505" y="1078604"/>
                  </a:lnTo>
                  <a:lnTo>
                    <a:pt x="556745" y="1079433"/>
                  </a:lnTo>
                  <a:lnTo>
                    <a:pt x="552300" y="1081159"/>
                  </a:lnTo>
                  <a:lnTo>
                    <a:pt x="547765" y="1082141"/>
                  </a:lnTo>
                  <a:lnTo>
                    <a:pt x="546325" y="1081758"/>
                  </a:lnTo>
                  <a:lnTo>
                    <a:pt x="546323" y="1081755"/>
                  </a:lnTo>
                  <a:lnTo>
                    <a:pt x="542620" y="1080764"/>
                  </a:lnTo>
                  <a:lnTo>
                    <a:pt x="539246" y="1077650"/>
                  </a:lnTo>
                  <a:lnTo>
                    <a:pt x="535885" y="1070099"/>
                  </a:lnTo>
                  <a:lnTo>
                    <a:pt x="533265" y="1066570"/>
                  </a:lnTo>
                  <a:lnTo>
                    <a:pt x="525109" y="1061909"/>
                  </a:lnTo>
                  <a:lnTo>
                    <a:pt x="508850" y="1058409"/>
                  </a:lnTo>
                  <a:lnTo>
                    <a:pt x="500888" y="1052892"/>
                  </a:lnTo>
                  <a:lnTo>
                    <a:pt x="496218" y="1046468"/>
                  </a:lnTo>
                  <a:lnTo>
                    <a:pt x="488290" y="1032340"/>
                  </a:lnTo>
                  <a:lnTo>
                    <a:pt x="483250" y="1026639"/>
                  </a:lnTo>
                  <a:lnTo>
                    <a:pt x="483982" y="1024775"/>
                  </a:lnTo>
                  <a:lnTo>
                    <a:pt x="484960" y="1023513"/>
                  </a:lnTo>
                  <a:lnTo>
                    <a:pt x="487813" y="1021821"/>
                  </a:lnTo>
                  <a:lnTo>
                    <a:pt x="485666" y="1013455"/>
                  </a:lnTo>
                  <a:lnTo>
                    <a:pt x="479004" y="1010702"/>
                  </a:lnTo>
                  <a:lnTo>
                    <a:pt x="462903" y="1008956"/>
                  </a:lnTo>
                  <a:lnTo>
                    <a:pt x="461538" y="1002511"/>
                  </a:lnTo>
                  <a:lnTo>
                    <a:pt x="454304" y="1001592"/>
                  </a:lnTo>
                  <a:lnTo>
                    <a:pt x="446959" y="1003494"/>
                  </a:lnTo>
                  <a:lnTo>
                    <a:pt x="446830" y="1003238"/>
                  </a:lnTo>
                  <a:lnTo>
                    <a:pt x="446114" y="1001818"/>
                  </a:lnTo>
                  <a:lnTo>
                    <a:pt x="438615" y="1001713"/>
                  </a:lnTo>
                  <a:lnTo>
                    <a:pt x="431802" y="995290"/>
                  </a:lnTo>
                  <a:lnTo>
                    <a:pt x="419139" y="980010"/>
                  </a:lnTo>
                  <a:lnTo>
                    <a:pt x="418900" y="978801"/>
                  </a:lnTo>
                  <a:lnTo>
                    <a:pt x="418554" y="973212"/>
                  </a:lnTo>
                  <a:lnTo>
                    <a:pt x="417940" y="969873"/>
                  </a:lnTo>
                  <a:lnTo>
                    <a:pt x="416860" y="965242"/>
                  </a:lnTo>
                  <a:lnTo>
                    <a:pt x="416858" y="962521"/>
                  </a:lnTo>
                  <a:lnTo>
                    <a:pt x="417548" y="959886"/>
                  </a:lnTo>
                  <a:lnTo>
                    <a:pt x="420000" y="955287"/>
                  </a:lnTo>
                  <a:lnTo>
                    <a:pt x="420621" y="954294"/>
                  </a:lnTo>
                  <a:lnTo>
                    <a:pt x="420917" y="954145"/>
                  </a:lnTo>
                  <a:lnTo>
                    <a:pt x="422258" y="953935"/>
                  </a:lnTo>
                  <a:lnTo>
                    <a:pt x="423121" y="954059"/>
                  </a:lnTo>
                  <a:lnTo>
                    <a:pt x="423693" y="954232"/>
                  </a:lnTo>
                  <a:lnTo>
                    <a:pt x="424035" y="954364"/>
                  </a:lnTo>
                  <a:lnTo>
                    <a:pt x="424379" y="954468"/>
                  </a:lnTo>
                  <a:lnTo>
                    <a:pt x="424954" y="954552"/>
                  </a:lnTo>
                  <a:lnTo>
                    <a:pt x="426659" y="954416"/>
                  </a:lnTo>
                  <a:lnTo>
                    <a:pt x="427658" y="954074"/>
                  </a:lnTo>
                  <a:lnTo>
                    <a:pt x="428487" y="953635"/>
                  </a:lnTo>
                  <a:lnTo>
                    <a:pt x="429206" y="953061"/>
                  </a:lnTo>
                  <a:lnTo>
                    <a:pt x="429994" y="952220"/>
                  </a:lnTo>
                  <a:lnTo>
                    <a:pt x="431030" y="950991"/>
                  </a:lnTo>
                  <a:lnTo>
                    <a:pt x="433692" y="946845"/>
                  </a:lnTo>
                  <a:lnTo>
                    <a:pt x="435145" y="942528"/>
                  </a:lnTo>
                  <a:lnTo>
                    <a:pt x="435839" y="938328"/>
                  </a:lnTo>
                  <a:lnTo>
                    <a:pt x="436333" y="936189"/>
                  </a:lnTo>
                  <a:lnTo>
                    <a:pt x="436984" y="934441"/>
                  </a:lnTo>
                  <a:lnTo>
                    <a:pt x="438031" y="932917"/>
                  </a:lnTo>
                  <a:lnTo>
                    <a:pt x="439122" y="931720"/>
                  </a:lnTo>
                  <a:lnTo>
                    <a:pt x="441752" y="929701"/>
                  </a:lnTo>
                  <a:lnTo>
                    <a:pt x="442978" y="928036"/>
                  </a:lnTo>
                  <a:lnTo>
                    <a:pt x="443651" y="925728"/>
                  </a:lnTo>
                  <a:lnTo>
                    <a:pt x="444832" y="919521"/>
                  </a:lnTo>
                  <a:lnTo>
                    <a:pt x="445536" y="917863"/>
                  </a:lnTo>
                  <a:lnTo>
                    <a:pt x="447346" y="916045"/>
                  </a:lnTo>
                  <a:lnTo>
                    <a:pt x="451770" y="912990"/>
                  </a:lnTo>
                  <a:lnTo>
                    <a:pt x="453394" y="911462"/>
                  </a:lnTo>
                  <a:lnTo>
                    <a:pt x="454860" y="909568"/>
                  </a:lnTo>
                  <a:lnTo>
                    <a:pt x="456789" y="906217"/>
                  </a:lnTo>
                  <a:lnTo>
                    <a:pt x="457102" y="904189"/>
                  </a:lnTo>
                  <a:lnTo>
                    <a:pt x="456779" y="902195"/>
                  </a:lnTo>
                  <a:lnTo>
                    <a:pt x="455609" y="899690"/>
                  </a:lnTo>
                  <a:lnTo>
                    <a:pt x="455979" y="897695"/>
                  </a:lnTo>
                  <a:lnTo>
                    <a:pt x="456260" y="896464"/>
                  </a:lnTo>
                  <a:lnTo>
                    <a:pt x="458555" y="892624"/>
                  </a:lnTo>
                  <a:lnTo>
                    <a:pt x="456745" y="887418"/>
                  </a:lnTo>
                  <a:lnTo>
                    <a:pt x="453197" y="885157"/>
                  </a:lnTo>
                  <a:lnTo>
                    <a:pt x="444320" y="881387"/>
                  </a:lnTo>
                  <a:lnTo>
                    <a:pt x="425863" y="877444"/>
                  </a:lnTo>
                  <a:lnTo>
                    <a:pt x="422326" y="875016"/>
                  </a:lnTo>
                  <a:lnTo>
                    <a:pt x="423138" y="873542"/>
                  </a:lnTo>
                  <a:lnTo>
                    <a:pt x="423568" y="872940"/>
                  </a:lnTo>
                  <a:lnTo>
                    <a:pt x="423762" y="872444"/>
                  </a:lnTo>
                  <a:lnTo>
                    <a:pt x="424070" y="871985"/>
                  </a:lnTo>
                  <a:lnTo>
                    <a:pt x="423309" y="869468"/>
                  </a:lnTo>
                  <a:lnTo>
                    <a:pt x="417295" y="861462"/>
                  </a:lnTo>
                  <a:lnTo>
                    <a:pt x="408801" y="850299"/>
                  </a:lnTo>
                  <a:lnTo>
                    <a:pt x="406866" y="841549"/>
                  </a:lnTo>
                  <a:lnTo>
                    <a:pt x="408769" y="838848"/>
                  </a:lnTo>
                  <a:lnTo>
                    <a:pt x="410225" y="838527"/>
                  </a:lnTo>
                  <a:lnTo>
                    <a:pt x="412156" y="836983"/>
                  </a:lnTo>
                  <a:lnTo>
                    <a:pt x="419746" y="827991"/>
                  </a:lnTo>
                  <a:lnTo>
                    <a:pt x="422967" y="825435"/>
                  </a:lnTo>
                  <a:lnTo>
                    <a:pt x="425867" y="823666"/>
                  </a:lnTo>
                  <a:lnTo>
                    <a:pt x="429743" y="821967"/>
                  </a:lnTo>
                  <a:lnTo>
                    <a:pt x="430974" y="820096"/>
                  </a:lnTo>
                  <a:lnTo>
                    <a:pt x="431321" y="817331"/>
                  </a:lnTo>
                  <a:lnTo>
                    <a:pt x="431142" y="813314"/>
                  </a:lnTo>
                  <a:lnTo>
                    <a:pt x="430873" y="811483"/>
                  </a:lnTo>
                  <a:lnTo>
                    <a:pt x="430405" y="810280"/>
                  </a:lnTo>
                  <a:lnTo>
                    <a:pt x="429674" y="809837"/>
                  </a:lnTo>
                  <a:lnTo>
                    <a:pt x="428196" y="809359"/>
                  </a:lnTo>
                  <a:lnTo>
                    <a:pt x="426708" y="809119"/>
                  </a:lnTo>
                  <a:lnTo>
                    <a:pt x="425971" y="807461"/>
                  </a:lnTo>
                  <a:lnTo>
                    <a:pt x="425626" y="804695"/>
                  </a:lnTo>
                  <a:lnTo>
                    <a:pt x="425945" y="797105"/>
                  </a:lnTo>
                  <a:lnTo>
                    <a:pt x="425648" y="791858"/>
                  </a:lnTo>
                  <a:lnTo>
                    <a:pt x="421745" y="783350"/>
                  </a:lnTo>
                  <a:lnTo>
                    <a:pt x="419813" y="775959"/>
                  </a:lnTo>
                  <a:lnTo>
                    <a:pt x="420119" y="767363"/>
                  </a:lnTo>
                  <a:lnTo>
                    <a:pt x="419169" y="766703"/>
                  </a:lnTo>
                  <a:lnTo>
                    <a:pt x="418037" y="766254"/>
                  </a:lnTo>
                  <a:lnTo>
                    <a:pt x="415851" y="767595"/>
                  </a:lnTo>
                  <a:lnTo>
                    <a:pt x="413579" y="769598"/>
                  </a:lnTo>
                  <a:lnTo>
                    <a:pt x="410246" y="771732"/>
                  </a:lnTo>
                  <a:lnTo>
                    <a:pt x="406747" y="772823"/>
                  </a:lnTo>
                  <a:lnTo>
                    <a:pt x="399731" y="774028"/>
                  </a:lnTo>
                  <a:lnTo>
                    <a:pt x="395787" y="773382"/>
                  </a:lnTo>
                  <a:lnTo>
                    <a:pt x="393517" y="772662"/>
                  </a:lnTo>
                  <a:lnTo>
                    <a:pt x="392586" y="771556"/>
                  </a:lnTo>
                  <a:lnTo>
                    <a:pt x="391543" y="769942"/>
                  </a:lnTo>
                  <a:lnTo>
                    <a:pt x="378243" y="759594"/>
                  </a:lnTo>
                  <a:lnTo>
                    <a:pt x="370590" y="751354"/>
                  </a:lnTo>
                  <a:lnTo>
                    <a:pt x="368724" y="750633"/>
                  </a:lnTo>
                  <a:lnTo>
                    <a:pt x="346244" y="748747"/>
                  </a:lnTo>
                  <a:lnTo>
                    <a:pt x="343755" y="747834"/>
                  </a:lnTo>
                  <a:lnTo>
                    <a:pt x="341985" y="746275"/>
                  </a:lnTo>
                  <a:lnTo>
                    <a:pt x="319818" y="732676"/>
                  </a:lnTo>
                  <a:lnTo>
                    <a:pt x="312099" y="737981"/>
                  </a:lnTo>
                  <a:lnTo>
                    <a:pt x="309302" y="738370"/>
                  </a:lnTo>
                  <a:lnTo>
                    <a:pt x="306105" y="735409"/>
                  </a:lnTo>
                  <a:lnTo>
                    <a:pt x="301275" y="732962"/>
                  </a:lnTo>
                  <a:lnTo>
                    <a:pt x="298821" y="732580"/>
                  </a:lnTo>
                  <a:lnTo>
                    <a:pt x="296678" y="732922"/>
                  </a:lnTo>
                  <a:lnTo>
                    <a:pt x="267411" y="750219"/>
                  </a:lnTo>
                  <a:lnTo>
                    <a:pt x="211591" y="772763"/>
                  </a:lnTo>
                  <a:lnTo>
                    <a:pt x="205956" y="773750"/>
                  </a:lnTo>
                  <a:lnTo>
                    <a:pt x="204553" y="773769"/>
                  </a:lnTo>
                  <a:lnTo>
                    <a:pt x="195806" y="772496"/>
                  </a:lnTo>
                  <a:lnTo>
                    <a:pt x="171273" y="782213"/>
                  </a:lnTo>
                  <a:lnTo>
                    <a:pt x="128710" y="777901"/>
                  </a:lnTo>
                  <a:lnTo>
                    <a:pt x="79000" y="779729"/>
                  </a:lnTo>
                  <a:lnTo>
                    <a:pt x="76133" y="779929"/>
                  </a:lnTo>
                  <a:lnTo>
                    <a:pt x="77155" y="774475"/>
                  </a:lnTo>
                  <a:lnTo>
                    <a:pt x="78144" y="756383"/>
                  </a:lnTo>
                  <a:lnTo>
                    <a:pt x="80592" y="750214"/>
                  </a:lnTo>
                  <a:lnTo>
                    <a:pt x="86657" y="741727"/>
                  </a:lnTo>
                  <a:lnTo>
                    <a:pt x="96941" y="730331"/>
                  </a:lnTo>
                  <a:lnTo>
                    <a:pt x="101105" y="722803"/>
                  </a:lnTo>
                  <a:lnTo>
                    <a:pt x="104118" y="718822"/>
                  </a:lnTo>
                  <a:lnTo>
                    <a:pt x="105250" y="716310"/>
                  </a:lnTo>
                  <a:lnTo>
                    <a:pt x="105109" y="712513"/>
                  </a:lnTo>
                  <a:lnTo>
                    <a:pt x="102974" y="710177"/>
                  </a:lnTo>
                  <a:lnTo>
                    <a:pt x="100693" y="708424"/>
                  </a:lnTo>
                  <a:lnTo>
                    <a:pt x="100145" y="706500"/>
                  </a:lnTo>
                  <a:lnTo>
                    <a:pt x="106309" y="698755"/>
                  </a:lnTo>
                  <a:lnTo>
                    <a:pt x="134397" y="682569"/>
                  </a:lnTo>
                  <a:lnTo>
                    <a:pt x="133737" y="681290"/>
                  </a:lnTo>
                  <a:lnTo>
                    <a:pt x="131373" y="678233"/>
                  </a:lnTo>
                  <a:lnTo>
                    <a:pt x="132779" y="675525"/>
                  </a:lnTo>
                  <a:lnTo>
                    <a:pt x="134542" y="674760"/>
                  </a:lnTo>
                  <a:lnTo>
                    <a:pt x="137680" y="676202"/>
                  </a:lnTo>
                  <a:lnTo>
                    <a:pt x="135234" y="672519"/>
                  </a:lnTo>
                  <a:lnTo>
                    <a:pt x="133696" y="668322"/>
                  </a:lnTo>
                  <a:lnTo>
                    <a:pt x="133104" y="663614"/>
                  </a:lnTo>
                  <a:lnTo>
                    <a:pt x="133641" y="658521"/>
                  </a:lnTo>
                  <a:lnTo>
                    <a:pt x="137393" y="655556"/>
                  </a:lnTo>
                  <a:lnTo>
                    <a:pt x="137662" y="653350"/>
                  </a:lnTo>
                  <a:lnTo>
                    <a:pt x="136805" y="650759"/>
                  </a:lnTo>
                  <a:lnTo>
                    <a:pt x="137057" y="646717"/>
                  </a:lnTo>
                  <a:lnTo>
                    <a:pt x="139467" y="634384"/>
                  </a:lnTo>
                  <a:lnTo>
                    <a:pt x="140021" y="634029"/>
                  </a:lnTo>
                  <a:lnTo>
                    <a:pt x="140313" y="629220"/>
                  </a:lnTo>
                  <a:lnTo>
                    <a:pt x="141155" y="628465"/>
                  </a:lnTo>
                  <a:lnTo>
                    <a:pt x="141263" y="628589"/>
                  </a:lnTo>
                  <a:lnTo>
                    <a:pt x="139396" y="626329"/>
                  </a:lnTo>
                  <a:lnTo>
                    <a:pt x="137953" y="626162"/>
                  </a:lnTo>
                  <a:lnTo>
                    <a:pt x="126782" y="622189"/>
                  </a:lnTo>
                  <a:lnTo>
                    <a:pt x="109110" y="621231"/>
                  </a:lnTo>
                  <a:lnTo>
                    <a:pt x="102770" y="619108"/>
                  </a:lnTo>
                  <a:lnTo>
                    <a:pt x="96742" y="614783"/>
                  </a:lnTo>
                  <a:lnTo>
                    <a:pt x="86712" y="604074"/>
                  </a:lnTo>
                  <a:lnTo>
                    <a:pt x="80688" y="599774"/>
                  </a:lnTo>
                  <a:lnTo>
                    <a:pt x="77458" y="599505"/>
                  </a:lnTo>
                  <a:lnTo>
                    <a:pt x="71754" y="602560"/>
                  </a:lnTo>
                  <a:lnTo>
                    <a:pt x="68800" y="602130"/>
                  </a:lnTo>
                  <a:lnTo>
                    <a:pt x="68526" y="600190"/>
                  </a:lnTo>
                  <a:lnTo>
                    <a:pt x="66648" y="594175"/>
                  </a:lnTo>
                  <a:lnTo>
                    <a:pt x="65383" y="590124"/>
                  </a:lnTo>
                  <a:lnTo>
                    <a:pt x="63808" y="586898"/>
                  </a:lnTo>
                  <a:lnTo>
                    <a:pt x="58639" y="583114"/>
                  </a:lnTo>
                  <a:lnTo>
                    <a:pt x="46480" y="576830"/>
                  </a:lnTo>
                  <a:lnTo>
                    <a:pt x="41070" y="570657"/>
                  </a:lnTo>
                  <a:lnTo>
                    <a:pt x="30648" y="540748"/>
                  </a:lnTo>
                  <a:lnTo>
                    <a:pt x="24932" y="530143"/>
                  </a:lnTo>
                  <a:lnTo>
                    <a:pt x="20533" y="537766"/>
                  </a:lnTo>
                  <a:lnTo>
                    <a:pt x="17897" y="532610"/>
                  </a:lnTo>
                  <a:lnTo>
                    <a:pt x="13244" y="516230"/>
                  </a:lnTo>
                  <a:lnTo>
                    <a:pt x="7470" y="506181"/>
                  </a:lnTo>
                  <a:lnTo>
                    <a:pt x="6146" y="501454"/>
                  </a:lnTo>
                  <a:lnTo>
                    <a:pt x="7538" y="495169"/>
                  </a:lnTo>
                  <a:lnTo>
                    <a:pt x="5957" y="483115"/>
                  </a:lnTo>
                  <a:lnTo>
                    <a:pt x="3843" y="478283"/>
                  </a:lnTo>
                  <a:lnTo>
                    <a:pt x="0" y="475746"/>
                  </a:lnTo>
                  <a:lnTo>
                    <a:pt x="3798" y="469276"/>
                  </a:lnTo>
                  <a:lnTo>
                    <a:pt x="5269" y="467498"/>
                  </a:lnTo>
                  <a:lnTo>
                    <a:pt x="4443" y="467332"/>
                  </a:lnTo>
                  <a:lnTo>
                    <a:pt x="2234" y="467410"/>
                  </a:lnTo>
                  <a:lnTo>
                    <a:pt x="1615" y="466958"/>
                  </a:lnTo>
                  <a:lnTo>
                    <a:pt x="4860" y="451041"/>
                  </a:lnTo>
                  <a:lnTo>
                    <a:pt x="7096" y="443294"/>
                  </a:lnTo>
                  <a:lnTo>
                    <a:pt x="10112" y="435180"/>
                  </a:lnTo>
                  <a:lnTo>
                    <a:pt x="13668" y="431450"/>
                  </a:lnTo>
                  <a:lnTo>
                    <a:pt x="14949" y="427675"/>
                  </a:lnTo>
                  <a:lnTo>
                    <a:pt x="13868" y="424089"/>
                  </a:lnTo>
                  <a:lnTo>
                    <a:pt x="10337" y="420863"/>
                  </a:lnTo>
                  <a:lnTo>
                    <a:pt x="11294" y="418106"/>
                  </a:lnTo>
                  <a:lnTo>
                    <a:pt x="12876" y="411772"/>
                  </a:lnTo>
                  <a:lnTo>
                    <a:pt x="13666" y="409923"/>
                  </a:lnTo>
                  <a:lnTo>
                    <a:pt x="16915" y="408159"/>
                  </a:lnTo>
                  <a:lnTo>
                    <a:pt x="24242" y="407994"/>
                  </a:lnTo>
                  <a:lnTo>
                    <a:pt x="27065" y="406381"/>
                  </a:lnTo>
                  <a:lnTo>
                    <a:pt x="29567" y="401107"/>
                  </a:lnTo>
                  <a:lnTo>
                    <a:pt x="30164" y="394688"/>
                  </a:lnTo>
                  <a:lnTo>
                    <a:pt x="28499" y="388077"/>
                  </a:lnTo>
                  <a:lnTo>
                    <a:pt x="23942" y="382363"/>
                  </a:lnTo>
                  <a:lnTo>
                    <a:pt x="28003" y="377624"/>
                  </a:lnTo>
                  <a:lnTo>
                    <a:pt x="36606" y="372232"/>
                  </a:lnTo>
                  <a:lnTo>
                    <a:pt x="40508" y="366890"/>
                  </a:lnTo>
                  <a:lnTo>
                    <a:pt x="48297" y="363726"/>
                  </a:lnTo>
                  <a:lnTo>
                    <a:pt x="64241" y="360194"/>
                  </a:lnTo>
                  <a:lnTo>
                    <a:pt x="71297" y="354494"/>
                  </a:lnTo>
                  <a:lnTo>
                    <a:pt x="69964" y="349267"/>
                  </a:lnTo>
                  <a:lnTo>
                    <a:pt x="71041" y="343556"/>
                  </a:lnTo>
                  <a:lnTo>
                    <a:pt x="73762" y="338202"/>
                  </a:lnTo>
                  <a:lnTo>
                    <a:pt x="77628" y="333979"/>
                  </a:lnTo>
                  <a:lnTo>
                    <a:pt x="82724" y="331394"/>
                  </a:lnTo>
                  <a:lnTo>
                    <a:pt x="86774" y="331977"/>
                  </a:lnTo>
                  <a:lnTo>
                    <a:pt x="90829" y="333832"/>
                  </a:lnTo>
                  <a:lnTo>
                    <a:pt x="95679" y="334990"/>
                  </a:lnTo>
                  <a:lnTo>
                    <a:pt x="105462" y="333756"/>
                  </a:lnTo>
                  <a:lnTo>
                    <a:pt x="110288" y="329139"/>
                  </a:lnTo>
                  <a:lnTo>
                    <a:pt x="110116" y="324778"/>
                  </a:lnTo>
                  <a:lnTo>
                    <a:pt x="119232" y="325221"/>
                  </a:lnTo>
                  <a:lnTo>
                    <a:pt x="127425" y="321849"/>
                  </a:lnTo>
                  <a:lnTo>
                    <a:pt x="129482" y="320481"/>
                  </a:lnTo>
                  <a:lnTo>
                    <a:pt x="129805" y="319758"/>
                  </a:lnTo>
                  <a:lnTo>
                    <a:pt x="129798" y="318840"/>
                  </a:lnTo>
                  <a:lnTo>
                    <a:pt x="129566" y="317881"/>
                  </a:lnTo>
                  <a:lnTo>
                    <a:pt x="129069" y="316610"/>
                  </a:lnTo>
                  <a:lnTo>
                    <a:pt x="118331" y="297076"/>
                  </a:lnTo>
                  <a:lnTo>
                    <a:pt x="118090" y="295258"/>
                  </a:lnTo>
                  <a:lnTo>
                    <a:pt x="118214" y="294034"/>
                  </a:lnTo>
                  <a:lnTo>
                    <a:pt x="118800" y="292631"/>
                  </a:lnTo>
                  <a:lnTo>
                    <a:pt x="119879" y="291536"/>
                  </a:lnTo>
                  <a:lnTo>
                    <a:pt x="120819" y="290908"/>
                  </a:lnTo>
                  <a:lnTo>
                    <a:pt x="122347" y="290902"/>
                  </a:lnTo>
                  <a:lnTo>
                    <a:pt x="123949" y="291641"/>
                  </a:lnTo>
                  <a:lnTo>
                    <a:pt x="126536" y="294033"/>
                  </a:lnTo>
                  <a:lnTo>
                    <a:pt x="127479" y="295772"/>
                  </a:lnTo>
                  <a:lnTo>
                    <a:pt x="128033" y="297046"/>
                  </a:lnTo>
                  <a:lnTo>
                    <a:pt x="128350" y="298512"/>
                  </a:lnTo>
                  <a:lnTo>
                    <a:pt x="129126" y="299857"/>
                  </a:lnTo>
                  <a:lnTo>
                    <a:pt x="131331" y="302020"/>
                  </a:lnTo>
                  <a:lnTo>
                    <a:pt x="137200" y="305536"/>
                  </a:lnTo>
                  <a:lnTo>
                    <a:pt x="138357" y="307198"/>
                  </a:lnTo>
                  <a:lnTo>
                    <a:pt x="139115" y="308896"/>
                  </a:lnTo>
                  <a:lnTo>
                    <a:pt x="140245" y="315263"/>
                  </a:lnTo>
                  <a:lnTo>
                    <a:pt x="141554" y="316221"/>
                  </a:lnTo>
                  <a:lnTo>
                    <a:pt x="143898" y="315830"/>
                  </a:lnTo>
                  <a:lnTo>
                    <a:pt x="150037" y="313674"/>
                  </a:lnTo>
                  <a:lnTo>
                    <a:pt x="166927" y="302749"/>
                  </a:lnTo>
                  <a:lnTo>
                    <a:pt x="167840" y="301896"/>
                  </a:lnTo>
                  <a:lnTo>
                    <a:pt x="169394" y="301416"/>
                  </a:lnTo>
                  <a:lnTo>
                    <a:pt x="184311" y="299819"/>
                  </a:lnTo>
                  <a:lnTo>
                    <a:pt x="186441" y="299133"/>
                  </a:lnTo>
                  <a:lnTo>
                    <a:pt x="189072" y="297907"/>
                  </a:lnTo>
                  <a:lnTo>
                    <a:pt x="190863" y="298283"/>
                  </a:lnTo>
                  <a:lnTo>
                    <a:pt x="193861" y="299416"/>
                  </a:lnTo>
                  <a:lnTo>
                    <a:pt x="200016" y="303007"/>
                  </a:lnTo>
                  <a:lnTo>
                    <a:pt x="202234" y="305031"/>
                  </a:lnTo>
                  <a:lnTo>
                    <a:pt x="202917" y="307153"/>
                  </a:lnTo>
                  <a:lnTo>
                    <a:pt x="202094" y="308841"/>
                  </a:lnTo>
                  <a:lnTo>
                    <a:pt x="200794" y="310994"/>
                  </a:lnTo>
                  <a:lnTo>
                    <a:pt x="200263" y="312507"/>
                  </a:lnTo>
                  <a:lnTo>
                    <a:pt x="200656" y="313665"/>
                  </a:lnTo>
                  <a:lnTo>
                    <a:pt x="202671" y="314126"/>
                  </a:lnTo>
                  <a:lnTo>
                    <a:pt x="206456" y="314322"/>
                  </a:lnTo>
                  <a:lnTo>
                    <a:pt x="211799" y="312110"/>
                  </a:lnTo>
                  <a:lnTo>
                    <a:pt x="214528" y="309675"/>
                  </a:lnTo>
                  <a:lnTo>
                    <a:pt x="216929" y="308111"/>
                  </a:lnTo>
                  <a:lnTo>
                    <a:pt x="219817" y="308110"/>
                  </a:lnTo>
                  <a:lnTo>
                    <a:pt x="223586" y="310835"/>
                  </a:lnTo>
                  <a:lnTo>
                    <a:pt x="226068" y="313255"/>
                  </a:lnTo>
                  <a:lnTo>
                    <a:pt x="230368" y="319333"/>
                  </a:lnTo>
                  <a:lnTo>
                    <a:pt x="236353" y="320849"/>
                  </a:lnTo>
                  <a:lnTo>
                    <a:pt x="255669" y="315483"/>
                  </a:lnTo>
                  <a:lnTo>
                    <a:pt x="264735" y="314231"/>
                  </a:lnTo>
                  <a:lnTo>
                    <a:pt x="265725" y="313660"/>
                  </a:lnTo>
                  <a:lnTo>
                    <a:pt x="266651" y="312106"/>
                  </a:lnTo>
                  <a:lnTo>
                    <a:pt x="267212" y="309914"/>
                  </a:lnTo>
                  <a:lnTo>
                    <a:pt x="266766" y="306297"/>
                  </a:lnTo>
                  <a:lnTo>
                    <a:pt x="266348" y="304441"/>
                  </a:lnTo>
                  <a:lnTo>
                    <a:pt x="265484" y="302445"/>
                  </a:lnTo>
                  <a:lnTo>
                    <a:pt x="262410" y="297056"/>
                  </a:lnTo>
                  <a:lnTo>
                    <a:pt x="261546" y="295060"/>
                  </a:lnTo>
                  <a:lnTo>
                    <a:pt x="260819" y="292582"/>
                  </a:lnTo>
                  <a:lnTo>
                    <a:pt x="260295" y="288309"/>
                  </a:lnTo>
                  <a:lnTo>
                    <a:pt x="260109" y="282914"/>
                  </a:lnTo>
                  <a:lnTo>
                    <a:pt x="260490" y="276346"/>
                  </a:lnTo>
                  <a:lnTo>
                    <a:pt x="260336" y="274875"/>
                  </a:lnTo>
                  <a:lnTo>
                    <a:pt x="259893" y="273551"/>
                  </a:lnTo>
                  <a:lnTo>
                    <a:pt x="258875" y="272406"/>
                  </a:lnTo>
                  <a:lnTo>
                    <a:pt x="257734" y="271460"/>
                  </a:lnTo>
                  <a:lnTo>
                    <a:pt x="253051" y="269007"/>
                  </a:lnTo>
                  <a:lnTo>
                    <a:pt x="252077" y="268130"/>
                  </a:lnTo>
                  <a:lnTo>
                    <a:pt x="251564" y="267069"/>
                  </a:lnTo>
                  <a:lnTo>
                    <a:pt x="251837" y="264980"/>
                  </a:lnTo>
                  <a:lnTo>
                    <a:pt x="252824" y="262188"/>
                  </a:lnTo>
                  <a:lnTo>
                    <a:pt x="255103" y="257270"/>
                  </a:lnTo>
                  <a:lnTo>
                    <a:pt x="255609" y="253907"/>
                  </a:lnTo>
                  <a:lnTo>
                    <a:pt x="255617" y="251467"/>
                  </a:lnTo>
                  <a:lnTo>
                    <a:pt x="255249" y="249775"/>
                  </a:lnTo>
                  <a:lnTo>
                    <a:pt x="255133" y="248705"/>
                  </a:lnTo>
                  <a:lnTo>
                    <a:pt x="255287" y="247870"/>
                  </a:lnTo>
                  <a:lnTo>
                    <a:pt x="261436" y="244624"/>
                  </a:lnTo>
                  <a:lnTo>
                    <a:pt x="275524" y="239874"/>
                  </a:lnTo>
                  <a:lnTo>
                    <a:pt x="277711" y="240189"/>
                  </a:lnTo>
                  <a:lnTo>
                    <a:pt x="278184" y="242078"/>
                  </a:lnTo>
                  <a:lnTo>
                    <a:pt x="280113" y="246522"/>
                  </a:lnTo>
                  <a:lnTo>
                    <a:pt x="282146" y="250025"/>
                  </a:lnTo>
                  <a:lnTo>
                    <a:pt x="282893" y="250920"/>
                  </a:lnTo>
                  <a:lnTo>
                    <a:pt x="284240" y="252258"/>
                  </a:lnTo>
                  <a:lnTo>
                    <a:pt x="286367" y="253842"/>
                  </a:lnTo>
                  <a:lnTo>
                    <a:pt x="288749" y="254815"/>
                  </a:lnTo>
                  <a:lnTo>
                    <a:pt x="291209" y="255350"/>
                  </a:lnTo>
                  <a:lnTo>
                    <a:pt x="292637" y="255419"/>
                  </a:lnTo>
                  <a:lnTo>
                    <a:pt x="296285" y="254737"/>
                  </a:lnTo>
                  <a:lnTo>
                    <a:pt x="299030" y="251704"/>
                  </a:lnTo>
                  <a:lnTo>
                    <a:pt x="301867" y="246721"/>
                  </a:lnTo>
                  <a:lnTo>
                    <a:pt x="303258" y="235380"/>
                  </a:lnTo>
                  <a:lnTo>
                    <a:pt x="303177" y="230005"/>
                  </a:lnTo>
                  <a:lnTo>
                    <a:pt x="302799" y="226111"/>
                  </a:lnTo>
                  <a:lnTo>
                    <a:pt x="302354" y="223632"/>
                  </a:lnTo>
                  <a:lnTo>
                    <a:pt x="302146" y="220900"/>
                  </a:lnTo>
                  <a:lnTo>
                    <a:pt x="303103" y="219778"/>
                  </a:lnTo>
                  <a:lnTo>
                    <a:pt x="303809" y="219176"/>
                  </a:lnTo>
                  <a:lnTo>
                    <a:pt x="312544" y="217020"/>
                  </a:lnTo>
                  <a:lnTo>
                    <a:pt x="318394" y="210613"/>
                  </a:lnTo>
                  <a:lnTo>
                    <a:pt x="320855" y="206304"/>
                  </a:lnTo>
                  <a:lnTo>
                    <a:pt x="321548" y="204755"/>
                  </a:lnTo>
                  <a:lnTo>
                    <a:pt x="322040" y="203890"/>
                  </a:lnTo>
                  <a:lnTo>
                    <a:pt x="322703" y="202988"/>
                  </a:lnTo>
                  <a:lnTo>
                    <a:pt x="324714" y="202197"/>
                  </a:lnTo>
                  <a:lnTo>
                    <a:pt x="327967" y="201359"/>
                  </a:lnTo>
                  <a:lnTo>
                    <a:pt x="334423" y="200747"/>
                  </a:lnTo>
                  <a:lnTo>
                    <a:pt x="344639" y="197246"/>
                  </a:lnTo>
                  <a:lnTo>
                    <a:pt x="364459" y="184569"/>
                  </a:lnTo>
                  <a:lnTo>
                    <a:pt x="368068" y="183254"/>
                  </a:lnTo>
                  <a:lnTo>
                    <a:pt x="372655" y="183968"/>
                  </a:lnTo>
                  <a:lnTo>
                    <a:pt x="378377" y="187394"/>
                  </a:lnTo>
                  <a:lnTo>
                    <a:pt x="379493" y="187652"/>
                  </a:lnTo>
                  <a:lnTo>
                    <a:pt x="381365" y="187366"/>
                  </a:lnTo>
                  <a:lnTo>
                    <a:pt x="383785" y="186161"/>
                  </a:lnTo>
                  <a:lnTo>
                    <a:pt x="385660" y="183316"/>
                  </a:lnTo>
                  <a:lnTo>
                    <a:pt x="386831" y="181061"/>
                  </a:lnTo>
                  <a:lnTo>
                    <a:pt x="387783" y="178677"/>
                  </a:lnTo>
                  <a:lnTo>
                    <a:pt x="388832" y="177897"/>
                  </a:lnTo>
                  <a:lnTo>
                    <a:pt x="390188" y="177809"/>
                  </a:lnTo>
                  <a:lnTo>
                    <a:pt x="397999" y="181148"/>
                  </a:lnTo>
                  <a:lnTo>
                    <a:pt x="401988" y="180098"/>
                  </a:lnTo>
                  <a:lnTo>
                    <a:pt x="411110" y="171199"/>
                  </a:lnTo>
                  <a:lnTo>
                    <a:pt x="413736" y="170383"/>
                  </a:lnTo>
                  <a:lnTo>
                    <a:pt x="417073" y="163591"/>
                  </a:lnTo>
                  <a:lnTo>
                    <a:pt x="417584" y="162225"/>
                  </a:lnTo>
                  <a:lnTo>
                    <a:pt x="418215" y="160669"/>
                  </a:lnTo>
                  <a:lnTo>
                    <a:pt x="419032" y="160009"/>
                  </a:lnTo>
                  <a:lnTo>
                    <a:pt x="420235" y="159943"/>
                  </a:lnTo>
                  <a:lnTo>
                    <a:pt x="422450" y="160766"/>
                  </a:lnTo>
                  <a:lnTo>
                    <a:pt x="424970" y="162342"/>
                  </a:lnTo>
                  <a:lnTo>
                    <a:pt x="425670" y="163067"/>
                  </a:lnTo>
                  <a:lnTo>
                    <a:pt x="426040" y="163616"/>
                  </a:lnTo>
                  <a:lnTo>
                    <a:pt x="426608" y="164809"/>
                  </a:lnTo>
                  <a:lnTo>
                    <a:pt x="427003" y="166069"/>
                  </a:lnTo>
                  <a:lnTo>
                    <a:pt x="427316" y="167932"/>
                  </a:lnTo>
                  <a:lnTo>
                    <a:pt x="427776" y="169003"/>
                  </a:lnTo>
                  <a:lnTo>
                    <a:pt x="428480" y="169654"/>
                  </a:lnTo>
                  <a:lnTo>
                    <a:pt x="448832" y="172012"/>
                  </a:lnTo>
                  <a:lnTo>
                    <a:pt x="452958" y="171628"/>
                  </a:lnTo>
                  <a:lnTo>
                    <a:pt x="470053" y="167146"/>
                  </a:lnTo>
                  <a:lnTo>
                    <a:pt x="471542" y="166527"/>
                  </a:lnTo>
                  <a:lnTo>
                    <a:pt x="481633" y="159790"/>
                  </a:lnTo>
                  <a:lnTo>
                    <a:pt x="482239" y="158750"/>
                  </a:lnTo>
                  <a:lnTo>
                    <a:pt x="482587" y="157137"/>
                  </a:lnTo>
                  <a:lnTo>
                    <a:pt x="482563" y="153647"/>
                  </a:lnTo>
                  <a:lnTo>
                    <a:pt x="483108" y="151346"/>
                  </a:lnTo>
                  <a:lnTo>
                    <a:pt x="484055" y="148856"/>
                  </a:lnTo>
                  <a:lnTo>
                    <a:pt x="486567" y="145233"/>
                  </a:lnTo>
                  <a:lnTo>
                    <a:pt x="486848" y="142508"/>
                  </a:lnTo>
                  <a:lnTo>
                    <a:pt x="486885" y="140248"/>
                  </a:lnTo>
                  <a:lnTo>
                    <a:pt x="486692" y="138124"/>
                  </a:lnTo>
                  <a:lnTo>
                    <a:pt x="486819" y="136400"/>
                  </a:lnTo>
                  <a:lnTo>
                    <a:pt x="487507" y="132019"/>
                  </a:lnTo>
                  <a:lnTo>
                    <a:pt x="487504" y="130717"/>
                  </a:lnTo>
                  <a:lnTo>
                    <a:pt x="486989" y="129587"/>
                  </a:lnTo>
                  <a:lnTo>
                    <a:pt x="486294" y="128715"/>
                  </a:lnTo>
                  <a:lnTo>
                    <a:pt x="486052" y="127772"/>
                  </a:lnTo>
                  <a:lnTo>
                    <a:pt x="488634" y="125128"/>
                  </a:lnTo>
                  <a:lnTo>
                    <a:pt x="497492" y="122890"/>
                  </a:lnTo>
                  <a:lnTo>
                    <a:pt x="511037" y="124612"/>
                  </a:lnTo>
                  <a:lnTo>
                    <a:pt x="541682" y="117351"/>
                  </a:lnTo>
                  <a:lnTo>
                    <a:pt x="553122" y="111055"/>
                  </a:lnTo>
                  <a:lnTo>
                    <a:pt x="556256" y="109904"/>
                  </a:lnTo>
                  <a:lnTo>
                    <a:pt x="558177" y="109595"/>
                  </a:lnTo>
                  <a:lnTo>
                    <a:pt x="559748" y="109627"/>
                  </a:lnTo>
                  <a:lnTo>
                    <a:pt x="566220" y="111179"/>
                  </a:lnTo>
                  <a:lnTo>
                    <a:pt x="567602" y="110285"/>
                  </a:lnTo>
                  <a:lnTo>
                    <a:pt x="568733" y="108614"/>
                  </a:lnTo>
                  <a:lnTo>
                    <a:pt x="570472" y="104244"/>
                  </a:lnTo>
                  <a:lnTo>
                    <a:pt x="571615" y="102247"/>
                  </a:lnTo>
                  <a:lnTo>
                    <a:pt x="573303" y="100654"/>
                  </a:lnTo>
                  <a:lnTo>
                    <a:pt x="576739" y="98879"/>
                  </a:lnTo>
                  <a:lnTo>
                    <a:pt x="588467" y="94931"/>
                  </a:lnTo>
                  <a:lnTo>
                    <a:pt x="589557" y="94291"/>
                  </a:lnTo>
                  <a:lnTo>
                    <a:pt x="590672" y="92988"/>
                  </a:lnTo>
                  <a:lnTo>
                    <a:pt x="594144" y="87189"/>
                  </a:lnTo>
                  <a:lnTo>
                    <a:pt x="595418" y="86112"/>
                  </a:lnTo>
                  <a:lnTo>
                    <a:pt x="596271" y="85819"/>
                  </a:lnTo>
                  <a:lnTo>
                    <a:pt x="596642" y="86394"/>
                  </a:lnTo>
                  <a:lnTo>
                    <a:pt x="597273" y="87514"/>
                  </a:lnTo>
                  <a:lnTo>
                    <a:pt x="597811" y="88125"/>
                  </a:lnTo>
                  <a:lnTo>
                    <a:pt x="598633" y="88658"/>
                  </a:lnTo>
                  <a:lnTo>
                    <a:pt x="599693" y="88816"/>
                  </a:lnTo>
                  <a:lnTo>
                    <a:pt x="600596" y="88657"/>
                  </a:lnTo>
                  <a:lnTo>
                    <a:pt x="601338" y="88316"/>
                  </a:lnTo>
                  <a:lnTo>
                    <a:pt x="602095" y="87573"/>
                  </a:lnTo>
                  <a:lnTo>
                    <a:pt x="602519" y="86746"/>
                  </a:lnTo>
                  <a:lnTo>
                    <a:pt x="603200" y="84999"/>
                  </a:lnTo>
                  <a:lnTo>
                    <a:pt x="603427" y="83409"/>
                  </a:lnTo>
                  <a:lnTo>
                    <a:pt x="603552" y="81564"/>
                  </a:lnTo>
                  <a:lnTo>
                    <a:pt x="603362" y="79119"/>
                  </a:lnTo>
                  <a:lnTo>
                    <a:pt x="601757" y="75552"/>
                  </a:lnTo>
                  <a:lnTo>
                    <a:pt x="595405" y="68483"/>
                  </a:lnTo>
                  <a:lnTo>
                    <a:pt x="609163" y="60730"/>
                  </a:lnTo>
                  <a:lnTo>
                    <a:pt x="611305" y="58872"/>
                  </a:lnTo>
                  <a:lnTo>
                    <a:pt x="617212" y="52110"/>
                  </a:lnTo>
                  <a:lnTo>
                    <a:pt x="618644" y="51245"/>
                  </a:lnTo>
                  <a:lnTo>
                    <a:pt x="619547" y="51071"/>
                  </a:lnTo>
                  <a:lnTo>
                    <a:pt x="627617" y="54560"/>
                  </a:lnTo>
                  <a:lnTo>
                    <a:pt x="628342" y="54676"/>
                  </a:lnTo>
                  <a:lnTo>
                    <a:pt x="629186" y="54558"/>
                  </a:lnTo>
                  <a:lnTo>
                    <a:pt x="630197" y="52953"/>
                  </a:lnTo>
                  <a:lnTo>
                    <a:pt x="630628" y="50322"/>
                  </a:lnTo>
                  <a:lnTo>
                    <a:pt x="630573" y="44078"/>
                  </a:lnTo>
                  <a:lnTo>
                    <a:pt x="629887" y="41392"/>
                  </a:lnTo>
                  <a:lnTo>
                    <a:pt x="629113" y="39560"/>
                  </a:lnTo>
                  <a:lnTo>
                    <a:pt x="628032" y="38484"/>
                  </a:lnTo>
                  <a:lnTo>
                    <a:pt x="627360" y="36953"/>
                  </a:lnTo>
                  <a:lnTo>
                    <a:pt x="626852" y="35027"/>
                  </a:lnTo>
                  <a:lnTo>
                    <a:pt x="626450" y="32217"/>
                  </a:lnTo>
                  <a:lnTo>
                    <a:pt x="625622" y="18048"/>
                  </a:lnTo>
                  <a:lnTo>
                    <a:pt x="626317" y="14318"/>
                  </a:lnTo>
                  <a:lnTo>
                    <a:pt x="627085" y="11654"/>
                  </a:lnTo>
                  <a:lnTo>
                    <a:pt x="638665" y="1221"/>
                  </a:lnTo>
                  <a:lnTo>
                    <a:pt x="643405" y="0"/>
                  </a:lnTo>
                  <a:lnTo>
                    <a:pt x="664102" y="6589"/>
                  </a:lnTo>
                  <a:lnTo>
                    <a:pt x="662644" y="14701"/>
                  </a:lnTo>
                  <a:lnTo>
                    <a:pt x="660898" y="19816"/>
                  </a:lnTo>
                  <a:lnTo>
                    <a:pt x="659810" y="22142"/>
                  </a:lnTo>
                  <a:lnTo>
                    <a:pt x="658881" y="24668"/>
                  </a:lnTo>
                  <a:lnTo>
                    <a:pt x="658157" y="27762"/>
                  </a:lnTo>
                  <a:lnTo>
                    <a:pt x="657870" y="29557"/>
                  </a:lnTo>
                  <a:lnTo>
                    <a:pt x="658367" y="31350"/>
                  </a:lnTo>
                  <a:lnTo>
                    <a:pt x="659655" y="32932"/>
                  </a:lnTo>
                  <a:lnTo>
                    <a:pt x="662939" y="35058"/>
                  </a:lnTo>
                  <a:lnTo>
                    <a:pt x="672349" y="38669"/>
                  </a:lnTo>
                  <a:lnTo>
                    <a:pt x="675115" y="41263"/>
                  </a:lnTo>
                  <a:lnTo>
                    <a:pt x="685658" y="53885"/>
                  </a:lnTo>
                  <a:lnTo>
                    <a:pt x="689367" y="57382"/>
                  </a:lnTo>
                  <a:close/>
                </a:path>
              </a:pathLst>
            </a:custGeom>
            <a:solidFill>
              <a:srgbClr val="BFBFBF"/>
            </a:solidFill>
            <a:ln w="6350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E642C261-E3C1-2C63-E0E7-E85F1A2D68BD}"/>
                </a:ext>
              </a:extLst>
            </p:cNvPr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3054976" y="4788013"/>
              <a:ext cx="385905" cy="304330"/>
            </a:xfrm>
            <a:custGeom>
              <a:avLst/>
              <a:gdLst/>
              <a:ahLst/>
              <a:cxnLst/>
              <a:rect l="0" t="0" r="0" b="0"/>
              <a:pathLst>
                <a:path w="385905" h="304330">
                  <a:moveTo>
                    <a:pt x="327080" y="41448"/>
                  </a:moveTo>
                  <a:lnTo>
                    <a:pt x="334096" y="40243"/>
                  </a:lnTo>
                  <a:lnTo>
                    <a:pt x="337595" y="39152"/>
                  </a:lnTo>
                  <a:lnTo>
                    <a:pt x="340928" y="37018"/>
                  </a:lnTo>
                  <a:lnTo>
                    <a:pt x="343200" y="35015"/>
                  </a:lnTo>
                  <a:lnTo>
                    <a:pt x="345386" y="33674"/>
                  </a:lnTo>
                  <a:lnTo>
                    <a:pt x="346518" y="34123"/>
                  </a:lnTo>
                  <a:lnTo>
                    <a:pt x="347468" y="34783"/>
                  </a:lnTo>
                  <a:lnTo>
                    <a:pt x="347162" y="43379"/>
                  </a:lnTo>
                  <a:lnTo>
                    <a:pt x="349094" y="50770"/>
                  </a:lnTo>
                  <a:lnTo>
                    <a:pt x="352997" y="59278"/>
                  </a:lnTo>
                  <a:lnTo>
                    <a:pt x="353294" y="64525"/>
                  </a:lnTo>
                  <a:lnTo>
                    <a:pt x="352975" y="72115"/>
                  </a:lnTo>
                  <a:lnTo>
                    <a:pt x="353320" y="74881"/>
                  </a:lnTo>
                  <a:lnTo>
                    <a:pt x="354057" y="76539"/>
                  </a:lnTo>
                  <a:lnTo>
                    <a:pt x="355545" y="76779"/>
                  </a:lnTo>
                  <a:lnTo>
                    <a:pt x="357023" y="77257"/>
                  </a:lnTo>
                  <a:lnTo>
                    <a:pt x="357754" y="77700"/>
                  </a:lnTo>
                  <a:lnTo>
                    <a:pt x="358222" y="78903"/>
                  </a:lnTo>
                  <a:lnTo>
                    <a:pt x="358491" y="80734"/>
                  </a:lnTo>
                  <a:lnTo>
                    <a:pt x="358670" y="84751"/>
                  </a:lnTo>
                  <a:lnTo>
                    <a:pt x="358323" y="87516"/>
                  </a:lnTo>
                  <a:lnTo>
                    <a:pt x="357092" y="89387"/>
                  </a:lnTo>
                  <a:lnTo>
                    <a:pt x="353216" y="91086"/>
                  </a:lnTo>
                  <a:lnTo>
                    <a:pt x="350316" y="92855"/>
                  </a:lnTo>
                  <a:lnTo>
                    <a:pt x="347095" y="95411"/>
                  </a:lnTo>
                  <a:lnTo>
                    <a:pt x="339505" y="104403"/>
                  </a:lnTo>
                  <a:lnTo>
                    <a:pt x="337574" y="105947"/>
                  </a:lnTo>
                  <a:lnTo>
                    <a:pt x="336118" y="106268"/>
                  </a:lnTo>
                  <a:lnTo>
                    <a:pt x="334215" y="108969"/>
                  </a:lnTo>
                  <a:lnTo>
                    <a:pt x="336150" y="117719"/>
                  </a:lnTo>
                  <a:lnTo>
                    <a:pt x="344644" y="128882"/>
                  </a:lnTo>
                  <a:lnTo>
                    <a:pt x="350658" y="136888"/>
                  </a:lnTo>
                  <a:lnTo>
                    <a:pt x="351419" y="139405"/>
                  </a:lnTo>
                  <a:lnTo>
                    <a:pt x="351111" y="139864"/>
                  </a:lnTo>
                  <a:lnTo>
                    <a:pt x="350917" y="140360"/>
                  </a:lnTo>
                  <a:lnTo>
                    <a:pt x="350487" y="140962"/>
                  </a:lnTo>
                  <a:lnTo>
                    <a:pt x="349675" y="142436"/>
                  </a:lnTo>
                  <a:lnTo>
                    <a:pt x="353212" y="144864"/>
                  </a:lnTo>
                  <a:lnTo>
                    <a:pt x="371669" y="148807"/>
                  </a:lnTo>
                  <a:lnTo>
                    <a:pt x="380546" y="152577"/>
                  </a:lnTo>
                  <a:lnTo>
                    <a:pt x="384094" y="154838"/>
                  </a:lnTo>
                  <a:lnTo>
                    <a:pt x="385904" y="160044"/>
                  </a:lnTo>
                  <a:lnTo>
                    <a:pt x="383609" y="163884"/>
                  </a:lnTo>
                  <a:lnTo>
                    <a:pt x="383328" y="165115"/>
                  </a:lnTo>
                  <a:lnTo>
                    <a:pt x="382958" y="167110"/>
                  </a:lnTo>
                  <a:lnTo>
                    <a:pt x="384128" y="169615"/>
                  </a:lnTo>
                  <a:lnTo>
                    <a:pt x="384451" y="171609"/>
                  </a:lnTo>
                  <a:lnTo>
                    <a:pt x="384138" y="173637"/>
                  </a:lnTo>
                  <a:lnTo>
                    <a:pt x="382209" y="176988"/>
                  </a:lnTo>
                  <a:lnTo>
                    <a:pt x="380743" y="178882"/>
                  </a:lnTo>
                  <a:lnTo>
                    <a:pt x="379119" y="180410"/>
                  </a:lnTo>
                  <a:lnTo>
                    <a:pt x="374695" y="183465"/>
                  </a:lnTo>
                  <a:lnTo>
                    <a:pt x="372885" y="185283"/>
                  </a:lnTo>
                  <a:lnTo>
                    <a:pt x="372181" y="186941"/>
                  </a:lnTo>
                  <a:lnTo>
                    <a:pt x="371000" y="193148"/>
                  </a:lnTo>
                  <a:lnTo>
                    <a:pt x="370327" y="195456"/>
                  </a:lnTo>
                  <a:lnTo>
                    <a:pt x="369101" y="197121"/>
                  </a:lnTo>
                  <a:lnTo>
                    <a:pt x="366471" y="199140"/>
                  </a:lnTo>
                  <a:lnTo>
                    <a:pt x="365380" y="200337"/>
                  </a:lnTo>
                  <a:lnTo>
                    <a:pt x="364333" y="201861"/>
                  </a:lnTo>
                  <a:lnTo>
                    <a:pt x="363682" y="203609"/>
                  </a:lnTo>
                  <a:lnTo>
                    <a:pt x="363188" y="205748"/>
                  </a:lnTo>
                  <a:lnTo>
                    <a:pt x="362494" y="209948"/>
                  </a:lnTo>
                  <a:lnTo>
                    <a:pt x="361041" y="214265"/>
                  </a:lnTo>
                  <a:lnTo>
                    <a:pt x="358379" y="218411"/>
                  </a:lnTo>
                  <a:lnTo>
                    <a:pt x="357343" y="219640"/>
                  </a:lnTo>
                  <a:lnTo>
                    <a:pt x="356555" y="220481"/>
                  </a:lnTo>
                  <a:lnTo>
                    <a:pt x="355836" y="221055"/>
                  </a:lnTo>
                  <a:lnTo>
                    <a:pt x="355007" y="221494"/>
                  </a:lnTo>
                  <a:lnTo>
                    <a:pt x="354008" y="221836"/>
                  </a:lnTo>
                  <a:lnTo>
                    <a:pt x="352303" y="221972"/>
                  </a:lnTo>
                  <a:lnTo>
                    <a:pt x="351728" y="221888"/>
                  </a:lnTo>
                  <a:lnTo>
                    <a:pt x="351384" y="221784"/>
                  </a:lnTo>
                  <a:lnTo>
                    <a:pt x="351042" y="221652"/>
                  </a:lnTo>
                  <a:lnTo>
                    <a:pt x="350470" y="221479"/>
                  </a:lnTo>
                  <a:lnTo>
                    <a:pt x="349607" y="221355"/>
                  </a:lnTo>
                  <a:lnTo>
                    <a:pt x="348266" y="221565"/>
                  </a:lnTo>
                  <a:lnTo>
                    <a:pt x="347970" y="221714"/>
                  </a:lnTo>
                  <a:lnTo>
                    <a:pt x="347349" y="222707"/>
                  </a:lnTo>
                  <a:lnTo>
                    <a:pt x="344897" y="227306"/>
                  </a:lnTo>
                  <a:lnTo>
                    <a:pt x="344207" y="229941"/>
                  </a:lnTo>
                  <a:lnTo>
                    <a:pt x="344209" y="232662"/>
                  </a:lnTo>
                  <a:lnTo>
                    <a:pt x="345289" y="237293"/>
                  </a:lnTo>
                  <a:lnTo>
                    <a:pt x="345903" y="240632"/>
                  </a:lnTo>
                  <a:lnTo>
                    <a:pt x="346249" y="246221"/>
                  </a:lnTo>
                  <a:lnTo>
                    <a:pt x="346488" y="247430"/>
                  </a:lnTo>
                  <a:lnTo>
                    <a:pt x="359151" y="262710"/>
                  </a:lnTo>
                  <a:lnTo>
                    <a:pt x="365964" y="269133"/>
                  </a:lnTo>
                  <a:lnTo>
                    <a:pt x="373463" y="269238"/>
                  </a:lnTo>
                  <a:lnTo>
                    <a:pt x="374179" y="270658"/>
                  </a:lnTo>
                  <a:lnTo>
                    <a:pt x="374308" y="270914"/>
                  </a:lnTo>
                  <a:lnTo>
                    <a:pt x="372779" y="271310"/>
                  </a:lnTo>
                  <a:lnTo>
                    <a:pt x="366416" y="274593"/>
                  </a:lnTo>
                  <a:lnTo>
                    <a:pt x="364561" y="277356"/>
                  </a:lnTo>
                  <a:lnTo>
                    <a:pt x="361515" y="285539"/>
                  </a:lnTo>
                  <a:lnTo>
                    <a:pt x="359492" y="288621"/>
                  </a:lnTo>
                  <a:lnTo>
                    <a:pt x="356616" y="289829"/>
                  </a:lnTo>
                  <a:lnTo>
                    <a:pt x="348925" y="290481"/>
                  </a:lnTo>
                  <a:lnTo>
                    <a:pt x="345553" y="291494"/>
                  </a:lnTo>
                  <a:lnTo>
                    <a:pt x="343076" y="294257"/>
                  </a:lnTo>
                  <a:lnTo>
                    <a:pt x="338795" y="302150"/>
                  </a:lnTo>
                  <a:lnTo>
                    <a:pt x="336496" y="304329"/>
                  </a:lnTo>
                  <a:lnTo>
                    <a:pt x="334153" y="303875"/>
                  </a:lnTo>
                  <a:lnTo>
                    <a:pt x="324302" y="298718"/>
                  </a:lnTo>
                  <a:lnTo>
                    <a:pt x="292079" y="297013"/>
                  </a:lnTo>
                  <a:lnTo>
                    <a:pt x="286292" y="294744"/>
                  </a:lnTo>
                  <a:lnTo>
                    <a:pt x="280553" y="291411"/>
                  </a:lnTo>
                  <a:lnTo>
                    <a:pt x="266720" y="280345"/>
                  </a:lnTo>
                  <a:lnTo>
                    <a:pt x="264685" y="279987"/>
                  </a:lnTo>
                  <a:lnTo>
                    <a:pt x="261135" y="283197"/>
                  </a:lnTo>
                  <a:lnTo>
                    <a:pt x="261302" y="286371"/>
                  </a:lnTo>
                  <a:lnTo>
                    <a:pt x="262366" y="289407"/>
                  </a:lnTo>
                  <a:lnTo>
                    <a:pt x="261658" y="292273"/>
                  </a:lnTo>
                  <a:lnTo>
                    <a:pt x="249852" y="299013"/>
                  </a:lnTo>
                  <a:lnTo>
                    <a:pt x="241915" y="292139"/>
                  </a:lnTo>
                  <a:lnTo>
                    <a:pt x="238302" y="276261"/>
                  </a:lnTo>
                  <a:lnTo>
                    <a:pt x="239416" y="256106"/>
                  </a:lnTo>
                  <a:lnTo>
                    <a:pt x="231368" y="255318"/>
                  </a:lnTo>
                  <a:lnTo>
                    <a:pt x="208678" y="240995"/>
                  </a:lnTo>
                  <a:lnTo>
                    <a:pt x="204580" y="240180"/>
                  </a:lnTo>
                  <a:lnTo>
                    <a:pt x="193652" y="240723"/>
                  </a:lnTo>
                  <a:lnTo>
                    <a:pt x="178240" y="236397"/>
                  </a:lnTo>
                  <a:lnTo>
                    <a:pt x="174456" y="237130"/>
                  </a:lnTo>
                  <a:lnTo>
                    <a:pt x="171914" y="244965"/>
                  </a:lnTo>
                  <a:lnTo>
                    <a:pt x="174287" y="254345"/>
                  </a:lnTo>
                  <a:lnTo>
                    <a:pt x="175260" y="263889"/>
                  </a:lnTo>
                  <a:lnTo>
                    <a:pt x="168400" y="272165"/>
                  </a:lnTo>
                  <a:lnTo>
                    <a:pt x="163598" y="273025"/>
                  </a:lnTo>
                  <a:lnTo>
                    <a:pt x="149303" y="266905"/>
                  </a:lnTo>
                  <a:lnTo>
                    <a:pt x="132671" y="265929"/>
                  </a:lnTo>
                  <a:lnTo>
                    <a:pt x="128363" y="263819"/>
                  </a:lnTo>
                  <a:lnTo>
                    <a:pt x="123975" y="255576"/>
                  </a:lnTo>
                  <a:lnTo>
                    <a:pt x="125365" y="248634"/>
                  </a:lnTo>
                  <a:lnTo>
                    <a:pt x="127614" y="241497"/>
                  </a:lnTo>
                  <a:lnTo>
                    <a:pt x="125713" y="232316"/>
                  </a:lnTo>
                  <a:lnTo>
                    <a:pt x="124207" y="232270"/>
                  </a:lnTo>
                  <a:lnTo>
                    <a:pt x="119029" y="235322"/>
                  </a:lnTo>
                  <a:lnTo>
                    <a:pt x="117362" y="235414"/>
                  </a:lnTo>
                  <a:lnTo>
                    <a:pt x="116461" y="233326"/>
                  </a:lnTo>
                  <a:lnTo>
                    <a:pt x="115954" y="228802"/>
                  </a:lnTo>
                  <a:lnTo>
                    <a:pt x="115593" y="227513"/>
                  </a:lnTo>
                  <a:lnTo>
                    <a:pt x="114518" y="225062"/>
                  </a:lnTo>
                  <a:lnTo>
                    <a:pt x="112121" y="214314"/>
                  </a:lnTo>
                  <a:lnTo>
                    <a:pt x="110625" y="212581"/>
                  </a:lnTo>
                  <a:lnTo>
                    <a:pt x="105555" y="210456"/>
                  </a:lnTo>
                  <a:lnTo>
                    <a:pt x="103631" y="208789"/>
                  </a:lnTo>
                  <a:lnTo>
                    <a:pt x="103324" y="206466"/>
                  </a:lnTo>
                  <a:lnTo>
                    <a:pt x="104387" y="200719"/>
                  </a:lnTo>
                  <a:lnTo>
                    <a:pt x="103932" y="198270"/>
                  </a:lnTo>
                  <a:lnTo>
                    <a:pt x="80385" y="173019"/>
                  </a:lnTo>
                  <a:lnTo>
                    <a:pt x="74544" y="165105"/>
                  </a:lnTo>
                  <a:lnTo>
                    <a:pt x="72543" y="158341"/>
                  </a:lnTo>
                  <a:lnTo>
                    <a:pt x="74851" y="153223"/>
                  </a:lnTo>
                  <a:lnTo>
                    <a:pt x="81482" y="153245"/>
                  </a:lnTo>
                  <a:lnTo>
                    <a:pt x="83334" y="148725"/>
                  </a:lnTo>
                  <a:lnTo>
                    <a:pt x="82242" y="145236"/>
                  </a:lnTo>
                  <a:lnTo>
                    <a:pt x="65180" y="125040"/>
                  </a:lnTo>
                  <a:lnTo>
                    <a:pt x="62806" y="121097"/>
                  </a:lnTo>
                  <a:lnTo>
                    <a:pt x="63548" y="120898"/>
                  </a:lnTo>
                  <a:lnTo>
                    <a:pt x="63638" y="117707"/>
                  </a:lnTo>
                  <a:lnTo>
                    <a:pt x="62887" y="112932"/>
                  </a:lnTo>
                  <a:lnTo>
                    <a:pt x="60832" y="108058"/>
                  </a:lnTo>
                  <a:lnTo>
                    <a:pt x="54785" y="101551"/>
                  </a:lnTo>
                  <a:lnTo>
                    <a:pt x="21627" y="82621"/>
                  </a:lnTo>
                  <a:lnTo>
                    <a:pt x="17562" y="81689"/>
                  </a:lnTo>
                  <a:lnTo>
                    <a:pt x="14468" y="82704"/>
                  </a:lnTo>
                  <a:lnTo>
                    <a:pt x="7146" y="87185"/>
                  </a:lnTo>
                  <a:lnTo>
                    <a:pt x="3154" y="87734"/>
                  </a:lnTo>
                  <a:lnTo>
                    <a:pt x="0" y="87223"/>
                  </a:lnTo>
                  <a:lnTo>
                    <a:pt x="257" y="83015"/>
                  </a:lnTo>
                  <a:lnTo>
                    <a:pt x="53" y="65657"/>
                  </a:lnTo>
                  <a:lnTo>
                    <a:pt x="3482" y="47349"/>
                  </a:lnTo>
                  <a:lnTo>
                    <a:pt x="6349" y="47149"/>
                  </a:lnTo>
                  <a:lnTo>
                    <a:pt x="56059" y="45321"/>
                  </a:lnTo>
                  <a:lnTo>
                    <a:pt x="98622" y="49633"/>
                  </a:lnTo>
                  <a:lnTo>
                    <a:pt x="123155" y="39916"/>
                  </a:lnTo>
                  <a:lnTo>
                    <a:pt x="131902" y="41189"/>
                  </a:lnTo>
                  <a:lnTo>
                    <a:pt x="133305" y="41170"/>
                  </a:lnTo>
                  <a:lnTo>
                    <a:pt x="138940" y="40183"/>
                  </a:lnTo>
                  <a:lnTo>
                    <a:pt x="194760" y="17639"/>
                  </a:lnTo>
                  <a:lnTo>
                    <a:pt x="224027" y="342"/>
                  </a:lnTo>
                  <a:lnTo>
                    <a:pt x="226170" y="0"/>
                  </a:lnTo>
                  <a:lnTo>
                    <a:pt x="228624" y="382"/>
                  </a:lnTo>
                  <a:lnTo>
                    <a:pt x="233454" y="2829"/>
                  </a:lnTo>
                  <a:lnTo>
                    <a:pt x="236651" y="5790"/>
                  </a:lnTo>
                  <a:lnTo>
                    <a:pt x="239448" y="5401"/>
                  </a:lnTo>
                  <a:lnTo>
                    <a:pt x="247167" y="96"/>
                  </a:lnTo>
                  <a:lnTo>
                    <a:pt x="269334" y="13695"/>
                  </a:lnTo>
                  <a:lnTo>
                    <a:pt x="271104" y="15254"/>
                  </a:lnTo>
                  <a:lnTo>
                    <a:pt x="273593" y="16167"/>
                  </a:lnTo>
                  <a:lnTo>
                    <a:pt x="296073" y="18053"/>
                  </a:lnTo>
                  <a:lnTo>
                    <a:pt x="297939" y="18774"/>
                  </a:lnTo>
                  <a:lnTo>
                    <a:pt x="305592" y="27014"/>
                  </a:lnTo>
                  <a:lnTo>
                    <a:pt x="318892" y="37362"/>
                  </a:lnTo>
                  <a:lnTo>
                    <a:pt x="319935" y="38976"/>
                  </a:lnTo>
                  <a:lnTo>
                    <a:pt x="320866" y="40082"/>
                  </a:lnTo>
                  <a:lnTo>
                    <a:pt x="323136" y="40802"/>
                  </a:lnTo>
                  <a:close/>
                </a:path>
              </a:pathLst>
            </a:custGeom>
            <a:solidFill>
              <a:srgbClr val="BFBFBF"/>
            </a:solidFill>
            <a:ln w="6350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AC1FD5A7-BAB0-1D44-F27E-FDE37B61E0EA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>
            <a:xfrm>
              <a:off x="4039103" y="4283712"/>
              <a:ext cx="1811883" cy="1882138"/>
            </a:xfrm>
            <a:custGeom>
              <a:avLst/>
              <a:gdLst/>
              <a:ahLst/>
              <a:cxnLst/>
              <a:rect l="0" t="0" r="0" b="0"/>
              <a:pathLst>
                <a:path w="1811883" h="1882138">
                  <a:moveTo>
                    <a:pt x="428067" y="9727"/>
                  </a:moveTo>
                  <a:lnTo>
                    <a:pt x="445895" y="7917"/>
                  </a:lnTo>
                  <a:lnTo>
                    <a:pt x="449104" y="8491"/>
                  </a:lnTo>
                  <a:lnTo>
                    <a:pt x="451073" y="9546"/>
                  </a:lnTo>
                  <a:lnTo>
                    <a:pt x="451970" y="10893"/>
                  </a:lnTo>
                  <a:lnTo>
                    <a:pt x="453205" y="12287"/>
                  </a:lnTo>
                  <a:lnTo>
                    <a:pt x="455398" y="13919"/>
                  </a:lnTo>
                  <a:lnTo>
                    <a:pt x="456690" y="15341"/>
                  </a:lnTo>
                  <a:lnTo>
                    <a:pt x="457531" y="16792"/>
                  </a:lnTo>
                  <a:lnTo>
                    <a:pt x="458085" y="19954"/>
                  </a:lnTo>
                  <a:lnTo>
                    <a:pt x="459652" y="24067"/>
                  </a:lnTo>
                  <a:lnTo>
                    <a:pt x="460282" y="27143"/>
                  </a:lnTo>
                  <a:lnTo>
                    <a:pt x="461517" y="28861"/>
                  </a:lnTo>
                  <a:lnTo>
                    <a:pt x="463882" y="30301"/>
                  </a:lnTo>
                  <a:lnTo>
                    <a:pt x="493204" y="40515"/>
                  </a:lnTo>
                  <a:lnTo>
                    <a:pt x="496416" y="42381"/>
                  </a:lnTo>
                  <a:lnTo>
                    <a:pt x="498275" y="44261"/>
                  </a:lnTo>
                  <a:lnTo>
                    <a:pt x="498611" y="45724"/>
                  </a:lnTo>
                  <a:lnTo>
                    <a:pt x="499848" y="48799"/>
                  </a:lnTo>
                  <a:lnTo>
                    <a:pt x="500128" y="50100"/>
                  </a:lnTo>
                  <a:lnTo>
                    <a:pt x="500183" y="51697"/>
                  </a:lnTo>
                  <a:lnTo>
                    <a:pt x="499952" y="55213"/>
                  </a:lnTo>
                  <a:lnTo>
                    <a:pt x="499950" y="56808"/>
                  </a:lnTo>
                  <a:lnTo>
                    <a:pt x="500400" y="58375"/>
                  </a:lnTo>
                  <a:lnTo>
                    <a:pt x="501320" y="59735"/>
                  </a:lnTo>
                  <a:lnTo>
                    <a:pt x="506452" y="63908"/>
                  </a:lnTo>
                  <a:lnTo>
                    <a:pt x="508256" y="66009"/>
                  </a:lnTo>
                  <a:lnTo>
                    <a:pt x="509891" y="68257"/>
                  </a:lnTo>
                  <a:lnTo>
                    <a:pt x="511357" y="70683"/>
                  </a:lnTo>
                  <a:lnTo>
                    <a:pt x="512880" y="72427"/>
                  </a:lnTo>
                  <a:lnTo>
                    <a:pt x="522552" y="80250"/>
                  </a:lnTo>
                  <a:lnTo>
                    <a:pt x="523455" y="82216"/>
                  </a:lnTo>
                  <a:lnTo>
                    <a:pt x="523058" y="83545"/>
                  </a:lnTo>
                  <a:lnTo>
                    <a:pt x="522210" y="84639"/>
                  </a:lnTo>
                  <a:lnTo>
                    <a:pt x="520326" y="86676"/>
                  </a:lnTo>
                  <a:lnTo>
                    <a:pt x="519930" y="88390"/>
                  </a:lnTo>
                  <a:lnTo>
                    <a:pt x="520097" y="90384"/>
                  </a:lnTo>
                  <a:lnTo>
                    <a:pt x="521810" y="93623"/>
                  </a:lnTo>
                  <a:lnTo>
                    <a:pt x="523166" y="94834"/>
                  </a:lnTo>
                  <a:lnTo>
                    <a:pt x="524748" y="95692"/>
                  </a:lnTo>
                  <a:lnTo>
                    <a:pt x="531756" y="96375"/>
                  </a:lnTo>
                  <a:lnTo>
                    <a:pt x="535034" y="95902"/>
                  </a:lnTo>
                  <a:lnTo>
                    <a:pt x="538313" y="94512"/>
                  </a:lnTo>
                  <a:lnTo>
                    <a:pt x="540800" y="93862"/>
                  </a:lnTo>
                  <a:lnTo>
                    <a:pt x="541704" y="94837"/>
                  </a:lnTo>
                  <a:lnTo>
                    <a:pt x="542232" y="96270"/>
                  </a:lnTo>
                  <a:lnTo>
                    <a:pt x="542571" y="97821"/>
                  </a:lnTo>
                  <a:lnTo>
                    <a:pt x="543759" y="100452"/>
                  </a:lnTo>
                  <a:lnTo>
                    <a:pt x="545003" y="102314"/>
                  </a:lnTo>
                  <a:lnTo>
                    <a:pt x="546870" y="104617"/>
                  </a:lnTo>
                  <a:lnTo>
                    <a:pt x="556658" y="112946"/>
                  </a:lnTo>
                  <a:lnTo>
                    <a:pt x="557507" y="114585"/>
                  </a:lnTo>
                  <a:lnTo>
                    <a:pt x="557791" y="116315"/>
                  </a:lnTo>
                  <a:lnTo>
                    <a:pt x="557623" y="118353"/>
                  </a:lnTo>
                  <a:lnTo>
                    <a:pt x="558246" y="119401"/>
                  </a:lnTo>
                  <a:lnTo>
                    <a:pt x="559152" y="119948"/>
                  </a:lnTo>
                  <a:lnTo>
                    <a:pt x="563980" y="120269"/>
                  </a:lnTo>
                  <a:lnTo>
                    <a:pt x="567035" y="120885"/>
                  </a:lnTo>
                  <a:lnTo>
                    <a:pt x="568789" y="120678"/>
                  </a:lnTo>
                  <a:lnTo>
                    <a:pt x="569919" y="119878"/>
                  </a:lnTo>
                  <a:lnTo>
                    <a:pt x="572292" y="117746"/>
                  </a:lnTo>
                  <a:lnTo>
                    <a:pt x="578343" y="116910"/>
                  </a:lnTo>
                  <a:lnTo>
                    <a:pt x="583189" y="127660"/>
                  </a:lnTo>
                  <a:lnTo>
                    <a:pt x="586364" y="131260"/>
                  </a:lnTo>
                  <a:lnTo>
                    <a:pt x="591407" y="134012"/>
                  </a:lnTo>
                  <a:lnTo>
                    <a:pt x="592599" y="135650"/>
                  </a:lnTo>
                  <a:lnTo>
                    <a:pt x="592999" y="137423"/>
                  </a:lnTo>
                  <a:lnTo>
                    <a:pt x="593175" y="140289"/>
                  </a:lnTo>
                  <a:lnTo>
                    <a:pt x="593693" y="144043"/>
                  </a:lnTo>
                  <a:lnTo>
                    <a:pt x="595463" y="151131"/>
                  </a:lnTo>
                  <a:lnTo>
                    <a:pt x="595867" y="154675"/>
                  </a:lnTo>
                  <a:lnTo>
                    <a:pt x="595817" y="157483"/>
                  </a:lnTo>
                  <a:lnTo>
                    <a:pt x="595197" y="159316"/>
                  </a:lnTo>
                  <a:lnTo>
                    <a:pt x="594921" y="162450"/>
                  </a:lnTo>
                  <a:lnTo>
                    <a:pt x="594132" y="164358"/>
                  </a:lnTo>
                  <a:lnTo>
                    <a:pt x="593571" y="166945"/>
                  </a:lnTo>
                  <a:lnTo>
                    <a:pt x="593858" y="169043"/>
                  </a:lnTo>
                  <a:lnTo>
                    <a:pt x="595113" y="172557"/>
                  </a:lnTo>
                  <a:lnTo>
                    <a:pt x="598472" y="178873"/>
                  </a:lnTo>
                  <a:lnTo>
                    <a:pt x="598647" y="181061"/>
                  </a:lnTo>
                  <a:lnTo>
                    <a:pt x="598254" y="182805"/>
                  </a:lnTo>
                  <a:lnTo>
                    <a:pt x="597293" y="184520"/>
                  </a:lnTo>
                  <a:lnTo>
                    <a:pt x="597297" y="185968"/>
                  </a:lnTo>
                  <a:lnTo>
                    <a:pt x="597640" y="187401"/>
                  </a:lnTo>
                  <a:lnTo>
                    <a:pt x="599234" y="190130"/>
                  </a:lnTo>
                  <a:lnTo>
                    <a:pt x="602136" y="193714"/>
                  </a:lnTo>
                  <a:lnTo>
                    <a:pt x="618662" y="193595"/>
                  </a:lnTo>
                  <a:lnTo>
                    <a:pt x="627708" y="196079"/>
                  </a:lnTo>
                  <a:lnTo>
                    <a:pt x="632430" y="199756"/>
                  </a:lnTo>
                  <a:lnTo>
                    <a:pt x="637491" y="202768"/>
                  </a:lnTo>
                  <a:lnTo>
                    <a:pt x="640047" y="203393"/>
                  </a:lnTo>
                  <a:lnTo>
                    <a:pt x="641747" y="202928"/>
                  </a:lnTo>
                  <a:lnTo>
                    <a:pt x="642253" y="201582"/>
                  </a:lnTo>
                  <a:lnTo>
                    <a:pt x="642360" y="199895"/>
                  </a:lnTo>
                  <a:lnTo>
                    <a:pt x="642342" y="195375"/>
                  </a:lnTo>
                  <a:lnTo>
                    <a:pt x="643996" y="183340"/>
                  </a:lnTo>
                  <a:lnTo>
                    <a:pt x="646668" y="180255"/>
                  </a:lnTo>
                  <a:lnTo>
                    <a:pt x="648142" y="180190"/>
                  </a:lnTo>
                  <a:lnTo>
                    <a:pt x="649504" y="180571"/>
                  </a:lnTo>
                  <a:lnTo>
                    <a:pt x="650413" y="181171"/>
                  </a:lnTo>
                  <a:lnTo>
                    <a:pt x="651837" y="182496"/>
                  </a:lnTo>
                  <a:lnTo>
                    <a:pt x="653823" y="182797"/>
                  </a:lnTo>
                  <a:lnTo>
                    <a:pt x="656827" y="182561"/>
                  </a:lnTo>
                  <a:lnTo>
                    <a:pt x="668457" y="179847"/>
                  </a:lnTo>
                  <a:lnTo>
                    <a:pt x="669933" y="180283"/>
                  </a:lnTo>
                  <a:lnTo>
                    <a:pt x="675163" y="182992"/>
                  </a:lnTo>
                  <a:lnTo>
                    <a:pt x="679648" y="184003"/>
                  </a:lnTo>
                  <a:lnTo>
                    <a:pt x="681972" y="183901"/>
                  </a:lnTo>
                  <a:lnTo>
                    <a:pt x="683727" y="183300"/>
                  </a:lnTo>
                  <a:lnTo>
                    <a:pt x="684798" y="182158"/>
                  </a:lnTo>
                  <a:lnTo>
                    <a:pt x="685716" y="180719"/>
                  </a:lnTo>
                  <a:lnTo>
                    <a:pt x="686270" y="178293"/>
                  </a:lnTo>
                  <a:lnTo>
                    <a:pt x="686429" y="176252"/>
                  </a:lnTo>
                  <a:lnTo>
                    <a:pt x="686305" y="174331"/>
                  </a:lnTo>
                  <a:lnTo>
                    <a:pt x="686069" y="172722"/>
                  </a:lnTo>
                  <a:lnTo>
                    <a:pt x="685373" y="169726"/>
                  </a:lnTo>
                  <a:lnTo>
                    <a:pt x="684780" y="168401"/>
                  </a:lnTo>
                  <a:lnTo>
                    <a:pt x="683980" y="167251"/>
                  </a:lnTo>
                  <a:lnTo>
                    <a:pt x="682785" y="166372"/>
                  </a:lnTo>
                  <a:lnTo>
                    <a:pt x="676373" y="164663"/>
                  </a:lnTo>
                  <a:lnTo>
                    <a:pt x="674896" y="164049"/>
                  </a:lnTo>
                  <a:lnTo>
                    <a:pt x="673589" y="163316"/>
                  </a:lnTo>
                  <a:lnTo>
                    <a:pt x="672621" y="162346"/>
                  </a:lnTo>
                  <a:lnTo>
                    <a:pt x="671822" y="161257"/>
                  </a:lnTo>
                  <a:lnTo>
                    <a:pt x="671306" y="159916"/>
                  </a:lnTo>
                  <a:lnTo>
                    <a:pt x="670441" y="156979"/>
                  </a:lnTo>
                  <a:lnTo>
                    <a:pt x="669643" y="155831"/>
                  </a:lnTo>
                  <a:lnTo>
                    <a:pt x="668449" y="155067"/>
                  </a:lnTo>
                  <a:lnTo>
                    <a:pt x="667031" y="154603"/>
                  </a:lnTo>
                  <a:lnTo>
                    <a:pt x="660671" y="155224"/>
                  </a:lnTo>
                  <a:lnTo>
                    <a:pt x="659083" y="154965"/>
                  </a:lnTo>
                  <a:lnTo>
                    <a:pt x="657608" y="154468"/>
                  </a:lnTo>
                  <a:lnTo>
                    <a:pt x="656415" y="153647"/>
                  </a:lnTo>
                  <a:lnTo>
                    <a:pt x="655448" y="152706"/>
                  </a:lnTo>
                  <a:lnTo>
                    <a:pt x="651066" y="147671"/>
                  </a:lnTo>
                  <a:lnTo>
                    <a:pt x="650440" y="147082"/>
                  </a:lnTo>
                  <a:lnTo>
                    <a:pt x="646125" y="144189"/>
                  </a:lnTo>
                  <a:lnTo>
                    <a:pt x="642078" y="142299"/>
                  </a:lnTo>
                  <a:lnTo>
                    <a:pt x="640603" y="141330"/>
                  </a:lnTo>
                  <a:lnTo>
                    <a:pt x="639239" y="140094"/>
                  </a:lnTo>
                  <a:lnTo>
                    <a:pt x="637759" y="137824"/>
                  </a:lnTo>
                  <a:lnTo>
                    <a:pt x="637462" y="134219"/>
                  </a:lnTo>
                  <a:lnTo>
                    <a:pt x="638770" y="120828"/>
                  </a:lnTo>
                  <a:lnTo>
                    <a:pt x="640228" y="117510"/>
                  </a:lnTo>
                  <a:lnTo>
                    <a:pt x="641805" y="115613"/>
                  </a:lnTo>
                  <a:lnTo>
                    <a:pt x="643331" y="115371"/>
                  </a:lnTo>
                  <a:lnTo>
                    <a:pt x="644934" y="115439"/>
                  </a:lnTo>
                  <a:lnTo>
                    <a:pt x="650090" y="117650"/>
                  </a:lnTo>
                  <a:lnTo>
                    <a:pt x="650883" y="117852"/>
                  </a:lnTo>
                  <a:lnTo>
                    <a:pt x="652128" y="117936"/>
                  </a:lnTo>
                  <a:lnTo>
                    <a:pt x="653313" y="117280"/>
                  </a:lnTo>
                  <a:lnTo>
                    <a:pt x="654325" y="115976"/>
                  </a:lnTo>
                  <a:lnTo>
                    <a:pt x="655336" y="114110"/>
                  </a:lnTo>
                  <a:lnTo>
                    <a:pt x="656064" y="112510"/>
                  </a:lnTo>
                  <a:lnTo>
                    <a:pt x="661170" y="103857"/>
                  </a:lnTo>
                  <a:lnTo>
                    <a:pt x="662971" y="101987"/>
                  </a:lnTo>
                  <a:lnTo>
                    <a:pt x="664568" y="100930"/>
                  </a:lnTo>
                  <a:lnTo>
                    <a:pt x="665868" y="101088"/>
                  </a:lnTo>
                  <a:lnTo>
                    <a:pt x="666604" y="101276"/>
                  </a:lnTo>
                  <a:lnTo>
                    <a:pt x="670061" y="102959"/>
                  </a:lnTo>
                  <a:lnTo>
                    <a:pt x="670967" y="103131"/>
                  </a:lnTo>
                  <a:lnTo>
                    <a:pt x="672211" y="103183"/>
                  </a:lnTo>
                  <a:lnTo>
                    <a:pt x="674864" y="102387"/>
                  </a:lnTo>
                  <a:lnTo>
                    <a:pt x="676105" y="101774"/>
                  </a:lnTo>
                  <a:lnTo>
                    <a:pt x="680610" y="98500"/>
                  </a:lnTo>
                  <a:lnTo>
                    <a:pt x="681963" y="97960"/>
                  </a:lnTo>
                  <a:lnTo>
                    <a:pt x="683433" y="97819"/>
                  </a:lnTo>
                  <a:lnTo>
                    <a:pt x="690184" y="98948"/>
                  </a:lnTo>
                  <a:lnTo>
                    <a:pt x="692947" y="97721"/>
                  </a:lnTo>
                  <a:lnTo>
                    <a:pt x="694524" y="96604"/>
                  </a:lnTo>
                  <a:lnTo>
                    <a:pt x="695821" y="96169"/>
                  </a:lnTo>
                  <a:lnTo>
                    <a:pt x="696782" y="96163"/>
                  </a:lnTo>
                  <a:lnTo>
                    <a:pt x="697745" y="96585"/>
                  </a:lnTo>
                  <a:lnTo>
                    <a:pt x="698767" y="97303"/>
                  </a:lnTo>
                  <a:lnTo>
                    <a:pt x="699678" y="98303"/>
                  </a:lnTo>
                  <a:lnTo>
                    <a:pt x="700476" y="99494"/>
                  </a:lnTo>
                  <a:lnTo>
                    <a:pt x="701106" y="100731"/>
                  </a:lnTo>
                  <a:lnTo>
                    <a:pt x="701847" y="101746"/>
                  </a:lnTo>
                  <a:lnTo>
                    <a:pt x="702700" y="102628"/>
                  </a:lnTo>
                  <a:lnTo>
                    <a:pt x="703550" y="102948"/>
                  </a:lnTo>
                  <a:lnTo>
                    <a:pt x="704700" y="103059"/>
                  </a:lnTo>
                  <a:lnTo>
                    <a:pt x="705981" y="102874"/>
                  </a:lnTo>
                  <a:lnTo>
                    <a:pt x="715194" y="99666"/>
                  </a:lnTo>
                  <a:lnTo>
                    <a:pt x="718131" y="99306"/>
                  </a:lnTo>
                  <a:lnTo>
                    <a:pt x="720906" y="99983"/>
                  </a:lnTo>
                  <a:lnTo>
                    <a:pt x="733494" y="118143"/>
                  </a:lnTo>
                  <a:lnTo>
                    <a:pt x="735032" y="119639"/>
                  </a:lnTo>
                  <a:lnTo>
                    <a:pt x="737307" y="121276"/>
                  </a:lnTo>
                  <a:lnTo>
                    <a:pt x="738093" y="120428"/>
                  </a:lnTo>
                  <a:lnTo>
                    <a:pt x="738651" y="119375"/>
                  </a:lnTo>
                  <a:lnTo>
                    <a:pt x="738926" y="118310"/>
                  </a:lnTo>
                  <a:lnTo>
                    <a:pt x="739404" y="114168"/>
                  </a:lnTo>
                  <a:lnTo>
                    <a:pt x="739909" y="113603"/>
                  </a:lnTo>
                  <a:lnTo>
                    <a:pt x="740756" y="113390"/>
                  </a:lnTo>
                  <a:lnTo>
                    <a:pt x="750627" y="114731"/>
                  </a:lnTo>
                  <a:lnTo>
                    <a:pt x="753241" y="116217"/>
                  </a:lnTo>
                  <a:lnTo>
                    <a:pt x="755180" y="118183"/>
                  </a:lnTo>
                  <a:lnTo>
                    <a:pt x="756903" y="121361"/>
                  </a:lnTo>
                  <a:lnTo>
                    <a:pt x="758381" y="122234"/>
                  </a:lnTo>
                  <a:lnTo>
                    <a:pt x="759853" y="122340"/>
                  </a:lnTo>
                  <a:lnTo>
                    <a:pt x="765094" y="119903"/>
                  </a:lnTo>
                  <a:lnTo>
                    <a:pt x="766618" y="119505"/>
                  </a:lnTo>
                  <a:lnTo>
                    <a:pt x="771554" y="118931"/>
                  </a:lnTo>
                  <a:lnTo>
                    <a:pt x="772907" y="118371"/>
                  </a:lnTo>
                  <a:lnTo>
                    <a:pt x="773916" y="117359"/>
                  </a:lnTo>
                  <a:lnTo>
                    <a:pt x="774641" y="116111"/>
                  </a:lnTo>
                  <a:lnTo>
                    <a:pt x="775872" y="114636"/>
                  </a:lnTo>
                  <a:lnTo>
                    <a:pt x="777500" y="113293"/>
                  </a:lnTo>
                  <a:lnTo>
                    <a:pt x="781224" y="112238"/>
                  </a:lnTo>
                  <a:lnTo>
                    <a:pt x="782694" y="112151"/>
                  </a:lnTo>
                  <a:lnTo>
                    <a:pt x="783889" y="112938"/>
                  </a:lnTo>
                  <a:lnTo>
                    <a:pt x="784826" y="116446"/>
                  </a:lnTo>
                  <a:lnTo>
                    <a:pt x="785978" y="118742"/>
                  </a:lnTo>
                  <a:lnTo>
                    <a:pt x="787172" y="119350"/>
                  </a:lnTo>
                  <a:lnTo>
                    <a:pt x="789508" y="119121"/>
                  </a:lnTo>
                  <a:lnTo>
                    <a:pt x="790814" y="119613"/>
                  </a:lnTo>
                  <a:lnTo>
                    <a:pt x="791897" y="120488"/>
                  </a:lnTo>
                  <a:lnTo>
                    <a:pt x="794772" y="125352"/>
                  </a:lnTo>
                  <a:lnTo>
                    <a:pt x="796435" y="127583"/>
                  </a:lnTo>
                  <a:lnTo>
                    <a:pt x="797873" y="130006"/>
                  </a:lnTo>
                  <a:lnTo>
                    <a:pt x="798452" y="131331"/>
                  </a:lnTo>
                  <a:lnTo>
                    <a:pt x="798917" y="132612"/>
                  </a:lnTo>
                  <a:lnTo>
                    <a:pt x="799043" y="133895"/>
                  </a:lnTo>
                  <a:lnTo>
                    <a:pt x="798881" y="134695"/>
                  </a:lnTo>
                  <a:lnTo>
                    <a:pt x="798382" y="135824"/>
                  </a:lnTo>
                  <a:lnTo>
                    <a:pt x="791327" y="144019"/>
                  </a:lnTo>
                  <a:lnTo>
                    <a:pt x="794259" y="148631"/>
                  </a:lnTo>
                  <a:lnTo>
                    <a:pt x="812345" y="165416"/>
                  </a:lnTo>
                  <a:lnTo>
                    <a:pt x="815902" y="158627"/>
                  </a:lnTo>
                  <a:lnTo>
                    <a:pt x="817818" y="157617"/>
                  </a:lnTo>
                  <a:lnTo>
                    <a:pt x="821024" y="160775"/>
                  </a:lnTo>
                  <a:lnTo>
                    <a:pt x="822961" y="161848"/>
                  </a:lnTo>
                  <a:lnTo>
                    <a:pt x="831280" y="164330"/>
                  </a:lnTo>
                  <a:lnTo>
                    <a:pt x="833771" y="164065"/>
                  </a:lnTo>
                  <a:lnTo>
                    <a:pt x="835349" y="163280"/>
                  </a:lnTo>
                  <a:lnTo>
                    <a:pt x="835845" y="162033"/>
                  </a:lnTo>
                  <a:lnTo>
                    <a:pt x="835949" y="161115"/>
                  </a:lnTo>
                  <a:lnTo>
                    <a:pt x="835877" y="159785"/>
                  </a:lnTo>
                  <a:lnTo>
                    <a:pt x="835208" y="155567"/>
                  </a:lnTo>
                  <a:lnTo>
                    <a:pt x="835589" y="154175"/>
                  </a:lnTo>
                  <a:lnTo>
                    <a:pt x="836246" y="152084"/>
                  </a:lnTo>
                  <a:lnTo>
                    <a:pt x="838470" y="148348"/>
                  </a:lnTo>
                  <a:lnTo>
                    <a:pt x="839010" y="145979"/>
                  </a:lnTo>
                  <a:lnTo>
                    <a:pt x="839045" y="144042"/>
                  </a:lnTo>
                  <a:lnTo>
                    <a:pt x="838520" y="142703"/>
                  </a:lnTo>
                  <a:lnTo>
                    <a:pt x="836440" y="139003"/>
                  </a:lnTo>
                  <a:lnTo>
                    <a:pt x="836418" y="136934"/>
                  </a:lnTo>
                  <a:lnTo>
                    <a:pt x="836953" y="134180"/>
                  </a:lnTo>
                  <a:lnTo>
                    <a:pt x="840041" y="126815"/>
                  </a:lnTo>
                  <a:lnTo>
                    <a:pt x="840475" y="125184"/>
                  </a:lnTo>
                  <a:lnTo>
                    <a:pt x="840345" y="123724"/>
                  </a:lnTo>
                  <a:lnTo>
                    <a:pt x="839931" y="122044"/>
                  </a:lnTo>
                  <a:lnTo>
                    <a:pt x="839676" y="119475"/>
                  </a:lnTo>
                  <a:lnTo>
                    <a:pt x="839777" y="118499"/>
                  </a:lnTo>
                  <a:lnTo>
                    <a:pt x="840676" y="117854"/>
                  </a:lnTo>
                  <a:lnTo>
                    <a:pt x="843325" y="117010"/>
                  </a:lnTo>
                  <a:lnTo>
                    <a:pt x="843825" y="116251"/>
                  </a:lnTo>
                  <a:lnTo>
                    <a:pt x="843928" y="115275"/>
                  </a:lnTo>
                  <a:lnTo>
                    <a:pt x="843163" y="112683"/>
                  </a:lnTo>
                  <a:lnTo>
                    <a:pt x="842920" y="111265"/>
                  </a:lnTo>
                  <a:lnTo>
                    <a:pt x="842849" y="109966"/>
                  </a:lnTo>
                  <a:lnTo>
                    <a:pt x="842831" y="108371"/>
                  </a:lnTo>
                  <a:lnTo>
                    <a:pt x="842700" y="106776"/>
                  </a:lnTo>
                  <a:lnTo>
                    <a:pt x="842175" y="105394"/>
                  </a:lnTo>
                  <a:lnTo>
                    <a:pt x="841595" y="104100"/>
                  </a:lnTo>
                  <a:lnTo>
                    <a:pt x="838958" y="100864"/>
                  </a:lnTo>
                  <a:lnTo>
                    <a:pt x="838320" y="99451"/>
                  </a:lnTo>
                  <a:lnTo>
                    <a:pt x="838018" y="97727"/>
                  </a:lnTo>
                  <a:lnTo>
                    <a:pt x="838049" y="95392"/>
                  </a:lnTo>
                  <a:lnTo>
                    <a:pt x="837805" y="93828"/>
                  </a:lnTo>
                  <a:lnTo>
                    <a:pt x="836421" y="91330"/>
                  </a:lnTo>
                  <a:lnTo>
                    <a:pt x="835896" y="89859"/>
                  </a:lnTo>
                  <a:lnTo>
                    <a:pt x="835873" y="87732"/>
                  </a:lnTo>
                  <a:lnTo>
                    <a:pt x="837003" y="77640"/>
                  </a:lnTo>
                  <a:lnTo>
                    <a:pt x="837040" y="75838"/>
                  </a:lnTo>
                  <a:lnTo>
                    <a:pt x="836852" y="74155"/>
                  </a:lnTo>
                  <a:lnTo>
                    <a:pt x="836308" y="70998"/>
                  </a:lnTo>
                  <a:lnTo>
                    <a:pt x="835896" y="69525"/>
                  </a:lnTo>
                  <a:lnTo>
                    <a:pt x="835201" y="67967"/>
                  </a:lnTo>
                  <a:lnTo>
                    <a:pt x="834561" y="66200"/>
                  </a:lnTo>
                  <a:lnTo>
                    <a:pt x="833912" y="63666"/>
                  </a:lnTo>
                  <a:lnTo>
                    <a:pt x="834680" y="61617"/>
                  </a:lnTo>
                  <a:lnTo>
                    <a:pt x="834779" y="60375"/>
                  </a:lnTo>
                  <a:lnTo>
                    <a:pt x="834598" y="59314"/>
                  </a:lnTo>
                  <a:lnTo>
                    <a:pt x="833493" y="56429"/>
                  </a:lnTo>
                  <a:lnTo>
                    <a:pt x="831676" y="50214"/>
                  </a:lnTo>
                  <a:lnTo>
                    <a:pt x="841721" y="45238"/>
                  </a:lnTo>
                  <a:lnTo>
                    <a:pt x="848754" y="43548"/>
                  </a:lnTo>
                  <a:lnTo>
                    <a:pt x="856161" y="38553"/>
                  </a:lnTo>
                  <a:lnTo>
                    <a:pt x="857381" y="36839"/>
                  </a:lnTo>
                  <a:lnTo>
                    <a:pt x="857598" y="36114"/>
                  </a:lnTo>
                  <a:lnTo>
                    <a:pt x="857643" y="35167"/>
                  </a:lnTo>
                  <a:lnTo>
                    <a:pt x="857578" y="34459"/>
                  </a:lnTo>
                  <a:lnTo>
                    <a:pt x="857681" y="33600"/>
                  </a:lnTo>
                  <a:lnTo>
                    <a:pt x="857947" y="32312"/>
                  </a:lnTo>
                  <a:lnTo>
                    <a:pt x="859160" y="29948"/>
                  </a:lnTo>
                  <a:lnTo>
                    <a:pt x="861059" y="28432"/>
                  </a:lnTo>
                  <a:lnTo>
                    <a:pt x="863700" y="27676"/>
                  </a:lnTo>
                  <a:lnTo>
                    <a:pt x="867050" y="23437"/>
                  </a:lnTo>
                  <a:lnTo>
                    <a:pt x="890252" y="24413"/>
                  </a:lnTo>
                  <a:lnTo>
                    <a:pt x="896310" y="26282"/>
                  </a:lnTo>
                  <a:lnTo>
                    <a:pt x="899661" y="32266"/>
                  </a:lnTo>
                  <a:lnTo>
                    <a:pt x="900301" y="33677"/>
                  </a:lnTo>
                  <a:lnTo>
                    <a:pt x="900478" y="34266"/>
                  </a:lnTo>
                  <a:lnTo>
                    <a:pt x="900661" y="35311"/>
                  </a:lnTo>
                  <a:lnTo>
                    <a:pt x="900454" y="36660"/>
                  </a:lnTo>
                  <a:lnTo>
                    <a:pt x="899622" y="37749"/>
                  </a:lnTo>
                  <a:lnTo>
                    <a:pt x="896269" y="40085"/>
                  </a:lnTo>
                  <a:lnTo>
                    <a:pt x="894150" y="41977"/>
                  </a:lnTo>
                  <a:lnTo>
                    <a:pt x="893501" y="61107"/>
                  </a:lnTo>
                  <a:lnTo>
                    <a:pt x="893927" y="63466"/>
                  </a:lnTo>
                  <a:lnTo>
                    <a:pt x="894700" y="66366"/>
                  </a:lnTo>
                  <a:lnTo>
                    <a:pt x="898278" y="67872"/>
                  </a:lnTo>
                  <a:lnTo>
                    <a:pt x="901873" y="70690"/>
                  </a:lnTo>
                  <a:lnTo>
                    <a:pt x="904743" y="74048"/>
                  </a:lnTo>
                  <a:lnTo>
                    <a:pt x="906733" y="74967"/>
                  </a:lnTo>
                  <a:lnTo>
                    <a:pt x="908316" y="75063"/>
                  </a:lnTo>
                  <a:lnTo>
                    <a:pt x="909548" y="74278"/>
                  </a:lnTo>
                  <a:lnTo>
                    <a:pt x="911086" y="73872"/>
                  </a:lnTo>
                  <a:lnTo>
                    <a:pt x="912894" y="73934"/>
                  </a:lnTo>
                  <a:lnTo>
                    <a:pt x="915225" y="74982"/>
                  </a:lnTo>
                  <a:lnTo>
                    <a:pt x="916373" y="76309"/>
                  </a:lnTo>
                  <a:lnTo>
                    <a:pt x="917017" y="77926"/>
                  </a:lnTo>
                  <a:lnTo>
                    <a:pt x="917821" y="82821"/>
                  </a:lnTo>
                  <a:lnTo>
                    <a:pt x="918162" y="90944"/>
                  </a:lnTo>
                  <a:lnTo>
                    <a:pt x="919145" y="92527"/>
                  </a:lnTo>
                  <a:lnTo>
                    <a:pt x="921431" y="94312"/>
                  </a:lnTo>
                  <a:lnTo>
                    <a:pt x="924566" y="96056"/>
                  </a:lnTo>
                  <a:lnTo>
                    <a:pt x="930344" y="100818"/>
                  </a:lnTo>
                  <a:lnTo>
                    <a:pt x="933326" y="102371"/>
                  </a:lnTo>
                  <a:lnTo>
                    <a:pt x="935481" y="102751"/>
                  </a:lnTo>
                  <a:lnTo>
                    <a:pt x="938237" y="101735"/>
                  </a:lnTo>
                  <a:lnTo>
                    <a:pt x="942974" y="100896"/>
                  </a:lnTo>
                  <a:lnTo>
                    <a:pt x="944323" y="100343"/>
                  </a:lnTo>
                  <a:lnTo>
                    <a:pt x="945440" y="99455"/>
                  </a:lnTo>
                  <a:lnTo>
                    <a:pt x="946212" y="98202"/>
                  </a:lnTo>
                  <a:lnTo>
                    <a:pt x="947184" y="95172"/>
                  </a:lnTo>
                  <a:lnTo>
                    <a:pt x="948014" y="93992"/>
                  </a:lnTo>
                  <a:lnTo>
                    <a:pt x="949247" y="93293"/>
                  </a:lnTo>
                  <a:lnTo>
                    <a:pt x="952480" y="92741"/>
                  </a:lnTo>
                  <a:lnTo>
                    <a:pt x="957179" y="93244"/>
                  </a:lnTo>
                  <a:lnTo>
                    <a:pt x="968043" y="97461"/>
                  </a:lnTo>
                  <a:lnTo>
                    <a:pt x="1011047" y="87603"/>
                  </a:lnTo>
                  <a:lnTo>
                    <a:pt x="1017360" y="85568"/>
                  </a:lnTo>
                  <a:lnTo>
                    <a:pt x="1017738" y="84586"/>
                  </a:lnTo>
                  <a:lnTo>
                    <a:pt x="1018288" y="83780"/>
                  </a:lnTo>
                  <a:lnTo>
                    <a:pt x="1018830" y="82439"/>
                  </a:lnTo>
                  <a:lnTo>
                    <a:pt x="1021358" y="81626"/>
                  </a:lnTo>
                  <a:lnTo>
                    <a:pt x="1027388" y="80733"/>
                  </a:lnTo>
                  <a:lnTo>
                    <a:pt x="1030045" y="80787"/>
                  </a:lnTo>
                  <a:lnTo>
                    <a:pt x="1031764" y="81080"/>
                  </a:lnTo>
                  <a:lnTo>
                    <a:pt x="1032267" y="81795"/>
                  </a:lnTo>
                  <a:lnTo>
                    <a:pt x="1032501" y="82221"/>
                  </a:lnTo>
                  <a:lnTo>
                    <a:pt x="1033049" y="83363"/>
                  </a:lnTo>
                  <a:lnTo>
                    <a:pt x="1033323" y="83918"/>
                  </a:lnTo>
                  <a:lnTo>
                    <a:pt x="1034547" y="84902"/>
                  </a:lnTo>
                  <a:lnTo>
                    <a:pt x="1036375" y="85961"/>
                  </a:lnTo>
                  <a:lnTo>
                    <a:pt x="1040243" y="87279"/>
                  </a:lnTo>
                  <a:lnTo>
                    <a:pt x="1041501" y="88082"/>
                  </a:lnTo>
                  <a:lnTo>
                    <a:pt x="1042029" y="89106"/>
                  </a:lnTo>
                  <a:lnTo>
                    <a:pt x="1041429" y="90272"/>
                  </a:lnTo>
                  <a:lnTo>
                    <a:pt x="1041230" y="91709"/>
                  </a:lnTo>
                  <a:lnTo>
                    <a:pt x="1041830" y="93515"/>
                  </a:lnTo>
                  <a:lnTo>
                    <a:pt x="1043698" y="93701"/>
                  </a:lnTo>
                  <a:lnTo>
                    <a:pt x="1044987" y="93100"/>
                  </a:lnTo>
                  <a:lnTo>
                    <a:pt x="1046328" y="92233"/>
                  </a:lnTo>
                  <a:lnTo>
                    <a:pt x="1047327" y="91282"/>
                  </a:lnTo>
                  <a:lnTo>
                    <a:pt x="1051192" y="89406"/>
                  </a:lnTo>
                  <a:lnTo>
                    <a:pt x="1057676" y="87566"/>
                  </a:lnTo>
                  <a:lnTo>
                    <a:pt x="1059412" y="86734"/>
                  </a:lnTo>
                  <a:lnTo>
                    <a:pt x="1062641" y="84218"/>
                  </a:lnTo>
                  <a:lnTo>
                    <a:pt x="1071306" y="79377"/>
                  </a:lnTo>
                  <a:lnTo>
                    <a:pt x="1080907" y="78178"/>
                  </a:lnTo>
                  <a:lnTo>
                    <a:pt x="1084154" y="79472"/>
                  </a:lnTo>
                  <a:lnTo>
                    <a:pt x="1085387" y="81753"/>
                  </a:lnTo>
                  <a:lnTo>
                    <a:pt x="1086087" y="82863"/>
                  </a:lnTo>
                  <a:lnTo>
                    <a:pt x="1086899" y="83880"/>
                  </a:lnTo>
                  <a:lnTo>
                    <a:pt x="1087651" y="84735"/>
                  </a:lnTo>
                  <a:lnTo>
                    <a:pt x="1091566" y="90981"/>
                  </a:lnTo>
                  <a:lnTo>
                    <a:pt x="1099319" y="95875"/>
                  </a:lnTo>
                  <a:lnTo>
                    <a:pt x="1100674" y="98464"/>
                  </a:lnTo>
                  <a:lnTo>
                    <a:pt x="1100190" y="99685"/>
                  </a:lnTo>
                  <a:lnTo>
                    <a:pt x="1099833" y="101525"/>
                  </a:lnTo>
                  <a:lnTo>
                    <a:pt x="1099714" y="103952"/>
                  </a:lnTo>
                  <a:lnTo>
                    <a:pt x="1101474" y="115149"/>
                  </a:lnTo>
                  <a:lnTo>
                    <a:pt x="1102747" y="116481"/>
                  </a:lnTo>
                  <a:lnTo>
                    <a:pt x="1106230" y="117974"/>
                  </a:lnTo>
                  <a:lnTo>
                    <a:pt x="1121399" y="127713"/>
                  </a:lnTo>
                  <a:lnTo>
                    <a:pt x="1122714" y="128306"/>
                  </a:lnTo>
                  <a:lnTo>
                    <a:pt x="1124252" y="128700"/>
                  </a:lnTo>
                  <a:lnTo>
                    <a:pt x="1125837" y="128725"/>
                  </a:lnTo>
                  <a:lnTo>
                    <a:pt x="1130691" y="128042"/>
                  </a:lnTo>
                  <a:lnTo>
                    <a:pt x="1141133" y="130841"/>
                  </a:lnTo>
                  <a:lnTo>
                    <a:pt x="1143898" y="135494"/>
                  </a:lnTo>
                  <a:lnTo>
                    <a:pt x="1144029" y="135714"/>
                  </a:lnTo>
                  <a:lnTo>
                    <a:pt x="1134813" y="135237"/>
                  </a:lnTo>
                  <a:lnTo>
                    <a:pt x="1143424" y="143854"/>
                  </a:lnTo>
                  <a:lnTo>
                    <a:pt x="1146483" y="148869"/>
                  </a:lnTo>
                  <a:lnTo>
                    <a:pt x="1148026" y="156993"/>
                  </a:lnTo>
                  <a:lnTo>
                    <a:pt x="1147511" y="164337"/>
                  </a:lnTo>
                  <a:lnTo>
                    <a:pt x="1145115" y="167052"/>
                  </a:lnTo>
                  <a:lnTo>
                    <a:pt x="1141393" y="169618"/>
                  </a:lnTo>
                  <a:lnTo>
                    <a:pt x="1136974" y="176635"/>
                  </a:lnTo>
                  <a:lnTo>
                    <a:pt x="1140904" y="183344"/>
                  </a:lnTo>
                  <a:lnTo>
                    <a:pt x="1159233" y="194251"/>
                  </a:lnTo>
                  <a:lnTo>
                    <a:pt x="1168424" y="203910"/>
                  </a:lnTo>
                  <a:lnTo>
                    <a:pt x="1172697" y="210197"/>
                  </a:lnTo>
                  <a:lnTo>
                    <a:pt x="1175657" y="216925"/>
                  </a:lnTo>
                  <a:lnTo>
                    <a:pt x="1176919" y="225497"/>
                  </a:lnTo>
                  <a:lnTo>
                    <a:pt x="1174649" y="238559"/>
                  </a:lnTo>
                  <a:lnTo>
                    <a:pt x="1175076" y="247121"/>
                  </a:lnTo>
                  <a:lnTo>
                    <a:pt x="1178463" y="255704"/>
                  </a:lnTo>
                  <a:lnTo>
                    <a:pt x="1183768" y="260337"/>
                  </a:lnTo>
                  <a:lnTo>
                    <a:pt x="1189725" y="263592"/>
                  </a:lnTo>
                  <a:lnTo>
                    <a:pt x="1195144" y="268074"/>
                  </a:lnTo>
                  <a:lnTo>
                    <a:pt x="1198542" y="273637"/>
                  </a:lnTo>
                  <a:lnTo>
                    <a:pt x="1199442" y="279467"/>
                  </a:lnTo>
                  <a:lnTo>
                    <a:pt x="1199645" y="284667"/>
                  </a:lnTo>
                  <a:lnTo>
                    <a:pt x="1200909" y="288272"/>
                  </a:lnTo>
                  <a:lnTo>
                    <a:pt x="1257247" y="316691"/>
                  </a:lnTo>
                  <a:lnTo>
                    <a:pt x="1257627" y="316682"/>
                  </a:lnTo>
                  <a:lnTo>
                    <a:pt x="1263396" y="322086"/>
                  </a:lnTo>
                  <a:lnTo>
                    <a:pt x="1276960" y="323138"/>
                  </a:lnTo>
                  <a:lnTo>
                    <a:pt x="1283314" y="328876"/>
                  </a:lnTo>
                  <a:lnTo>
                    <a:pt x="1284492" y="337211"/>
                  </a:lnTo>
                  <a:lnTo>
                    <a:pt x="1282155" y="344993"/>
                  </a:lnTo>
                  <a:lnTo>
                    <a:pt x="1281906" y="351209"/>
                  </a:lnTo>
                  <a:lnTo>
                    <a:pt x="1297212" y="359654"/>
                  </a:lnTo>
                  <a:lnTo>
                    <a:pt x="1302519" y="361543"/>
                  </a:lnTo>
                  <a:lnTo>
                    <a:pt x="1304918" y="365616"/>
                  </a:lnTo>
                  <a:lnTo>
                    <a:pt x="1304087" y="376755"/>
                  </a:lnTo>
                  <a:lnTo>
                    <a:pt x="1301361" y="385583"/>
                  </a:lnTo>
                  <a:lnTo>
                    <a:pt x="1293303" y="401568"/>
                  </a:lnTo>
                  <a:lnTo>
                    <a:pt x="1290839" y="410475"/>
                  </a:lnTo>
                  <a:lnTo>
                    <a:pt x="1283383" y="408404"/>
                  </a:lnTo>
                  <a:lnTo>
                    <a:pt x="1281353" y="416530"/>
                  </a:lnTo>
                  <a:lnTo>
                    <a:pt x="1281487" y="428529"/>
                  </a:lnTo>
                  <a:lnTo>
                    <a:pt x="1280558" y="437957"/>
                  </a:lnTo>
                  <a:lnTo>
                    <a:pt x="1274842" y="444083"/>
                  </a:lnTo>
                  <a:lnTo>
                    <a:pt x="1259748" y="450993"/>
                  </a:lnTo>
                  <a:lnTo>
                    <a:pt x="1255621" y="459705"/>
                  </a:lnTo>
                  <a:lnTo>
                    <a:pt x="1257611" y="465682"/>
                  </a:lnTo>
                  <a:lnTo>
                    <a:pt x="1261623" y="472908"/>
                  </a:lnTo>
                  <a:lnTo>
                    <a:pt x="1269556" y="483724"/>
                  </a:lnTo>
                  <a:lnTo>
                    <a:pt x="1274996" y="488396"/>
                  </a:lnTo>
                  <a:lnTo>
                    <a:pt x="1280758" y="492111"/>
                  </a:lnTo>
                  <a:lnTo>
                    <a:pt x="1293229" y="497683"/>
                  </a:lnTo>
                  <a:lnTo>
                    <a:pt x="1298427" y="500227"/>
                  </a:lnTo>
                  <a:lnTo>
                    <a:pt x="1301653" y="506200"/>
                  </a:lnTo>
                  <a:lnTo>
                    <a:pt x="1302131" y="513784"/>
                  </a:lnTo>
                  <a:lnTo>
                    <a:pt x="1299187" y="520874"/>
                  </a:lnTo>
                  <a:lnTo>
                    <a:pt x="1300165" y="521614"/>
                  </a:lnTo>
                  <a:lnTo>
                    <a:pt x="1303152" y="522980"/>
                  </a:lnTo>
                  <a:lnTo>
                    <a:pt x="1301515" y="527520"/>
                  </a:lnTo>
                  <a:lnTo>
                    <a:pt x="1301286" y="528914"/>
                  </a:lnTo>
                  <a:lnTo>
                    <a:pt x="1305203" y="533418"/>
                  </a:lnTo>
                  <a:lnTo>
                    <a:pt x="1314184" y="538042"/>
                  </a:lnTo>
                  <a:lnTo>
                    <a:pt x="1318211" y="542244"/>
                  </a:lnTo>
                  <a:lnTo>
                    <a:pt x="1320991" y="548372"/>
                  </a:lnTo>
                  <a:lnTo>
                    <a:pt x="1323074" y="560996"/>
                  </a:lnTo>
                  <a:lnTo>
                    <a:pt x="1324759" y="567659"/>
                  </a:lnTo>
                  <a:lnTo>
                    <a:pt x="1327331" y="574444"/>
                  </a:lnTo>
                  <a:lnTo>
                    <a:pt x="1329816" y="579486"/>
                  </a:lnTo>
                  <a:lnTo>
                    <a:pt x="1332853" y="583687"/>
                  </a:lnTo>
                  <a:lnTo>
                    <a:pt x="1337002" y="587793"/>
                  </a:lnTo>
                  <a:lnTo>
                    <a:pt x="1341220" y="588940"/>
                  </a:lnTo>
                  <a:lnTo>
                    <a:pt x="1345117" y="588265"/>
                  </a:lnTo>
                  <a:lnTo>
                    <a:pt x="1347945" y="590429"/>
                  </a:lnTo>
                  <a:lnTo>
                    <a:pt x="1348725" y="600044"/>
                  </a:lnTo>
                  <a:lnTo>
                    <a:pt x="1350347" y="618769"/>
                  </a:lnTo>
                  <a:lnTo>
                    <a:pt x="1352463" y="627991"/>
                  </a:lnTo>
                  <a:lnTo>
                    <a:pt x="1356932" y="636136"/>
                  </a:lnTo>
                  <a:lnTo>
                    <a:pt x="1364375" y="641974"/>
                  </a:lnTo>
                  <a:lnTo>
                    <a:pt x="1381762" y="649547"/>
                  </a:lnTo>
                  <a:lnTo>
                    <a:pt x="1389496" y="657083"/>
                  </a:lnTo>
                  <a:lnTo>
                    <a:pt x="1402536" y="684084"/>
                  </a:lnTo>
                  <a:lnTo>
                    <a:pt x="1408616" y="690013"/>
                  </a:lnTo>
                  <a:lnTo>
                    <a:pt x="1416093" y="692466"/>
                  </a:lnTo>
                  <a:lnTo>
                    <a:pt x="1438144" y="694978"/>
                  </a:lnTo>
                  <a:lnTo>
                    <a:pt x="1445083" y="693803"/>
                  </a:lnTo>
                  <a:lnTo>
                    <a:pt x="1443189" y="686503"/>
                  </a:lnTo>
                  <a:lnTo>
                    <a:pt x="1448255" y="684710"/>
                  </a:lnTo>
                  <a:lnTo>
                    <a:pt x="1462628" y="688164"/>
                  </a:lnTo>
                  <a:lnTo>
                    <a:pt x="1469055" y="691346"/>
                  </a:lnTo>
                  <a:lnTo>
                    <a:pt x="1474592" y="695534"/>
                  </a:lnTo>
                  <a:lnTo>
                    <a:pt x="1485444" y="706311"/>
                  </a:lnTo>
                  <a:lnTo>
                    <a:pt x="1492007" y="708776"/>
                  </a:lnTo>
                  <a:lnTo>
                    <a:pt x="1494248" y="713371"/>
                  </a:lnTo>
                  <a:lnTo>
                    <a:pt x="1494938" y="718876"/>
                  </a:lnTo>
                  <a:lnTo>
                    <a:pt x="1496816" y="724133"/>
                  </a:lnTo>
                  <a:lnTo>
                    <a:pt x="1509220" y="737923"/>
                  </a:lnTo>
                  <a:lnTo>
                    <a:pt x="1509221" y="737953"/>
                  </a:lnTo>
                  <a:lnTo>
                    <a:pt x="1509301" y="738009"/>
                  </a:lnTo>
                  <a:lnTo>
                    <a:pt x="1514020" y="740473"/>
                  </a:lnTo>
                  <a:lnTo>
                    <a:pt x="1550684" y="786851"/>
                  </a:lnTo>
                  <a:lnTo>
                    <a:pt x="1555998" y="797923"/>
                  </a:lnTo>
                  <a:lnTo>
                    <a:pt x="1562300" y="807302"/>
                  </a:lnTo>
                  <a:lnTo>
                    <a:pt x="1573122" y="813109"/>
                  </a:lnTo>
                  <a:lnTo>
                    <a:pt x="1595783" y="813318"/>
                  </a:lnTo>
                  <a:lnTo>
                    <a:pt x="1603394" y="815923"/>
                  </a:lnTo>
                  <a:lnTo>
                    <a:pt x="1608109" y="819704"/>
                  </a:lnTo>
                  <a:lnTo>
                    <a:pt x="1620067" y="834529"/>
                  </a:lnTo>
                  <a:lnTo>
                    <a:pt x="1636606" y="850146"/>
                  </a:lnTo>
                  <a:lnTo>
                    <a:pt x="1641177" y="859931"/>
                  </a:lnTo>
                  <a:lnTo>
                    <a:pt x="1642038" y="875956"/>
                  </a:lnTo>
                  <a:lnTo>
                    <a:pt x="1647769" y="884511"/>
                  </a:lnTo>
                  <a:lnTo>
                    <a:pt x="1658949" y="894207"/>
                  </a:lnTo>
                  <a:lnTo>
                    <a:pt x="1671158" y="902259"/>
                  </a:lnTo>
                  <a:lnTo>
                    <a:pt x="1680095" y="906122"/>
                  </a:lnTo>
                  <a:lnTo>
                    <a:pt x="1683571" y="896012"/>
                  </a:lnTo>
                  <a:lnTo>
                    <a:pt x="1686882" y="889574"/>
                  </a:lnTo>
                  <a:lnTo>
                    <a:pt x="1691981" y="886967"/>
                  </a:lnTo>
                  <a:lnTo>
                    <a:pt x="1694419" y="887381"/>
                  </a:lnTo>
                  <a:lnTo>
                    <a:pt x="1694423" y="887381"/>
                  </a:lnTo>
                  <a:lnTo>
                    <a:pt x="1700663" y="888439"/>
                  </a:lnTo>
                  <a:lnTo>
                    <a:pt x="1707421" y="892208"/>
                  </a:lnTo>
                  <a:lnTo>
                    <a:pt x="1713993" y="897046"/>
                  </a:lnTo>
                  <a:lnTo>
                    <a:pt x="1720541" y="900318"/>
                  </a:lnTo>
                  <a:lnTo>
                    <a:pt x="1727335" y="899260"/>
                  </a:lnTo>
                  <a:lnTo>
                    <a:pt x="1728721" y="910026"/>
                  </a:lnTo>
                  <a:lnTo>
                    <a:pt x="1733157" y="920247"/>
                  </a:lnTo>
                  <a:lnTo>
                    <a:pt x="1739397" y="928911"/>
                  </a:lnTo>
                  <a:lnTo>
                    <a:pt x="1746078" y="935041"/>
                  </a:lnTo>
                  <a:lnTo>
                    <a:pt x="1753329" y="938096"/>
                  </a:lnTo>
                  <a:lnTo>
                    <a:pt x="1767426" y="939696"/>
                  </a:lnTo>
                  <a:lnTo>
                    <a:pt x="1772837" y="942415"/>
                  </a:lnTo>
                  <a:lnTo>
                    <a:pt x="1782178" y="955695"/>
                  </a:lnTo>
                  <a:lnTo>
                    <a:pt x="1801944" y="991190"/>
                  </a:lnTo>
                  <a:lnTo>
                    <a:pt x="1809641" y="998503"/>
                  </a:lnTo>
                  <a:lnTo>
                    <a:pt x="1799449" y="1022809"/>
                  </a:lnTo>
                  <a:lnTo>
                    <a:pt x="1798833" y="1028279"/>
                  </a:lnTo>
                  <a:lnTo>
                    <a:pt x="1800750" y="1027482"/>
                  </a:lnTo>
                  <a:lnTo>
                    <a:pt x="1805116" y="1035242"/>
                  </a:lnTo>
                  <a:lnTo>
                    <a:pt x="1807065" y="1036899"/>
                  </a:lnTo>
                  <a:lnTo>
                    <a:pt x="1811882" y="1038957"/>
                  </a:lnTo>
                  <a:lnTo>
                    <a:pt x="1807069" y="1044000"/>
                  </a:lnTo>
                  <a:lnTo>
                    <a:pt x="1806398" y="1050863"/>
                  </a:lnTo>
                  <a:lnTo>
                    <a:pt x="1809210" y="1069222"/>
                  </a:lnTo>
                  <a:lnTo>
                    <a:pt x="1809365" y="1078830"/>
                  </a:lnTo>
                  <a:lnTo>
                    <a:pt x="1808561" y="1087121"/>
                  </a:lnTo>
                  <a:lnTo>
                    <a:pt x="1806552" y="1094726"/>
                  </a:lnTo>
                  <a:lnTo>
                    <a:pt x="1800692" y="1109099"/>
                  </a:lnTo>
                  <a:lnTo>
                    <a:pt x="1799014" y="1111882"/>
                  </a:lnTo>
                  <a:lnTo>
                    <a:pt x="1796025" y="1115137"/>
                  </a:lnTo>
                  <a:lnTo>
                    <a:pt x="1793073" y="1116570"/>
                  </a:lnTo>
                  <a:lnTo>
                    <a:pt x="1785272" y="1118192"/>
                  </a:lnTo>
                  <a:lnTo>
                    <a:pt x="1783970" y="1117953"/>
                  </a:lnTo>
                  <a:lnTo>
                    <a:pt x="1781048" y="1124604"/>
                  </a:lnTo>
                  <a:lnTo>
                    <a:pt x="1778347" y="1140002"/>
                  </a:lnTo>
                  <a:lnTo>
                    <a:pt x="1777488" y="1139167"/>
                  </a:lnTo>
                  <a:lnTo>
                    <a:pt x="1761679" y="1132836"/>
                  </a:lnTo>
                  <a:lnTo>
                    <a:pt x="1755512" y="1124173"/>
                  </a:lnTo>
                  <a:lnTo>
                    <a:pt x="1749180" y="1119862"/>
                  </a:lnTo>
                  <a:lnTo>
                    <a:pt x="1742424" y="1116574"/>
                  </a:lnTo>
                  <a:lnTo>
                    <a:pt x="1702774" y="1107249"/>
                  </a:lnTo>
                  <a:lnTo>
                    <a:pt x="1690183" y="1109483"/>
                  </a:lnTo>
                  <a:lnTo>
                    <a:pt x="1678021" y="1114639"/>
                  </a:lnTo>
                  <a:lnTo>
                    <a:pt x="1674747" y="1117936"/>
                  </a:lnTo>
                  <a:lnTo>
                    <a:pt x="1672833" y="1121991"/>
                  </a:lnTo>
                  <a:lnTo>
                    <a:pt x="1673150" y="1124050"/>
                  </a:lnTo>
                  <a:lnTo>
                    <a:pt x="1674386" y="1126572"/>
                  </a:lnTo>
                  <a:lnTo>
                    <a:pt x="1676321" y="1136815"/>
                  </a:lnTo>
                  <a:lnTo>
                    <a:pt x="1680061" y="1142180"/>
                  </a:lnTo>
                  <a:lnTo>
                    <a:pt x="1681083" y="1147163"/>
                  </a:lnTo>
                  <a:lnTo>
                    <a:pt x="1680249" y="1152773"/>
                  </a:lnTo>
                  <a:lnTo>
                    <a:pt x="1675591" y="1163801"/>
                  </a:lnTo>
                  <a:lnTo>
                    <a:pt x="1673998" y="1169114"/>
                  </a:lnTo>
                  <a:lnTo>
                    <a:pt x="1673504" y="1174458"/>
                  </a:lnTo>
                  <a:lnTo>
                    <a:pt x="1674849" y="1190565"/>
                  </a:lnTo>
                  <a:lnTo>
                    <a:pt x="1674301" y="1196547"/>
                  </a:lnTo>
                  <a:lnTo>
                    <a:pt x="1672771" y="1200540"/>
                  </a:lnTo>
                  <a:lnTo>
                    <a:pt x="1671163" y="1203563"/>
                  </a:lnTo>
                  <a:lnTo>
                    <a:pt x="1670535" y="1206546"/>
                  </a:lnTo>
                  <a:lnTo>
                    <a:pt x="1668856" y="1218754"/>
                  </a:lnTo>
                  <a:lnTo>
                    <a:pt x="1663909" y="1227867"/>
                  </a:lnTo>
                  <a:lnTo>
                    <a:pt x="1628024" y="1261865"/>
                  </a:lnTo>
                  <a:lnTo>
                    <a:pt x="1615524" y="1269516"/>
                  </a:lnTo>
                  <a:lnTo>
                    <a:pt x="1563471" y="1280639"/>
                  </a:lnTo>
                  <a:lnTo>
                    <a:pt x="1524580" y="1297755"/>
                  </a:lnTo>
                  <a:lnTo>
                    <a:pt x="1518593" y="1302352"/>
                  </a:lnTo>
                  <a:lnTo>
                    <a:pt x="1504888" y="1316484"/>
                  </a:lnTo>
                  <a:lnTo>
                    <a:pt x="1492835" y="1323766"/>
                  </a:lnTo>
                  <a:lnTo>
                    <a:pt x="1487087" y="1328750"/>
                  </a:lnTo>
                  <a:lnTo>
                    <a:pt x="1487644" y="1330091"/>
                  </a:lnTo>
                  <a:lnTo>
                    <a:pt x="1466670" y="1334912"/>
                  </a:lnTo>
                  <a:lnTo>
                    <a:pt x="1461018" y="1338185"/>
                  </a:lnTo>
                  <a:lnTo>
                    <a:pt x="1457673" y="1342109"/>
                  </a:lnTo>
                  <a:lnTo>
                    <a:pt x="1451049" y="1353350"/>
                  </a:lnTo>
                  <a:lnTo>
                    <a:pt x="1446263" y="1359239"/>
                  </a:lnTo>
                  <a:lnTo>
                    <a:pt x="1431417" y="1370382"/>
                  </a:lnTo>
                  <a:lnTo>
                    <a:pt x="1429937" y="1372320"/>
                  </a:lnTo>
                  <a:lnTo>
                    <a:pt x="1424757" y="1381041"/>
                  </a:lnTo>
                  <a:lnTo>
                    <a:pt x="1422462" y="1382178"/>
                  </a:lnTo>
                  <a:lnTo>
                    <a:pt x="1419973" y="1382138"/>
                  </a:lnTo>
                  <a:lnTo>
                    <a:pt x="1417553" y="1383055"/>
                  </a:lnTo>
                  <a:lnTo>
                    <a:pt x="1415350" y="1387232"/>
                  </a:lnTo>
                  <a:lnTo>
                    <a:pt x="1414833" y="1394962"/>
                  </a:lnTo>
                  <a:lnTo>
                    <a:pt x="1416995" y="1402434"/>
                  </a:lnTo>
                  <a:lnTo>
                    <a:pt x="1420600" y="1409208"/>
                  </a:lnTo>
                  <a:lnTo>
                    <a:pt x="1424326" y="1414737"/>
                  </a:lnTo>
                  <a:lnTo>
                    <a:pt x="1452109" y="1442115"/>
                  </a:lnTo>
                  <a:lnTo>
                    <a:pt x="1458244" y="1454687"/>
                  </a:lnTo>
                  <a:lnTo>
                    <a:pt x="1459451" y="1460801"/>
                  </a:lnTo>
                  <a:lnTo>
                    <a:pt x="1459612" y="1461618"/>
                  </a:lnTo>
                  <a:lnTo>
                    <a:pt x="1461859" y="1467531"/>
                  </a:lnTo>
                  <a:lnTo>
                    <a:pt x="1465089" y="1471965"/>
                  </a:lnTo>
                  <a:lnTo>
                    <a:pt x="1474447" y="1477185"/>
                  </a:lnTo>
                  <a:lnTo>
                    <a:pt x="1482424" y="1484917"/>
                  </a:lnTo>
                  <a:lnTo>
                    <a:pt x="1485566" y="1486483"/>
                  </a:lnTo>
                  <a:lnTo>
                    <a:pt x="1492227" y="1492615"/>
                  </a:lnTo>
                  <a:lnTo>
                    <a:pt x="1506219" y="1522414"/>
                  </a:lnTo>
                  <a:lnTo>
                    <a:pt x="1514918" y="1534533"/>
                  </a:lnTo>
                  <a:lnTo>
                    <a:pt x="1516763" y="1536273"/>
                  </a:lnTo>
                  <a:lnTo>
                    <a:pt x="1493317" y="1576945"/>
                  </a:lnTo>
                  <a:lnTo>
                    <a:pt x="1491359" y="1581504"/>
                  </a:lnTo>
                  <a:lnTo>
                    <a:pt x="1490722" y="1585160"/>
                  </a:lnTo>
                  <a:lnTo>
                    <a:pt x="1490722" y="1588826"/>
                  </a:lnTo>
                  <a:lnTo>
                    <a:pt x="1490170" y="1592628"/>
                  </a:lnTo>
                  <a:lnTo>
                    <a:pt x="1487838" y="1596755"/>
                  </a:lnTo>
                  <a:lnTo>
                    <a:pt x="1487839" y="1596784"/>
                  </a:lnTo>
                  <a:lnTo>
                    <a:pt x="1487761" y="1596845"/>
                  </a:lnTo>
                  <a:lnTo>
                    <a:pt x="1480964" y="1608155"/>
                  </a:lnTo>
                  <a:lnTo>
                    <a:pt x="1487452" y="1614340"/>
                  </a:lnTo>
                  <a:lnTo>
                    <a:pt x="1509017" y="1617622"/>
                  </a:lnTo>
                  <a:lnTo>
                    <a:pt x="1514750" y="1616436"/>
                  </a:lnTo>
                  <a:lnTo>
                    <a:pt x="1524348" y="1611806"/>
                  </a:lnTo>
                  <a:lnTo>
                    <a:pt x="1530345" y="1612559"/>
                  </a:lnTo>
                  <a:lnTo>
                    <a:pt x="1535238" y="1615995"/>
                  </a:lnTo>
                  <a:lnTo>
                    <a:pt x="1540167" y="1621573"/>
                  </a:lnTo>
                  <a:lnTo>
                    <a:pt x="1548127" y="1634209"/>
                  </a:lnTo>
                  <a:lnTo>
                    <a:pt x="1551477" y="1642398"/>
                  </a:lnTo>
                  <a:lnTo>
                    <a:pt x="1552805" y="1649684"/>
                  </a:lnTo>
                  <a:lnTo>
                    <a:pt x="1552806" y="1656629"/>
                  </a:lnTo>
                  <a:lnTo>
                    <a:pt x="1552208" y="1663568"/>
                  </a:lnTo>
                  <a:lnTo>
                    <a:pt x="1551295" y="1664842"/>
                  </a:lnTo>
                  <a:lnTo>
                    <a:pt x="1547103" y="1676326"/>
                  </a:lnTo>
                  <a:lnTo>
                    <a:pt x="1546918" y="1677914"/>
                  </a:lnTo>
                  <a:lnTo>
                    <a:pt x="1540980" y="1686310"/>
                  </a:lnTo>
                  <a:lnTo>
                    <a:pt x="1539930" y="1685962"/>
                  </a:lnTo>
                  <a:lnTo>
                    <a:pt x="1540691" y="1698912"/>
                  </a:lnTo>
                  <a:lnTo>
                    <a:pt x="1541517" y="1698559"/>
                  </a:lnTo>
                  <a:lnTo>
                    <a:pt x="1541107" y="1699400"/>
                  </a:lnTo>
                  <a:lnTo>
                    <a:pt x="1537752" y="1708784"/>
                  </a:lnTo>
                  <a:lnTo>
                    <a:pt x="1536845" y="1710308"/>
                  </a:lnTo>
                  <a:lnTo>
                    <a:pt x="1537182" y="1720260"/>
                  </a:lnTo>
                  <a:lnTo>
                    <a:pt x="1537621" y="1723790"/>
                  </a:lnTo>
                  <a:lnTo>
                    <a:pt x="1538606" y="1726889"/>
                  </a:lnTo>
                  <a:lnTo>
                    <a:pt x="1539942" y="1729769"/>
                  </a:lnTo>
                  <a:lnTo>
                    <a:pt x="1541058" y="1733204"/>
                  </a:lnTo>
                  <a:lnTo>
                    <a:pt x="1541340" y="1737953"/>
                  </a:lnTo>
                  <a:lnTo>
                    <a:pt x="1530760" y="1751445"/>
                  </a:lnTo>
                  <a:lnTo>
                    <a:pt x="1528161" y="1753869"/>
                  </a:lnTo>
                  <a:lnTo>
                    <a:pt x="1524012" y="1754204"/>
                  </a:lnTo>
                  <a:lnTo>
                    <a:pt x="1521566" y="1752810"/>
                  </a:lnTo>
                  <a:lnTo>
                    <a:pt x="1519333" y="1750611"/>
                  </a:lnTo>
                  <a:lnTo>
                    <a:pt x="1515552" y="1748743"/>
                  </a:lnTo>
                  <a:lnTo>
                    <a:pt x="1511522" y="1748998"/>
                  </a:lnTo>
                  <a:lnTo>
                    <a:pt x="1508384" y="1750850"/>
                  </a:lnTo>
                  <a:lnTo>
                    <a:pt x="1505145" y="1752095"/>
                  </a:lnTo>
                  <a:lnTo>
                    <a:pt x="1500854" y="1750511"/>
                  </a:lnTo>
                  <a:lnTo>
                    <a:pt x="1481461" y="1736819"/>
                  </a:lnTo>
                  <a:lnTo>
                    <a:pt x="1463201" y="1717921"/>
                  </a:lnTo>
                  <a:lnTo>
                    <a:pt x="1459847" y="1715398"/>
                  </a:lnTo>
                  <a:lnTo>
                    <a:pt x="1456176" y="1714215"/>
                  </a:lnTo>
                  <a:lnTo>
                    <a:pt x="1450199" y="1713372"/>
                  </a:lnTo>
                  <a:lnTo>
                    <a:pt x="1440427" y="1705965"/>
                  </a:lnTo>
                  <a:lnTo>
                    <a:pt x="1437962" y="1691931"/>
                  </a:lnTo>
                  <a:lnTo>
                    <a:pt x="1442259" y="1678540"/>
                  </a:lnTo>
                  <a:lnTo>
                    <a:pt x="1452617" y="1672979"/>
                  </a:lnTo>
                  <a:lnTo>
                    <a:pt x="1444739" y="1665811"/>
                  </a:lnTo>
                  <a:lnTo>
                    <a:pt x="1434538" y="1659510"/>
                  </a:lnTo>
                  <a:lnTo>
                    <a:pt x="1428260" y="1652260"/>
                  </a:lnTo>
                  <a:lnTo>
                    <a:pt x="1431937" y="1642155"/>
                  </a:lnTo>
                  <a:lnTo>
                    <a:pt x="1425356" y="1643217"/>
                  </a:lnTo>
                  <a:lnTo>
                    <a:pt x="1403578" y="1638296"/>
                  </a:lnTo>
                  <a:lnTo>
                    <a:pt x="1389849" y="1638708"/>
                  </a:lnTo>
                  <a:lnTo>
                    <a:pt x="1376213" y="1642423"/>
                  </a:lnTo>
                  <a:lnTo>
                    <a:pt x="1368994" y="1646327"/>
                  </a:lnTo>
                  <a:lnTo>
                    <a:pt x="1355846" y="1658783"/>
                  </a:lnTo>
                  <a:lnTo>
                    <a:pt x="1352262" y="1662175"/>
                  </a:lnTo>
                  <a:lnTo>
                    <a:pt x="1346322" y="1665018"/>
                  </a:lnTo>
                  <a:lnTo>
                    <a:pt x="1338240" y="1666841"/>
                  </a:lnTo>
                  <a:lnTo>
                    <a:pt x="1330306" y="1666855"/>
                  </a:lnTo>
                  <a:lnTo>
                    <a:pt x="1324818" y="1664332"/>
                  </a:lnTo>
                  <a:lnTo>
                    <a:pt x="1313102" y="1655401"/>
                  </a:lnTo>
                  <a:lnTo>
                    <a:pt x="1309898" y="1651749"/>
                  </a:lnTo>
                  <a:lnTo>
                    <a:pt x="1307665" y="1647125"/>
                  </a:lnTo>
                  <a:lnTo>
                    <a:pt x="1303326" y="1635052"/>
                  </a:lnTo>
                  <a:lnTo>
                    <a:pt x="1301450" y="1631808"/>
                  </a:lnTo>
                  <a:lnTo>
                    <a:pt x="1295092" y="1630735"/>
                  </a:lnTo>
                  <a:lnTo>
                    <a:pt x="1280120" y="1636948"/>
                  </a:lnTo>
                  <a:lnTo>
                    <a:pt x="1273620" y="1638180"/>
                  </a:lnTo>
                  <a:lnTo>
                    <a:pt x="1251257" y="1633989"/>
                  </a:lnTo>
                  <a:lnTo>
                    <a:pt x="1242890" y="1635407"/>
                  </a:lnTo>
                  <a:lnTo>
                    <a:pt x="1234402" y="1640122"/>
                  </a:lnTo>
                  <a:lnTo>
                    <a:pt x="1230238" y="1640860"/>
                  </a:lnTo>
                  <a:lnTo>
                    <a:pt x="1226337" y="1637540"/>
                  </a:lnTo>
                  <a:lnTo>
                    <a:pt x="1224080" y="1631286"/>
                  </a:lnTo>
                  <a:lnTo>
                    <a:pt x="1225260" y="1627268"/>
                  </a:lnTo>
                  <a:lnTo>
                    <a:pt x="1227646" y="1623781"/>
                  </a:lnTo>
                  <a:lnTo>
                    <a:pt x="1228892" y="1619232"/>
                  </a:lnTo>
                  <a:lnTo>
                    <a:pt x="1229742" y="1613108"/>
                  </a:lnTo>
                  <a:lnTo>
                    <a:pt x="1230873" y="1610467"/>
                  </a:lnTo>
                  <a:lnTo>
                    <a:pt x="1229924" y="1610682"/>
                  </a:lnTo>
                  <a:lnTo>
                    <a:pt x="1224375" y="1613283"/>
                  </a:lnTo>
                  <a:lnTo>
                    <a:pt x="1221084" y="1615460"/>
                  </a:lnTo>
                  <a:lnTo>
                    <a:pt x="1211997" y="1623417"/>
                  </a:lnTo>
                  <a:lnTo>
                    <a:pt x="1205967" y="1626041"/>
                  </a:lnTo>
                  <a:lnTo>
                    <a:pt x="1206830" y="1630689"/>
                  </a:lnTo>
                  <a:lnTo>
                    <a:pt x="1208135" y="1633821"/>
                  </a:lnTo>
                  <a:lnTo>
                    <a:pt x="1211046" y="1637505"/>
                  </a:lnTo>
                  <a:lnTo>
                    <a:pt x="1214262" y="1640561"/>
                  </a:lnTo>
                  <a:lnTo>
                    <a:pt x="1216242" y="1641830"/>
                  </a:lnTo>
                  <a:lnTo>
                    <a:pt x="1217390" y="1644950"/>
                  </a:lnTo>
                  <a:lnTo>
                    <a:pt x="1218381" y="1660202"/>
                  </a:lnTo>
                  <a:lnTo>
                    <a:pt x="1218107" y="1665557"/>
                  </a:lnTo>
                  <a:lnTo>
                    <a:pt x="1216797" y="1669237"/>
                  </a:lnTo>
                  <a:lnTo>
                    <a:pt x="1206123" y="1683643"/>
                  </a:lnTo>
                  <a:lnTo>
                    <a:pt x="1203068" y="1684349"/>
                  </a:lnTo>
                  <a:lnTo>
                    <a:pt x="1114380" y="1682401"/>
                  </a:lnTo>
                  <a:lnTo>
                    <a:pt x="1082138" y="1689649"/>
                  </a:lnTo>
                  <a:lnTo>
                    <a:pt x="1077839" y="1692330"/>
                  </a:lnTo>
                  <a:lnTo>
                    <a:pt x="1074149" y="1702120"/>
                  </a:lnTo>
                  <a:lnTo>
                    <a:pt x="1070185" y="1703524"/>
                  </a:lnTo>
                  <a:lnTo>
                    <a:pt x="1048369" y="1699443"/>
                  </a:lnTo>
                  <a:lnTo>
                    <a:pt x="1016940" y="1699853"/>
                  </a:lnTo>
                  <a:lnTo>
                    <a:pt x="1000057" y="1696763"/>
                  </a:lnTo>
                  <a:lnTo>
                    <a:pt x="992915" y="1696642"/>
                  </a:lnTo>
                  <a:lnTo>
                    <a:pt x="991624" y="1698315"/>
                  </a:lnTo>
                  <a:lnTo>
                    <a:pt x="980998" y="1707849"/>
                  </a:lnTo>
                  <a:lnTo>
                    <a:pt x="978456" y="1713944"/>
                  </a:lnTo>
                  <a:lnTo>
                    <a:pt x="975620" y="1727223"/>
                  </a:lnTo>
                  <a:lnTo>
                    <a:pt x="973743" y="1732537"/>
                  </a:lnTo>
                  <a:lnTo>
                    <a:pt x="966829" y="1740471"/>
                  </a:lnTo>
                  <a:lnTo>
                    <a:pt x="958490" y="1743933"/>
                  </a:lnTo>
                  <a:lnTo>
                    <a:pt x="940398" y="1747206"/>
                  </a:lnTo>
                  <a:lnTo>
                    <a:pt x="931613" y="1744550"/>
                  </a:lnTo>
                  <a:lnTo>
                    <a:pt x="922090" y="1743379"/>
                  </a:lnTo>
                  <a:lnTo>
                    <a:pt x="913329" y="1745565"/>
                  </a:lnTo>
                  <a:lnTo>
                    <a:pt x="895369" y="1766812"/>
                  </a:lnTo>
                  <a:lnTo>
                    <a:pt x="900142" y="1768052"/>
                  </a:lnTo>
                  <a:lnTo>
                    <a:pt x="904374" y="1770761"/>
                  </a:lnTo>
                  <a:lnTo>
                    <a:pt x="905906" y="1774994"/>
                  </a:lnTo>
                  <a:lnTo>
                    <a:pt x="902657" y="1780707"/>
                  </a:lnTo>
                  <a:lnTo>
                    <a:pt x="896411" y="1783489"/>
                  </a:lnTo>
                  <a:lnTo>
                    <a:pt x="879618" y="1784094"/>
                  </a:lnTo>
                  <a:lnTo>
                    <a:pt x="872444" y="1786481"/>
                  </a:lnTo>
                  <a:lnTo>
                    <a:pt x="865042" y="1793537"/>
                  </a:lnTo>
                  <a:lnTo>
                    <a:pt x="859996" y="1800507"/>
                  </a:lnTo>
                  <a:lnTo>
                    <a:pt x="854537" y="1806505"/>
                  </a:lnTo>
                  <a:lnTo>
                    <a:pt x="846133" y="1810467"/>
                  </a:lnTo>
                  <a:lnTo>
                    <a:pt x="836834" y="1809501"/>
                  </a:lnTo>
                  <a:lnTo>
                    <a:pt x="837517" y="1793958"/>
                  </a:lnTo>
                  <a:lnTo>
                    <a:pt x="829201" y="1790646"/>
                  </a:lnTo>
                  <a:lnTo>
                    <a:pt x="819466" y="1793416"/>
                  </a:lnTo>
                  <a:lnTo>
                    <a:pt x="794333" y="1811197"/>
                  </a:lnTo>
                  <a:lnTo>
                    <a:pt x="786786" y="1813583"/>
                  </a:lnTo>
                  <a:lnTo>
                    <a:pt x="746385" y="1813314"/>
                  </a:lnTo>
                  <a:lnTo>
                    <a:pt x="740959" y="1810192"/>
                  </a:lnTo>
                  <a:lnTo>
                    <a:pt x="736943" y="1802481"/>
                  </a:lnTo>
                  <a:lnTo>
                    <a:pt x="737863" y="1802416"/>
                  </a:lnTo>
                  <a:lnTo>
                    <a:pt x="739086" y="1799778"/>
                  </a:lnTo>
                  <a:lnTo>
                    <a:pt x="739939" y="1795814"/>
                  </a:lnTo>
                  <a:lnTo>
                    <a:pt x="739793" y="1791975"/>
                  </a:lnTo>
                  <a:lnTo>
                    <a:pt x="738615" y="1789385"/>
                  </a:lnTo>
                  <a:lnTo>
                    <a:pt x="719164" y="1768660"/>
                  </a:lnTo>
                  <a:lnTo>
                    <a:pt x="699205" y="1759534"/>
                  </a:lnTo>
                  <a:lnTo>
                    <a:pt x="696543" y="1755016"/>
                  </a:lnTo>
                  <a:lnTo>
                    <a:pt x="708960" y="1746420"/>
                  </a:lnTo>
                  <a:lnTo>
                    <a:pt x="712172" y="1742474"/>
                  </a:lnTo>
                  <a:lnTo>
                    <a:pt x="703268" y="1735835"/>
                  </a:lnTo>
                  <a:lnTo>
                    <a:pt x="699142" y="1733525"/>
                  </a:lnTo>
                  <a:lnTo>
                    <a:pt x="693790" y="1733186"/>
                  </a:lnTo>
                  <a:lnTo>
                    <a:pt x="688328" y="1734781"/>
                  </a:lnTo>
                  <a:lnTo>
                    <a:pt x="672788" y="1742007"/>
                  </a:lnTo>
                  <a:lnTo>
                    <a:pt x="661371" y="1743448"/>
                  </a:lnTo>
                  <a:lnTo>
                    <a:pt x="658052" y="1742457"/>
                  </a:lnTo>
                  <a:lnTo>
                    <a:pt x="656124" y="1739748"/>
                  </a:lnTo>
                  <a:lnTo>
                    <a:pt x="654834" y="1736799"/>
                  </a:lnTo>
                  <a:lnTo>
                    <a:pt x="653269" y="1735004"/>
                  </a:lnTo>
                  <a:lnTo>
                    <a:pt x="602235" y="1715847"/>
                  </a:lnTo>
                  <a:lnTo>
                    <a:pt x="592898" y="1715749"/>
                  </a:lnTo>
                  <a:lnTo>
                    <a:pt x="587557" y="1719496"/>
                  </a:lnTo>
                  <a:lnTo>
                    <a:pt x="579751" y="1730453"/>
                  </a:lnTo>
                  <a:lnTo>
                    <a:pt x="574846" y="1734418"/>
                  </a:lnTo>
                  <a:lnTo>
                    <a:pt x="570294" y="1735221"/>
                  </a:lnTo>
                  <a:lnTo>
                    <a:pt x="553841" y="1732724"/>
                  </a:lnTo>
                  <a:lnTo>
                    <a:pt x="547811" y="1729952"/>
                  </a:lnTo>
                  <a:lnTo>
                    <a:pt x="544656" y="1727707"/>
                  </a:lnTo>
                  <a:lnTo>
                    <a:pt x="542620" y="1725080"/>
                  </a:lnTo>
                  <a:lnTo>
                    <a:pt x="541941" y="1720176"/>
                  </a:lnTo>
                  <a:lnTo>
                    <a:pt x="543377" y="1716543"/>
                  </a:lnTo>
                  <a:lnTo>
                    <a:pt x="545251" y="1713795"/>
                  </a:lnTo>
                  <a:lnTo>
                    <a:pt x="545729" y="1711549"/>
                  </a:lnTo>
                  <a:lnTo>
                    <a:pt x="544012" y="1706218"/>
                  </a:lnTo>
                  <a:lnTo>
                    <a:pt x="542656" y="1705156"/>
                  </a:lnTo>
                  <a:lnTo>
                    <a:pt x="539704" y="1706323"/>
                  </a:lnTo>
                  <a:lnTo>
                    <a:pt x="533242" y="1707490"/>
                  </a:lnTo>
                  <a:lnTo>
                    <a:pt x="527456" y="1709778"/>
                  </a:lnTo>
                  <a:lnTo>
                    <a:pt x="528014" y="1714711"/>
                  </a:lnTo>
                  <a:lnTo>
                    <a:pt x="531364" y="1721018"/>
                  </a:lnTo>
                  <a:lnTo>
                    <a:pt x="533918" y="1727413"/>
                  </a:lnTo>
                  <a:lnTo>
                    <a:pt x="533438" y="1732701"/>
                  </a:lnTo>
                  <a:lnTo>
                    <a:pt x="529520" y="1755489"/>
                  </a:lnTo>
                  <a:lnTo>
                    <a:pt x="534955" y="1758460"/>
                  </a:lnTo>
                  <a:lnTo>
                    <a:pt x="538272" y="1762151"/>
                  </a:lnTo>
                  <a:lnTo>
                    <a:pt x="540350" y="1767188"/>
                  </a:lnTo>
                  <a:lnTo>
                    <a:pt x="541951" y="1774261"/>
                  </a:lnTo>
                  <a:lnTo>
                    <a:pt x="542033" y="1786519"/>
                  </a:lnTo>
                  <a:lnTo>
                    <a:pt x="538514" y="1799369"/>
                  </a:lnTo>
                  <a:lnTo>
                    <a:pt x="532870" y="1810931"/>
                  </a:lnTo>
                  <a:lnTo>
                    <a:pt x="526422" y="1819512"/>
                  </a:lnTo>
                  <a:lnTo>
                    <a:pt x="523098" y="1821754"/>
                  </a:lnTo>
                  <a:lnTo>
                    <a:pt x="514926" y="1824600"/>
                  </a:lnTo>
                  <a:lnTo>
                    <a:pt x="510918" y="1827300"/>
                  </a:lnTo>
                  <a:lnTo>
                    <a:pt x="508592" y="1830887"/>
                  </a:lnTo>
                  <a:lnTo>
                    <a:pt x="499958" y="1848229"/>
                  </a:lnTo>
                  <a:lnTo>
                    <a:pt x="492970" y="1857612"/>
                  </a:lnTo>
                  <a:lnTo>
                    <a:pt x="485380" y="1864542"/>
                  </a:lnTo>
                  <a:lnTo>
                    <a:pt x="467990" y="1875184"/>
                  </a:lnTo>
                  <a:lnTo>
                    <a:pt x="459516" y="1878455"/>
                  </a:lnTo>
                  <a:lnTo>
                    <a:pt x="434503" y="1881441"/>
                  </a:lnTo>
                  <a:lnTo>
                    <a:pt x="428647" y="1882137"/>
                  </a:lnTo>
                  <a:lnTo>
                    <a:pt x="426926" y="1881128"/>
                  </a:lnTo>
                  <a:lnTo>
                    <a:pt x="428503" y="1877560"/>
                  </a:lnTo>
                  <a:lnTo>
                    <a:pt x="432097" y="1871119"/>
                  </a:lnTo>
                  <a:lnTo>
                    <a:pt x="433665" y="1870046"/>
                  </a:lnTo>
                  <a:lnTo>
                    <a:pt x="438804" y="1868528"/>
                  </a:lnTo>
                  <a:lnTo>
                    <a:pt x="440695" y="1866673"/>
                  </a:lnTo>
                  <a:lnTo>
                    <a:pt x="441670" y="1862867"/>
                  </a:lnTo>
                  <a:lnTo>
                    <a:pt x="441480" y="1859439"/>
                  </a:lnTo>
                  <a:lnTo>
                    <a:pt x="440610" y="1855685"/>
                  </a:lnTo>
                  <a:lnTo>
                    <a:pt x="447690" y="1834560"/>
                  </a:lnTo>
                  <a:lnTo>
                    <a:pt x="448001" y="1824265"/>
                  </a:lnTo>
                  <a:lnTo>
                    <a:pt x="440884" y="1820390"/>
                  </a:lnTo>
                  <a:lnTo>
                    <a:pt x="423853" y="1823429"/>
                  </a:lnTo>
                  <a:lnTo>
                    <a:pt x="419228" y="1828506"/>
                  </a:lnTo>
                  <a:lnTo>
                    <a:pt x="417580" y="1829769"/>
                  </a:lnTo>
                  <a:lnTo>
                    <a:pt x="415577" y="1829747"/>
                  </a:lnTo>
                  <a:lnTo>
                    <a:pt x="411582" y="1827293"/>
                  </a:lnTo>
                  <a:lnTo>
                    <a:pt x="409660" y="1827034"/>
                  </a:lnTo>
                  <a:lnTo>
                    <a:pt x="404562" y="1829446"/>
                  </a:lnTo>
                  <a:lnTo>
                    <a:pt x="401588" y="1831635"/>
                  </a:lnTo>
                  <a:lnTo>
                    <a:pt x="398984" y="1831740"/>
                  </a:lnTo>
                  <a:lnTo>
                    <a:pt x="395235" y="1828059"/>
                  </a:lnTo>
                  <a:lnTo>
                    <a:pt x="393179" y="1822585"/>
                  </a:lnTo>
                  <a:lnTo>
                    <a:pt x="392848" y="1816439"/>
                  </a:lnTo>
                  <a:lnTo>
                    <a:pt x="391836" y="1810496"/>
                  </a:lnTo>
                  <a:lnTo>
                    <a:pt x="387617" y="1805514"/>
                  </a:lnTo>
                  <a:lnTo>
                    <a:pt x="396455" y="1798690"/>
                  </a:lnTo>
                  <a:lnTo>
                    <a:pt x="398284" y="1792687"/>
                  </a:lnTo>
                  <a:lnTo>
                    <a:pt x="394915" y="1785966"/>
                  </a:lnTo>
                  <a:lnTo>
                    <a:pt x="376027" y="1757952"/>
                  </a:lnTo>
                  <a:lnTo>
                    <a:pt x="371620" y="1759938"/>
                  </a:lnTo>
                  <a:lnTo>
                    <a:pt x="368166" y="1762929"/>
                  </a:lnTo>
                  <a:lnTo>
                    <a:pt x="364760" y="1764387"/>
                  </a:lnTo>
                  <a:lnTo>
                    <a:pt x="360539" y="1761822"/>
                  </a:lnTo>
                  <a:lnTo>
                    <a:pt x="359959" y="1758480"/>
                  </a:lnTo>
                  <a:lnTo>
                    <a:pt x="359850" y="1756737"/>
                  </a:lnTo>
                  <a:lnTo>
                    <a:pt x="359860" y="1755008"/>
                  </a:lnTo>
                  <a:lnTo>
                    <a:pt x="356391" y="1747291"/>
                  </a:lnTo>
                  <a:lnTo>
                    <a:pt x="351588" y="1742418"/>
                  </a:lnTo>
                  <a:lnTo>
                    <a:pt x="347587" y="1737045"/>
                  </a:lnTo>
                  <a:lnTo>
                    <a:pt x="346570" y="1727585"/>
                  </a:lnTo>
                  <a:lnTo>
                    <a:pt x="341875" y="1731305"/>
                  </a:lnTo>
                  <a:lnTo>
                    <a:pt x="336038" y="1732418"/>
                  </a:lnTo>
                  <a:lnTo>
                    <a:pt x="324545" y="1731420"/>
                  </a:lnTo>
                  <a:lnTo>
                    <a:pt x="312960" y="1727020"/>
                  </a:lnTo>
                  <a:lnTo>
                    <a:pt x="311000" y="1727536"/>
                  </a:lnTo>
                  <a:lnTo>
                    <a:pt x="306226" y="1730569"/>
                  </a:lnTo>
                  <a:lnTo>
                    <a:pt x="303109" y="1730781"/>
                  </a:lnTo>
                  <a:lnTo>
                    <a:pt x="295278" y="1726639"/>
                  </a:lnTo>
                  <a:lnTo>
                    <a:pt x="293850" y="1720587"/>
                  </a:lnTo>
                  <a:lnTo>
                    <a:pt x="294665" y="1713637"/>
                  </a:lnTo>
                  <a:lnTo>
                    <a:pt x="293444" y="1706863"/>
                  </a:lnTo>
                  <a:lnTo>
                    <a:pt x="288978" y="1701890"/>
                  </a:lnTo>
                  <a:lnTo>
                    <a:pt x="283531" y="1699865"/>
                  </a:lnTo>
                  <a:lnTo>
                    <a:pt x="277742" y="1700463"/>
                  </a:lnTo>
                  <a:lnTo>
                    <a:pt x="272132" y="1703395"/>
                  </a:lnTo>
                  <a:lnTo>
                    <a:pt x="263625" y="1713122"/>
                  </a:lnTo>
                  <a:lnTo>
                    <a:pt x="258739" y="1723475"/>
                  </a:lnTo>
                  <a:lnTo>
                    <a:pt x="253067" y="1732164"/>
                  </a:lnTo>
                  <a:lnTo>
                    <a:pt x="242477" y="1737080"/>
                  </a:lnTo>
                  <a:lnTo>
                    <a:pt x="217714" y="1737244"/>
                  </a:lnTo>
                  <a:lnTo>
                    <a:pt x="195191" y="1730777"/>
                  </a:lnTo>
                  <a:lnTo>
                    <a:pt x="195306" y="1730622"/>
                  </a:lnTo>
                  <a:lnTo>
                    <a:pt x="213746" y="1705636"/>
                  </a:lnTo>
                  <a:lnTo>
                    <a:pt x="217961" y="1699597"/>
                  </a:lnTo>
                  <a:lnTo>
                    <a:pt x="218805" y="1698957"/>
                  </a:lnTo>
                  <a:lnTo>
                    <a:pt x="220969" y="1698049"/>
                  </a:lnTo>
                  <a:lnTo>
                    <a:pt x="231338" y="1696168"/>
                  </a:lnTo>
                  <a:lnTo>
                    <a:pt x="234341" y="1695048"/>
                  </a:lnTo>
                  <a:lnTo>
                    <a:pt x="235966" y="1694119"/>
                  </a:lnTo>
                  <a:lnTo>
                    <a:pt x="236155" y="1693088"/>
                  </a:lnTo>
                  <a:lnTo>
                    <a:pt x="236708" y="1691645"/>
                  </a:lnTo>
                  <a:lnTo>
                    <a:pt x="238169" y="1689150"/>
                  </a:lnTo>
                  <a:lnTo>
                    <a:pt x="244258" y="1686258"/>
                  </a:lnTo>
                  <a:lnTo>
                    <a:pt x="246709" y="1686401"/>
                  </a:lnTo>
                  <a:lnTo>
                    <a:pt x="257736" y="1690232"/>
                  </a:lnTo>
                  <a:lnTo>
                    <a:pt x="275178" y="1681518"/>
                  </a:lnTo>
                  <a:lnTo>
                    <a:pt x="303978" y="1656200"/>
                  </a:lnTo>
                  <a:lnTo>
                    <a:pt x="311195" y="1652418"/>
                  </a:lnTo>
                  <a:lnTo>
                    <a:pt x="315747" y="1650739"/>
                  </a:lnTo>
                  <a:lnTo>
                    <a:pt x="318668" y="1651559"/>
                  </a:lnTo>
                  <a:lnTo>
                    <a:pt x="331250" y="1657485"/>
                  </a:lnTo>
                  <a:lnTo>
                    <a:pt x="340554" y="1659809"/>
                  </a:lnTo>
                  <a:lnTo>
                    <a:pt x="349834" y="1659753"/>
                  </a:lnTo>
                  <a:lnTo>
                    <a:pt x="356178" y="1658141"/>
                  </a:lnTo>
                  <a:lnTo>
                    <a:pt x="363064" y="1655392"/>
                  </a:lnTo>
                  <a:lnTo>
                    <a:pt x="371413" y="1650788"/>
                  </a:lnTo>
                  <a:lnTo>
                    <a:pt x="380983" y="1648183"/>
                  </a:lnTo>
                  <a:lnTo>
                    <a:pt x="385582" y="1647970"/>
                  </a:lnTo>
                  <a:lnTo>
                    <a:pt x="388208" y="1648398"/>
                  </a:lnTo>
                  <a:lnTo>
                    <a:pt x="390174" y="1649265"/>
                  </a:lnTo>
                  <a:lnTo>
                    <a:pt x="391142" y="1650805"/>
                  </a:lnTo>
                  <a:lnTo>
                    <a:pt x="392962" y="1657254"/>
                  </a:lnTo>
                  <a:lnTo>
                    <a:pt x="394497" y="1661088"/>
                  </a:lnTo>
                  <a:lnTo>
                    <a:pt x="396985" y="1665605"/>
                  </a:lnTo>
                  <a:lnTo>
                    <a:pt x="400771" y="1660868"/>
                  </a:lnTo>
                  <a:lnTo>
                    <a:pt x="401287" y="1652569"/>
                  </a:lnTo>
                  <a:lnTo>
                    <a:pt x="401956" y="1650016"/>
                  </a:lnTo>
                  <a:lnTo>
                    <a:pt x="402619" y="1648735"/>
                  </a:lnTo>
                  <a:lnTo>
                    <a:pt x="403337" y="1648413"/>
                  </a:lnTo>
                  <a:lnTo>
                    <a:pt x="403874" y="1648475"/>
                  </a:lnTo>
                  <a:lnTo>
                    <a:pt x="411028" y="1651372"/>
                  </a:lnTo>
                  <a:lnTo>
                    <a:pt x="414689" y="1651861"/>
                  </a:lnTo>
                  <a:lnTo>
                    <a:pt x="415947" y="1651068"/>
                  </a:lnTo>
                  <a:lnTo>
                    <a:pt x="416847" y="1649921"/>
                  </a:lnTo>
                  <a:lnTo>
                    <a:pt x="417451" y="1648445"/>
                  </a:lnTo>
                  <a:lnTo>
                    <a:pt x="418056" y="1646587"/>
                  </a:lnTo>
                  <a:lnTo>
                    <a:pt x="418544" y="1643857"/>
                  </a:lnTo>
                  <a:lnTo>
                    <a:pt x="418492" y="1642099"/>
                  </a:lnTo>
                  <a:lnTo>
                    <a:pt x="418080" y="1640457"/>
                  </a:lnTo>
                  <a:lnTo>
                    <a:pt x="416663" y="1636479"/>
                  </a:lnTo>
                  <a:lnTo>
                    <a:pt x="415255" y="1630653"/>
                  </a:lnTo>
                  <a:lnTo>
                    <a:pt x="413926" y="1620012"/>
                  </a:lnTo>
                  <a:lnTo>
                    <a:pt x="413578" y="1603381"/>
                  </a:lnTo>
                  <a:lnTo>
                    <a:pt x="413230" y="1601015"/>
                  </a:lnTo>
                  <a:lnTo>
                    <a:pt x="412759" y="1599624"/>
                  </a:lnTo>
                  <a:lnTo>
                    <a:pt x="412029" y="1598439"/>
                  </a:lnTo>
                  <a:lnTo>
                    <a:pt x="411256" y="1598008"/>
                  </a:lnTo>
                  <a:lnTo>
                    <a:pt x="408215" y="1598010"/>
                  </a:lnTo>
                  <a:lnTo>
                    <a:pt x="407025" y="1597621"/>
                  </a:lnTo>
                  <a:lnTo>
                    <a:pt x="406312" y="1596848"/>
                  </a:lnTo>
                  <a:lnTo>
                    <a:pt x="405430" y="1594186"/>
                  </a:lnTo>
                  <a:lnTo>
                    <a:pt x="404070" y="1591936"/>
                  </a:lnTo>
                  <a:lnTo>
                    <a:pt x="401338" y="1589648"/>
                  </a:lnTo>
                  <a:lnTo>
                    <a:pt x="399085" y="1587110"/>
                  </a:lnTo>
                  <a:lnTo>
                    <a:pt x="398735" y="1585410"/>
                  </a:lnTo>
                  <a:lnTo>
                    <a:pt x="399161" y="1583610"/>
                  </a:lnTo>
                  <a:lnTo>
                    <a:pt x="400964" y="1580311"/>
                  </a:lnTo>
                  <a:lnTo>
                    <a:pt x="401922" y="1579282"/>
                  </a:lnTo>
                  <a:lnTo>
                    <a:pt x="402639" y="1578753"/>
                  </a:lnTo>
                  <a:lnTo>
                    <a:pt x="403832" y="1578493"/>
                  </a:lnTo>
                  <a:lnTo>
                    <a:pt x="410386" y="1578346"/>
                  </a:lnTo>
                  <a:lnTo>
                    <a:pt x="411462" y="1577552"/>
                  </a:lnTo>
                  <a:lnTo>
                    <a:pt x="412301" y="1576389"/>
                  </a:lnTo>
                  <a:lnTo>
                    <a:pt x="413104" y="1574264"/>
                  </a:lnTo>
                  <a:lnTo>
                    <a:pt x="413705" y="1572954"/>
                  </a:lnTo>
                  <a:lnTo>
                    <a:pt x="414484" y="1572042"/>
                  </a:lnTo>
                  <a:lnTo>
                    <a:pt x="415379" y="1571631"/>
                  </a:lnTo>
                  <a:lnTo>
                    <a:pt x="415916" y="1571485"/>
                  </a:lnTo>
                  <a:lnTo>
                    <a:pt x="418124" y="1570343"/>
                  </a:lnTo>
                  <a:lnTo>
                    <a:pt x="411027" y="1554079"/>
                  </a:lnTo>
                  <a:lnTo>
                    <a:pt x="409799" y="1548742"/>
                  </a:lnTo>
                  <a:lnTo>
                    <a:pt x="408385" y="1545486"/>
                  </a:lnTo>
                  <a:lnTo>
                    <a:pt x="407735" y="1544419"/>
                  </a:lnTo>
                  <a:lnTo>
                    <a:pt x="407260" y="1544182"/>
                  </a:lnTo>
                  <a:lnTo>
                    <a:pt x="406844" y="1544121"/>
                  </a:lnTo>
                  <a:lnTo>
                    <a:pt x="406547" y="1544120"/>
                  </a:lnTo>
                  <a:lnTo>
                    <a:pt x="405711" y="1544646"/>
                  </a:lnTo>
                  <a:lnTo>
                    <a:pt x="404937" y="1544775"/>
                  </a:lnTo>
                  <a:lnTo>
                    <a:pt x="404044" y="1544758"/>
                  </a:lnTo>
                  <a:lnTo>
                    <a:pt x="402322" y="1544054"/>
                  </a:lnTo>
                  <a:lnTo>
                    <a:pt x="401733" y="1542811"/>
                  </a:lnTo>
                  <a:lnTo>
                    <a:pt x="401557" y="1542058"/>
                  </a:lnTo>
                  <a:lnTo>
                    <a:pt x="401739" y="1541319"/>
                  </a:lnTo>
                  <a:lnTo>
                    <a:pt x="403115" y="1539614"/>
                  </a:lnTo>
                  <a:lnTo>
                    <a:pt x="403534" y="1539186"/>
                  </a:lnTo>
                  <a:lnTo>
                    <a:pt x="404071" y="1538848"/>
                  </a:lnTo>
                  <a:lnTo>
                    <a:pt x="405207" y="1537659"/>
                  </a:lnTo>
                  <a:lnTo>
                    <a:pt x="405806" y="1536641"/>
                  </a:lnTo>
                  <a:lnTo>
                    <a:pt x="406229" y="1535182"/>
                  </a:lnTo>
                  <a:lnTo>
                    <a:pt x="407331" y="1528110"/>
                  </a:lnTo>
                  <a:lnTo>
                    <a:pt x="407756" y="1526296"/>
                  </a:lnTo>
                  <a:lnTo>
                    <a:pt x="409372" y="1523867"/>
                  </a:lnTo>
                  <a:lnTo>
                    <a:pt x="409979" y="1521033"/>
                  </a:lnTo>
                  <a:lnTo>
                    <a:pt x="410532" y="1516780"/>
                  </a:lnTo>
                  <a:lnTo>
                    <a:pt x="411007" y="1503179"/>
                  </a:lnTo>
                  <a:lnTo>
                    <a:pt x="410719" y="1500977"/>
                  </a:lnTo>
                  <a:lnTo>
                    <a:pt x="406165" y="1496200"/>
                  </a:lnTo>
                  <a:lnTo>
                    <a:pt x="405398" y="1494986"/>
                  </a:lnTo>
                  <a:lnTo>
                    <a:pt x="402162" y="1488087"/>
                  </a:lnTo>
                  <a:lnTo>
                    <a:pt x="401524" y="1484834"/>
                  </a:lnTo>
                  <a:lnTo>
                    <a:pt x="401595" y="1482443"/>
                  </a:lnTo>
                  <a:lnTo>
                    <a:pt x="402493" y="1480763"/>
                  </a:lnTo>
                  <a:lnTo>
                    <a:pt x="403686" y="1479528"/>
                  </a:lnTo>
                  <a:lnTo>
                    <a:pt x="404580" y="1478793"/>
                  </a:lnTo>
                  <a:lnTo>
                    <a:pt x="407438" y="1477064"/>
                  </a:lnTo>
                  <a:lnTo>
                    <a:pt x="418866" y="1445487"/>
                  </a:lnTo>
                  <a:lnTo>
                    <a:pt x="421762" y="1432929"/>
                  </a:lnTo>
                  <a:lnTo>
                    <a:pt x="422770" y="1417658"/>
                  </a:lnTo>
                  <a:lnTo>
                    <a:pt x="422498" y="1411483"/>
                  </a:lnTo>
                  <a:lnTo>
                    <a:pt x="421343" y="1404122"/>
                  </a:lnTo>
                  <a:lnTo>
                    <a:pt x="411178" y="1380798"/>
                  </a:lnTo>
                  <a:lnTo>
                    <a:pt x="396482" y="1311582"/>
                  </a:lnTo>
                  <a:lnTo>
                    <a:pt x="390544" y="1291034"/>
                  </a:lnTo>
                  <a:lnTo>
                    <a:pt x="388969" y="1287746"/>
                  </a:lnTo>
                  <a:lnTo>
                    <a:pt x="383643" y="1279711"/>
                  </a:lnTo>
                  <a:lnTo>
                    <a:pt x="378564" y="1270479"/>
                  </a:lnTo>
                  <a:lnTo>
                    <a:pt x="371638" y="1254796"/>
                  </a:lnTo>
                  <a:lnTo>
                    <a:pt x="371327" y="1254292"/>
                  </a:lnTo>
                  <a:lnTo>
                    <a:pt x="370917" y="1253816"/>
                  </a:lnTo>
                  <a:lnTo>
                    <a:pt x="370565" y="1253622"/>
                  </a:lnTo>
                  <a:lnTo>
                    <a:pt x="370153" y="1253459"/>
                  </a:lnTo>
                  <a:lnTo>
                    <a:pt x="369741" y="1253397"/>
                  </a:lnTo>
                  <a:lnTo>
                    <a:pt x="368915" y="1253569"/>
                  </a:lnTo>
                  <a:lnTo>
                    <a:pt x="366205" y="1253553"/>
                  </a:lnTo>
                  <a:lnTo>
                    <a:pt x="362827" y="1247150"/>
                  </a:lnTo>
                  <a:lnTo>
                    <a:pt x="384267" y="1217508"/>
                  </a:lnTo>
                  <a:lnTo>
                    <a:pt x="387042" y="1215706"/>
                  </a:lnTo>
                  <a:lnTo>
                    <a:pt x="386001" y="1212331"/>
                  </a:lnTo>
                  <a:lnTo>
                    <a:pt x="385718" y="1210113"/>
                  </a:lnTo>
                  <a:lnTo>
                    <a:pt x="385906" y="1208016"/>
                  </a:lnTo>
                  <a:lnTo>
                    <a:pt x="387929" y="1203462"/>
                  </a:lnTo>
                  <a:lnTo>
                    <a:pt x="389647" y="1201050"/>
                  </a:lnTo>
                  <a:lnTo>
                    <a:pt x="392899" y="1197520"/>
                  </a:lnTo>
                  <a:lnTo>
                    <a:pt x="394808" y="1195933"/>
                  </a:lnTo>
                  <a:lnTo>
                    <a:pt x="396281" y="1195365"/>
                  </a:lnTo>
                  <a:lnTo>
                    <a:pt x="400928" y="1195004"/>
                  </a:lnTo>
                  <a:lnTo>
                    <a:pt x="407756" y="1193263"/>
                  </a:lnTo>
                  <a:lnTo>
                    <a:pt x="408993" y="1192649"/>
                  </a:lnTo>
                  <a:lnTo>
                    <a:pt x="411768" y="1190136"/>
                  </a:lnTo>
                  <a:lnTo>
                    <a:pt x="416503" y="1186891"/>
                  </a:lnTo>
                  <a:lnTo>
                    <a:pt x="417975" y="1186394"/>
                  </a:lnTo>
                  <a:lnTo>
                    <a:pt x="419855" y="1186550"/>
                  </a:lnTo>
                  <a:lnTo>
                    <a:pt x="420559" y="1186804"/>
                  </a:lnTo>
                  <a:lnTo>
                    <a:pt x="421146" y="1187118"/>
                  </a:lnTo>
                  <a:lnTo>
                    <a:pt x="422492" y="1188674"/>
                  </a:lnTo>
                  <a:lnTo>
                    <a:pt x="422901" y="1189295"/>
                  </a:lnTo>
                  <a:lnTo>
                    <a:pt x="423308" y="1190361"/>
                  </a:lnTo>
                  <a:lnTo>
                    <a:pt x="423597" y="1191588"/>
                  </a:lnTo>
                  <a:lnTo>
                    <a:pt x="423818" y="1195342"/>
                  </a:lnTo>
                  <a:lnTo>
                    <a:pt x="424108" y="1196406"/>
                  </a:lnTo>
                  <a:lnTo>
                    <a:pt x="424516" y="1197175"/>
                  </a:lnTo>
                  <a:lnTo>
                    <a:pt x="425161" y="1197858"/>
                  </a:lnTo>
                  <a:lnTo>
                    <a:pt x="425981" y="1198468"/>
                  </a:lnTo>
                  <a:lnTo>
                    <a:pt x="426685" y="1198811"/>
                  </a:lnTo>
                  <a:lnTo>
                    <a:pt x="428684" y="1199172"/>
                  </a:lnTo>
                  <a:lnTo>
                    <a:pt x="465589" y="1176805"/>
                  </a:lnTo>
                  <a:lnTo>
                    <a:pt x="466604" y="1170410"/>
                  </a:lnTo>
                  <a:lnTo>
                    <a:pt x="467017" y="1169452"/>
                  </a:lnTo>
                  <a:lnTo>
                    <a:pt x="467961" y="1167798"/>
                  </a:lnTo>
                  <a:lnTo>
                    <a:pt x="470082" y="1165250"/>
                  </a:lnTo>
                  <a:lnTo>
                    <a:pt x="471317" y="1164232"/>
                  </a:lnTo>
                  <a:lnTo>
                    <a:pt x="472317" y="1163584"/>
                  </a:lnTo>
                  <a:lnTo>
                    <a:pt x="475549" y="1162780"/>
                  </a:lnTo>
                  <a:lnTo>
                    <a:pt x="490017" y="1162025"/>
                  </a:lnTo>
                  <a:lnTo>
                    <a:pt x="490958" y="1161701"/>
                  </a:lnTo>
                  <a:lnTo>
                    <a:pt x="491722" y="1161139"/>
                  </a:lnTo>
                  <a:lnTo>
                    <a:pt x="490900" y="1160785"/>
                  </a:lnTo>
                  <a:lnTo>
                    <a:pt x="489786" y="1160074"/>
                  </a:lnTo>
                  <a:lnTo>
                    <a:pt x="489141" y="1159245"/>
                  </a:lnTo>
                  <a:lnTo>
                    <a:pt x="488673" y="1158519"/>
                  </a:lnTo>
                  <a:lnTo>
                    <a:pt x="488675" y="1157058"/>
                  </a:lnTo>
                  <a:lnTo>
                    <a:pt x="489090" y="1154961"/>
                  </a:lnTo>
                  <a:lnTo>
                    <a:pt x="493039" y="1144376"/>
                  </a:lnTo>
                  <a:lnTo>
                    <a:pt x="493515" y="1140654"/>
                  </a:lnTo>
                  <a:lnTo>
                    <a:pt x="493636" y="1137980"/>
                  </a:lnTo>
                  <a:lnTo>
                    <a:pt x="493406" y="1134374"/>
                  </a:lnTo>
                  <a:lnTo>
                    <a:pt x="492823" y="1132009"/>
                  </a:lnTo>
                  <a:lnTo>
                    <a:pt x="492239" y="1130296"/>
                  </a:lnTo>
                  <a:lnTo>
                    <a:pt x="490367" y="1127041"/>
                  </a:lnTo>
                  <a:lnTo>
                    <a:pt x="489432" y="1124972"/>
                  </a:lnTo>
                  <a:lnTo>
                    <a:pt x="489082" y="1123702"/>
                  </a:lnTo>
                  <a:lnTo>
                    <a:pt x="488850" y="1122341"/>
                  </a:lnTo>
                  <a:lnTo>
                    <a:pt x="488620" y="1119814"/>
                  </a:lnTo>
                  <a:lnTo>
                    <a:pt x="488914" y="1118766"/>
                  </a:lnTo>
                  <a:lnTo>
                    <a:pt x="489385" y="1117955"/>
                  </a:lnTo>
                  <a:lnTo>
                    <a:pt x="491498" y="1116718"/>
                  </a:lnTo>
                  <a:lnTo>
                    <a:pt x="494490" y="1115673"/>
                  </a:lnTo>
                  <a:lnTo>
                    <a:pt x="495488" y="1114817"/>
                  </a:lnTo>
                  <a:lnTo>
                    <a:pt x="497132" y="1112796"/>
                  </a:lnTo>
                  <a:lnTo>
                    <a:pt x="497135" y="1110669"/>
                  </a:lnTo>
                  <a:lnTo>
                    <a:pt x="496903" y="1109323"/>
                  </a:lnTo>
                  <a:lnTo>
                    <a:pt x="496259" y="1108406"/>
                  </a:lnTo>
                  <a:lnTo>
                    <a:pt x="495323" y="1107563"/>
                  </a:lnTo>
                  <a:lnTo>
                    <a:pt x="492160" y="1105772"/>
                  </a:lnTo>
                  <a:lnTo>
                    <a:pt x="490053" y="1103729"/>
                  </a:lnTo>
                  <a:lnTo>
                    <a:pt x="488240" y="1101569"/>
                  </a:lnTo>
                  <a:lnTo>
                    <a:pt x="486250" y="1099882"/>
                  </a:lnTo>
                  <a:lnTo>
                    <a:pt x="484084" y="1098563"/>
                  </a:lnTo>
                  <a:lnTo>
                    <a:pt x="481977" y="1097658"/>
                  </a:lnTo>
                  <a:lnTo>
                    <a:pt x="480397" y="1096680"/>
                  </a:lnTo>
                  <a:lnTo>
                    <a:pt x="479578" y="1095777"/>
                  </a:lnTo>
                  <a:lnTo>
                    <a:pt x="478994" y="1094623"/>
                  </a:lnTo>
                  <a:lnTo>
                    <a:pt x="478393" y="1092538"/>
                  </a:lnTo>
                  <a:lnTo>
                    <a:pt x="477693" y="1091208"/>
                  </a:lnTo>
                  <a:lnTo>
                    <a:pt x="476933" y="1090275"/>
                  </a:lnTo>
                  <a:lnTo>
                    <a:pt x="475823" y="1089137"/>
                  </a:lnTo>
                  <a:lnTo>
                    <a:pt x="474421" y="1086946"/>
                  </a:lnTo>
                  <a:lnTo>
                    <a:pt x="472966" y="1082867"/>
                  </a:lnTo>
                  <a:lnTo>
                    <a:pt x="473332" y="1076204"/>
                  </a:lnTo>
                  <a:lnTo>
                    <a:pt x="473862" y="1075067"/>
                  </a:lnTo>
                  <a:lnTo>
                    <a:pt x="474507" y="1074625"/>
                  </a:lnTo>
                  <a:lnTo>
                    <a:pt x="477911" y="1070497"/>
                  </a:lnTo>
                  <a:lnTo>
                    <a:pt x="480692" y="1065391"/>
                  </a:lnTo>
                  <a:lnTo>
                    <a:pt x="482217" y="1063710"/>
                  </a:lnTo>
                  <a:lnTo>
                    <a:pt x="483798" y="1063446"/>
                  </a:lnTo>
                  <a:lnTo>
                    <a:pt x="485609" y="1065134"/>
                  </a:lnTo>
                  <a:lnTo>
                    <a:pt x="488939" y="1068832"/>
                  </a:lnTo>
                  <a:lnTo>
                    <a:pt x="490693" y="1070373"/>
                  </a:lnTo>
                  <a:lnTo>
                    <a:pt x="492096" y="1071143"/>
                  </a:lnTo>
                  <a:lnTo>
                    <a:pt x="494086" y="1071767"/>
                  </a:lnTo>
                  <a:lnTo>
                    <a:pt x="501892" y="1071187"/>
                  </a:lnTo>
                  <a:lnTo>
                    <a:pt x="503823" y="1071898"/>
                  </a:lnTo>
                  <a:lnTo>
                    <a:pt x="505051" y="1073348"/>
                  </a:lnTo>
                  <a:lnTo>
                    <a:pt x="507795" y="1080337"/>
                  </a:lnTo>
                  <a:lnTo>
                    <a:pt x="510193" y="1084520"/>
                  </a:lnTo>
                  <a:lnTo>
                    <a:pt x="511012" y="1085468"/>
                  </a:lnTo>
                  <a:lnTo>
                    <a:pt x="511656" y="1085778"/>
                  </a:lnTo>
                  <a:lnTo>
                    <a:pt x="512710" y="1085423"/>
                  </a:lnTo>
                  <a:lnTo>
                    <a:pt x="514293" y="1084199"/>
                  </a:lnTo>
                  <a:lnTo>
                    <a:pt x="531418" y="1064353"/>
                  </a:lnTo>
                  <a:lnTo>
                    <a:pt x="533993" y="1062580"/>
                  </a:lnTo>
                  <a:lnTo>
                    <a:pt x="535573" y="1062565"/>
                  </a:lnTo>
                  <a:lnTo>
                    <a:pt x="537153" y="1063202"/>
                  </a:lnTo>
                  <a:lnTo>
                    <a:pt x="538032" y="1063984"/>
                  </a:lnTo>
                  <a:lnTo>
                    <a:pt x="539026" y="1065889"/>
                  </a:lnTo>
                  <a:lnTo>
                    <a:pt x="538675" y="1066835"/>
                  </a:lnTo>
                  <a:lnTo>
                    <a:pt x="537914" y="1067572"/>
                  </a:lnTo>
                  <a:lnTo>
                    <a:pt x="536627" y="1068135"/>
                  </a:lnTo>
                  <a:lnTo>
                    <a:pt x="536275" y="1069642"/>
                  </a:lnTo>
                  <a:lnTo>
                    <a:pt x="536568" y="1071119"/>
                  </a:lnTo>
                  <a:lnTo>
                    <a:pt x="536627" y="1072685"/>
                  </a:lnTo>
                  <a:lnTo>
                    <a:pt x="535046" y="1076052"/>
                  </a:lnTo>
                  <a:lnTo>
                    <a:pt x="534578" y="1077339"/>
                  </a:lnTo>
                  <a:lnTo>
                    <a:pt x="534402" y="1078268"/>
                  </a:lnTo>
                  <a:lnTo>
                    <a:pt x="534343" y="1079642"/>
                  </a:lnTo>
                  <a:lnTo>
                    <a:pt x="534578" y="1081047"/>
                  </a:lnTo>
                  <a:lnTo>
                    <a:pt x="534987" y="1082140"/>
                  </a:lnTo>
                  <a:lnTo>
                    <a:pt x="535573" y="1083174"/>
                  </a:lnTo>
                  <a:lnTo>
                    <a:pt x="536100" y="1083706"/>
                  </a:lnTo>
                  <a:lnTo>
                    <a:pt x="536803" y="1084031"/>
                  </a:lnTo>
                  <a:lnTo>
                    <a:pt x="541839" y="1081047"/>
                  </a:lnTo>
                  <a:lnTo>
                    <a:pt x="558185" y="1065793"/>
                  </a:lnTo>
                  <a:lnTo>
                    <a:pt x="551389" y="1053151"/>
                  </a:lnTo>
                  <a:lnTo>
                    <a:pt x="550451" y="1049119"/>
                  </a:lnTo>
                  <a:lnTo>
                    <a:pt x="549105" y="1046193"/>
                  </a:lnTo>
                  <a:lnTo>
                    <a:pt x="548343" y="1045233"/>
                  </a:lnTo>
                  <a:lnTo>
                    <a:pt x="547700" y="1044998"/>
                  </a:lnTo>
                  <a:lnTo>
                    <a:pt x="545185" y="1045485"/>
                  </a:lnTo>
                  <a:lnTo>
                    <a:pt x="537796" y="1041587"/>
                  </a:lnTo>
                  <a:lnTo>
                    <a:pt x="535106" y="1038055"/>
                  </a:lnTo>
                  <a:lnTo>
                    <a:pt x="534755" y="1037126"/>
                  </a:lnTo>
                  <a:lnTo>
                    <a:pt x="534638" y="1036609"/>
                  </a:lnTo>
                  <a:lnTo>
                    <a:pt x="534229" y="1033536"/>
                  </a:lnTo>
                  <a:lnTo>
                    <a:pt x="534171" y="1030714"/>
                  </a:lnTo>
                  <a:lnTo>
                    <a:pt x="534288" y="1029222"/>
                  </a:lnTo>
                  <a:lnTo>
                    <a:pt x="534522" y="1027876"/>
                  </a:lnTo>
                  <a:lnTo>
                    <a:pt x="534990" y="1026650"/>
                  </a:lnTo>
                  <a:lnTo>
                    <a:pt x="535341" y="1025941"/>
                  </a:lnTo>
                  <a:lnTo>
                    <a:pt x="535925" y="1025174"/>
                  </a:lnTo>
                  <a:lnTo>
                    <a:pt x="536860" y="1024434"/>
                  </a:lnTo>
                  <a:lnTo>
                    <a:pt x="537269" y="1022722"/>
                  </a:lnTo>
                  <a:lnTo>
                    <a:pt x="537444" y="1019618"/>
                  </a:lnTo>
                  <a:lnTo>
                    <a:pt x="537035" y="1011847"/>
                  </a:lnTo>
                  <a:lnTo>
                    <a:pt x="537152" y="1008390"/>
                  </a:lnTo>
                  <a:lnTo>
                    <a:pt x="537794" y="1005910"/>
                  </a:lnTo>
                  <a:lnTo>
                    <a:pt x="538963" y="1004608"/>
                  </a:lnTo>
                  <a:lnTo>
                    <a:pt x="541474" y="1002524"/>
                  </a:lnTo>
                  <a:lnTo>
                    <a:pt x="542018" y="1001830"/>
                  </a:lnTo>
                  <a:lnTo>
                    <a:pt x="542660" y="1000441"/>
                  </a:lnTo>
                  <a:lnTo>
                    <a:pt x="543244" y="998197"/>
                  </a:lnTo>
                  <a:lnTo>
                    <a:pt x="544294" y="993262"/>
                  </a:lnTo>
                  <a:lnTo>
                    <a:pt x="544584" y="990839"/>
                  </a:lnTo>
                  <a:lnTo>
                    <a:pt x="544526" y="989155"/>
                  </a:lnTo>
                  <a:lnTo>
                    <a:pt x="544175" y="988209"/>
                  </a:lnTo>
                  <a:lnTo>
                    <a:pt x="543825" y="987308"/>
                  </a:lnTo>
                  <a:lnTo>
                    <a:pt x="540886" y="982212"/>
                  </a:lnTo>
                  <a:lnTo>
                    <a:pt x="540536" y="980896"/>
                  </a:lnTo>
                  <a:lnTo>
                    <a:pt x="540419" y="979936"/>
                  </a:lnTo>
                  <a:lnTo>
                    <a:pt x="540536" y="979404"/>
                  </a:lnTo>
                  <a:lnTo>
                    <a:pt x="541819" y="975386"/>
                  </a:lnTo>
                  <a:lnTo>
                    <a:pt x="542071" y="974573"/>
                  </a:lnTo>
                  <a:lnTo>
                    <a:pt x="542246" y="973702"/>
                  </a:lnTo>
                  <a:lnTo>
                    <a:pt x="543525" y="958190"/>
                  </a:lnTo>
                  <a:lnTo>
                    <a:pt x="543524" y="954303"/>
                  </a:lnTo>
                  <a:lnTo>
                    <a:pt x="543232" y="951746"/>
                  </a:lnTo>
                  <a:lnTo>
                    <a:pt x="542591" y="951010"/>
                  </a:lnTo>
                  <a:lnTo>
                    <a:pt x="539540" y="948379"/>
                  </a:lnTo>
                  <a:lnTo>
                    <a:pt x="539190" y="947435"/>
                  </a:lnTo>
                  <a:lnTo>
                    <a:pt x="539482" y="946754"/>
                  </a:lnTo>
                  <a:lnTo>
                    <a:pt x="540472" y="946207"/>
                  </a:lnTo>
                  <a:lnTo>
                    <a:pt x="544688" y="944686"/>
                  </a:lnTo>
                  <a:lnTo>
                    <a:pt x="545853" y="944035"/>
                  </a:lnTo>
                  <a:lnTo>
                    <a:pt x="547659" y="942556"/>
                  </a:lnTo>
                  <a:lnTo>
                    <a:pt x="547950" y="940844"/>
                  </a:lnTo>
                  <a:lnTo>
                    <a:pt x="547716" y="939040"/>
                  </a:lnTo>
                  <a:lnTo>
                    <a:pt x="545908" y="933753"/>
                  </a:lnTo>
                  <a:lnTo>
                    <a:pt x="544975" y="930104"/>
                  </a:lnTo>
                  <a:lnTo>
                    <a:pt x="544450" y="928611"/>
                  </a:lnTo>
                  <a:lnTo>
                    <a:pt x="543692" y="927341"/>
                  </a:lnTo>
                  <a:lnTo>
                    <a:pt x="542702" y="926218"/>
                  </a:lnTo>
                  <a:lnTo>
                    <a:pt x="540586" y="924652"/>
                  </a:lnTo>
                  <a:lnTo>
                    <a:pt x="539537" y="923204"/>
                  </a:lnTo>
                  <a:lnTo>
                    <a:pt x="537965" y="918434"/>
                  </a:lnTo>
                  <a:lnTo>
                    <a:pt x="537324" y="917119"/>
                  </a:lnTo>
                  <a:lnTo>
                    <a:pt x="536917" y="916469"/>
                  </a:lnTo>
                  <a:lnTo>
                    <a:pt x="536393" y="915788"/>
                  </a:lnTo>
                  <a:lnTo>
                    <a:pt x="535752" y="915228"/>
                  </a:lnTo>
                  <a:lnTo>
                    <a:pt x="530921" y="909613"/>
                  </a:lnTo>
                  <a:lnTo>
                    <a:pt x="528012" y="903762"/>
                  </a:lnTo>
                  <a:lnTo>
                    <a:pt x="512348" y="890855"/>
                  </a:lnTo>
                  <a:lnTo>
                    <a:pt x="510083" y="887765"/>
                  </a:lnTo>
                  <a:lnTo>
                    <a:pt x="508692" y="882046"/>
                  </a:lnTo>
                  <a:lnTo>
                    <a:pt x="507359" y="877715"/>
                  </a:lnTo>
                  <a:lnTo>
                    <a:pt x="506315" y="875882"/>
                  </a:lnTo>
                  <a:lnTo>
                    <a:pt x="505211" y="874847"/>
                  </a:lnTo>
                  <a:lnTo>
                    <a:pt x="500793" y="874900"/>
                  </a:lnTo>
                  <a:lnTo>
                    <a:pt x="499669" y="874751"/>
                  </a:lnTo>
                  <a:lnTo>
                    <a:pt x="498855" y="874396"/>
                  </a:lnTo>
                  <a:lnTo>
                    <a:pt x="492408" y="870397"/>
                  </a:lnTo>
                  <a:lnTo>
                    <a:pt x="490840" y="869863"/>
                  </a:lnTo>
                  <a:lnTo>
                    <a:pt x="489619" y="869773"/>
                  </a:lnTo>
                  <a:lnTo>
                    <a:pt x="486887" y="870078"/>
                  </a:lnTo>
                  <a:lnTo>
                    <a:pt x="485027" y="869824"/>
                  </a:lnTo>
                  <a:lnTo>
                    <a:pt x="478212" y="867328"/>
                  </a:lnTo>
                  <a:lnTo>
                    <a:pt x="476297" y="866232"/>
                  </a:lnTo>
                  <a:lnTo>
                    <a:pt x="475311" y="865193"/>
                  </a:lnTo>
                  <a:lnTo>
                    <a:pt x="475254" y="864366"/>
                  </a:lnTo>
                  <a:lnTo>
                    <a:pt x="475372" y="863481"/>
                  </a:lnTo>
                  <a:lnTo>
                    <a:pt x="476015" y="861858"/>
                  </a:lnTo>
                  <a:lnTo>
                    <a:pt x="476365" y="861088"/>
                  </a:lnTo>
                  <a:lnTo>
                    <a:pt x="476776" y="859288"/>
                  </a:lnTo>
                  <a:lnTo>
                    <a:pt x="476783" y="855920"/>
                  </a:lnTo>
                  <a:lnTo>
                    <a:pt x="471101" y="851016"/>
                  </a:lnTo>
                  <a:lnTo>
                    <a:pt x="469654" y="848797"/>
                  </a:lnTo>
                  <a:lnTo>
                    <a:pt x="469539" y="848014"/>
                  </a:lnTo>
                  <a:lnTo>
                    <a:pt x="469657" y="847185"/>
                  </a:lnTo>
                  <a:lnTo>
                    <a:pt x="470418" y="844912"/>
                  </a:lnTo>
                  <a:lnTo>
                    <a:pt x="470887" y="842845"/>
                  </a:lnTo>
                  <a:lnTo>
                    <a:pt x="470483" y="841810"/>
                  </a:lnTo>
                  <a:lnTo>
                    <a:pt x="469846" y="841217"/>
                  </a:lnTo>
                  <a:lnTo>
                    <a:pt x="468220" y="840963"/>
                  </a:lnTo>
                  <a:lnTo>
                    <a:pt x="464624" y="839728"/>
                  </a:lnTo>
                  <a:lnTo>
                    <a:pt x="460565" y="837383"/>
                  </a:lnTo>
                  <a:lnTo>
                    <a:pt x="459175" y="836123"/>
                  </a:lnTo>
                  <a:lnTo>
                    <a:pt x="458598" y="834967"/>
                  </a:lnTo>
                  <a:lnTo>
                    <a:pt x="458948" y="834216"/>
                  </a:lnTo>
                  <a:lnTo>
                    <a:pt x="459473" y="833478"/>
                  </a:lnTo>
                  <a:lnTo>
                    <a:pt x="460229" y="833068"/>
                  </a:lnTo>
                  <a:lnTo>
                    <a:pt x="461041" y="833024"/>
                  </a:lnTo>
                  <a:lnTo>
                    <a:pt x="462666" y="833340"/>
                  </a:lnTo>
                  <a:lnTo>
                    <a:pt x="464175" y="833344"/>
                  </a:lnTo>
                  <a:lnTo>
                    <a:pt x="464989" y="833168"/>
                  </a:lnTo>
                  <a:lnTo>
                    <a:pt x="465802" y="832845"/>
                  </a:lnTo>
                  <a:lnTo>
                    <a:pt x="466674" y="832302"/>
                  </a:lnTo>
                  <a:lnTo>
                    <a:pt x="467315" y="831520"/>
                  </a:lnTo>
                  <a:lnTo>
                    <a:pt x="467723" y="830723"/>
                  </a:lnTo>
                  <a:lnTo>
                    <a:pt x="468599" y="828332"/>
                  </a:lnTo>
                  <a:lnTo>
                    <a:pt x="468950" y="827535"/>
                  </a:lnTo>
                  <a:lnTo>
                    <a:pt x="469416" y="826737"/>
                  </a:lnTo>
                  <a:lnTo>
                    <a:pt x="469998" y="825927"/>
                  </a:lnTo>
                  <a:lnTo>
                    <a:pt x="470757" y="824082"/>
                  </a:lnTo>
                  <a:lnTo>
                    <a:pt x="471518" y="821366"/>
                  </a:lnTo>
                  <a:lnTo>
                    <a:pt x="472171" y="814836"/>
                  </a:lnTo>
                  <a:lnTo>
                    <a:pt x="471830" y="811732"/>
                  </a:lnTo>
                  <a:lnTo>
                    <a:pt x="471255" y="809486"/>
                  </a:lnTo>
                  <a:lnTo>
                    <a:pt x="470561" y="808627"/>
                  </a:lnTo>
                  <a:lnTo>
                    <a:pt x="464717" y="802954"/>
                  </a:lnTo>
                  <a:lnTo>
                    <a:pt x="464023" y="802420"/>
                  </a:lnTo>
                  <a:lnTo>
                    <a:pt x="463212" y="802108"/>
                  </a:lnTo>
                  <a:lnTo>
                    <a:pt x="462342" y="802047"/>
                  </a:lnTo>
                  <a:lnTo>
                    <a:pt x="461472" y="802147"/>
                  </a:lnTo>
                  <a:lnTo>
                    <a:pt x="460485" y="802500"/>
                  </a:lnTo>
                  <a:lnTo>
                    <a:pt x="456341" y="805324"/>
                  </a:lnTo>
                  <a:lnTo>
                    <a:pt x="455470" y="805498"/>
                  </a:lnTo>
                  <a:lnTo>
                    <a:pt x="454601" y="805158"/>
                  </a:lnTo>
                  <a:lnTo>
                    <a:pt x="449513" y="800178"/>
                  </a:lnTo>
                  <a:lnTo>
                    <a:pt x="441954" y="789190"/>
                  </a:lnTo>
                  <a:lnTo>
                    <a:pt x="440395" y="787500"/>
                  </a:lnTo>
                  <a:lnTo>
                    <a:pt x="438950" y="786239"/>
                  </a:lnTo>
                  <a:lnTo>
                    <a:pt x="432225" y="781664"/>
                  </a:lnTo>
                  <a:lnTo>
                    <a:pt x="429107" y="778860"/>
                  </a:lnTo>
                  <a:lnTo>
                    <a:pt x="428127" y="777393"/>
                  </a:lnTo>
                  <a:lnTo>
                    <a:pt x="427842" y="776299"/>
                  </a:lnTo>
                  <a:lnTo>
                    <a:pt x="428482" y="775725"/>
                  </a:lnTo>
                  <a:lnTo>
                    <a:pt x="429235" y="775462"/>
                  </a:lnTo>
                  <a:lnTo>
                    <a:pt x="430859" y="775320"/>
                  </a:lnTo>
                  <a:lnTo>
                    <a:pt x="431729" y="774983"/>
                  </a:lnTo>
                  <a:lnTo>
                    <a:pt x="432484" y="774262"/>
                  </a:lnTo>
                  <a:lnTo>
                    <a:pt x="433244" y="772463"/>
                  </a:lnTo>
                  <a:lnTo>
                    <a:pt x="432728" y="771043"/>
                  </a:lnTo>
                  <a:lnTo>
                    <a:pt x="431518" y="769442"/>
                  </a:lnTo>
                  <a:lnTo>
                    <a:pt x="429094" y="766950"/>
                  </a:lnTo>
                  <a:lnTo>
                    <a:pt x="427944" y="764834"/>
                  </a:lnTo>
                  <a:lnTo>
                    <a:pt x="427258" y="762600"/>
                  </a:lnTo>
                  <a:lnTo>
                    <a:pt x="427210" y="760015"/>
                  </a:lnTo>
                  <a:lnTo>
                    <a:pt x="427334" y="758078"/>
                  </a:lnTo>
                  <a:lnTo>
                    <a:pt x="427295" y="752996"/>
                  </a:lnTo>
                  <a:lnTo>
                    <a:pt x="426957" y="750778"/>
                  </a:lnTo>
                  <a:lnTo>
                    <a:pt x="426784" y="750514"/>
                  </a:lnTo>
                  <a:lnTo>
                    <a:pt x="421656" y="744907"/>
                  </a:lnTo>
                  <a:lnTo>
                    <a:pt x="420680" y="742863"/>
                  </a:lnTo>
                  <a:lnTo>
                    <a:pt x="420458" y="740707"/>
                  </a:lnTo>
                  <a:lnTo>
                    <a:pt x="420753" y="739378"/>
                  </a:lnTo>
                  <a:lnTo>
                    <a:pt x="421278" y="738169"/>
                  </a:lnTo>
                  <a:lnTo>
                    <a:pt x="421916" y="737785"/>
                  </a:lnTo>
                  <a:lnTo>
                    <a:pt x="422667" y="737996"/>
                  </a:lnTo>
                  <a:lnTo>
                    <a:pt x="424339" y="739451"/>
                  </a:lnTo>
                  <a:lnTo>
                    <a:pt x="425436" y="740195"/>
                  </a:lnTo>
                  <a:lnTo>
                    <a:pt x="429134" y="741658"/>
                  </a:lnTo>
                  <a:lnTo>
                    <a:pt x="430695" y="741841"/>
                  </a:lnTo>
                  <a:lnTo>
                    <a:pt x="431912" y="741224"/>
                  </a:lnTo>
                  <a:lnTo>
                    <a:pt x="432554" y="739985"/>
                  </a:lnTo>
                  <a:lnTo>
                    <a:pt x="432798" y="736323"/>
                  </a:lnTo>
                  <a:lnTo>
                    <a:pt x="431942" y="733246"/>
                  </a:lnTo>
                  <a:lnTo>
                    <a:pt x="429245" y="727591"/>
                  </a:lnTo>
                  <a:lnTo>
                    <a:pt x="428273" y="724751"/>
                  </a:lnTo>
                  <a:lnTo>
                    <a:pt x="427991" y="722711"/>
                  </a:lnTo>
                  <a:lnTo>
                    <a:pt x="430798" y="714581"/>
                  </a:lnTo>
                  <a:lnTo>
                    <a:pt x="430747" y="712674"/>
                  </a:lnTo>
                  <a:lnTo>
                    <a:pt x="430232" y="711270"/>
                  </a:lnTo>
                  <a:lnTo>
                    <a:pt x="429599" y="710691"/>
                  </a:lnTo>
                  <a:lnTo>
                    <a:pt x="429080" y="710334"/>
                  </a:lnTo>
                  <a:lnTo>
                    <a:pt x="428098" y="710064"/>
                  </a:lnTo>
                  <a:lnTo>
                    <a:pt x="426885" y="709882"/>
                  </a:lnTo>
                  <a:lnTo>
                    <a:pt x="424924" y="709017"/>
                  </a:lnTo>
                  <a:lnTo>
                    <a:pt x="422387" y="707264"/>
                  </a:lnTo>
                  <a:lnTo>
                    <a:pt x="418768" y="702225"/>
                  </a:lnTo>
                  <a:lnTo>
                    <a:pt x="417802" y="698349"/>
                  </a:lnTo>
                  <a:lnTo>
                    <a:pt x="417875" y="694672"/>
                  </a:lnTo>
                  <a:lnTo>
                    <a:pt x="418635" y="692635"/>
                  </a:lnTo>
                  <a:lnTo>
                    <a:pt x="418851" y="682397"/>
                  </a:lnTo>
                  <a:lnTo>
                    <a:pt x="425523" y="674417"/>
                  </a:lnTo>
                  <a:lnTo>
                    <a:pt x="427257" y="673951"/>
                  </a:lnTo>
                  <a:lnTo>
                    <a:pt x="429797" y="673784"/>
                  </a:lnTo>
                  <a:lnTo>
                    <a:pt x="432101" y="675077"/>
                  </a:lnTo>
                  <a:lnTo>
                    <a:pt x="433888" y="675808"/>
                  </a:lnTo>
                  <a:lnTo>
                    <a:pt x="436773" y="676321"/>
                  </a:lnTo>
                  <a:lnTo>
                    <a:pt x="437411" y="675319"/>
                  </a:lnTo>
                  <a:lnTo>
                    <a:pt x="437243" y="674019"/>
                  </a:lnTo>
                  <a:lnTo>
                    <a:pt x="426611" y="647411"/>
                  </a:lnTo>
                  <a:lnTo>
                    <a:pt x="425924" y="646213"/>
                  </a:lnTo>
                  <a:lnTo>
                    <a:pt x="425119" y="645455"/>
                  </a:lnTo>
                  <a:lnTo>
                    <a:pt x="423566" y="644564"/>
                  </a:lnTo>
                  <a:lnTo>
                    <a:pt x="416350" y="641918"/>
                  </a:lnTo>
                  <a:lnTo>
                    <a:pt x="415548" y="640865"/>
                  </a:lnTo>
                  <a:lnTo>
                    <a:pt x="415727" y="639506"/>
                  </a:lnTo>
                  <a:lnTo>
                    <a:pt x="416539" y="638297"/>
                  </a:lnTo>
                  <a:lnTo>
                    <a:pt x="418760" y="635707"/>
                  </a:lnTo>
                  <a:lnTo>
                    <a:pt x="420039" y="632994"/>
                  </a:lnTo>
                  <a:lnTo>
                    <a:pt x="422902" y="623609"/>
                  </a:lnTo>
                  <a:lnTo>
                    <a:pt x="419192" y="615142"/>
                  </a:lnTo>
                  <a:lnTo>
                    <a:pt x="418685" y="612333"/>
                  </a:lnTo>
                  <a:lnTo>
                    <a:pt x="419035" y="611359"/>
                  </a:lnTo>
                  <a:lnTo>
                    <a:pt x="420662" y="607819"/>
                  </a:lnTo>
                  <a:lnTo>
                    <a:pt x="421828" y="604633"/>
                  </a:lnTo>
                  <a:lnTo>
                    <a:pt x="421835" y="602800"/>
                  </a:lnTo>
                  <a:lnTo>
                    <a:pt x="421324" y="601262"/>
                  </a:lnTo>
                  <a:lnTo>
                    <a:pt x="419774" y="599940"/>
                  </a:lnTo>
                  <a:lnTo>
                    <a:pt x="418510" y="599374"/>
                  </a:lnTo>
                  <a:lnTo>
                    <a:pt x="417762" y="599282"/>
                  </a:lnTo>
                  <a:lnTo>
                    <a:pt x="416764" y="599278"/>
                  </a:lnTo>
                  <a:lnTo>
                    <a:pt x="415555" y="599464"/>
                  </a:lnTo>
                  <a:lnTo>
                    <a:pt x="414404" y="599178"/>
                  </a:lnTo>
                  <a:lnTo>
                    <a:pt x="413083" y="598552"/>
                  </a:lnTo>
                  <a:lnTo>
                    <a:pt x="410616" y="596634"/>
                  </a:lnTo>
                  <a:lnTo>
                    <a:pt x="409816" y="595361"/>
                  </a:lnTo>
                  <a:lnTo>
                    <a:pt x="409649" y="594265"/>
                  </a:lnTo>
                  <a:lnTo>
                    <a:pt x="410172" y="592998"/>
                  </a:lnTo>
                  <a:lnTo>
                    <a:pt x="410406" y="592231"/>
                  </a:lnTo>
                  <a:lnTo>
                    <a:pt x="410870" y="591405"/>
                  </a:lnTo>
                  <a:lnTo>
                    <a:pt x="412150" y="588324"/>
                  </a:lnTo>
                  <a:lnTo>
                    <a:pt x="412156" y="587170"/>
                  </a:lnTo>
                  <a:lnTo>
                    <a:pt x="411814" y="586267"/>
                  </a:lnTo>
                  <a:lnTo>
                    <a:pt x="409750" y="584589"/>
                  </a:lnTo>
                  <a:lnTo>
                    <a:pt x="408546" y="583829"/>
                  </a:lnTo>
                  <a:lnTo>
                    <a:pt x="405675" y="582397"/>
                  </a:lnTo>
                  <a:lnTo>
                    <a:pt x="396722" y="589445"/>
                  </a:lnTo>
                  <a:lnTo>
                    <a:pt x="395308" y="592084"/>
                  </a:lnTo>
                  <a:lnTo>
                    <a:pt x="395651" y="592662"/>
                  </a:lnTo>
                  <a:lnTo>
                    <a:pt x="396051" y="593165"/>
                  </a:lnTo>
                  <a:lnTo>
                    <a:pt x="396413" y="593730"/>
                  </a:lnTo>
                  <a:lnTo>
                    <a:pt x="397213" y="594753"/>
                  </a:lnTo>
                  <a:lnTo>
                    <a:pt x="397729" y="595244"/>
                  </a:lnTo>
                  <a:lnTo>
                    <a:pt x="398471" y="596458"/>
                  </a:lnTo>
                  <a:lnTo>
                    <a:pt x="398809" y="597878"/>
                  </a:lnTo>
                  <a:lnTo>
                    <a:pt x="399025" y="600909"/>
                  </a:lnTo>
                  <a:lnTo>
                    <a:pt x="398384" y="602426"/>
                  </a:lnTo>
                  <a:lnTo>
                    <a:pt x="387707" y="614443"/>
                  </a:lnTo>
                  <a:lnTo>
                    <a:pt x="384236" y="617216"/>
                  </a:lnTo>
                  <a:lnTo>
                    <a:pt x="381173" y="618854"/>
                  </a:lnTo>
                  <a:lnTo>
                    <a:pt x="354420" y="619281"/>
                  </a:lnTo>
                  <a:lnTo>
                    <a:pt x="351121" y="618594"/>
                  </a:lnTo>
                  <a:lnTo>
                    <a:pt x="350204" y="617864"/>
                  </a:lnTo>
                  <a:lnTo>
                    <a:pt x="350095" y="617064"/>
                  </a:lnTo>
                  <a:lnTo>
                    <a:pt x="350331" y="616150"/>
                  </a:lnTo>
                  <a:lnTo>
                    <a:pt x="350395" y="615175"/>
                  </a:lnTo>
                  <a:lnTo>
                    <a:pt x="348686" y="603846"/>
                  </a:lnTo>
                  <a:lnTo>
                    <a:pt x="348586" y="601570"/>
                  </a:lnTo>
                  <a:lnTo>
                    <a:pt x="348775" y="599266"/>
                  </a:lnTo>
                  <a:lnTo>
                    <a:pt x="349311" y="596462"/>
                  </a:lnTo>
                  <a:lnTo>
                    <a:pt x="349560" y="593672"/>
                  </a:lnTo>
                  <a:lnTo>
                    <a:pt x="349578" y="591071"/>
                  </a:lnTo>
                  <a:lnTo>
                    <a:pt x="348688" y="586367"/>
                  </a:lnTo>
                  <a:lnTo>
                    <a:pt x="348051" y="578605"/>
                  </a:lnTo>
                  <a:lnTo>
                    <a:pt x="347656" y="577540"/>
                  </a:lnTo>
                  <a:lnTo>
                    <a:pt x="346744" y="576262"/>
                  </a:lnTo>
                  <a:lnTo>
                    <a:pt x="341825" y="572209"/>
                  </a:lnTo>
                  <a:lnTo>
                    <a:pt x="341599" y="571704"/>
                  </a:lnTo>
                  <a:lnTo>
                    <a:pt x="341718" y="571113"/>
                  </a:lnTo>
                  <a:lnTo>
                    <a:pt x="342242" y="570231"/>
                  </a:lnTo>
                  <a:lnTo>
                    <a:pt x="342938" y="569292"/>
                  </a:lnTo>
                  <a:lnTo>
                    <a:pt x="343872" y="567361"/>
                  </a:lnTo>
                  <a:lnTo>
                    <a:pt x="344109" y="566300"/>
                  </a:lnTo>
                  <a:lnTo>
                    <a:pt x="344000" y="565397"/>
                  </a:lnTo>
                  <a:lnTo>
                    <a:pt x="343492" y="564123"/>
                  </a:lnTo>
                  <a:lnTo>
                    <a:pt x="341895" y="562162"/>
                  </a:lnTo>
                  <a:lnTo>
                    <a:pt x="340519" y="561709"/>
                  </a:lnTo>
                  <a:lnTo>
                    <a:pt x="339138" y="561876"/>
                  </a:lnTo>
                  <a:lnTo>
                    <a:pt x="337693" y="562869"/>
                  </a:lnTo>
                  <a:lnTo>
                    <a:pt x="336593" y="563897"/>
                  </a:lnTo>
                  <a:lnTo>
                    <a:pt x="334560" y="566749"/>
                  </a:lnTo>
                  <a:lnTo>
                    <a:pt x="333492" y="568661"/>
                  </a:lnTo>
                  <a:lnTo>
                    <a:pt x="332795" y="569631"/>
                  </a:lnTo>
                  <a:lnTo>
                    <a:pt x="332158" y="570158"/>
                  </a:lnTo>
                  <a:lnTo>
                    <a:pt x="329911" y="570702"/>
                  </a:lnTo>
                  <a:lnTo>
                    <a:pt x="328354" y="571312"/>
                  </a:lnTo>
                  <a:lnTo>
                    <a:pt x="327139" y="572278"/>
                  </a:lnTo>
                  <a:lnTo>
                    <a:pt x="326439" y="573631"/>
                  </a:lnTo>
                  <a:lnTo>
                    <a:pt x="325720" y="577380"/>
                  </a:lnTo>
                  <a:lnTo>
                    <a:pt x="324898" y="579529"/>
                  </a:lnTo>
                  <a:lnTo>
                    <a:pt x="323560" y="581471"/>
                  </a:lnTo>
                  <a:lnTo>
                    <a:pt x="320325" y="583158"/>
                  </a:lnTo>
                  <a:lnTo>
                    <a:pt x="318027" y="582787"/>
                  </a:lnTo>
                  <a:lnTo>
                    <a:pt x="315336" y="581081"/>
                  </a:lnTo>
                  <a:lnTo>
                    <a:pt x="314427" y="579610"/>
                  </a:lnTo>
                  <a:lnTo>
                    <a:pt x="314384" y="577852"/>
                  </a:lnTo>
                  <a:lnTo>
                    <a:pt x="315490" y="576176"/>
                  </a:lnTo>
                  <a:lnTo>
                    <a:pt x="320767" y="570693"/>
                  </a:lnTo>
                  <a:lnTo>
                    <a:pt x="321523" y="569662"/>
                  </a:lnTo>
                  <a:lnTo>
                    <a:pt x="322166" y="568367"/>
                  </a:lnTo>
                  <a:lnTo>
                    <a:pt x="322525" y="566509"/>
                  </a:lnTo>
                  <a:lnTo>
                    <a:pt x="322591" y="565343"/>
                  </a:lnTo>
                  <a:lnTo>
                    <a:pt x="322040" y="562308"/>
                  </a:lnTo>
                  <a:lnTo>
                    <a:pt x="321996" y="560506"/>
                  </a:lnTo>
                  <a:lnTo>
                    <a:pt x="322242" y="558468"/>
                  </a:lnTo>
                  <a:lnTo>
                    <a:pt x="322944" y="556849"/>
                  </a:lnTo>
                  <a:lnTo>
                    <a:pt x="326314" y="552117"/>
                  </a:lnTo>
                  <a:lnTo>
                    <a:pt x="329154" y="548978"/>
                  </a:lnTo>
                  <a:lnTo>
                    <a:pt x="329796" y="547652"/>
                  </a:lnTo>
                  <a:lnTo>
                    <a:pt x="330148" y="546636"/>
                  </a:lnTo>
                  <a:lnTo>
                    <a:pt x="330444" y="545440"/>
                  </a:lnTo>
                  <a:lnTo>
                    <a:pt x="330679" y="544733"/>
                  </a:lnTo>
                  <a:lnTo>
                    <a:pt x="330687" y="543699"/>
                  </a:lnTo>
                  <a:lnTo>
                    <a:pt x="330409" y="542397"/>
                  </a:lnTo>
                  <a:lnTo>
                    <a:pt x="329789" y="540854"/>
                  </a:lnTo>
                  <a:lnTo>
                    <a:pt x="327913" y="538152"/>
                  </a:lnTo>
                  <a:lnTo>
                    <a:pt x="315330" y="524164"/>
                  </a:lnTo>
                  <a:lnTo>
                    <a:pt x="313569" y="521755"/>
                  </a:lnTo>
                  <a:lnTo>
                    <a:pt x="313214" y="520718"/>
                  </a:lnTo>
                  <a:lnTo>
                    <a:pt x="312935" y="519681"/>
                  </a:lnTo>
                  <a:lnTo>
                    <a:pt x="312574" y="514685"/>
                  </a:lnTo>
                  <a:lnTo>
                    <a:pt x="313012" y="503044"/>
                  </a:lnTo>
                  <a:lnTo>
                    <a:pt x="312917" y="500650"/>
                  </a:lnTo>
                  <a:lnTo>
                    <a:pt x="312756" y="499246"/>
                  </a:lnTo>
                  <a:lnTo>
                    <a:pt x="312307" y="498073"/>
                  </a:lnTo>
                  <a:lnTo>
                    <a:pt x="301975" y="485309"/>
                  </a:lnTo>
                  <a:lnTo>
                    <a:pt x="299657" y="481448"/>
                  </a:lnTo>
                  <a:lnTo>
                    <a:pt x="298692" y="480464"/>
                  </a:lnTo>
                  <a:lnTo>
                    <a:pt x="297949" y="480074"/>
                  </a:lnTo>
                  <a:lnTo>
                    <a:pt x="294951" y="482057"/>
                  </a:lnTo>
                  <a:lnTo>
                    <a:pt x="289005" y="484486"/>
                  </a:lnTo>
                  <a:lnTo>
                    <a:pt x="287390" y="485580"/>
                  </a:lnTo>
                  <a:lnTo>
                    <a:pt x="286348" y="486679"/>
                  </a:lnTo>
                  <a:lnTo>
                    <a:pt x="285999" y="487192"/>
                  </a:lnTo>
                  <a:lnTo>
                    <a:pt x="278536" y="494289"/>
                  </a:lnTo>
                  <a:lnTo>
                    <a:pt x="276381" y="497770"/>
                  </a:lnTo>
                  <a:lnTo>
                    <a:pt x="275397" y="498782"/>
                  </a:lnTo>
                  <a:lnTo>
                    <a:pt x="273725" y="499682"/>
                  </a:lnTo>
                  <a:lnTo>
                    <a:pt x="272527" y="498975"/>
                  </a:lnTo>
                  <a:lnTo>
                    <a:pt x="271770" y="498082"/>
                  </a:lnTo>
                  <a:lnTo>
                    <a:pt x="268293" y="489935"/>
                  </a:lnTo>
                  <a:lnTo>
                    <a:pt x="268019" y="488603"/>
                  </a:lnTo>
                  <a:lnTo>
                    <a:pt x="267753" y="486413"/>
                  </a:lnTo>
                  <a:lnTo>
                    <a:pt x="267725" y="483487"/>
                  </a:lnTo>
                  <a:lnTo>
                    <a:pt x="267347" y="481044"/>
                  </a:lnTo>
                  <a:lnTo>
                    <a:pt x="266495" y="480194"/>
                  </a:lnTo>
                  <a:lnTo>
                    <a:pt x="265578" y="480185"/>
                  </a:lnTo>
                  <a:lnTo>
                    <a:pt x="265117" y="480477"/>
                  </a:lnTo>
                  <a:lnTo>
                    <a:pt x="264712" y="480887"/>
                  </a:lnTo>
                  <a:lnTo>
                    <a:pt x="263129" y="484447"/>
                  </a:lnTo>
                  <a:lnTo>
                    <a:pt x="262028" y="485603"/>
                  </a:lnTo>
                  <a:lnTo>
                    <a:pt x="258054" y="487350"/>
                  </a:lnTo>
                  <a:lnTo>
                    <a:pt x="257127" y="488256"/>
                  </a:lnTo>
                  <a:lnTo>
                    <a:pt x="256716" y="489214"/>
                  </a:lnTo>
                  <a:lnTo>
                    <a:pt x="256238" y="491173"/>
                  </a:lnTo>
                  <a:lnTo>
                    <a:pt x="255914" y="494819"/>
                  </a:lnTo>
                  <a:lnTo>
                    <a:pt x="255610" y="496502"/>
                  </a:lnTo>
                  <a:lnTo>
                    <a:pt x="255254" y="497651"/>
                  </a:lnTo>
                  <a:lnTo>
                    <a:pt x="253633" y="499096"/>
                  </a:lnTo>
                  <a:lnTo>
                    <a:pt x="251258" y="499516"/>
                  </a:lnTo>
                  <a:lnTo>
                    <a:pt x="246044" y="498839"/>
                  </a:lnTo>
                  <a:lnTo>
                    <a:pt x="242790" y="497343"/>
                  </a:lnTo>
                  <a:lnTo>
                    <a:pt x="239942" y="495493"/>
                  </a:lnTo>
                  <a:lnTo>
                    <a:pt x="238410" y="493941"/>
                  </a:lnTo>
                  <a:lnTo>
                    <a:pt x="238129" y="493405"/>
                  </a:lnTo>
                  <a:lnTo>
                    <a:pt x="237908" y="492604"/>
                  </a:lnTo>
                  <a:lnTo>
                    <a:pt x="238093" y="491454"/>
                  </a:lnTo>
                  <a:lnTo>
                    <a:pt x="238450" y="490188"/>
                  </a:lnTo>
                  <a:lnTo>
                    <a:pt x="240976" y="484629"/>
                  </a:lnTo>
                  <a:lnTo>
                    <a:pt x="241332" y="483525"/>
                  </a:lnTo>
                  <a:lnTo>
                    <a:pt x="241345" y="482284"/>
                  </a:lnTo>
                  <a:lnTo>
                    <a:pt x="240918" y="479353"/>
                  </a:lnTo>
                  <a:lnTo>
                    <a:pt x="241100" y="478426"/>
                  </a:lnTo>
                  <a:lnTo>
                    <a:pt x="241739" y="477560"/>
                  </a:lnTo>
                  <a:lnTo>
                    <a:pt x="243586" y="476382"/>
                  </a:lnTo>
                  <a:lnTo>
                    <a:pt x="244167" y="475621"/>
                  </a:lnTo>
                  <a:lnTo>
                    <a:pt x="244236" y="474557"/>
                  </a:lnTo>
                  <a:lnTo>
                    <a:pt x="243526" y="471270"/>
                  </a:lnTo>
                  <a:lnTo>
                    <a:pt x="243490" y="469230"/>
                  </a:lnTo>
                  <a:lnTo>
                    <a:pt x="243793" y="467667"/>
                  </a:lnTo>
                  <a:lnTo>
                    <a:pt x="244264" y="466490"/>
                  </a:lnTo>
                  <a:lnTo>
                    <a:pt x="244848" y="465462"/>
                  </a:lnTo>
                  <a:lnTo>
                    <a:pt x="245435" y="464137"/>
                  </a:lnTo>
                  <a:lnTo>
                    <a:pt x="245672" y="463403"/>
                  </a:lnTo>
                  <a:lnTo>
                    <a:pt x="245680" y="462604"/>
                  </a:lnTo>
                  <a:lnTo>
                    <a:pt x="245581" y="461155"/>
                  </a:lnTo>
                  <a:lnTo>
                    <a:pt x="244924" y="458252"/>
                  </a:lnTo>
                  <a:lnTo>
                    <a:pt x="244556" y="455175"/>
                  </a:lnTo>
                  <a:lnTo>
                    <a:pt x="244564" y="454376"/>
                  </a:lnTo>
                  <a:lnTo>
                    <a:pt x="244861" y="453404"/>
                  </a:lnTo>
                  <a:lnTo>
                    <a:pt x="245445" y="452331"/>
                  </a:lnTo>
                  <a:lnTo>
                    <a:pt x="246721" y="450749"/>
                  </a:lnTo>
                  <a:lnTo>
                    <a:pt x="247250" y="449424"/>
                  </a:lnTo>
                  <a:lnTo>
                    <a:pt x="247264" y="448139"/>
                  </a:lnTo>
                  <a:lnTo>
                    <a:pt x="246545" y="445680"/>
                  </a:lnTo>
                  <a:lnTo>
                    <a:pt x="245355" y="444572"/>
                  </a:lnTo>
                  <a:lnTo>
                    <a:pt x="244270" y="444296"/>
                  </a:lnTo>
                  <a:lnTo>
                    <a:pt x="243004" y="444872"/>
                  </a:lnTo>
                  <a:lnTo>
                    <a:pt x="241271" y="446302"/>
                  </a:lnTo>
                  <a:lnTo>
                    <a:pt x="237986" y="448306"/>
                  </a:lnTo>
                  <a:lnTo>
                    <a:pt x="231661" y="450675"/>
                  </a:lnTo>
                  <a:lnTo>
                    <a:pt x="227797" y="451428"/>
                  </a:lnTo>
                  <a:lnTo>
                    <a:pt x="217700" y="444737"/>
                  </a:lnTo>
                  <a:lnTo>
                    <a:pt x="215740" y="445868"/>
                  </a:lnTo>
                  <a:lnTo>
                    <a:pt x="211240" y="447143"/>
                  </a:lnTo>
                  <a:lnTo>
                    <a:pt x="206760" y="446675"/>
                  </a:lnTo>
                  <a:lnTo>
                    <a:pt x="186994" y="436973"/>
                  </a:lnTo>
                  <a:lnTo>
                    <a:pt x="180186" y="436694"/>
                  </a:lnTo>
                  <a:lnTo>
                    <a:pt x="166978" y="438512"/>
                  </a:lnTo>
                  <a:lnTo>
                    <a:pt x="153536" y="443234"/>
                  </a:lnTo>
                  <a:lnTo>
                    <a:pt x="135561" y="441703"/>
                  </a:lnTo>
                  <a:lnTo>
                    <a:pt x="131074" y="443114"/>
                  </a:lnTo>
                  <a:lnTo>
                    <a:pt x="126817" y="445800"/>
                  </a:lnTo>
                  <a:lnTo>
                    <a:pt x="122863" y="449774"/>
                  </a:lnTo>
                  <a:lnTo>
                    <a:pt x="120792" y="452965"/>
                  </a:lnTo>
                  <a:lnTo>
                    <a:pt x="123159" y="460611"/>
                  </a:lnTo>
                  <a:lnTo>
                    <a:pt x="123486" y="461770"/>
                  </a:lnTo>
                  <a:lnTo>
                    <a:pt x="123594" y="462155"/>
                  </a:lnTo>
                  <a:lnTo>
                    <a:pt x="123179" y="463125"/>
                  </a:lnTo>
                  <a:lnTo>
                    <a:pt x="122692" y="464993"/>
                  </a:lnTo>
                  <a:lnTo>
                    <a:pt x="120812" y="468113"/>
                  </a:lnTo>
                  <a:lnTo>
                    <a:pt x="120776" y="470490"/>
                  </a:lnTo>
                  <a:lnTo>
                    <a:pt x="120980" y="472165"/>
                  </a:lnTo>
                  <a:lnTo>
                    <a:pt x="121652" y="473179"/>
                  </a:lnTo>
                  <a:lnTo>
                    <a:pt x="122953" y="474381"/>
                  </a:lnTo>
                  <a:lnTo>
                    <a:pt x="125918" y="475431"/>
                  </a:lnTo>
                  <a:lnTo>
                    <a:pt x="138403" y="477566"/>
                  </a:lnTo>
                  <a:lnTo>
                    <a:pt x="140451" y="478659"/>
                  </a:lnTo>
                  <a:lnTo>
                    <a:pt x="141695" y="479890"/>
                  </a:lnTo>
                  <a:lnTo>
                    <a:pt x="142122" y="482054"/>
                  </a:lnTo>
                  <a:lnTo>
                    <a:pt x="141864" y="484044"/>
                  </a:lnTo>
                  <a:lnTo>
                    <a:pt x="140601" y="488208"/>
                  </a:lnTo>
                  <a:lnTo>
                    <a:pt x="140456" y="490274"/>
                  </a:lnTo>
                  <a:lnTo>
                    <a:pt x="141124" y="491733"/>
                  </a:lnTo>
                  <a:lnTo>
                    <a:pt x="142494" y="492152"/>
                  </a:lnTo>
                  <a:lnTo>
                    <a:pt x="143814" y="492155"/>
                  </a:lnTo>
                  <a:lnTo>
                    <a:pt x="144966" y="491788"/>
                  </a:lnTo>
                  <a:lnTo>
                    <a:pt x="146469" y="490893"/>
                  </a:lnTo>
                  <a:lnTo>
                    <a:pt x="147348" y="489649"/>
                  </a:lnTo>
                  <a:lnTo>
                    <a:pt x="148197" y="487695"/>
                  </a:lnTo>
                  <a:lnTo>
                    <a:pt x="149290" y="483367"/>
                  </a:lnTo>
                  <a:lnTo>
                    <a:pt x="149705" y="482369"/>
                  </a:lnTo>
                  <a:lnTo>
                    <a:pt x="150173" y="481665"/>
                  </a:lnTo>
                  <a:lnTo>
                    <a:pt x="150871" y="480996"/>
                  </a:lnTo>
                  <a:lnTo>
                    <a:pt x="151737" y="480594"/>
                  </a:lnTo>
                  <a:lnTo>
                    <a:pt x="152771" y="480401"/>
                  </a:lnTo>
                  <a:lnTo>
                    <a:pt x="153516" y="480442"/>
                  </a:lnTo>
                  <a:lnTo>
                    <a:pt x="160638" y="483732"/>
                  </a:lnTo>
                  <a:lnTo>
                    <a:pt x="161714" y="484723"/>
                  </a:lnTo>
                  <a:lnTo>
                    <a:pt x="162446" y="485708"/>
                  </a:lnTo>
                  <a:lnTo>
                    <a:pt x="162780" y="486452"/>
                  </a:lnTo>
                  <a:lnTo>
                    <a:pt x="158224" y="509279"/>
                  </a:lnTo>
                  <a:lnTo>
                    <a:pt x="158014" y="512053"/>
                  </a:lnTo>
                  <a:lnTo>
                    <a:pt x="158182" y="512412"/>
                  </a:lnTo>
                  <a:lnTo>
                    <a:pt x="158407" y="512679"/>
                  </a:lnTo>
                  <a:lnTo>
                    <a:pt x="159466" y="514999"/>
                  </a:lnTo>
                  <a:lnTo>
                    <a:pt x="160733" y="518991"/>
                  </a:lnTo>
                  <a:lnTo>
                    <a:pt x="153814" y="525279"/>
                  </a:lnTo>
                  <a:lnTo>
                    <a:pt x="152203" y="525464"/>
                  </a:lnTo>
                  <a:lnTo>
                    <a:pt x="150257" y="524994"/>
                  </a:lnTo>
                  <a:lnTo>
                    <a:pt x="145830" y="519996"/>
                  </a:lnTo>
                  <a:lnTo>
                    <a:pt x="144575" y="519387"/>
                  </a:lnTo>
                  <a:lnTo>
                    <a:pt x="143602" y="519194"/>
                  </a:lnTo>
                  <a:lnTo>
                    <a:pt x="132971" y="523769"/>
                  </a:lnTo>
                  <a:lnTo>
                    <a:pt x="129171" y="524450"/>
                  </a:lnTo>
                  <a:lnTo>
                    <a:pt x="123931" y="524108"/>
                  </a:lnTo>
                  <a:lnTo>
                    <a:pt x="120938" y="524580"/>
                  </a:lnTo>
                  <a:lnTo>
                    <a:pt x="117994" y="525584"/>
                  </a:lnTo>
                  <a:lnTo>
                    <a:pt x="112780" y="528563"/>
                  </a:lnTo>
                  <a:lnTo>
                    <a:pt x="110859" y="530261"/>
                  </a:lnTo>
                  <a:lnTo>
                    <a:pt x="109965" y="532331"/>
                  </a:lnTo>
                  <a:lnTo>
                    <a:pt x="110834" y="539335"/>
                  </a:lnTo>
                  <a:lnTo>
                    <a:pt x="111102" y="540609"/>
                  </a:lnTo>
                  <a:lnTo>
                    <a:pt x="111031" y="541539"/>
                  </a:lnTo>
                  <a:lnTo>
                    <a:pt x="110500" y="542373"/>
                  </a:lnTo>
                  <a:lnTo>
                    <a:pt x="107003" y="545541"/>
                  </a:lnTo>
                  <a:lnTo>
                    <a:pt x="105774" y="546970"/>
                  </a:lnTo>
                  <a:lnTo>
                    <a:pt x="105044" y="548377"/>
                  </a:lnTo>
                  <a:lnTo>
                    <a:pt x="103818" y="553249"/>
                  </a:lnTo>
                  <a:lnTo>
                    <a:pt x="103043" y="555054"/>
                  </a:lnTo>
                  <a:lnTo>
                    <a:pt x="101328" y="558070"/>
                  </a:lnTo>
                  <a:lnTo>
                    <a:pt x="99408" y="559489"/>
                  </a:lnTo>
                  <a:lnTo>
                    <a:pt x="97327" y="560180"/>
                  </a:lnTo>
                  <a:lnTo>
                    <a:pt x="75173" y="560008"/>
                  </a:lnTo>
                  <a:lnTo>
                    <a:pt x="69671" y="558925"/>
                  </a:lnTo>
                  <a:lnTo>
                    <a:pt x="48532" y="563182"/>
                  </a:lnTo>
                  <a:lnTo>
                    <a:pt x="47213" y="562967"/>
                  </a:lnTo>
                  <a:lnTo>
                    <a:pt x="44378" y="560684"/>
                  </a:lnTo>
                  <a:lnTo>
                    <a:pt x="39234" y="551458"/>
                  </a:lnTo>
                  <a:lnTo>
                    <a:pt x="32062" y="544352"/>
                  </a:lnTo>
                  <a:lnTo>
                    <a:pt x="30723" y="542171"/>
                  </a:lnTo>
                  <a:lnTo>
                    <a:pt x="30648" y="539982"/>
                  </a:lnTo>
                  <a:lnTo>
                    <a:pt x="32121" y="537968"/>
                  </a:lnTo>
                  <a:lnTo>
                    <a:pt x="32940" y="537157"/>
                  </a:lnTo>
                  <a:lnTo>
                    <a:pt x="33884" y="535784"/>
                  </a:lnTo>
                  <a:lnTo>
                    <a:pt x="37688" y="531937"/>
                  </a:lnTo>
                  <a:lnTo>
                    <a:pt x="40778" y="529408"/>
                  </a:lnTo>
                  <a:lnTo>
                    <a:pt x="42114" y="528575"/>
                  </a:lnTo>
                  <a:lnTo>
                    <a:pt x="43226" y="527443"/>
                  </a:lnTo>
                  <a:lnTo>
                    <a:pt x="44127" y="526261"/>
                  </a:lnTo>
                  <a:lnTo>
                    <a:pt x="45264" y="523696"/>
                  </a:lnTo>
                  <a:lnTo>
                    <a:pt x="44923" y="520262"/>
                  </a:lnTo>
                  <a:lnTo>
                    <a:pt x="41508" y="504684"/>
                  </a:lnTo>
                  <a:lnTo>
                    <a:pt x="41077" y="499887"/>
                  </a:lnTo>
                  <a:lnTo>
                    <a:pt x="41359" y="496966"/>
                  </a:lnTo>
                  <a:lnTo>
                    <a:pt x="42921" y="496226"/>
                  </a:lnTo>
                  <a:lnTo>
                    <a:pt x="44378" y="496045"/>
                  </a:lnTo>
                  <a:lnTo>
                    <a:pt x="47131" y="496064"/>
                  </a:lnTo>
                  <a:lnTo>
                    <a:pt x="48512" y="495853"/>
                  </a:lnTo>
                  <a:lnTo>
                    <a:pt x="50074" y="495126"/>
                  </a:lnTo>
                  <a:lnTo>
                    <a:pt x="51815" y="493961"/>
                  </a:lnTo>
                  <a:lnTo>
                    <a:pt x="53977" y="491724"/>
                  </a:lnTo>
                  <a:lnTo>
                    <a:pt x="54627" y="490612"/>
                  </a:lnTo>
                  <a:lnTo>
                    <a:pt x="54652" y="489194"/>
                  </a:lnTo>
                  <a:lnTo>
                    <a:pt x="54109" y="487439"/>
                  </a:lnTo>
                  <a:lnTo>
                    <a:pt x="53473" y="484428"/>
                  </a:lnTo>
                  <a:lnTo>
                    <a:pt x="53576" y="481816"/>
                  </a:lnTo>
                  <a:lnTo>
                    <a:pt x="54018" y="479533"/>
                  </a:lnTo>
                  <a:lnTo>
                    <a:pt x="54980" y="476933"/>
                  </a:lnTo>
                  <a:lnTo>
                    <a:pt x="60030" y="466706"/>
                  </a:lnTo>
                  <a:lnTo>
                    <a:pt x="60238" y="464611"/>
                  </a:lnTo>
                  <a:lnTo>
                    <a:pt x="59405" y="463089"/>
                  </a:lnTo>
                  <a:lnTo>
                    <a:pt x="53663" y="460492"/>
                  </a:lnTo>
                  <a:lnTo>
                    <a:pt x="50717" y="458561"/>
                  </a:lnTo>
                  <a:lnTo>
                    <a:pt x="49497" y="456310"/>
                  </a:lnTo>
                  <a:lnTo>
                    <a:pt x="49596" y="453931"/>
                  </a:lnTo>
                  <a:lnTo>
                    <a:pt x="50551" y="451731"/>
                  </a:lnTo>
                  <a:lnTo>
                    <a:pt x="55708" y="445039"/>
                  </a:lnTo>
                  <a:lnTo>
                    <a:pt x="57485" y="441627"/>
                  </a:lnTo>
                  <a:lnTo>
                    <a:pt x="57694" y="439532"/>
                  </a:lnTo>
                  <a:lnTo>
                    <a:pt x="57156" y="437513"/>
                  </a:lnTo>
                  <a:lnTo>
                    <a:pt x="55928" y="435718"/>
                  </a:lnTo>
                  <a:lnTo>
                    <a:pt x="54799" y="434812"/>
                  </a:lnTo>
                  <a:lnTo>
                    <a:pt x="53833" y="434411"/>
                  </a:lnTo>
                  <a:lnTo>
                    <a:pt x="52458" y="434446"/>
                  </a:lnTo>
                  <a:lnTo>
                    <a:pt x="50792" y="434785"/>
                  </a:lnTo>
                  <a:lnTo>
                    <a:pt x="49235" y="435422"/>
                  </a:lnTo>
                  <a:lnTo>
                    <a:pt x="47399" y="435684"/>
                  </a:lnTo>
                  <a:lnTo>
                    <a:pt x="45861" y="435272"/>
                  </a:lnTo>
                  <a:lnTo>
                    <a:pt x="44030" y="434131"/>
                  </a:lnTo>
                  <a:lnTo>
                    <a:pt x="42411" y="431872"/>
                  </a:lnTo>
                  <a:lnTo>
                    <a:pt x="41200" y="429160"/>
                  </a:lnTo>
                  <a:lnTo>
                    <a:pt x="39473" y="423394"/>
                  </a:lnTo>
                  <a:lnTo>
                    <a:pt x="39197" y="419635"/>
                  </a:lnTo>
                  <a:lnTo>
                    <a:pt x="39436" y="415945"/>
                  </a:lnTo>
                  <a:lnTo>
                    <a:pt x="40372" y="411572"/>
                  </a:lnTo>
                  <a:lnTo>
                    <a:pt x="40529" y="409225"/>
                  </a:lnTo>
                  <a:lnTo>
                    <a:pt x="40382" y="407893"/>
                  </a:lnTo>
                  <a:lnTo>
                    <a:pt x="39936" y="407205"/>
                  </a:lnTo>
                  <a:lnTo>
                    <a:pt x="39315" y="406809"/>
                  </a:lnTo>
                  <a:lnTo>
                    <a:pt x="38745" y="406725"/>
                  </a:lnTo>
                  <a:lnTo>
                    <a:pt x="37935" y="407199"/>
                  </a:lnTo>
                  <a:lnTo>
                    <a:pt x="36826" y="408448"/>
                  </a:lnTo>
                  <a:lnTo>
                    <a:pt x="34464" y="412544"/>
                  </a:lnTo>
                  <a:lnTo>
                    <a:pt x="33812" y="413802"/>
                  </a:lnTo>
                  <a:lnTo>
                    <a:pt x="33229" y="414367"/>
                  </a:lnTo>
                  <a:lnTo>
                    <a:pt x="32826" y="414523"/>
                  </a:lnTo>
                  <a:lnTo>
                    <a:pt x="32028" y="414345"/>
                  </a:lnTo>
                  <a:lnTo>
                    <a:pt x="31580" y="413850"/>
                  </a:lnTo>
                  <a:lnTo>
                    <a:pt x="31137" y="413043"/>
                  </a:lnTo>
                  <a:lnTo>
                    <a:pt x="30207" y="410750"/>
                  </a:lnTo>
                  <a:lnTo>
                    <a:pt x="29038" y="408985"/>
                  </a:lnTo>
                  <a:lnTo>
                    <a:pt x="24667" y="393918"/>
                  </a:lnTo>
                  <a:lnTo>
                    <a:pt x="21414" y="384501"/>
                  </a:lnTo>
                  <a:lnTo>
                    <a:pt x="16829" y="370122"/>
                  </a:lnTo>
                  <a:lnTo>
                    <a:pt x="16645" y="367784"/>
                  </a:lnTo>
                  <a:lnTo>
                    <a:pt x="18187" y="325516"/>
                  </a:lnTo>
                  <a:lnTo>
                    <a:pt x="25882" y="328677"/>
                  </a:lnTo>
                  <a:lnTo>
                    <a:pt x="26539" y="328127"/>
                  </a:lnTo>
                  <a:lnTo>
                    <a:pt x="27343" y="327847"/>
                  </a:lnTo>
                  <a:lnTo>
                    <a:pt x="27079" y="326688"/>
                  </a:lnTo>
                  <a:lnTo>
                    <a:pt x="24533" y="321528"/>
                  </a:lnTo>
                  <a:lnTo>
                    <a:pt x="23174" y="318013"/>
                  </a:lnTo>
                  <a:lnTo>
                    <a:pt x="22907" y="317064"/>
                  </a:lnTo>
                  <a:lnTo>
                    <a:pt x="23485" y="310572"/>
                  </a:lnTo>
                  <a:lnTo>
                    <a:pt x="20057" y="304994"/>
                  </a:lnTo>
                  <a:lnTo>
                    <a:pt x="18356" y="292502"/>
                  </a:lnTo>
                  <a:lnTo>
                    <a:pt x="18034" y="291462"/>
                  </a:lnTo>
                  <a:lnTo>
                    <a:pt x="16420" y="289480"/>
                  </a:lnTo>
                  <a:lnTo>
                    <a:pt x="12847" y="288761"/>
                  </a:lnTo>
                  <a:lnTo>
                    <a:pt x="9248" y="289342"/>
                  </a:lnTo>
                  <a:lnTo>
                    <a:pt x="7559" y="291260"/>
                  </a:lnTo>
                  <a:lnTo>
                    <a:pt x="5708" y="290780"/>
                  </a:lnTo>
                  <a:lnTo>
                    <a:pt x="2473" y="288293"/>
                  </a:lnTo>
                  <a:lnTo>
                    <a:pt x="0" y="286633"/>
                  </a:lnTo>
                  <a:lnTo>
                    <a:pt x="822" y="285363"/>
                  </a:lnTo>
                  <a:lnTo>
                    <a:pt x="4320" y="281176"/>
                  </a:lnTo>
                  <a:lnTo>
                    <a:pt x="5357" y="280516"/>
                  </a:lnTo>
                  <a:lnTo>
                    <a:pt x="6906" y="280902"/>
                  </a:lnTo>
                  <a:lnTo>
                    <a:pt x="8501" y="280815"/>
                  </a:lnTo>
                  <a:lnTo>
                    <a:pt x="9822" y="280250"/>
                  </a:lnTo>
                  <a:lnTo>
                    <a:pt x="10926" y="279089"/>
                  </a:lnTo>
                  <a:lnTo>
                    <a:pt x="11480" y="276898"/>
                  </a:lnTo>
                  <a:lnTo>
                    <a:pt x="11752" y="274581"/>
                  </a:lnTo>
                  <a:lnTo>
                    <a:pt x="11968" y="266340"/>
                  </a:lnTo>
                  <a:lnTo>
                    <a:pt x="12304" y="263656"/>
                  </a:lnTo>
                  <a:lnTo>
                    <a:pt x="12853" y="261685"/>
                  </a:lnTo>
                  <a:lnTo>
                    <a:pt x="13560" y="260429"/>
                  </a:lnTo>
                  <a:lnTo>
                    <a:pt x="14433" y="259411"/>
                  </a:lnTo>
                  <a:lnTo>
                    <a:pt x="16168" y="257907"/>
                  </a:lnTo>
                  <a:lnTo>
                    <a:pt x="18118" y="257073"/>
                  </a:lnTo>
                  <a:lnTo>
                    <a:pt x="30300" y="254450"/>
                  </a:lnTo>
                  <a:lnTo>
                    <a:pt x="48952" y="246014"/>
                  </a:lnTo>
                  <a:lnTo>
                    <a:pt x="50037" y="245767"/>
                  </a:lnTo>
                  <a:lnTo>
                    <a:pt x="51115" y="245876"/>
                  </a:lnTo>
                  <a:lnTo>
                    <a:pt x="52247" y="246163"/>
                  </a:lnTo>
                  <a:lnTo>
                    <a:pt x="53767" y="246986"/>
                  </a:lnTo>
                  <a:lnTo>
                    <a:pt x="58304" y="250850"/>
                  </a:lnTo>
                  <a:lnTo>
                    <a:pt x="60272" y="252172"/>
                  </a:lnTo>
                  <a:lnTo>
                    <a:pt x="65190" y="253809"/>
                  </a:lnTo>
                  <a:lnTo>
                    <a:pt x="66032" y="254444"/>
                  </a:lnTo>
                  <a:lnTo>
                    <a:pt x="66189" y="255245"/>
                  </a:lnTo>
                  <a:lnTo>
                    <a:pt x="65774" y="256257"/>
                  </a:lnTo>
                  <a:lnTo>
                    <a:pt x="63495" y="259750"/>
                  </a:lnTo>
                  <a:lnTo>
                    <a:pt x="62844" y="261218"/>
                  </a:lnTo>
                  <a:lnTo>
                    <a:pt x="62713" y="262191"/>
                  </a:lnTo>
                  <a:lnTo>
                    <a:pt x="63850" y="262211"/>
                  </a:lnTo>
                  <a:lnTo>
                    <a:pt x="66374" y="261013"/>
                  </a:lnTo>
                  <a:lnTo>
                    <a:pt x="71805" y="257175"/>
                  </a:lnTo>
                  <a:lnTo>
                    <a:pt x="78300" y="249719"/>
                  </a:lnTo>
                  <a:lnTo>
                    <a:pt x="79184" y="247858"/>
                  </a:lnTo>
                  <a:lnTo>
                    <a:pt x="79318" y="246634"/>
                  </a:lnTo>
                  <a:lnTo>
                    <a:pt x="79197" y="243703"/>
                  </a:lnTo>
                  <a:lnTo>
                    <a:pt x="79636" y="241230"/>
                  </a:lnTo>
                  <a:lnTo>
                    <a:pt x="80449" y="240207"/>
                  </a:lnTo>
                  <a:lnTo>
                    <a:pt x="82055" y="239379"/>
                  </a:lnTo>
                  <a:lnTo>
                    <a:pt x="93434" y="236256"/>
                  </a:lnTo>
                  <a:lnTo>
                    <a:pt x="95768" y="235999"/>
                  </a:lnTo>
                  <a:lnTo>
                    <a:pt x="97755" y="236119"/>
                  </a:lnTo>
                  <a:lnTo>
                    <a:pt x="101714" y="237306"/>
                  </a:lnTo>
                  <a:lnTo>
                    <a:pt x="118032" y="238007"/>
                  </a:lnTo>
                  <a:lnTo>
                    <a:pt x="119220" y="238381"/>
                  </a:lnTo>
                  <a:lnTo>
                    <a:pt x="121818" y="239426"/>
                  </a:lnTo>
                  <a:lnTo>
                    <a:pt x="123519" y="239718"/>
                  </a:lnTo>
                  <a:lnTo>
                    <a:pt x="128243" y="239258"/>
                  </a:lnTo>
                  <a:lnTo>
                    <a:pt x="130173" y="239420"/>
                  </a:lnTo>
                  <a:lnTo>
                    <a:pt x="144299" y="246440"/>
                  </a:lnTo>
                  <a:lnTo>
                    <a:pt x="147789" y="248855"/>
                  </a:lnTo>
                  <a:lnTo>
                    <a:pt x="150141" y="251372"/>
                  </a:lnTo>
                  <a:lnTo>
                    <a:pt x="150695" y="252414"/>
                  </a:lnTo>
                  <a:lnTo>
                    <a:pt x="151320" y="253797"/>
                  </a:lnTo>
                  <a:lnTo>
                    <a:pt x="152730" y="258619"/>
                  </a:lnTo>
                  <a:lnTo>
                    <a:pt x="153336" y="260018"/>
                  </a:lnTo>
                  <a:lnTo>
                    <a:pt x="155788" y="263658"/>
                  </a:lnTo>
                  <a:lnTo>
                    <a:pt x="158249" y="266678"/>
                  </a:lnTo>
                  <a:lnTo>
                    <a:pt x="166932" y="268231"/>
                  </a:lnTo>
                  <a:lnTo>
                    <a:pt x="172593" y="267406"/>
                  </a:lnTo>
                  <a:lnTo>
                    <a:pt x="195028" y="258151"/>
                  </a:lnTo>
                  <a:lnTo>
                    <a:pt x="197791" y="255437"/>
                  </a:lnTo>
                  <a:lnTo>
                    <a:pt x="198781" y="253558"/>
                  </a:lnTo>
                  <a:lnTo>
                    <a:pt x="196809" y="243072"/>
                  </a:lnTo>
                  <a:lnTo>
                    <a:pt x="196604" y="241221"/>
                  </a:lnTo>
                  <a:lnTo>
                    <a:pt x="197152" y="238303"/>
                  </a:lnTo>
                  <a:lnTo>
                    <a:pt x="198327" y="235169"/>
                  </a:lnTo>
                  <a:lnTo>
                    <a:pt x="202921" y="226567"/>
                  </a:lnTo>
                  <a:lnTo>
                    <a:pt x="203626" y="224654"/>
                  </a:lnTo>
                  <a:lnTo>
                    <a:pt x="203525" y="223649"/>
                  </a:lnTo>
                  <a:lnTo>
                    <a:pt x="203080" y="222845"/>
                  </a:lnTo>
                  <a:lnTo>
                    <a:pt x="202295" y="222008"/>
                  </a:lnTo>
                  <a:lnTo>
                    <a:pt x="201052" y="221519"/>
                  </a:lnTo>
                  <a:lnTo>
                    <a:pt x="194646" y="220641"/>
                  </a:lnTo>
                  <a:lnTo>
                    <a:pt x="193630" y="220156"/>
                  </a:lnTo>
                  <a:lnTo>
                    <a:pt x="193125" y="219633"/>
                  </a:lnTo>
                  <a:lnTo>
                    <a:pt x="192738" y="218829"/>
                  </a:lnTo>
                  <a:lnTo>
                    <a:pt x="192506" y="217688"/>
                  </a:lnTo>
                  <a:lnTo>
                    <a:pt x="192409" y="216358"/>
                  </a:lnTo>
                  <a:lnTo>
                    <a:pt x="192658" y="214661"/>
                  </a:lnTo>
                  <a:lnTo>
                    <a:pt x="193279" y="211936"/>
                  </a:lnTo>
                  <a:lnTo>
                    <a:pt x="195931" y="204137"/>
                  </a:lnTo>
                  <a:lnTo>
                    <a:pt x="196416" y="201660"/>
                  </a:lnTo>
                  <a:lnTo>
                    <a:pt x="195367" y="190313"/>
                  </a:lnTo>
                  <a:lnTo>
                    <a:pt x="195753" y="186637"/>
                  </a:lnTo>
                  <a:lnTo>
                    <a:pt x="196395" y="185255"/>
                  </a:lnTo>
                  <a:lnTo>
                    <a:pt x="197533" y="184916"/>
                  </a:lnTo>
                  <a:lnTo>
                    <a:pt x="200749" y="186285"/>
                  </a:lnTo>
                  <a:lnTo>
                    <a:pt x="203011" y="186876"/>
                  </a:lnTo>
                  <a:lnTo>
                    <a:pt x="204372" y="186862"/>
                  </a:lnTo>
                  <a:lnTo>
                    <a:pt x="207742" y="184953"/>
                  </a:lnTo>
                  <a:lnTo>
                    <a:pt x="208537" y="184845"/>
                  </a:lnTo>
                  <a:lnTo>
                    <a:pt x="209327" y="185136"/>
                  </a:lnTo>
                  <a:lnTo>
                    <a:pt x="210227" y="185751"/>
                  </a:lnTo>
                  <a:lnTo>
                    <a:pt x="211290" y="187005"/>
                  </a:lnTo>
                  <a:lnTo>
                    <a:pt x="212959" y="189730"/>
                  </a:lnTo>
                  <a:lnTo>
                    <a:pt x="213706" y="190551"/>
                  </a:lnTo>
                  <a:lnTo>
                    <a:pt x="214494" y="191080"/>
                  </a:lnTo>
                  <a:lnTo>
                    <a:pt x="215400" y="191163"/>
                  </a:lnTo>
                  <a:lnTo>
                    <a:pt x="221207" y="189398"/>
                  </a:lnTo>
                  <a:lnTo>
                    <a:pt x="222853" y="189271"/>
                  </a:lnTo>
                  <a:lnTo>
                    <a:pt x="224100" y="189388"/>
                  </a:lnTo>
                  <a:lnTo>
                    <a:pt x="224832" y="189781"/>
                  </a:lnTo>
                  <a:lnTo>
                    <a:pt x="225451" y="190218"/>
                  </a:lnTo>
                  <a:lnTo>
                    <a:pt x="226403" y="191306"/>
                  </a:lnTo>
                  <a:lnTo>
                    <a:pt x="227475" y="191851"/>
                  </a:lnTo>
                  <a:lnTo>
                    <a:pt x="229172" y="192270"/>
                  </a:lnTo>
                  <a:lnTo>
                    <a:pt x="234411" y="192239"/>
                  </a:lnTo>
                  <a:lnTo>
                    <a:pt x="241186" y="189949"/>
                  </a:lnTo>
                  <a:lnTo>
                    <a:pt x="252452" y="186614"/>
                  </a:lnTo>
                  <a:lnTo>
                    <a:pt x="253256" y="185706"/>
                  </a:lnTo>
                  <a:lnTo>
                    <a:pt x="253894" y="184293"/>
                  </a:lnTo>
                  <a:lnTo>
                    <a:pt x="251990" y="182028"/>
                  </a:lnTo>
                  <a:lnTo>
                    <a:pt x="251282" y="179212"/>
                  </a:lnTo>
                  <a:lnTo>
                    <a:pt x="251495" y="175166"/>
                  </a:lnTo>
                  <a:lnTo>
                    <a:pt x="254184" y="167303"/>
                  </a:lnTo>
                  <a:lnTo>
                    <a:pt x="257191" y="163344"/>
                  </a:lnTo>
                  <a:lnTo>
                    <a:pt x="259709" y="160859"/>
                  </a:lnTo>
                  <a:lnTo>
                    <a:pt x="264662" y="158544"/>
                  </a:lnTo>
                  <a:lnTo>
                    <a:pt x="268524" y="157608"/>
                  </a:lnTo>
                  <a:lnTo>
                    <a:pt x="274897" y="154788"/>
                  </a:lnTo>
                  <a:lnTo>
                    <a:pt x="281015" y="150754"/>
                  </a:lnTo>
                  <a:lnTo>
                    <a:pt x="283358" y="148590"/>
                  </a:lnTo>
                  <a:lnTo>
                    <a:pt x="284795" y="146208"/>
                  </a:lnTo>
                  <a:lnTo>
                    <a:pt x="285016" y="140743"/>
                  </a:lnTo>
                  <a:lnTo>
                    <a:pt x="284664" y="135922"/>
                  </a:lnTo>
                  <a:lnTo>
                    <a:pt x="284349" y="133334"/>
                  </a:lnTo>
                  <a:lnTo>
                    <a:pt x="284093" y="130419"/>
                  </a:lnTo>
                  <a:lnTo>
                    <a:pt x="282923" y="122430"/>
                  </a:lnTo>
                  <a:lnTo>
                    <a:pt x="291919" y="91067"/>
                  </a:lnTo>
                  <a:lnTo>
                    <a:pt x="296446" y="84148"/>
                  </a:lnTo>
                  <a:lnTo>
                    <a:pt x="298448" y="83501"/>
                  </a:lnTo>
                  <a:lnTo>
                    <a:pt x="302703" y="81498"/>
                  </a:lnTo>
                  <a:lnTo>
                    <a:pt x="303835" y="81198"/>
                  </a:lnTo>
                  <a:lnTo>
                    <a:pt x="304794" y="81370"/>
                  </a:lnTo>
                  <a:lnTo>
                    <a:pt x="305749" y="81967"/>
                  </a:lnTo>
                  <a:lnTo>
                    <a:pt x="306588" y="82921"/>
                  </a:lnTo>
                  <a:lnTo>
                    <a:pt x="309320" y="87229"/>
                  </a:lnTo>
                  <a:lnTo>
                    <a:pt x="311168" y="89359"/>
                  </a:lnTo>
                  <a:lnTo>
                    <a:pt x="314423" y="92060"/>
                  </a:lnTo>
                  <a:lnTo>
                    <a:pt x="316787" y="93232"/>
                  </a:lnTo>
                  <a:lnTo>
                    <a:pt x="318160" y="93568"/>
                  </a:lnTo>
                  <a:lnTo>
                    <a:pt x="321324" y="93683"/>
                  </a:lnTo>
                  <a:lnTo>
                    <a:pt x="325511" y="93125"/>
                  </a:lnTo>
                  <a:lnTo>
                    <a:pt x="347234" y="84835"/>
                  </a:lnTo>
                  <a:lnTo>
                    <a:pt x="370104" y="71508"/>
                  </a:lnTo>
                  <a:lnTo>
                    <a:pt x="377426" y="65200"/>
                  </a:lnTo>
                  <a:lnTo>
                    <a:pt x="381777" y="58102"/>
                  </a:lnTo>
                  <a:lnTo>
                    <a:pt x="385601" y="50366"/>
                  </a:lnTo>
                  <a:lnTo>
                    <a:pt x="393457" y="37509"/>
                  </a:lnTo>
                  <a:lnTo>
                    <a:pt x="394027" y="36271"/>
                  </a:lnTo>
                  <a:lnTo>
                    <a:pt x="394658" y="34309"/>
                  </a:lnTo>
                  <a:lnTo>
                    <a:pt x="395118" y="32612"/>
                  </a:lnTo>
                  <a:lnTo>
                    <a:pt x="397349" y="26388"/>
                  </a:lnTo>
                  <a:lnTo>
                    <a:pt x="417311" y="4201"/>
                  </a:lnTo>
                  <a:lnTo>
                    <a:pt x="423318" y="0"/>
                  </a:lnTo>
                  <a:lnTo>
                    <a:pt x="423934" y="977"/>
                  </a:lnTo>
                  <a:lnTo>
                    <a:pt x="424040" y="2603"/>
                  </a:lnTo>
                  <a:lnTo>
                    <a:pt x="423864" y="4184"/>
                  </a:lnTo>
                  <a:lnTo>
                    <a:pt x="423744" y="5883"/>
                  </a:lnTo>
                  <a:lnTo>
                    <a:pt x="424077" y="7215"/>
                  </a:lnTo>
                  <a:lnTo>
                    <a:pt x="424691" y="8459"/>
                  </a:lnTo>
                  <a:lnTo>
                    <a:pt x="426097" y="9261"/>
                  </a:lnTo>
                  <a:close/>
                </a:path>
              </a:pathLst>
            </a:custGeom>
            <a:solidFill>
              <a:srgbClr val="BFBFBF"/>
            </a:solidFill>
            <a:ln w="6350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215BEFCC-1169-3E5D-4BC5-B32ABDB9F51B}"/>
                </a:ext>
              </a:extLst>
            </p:cNvPr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5501165" y="3060744"/>
              <a:ext cx="228937" cy="181193"/>
            </a:xfrm>
            <a:custGeom>
              <a:avLst/>
              <a:gdLst/>
              <a:ahLst/>
              <a:cxnLst/>
              <a:rect l="0" t="0" r="0" b="0"/>
              <a:pathLst>
                <a:path w="228937" h="181193">
                  <a:moveTo>
                    <a:pt x="184545" y="98614"/>
                  </a:moveTo>
                  <a:lnTo>
                    <a:pt x="197761" y="96466"/>
                  </a:lnTo>
                  <a:lnTo>
                    <a:pt x="202399" y="98687"/>
                  </a:lnTo>
                  <a:lnTo>
                    <a:pt x="209303" y="106813"/>
                  </a:lnTo>
                  <a:lnTo>
                    <a:pt x="223472" y="112479"/>
                  </a:lnTo>
                  <a:lnTo>
                    <a:pt x="225774" y="114343"/>
                  </a:lnTo>
                  <a:lnTo>
                    <a:pt x="228847" y="117681"/>
                  </a:lnTo>
                  <a:lnTo>
                    <a:pt x="228936" y="119629"/>
                  </a:lnTo>
                  <a:lnTo>
                    <a:pt x="228503" y="120802"/>
                  </a:lnTo>
                  <a:lnTo>
                    <a:pt x="226323" y="122825"/>
                  </a:lnTo>
                  <a:lnTo>
                    <a:pt x="225242" y="124027"/>
                  </a:lnTo>
                  <a:lnTo>
                    <a:pt x="224892" y="125862"/>
                  </a:lnTo>
                  <a:lnTo>
                    <a:pt x="224813" y="127685"/>
                  </a:lnTo>
                  <a:lnTo>
                    <a:pt x="225144" y="131385"/>
                  </a:lnTo>
                  <a:lnTo>
                    <a:pt x="224597" y="133629"/>
                  </a:lnTo>
                  <a:lnTo>
                    <a:pt x="223867" y="135450"/>
                  </a:lnTo>
                  <a:lnTo>
                    <a:pt x="217733" y="141022"/>
                  </a:lnTo>
                  <a:lnTo>
                    <a:pt x="216500" y="142497"/>
                  </a:lnTo>
                  <a:lnTo>
                    <a:pt x="215289" y="144445"/>
                  </a:lnTo>
                  <a:lnTo>
                    <a:pt x="214039" y="148347"/>
                  </a:lnTo>
                  <a:lnTo>
                    <a:pt x="214191" y="151727"/>
                  </a:lnTo>
                  <a:lnTo>
                    <a:pt x="215247" y="156725"/>
                  </a:lnTo>
                  <a:lnTo>
                    <a:pt x="215306" y="159651"/>
                  </a:lnTo>
                  <a:lnTo>
                    <a:pt x="214935" y="161828"/>
                  </a:lnTo>
                  <a:lnTo>
                    <a:pt x="214346" y="163186"/>
                  </a:lnTo>
                  <a:lnTo>
                    <a:pt x="213675" y="164326"/>
                  </a:lnTo>
                  <a:lnTo>
                    <a:pt x="213213" y="164892"/>
                  </a:lnTo>
                  <a:lnTo>
                    <a:pt x="212534" y="165456"/>
                  </a:lnTo>
                  <a:lnTo>
                    <a:pt x="211899" y="165809"/>
                  </a:lnTo>
                  <a:lnTo>
                    <a:pt x="204070" y="168850"/>
                  </a:lnTo>
                  <a:lnTo>
                    <a:pt x="203331" y="169310"/>
                  </a:lnTo>
                  <a:lnTo>
                    <a:pt x="201934" y="170779"/>
                  </a:lnTo>
                  <a:lnTo>
                    <a:pt x="197829" y="180870"/>
                  </a:lnTo>
                  <a:lnTo>
                    <a:pt x="194518" y="181192"/>
                  </a:lnTo>
                  <a:lnTo>
                    <a:pt x="194155" y="180350"/>
                  </a:lnTo>
                  <a:lnTo>
                    <a:pt x="193799" y="179641"/>
                  </a:lnTo>
                  <a:lnTo>
                    <a:pt x="193731" y="178106"/>
                  </a:lnTo>
                  <a:lnTo>
                    <a:pt x="192910" y="170553"/>
                  </a:lnTo>
                  <a:lnTo>
                    <a:pt x="191174" y="161902"/>
                  </a:lnTo>
                  <a:lnTo>
                    <a:pt x="189295" y="158612"/>
                  </a:lnTo>
                  <a:lnTo>
                    <a:pt x="187178" y="157254"/>
                  </a:lnTo>
                  <a:lnTo>
                    <a:pt x="183200" y="157960"/>
                  </a:lnTo>
                  <a:lnTo>
                    <a:pt x="181409" y="157859"/>
                  </a:lnTo>
                  <a:lnTo>
                    <a:pt x="172506" y="155315"/>
                  </a:lnTo>
                  <a:lnTo>
                    <a:pt x="165745" y="151730"/>
                  </a:lnTo>
                  <a:lnTo>
                    <a:pt x="152368" y="147003"/>
                  </a:lnTo>
                  <a:lnTo>
                    <a:pt x="149451" y="147155"/>
                  </a:lnTo>
                  <a:lnTo>
                    <a:pt x="147643" y="147912"/>
                  </a:lnTo>
                  <a:lnTo>
                    <a:pt x="146827" y="149100"/>
                  </a:lnTo>
                  <a:lnTo>
                    <a:pt x="145897" y="150145"/>
                  </a:lnTo>
                  <a:lnTo>
                    <a:pt x="144843" y="150825"/>
                  </a:lnTo>
                  <a:lnTo>
                    <a:pt x="143832" y="151239"/>
                  </a:lnTo>
                  <a:lnTo>
                    <a:pt x="140972" y="151476"/>
                  </a:lnTo>
                  <a:lnTo>
                    <a:pt x="137280" y="151215"/>
                  </a:lnTo>
                  <a:lnTo>
                    <a:pt x="135543" y="150252"/>
                  </a:lnTo>
                  <a:lnTo>
                    <a:pt x="134170" y="148491"/>
                  </a:lnTo>
                  <a:lnTo>
                    <a:pt x="133212" y="146312"/>
                  </a:lnTo>
                  <a:lnTo>
                    <a:pt x="131228" y="142859"/>
                  </a:lnTo>
                  <a:lnTo>
                    <a:pt x="129446" y="141674"/>
                  </a:lnTo>
                  <a:lnTo>
                    <a:pt x="127697" y="141260"/>
                  </a:lnTo>
                  <a:lnTo>
                    <a:pt x="124530" y="141877"/>
                  </a:lnTo>
                  <a:lnTo>
                    <a:pt x="119266" y="144150"/>
                  </a:lnTo>
                  <a:lnTo>
                    <a:pt x="118052" y="144895"/>
                  </a:lnTo>
                  <a:lnTo>
                    <a:pt x="117064" y="145867"/>
                  </a:lnTo>
                  <a:lnTo>
                    <a:pt x="116357" y="147108"/>
                  </a:lnTo>
                  <a:lnTo>
                    <a:pt x="116101" y="148776"/>
                  </a:lnTo>
                  <a:lnTo>
                    <a:pt x="116204" y="150398"/>
                  </a:lnTo>
                  <a:lnTo>
                    <a:pt x="116485" y="151955"/>
                  </a:lnTo>
                  <a:lnTo>
                    <a:pt x="117363" y="154878"/>
                  </a:lnTo>
                  <a:lnTo>
                    <a:pt x="117650" y="156580"/>
                  </a:lnTo>
                  <a:lnTo>
                    <a:pt x="117711" y="158058"/>
                  </a:lnTo>
                  <a:lnTo>
                    <a:pt x="117227" y="162100"/>
                  </a:lnTo>
                  <a:lnTo>
                    <a:pt x="106194" y="162474"/>
                  </a:lnTo>
                  <a:lnTo>
                    <a:pt x="99690" y="159675"/>
                  </a:lnTo>
                  <a:lnTo>
                    <a:pt x="98144" y="158051"/>
                  </a:lnTo>
                  <a:lnTo>
                    <a:pt x="95917" y="154738"/>
                  </a:lnTo>
                  <a:lnTo>
                    <a:pt x="91966" y="151199"/>
                  </a:lnTo>
                  <a:lnTo>
                    <a:pt x="90038" y="148999"/>
                  </a:lnTo>
                  <a:lnTo>
                    <a:pt x="88760" y="148192"/>
                  </a:lnTo>
                  <a:lnTo>
                    <a:pt x="85605" y="149144"/>
                  </a:lnTo>
                  <a:lnTo>
                    <a:pt x="77388" y="152589"/>
                  </a:lnTo>
                  <a:lnTo>
                    <a:pt x="76149" y="152297"/>
                  </a:lnTo>
                  <a:lnTo>
                    <a:pt x="74591" y="151679"/>
                  </a:lnTo>
                  <a:lnTo>
                    <a:pt x="72465" y="147177"/>
                  </a:lnTo>
                  <a:lnTo>
                    <a:pt x="71246" y="145096"/>
                  </a:lnTo>
                  <a:lnTo>
                    <a:pt x="70627" y="144497"/>
                  </a:lnTo>
                  <a:lnTo>
                    <a:pt x="69985" y="144671"/>
                  </a:lnTo>
                  <a:lnTo>
                    <a:pt x="69569" y="145102"/>
                  </a:lnTo>
                  <a:lnTo>
                    <a:pt x="67725" y="146370"/>
                  </a:lnTo>
                  <a:lnTo>
                    <a:pt x="58286" y="150463"/>
                  </a:lnTo>
                  <a:lnTo>
                    <a:pt x="56196" y="150974"/>
                  </a:lnTo>
                  <a:lnTo>
                    <a:pt x="54783" y="150849"/>
                  </a:lnTo>
                  <a:lnTo>
                    <a:pt x="51679" y="147538"/>
                  </a:lnTo>
                  <a:lnTo>
                    <a:pt x="47087" y="144932"/>
                  </a:lnTo>
                  <a:lnTo>
                    <a:pt x="44575" y="144348"/>
                  </a:lnTo>
                  <a:lnTo>
                    <a:pt x="42631" y="144451"/>
                  </a:lnTo>
                  <a:lnTo>
                    <a:pt x="28442" y="151788"/>
                  </a:lnTo>
                  <a:lnTo>
                    <a:pt x="27393" y="152685"/>
                  </a:lnTo>
                  <a:lnTo>
                    <a:pt x="26412" y="153934"/>
                  </a:lnTo>
                  <a:lnTo>
                    <a:pt x="25350" y="155927"/>
                  </a:lnTo>
                  <a:lnTo>
                    <a:pt x="23967" y="156568"/>
                  </a:lnTo>
                  <a:lnTo>
                    <a:pt x="22999" y="156753"/>
                  </a:lnTo>
                  <a:lnTo>
                    <a:pt x="10781" y="154750"/>
                  </a:lnTo>
                  <a:lnTo>
                    <a:pt x="9465" y="154296"/>
                  </a:lnTo>
                  <a:lnTo>
                    <a:pt x="7316" y="153250"/>
                  </a:lnTo>
                  <a:lnTo>
                    <a:pt x="1202" y="148888"/>
                  </a:lnTo>
                  <a:lnTo>
                    <a:pt x="419" y="148192"/>
                  </a:lnTo>
                  <a:lnTo>
                    <a:pt x="194" y="147949"/>
                  </a:lnTo>
                  <a:lnTo>
                    <a:pt x="75" y="147656"/>
                  </a:lnTo>
                  <a:lnTo>
                    <a:pt x="0" y="147070"/>
                  </a:lnTo>
                  <a:lnTo>
                    <a:pt x="130" y="146207"/>
                  </a:lnTo>
                  <a:lnTo>
                    <a:pt x="629" y="145064"/>
                  </a:lnTo>
                  <a:lnTo>
                    <a:pt x="3776" y="140868"/>
                  </a:lnTo>
                  <a:lnTo>
                    <a:pt x="4133" y="140293"/>
                  </a:lnTo>
                  <a:lnTo>
                    <a:pt x="4534" y="139421"/>
                  </a:lnTo>
                  <a:lnTo>
                    <a:pt x="4447" y="138522"/>
                  </a:lnTo>
                  <a:lnTo>
                    <a:pt x="4559" y="137158"/>
                  </a:lnTo>
                  <a:lnTo>
                    <a:pt x="5106" y="135852"/>
                  </a:lnTo>
                  <a:lnTo>
                    <a:pt x="5874" y="134669"/>
                  </a:lnTo>
                  <a:lnTo>
                    <a:pt x="6755" y="133633"/>
                  </a:lnTo>
                  <a:lnTo>
                    <a:pt x="8221" y="132337"/>
                  </a:lnTo>
                  <a:lnTo>
                    <a:pt x="8253" y="131744"/>
                  </a:lnTo>
                  <a:lnTo>
                    <a:pt x="6348" y="128456"/>
                  </a:lnTo>
                  <a:lnTo>
                    <a:pt x="5863" y="127040"/>
                  </a:lnTo>
                  <a:lnTo>
                    <a:pt x="5261" y="123898"/>
                  </a:lnTo>
                  <a:lnTo>
                    <a:pt x="5194" y="122082"/>
                  </a:lnTo>
                  <a:lnTo>
                    <a:pt x="5544" y="118386"/>
                  </a:lnTo>
                  <a:lnTo>
                    <a:pt x="6225" y="114873"/>
                  </a:lnTo>
                  <a:lnTo>
                    <a:pt x="6708" y="113316"/>
                  </a:lnTo>
                  <a:lnTo>
                    <a:pt x="7418" y="112048"/>
                  </a:lnTo>
                  <a:lnTo>
                    <a:pt x="8406" y="111020"/>
                  </a:lnTo>
                  <a:lnTo>
                    <a:pt x="10786" y="109619"/>
                  </a:lnTo>
                  <a:lnTo>
                    <a:pt x="11831" y="108663"/>
                  </a:lnTo>
                  <a:lnTo>
                    <a:pt x="20875" y="97208"/>
                  </a:lnTo>
                  <a:lnTo>
                    <a:pt x="20700" y="95411"/>
                  </a:lnTo>
                  <a:lnTo>
                    <a:pt x="20694" y="93828"/>
                  </a:lnTo>
                  <a:lnTo>
                    <a:pt x="14860" y="84122"/>
                  </a:lnTo>
                  <a:lnTo>
                    <a:pt x="15097" y="68292"/>
                  </a:lnTo>
                  <a:lnTo>
                    <a:pt x="16347" y="59890"/>
                  </a:lnTo>
                  <a:lnTo>
                    <a:pt x="16366" y="54639"/>
                  </a:lnTo>
                  <a:lnTo>
                    <a:pt x="15913" y="51639"/>
                  </a:lnTo>
                  <a:lnTo>
                    <a:pt x="14926" y="49280"/>
                  </a:lnTo>
                  <a:lnTo>
                    <a:pt x="15080" y="47648"/>
                  </a:lnTo>
                  <a:lnTo>
                    <a:pt x="15493" y="46198"/>
                  </a:lnTo>
                  <a:lnTo>
                    <a:pt x="16161" y="44829"/>
                  </a:lnTo>
                  <a:lnTo>
                    <a:pt x="17237" y="41889"/>
                  </a:lnTo>
                  <a:lnTo>
                    <a:pt x="18062" y="40927"/>
                  </a:lnTo>
                  <a:lnTo>
                    <a:pt x="18961" y="40465"/>
                  </a:lnTo>
                  <a:lnTo>
                    <a:pt x="21589" y="41579"/>
                  </a:lnTo>
                  <a:lnTo>
                    <a:pt x="36656" y="47549"/>
                  </a:lnTo>
                  <a:lnTo>
                    <a:pt x="39870" y="47043"/>
                  </a:lnTo>
                  <a:lnTo>
                    <a:pt x="39826" y="45892"/>
                  </a:lnTo>
                  <a:lnTo>
                    <a:pt x="39513" y="44764"/>
                  </a:lnTo>
                  <a:lnTo>
                    <a:pt x="39102" y="43878"/>
                  </a:lnTo>
                  <a:lnTo>
                    <a:pt x="37956" y="42088"/>
                  </a:lnTo>
                  <a:lnTo>
                    <a:pt x="37370" y="40868"/>
                  </a:lnTo>
                  <a:lnTo>
                    <a:pt x="36939" y="39465"/>
                  </a:lnTo>
                  <a:lnTo>
                    <a:pt x="36875" y="37782"/>
                  </a:lnTo>
                  <a:lnTo>
                    <a:pt x="37079" y="36089"/>
                  </a:lnTo>
                  <a:lnTo>
                    <a:pt x="37448" y="34448"/>
                  </a:lnTo>
                  <a:lnTo>
                    <a:pt x="40369" y="24960"/>
                  </a:lnTo>
                  <a:lnTo>
                    <a:pt x="41309" y="24199"/>
                  </a:lnTo>
                  <a:lnTo>
                    <a:pt x="51360" y="22306"/>
                  </a:lnTo>
                  <a:lnTo>
                    <a:pt x="54372" y="20371"/>
                  </a:lnTo>
                  <a:lnTo>
                    <a:pt x="58053" y="16740"/>
                  </a:lnTo>
                  <a:lnTo>
                    <a:pt x="59398" y="13967"/>
                  </a:lnTo>
                  <a:lnTo>
                    <a:pt x="60427" y="11353"/>
                  </a:lnTo>
                  <a:lnTo>
                    <a:pt x="61162" y="8145"/>
                  </a:lnTo>
                  <a:lnTo>
                    <a:pt x="62297" y="6902"/>
                  </a:lnTo>
                  <a:lnTo>
                    <a:pt x="63402" y="6252"/>
                  </a:lnTo>
                  <a:lnTo>
                    <a:pt x="67275" y="6206"/>
                  </a:lnTo>
                  <a:lnTo>
                    <a:pt x="68151" y="6599"/>
                  </a:lnTo>
                  <a:lnTo>
                    <a:pt x="67861" y="7410"/>
                  </a:lnTo>
                  <a:lnTo>
                    <a:pt x="67359" y="8331"/>
                  </a:lnTo>
                  <a:lnTo>
                    <a:pt x="67187" y="9432"/>
                  </a:lnTo>
                  <a:lnTo>
                    <a:pt x="68302" y="11770"/>
                  </a:lnTo>
                  <a:lnTo>
                    <a:pt x="68738" y="13247"/>
                  </a:lnTo>
                  <a:lnTo>
                    <a:pt x="68731" y="18541"/>
                  </a:lnTo>
                  <a:lnTo>
                    <a:pt x="69266" y="19791"/>
                  </a:lnTo>
                  <a:lnTo>
                    <a:pt x="70169" y="20852"/>
                  </a:lnTo>
                  <a:lnTo>
                    <a:pt x="71332" y="21662"/>
                  </a:lnTo>
                  <a:lnTo>
                    <a:pt x="77098" y="23979"/>
                  </a:lnTo>
                  <a:lnTo>
                    <a:pt x="90201" y="24375"/>
                  </a:lnTo>
                  <a:lnTo>
                    <a:pt x="93631" y="23499"/>
                  </a:lnTo>
                  <a:lnTo>
                    <a:pt x="95536" y="22639"/>
                  </a:lnTo>
                  <a:lnTo>
                    <a:pt x="96295" y="21440"/>
                  </a:lnTo>
                  <a:lnTo>
                    <a:pt x="96666" y="19975"/>
                  </a:lnTo>
                  <a:lnTo>
                    <a:pt x="98407" y="16444"/>
                  </a:lnTo>
                  <a:lnTo>
                    <a:pt x="106192" y="9355"/>
                  </a:lnTo>
                  <a:lnTo>
                    <a:pt x="113059" y="13525"/>
                  </a:lnTo>
                  <a:lnTo>
                    <a:pt x="114026" y="13485"/>
                  </a:lnTo>
                  <a:lnTo>
                    <a:pt x="115515" y="13055"/>
                  </a:lnTo>
                  <a:lnTo>
                    <a:pt x="116041" y="11438"/>
                  </a:lnTo>
                  <a:lnTo>
                    <a:pt x="116778" y="9750"/>
                  </a:lnTo>
                  <a:lnTo>
                    <a:pt x="117634" y="8324"/>
                  </a:lnTo>
                  <a:lnTo>
                    <a:pt x="125423" y="209"/>
                  </a:lnTo>
                  <a:lnTo>
                    <a:pt x="127244" y="0"/>
                  </a:lnTo>
                  <a:lnTo>
                    <a:pt x="128312" y="1065"/>
                  </a:lnTo>
                  <a:lnTo>
                    <a:pt x="129335" y="3226"/>
                  </a:lnTo>
                  <a:lnTo>
                    <a:pt x="130855" y="5233"/>
                  </a:lnTo>
                  <a:lnTo>
                    <a:pt x="136676" y="10077"/>
                  </a:lnTo>
                  <a:lnTo>
                    <a:pt x="137256" y="11060"/>
                  </a:lnTo>
                  <a:lnTo>
                    <a:pt x="137696" y="12550"/>
                  </a:lnTo>
                  <a:lnTo>
                    <a:pt x="137806" y="13875"/>
                  </a:lnTo>
                  <a:lnTo>
                    <a:pt x="137436" y="19127"/>
                  </a:lnTo>
                  <a:lnTo>
                    <a:pt x="137021" y="22073"/>
                  </a:lnTo>
                  <a:lnTo>
                    <a:pt x="137139" y="24850"/>
                  </a:lnTo>
                  <a:lnTo>
                    <a:pt x="137542" y="27997"/>
                  </a:lnTo>
                  <a:lnTo>
                    <a:pt x="137723" y="28463"/>
                  </a:lnTo>
                  <a:lnTo>
                    <a:pt x="138761" y="30077"/>
                  </a:lnTo>
                  <a:lnTo>
                    <a:pt x="162740" y="55831"/>
                  </a:lnTo>
                  <a:lnTo>
                    <a:pt x="170581" y="61233"/>
                  </a:lnTo>
                  <a:lnTo>
                    <a:pt x="174871" y="62690"/>
                  </a:lnTo>
                  <a:lnTo>
                    <a:pt x="177965" y="65574"/>
                  </a:lnTo>
                  <a:lnTo>
                    <a:pt x="183239" y="67697"/>
                  </a:lnTo>
                  <a:lnTo>
                    <a:pt x="190612" y="68440"/>
                  </a:lnTo>
                  <a:lnTo>
                    <a:pt x="191129" y="72794"/>
                  </a:lnTo>
                  <a:lnTo>
                    <a:pt x="183836" y="92314"/>
                  </a:lnTo>
                  <a:lnTo>
                    <a:pt x="183429" y="96592"/>
                  </a:lnTo>
                  <a:close/>
                </a:path>
              </a:pathLst>
            </a:custGeom>
            <a:solidFill>
              <a:srgbClr val="BFBFBF"/>
            </a:solidFill>
            <a:ln w="6350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17F1A4E0-241E-B590-5C74-1366C21537D4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>
            <a:xfrm>
              <a:off x="4622051" y="2858122"/>
              <a:ext cx="942035" cy="1209452"/>
            </a:xfrm>
            <a:custGeom>
              <a:avLst/>
              <a:gdLst/>
              <a:ahLst/>
              <a:cxnLst/>
              <a:rect l="0" t="0" r="0" b="0"/>
              <a:pathLst>
                <a:path w="942035" h="1209452">
                  <a:moveTo>
                    <a:pt x="365692" y="6203"/>
                  </a:moveTo>
                  <a:lnTo>
                    <a:pt x="365748" y="7474"/>
                  </a:lnTo>
                  <a:lnTo>
                    <a:pt x="363866" y="12957"/>
                  </a:lnTo>
                  <a:lnTo>
                    <a:pt x="361071" y="15974"/>
                  </a:lnTo>
                  <a:lnTo>
                    <a:pt x="365822" y="18349"/>
                  </a:lnTo>
                  <a:lnTo>
                    <a:pt x="377226" y="18632"/>
                  </a:lnTo>
                  <a:lnTo>
                    <a:pt x="381241" y="21490"/>
                  </a:lnTo>
                  <a:lnTo>
                    <a:pt x="383767" y="28688"/>
                  </a:lnTo>
                  <a:lnTo>
                    <a:pt x="384395" y="34144"/>
                  </a:lnTo>
                  <a:lnTo>
                    <a:pt x="386198" y="37541"/>
                  </a:lnTo>
                  <a:lnTo>
                    <a:pt x="392231" y="38532"/>
                  </a:lnTo>
                  <a:lnTo>
                    <a:pt x="395679" y="37258"/>
                  </a:lnTo>
                  <a:lnTo>
                    <a:pt x="404411" y="32020"/>
                  </a:lnTo>
                  <a:lnTo>
                    <a:pt x="409726" y="30742"/>
                  </a:lnTo>
                  <a:lnTo>
                    <a:pt x="420485" y="46534"/>
                  </a:lnTo>
                  <a:lnTo>
                    <a:pt x="425382" y="50344"/>
                  </a:lnTo>
                  <a:lnTo>
                    <a:pt x="436178" y="50643"/>
                  </a:lnTo>
                  <a:lnTo>
                    <a:pt x="440428" y="53044"/>
                  </a:lnTo>
                  <a:lnTo>
                    <a:pt x="438706" y="59697"/>
                  </a:lnTo>
                  <a:lnTo>
                    <a:pt x="434713" y="66009"/>
                  </a:lnTo>
                  <a:lnTo>
                    <a:pt x="434209" y="68532"/>
                  </a:lnTo>
                  <a:lnTo>
                    <a:pt x="456871" y="83252"/>
                  </a:lnTo>
                  <a:lnTo>
                    <a:pt x="460391" y="84453"/>
                  </a:lnTo>
                  <a:lnTo>
                    <a:pt x="466573" y="85037"/>
                  </a:lnTo>
                  <a:lnTo>
                    <a:pt x="471264" y="86802"/>
                  </a:lnTo>
                  <a:lnTo>
                    <a:pt x="480795" y="92206"/>
                  </a:lnTo>
                  <a:lnTo>
                    <a:pt x="486723" y="93323"/>
                  </a:lnTo>
                  <a:lnTo>
                    <a:pt x="491866" y="91071"/>
                  </a:lnTo>
                  <a:lnTo>
                    <a:pt x="500501" y="91182"/>
                  </a:lnTo>
                  <a:lnTo>
                    <a:pt x="524679" y="87571"/>
                  </a:lnTo>
                  <a:lnTo>
                    <a:pt x="526077" y="87865"/>
                  </a:lnTo>
                  <a:lnTo>
                    <a:pt x="527380" y="88662"/>
                  </a:lnTo>
                  <a:lnTo>
                    <a:pt x="529686" y="91182"/>
                  </a:lnTo>
                  <a:lnTo>
                    <a:pt x="530809" y="93461"/>
                  </a:lnTo>
                  <a:lnTo>
                    <a:pt x="531545" y="95218"/>
                  </a:lnTo>
                  <a:lnTo>
                    <a:pt x="531321" y="101725"/>
                  </a:lnTo>
                  <a:lnTo>
                    <a:pt x="536420" y="102258"/>
                  </a:lnTo>
                  <a:lnTo>
                    <a:pt x="540001" y="101998"/>
                  </a:lnTo>
                  <a:lnTo>
                    <a:pt x="551758" y="98087"/>
                  </a:lnTo>
                  <a:lnTo>
                    <a:pt x="553252" y="97875"/>
                  </a:lnTo>
                  <a:lnTo>
                    <a:pt x="554869" y="98367"/>
                  </a:lnTo>
                  <a:lnTo>
                    <a:pt x="559094" y="100395"/>
                  </a:lnTo>
                  <a:lnTo>
                    <a:pt x="563099" y="101392"/>
                  </a:lnTo>
                  <a:lnTo>
                    <a:pt x="564923" y="103742"/>
                  </a:lnTo>
                  <a:lnTo>
                    <a:pt x="566897" y="107774"/>
                  </a:lnTo>
                  <a:lnTo>
                    <a:pt x="574131" y="129502"/>
                  </a:lnTo>
                  <a:lnTo>
                    <a:pt x="574492" y="133233"/>
                  </a:lnTo>
                  <a:lnTo>
                    <a:pt x="573148" y="139577"/>
                  </a:lnTo>
                  <a:lnTo>
                    <a:pt x="562124" y="149304"/>
                  </a:lnTo>
                  <a:lnTo>
                    <a:pt x="561468" y="151020"/>
                  </a:lnTo>
                  <a:lnTo>
                    <a:pt x="561234" y="153153"/>
                  </a:lnTo>
                  <a:lnTo>
                    <a:pt x="562159" y="157343"/>
                  </a:lnTo>
                  <a:lnTo>
                    <a:pt x="563179" y="159594"/>
                  </a:lnTo>
                  <a:lnTo>
                    <a:pt x="564349" y="161370"/>
                  </a:lnTo>
                  <a:lnTo>
                    <a:pt x="565727" y="162845"/>
                  </a:lnTo>
                  <a:lnTo>
                    <a:pt x="566421" y="164866"/>
                  </a:lnTo>
                  <a:lnTo>
                    <a:pt x="566568" y="166519"/>
                  </a:lnTo>
                  <a:lnTo>
                    <a:pt x="565324" y="168323"/>
                  </a:lnTo>
                  <a:lnTo>
                    <a:pt x="562079" y="171771"/>
                  </a:lnTo>
                  <a:lnTo>
                    <a:pt x="560632" y="174066"/>
                  </a:lnTo>
                  <a:lnTo>
                    <a:pt x="560351" y="175744"/>
                  </a:lnTo>
                  <a:lnTo>
                    <a:pt x="560504" y="177661"/>
                  </a:lnTo>
                  <a:lnTo>
                    <a:pt x="561569" y="180236"/>
                  </a:lnTo>
                  <a:lnTo>
                    <a:pt x="562648" y="181897"/>
                  </a:lnTo>
                  <a:lnTo>
                    <a:pt x="564538" y="184496"/>
                  </a:lnTo>
                  <a:lnTo>
                    <a:pt x="565334" y="186295"/>
                  </a:lnTo>
                  <a:lnTo>
                    <a:pt x="566040" y="188820"/>
                  </a:lnTo>
                  <a:lnTo>
                    <a:pt x="566834" y="192718"/>
                  </a:lnTo>
                  <a:lnTo>
                    <a:pt x="567797" y="194720"/>
                  </a:lnTo>
                  <a:lnTo>
                    <a:pt x="568905" y="196083"/>
                  </a:lnTo>
                  <a:lnTo>
                    <a:pt x="572247" y="198692"/>
                  </a:lnTo>
                  <a:lnTo>
                    <a:pt x="573300" y="199952"/>
                  </a:lnTo>
                  <a:lnTo>
                    <a:pt x="574148" y="201659"/>
                  </a:lnTo>
                  <a:lnTo>
                    <a:pt x="574320" y="206414"/>
                  </a:lnTo>
                  <a:lnTo>
                    <a:pt x="573591" y="211724"/>
                  </a:lnTo>
                  <a:lnTo>
                    <a:pt x="570421" y="222799"/>
                  </a:lnTo>
                  <a:lnTo>
                    <a:pt x="568431" y="227208"/>
                  </a:lnTo>
                  <a:lnTo>
                    <a:pt x="566720" y="229865"/>
                  </a:lnTo>
                  <a:lnTo>
                    <a:pt x="563224" y="232167"/>
                  </a:lnTo>
                  <a:lnTo>
                    <a:pt x="560213" y="233066"/>
                  </a:lnTo>
                  <a:lnTo>
                    <a:pt x="553480" y="232811"/>
                  </a:lnTo>
                  <a:lnTo>
                    <a:pt x="551980" y="233128"/>
                  </a:lnTo>
                  <a:lnTo>
                    <a:pt x="551089" y="236431"/>
                  </a:lnTo>
                  <a:lnTo>
                    <a:pt x="550418" y="242136"/>
                  </a:lnTo>
                  <a:lnTo>
                    <a:pt x="550096" y="255801"/>
                  </a:lnTo>
                  <a:lnTo>
                    <a:pt x="549532" y="261577"/>
                  </a:lnTo>
                  <a:lnTo>
                    <a:pt x="548866" y="265290"/>
                  </a:lnTo>
                  <a:lnTo>
                    <a:pt x="539969" y="279774"/>
                  </a:lnTo>
                  <a:lnTo>
                    <a:pt x="539673" y="280948"/>
                  </a:lnTo>
                  <a:lnTo>
                    <a:pt x="539915" y="282080"/>
                  </a:lnTo>
                  <a:lnTo>
                    <a:pt x="542036" y="282829"/>
                  </a:lnTo>
                  <a:lnTo>
                    <a:pt x="543778" y="282761"/>
                  </a:lnTo>
                  <a:lnTo>
                    <a:pt x="547158" y="282016"/>
                  </a:lnTo>
                  <a:lnTo>
                    <a:pt x="550550" y="281773"/>
                  </a:lnTo>
                  <a:lnTo>
                    <a:pt x="552122" y="282120"/>
                  </a:lnTo>
                  <a:lnTo>
                    <a:pt x="553058" y="282943"/>
                  </a:lnTo>
                  <a:lnTo>
                    <a:pt x="553411" y="284189"/>
                  </a:lnTo>
                  <a:lnTo>
                    <a:pt x="552167" y="286290"/>
                  </a:lnTo>
                  <a:lnTo>
                    <a:pt x="551122" y="287732"/>
                  </a:lnTo>
                  <a:lnTo>
                    <a:pt x="549964" y="288912"/>
                  </a:lnTo>
                  <a:lnTo>
                    <a:pt x="548344" y="291167"/>
                  </a:lnTo>
                  <a:lnTo>
                    <a:pt x="547953" y="292860"/>
                  </a:lnTo>
                  <a:lnTo>
                    <a:pt x="547895" y="295005"/>
                  </a:lnTo>
                  <a:lnTo>
                    <a:pt x="548557" y="297902"/>
                  </a:lnTo>
                  <a:lnTo>
                    <a:pt x="549246" y="299630"/>
                  </a:lnTo>
                  <a:lnTo>
                    <a:pt x="550465" y="300991"/>
                  </a:lnTo>
                  <a:lnTo>
                    <a:pt x="551512" y="301883"/>
                  </a:lnTo>
                  <a:lnTo>
                    <a:pt x="555964" y="303020"/>
                  </a:lnTo>
                  <a:lnTo>
                    <a:pt x="560743" y="301990"/>
                  </a:lnTo>
                  <a:lnTo>
                    <a:pt x="563373" y="300626"/>
                  </a:lnTo>
                  <a:lnTo>
                    <a:pt x="564361" y="299833"/>
                  </a:lnTo>
                  <a:lnTo>
                    <a:pt x="565325" y="298775"/>
                  </a:lnTo>
                  <a:lnTo>
                    <a:pt x="566161" y="297662"/>
                  </a:lnTo>
                  <a:lnTo>
                    <a:pt x="566940" y="296416"/>
                  </a:lnTo>
                  <a:lnTo>
                    <a:pt x="567443" y="294897"/>
                  </a:lnTo>
                  <a:lnTo>
                    <a:pt x="568126" y="289721"/>
                  </a:lnTo>
                  <a:lnTo>
                    <a:pt x="568574" y="288187"/>
                  </a:lnTo>
                  <a:lnTo>
                    <a:pt x="569409" y="287030"/>
                  </a:lnTo>
                  <a:lnTo>
                    <a:pt x="570579" y="286380"/>
                  </a:lnTo>
                  <a:lnTo>
                    <a:pt x="572360" y="286396"/>
                  </a:lnTo>
                  <a:lnTo>
                    <a:pt x="574321" y="287177"/>
                  </a:lnTo>
                  <a:lnTo>
                    <a:pt x="576961" y="289240"/>
                  </a:lnTo>
                  <a:lnTo>
                    <a:pt x="578912" y="291750"/>
                  </a:lnTo>
                  <a:lnTo>
                    <a:pt x="584307" y="300383"/>
                  </a:lnTo>
                  <a:lnTo>
                    <a:pt x="586363" y="302045"/>
                  </a:lnTo>
                  <a:lnTo>
                    <a:pt x="588048" y="302492"/>
                  </a:lnTo>
                  <a:lnTo>
                    <a:pt x="589218" y="301797"/>
                  </a:lnTo>
                  <a:lnTo>
                    <a:pt x="590504" y="301440"/>
                  </a:lnTo>
                  <a:lnTo>
                    <a:pt x="591906" y="301405"/>
                  </a:lnTo>
                  <a:lnTo>
                    <a:pt x="593316" y="301664"/>
                  </a:lnTo>
                  <a:lnTo>
                    <a:pt x="594713" y="301408"/>
                  </a:lnTo>
                  <a:lnTo>
                    <a:pt x="596050" y="300931"/>
                  </a:lnTo>
                  <a:lnTo>
                    <a:pt x="598496" y="299495"/>
                  </a:lnTo>
                  <a:lnTo>
                    <a:pt x="599472" y="299647"/>
                  </a:lnTo>
                  <a:lnTo>
                    <a:pt x="599927" y="300580"/>
                  </a:lnTo>
                  <a:lnTo>
                    <a:pt x="598501" y="303914"/>
                  </a:lnTo>
                  <a:lnTo>
                    <a:pt x="597699" y="306313"/>
                  </a:lnTo>
                  <a:lnTo>
                    <a:pt x="597638" y="310277"/>
                  </a:lnTo>
                  <a:lnTo>
                    <a:pt x="598184" y="314726"/>
                  </a:lnTo>
                  <a:lnTo>
                    <a:pt x="597866" y="317085"/>
                  </a:lnTo>
                  <a:lnTo>
                    <a:pt x="597480" y="318899"/>
                  </a:lnTo>
                  <a:lnTo>
                    <a:pt x="593667" y="326164"/>
                  </a:lnTo>
                  <a:lnTo>
                    <a:pt x="590701" y="334928"/>
                  </a:lnTo>
                  <a:lnTo>
                    <a:pt x="588732" y="338318"/>
                  </a:lnTo>
                  <a:lnTo>
                    <a:pt x="584993" y="340805"/>
                  </a:lnTo>
                  <a:lnTo>
                    <a:pt x="584442" y="341825"/>
                  </a:lnTo>
                  <a:lnTo>
                    <a:pt x="584259" y="343173"/>
                  </a:lnTo>
                  <a:lnTo>
                    <a:pt x="585064" y="345104"/>
                  </a:lnTo>
                  <a:lnTo>
                    <a:pt x="585739" y="346153"/>
                  </a:lnTo>
                  <a:lnTo>
                    <a:pt x="587362" y="348345"/>
                  </a:lnTo>
                  <a:lnTo>
                    <a:pt x="587989" y="349630"/>
                  </a:lnTo>
                  <a:lnTo>
                    <a:pt x="588101" y="351934"/>
                  </a:lnTo>
                  <a:lnTo>
                    <a:pt x="587743" y="354928"/>
                  </a:lnTo>
                  <a:lnTo>
                    <a:pt x="585538" y="362638"/>
                  </a:lnTo>
                  <a:lnTo>
                    <a:pt x="584214" y="365953"/>
                  </a:lnTo>
                  <a:lnTo>
                    <a:pt x="580244" y="373913"/>
                  </a:lnTo>
                  <a:lnTo>
                    <a:pt x="579790" y="375255"/>
                  </a:lnTo>
                  <a:lnTo>
                    <a:pt x="579725" y="376972"/>
                  </a:lnTo>
                  <a:lnTo>
                    <a:pt x="580488" y="379391"/>
                  </a:lnTo>
                  <a:lnTo>
                    <a:pt x="580373" y="381301"/>
                  </a:lnTo>
                  <a:lnTo>
                    <a:pt x="579668" y="383446"/>
                  </a:lnTo>
                  <a:lnTo>
                    <a:pt x="579181" y="385647"/>
                  </a:lnTo>
                  <a:lnTo>
                    <a:pt x="579990" y="389913"/>
                  </a:lnTo>
                  <a:lnTo>
                    <a:pt x="580648" y="392411"/>
                  </a:lnTo>
                  <a:lnTo>
                    <a:pt x="581236" y="394288"/>
                  </a:lnTo>
                  <a:lnTo>
                    <a:pt x="581442" y="396055"/>
                  </a:lnTo>
                  <a:lnTo>
                    <a:pt x="581063" y="398238"/>
                  </a:lnTo>
                  <a:lnTo>
                    <a:pt x="576863" y="405953"/>
                  </a:lnTo>
                  <a:lnTo>
                    <a:pt x="575960" y="408888"/>
                  </a:lnTo>
                  <a:lnTo>
                    <a:pt x="575620" y="410491"/>
                  </a:lnTo>
                  <a:lnTo>
                    <a:pt x="574723" y="413706"/>
                  </a:lnTo>
                  <a:lnTo>
                    <a:pt x="572533" y="419481"/>
                  </a:lnTo>
                  <a:lnTo>
                    <a:pt x="572081" y="420969"/>
                  </a:lnTo>
                  <a:lnTo>
                    <a:pt x="571828" y="423945"/>
                  </a:lnTo>
                  <a:lnTo>
                    <a:pt x="572093" y="428153"/>
                  </a:lnTo>
                  <a:lnTo>
                    <a:pt x="573282" y="436888"/>
                  </a:lnTo>
                  <a:lnTo>
                    <a:pt x="575258" y="440019"/>
                  </a:lnTo>
                  <a:lnTo>
                    <a:pt x="577196" y="441598"/>
                  </a:lnTo>
                  <a:lnTo>
                    <a:pt x="580621" y="441840"/>
                  </a:lnTo>
                  <a:lnTo>
                    <a:pt x="581953" y="443049"/>
                  </a:lnTo>
                  <a:lnTo>
                    <a:pt x="583084" y="444854"/>
                  </a:lnTo>
                  <a:lnTo>
                    <a:pt x="584356" y="448016"/>
                  </a:lnTo>
                  <a:lnTo>
                    <a:pt x="586437" y="450919"/>
                  </a:lnTo>
                  <a:lnTo>
                    <a:pt x="587326" y="451755"/>
                  </a:lnTo>
                  <a:lnTo>
                    <a:pt x="586830" y="453600"/>
                  </a:lnTo>
                  <a:lnTo>
                    <a:pt x="586315" y="454765"/>
                  </a:lnTo>
                  <a:lnTo>
                    <a:pt x="578492" y="463442"/>
                  </a:lnTo>
                  <a:lnTo>
                    <a:pt x="574283" y="477940"/>
                  </a:lnTo>
                  <a:lnTo>
                    <a:pt x="571778" y="482230"/>
                  </a:lnTo>
                  <a:lnTo>
                    <a:pt x="571172" y="484136"/>
                  </a:lnTo>
                  <a:lnTo>
                    <a:pt x="570991" y="485618"/>
                  </a:lnTo>
                  <a:lnTo>
                    <a:pt x="574197" y="494543"/>
                  </a:lnTo>
                  <a:lnTo>
                    <a:pt x="577516" y="501247"/>
                  </a:lnTo>
                  <a:lnTo>
                    <a:pt x="578639" y="502697"/>
                  </a:lnTo>
                  <a:lnTo>
                    <a:pt x="588128" y="511674"/>
                  </a:lnTo>
                  <a:lnTo>
                    <a:pt x="590657" y="519223"/>
                  </a:lnTo>
                  <a:lnTo>
                    <a:pt x="591958" y="521201"/>
                  </a:lnTo>
                  <a:lnTo>
                    <a:pt x="593464" y="522612"/>
                  </a:lnTo>
                  <a:lnTo>
                    <a:pt x="600571" y="525937"/>
                  </a:lnTo>
                  <a:lnTo>
                    <a:pt x="607284" y="532908"/>
                  </a:lnTo>
                  <a:lnTo>
                    <a:pt x="629914" y="562065"/>
                  </a:lnTo>
                  <a:lnTo>
                    <a:pt x="630907" y="565941"/>
                  </a:lnTo>
                  <a:lnTo>
                    <a:pt x="631055" y="567386"/>
                  </a:lnTo>
                  <a:lnTo>
                    <a:pt x="631104" y="569234"/>
                  </a:lnTo>
                  <a:lnTo>
                    <a:pt x="631507" y="572104"/>
                  </a:lnTo>
                  <a:lnTo>
                    <a:pt x="633529" y="574327"/>
                  </a:lnTo>
                  <a:lnTo>
                    <a:pt x="636604" y="577100"/>
                  </a:lnTo>
                  <a:lnTo>
                    <a:pt x="647435" y="584129"/>
                  </a:lnTo>
                  <a:lnTo>
                    <a:pt x="651539" y="587861"/>
                  </a:lnTo>
                  <a:lnTo>
                    <a:pt x="653252" y="588612"/>
                  </a:lnTo>
                  <a:lnTo>
                    <a:pt x="655447" y="589026"/>
                  </a:lnTo>
                  <a:lnTo>
                    <a:pt x="659643" y="588763"/>
                  </a:lnTo>
                  <a:lnTo>
                    <a:pt x="661752" y="588026"/>
                  </a:lnTo>
                  <a:lnTo>
                    <a:pt x="663140" y="586894"/>
                  </a:lnTo>
                  <a:lnTo>
                    <a:pt x="664262" y="584055"/>
                  </a:lnTo>
                  <a:lnTo>
                    <a:pt x="665047" y="582820"/>
                  </a:lnTo>
                  <a:lnTo>
                    <a:pt x="666061" y="582023"/>
                  </a:lnTo>
                  <a:lnTo>
                    <a:pt x="667473" y="581749"/>
                  </a:lnTo>
                  <a:lnTo>
                    <a:pt x="669243" y="582586"/>
                  </a:lnTo>
                  <a:lnTo>
                    <a:pt x="671325" y="584185"/>
                  </a:lnTo>
                  <a:lnTo>
                    <a:pt x="678683" y="593468"/>
                  </a:lnTo>
                  <a:lnTo>
                    <a:pt x="695552" y="605925"/>
                  </a:lnTo>
                  <a:lnTo>
                    <a:pt x="701714" y="609281"/>
                  </a:lnTo>
                  <a:lnTo>
                    <a:pt x="718054" y="612408"/>
                  </a:lnTo>
                  <a:lnTo>
                    <a:pt x="722822" y="607388"/>
                  </a:lnTo>
                  <a:lnTo>
                    <a:pt x="727211" y="604360"/>
                  </a:lnTo>
                  <a:lnTo>
                    <a:pt x="731427" y="602252"/>
                  </a:lnTo>
                  <a:lnTo>
                    <a:pt x="732951" y="600270"/>
                  </a:lnTo>
                  <a:lnTo>
                    <a:pt x="733658" y="598369"/>
                  </a:lnTo>
                  <a:lnTo>
                    <a:pt x="733716" y="596698"/>
                  </a:lnTo>
                  <a:lnTo>
                    <a:pt x="734165" y="595309"/>
                  </a:lnTo>
                  <a:lnTo>
                    <a:pt x="736342" y="595066"/>
                  </a:lnTo>
                  <a:lnTo>
                    <a:pt x="738367" y="595182"/>
                  </a:lnTo>
                  <a:lnTo>
                    <a:pt x="752221" y="602800"/>
                  </a:lnTo>
                  <a:lnTo>
                    <a:pt x="784308" y="621333"/>
                  </a:lnTo>
                  <a:lnTo>
                    <a:pt x="788220" y="622241"/>
                  </a:lnTo>
                  <a:lnTo>
                    <a:pt x="801781" y="623367"/>
                  </a:lnTo>
                  <a:lnTo>
                    <a:pt x="807204" y="626945"/>
                  </a:lnTo>
                  <a:lnTo>
                    <a:pt x="809131" y="630621"/>
                  </a:lnTo>
                  <a:lnTo>
                    <a:pt x="812126" y="639511"/>
                  </a:lnTo>
                  <a:lnTo>
                    <a:pt x="813914" y="640635"/>
                  </a:lnTo>
                  <a:lnTo>
                    <a:pt x="816725" y="641237"/>
                  </a:lnTo>
                  <a:lnTo>
                    <a:pt x="832930" y="640899"/>
                  </a:lnTo>
                  <a:lnTo>
                    <a:pt x="840190" y="641965"/>
                  </a:lnTo>
                  <a:lnTo>
                    <a:pt x="844080" y="643681"/>
                  </a:lnTo>
                  <a:lnTo>
                    <a:pt x="848479" y="647404"/>
                  </a:lnTo>
                  <a:lnTo>
                    <a:pt x="850622" y="650242"/>
                  </a:lnTo>
                  <a:lnTo>
                    <a:pt x="852264" y="653394"/>
                  </a:lnTo>
                  <a:lnTo>
                    <a:pt x="854928" y="655977"/>
                  </a:lnTo>
                  <a:lnTo>
                    <a:pt x="875244" y="669236"/>
                  </a:lnTo>
                  <a:lnTo>
                    <a:pt x="881848" y="671572"/>
                  </a:lnTo>
                  <a:lnTo>
                    <a:pt x="905074" y="667919"/>
                  </a:lnTo>
                  <a:lnTo>
                    <a:pt x="907611" y="668358"/>
                  </a:lnTo>
                  <a:lnTo>
                    <a:pt x="910900" y="672318"/>
                  </a:lnTo>
                  <a:lnTo>
                    <a:pt x="912765" y="673847"/>
                  </a:lnTo>
                  <a:lnTo>
                    <a:pt x="915442" y="675079"/>
                  </a:lnTo>
                  <a:lnTo>
                    <a:pt x="916882" y="672570"/>
                  </a:lnTo>
                  <a:lnTo>
                    <a:pt x="919464" y="666884"/>
                  </a:lnTo>
                  <a:lnTo>
                    <a:pt x="921535" y="665121"/>
                  </a:lnTo>
                  <a:lnTo>
                    <a:pt x="923435" y="664666"/>
                  </a:lnTo>
                  <a:lnTo>
                    <a:pt x="935249" y="665077"/>
                  </a:lnTo>
                  <a:lnTo>
                    <a:pt x="942034" y="667718"/>
                  </a:lnTo>
                  <a:lnTo>
                    <a:pt x="939243" y="674969"/>
                  </a:lnTo>
                  <a:lnTo>
                    <a:pt x="927646" y="689114"/>
                  </a:lnTo>
                  <a:lnTo>
                    <a:pt x="917553" y="706677"/>
                  </a:lnTo>
                  <a:lnTo>
                    <a:pt x="915728" y="710707"/>
                  </a:lnTo>
                  <a:lnTo>
                    <a:pt x="915384" y="714744"/>
                  </a:lnTo>
                  <a:lnTo>
                    <a:pt x="916223" y="729900"/>
                  </a:lnTo>
                  <a:lnTo>
                    <a:pt x="916985" y="734144"/>
                  </a:lnTo>
                  <a:lnTo>
                    <a:pt x="919250" y="740377"/>
                  </a:lnTo>
                  <a:lnTo>
                    <a:pt x="922923" y="746021"/>
                  </a:lnTo>
                  <a:lnTo>
                    <a:pt x="925692" y="752439"/>
                  </a:lnTo>
                  <a:lnTo>
                    <a:pt x="924796" y="759320"/>
                  </a:lnTo>
                  <a:lnTo>
                    <a:pt x="915414" y="773245"/>
                  </a:lnTo>
                  <a:lnTo>
                    <a:pt x="894780" y="790798"/>
                  </a:lnTo>
                  <a:lnTo>
                    <a:pt x="891972" y="793829"/>
                  </a:lnTo>
                  <a:lnTo>
                    <a:pt x="885136" y="807411"/>
                  </a:lnTo>
                  <a:lnTo>
                    <a:pt x="878752" y="806012"/>
                  </a:lnTo>
                  <a:lnTo>
                    <a:pt x="871030" y="798420"/>
                  </a:lnTo>
                  <a:lnTo>
                    <a:pt x="868267" y="796565"/>
                  </a:lnTo>
                  <a:lnTo>
                    <a:pt x="865924" y="795730"/>
                  </a:lnTo>
                  <a:lnTo>
                    <a:pt x="863427" y="796735"/>
                  </a:lnTo>
                  <a:lnTo>
                    <a:pt x="861815" y="797854"/>
                  </a:lnTo>
                  <a:lnTo>
                    <a:pt x="859642" y="800266"/>
                  </a:lnTo>
                  <a:lnTo>
                    <a:pt x="855142" y="801252"/>
                  </a:lnTo>
                  <a:lnTo>
                    <a:pt x="850080" y="795541"/>
                  </a:lnTo>
                  <a:lnTo>
                    <a:pt x="842042" y="791749"/>
                  </a:lnTo>
                  <a:lnTo>
                    <a:pt x="837729" y="791171"/>
                  </a:lnTo>
                  <a:lnTo>
                    <a:pt x="832309" y="789329"/>
                  </a:lnTo>
                  <a:lnTo>
                    <a:pt x="827695" y="786336"/>
                  </a:lnTo>
                  <a:lnTo>
                    <a:pt x="823529" y="778075"/>
                  </a:lnTo>
                  <a:lnTo>
                    <a:pt x="813286" y="779422"/>
                  </a:lnTo>
                  <a:lnTo>
                    <a:pt x="810278" y="784401"/>
                  </a:lnTo>
                  <a:lnTo>
                    <a:pt x="792238" y="800513"/>
                  </a:lnTo>
                  <a:lnTo>
                    <a:pt x="785522" y="803968"/>
                  </a:lnTo>
                  <a:lnTo>
                    <a:pt x="774963" y="799734"/>
                  </a:lnTo>
                  <a:lnTo>
                    <a:pt x="761816" y="798312"/>
                  </a:lnTo>
                  <a:lnTo>
                    <a:pt x="756685" y="801487"/>
                  </a:lnTo>
                  <a:lnTo>
                    <a:pt x="753278" y="807654"/>
                  </a:lnTo>
                  <a:lnTo>
                    <a:pt x="750751" y="813260"/>
                  </a:lnTo>
                  <a:lnTo>
                    <a:pt x="748202" y="816354"/>
                  </a:lnTo>
                  <a:lnTo>
                    <a:pt x="743573" y="819894"/>
                  </a:lnTo>
                  <a:lnTo>
                    <a:pt x="741058" y="820533"/>
                  </a:lnTo>
                  <a:lnTo>
                    <a:pt x="739450" y="820182"/>
                  </a:lnTo>
                  <a:lnTo>
                    <a:pt x="738749" y="818887"/>
                  </a:lnTo>
                  <a:lnTo>
                    <a:pt x="737779" y="817764"/>
                  </a:lnTo>
                  <a:lnTo>
                    <a:pt x="736148" y="817250"/>
                  </a:lnTo>
                  <a:lnTo>
                    <a:pt x="702124" y="824251"/>
                  </a:lnTo>
                  <a:lnTo>
                    <a:pt x="697516" y="821072"/>
                  </a:lnTo>
                  <a:lnTo>
                    <a:pt x="671512" y="820324"/>
                  </a:lnTo>
                  <a:lnTo>
                    <a:pt x="669100" y="820715"/>
                  </a:lnTo>
                  <a:lnTo>
                    <a:pt x="665943" y="822131"/>
                  </a:lnTo>
                  <a:lnTo>
                    <a:pt x="664814" y="833190"/>
                  </a:lnTo>
                  <a:lnTo>
                    <a:pt x="664321" y="835318"/>
                  </a:lnTo>
                  <a:lnTo>
                    <a:pt x="663290" y="837933"/>
                  </a:lnTo>
                  <a:lnTo>
                    <a:pt x="661826" y="838830"/>
                  </a:lnTo>
                  <a:lnTo>
                    <a:pt x="635530" y="842222"/>
                  </a:lnTo>
                  <a:lnTo>
                    <a:pt x="617834" y="851548"/>
                  </a:lnTo>
                  <a:lnTo>
                    <a:pt x="614928" y="852213"/>
                  </a:lnTo>
                  <a:lnTo>
                    <a:pt x="604096" y="851272"/>
                  </a:lnTo>
                  <a:lnTo>
                    <a:pt x="598642" y="849220"/>
                  </a:lnTo>
                  <a:lnTo>
                    <a:pt x="595157" y="847296"/>
                  </a:lnTo>
                  <a:lnTo>
                    <a:pt x="592602" y="846517"/>
                  </a:lnTo>
                  <a:lnTo>
                    <a:pt x="591575" y="847354"/>
                  </a:lnTo>
                  <a:lnTo>
                    <a:pt x="591054" y="848608"/>
                  </a:lnTo>
                  <a:lnTo>
                    <a:pt x="590727" y="851010"/>
                  </a:lnTo>
                  <a:lnTo>
                    <a:pt x="590138" y="853982"/>
                  </a:lnTo>
                  <a:lnTo>
                    <a:pt x="589625" y="855533"/>
                  </a:lnTo>
                  <a:lnTo>
                    <a:pt x="589102" y="856726"/>
                  </a:lnTo>
                  <a:lnTo>
                    <a:pt x="588192" y="857857"/>
                  </a:lnTo>
                  <a:lnTo>
                    <a:pt x="578845" y="865963"/>
                  </a:lnTo>
                  <a:lnTo>
                    <a:pt x="579486" y="892687"/>
                  </a:lnTo>
                  <a:lnTo>
                    <a:pt x="577992" y="899508"/>
                  </a:lnTo>
                  <a:lnTo>
                    <a:pt x="576775" y="900187"/>
                  </a:lnTo>
                  <a:lnTo>
                    <a:pt x="575636" y="901070"/>
                  </a:lnTo>
                  <a:lnTo>
                    <a:pt x="574777" y="902127"/>
                  </a:lnTo>
                  <a:lnTo>
                    <a:pt x="572769" y="905987"/>
                  </a:lnTo>
                  <a:lnTo>
                    <a:pt x="571910" y="907042"/>
                  </a:lnTo>
                  <a:lnTo>
                    <a:pt x="567945" y="909974"/>
                  </a:lnTo>
                  <a:lnTo>
                    <a:pt x="566277" y="911875"/>
                  </a:lnTo>
                  <a:lnTo>
                    <a:pt x="566039" y="913537"/>
                  </a:lnTo>
                  <a:lnTo>
                    <a:pt x="566300" y="915216"/>
                  </a:lnTo>
                  <a:lnTo>
                    <a:pt x="566780" y="916845"/>
                  </a:lnTo>
                  <a:lnTo>
                    <a:pt x="566938" y="923567"/>
                  </a:lnTo>
                  <a:lnTo>
                    <a:pt x="567197" y="925187"/>
                  </a:lnTo>
                  <a:lnTo>
                    <a:pt x="567780" y="926444"/>
                  </a:lnTo>
                  <a:lnTo>
                    <a:pt x="568636" y="927562"/>
                  </a:lnTo>
                  <a:lnTo>
                    <a:pt x="570501" y="931628"/>
                  </a:lnTo>
                  <a:lnTo>
                    <a:pt x="572025" y="944614"/>
                  </a:lnTo>
                  <a:lnTo>
                    <a:pt x="571911" y="953870"/>
                  </a:lnTo>
                  <a:lnTo>
                    <a:pt x="572394" y="955543"/>
                  </a:lnTo>
                  <a:lnTo>
                    <a:pt x="573459" y="958475"/>
                  </a:lnTo>
                  <a:lnTo>
                    <a:pt x="575024" y="961423"/>
                  </a:lnTo>
                  <a:lnTo>
                    <a:pt x="577495" y="967499"/>
                  </a:lnTo>
                  <a:lnTo>
                    <a:pt x="578154" y="971948"/>
                  </a:lnTo>
                  <a:lnTo>
                    <a:pt x="578139" y="975953"/>
                  </a:lnTo>
                  <a:lnTo>
                    <a:pt x="577715" y="979069"/>
                  </a:lnTo>
                  <a:lnTo>
                    <a:pt x="577266" y="981177"/>
                  </a:lnTo>
                  <a:lnTo>
                    <a:pt x="576748" y="982697"/>
                  </a:lnTo>
                  <a:lnTo>
                    <a:pt x="576001" y="983897"/>
                  </a:lnTo>
                  <a:lnTo>
                    <a:pt x="574857" y="984752"/>
                  </a:lnTo>
                  <a:lnTo>
                    <a:pt x="573594" y="985255"/>
                  </a:lnTo>
                  <a:lnTo>
                    <a:pt x="568395" y="985674"/>
                  </a:lnTo>
                  <a:lnTo>
                    <a:pt x="566373" y="986932"/>
                  </a:lnTo>
                  <a:lnTo>
                    <a:pt x="564158" y="989378"/>
                  </a:lnTo>
                  <a:lnTo>
                    <a:pt x="561033" y="995659"/>
                  </a:lnTo>
                  <a:lnTo>
                    <a:pt x="559931" y="999174"/>
                  </a:lnTo>
                  <a:lnTo>
                    <a:pt x="559552" y="1001992"/>
                  </a:lnTo>
                  <a:lnTo>
                    <a:pt x="559699" y="1003555"/>
                  </a:lnTo>
                  <a:lnTo>
                    <a:pt x="559913" y="1004792"/>
                  </a:lnTo>
                  <a:lnTo>
                    <a:pt x="560155" y="1005672"/>
                  </a:lnTo>
                  <a:lnTo>
                    <a:pt x="560625" y="1006813"/>
                  </a:lnTo>
                  <a:lnTo>
                    <a:pt x="561320" y="1008070"/>
                  </a:lnTo>
                  <a:lnTo>
                    <a:pt x="562639" y="1012325"/>
                  </a:lnTo>
                  <a:lnTo>
                    <a:pt x="563412" y="1024103"/>
                  </a:lnTo>
                  <a:lnTo>
                    <a:pt x="570509" y="1033280"/>
                  </a:lnTo>
                  <a:lnTo>
                    <a:pt x="571977" y="1039024"/>
                  </a:lnTo>
                  <a:lnTo>
                    <a:pt x="573589" y="1055615"/>
                  </a:lnTo>
                  <a:lnTo>
                    <a:pt x="573408" y="1057365"/>
                  </a:lnTo>
                  <a:lnTo>
                    <a:pt x="573054" y="1058851"/>
                  </a:lnTo>
                  <a:lnTo>
                    <a:pt x="572590" y="1060385"/>
                  </a:lnTo>
                  <a:lnTo>
                    <a:pt x="572012" y="1061802"/>
                  </a:lnTo>
                  <a:lnTo>
                    <a:pt x="570512" y="1064231"/>
                  </a:lnTo>
                  <a:lnTo>
                    <a:pt x="568410" y="1067073"/>
                  </a:lnTo>
                  <a:lnTo>
                    <a:pt x="568679" y="1071430"/>
                  </a:lnTo>
                  <a:lnTo>
                    <a:pt x="572047" y="1072785"/>
                  </a:lnTo>
                  <a:lnTo>
                    <a:pt x="579819" y="1074565"/>
                  </a:lnTo>
                  <a:lnTo>
                    <a:pt x="578520" y="1090178"/>
                  </a:lnTo>
                  <a:lnTo>
                    <a:pt x="582074" y="1096891"/>
                  </a:lnTo>
                  <a:lnTo>
                    <a:pt x="588681" y="1102366"/>
                  </a:lnTo>
                  <a:lnTo>
                    <a:pt x="590232" y="1104354"/>
                  </a:lnTo>
                  <a:lnTo>
                    <a:pt x="590791" y="1106765"/>
                  </a:lnTo>
                  <a:lnTo>
                    <a:pt x="590682" y="1109161"/>
                  </a:lnTo>
                  <a:lnTo>
                    <a:pt x="591797" y="1113835"/>
                  </a:lnTo>
                  <a:lnTo>
                    <a:pt x="593072" y="1115873"/>
                  </a:lnTo>
                  <a:lnTo>
                    <a:pt x="594663" y="1117166"/>
                  </a:lnTo>
                  <a:lnTo>
                    <a:pt x="609786" y="1119780"/>
                  </a:lnTo>
                  <a:lnTo>
                    <a:pt x="610618" y="1124091"/>
                  </a:lnTo>
                  <a:lnTo>
                    <a:pt x="610147" y="1125329"/>
                  </a:lnTo>
                  <a:lnTo>
                    <a:pt x="604694" y="1135427"/>
                  </a:lnTo>
                  <a:lnTo>
                    <a:pt x="603184" y="1143565"/>
                  </a:lnTo>
                  <a:lnTo>
                    <a:pt x="603162" y="1147232"/>
                  </a:lnTo>
                  <a:lnTo>
                    <a:pt x="603991" y="1149191"/>
                  </a:lnTo>
                  <a:lnTo>
                    <a:pt x="609793" y="1151516"/>
                  </a:lnTo>
                  <a:lnTo>
                    <a:pt x="611385" y="1152734"/>
                  </a:lnTo>
                  <a:lnTo>
                    <a:pt x="612877" y="1154412"/>
                  </a:lnTo>
                  <a:lnTo>
                    <a:pt x="614639" y="1157973"/>
                  </a:lnTo>
                  <a:lnTo>
                    <a:pt x="614918" y="1160214"/>
                  </a:lnTo>
                  <a:lnTo>
                    <a:pt x="614740" y="1161993"/>
                  </a:lnTo>
                  <a:lnTo>
                    <a:pt x="606707" y="1177949"/>
                  </a:lnTo>
                  <a:lnTo>
                    <a:pt x="604481" y="1181255"/>
                  </a:lnTo>
                  <a:lnTo>
                    <a:pt x="594521" y="1194269"/>
                  </a:lnTo>
                  <a:lnTo>
                    <a:pt x="593908" y="1198985"/>
                  </a:lnTo>
                  <a:lnTo>
                    <a:pt x="595423" y="1203872"/>
                  </a:lnTo>
                  <a:lnTo>
                    <a:pt x="589019" y="1209451"/>
                  </a:lnTo>
                  <a:lnTo>
                    <a:pt x="586051" y="1209256"/>
                  </a:lnTo>
                  <a:lnTo>
                    <a:pt x="583291" y="1204444"/>
                  </a:lnTo>
                  <a:lnTo>
                    <a:pt x="580562" y="1202453"/>
                  </a:lnTo>
                  <a:lnTo>
                    <a:pt x="573818" y="1196019"/>
                  </a:lnTo>
                  <a:lnTo>
                    <a:pt x="571676" y="1195227"/>
                  </a:lnTo>
                  <a:lnTo>
                    <a:pt x="570056" y="1195236"/>
                  </a:lnTo>
                  <a:lnTo>
                    <a:pt x="567163" y="1198140"/>
                  </a:lnTo>
                  <a:lnTo>
                    <a:pt x="563894" y="1200151"/>
                  </a:lnTo>
                  <a:lnTo>
                    <a:pt x="561726" y="1200646"/>
                  </a:lnTo>
                  <a:lnTo>
                    <a:pt x="559826" y="1200616"/>
                  </a:lnTo>
                  <a:lnTo>
                    <a:pt x="540785" y="1194421"/>
                  </a:lnTo>
                  <a:lnTo>
                    <a:pt x="537992" y="1194424"/>
                  </a:lnTo>
                  <a:lnTo>
                    <a:pt x="536778" y="1195101"/>
                  </a:lnTo>
                  <a:lnTo>
                    <a:pt x="530343" y="1197165"/>
                  </a:lnTo>
                  <a:lnTo>
                    <a:pt x="518072" y="1198965"/>
                  </a:lnTo>
                  <a:lnTo>
                    <a:pt x="515780" y="1198865"/>
                  </a:lnTo>
                  <a:lnTo>
                    <a:pt x="514810" y="1197910"/>
                  </a:lnTo>
                  <a:lnTo>
                    <a:pt x="514673" y="1196702"/>
                  </a:lnTo>
                  <a:lnTo>
                    <a:pt x="513921" y="1192875"/>
                  </a:lnTo>
                  <a:lnTo>
                    <a:pt x="502046" y="1186739"/>
                  </a:lnTo>
                  <a:lnTo>
                    <a:pt x="500565" y="1185336"/>
                  </a:lnTo>
                  <a:lnTo>
                    <a:pt x="498785" y="1182933"/>
                  </a:lnTo>
                  <a:lnTo>
                    <a:pt x="498234" y="1180550"/>
                  </a:lnTo>
                  <a:lnTo>
                    <a:pt x="496529" y="1176358"/>
                  </a:lnTo>
                  <a:lnTo>
                    <a:pt x="494363" y="1174155"/>
                  </a:lnTo>
                  <a:lnTo>
                    <a:pt x="491127" y="1171472"/>
                  </a:lnTo>
                  <a:lnTo>
                    <a:pt x="473379" y="1163831"/>
                  </a:lnTo>
                  <a:lnTo>
                    <a:pt x="465399" y="1157942"/>
                  </a:lnTo>
                  <a:lnTo>
                    <a:pt x="461183" y="1157194"/>
                  </a:lnTo>
                  <a:lnTo>
                    <a:pt x="457963" y="1157965"/>
                  </a:lnTo>
                  <a:lnTo>
                    <a:pt x="428989" y="1160659"/>
                  </a:lnTo>
                  <a:lnTo>
                    <a:pt x="424480" y="1164319"/>
                  </a:lnTo>
                  <a:lnTo>
                    <a:pt x="421895" y="1163269"/>
                  </a:lnTo>
                  <a:lnTo>
                    <a:pt x="419396" y="1161747"/>
                  </a:lnTo>
                  <a:lnTo>
                    <a:pt x="417862" y="1160207"/>
                  </a:lnTo>
                  <a:lnTo>
                    <a:pt x="416945" y="1158805"/>
                  </a:lnTo>
                  <a:lnTo>
                    <a:pt x="416419" y="1157424"/>
                  </a:lnTo>
                  <a:lnTo>
                    <a:pt x="415442" y="1152595"/>
                  </a:lnTo>
                  <a:lnTo>
                    <a:pt x="414914" y="1151066"/>
                  </a:lnTo>
                  <a:lnTo>
                    <a:pt x="412677" y="1147441"/>
                  </a:lnTo>
                  <a:lnTo>
                    <a:pt x="410681" y="1144859"/>
                  </a:lnTo>
                  <a:lnTo>
                    <a:pt x="409550" y="1140696"/>
                  </a:lnTo>
                  <a:lnTo>
                    <a:pt x="406279" y="1135254"/>
                  </a:lnTo>
                  <a:lnTo>
                    <a:pt x="405734" y="1129439"/>
                  </a:lnTo>
                  <a:lnTo>
                    <a:pt x="405585" y="1123961"/>
                  </a:lnTo>
                  <a:lnTo>
                    <a:pt x="404707" y="1121462"/>
                  </a:lnTo>
                  <a:lnTo>
                    <a:pt x="403039" y="1119466"/>
                  </a:lnTo>
                  <a:lnTo>
                    <a:pt x="397402" y="1115424"/>
                  </a:lnTo>
                  <a:lnTo>
                    <a:pt x="395272" y="1114572"/>
                  </a:lnTo>
                  <a:lnTo>
                    <a:pt x="393596" y="1114259"/>
                  </a:lnTo>
                  <a:lnTo>
                    <a:pt x="386443" y="1116077"/>
                  </a:lnTo>
                  <a:lnTo>
                    <a:pt x="383512" y="1117338"/>
                  </a:lnTo>
                  <a:lnTo>
                    <a:pt x="380882" y="1117676"/>
                  </a:lnTo>
                  <a:lnTo>
                    <a:pt x="373687" y="1116964"/>
                  </a:lnTo>
                  <a:lnTo>
                    <a:pt x="364287" y="1117614"/>
                  </a:lnTo>
                  <a:lnTo>
                    <a:pt x="347699" y="1115532"/>
                  </a:lnTo>
                  <a:lnTo>
                    <a:pt x="346146" y="1115970"/>
                  </a:lnTo>
                  <a:lnTo>
                    <a:pt x="343716" y="1117365"/>
                  </a:lnTo>
                  <a:lnTo>
                    <a:pt x="340750" y="1120158"/>
                  </a:lnTo>
                  <a:lnTo>
                    <a:pt x="339574" y="1120987"/>
                  </a:lnTo>
                  <a:lnTo>
                    <a:pt x="338247" y="1121628"/>
                  </a:lnTo>
                  <a:lnTo>
                    <a:pt x="336805" y="1122018"/>
                  </a:lnTo>
                  <a:lnTo>
                    <a:pt x="317117" y="1121290"/>
                  </a:lnTo>
                  <a:lnTo>
                    <a:pt x="315103" y="1120639"/>
                  </a:lnTo>
                  <a:lnTo>
                    <a:pt x="311123" y="1118728"/>
                  </a:lnTo>
                  <a:lnTo>
                    <a:pt x="309886" y="1117858"/>
                  </a:lnTo>
                  <a:lnTo>
                    <a:pt x="308983" y="1116939"/>
                  </a:lnTo>
                  <a:lnTo>
                    <a:pt x="308127" y="1115368"/>
                  </a:lnTo>
                  <a:lnTo>
                    <a:pt x="307554" y="1114120"/>
                  </a:lnTo>
                  <a:lnTo>
                    <a:pt x="306162" y="1110001"/>
                  </a:lnTo>
                  <a:lnTo>
                    <a:pt x="304908" y="1103604"/>
                  </a:lnTo>
                  <a:lnTo>
                    <a:pt x="305174" y="1102655"/>
                  </a:lnTo>
                  <a:lnTo>
                    <a:pt x="305773" y="1101716"/>
                  </a:lnTo>
                  <a:lnTo>
                    <a:pt x="306938" y="1101449"/>
                  </a:lnTo>
                  <a:lnTo>
                    <a:pt x="308321" y="1100765"/>
                  </a:lnTo>
                  <a:lnTo>
                    <a:pt x="308805" y="1099591"/>
                  </a:lnTo>
                  <a:lnTo>
                    <a:pt x="308883" y="1097049"/>
                  </a:lnTo>
                  <a:lnTo>
                    <a:pt x="308674" y="1093933"/>
                  </a:lnTo>
                  <a:lnTo>
                    <a:pt x="308305" y="1091322"/>
                  </a:lnTo>
                  <a:lnTo>
                    <a:pt x="308004" y="1089611"/>
                  </a:lnTo>
                  <a:lnTo>
                    <a:pt x="305957" y="1082162"/>
                  </a:lnTo>
                  <a:lnTo>
                    <a:pt x="298094" y="1069055"/>
                  </a:lnTo>
                  <a:lnTo>
                    <a:pt x="294373" y="1065023"/>
                  </a:lnTo>
                  <a:lnTo>
                    <a:pt x="286612" y="1062138"/>
                  </a:lnTo>
                  <a:lnTo>
                    <a:pt x="278473" y="1056933"/>
                  </a:lnTo>
                  <a:lnTo>
                    <a:pt x="275424" y="1052967"/>
                  </a:lnTo>
                  <a:lnTo>
                    <a:pt x="274279" y="1050173"/>
                  </a:lnTo>
                  <a:lnTo>
                    <a:pt x="275743" y="1047258"/>
                  </a:lnTo>
                  <a:lnTo>
                    <a:pt x="276887" y="1045457"/>
                  </a:lnTo>
                  <a:lnTo>
                    <a:pt x="278987" y="1043110"/>
                  </a:lnTo>
                  <a:lnTo>
                    <a:pt x="281123" y="1042226"/>
                  </a:lnTo>
                  <a:lnTo>
                    <a:pt x="297094" y="1039347"/>
                  </a:lnTo>
                  <a:lnTo>
                    <a:pt x="306091" y="1034070"/>
                  </a:lnTo>
                  <a:lnTo>
                    <a:pt x="310256" y="1030100"/>
                  </a:lnTo>
                  <a:lnTo>
                    <a:pt x="313463" y="1025149"/>
                  </a:lnTo>
                  <a:lnTo>
                    <a:pt x="316417" y="1018059"/>
                  </a:lnTo>
                  <a:lnTo>
                    <a:pt x="295477" y="987659"/>
                  </a:lnTo>
                  <a:lnTo>
                    <a:pt x="285492" y="969285"/>
                  </a:lnTo>
                  <a:lnTo>
                    <a:pt x="266641" y="954740"/>
                  </a:lnTo>
                  <a:lnTo>
                    <a:pt x="257346" y="951686"/>
                  </a:lnTo>
                  <a:lnTo>
                    <a:pt x="224194" y="947145"/>
                  </a:lnTo>
                  <a:lnTo>
                    <a:pt x="209078" y="947621"/>
                  </a:lnTo>
                  <a:lnTo>
                    <a:pt x="153821" y="941304"/>
                  </a:lnTo>
                  <a:lnTo>
                    <a:pt x="144325" y="935966"/>
                  </a:lnTo>
                  <a:lnTo>
                    <a:pt x="141411" y="930489"/>
                  </a:lnTo>
                  <a:lnTo>
                    <a:pt x="141376" y="925614"/>
                  </a:lnTo>
                  <a:lnTo>
                    <a:pt x="141732" y="921355"/>
                  </a:lnTo>
                  <a:lnTo>
                    <a:pt x="143863" y="910523"/>
                  </a:lnTo>
                  <a:lnTo>
                    <a:pt x="143737" y="908307"/>
                  </a:lnTo>
                  <a:lnTo>
                    <a:pt x="143227" y="906611"/>
                  </a:lnTo>
                  <a:lnTo>
                    <a:pt x="139882" y="902189"/>
                  </a:lnTo>
                  <a:lnTo>
                    <a:pt x="135550" y="893440"/>
                  </a:lnTo>
                  <a:lnTo>
                    <a:pt x="134761" y="891112"/>
                  </a:lnTo>
                  <a:lnTo>
                    <a:pt x="134309" y="889518"/>
                  </a:lnTo>
                  <a:lnTo>
                    <a:pt x="134242" y="887923"/>
                  </a:lnTo>
                  <a:lnTo>
                    <a:pt x="135061" y="878652"/>
                  </a:lnTo>
                  <a:lnTo>
                    <a:pt x="134714" y="876305"/>
                  </a:lnTo>
                  <a:lnTo>
                    <a:pt x="133985" y="874656"/>
                  </a:lnTo>
                  <a:lnTo>
                    <a:pt x="132821" y="873835"/>
                  </a:lnTo>
                  <a:lnTo>
                    <a:pt x="131603" y="873106"/>
                  </a:lnTo>
                  <a:lnTo>
                    <a:pt x="129599" y="870517"/>
                  </a:lnTo>
                  <a:lnTo>
                    <a:pt x="127366" y="866485"/>
                  </a:lnTo>
                  <a:lnTo>
                    <a:pt x="123496" y="856580"/>
                  </a:lnTo>
                  <a:lnTo>
                    <a:pt x="122198" y="851889"/>
                  </a:lnTo>
                  <a:lnTo>
                    <a:pt x="121957" y="848668"/>
                  </a:lnTo>
                  <a:lnTo>
                    <a:pt x="122555" y="847336"/>
                  </a:lnTo>
                  <a:lnTo>
                    <a:pt x="123485" y="846398"/>
                  </a:lnTo>
                  <a:lnTo>
                    <a:pt x="124693" y="845784"/>
                  </a:lnTo>
                  <a:lnTo>
                    <a:pt x="126236" y="845833"/>
                  </a:lnTo>
                  <a:lnTo>
                    <a:pt x="127616" y="846209"/>
                  </a:lnTo>
                  <a:lnTo>
                    <a:pt x="130271" y="847638"/>
                  </a:lnTo>
                  <a:lnTo>
                    <a:pt x="131596" y="848059"/>
                  </a:lnTo>
                  <a:lnTo>
                    <a:pt x="133304" y="847942"/>
                  </a:lnTo>
                  <a:lnTo>
                    <a:pt x="134841" y="847105"/>
                  </a:lnTo>
                  <a:lnTo>
                    <a:pt x="136316" y="845234"/>
                  </a:lnTo>
                  <a:lnTo>
                    <a:pt x="136354" y="842779"/>
                  </a:lnTo>
                  <a:lnTo>
                    <a:pt x="135728" y="839947"/>
                  </a:lnTo>
                  <a:lnTo>
                    <a:pt x="133987" y="835083"/>
                  </a:lnTo>
                  <a:lnTo>
                    <a:pt x="132649" y="832920"/>
                  </a:lnTo>
                  <a:lnTo>
                    <a:pt x="131099" y="831704"/>
                  </a:lnTo>
                  <a:lnTo>
                    <a:pt x="126362" y="831588"/>
                  </a:lnTo>
                  <a:lnTo>
                    <a:pt x="114528" y="826713"/>
                  </a:lnTo>
                  <a:lnTo>
                    <a:pt x="110042" y="822277"/>
                  </a:lnTo>
                  <a:lnTo>
                    <a:pt x="101235" y="822492"/>
                  </a:lnTo>
                  <a:lnTo>
                    <a:pt x="99470" y="822072"/>
                  </a:lnTo>
                  <a:lnTo>
                    <a:pt x="96583" y="820921"/>
                  </a:lnTo>
                  <a:lnTo>
                    <a:pt x="88850" y="815792"/>
                  </a:lnTo>
                  <a:lnTo>
                    <a:pt x="85871" y="814476"/>
                  </a:lnTo>
                  <a:lnTo>
                    <a:pt x="83391" y="813749"/>
                  </a:lnTo>
                  <a:lnTo>
                    <a:pt x="51439" y="814718"/>
                  </a:lnTo>
                  <a:lnTo>
                    <a:pt x="45813" y="811163"/>
                  </a:lnTo>
                  <a:lnTo>
                    <a:pt x="35611" y="792608"/>
                  </a:lnTo>
                  <a:lnTo>
                    <a:pt x="35624" y="779396"/>
                  </a:lnTo>
                  <a:lnTo>
                    <a:pt x="35285" y="776354"/>
                  </a:lnTo>
                  <a:lnTo>
                    <a:pt x="33785" y="771245"/>
                  </a:lnTo>
                  <a:lnTo>
                    <a:pt x="32735" y="769093"/>
                  </a:lnTo>
                  <a:lnTo>
                    <a:pt x="31686" y="767573"/>
                  </a:lnTo>
                  <a:lnTo>
                    <a:pt x="27501" y="764053"/>
                  </a:lnTo>
                  <a:lnTo>
                    <a:pt x="26730" y="763198"/>
                  </a:lnTo>
                  <a:lnTo>
                    <a:pt x="24572" y="757471"/>
                  </a:lnTo>
                  <a:lnTo>
                    <a:pt x="21706" y="753460"/>
                  </a:lnTo>
                  <a:lnTo>
                    <a:pt x="21043" y="751865"/>
                  </a:lnTo>
                  <a:lnTo>
                    <a:pt x="19710" y="745899"/>
                  </a:lnTo>
                  <a:lnTo>
                    <a:pt x="18881" y="743655"/>
                  </a:lnTo>
                  <a:lnTo>
                    <a:pt x="17816" y="741945"/>
                  </a:lnTo>
                  <a:lnTo>
                    <a:pt x="16716" y="741090"/>
                  </a:lnTo>
                  <a:lnTo>
                    <a:pt x="14243" y="739558"/>
                  </a:lnTo>
                  <a:lnTo>
                    <a:pt x="12044" y="737820"/>
                  </a:lnTo>
                  <a:lnTo>
                    <a:pt x="10174" y="735725"/>
                  </a:lnTo>
                  <a:lnTo>
                    <a:pt x="9403" y="734575"/>
                  </a:lnTo>
                  <a:lnTo>
                    <a:pt x="7589" y="732511"/>
                  </a:lnTo>
                  <a:lnTo>
                    <a:pt x="5775" y="730889"/>
                  </a:lnTo>
                  <a:lnTo>
                    <a:pt x="5278" y="729529"/>
                  </a:lnTo>
                  <a:lnTo>
                    <a:pt x="4780" y="727137"/>
                  </a:lnTo>
                  <a:lnTo>
                    <a:pt x="3889" y="720194"/>
                  </a:lnTo>
                  <a:lnTo>
                    <a:pt x="3502" y="718481"/>
                  </a:lnTo>
                  <a:lnTo>
                    <a:pt x="3281" y="718038"/>
                  </a:lnTo>
                  <a:lnTo>
                    <a:pt x="3112" y="715290"/>
                  </a:lnTo>
                  <a:lnTo>
                    <a:pt x="3906" y="700955"/>
                  </a:lnTo>
                  <a:lnTo>
                    <a:pt x="3890" y="692591"/>
                  </a:lnTo>
                  <a:lnTo>
                    <a:pt x="4598" y="690964"/>
                  </a:lnTo>
                  <a:lnTo>
                    <a:pt x="6347" y="689100"/>
                  </a:lnTo>
                  <a:lnTo>
                    <a:pt x="11108" y="687050"/>
                  </a:lnTo>
                  <a:lnTo>
                    <a:pt x="12419" y="686042"/>
                  </a:lnTo>
                  <a:lnTo>
                    <a:pt x="13566" y="684592"/>
                  </a:lnTo>
                  <a:lnTo>
                    <a:pt x="14764" y="681900"/>
                  </a:lnTo>
                  <a:lnTo>
                    <a:pt x="15965" y="680390"/>
                  </a:lnTo>
                  <a:lnTo>
                    <a:pt x="17277" y="679352"/>
                  </a:lnTo>
                  <a:lnTo>
                    <a:pt x="19974" y="678237"/>
                  </a:lnTo>
                  <a:lnTo>
                    <a:pt x="21012" y="677362"/>
                  </a:lnTo>
                  <a:lnTo>
                    <a:pt x="21776" y="676103"/>
                  </a:lnTo>
                  <a:lnTo>
                    <a:pt x="22972" y="673249"/>
                  </a:lnTo>
                  <a:lnTo>
                    <a:pt x="23681" y="672095"/>
                  </a:lnTo>
                  <a:lnTo>
                    <a:pt x="24444" y="671177"/>
                  </a:lnTo>
                  <a:lnTo>
                    <a:pt x="24934" y="670435"/>
                  </a:lnTo>
                  <a:lnTo>
                    <a:pt x="25313" y="668661"/>
                  </a:lnTo>
                  <a:lnTo>
                    <a:pt x="25360" y="665853"/>
                  </a:lnTo>
                  <a:lnTo>
                    <a:pt x="24296" y="657169"/>
                  </a:lnTo>
                  <a:lnTo>
                    <a:pt x="23250" y="654423"/>
                  </a:lnTo>
                  <a:lnTo>
                    <a:pt x="22043" y="653216"/>
                  </a:lnTo>
                  <a:lnTo>
                    <a:pt x="16108" y="649210"/>
                  </a:lnTo>
                  <a:lnTo>
                    <a:pt x="15558" y="647822"/>
                  </a:lnTo>
                  <a:lnTo>
                    <a:pt x="15392" y="647026"/>
                  </a:lnTo>
                  <a:lnTo>
                    <a:pt x="16090" y="641468"/>
                  </a:lnTo>
                  <a:lnTo>
                    <a:pt x="17170" y="636205"/>
                  </a:lnTo>
                  <a:lnTo>
                    <a:pt x="19095" y="633836"/>
                  </a:lnTo>
                  <a:lnTo>
                    <a:pt x="20240" y="633065"/>
                  </a:lnTo>
                  <a:lnTo>
                    <a:pt x="25480" y="630686"/>
                  </a:lnTo>
                  <a:lnTo>
                    <a:pt x="26406" y="629678"/>
                  </a:lnTo>
                  <a:lnTo>
                    <a:pt x="26785" y="628376"/>
                  </a:lnTo>
                  <a:lnTo>
                    <a:pt x="26454" y="627461"/>
                  </a:lnTo>
                  <a:lnTo>
                    <a:pt x="25525" y="627331"/>
                  </a:lnTo>
                  <a:lnTo>
                    <a:pt x="23014" y="628062"/>
                  </a:lnTo>
                  <a:lnTo>
                    <a:pt x="21100" y="627698"/>
                  </a:lnTo>
                  <a:lnTo>
                    <a:pt x="19459" y="626564"/>
                  </a:lnTo>
                  <a:lnTo>
                    <a:pt x="17301" y="623275"/>
                  </a:lnTo>
                  <a:lnTo>
                    <a:pt x="16151" y="621934"/>
                  </a:lnTo>
                  <a:lnTo>
                    <a:pt x="7292" y="617521"/>
                  </a:lnTo>
                  <a:lnTo>
                    <a:pt x="6683" y="613177"/>
                  </a:lnTo>
                  <a:lnTo>
                    <a:pt x="6408" y="612261"/>
                  </a:lnTo>
                  <a:lnTo>
                    <a:pt x="5860" y="611228"/>
                  </a:lnTo>
                  <a:lnTo>
                    <a:pt x="1097" y="604693"/>
                  </a:lnTo>
                  <a:lnTo>
                    <a:pt x="549" y="603703"/>
                  </a:lnTo>
                  <a:lnTo>
                    <a:pt x="330" y="603200"/>
                  </a:lnTo>
                  <a:lnTo>
                    <a:pt x="165" y="602670"/>
                  </a:lnTo>
                  <a:lnTo>
                    <a:pt x="0" y="601503"/>
                  </a:lnTo>
                  <a:lnTo>
                    <a:pt x="161" y="600008"/>
                  </a:lnTo>
                  <a:lnTo>
                    <a:pt x="1468" y="598826"/>
                  </a:lnTo>
                  <a:lnTo>
                    <a:pt x="3650" y="597993"/>
                  </a:lnTo>
                  <a:lnTo>
                    <a:pt x="13967" y="599183"/>
                  </a:lnTo>
                  <a:lnTo>
                    <a:pt x="15986" y="598823"/>
                  </a:lnTo>
                  <a:lnTo>
                    <a:pt x="18293" y="597842"/>
                  </a:lnTo>
                  <a:lnTo>
                    <a:pt x="23030" y="593693"/>
                  </a:lnTo>
                  <a:lnTo>
                    <a:pt x="25911" y="589842"/>
                  </a:lnTo>
                  <a:lnTo>
                    <a:pt x="28685" y="586790"/>
                  </a:lnTo>
                  <a:lnTo>
                    <a:pt x="29007" y="585312"/>
                  </a:lnTo>
                  <a:lnTo>
                    <a:pt x="28948" y="583805"/>
                  </a:lnTo>
                  <a:lnTo>
                    <a:pt x="28671" y="582270"/>
                  </a:lnTo>
                  <a:lnTo>
                    <a:pt x="28612" y="580791"/>
                  </a:lnTo>
                  <a:lnTo>
                    <a:pt x="29099" y="579461"/>
                  </a:lnTo>
                  <a:lnTo>
                    <a:pt x="32041" y="578240"/>
                  </a:lnTo>
                  <a:lnTo>
                    <a:pt x="51951" y="575023"/>
                  </a:lnTo>
                  <a:lnTo>
                    <a:pt x="98678" y="574789"/>
                  </a:lnTo>
                  <a:lnTo>
                    <a:pt x="107761" y="571071"/>
                  </a:lnTo>
                  <a:lnTo>
                    <a:pt x="114787" y="569964"/>
                  </a:lnTo>
                  <a:lnTo>
                    <a:pt x="132144" y="570323"/>
                  </a:lnTo>
                  <a:lnTo>
                    <a:pt x="135650" y="570150"/>
                  </a:lnTo>
                  <a:lnTo>
                    <a:pt x="136883" y="569788"/>
                  </a:lnTo>
                  <a:lnTo>
                    <a:pt x="138259" y="569069"/>
                  </a:lnTo>
                  <a:lnTo>
                    <a:pt x="139288" y="568145"/>
                  </a:lnTo>
                  <a:lnTo>
                    <a:pt x="140147" y="566335"/>
                  </a:lnTo>
                  <a:lnTo>
                    <a:pt x="140674" y="563848"/>
                  </a:lnTo>
                  <a:lnTo>
                    <a:pt x="140912" y="559178"/>
                  </a:lnTo>
                  <a:lnTo>
                    <a:pt x="140677" y="556815"/>
                  </a:lnTo>
                  <a:lnTo>
                    <a:pt x="140395" y="555488"/>
                  </a:lnTo>
                  <a:lnTo>
                    <a:pt x="139627" y="554695"/>
                  </a:lnTo>
                  <a:lnTo>
                    <a:pt x="134185" y="550567"/>
                  </a:lnTo>
                  <a:lnTo>
                    <a:pt x="133362" y="549744"/>
                  </a:lnTo>
                  <a:lnTo>
                    <a:pt x="133030" y="549068"/>
                  </a:lnTo>
                  <a:lnTo>
                    <a:pt x="132749" y="547857"/>
                  </a:lnTo>
                  <a:lnTo>
                    <a:pt x="133120" y="546275"/>
                  </a:lnTo>
                  <a:lnTo>
                    <a:pt x="134089" y="544761"/>
                  </a:lnTo>
                  <a:lnTo>
                    <a:pt x="136367" y="543339"/>
                  </a:lnTo>
                  <a:lnTo>
                    <a:pt x="148554" y="539380"/>
                  </a:lnTo>
                  <a:lnTo>
                    <a:pt x="155871" y="535126"/>
                  </a:lnTo>
                  <a:lnTo>
                    <a:pt x="164376" y="527758"/>
                  </a:lnTo>
                  <a:lnTo>
                    <a:pt x="166154" y="525570"/>
                  </a:lnTo>
                  <a:lnTo>
                    <a:pt x="167875" y="523148"/>
                  </a:lnTo>
                  <a:lnTo>
                    <a:pt x="170715" y="517894"/>
                  </a:lnTo>
                  <a:lnTo>
                    <a:pt x="171185" y="515615"/>
                  </a:lnTo>
                  <a:lnTo>
                    <a:pt x="171160" y="512659"/>
                  </a:lnTo>
                  <a:lnTo>
                    <a:pt x="169858" y="506730"/>
                  </a:lnTo>
                  <a:lnTo>
                    <a:pt x="168483" y="504849"/>
                  </a:lnTo>
                  <a:lnTo>
                    <a:pt x="166899" y="504036"/>
                  </a:lnTo>
                  <a:lnTo>
                    <a:pt x="165378" y="504225"/>
                  </a:lnTo>
                  <a:lnTo>
                    <a:pt x="163799" y="503957"/>
                  </a:lnTo>
                  <a:lnTo>
                    <a:pt x="162434" y="503333"/>
                  </a:lnTo>
                  <a:lnTo>
                    <a:pt x="161286" y="502544"/>
                  </a:lnTo>
                  <a:lnTo>
                    <a:pt x="160300" y="501577"/>
                  </a:lnTo>
                  <a:lnTo>
                    <a:pt x="159530" y="500549"/>
                  </a:lnTo>
                  <a:lnTo>
                    <a:pt x="158703" y="499048"/>
                  </a:lnTo>
                  <a:lnTo>
                    <a:pt x="157484" y="496265"/>
                  </a:lnTo>
                  <a:lnTo>
                    <a:pt x="157470" y="494476"/>
                  </a:lnTo>
                  <a:lnTo>
                    <a:pt x="157941" y="492154"/>
                  </a:lnTo>
                  <a:lnTo>
                    <a:pt x="160819" y="485230"/>
                  </a:lnTo>
                  <a:lnTo>
                    <a:pt x="162596" y="483222"/>
                  </a:lnTo>
                  <a:lnTo>
                    <a:pt x="163728" y="482148"/>
                  </a:lnTo>
                  <a:lnTo>
                    <a:pt x="170872" y="478881"/>
                  </a:lnTo>
                  <a:lnTo>
                    <a:pt x="175806" y="477879"/>
                  </a:lnTo>
                  <a:lnTo>
                    <a:pt x="177986" y="476573"/>
                  </a:lnTo>
                  <a:lnTo>
                    <a:pt x="178900" y="475518"/>
                  </a:lnTo>
                  <a:lnTo>
                    <a:pt x="179594" y="474196"/>
                  </a:lnTo>
                  <a:lnTo>
                    <a:pt x="180069" y="472654"/>
                  </a:lnTo>
                  <a:lnTo>
                    <a:pt x="180326" y="470998"/>
                  </a:lnTo>
                  <a:lnTo>
                    <a:pt x="180333" y="465634"/>
                  </a:lnTo>
                  <a:lnTo>
                    <a:pt x="180043" y="463596"/>
                  </a:lnTo>
                  <a:lnTo>
                    <a:pt x="179483" y="461607"/>
                  </a:lnTo>
                  <a:lnTo>
                    <a:pt x="177889" y="459433"/>
                  </a:lnTo>
                  <a:lnTo>
                    <a:pt x="176910" y="459265"/>
                  </a:lnTo>
                  <a:lnTo>
                    <a:pt x="176153" y="459568"/>
                  </a:lnTo>
                  <a:lnTo>
                    <a:pt x="175868" y="460042"/>
                  </a:lnTo>
                  <a:lnTo>
                    <a:pt x="175123" y="461763"/>
                  </a:lnTo>
                  <a:lnTo>
                    <a:pt x="174445" y="462862"/>
                  </a:lnTo>
                  <a:lnTo>
                    <a:pt x="173692" y="463741"/>
                  </a:lnTo>
                  <a:lnTo>
                    <a:pt x="172751" y="463644"/>
                  </a:lnTo>
                  <a:lnTo>
                    <a:pt x="172414" y="462378"/>
                  </a:lnTo>
                  <a:lnTo>
                    <a:pt x="172064" y="459544"/>
                  </a:lnTo>
                  <a:lnTo>
                    <a:pt x="172189" y="455169"/>
                  </a:lnTo>
                  <a:lnTo>
                    <a:pt x="171632" y="453518"/>
                  </a:lnTo>
                  <a:lnTo>
                    <a:pt x="169944" y="452852"/>
                  </a:lnTo>
                  <a:lnTo>
                    <a:pt x="167183" y="453674"/>
                  </a:lnTo>
                  <a:lnTo>
                    <a:pt x="165987" y="453358"/>
                  </a:lnTo>
                  <a:lnTo>
                    <a:pt x="165110" y="452391"/>
                  </a:lnTo>
                  <a:lnTo>
                    <a:pt x="163456" y="449243"/>
                  </a:lnTo>
                  <a:lnTo>
                    <a:pt x="162036" y="448042"/>
                  </a:lnTo>
                  <a:lnTo>
                    <a:pt x="159847" y="445756"/>
                  </a:lnTo>
                  <a:lnTo>
                    <a:pt x="155433" y="438786"/>
                  </a:lnTo>
                  <a:lnTo>
                    <a:pt x="155206" y="437487"/>
                  </a:lnTo>
                  <a:lnTo>
                    <a:pt x="155739" y="436331"/>
                  </a:lnTo>
                  <a:lnTo>
                    <a:pt x="157582" y="434011"/>
                  </a:lnTo>
                  <a:lnTo>
                    <a:pt x="161406" y="430745"/>
                  </a:lnTo>
                  <a:lnTo>
                    <a:pt x="161991" y="429409"/>
                  </a:lnTo>
                  <a:lnTo>
                    <a:pt x="161978" y="427827"/>
                  </a:lnTo>
                  <a:lnTo>
                    <a:pt x="160823" y="425710"/>
                  </a:lnTo>
                  <a:lnTo>
                    <a:pt x="159783" y="424536"/>
                  </a:lnTo>
                  <a:lnTo>
                    <a:pt x="159288" y="423654"/>
                  </a:lnTo>
                  <a:lnTo>
                    <a:pt x="158953" y="422415"/>
                  </a:lnTo>
                  <a:lnTo>
                    <a:pt x="158780" y="421086"/>
                  </a:lnTo>
                  <a:lnTo>
                    <a:pt x="158499" y="419878"/>
                  </a:lnTo>
                  <a:lnTo>
                    <a:pt x="158114" y="419185"/>
                  </a:lnTo>
                  <a:lnTo>
                    <a:pt x="157348" y="418320"/>
                  </a:lnTo>
                  <a:lnTo>
                    <a:pt x="154933" y="416832"/>
                  </a:lnTo>
                  <a:lnTo>
                    <a:pt x="152162" y="415774"/>
                  </a:lnTo>
                  <a:lnTo>
                    <a:pt x="151127" y="415119"/>
                  </a:lnTo>
                  <a:lnTo>
                    <a:pt x="150686" y="414206"/>
                  </a:lnTo>
                  <a:lnTo>
                    <a:pt x="150348" y="412553"/>
                  </a:lnTo>
                  <a:lnTo>
                    <a:pt x="150056" y="409806"/>
                  </a:lnTo>
                  <a:lnTo>
                    <a:pt x="149776" y="408567"/>
                  </a:lnTo>
                  <a:lnTo>
                    <a:pt x="149766" y="407326"/>
                  </a:lnTo>
                  <a:lnTo>
                    <a:pt x="150519" y="406611"/>
                  </a:lnTo>
                  <a:lnTo>
                    <a:pt x="152945" y="405115"/>
                  </a:lnTo>
                  <a:lnTo>
                    <a:pt x="156635" y="403696"/>
                  </a:lnTo>
                  <a:lnTo>
                    <a:pt x="166427" y="402347"/>
                  </a:lnTo>
                  <a:lnTo>
                    <a:pt x="172262" y="400657"/>
                  </a:lnTo>
                  <a:lnTo>
                    <a:pt x="173281" y="399584"/>
                  </a:lnTo>
                  <a:lnTo>
                    <a:pt x="174098" y="397995"/>
                  </a:lnTo>
                  <a:lnTo>
                    <a:pt x="174536" y="394401"/>
                  </a:lnTo>
                  <a:lnTo>
                    <a:pt x="175058" y="392225"/>
                  </a:lnTo>
                  <a:lnTo>
                    <a:pt x="175383" y="390139"/>
                  </a:lnTo>
                  <a:lnTo>
                    <a:pt x="174333" y="387650"/>
                  </a:lnTo>
                  <a:lnTo>
                    <a:pt x="173234" y="385827"/>
                  </a:lnTo>
                  <a:lnTo>
                    <a:pt x="162916" y="377284"/>
                  </a:lnTo>
                  <a:lnTo>
                    <a:pt x="158306" y="375962"/>
                  </a:lnTo>
                  <a:lnTo>
                    <a:pt x="157057" y="375352"/>
                  </a:lnTo>
                  <a:lnTo>
                    <a:pt x="155135" y="374037"/>
                  </a:lnTo>
                  <a:lnTo>
                    <a:pt x="153499" y="372424"/>
                  </a:lnTo>
                  <a:lnTo>
                    <a:pt x="128258" y="339069"/>
                  </a:lnTo>
                  <a:lnTo>
                    <a:pt x="128702" y="332977"/>
                  </a:lnTo>
                  <a:lnTo>
                    <a:pt x="129012" y="330876"/>
                  </a:lnTo>
                  <a:lnTo>
                    <a:pt x="129647" y="329070"/>
                  </a:lnTo>
                  <a:lnTo>
                    <a:pt x="130341" y="327913"/>
                  </a:lnTo>
                  <a:lnTo>
                    <a:pt x="130660" y="327202"/>
                  </a:lnTo>
                  <a:lnTo>
                    <a:pt x="130871" y="326430"/>
                  </a:lnTo>
                  <a:lnTo>
                    <a:pt x="131018" y="324361"/>
                  </a:lnTo>
                  <a:lnTo>
                    <a:pt x="131387" y="323000"/>
                  </a:lnTo>
                  <a:lnTo>
                    <a:pt x="131971" y="321695"/>
                  </a:lnTo>
                  <a:lnTo>
                    <a:pt x="132827" y="320566"/>
                  </a:lnTo>
                  <a:lnTo>
                    <a:pt x="133900" y="319627"/>
                  </a:lnTo>
                  <a:lnTo>
                    <a:pt x="136338" y="318296"/>
                  </a:lnTo>
                  <a:lnTo>
                    <a:pt x="137791" y="317841"/>
                  </a:lnTo>
                  <a:lnTo>
                    <a:pt x="139355" y="317563"/>
                  </a:lnTo>
                  <a:lnTo>
                    <a:pt x="140975" y="317610"/>
                  </a:lnTo>
                  <a:lnTo>
                    <a:pt x="147409" y="319041"/>
                  </a:lnTo>
                  <a:lnTo>
                    <a:pt x="148974" y="318940"/>
                  </a:lnTo>
                  <a:lnTo>
                    <a:pt x="149941" y="318313"/>
                  </a:lnTo>
                  <a:lnTo>
                    <a:pt x="149166" y="315777"/>
                  </a:lnTo>
                  <a:lnTo>
                    <a:pt x="147248" y="312127"/>
                  </a:lnTo>
                  <a:lnTo>
                    <a:pt x="137475" y="296641"/>
                  </a:lnTo>
                  <a:lnTo>
                    <a:pt x="136550" y="295583"/>
                  </a:lnTo>
                  <a:lnTo>
                    <a:pt x="135519" y="294659"/>
                  </a:lnTo>
                  <a:lnTo>
                    <a:pt x="133778" y="292559"/>
                  </a:lnTo>
                  <a:lnTo>
                    <a:pt x="133015" y="291367"/>
                  </a:lnTo>
                  <a:lnTo>
                    <a:pt x="132174" y="289364"/>
                  </a:lnTo>
                  <a:lnTo>
                    <a:pt x="131400" y="286649"/>
                  </a:lnTo>
                  <a:lnTo>
                    <a:pt x="130447" y="281396"/>
                  </a:lnTo>
                  <a:lnTo>
                    <a:pt x="130211" y="278546"/>
                  </a:lnTo>
                  <a:lnTo>
                    <a:pt x="130364" y="269577"/>
                  </a:lnTo>
                  <a:lnTo>
                    <a:pt x="130568" y="268009"/>
                  </a:lnTo>
                  <a:lnTo>
                    <a:pt x="130989" y="266527"/>
                  </a:lnTo>
                  <a:lnTo>
                    <a:pt x="131680" y="265253"/>
                  </a:lnTo>
                  <a:lnTo>
                    <a:pt x="132479" y="264035"/>
                  </a:lnTo>
                  <a:lnTo>
                    <a:pt x="138213" y="257656"/>
                  </a:lnTo>
                  <a:lnTo>
                    <a:pt x="139920" y="255382"/>
                  </a:lnTo>
                  <a:lnTo>
                    <a:pt x="140611" y="254076"/>
                  </a:lnTo>
                  <a:lnTo>
                    <a:pt x="141084" y="252596"/>
                  </a:lnTo>
                  <a:lnTo>
                    <a:pt x="140747" y="250825"/>
                  </a:lnTo>
                  <a:lnTo>
                    <a:pt x="139551" y="249090"/>
                  </a:lnTo>
                  <a:lnTo>
                    <a:pt x="136040" y="247519"/>
                  </a:lnTo>
                  <a:lnTo>
                    <a:pt x="133921" y="247299"/>
                  </a:lnTo>
                  <a:lnTo>
                    <a:pt x="132148" y="247726"/>
                  </a:lnTo>
                  <a:lnTo>
                    <a:pt x="130969" y="248471"/>
                  </a:lnTo>
                  <a:lnTo>
                    <a:pt x="127066" y="252312"/>
                  </a:lnTo>
                  <a:lnTo>
                    <a:pt x="125831" y="252852"/>
                  </a:lnTo>
                  <a:lnTo>
                    <a:pt x="123888" y="252126"/>
                  </a:lnTo>
                  <a:lnTo>
                    <a:pt x="120961" y="249131"/>
                  </a:lnTo>
                  <a:lnTo>
                    <a:pt x="108718" y="230945"/>
                  </a:lnTo>
                  <a:lnTo>
                    <a:pt x="95445" y="204752"/>
                  </a:lnTo>
                  <a:lnTo>
                    <a:pt x="91893" y="197385"/>
                  </a:lnTo>
                  <a:lnTo>
                    <a:pt x="89035" y="195389"/>
                  </a:lnTo>
                  <a:lnTo>
                    <a:pt x="86611" y="194102"/>
                  </a:lnTo>
                  <a:lnTo>
                    <a:pt x="82959" y="194121"/>
                  </a:lnTo>
                  <a:lnTo>
                    <a:pt x="81127" y="192963"/>
                  </a:lnTo>
                  <a:lnTo>
                    <a:pt x="79395" y="190476"/>
                  </a:lnTo>
                  <a:lnTo>
                    <a:pt x="77698" y="183835"/>
                  </a:lnTo>
                  <a:lnTo>
                    <a:pt x="77197" y="180247"/>
                  </a:lnTo>
                  <a:lnTo>
                    <a:pt x="76854" y="175919"/>
                  </a:lnTo>
                  <a:lnTo>
                    <a:pt x="76095" y="174533"/>
                  </a:lnTo>
                  <a:lnTo>
                    <a:pt x="71601" y="169975"/>
                  </a:lnTo>
                  <a:lnTo>
                    <a:pt x="70036" y="168091"/>
                  </a:lnTo>
                  <a:lnTo>
                    <a:pt x="66347" y="159153"/>
                  </a:lnTo>
                  <a:lnTo>
                    <a:pt x="64834" y="156678"/>
                  </a:lnTo>
                  <a:lnTo>
                    <a:pt x="64347" y="155571"/>
                  </a:lnTo>
                  <a:lnTo>
                    <a:pt x="63964" y="153933"/>
                  </a:lnTo>
                  <a:lnTo>
                    <a:pt x="63903" y="152221"/>
                  </a:lnTo>
                  <a:lnTo>
                    <a:pt x="64110" y="150534"/>
                  </a:lnTo>
                  <a:lnTo>
                    <a:pt x="65052" y="145434"/>
                  </a:lnTo>
                  <a:lnTo>
                    <a:pt x="65045" y="143747"/>
                  </a:lnTo>
                  <a:lnTo>
                    <a:pt x="64983" y="142063"/>
                  </a:lnTo>
                  <a:lnTo>
                    <a:pt x="64709" y="140485"/>
                  </a:lnTo>
                  <a:lnTo>
                    <a:pt x="63945" y="137533"/>
                  </a:lnTo>
                  <a:lnTo>
                    <a:pt x="63830" y="135819"/>
                  </a:lnTo>
                  <a:lnTo>
                    <a:pt x="64196" y="133778"/>
                  </a:lnTo>
                  <a:lnTo>
                    <a:pt x="65095" y="131056"/>
                  </a:lnTo>
                  <a:lnTo>
                    <a:pt x="65194" y="129077"/>
                  </a:lnTo>
                  <a:lnTo>
                    <a:pt x="64430" y="126140"/>
                  </a:lnTo>
                  <a:lnTo>
                    <a:pt x="65600" y="124256"/>
                  </a:lnTo>
                  <a:lnTo>
                    <a:pt x="77111" y="119652"/>
                  </a:lnTo>
                  <a:lnTo>
                    <a:pt x="93384" y="118341"/>
                  </a:lnTo>
                  <a:lnTo>
                    <a:pt x="108240" y="119009"/>
                  </a:lnTo>
                  <a:lnTo>
                    <a:pt x="112857" y="117975"/>
                  </a:lnTo>
                  <a:lnTo>
                    <a:pt x="118086" y="115193"/>
                  </a:lnTo>
                  <a:lnTo>
                    <a:pt x="127596" y="112071"/>
                  </a:lnTo>
                  <a:lnTo>
                    <a:pt x="134120" y="108552"/>
                  </a:lnTo>
                  <a:lnTo>
                    <a:pt x="137458" y="103977"/>
                  </a:lnTo>
                  <a:lnTo>
                    <a:pt x="143948" y="98772"/>
                  </a:lnTo>
                  <a:lnTo>
                    <a:pt x="144743" y="97747"/>
                  </a:lnTo>
                  <a:lnTo>
                    <a:pt x="145215" y="96546"/>
                  </a:lnTo>
                  <a:lnTo>
                    <a:pt x="145368" y="95614"/>
                  </a:lnTo>
                  <a:lnTo>
                    <a:pt x="145400" y="92747"/>
                  </a:lnTo>
                  <a:lnTo>
                    <a:pt x="145494" y="91108"/>
                  </a:lnTo>
                  <a:lnTo>
                    <a:pt x="145749" y="89407"/>
                  </a:lnTo>
                  <a:lnTo>
                    <a:pt x="146110" y="87748"/>
                  </a:lnTo>
                  <a:lnTo>
                    <a:pt x="146634" y="86296"/>
                  </a:lnTo>
                  <a:lnTo>
                    <a:pt x="147106" y="85171"/>
                  </a:lnTo>
                  <a:lnTo>
                    <a:pt x="147476" y="84577"/>
                  </a:lnTo>
                  <a:lnTo>
                    <a:pt x="147740" y="84145"/>
                  </a:lnTo>
                  <a:lnTo>
                    <a:pt x="148377" y="83534"/>
                  </a:lnTo>
                  <a:lnTo>
                    <a:pt x="152551" y="81699"/>
                  </a:lnTo>
                  <a:lnTo>
                    <a:pt x="159337" y="80951"/>
                  </a:lnTo>
                  <a:lnTo>
                    <a:pt x="165008" y="81362"/>
                  </a:lnTo>
                  <a:lnTo>
                    <a:pt x="175423" y="83991"/>
                  </a:lnTo>
                  <a:lnTo>
                    <a:pt x="181658" y="87423"/>
                  </a:lnTo>
                  <a:lnTo>
                    <a:pt x="184337" y="87870"/>
                  </a:lnTo>
                  <a:lnTo>
                    <a:pt x="204556" y="86156"/>
                  </a:lnTo>
                  <a:lnTo>
                    <a:pt x="221240" y="89130"/>
                  </a:lnTo>
                  <a:lnTo>
                    <a:pt x="222426" y="89975"/>
                  </a:lnTo>
                  <a:lnTo>
                    <a:pt x="223400" y="90999"/>
                  </a:lnTo>
                  <a:lnTo>
                    <a:pt x="224268" y="92113"/>
                  </a:lnTo>
                  <a:lnTo>
                    <a:pt x="225347" y="92959"/>
                  </a:lnTo>
                  <a:lnTo>
                    <a:pt x="229700" y="94700"/>
                  </a:lnTo>
                  <a:lnTo>
                    <a:pt x="230745" y="95664"/>
                  </a:lnTo>
                  <a:lnTo>
                    <a:pt x="231454" y="96852"/>
                  </a:lnTo>
                  <a:lnTo>
                    <a:pt x="231951" y="98264"/>
                  </a:lnTo>
                  <a:lnTo>
                    <a:pt x="232606" y="99411"/>
                  </a:lnTo>
                  <a:lnTo>
                    <a:pt x="233313" y="100378"/>
                  </a:lnTo>
                  <a:lnTo>
                    <a:pt x="234121" y="100901"/>
                  </a:lnTo>
                  <a:lnTo>
                    <a:pt x="235089" y="101333"/>
                  </a:lnTo>
                  <a:lnTo>
                    <a:pt x="236747" y="101225"/>
                  </a:lnTo>
                  <a:lnTo>
                    <a:pt x="238880" y="100492"/>
                  </a:lnTo>
                  <a:lnTo>
                    <a:pt x="241793" y="97859"/>
                  </a:lnTo>
                  <a:lnTo>
                    <a:pt x="243811" y="96564"/>
                  </a:lnTo>
                  <a:lnTo>
                    <a:pt x="245784" y="95980"/>
                  </a:lnTo>
                  <a:lnTo>
                    <a:pt x="248491" y="97160"/>
                  </a:lnTo>
                  <a:lnTo>
                    <a:pt x="255603" y="96722"/>
                  </a:lnTo>
                  <a:lnTo>
                    <a:pt x="276476" y="87449"/>
                  </a:lnTo>
                  <a:lnTo>
                    <a:pt x="288520" y="84042"/>
                  </a:lnTo>
                  <a:lnTo>
                    <a:pt x="289758" y="83344"/>
                  </a:lnTo>
                  <a:lnTo>
                    <a:pt x="309500" y="63836"/>
                  </a:lnTo>
                  <a:lnTo>
                    <a:pt x="312589" y="63127"/>
                  </a:lnTo>
                  <a:lnTo>
                    <a:pt x="319103" y="62693"/>
                  </a:lnTo>
                  <a:lnTo>
                    <a:pt x="319737" y="62241"/>
                  </a:lnTo>
                  <a:lnTo>
                    <a:pt x="320366" y="61344"/>
                  </a:lnTo>
                  <a:lnTo>
                    <a:pt x="319786" y="58280"/>
                  </a:lnTo>
                  <a:lnTo>
                    <a:pt x="318890" y="55455"/>
                  </a:lnTo>
                  <a:lnTo>
                    <a:pt x="318363" y="52330"/>
                  </a:lnTo>
                  <a:lnTo>
                    <a:pt x="318230" y="50589"/>
                  </a:lnTo>
                  <a:lnTo>
                    <a:pt x="318177" y="46940"/>
                  </a:lnTo>
                  <a:lnTo>
                    <a:pt x="319612" y="35629"/>
                  </a:lnTo>
                  <a:lnTo>
                    <a:pt x="319909" y="34043"/>
                  </a:lnTo>
                  <a:lnTo>
                    <a:pt x="321539" y="28744"/>
                  </a:lnTo>
                  <a:lnTo>
                    <a:pt x="322530" y="27178"/>
                  </a:lnTo>
                  <a:lnTo>
                    <a:pt x="324337" y="25496"/>
                  </a:lnTo>
                  <a:lnTo>
                    <a:pt x="327791" y="24590"/>
                  </a:lnTo>
                  <a:lnTo>
                    <a:pt x="329717" y="24871"/>
                  </a:lnTo>
                  <a:lnTo>
                    <a:pt x="332563" y="26054"/>
                  </a:lnTo>
                  <a:lnTo>
                    <a:pt x="337043" y="25927"/>
                  </a:lnTo>
                  <a:lnTo>
                    <a:pt x="340419" y="23378"/>
                  </a:lnTo>
                  <a:lnTo>
                    <a:pt x="346807" y="4497"/>
                  </a:lnTo>
                  <a:lnTo>
                    <a:pt x="361981" y="0"/>
                  </a:lnTo>
                  <a:lnTo>
                    <a:pt x="365502" y="2262"/>
                  </a:lnTo>
                  <a:close/>
                </a:path>
              </a:pathLst>
            </a:custGeom>
            <a:solidFill>
              <a:srgbClr val="BFBFBF"/>
            </a:solidFill>
            <a:ln w="6350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Freeform 33">
              <a:extLst>
                <a:ext uri="{FF2B5EF4-FFF2-40B4-BE49-F238E27FC236}">
                  <a16:creationId xmlns:a16="http://schemas.microsoft.com/office/drawing/2014/main" id="{FA768410-C1F4-92FC-F449-94F7A08D77E8}"/>
                </a:ext>
              </a:extLst>
            </p:cNvPr>
            <p:cNvSpPr>
              <a:spLocks noChangeAspect="1"/>
            </p:cNvSpPr>
            <p:nvPr>
              <p:custDataLst>
                <p:tags r:id="rId15"/>
              </p:custDataLst>
            </p:nvPr>
          </p:nvSpPr>
          <p:spPr>
            <a:xfrm>
              <a:off x="5107403" y="3636197"/>
              <a:ext cx="1108471" cy="869059"/>
            </a:xfrm>
            <a:custGeom>
              <a:avLst/>
              <a:gdLst/>
              <a:ahLst/>
              <a:cxnLst/>
              <a:rect l="0" t="0" r="0" b="0"/>
              <a:pathLst>
                <a:path w="1108471" h="869059">
                  <a:moveTo>
                    <a:pt x="369790" y="23177"/>
                  </a:moveTo>
                  <a:lnTo>
                    <a:pt x="374290" y="22191"/>
                  </a:lnTo>
                  <a:lnTo>
                    <a:pt x="376463" y="19779"/>
                  </a:lnTo>
                  <a:lnTo>
                    <a:pt x="378075" y="18660"/>
                  </a:lnTo>
                  <a:lnTo>
                    <a:pt x="380572" y="17655"/>
                  </a:lnTo>
                  <a:lnTo>
                    <a:pt x="382915" y="18490"/>
                  </a:lnTo>
                  <a:lnTo>
                    <a:pt x="385678" y="20345"/>
                  </a:lnTo>
                  <a:lnTo>
                    <a:pt x="393400" y="27937"/>
                  </a:lnTo>
                  <a:lnTo>
                    <a:pt x="399784" y="29336"/>
                  </a:lnTo>
                  <a:lnTo>
                    <a:pt x="403912" y="30756"/>
                  </a:lnTo>
                  <a:lnTo>
                    <a:pt x="414279" y="42656"/>
                  </a:lnTo>
                  <a:lnTo>
                    <a:pt x="419301" y="45844"/>
                  </a:lnTo>
                  <a:lnTo>
                    <a:pt x="422093" y="46838"/>
                  </a:lnTo>
                  <a:lnTo>
                    <a:pt x="423723" y="46187"/>
                  </a:lnTo>
                  <a:lnTo>
                    <a:pt x="424736" y="45261"/>
                  </a:lnTo>
                  <a:lnTo>
                    <a:pt x="425926" y="44656"/>
                  </a:lnTo>
                  <a:lnTo>
                    <a:pt x="427249" y="44636"/>
                  </a:lnTo>
                  <a:lnTo>
                    <a:pt x="428541" y="45298"/>
                  </a:lnTo>
                  <a:lnTo>
                    <a:pt x="433279" y="49206"/>
                  </a:lnTo>
                  <a:lnTo>
                    <a:pt x="437734" y="51866"/>
                  </a:lnTo>
                  <a:lnTo>
                    <a:pt x="438893" y="53375"/>
                  </a:lnTo>
                  <a:lnTo>
                    <a:pt x="439812" y="55854"/>
                  </a:lnTo>
                  <a:lnTo>
                    <a:pt x="439253" y="60075"/>
                  </a:lnTo>
                  <a:lnTo>
                    <a:pt x="438681" y="62492"/>
                  </a:lnTo>
                  <a:lnTo>
                    <a:pt x="437983" y="64470"/>
                  </a:lnTo>
                  <a:lnTo>
                    <a:pt x="438055" y="67884"/>
                  </a:lnTo>
                  <a:lnTo>
                    <a:pt x="441713" y="72761"/>
                  </a:lnTo>
                  <a:lnTo>
                    <a:pt x="449322" y="77002"/>
                  </a:lnTo>
                  <a:lnTo>
                    <a:pt x="450701" y="79404"/>
                  </a:lnTo>
                  <a:lnTo>
                    <a:pt x="452049" y="82963"/>
                  </a:lnTo>
                  <a:lnTo>
                    <a:pt x="454286" y="91012"/>
                  </a:lnTo>
                  <a:lnTo>
                    <a:pt x="455106" y="95181"/>
                  </a:lnTo>
                  <a:lnTo>
                    <a:pt x="455283" y="98398"/>
                  </a:lnTo>
                  <a:lnTo>
                    <a:pt x="454275" y="100935"/>
                  </a:lnTo>
                  <a:lnTo>
                    <a:pt x="453037" y="102314"/>
                  </a:lnTo>
                  <a:lnTo>
                    <a:pt x="450339" y="104012"/>
                  </a:lnTo>
                  <a:lnTo>
                    <a:pt x="449267" y="104867"/>
                  </a:lnTo>
                  <a:lnTo>
                    <a:pt x="448534" y="105957"/>
                  </a:lnTo>
                  <a:lnTo>
                    <a:pt x="447968" y="107075"/>
                  </a:lnTo>
                  <a:lnTo>
                    <a:pt x="449152" y="110637"/>
                  </a:lnTo>
                  <a:lnTo>
                    <a:pt x="451391" y="112387"/>
                  </a:lnTo>
                  <a:lnTo>
                    <a:pt x="452239" y="117294"/>
                  </a:lnTo>
                  <a:lnTo>
                    <a:pt x="451592" y="123589"/>
                  </a:lnTo>
                  <a:lnTo>
                    <a:pt x="452158" y="131747"/>
                  </a:lnTo>
                  <a:lnTo>
                    <a:pt x="450609" y="137645"/>
                  </a:lnTo>
                  <a:lnTo>
                    <a:pt x="449843" y="139331"/>
                  </a:lnTo>
                  <a:lnTo>
                    <a:pt x="449054" y="140426"/>
                  </a:lnTo>
                  <a:lnTo>
                    <a:pt x="445162" y="144358"/>
                  </a:lnTo>
                  <a:lnTo>
                    <a:pt x="444432" y="145538"/>
                  </a:lnTo>
                  <a:lnTo>
                    <a:pt x="444040" y="146913"/>
                  </a:lnTo>
                  <a:lnTo>
                    <a:pt x="444107" y="148685"/>
                  </a:lnTo>
                  <a:lnTo>
                    <a:pt x="444453" y="150550"/>
                  </a:lnTo>
                  <a:lnTo>
                    <a:pt x="445034" y="152793"/>
                  </a:lnTo>
                  <a:lnTo>
                    <a:pt x="445707" y="154496"/>
                  </a:lnTo>
                  <a:lnTo>
                    <a:pt x="447095" y="157565"/>
                  </a:lnTo>
                  <a:lnTo>
                    <a:pt x="448123" y="158385"/>
                  </a:lnTo>
                  <a:lnTo>
                    <a:pt x="449421" y="159076"/>
                  </a:lnTo>
                  <a:lnTo>
                    <a:pt x="451455" y="155716"/>
                  </a:lnTo>
                  <a:lnTo>
                    <a:pt x="453214" y="153934"/>
                  </a:lnTo>
                  <a:lnTo>
                    <a:pt x="454793" y="151761"/>
                  </a:lnTo>
                  <a:lnTo>
                    <a:pt x="458758" y="152216"/>
                  </a:lnTo>
                  <a:lnTo>
                    <a:pt x="460353" y="148533"/>
                  </a:lnTo>
                  <a:lnTo>
                    <a:pt x="465047" y="149229"/>
                  </a:lnTo>
                  <a:lnTo>
                    <a:pt x="467502" y="150702"/>
                  </a:lnTo>
                  <a:lnTo>
                    <a:pt x="472439" y="158204"/>
                  </a:lnTo>
                  <a:lnTo>
                    <a:pt x="479017" y="156027"/>
                  </a:lnTo>
                  <a:lnTo>
                    <a:pt x="511476" y="143455"/>
                  </a:lnTo>
                  <a:lnTo>
                    <a:pt x="516630" y="140438"/>
                  </a:lnTo>
                  <a:lnTo>
                    <a:pt x="519852" y="136612"/>
                  </a:lnTo>
                  <a:lnTo>
                    <a:pt x="523506" y="135312"/>
                  </a:lnTo>
                  <a:lnTo>
                    <a:pt x="528153" y="135301"/>
                  </a:lnTo>
                  <a:lnTo>
                    <a:pt x="545192" y="142860"/>
                  </a:lnTo>
                  <a:lnTo>
                    <a:pt x="550514" y="147091"/>
                  </a:lnTo>
                  <a:lnTo>
                    <a:pt x="553306" y="150335"/>
                  </a:lnTo>
                  <a:lnTo>
                    <a:pt x="557564" y="152436"/>
                  </a:lnTo>
                  <a:lnTo>
                    <a:pt x="562702" y="156157"/>
                  </a:lnTo>
                  <a:lnTo>
                    <a:pt x="568991" y="164797"/>
                  </a:lnTo>
                  <a:lnTo>
                    <a:pt x="573400" y="166446"/>
                  </a:lnTo>
                  <a:lnTo>
                    <a:pt x="577502" y="165193"/>
                  </a:lnTo>
                  <a:lnTo>
                    <a:pt x="580915" y="164678"/>
                  </a:lnTo>
                  <a:lnTo>
                    <a:pt x="585650" y="165306"/>
                  </a:lnTo>
                  <a:lnTo>
                    <a:pt x="602327" y="170032"/>
                  </a:lnTo>
                  <a:lnTo>
                    <a:pt x="644085" y="171136"/>
                  </a:lnTo>
                  <a:lnTo>
                    <a:pt x="656771" y="171823"/>
                  </a:lnTo>
                  <a:lnTo>
                    <a:pt x="694692" y="165312"/>
                  </a:lnTo>
                  <a:lnTo>
                    <a:pt x="717741" y="161322"/>
                  </a:lnTo>
                  <a:lnTo>
                    <a:pt x="720436" y="162052"/>
                  </a:lnTo>
                  <a:lnTo>
                    <a:pt x="724116" y="162527"/>
                  </a:lnTo>
                  <a:lnTo>
                    <a:pt x="725765" y="163409"/>
                  </a:lnTo>
                  <a:lnTo>
                    <a:pt x="727893" y="162701"/>
                  </a:lnTo>
                  <a:lnTo>
                    <a:pt x="729190" y="162017"/>
                  </a:lnTo>
                  <a:lnTo>
                    <a:pt x="734939" y="151041"/>
                  </a:lnTo>
                  <a:lnTo>
                    <a:pt x="753497" y="121387"/>
                  </a:lnTo>
                  <a:lnTo>
                    <a:pt x="758322" y="108171"/>
                  </a:lnTo>
                  <a:lnTo>
                    <a:pt x="758593" y="103584"/>
                  </a:lnTo>
                  <a:lnTo>
                    <a:pt x="758542" y="99207"/>
                  </a:lnTo>
                  <a:lnTo>
                    <a:pt x="760426" y="94823"/>
                  </a:lnTo>
                  <a:lnTo>
                    <a:pt x="773424" y="75827"/>
                  </a:lnTo>
                  <a:lnTo>
                    <a:pt x="777630" y="71562"/>
                  </a:lnTo>
                  <a:lnTo>
                    <a:pt x="791514" y="62900"/>
                  </a:lnTo>
                  <a:lnTo>
                    <a:pt x="813340" y="56397"/>
                  </a:lnTo>
                  <a:lnTo>
                    <a:pt x="830490" y="57755"/>
                  </a:lnTo>
                  <a:lnTo>
                    <a:pt x="843460" y="61812"/>
                  </a:lnTo>
                  <a:lnTo>
                    <a:pt x="855916" y="69264"/>
                  </a:lnTo>
                  <a:lnTo>
                    <a:pt x="869480" y="65342"/>
                  </a:lnTo>
                  <a:lnTo>
                    <a:pt x="915074" y="39167"/>
                  </a:lnTo>
                  <a:lnTo>
                    <a:pt x="930199" y="33941"/>
                  </a:lnTo>
                  <a:lnTo>
                    <a:pt x="937608" y="33199"/>
                  </a:lnTo>
                  <a:lnTo>
                    <a:pt x="945448" y="34237"/>
                  </a:lnTo>
                  <a:lnTo>
                    <a:pt x="954625" y="39000"/>
                  </a:lnTo>
                  <a:lnTo>
                    <a:pt x="970254" y="44515"/>
                  </a:lnTo>
                  <a:lnTo>
                    <a:pt x="985631" y="44335"/>
                  </a:lnTo>
                  <a:lnTo>
                    <a:pt x="985700" y="44333"/>
                  </a:lnTo>
                  <a:lnTo>
                    <a:pt x="987213" y="50313"/>
                  </a:lnTo>
                  <a:lnTo>
                    <a:pt x="995550" y="58087"/>
                  </a:lnTo>
                  <a:lnTo>
                    <a:pt x="1019216" y="64553"/>
                  </a:lnTo>
                  <a:lnTo>
                    <a:pt x="1027028" y="69476"/>
                  </a:lnTo>
                  <a:lnTo>
                    <a:pt x="1027031" y="69535"/>
                  </a:lnTo>
                  <a:lnTo>
                    <a:pt x="1035427" y="73713"/>
                  </a:lnTo>
                  <a:lnTo>
                    <a:pt x="1052404" y="77664"/>
                  </a:lnTo>
                  <a:lnTo>
                    <a:pt x="1060686" y="81039"/>
                  </a:lnTo>
                  <a:lnTo>
                    <a:pt x="1066501" y="85067"/>
                  </a:lnTo>
                  <a:lnTo>
                    <a:pt x="1073505" y="91599"/>
                  </a:lnTo>
                  <a:lnTo>
                    <a:pt x="1077666" y="99235"/>
                  </a:lnTo>
                  <a:lnTo>
                    <a:pt x="1075091" y="106561"/>
                  </a:lnTo>
                  <a:lnTo>
                    <a:pt x="1077344" y="121537"/>
                  </a:lnTo>
                  <a:lnTo>
                    <a:pt x="1080968" y="145607"/>
                  </a:lnTo>
                  <a:lnTo>
                    <a:pt x="1081001" y="146138"/>
                  </a:lnTo>
                  <a:lnTo>
                    <a:pt x="1083179" y="156280"/>
                  </a:lnTo>
                  <a:lnTo>
                    <a:pt x="1084417" y="160159"/>
                  </a:lnTo>
                  <a:lnTo>
                    <a:pt x="1091735" y="171391"/>
                  </a:lnTo>
                  <a:lnTo>
                    <a:pt x="1100403" y="180434"/>
                  </a:lnTo>
                  <a:lnTo>
                    <a:pt x="1106303" y="191307"/>
                  </a:lnTo>
                  <a:lnTo>
                    <a:pt x="1105491" y="207991"/>
                  </a:lnTo>
                  <a:lnTo>
                    <a:pt x="1106894" y="209681"/>
                  </a:lnTo>
                  <a:lnTo>
                    <a:pt x="1108470" y="211181"/>
                  </a:lnTo>
                  <a:lnTo>
                    <a:pt x="1103092" y="223645"/>
                  </a:lnTo>
                  <a:lnTo>
                    <a:pt x="1099196" y="239158"/>
                  </a:lnTo>
                  <a:lnTo>
                    <a:pt x="1097268" y="255361"/>
                  </a:lnTo>
                  <a:lnTo>
                    <a:pt x="1097753" y="269814"/>
                  </a:lnTo>
                  <a:lnTo>
                    <a:pt x="1097466" y="277191"/>
                  </a:lnTo>
                  <a:lnTo>
                    <a:pt x="1095332" y="281145"/>
                  </a:lnTo>
                  <a:lnTo>
                    <a:pt x="1092718" y="283956"/>
                  </a:lnTo>
                  <a:lnTo>
                    <a:pt x="1091036" y="288028"/>
                  </a:lnTo>
                  <a:lnTo>
                    <a:pt x="1090752" y="293689"/>
                  </a:lnTo>
                  <a:lnTo>
                    <a:pt x="1091353" y="304669"/>
                  </a:lnTo>
                  <a:lnTo>
                    <a:pt x="1090681" y="311287"/>
                  </a:lnTo>
                  <a:lnTo>
                    <a:pt x="1077147" y="353033"/>
                  </a:lnTo>
                  <a:lnTo>
                    <a:pt x="1061631" y="397417"/>
                  </a:lnTo>
                  <a:lnTo>
                    <a:pt x="1049689" y="412468"/>
                  </a:lnTo>
                  <a:lnTo>
                    <a:pt x="1045092" y="421210"/>
                  </a:lnTo>
                  <a:lnTo>
                    <a:pt x="1045685" y="431836"/>
                  </a:lnTo>
                  <a:lnTo>
                    <a:pt x="1040894" y="447491"/>
                  </a:lnTo>
                  <a:lnTo>
                    <a:pt x="1037856" y="454303"/>
                  </a:lnTo>
                  <a:lnTo>
                    <a:pt x="1034591" y="458553"/>
                  </a:lnTo>
                  <a:lnTo>
                    <a:pt x="1028870" y="460491"/>
                  </a:lnTo>
                  <a:lnTo>
                    <a:pt x="1021025" y="460653"/>
                  </a:lnTo>
                  <a:lnTo>
                    <a:pt x="1007469" y="458424"/>
                  </a:lnTo>
                  <a:lnTo>
                    <a:pt x="993076" y="448713"/>
                  </a:lnTo>
                  <a:lnTo>
                    <a:pt x="987771" y="446145"/>
                  </a:lnTo>
                  <a:lnTo>
                    <a:pt x="975052" y="443316"/>
                  </a:lnTo>
                  <a:lnTo>
                    <a:pt x="973059" y="439137"/>
                  </a:lnTo>
                  <a:lnTo>
                    <a:pt x="973748" y="428853"/>
                  </a:lnTo>
                  <a:lnTo>
                    <a:pt x="979036" y="414133"/>
                  </a:lnTo>
                  <a:lnTo>
                    <a:pt x="980687" y="406428"/>
                  </a:lnTo>
                  <a:lnTo>
                    <a:pt x="978386" y="400075"/>
                  </a:lnTo>
                  <a:lnTo>
                    <a:pt x="974029" y="400236"/>
                  </a:lnTo>
                  <a:lnTo>
                    <a:pt x="954596" y="409652"/>
                  </a:lnTo>
                  <a:lnTo>
                    <a:pt x="950283" y="406609"/>
                  </a:lnTo>
                  <a:lnTo>
                    <a:pt x="951866" y="399533"/>
                  </a:lnTo>
                  <a:lnTo>
                    <a:pt x="955719" y="391085"/>
                  </a:lnTo>
                  <a:lnTo>
                    <a:pt x="958121" y="384050"/>
                  </a:lnTo>
                  <a:lnTo>
                    <a:pt x="958307" y="375424"/>
                  </a:lnTo>
                  <a:lnTo>
                    <a:pt x="956880" y="369910"/>
                  </a:lnTo>
                  <a:lnTo>
                    <a:pt x="953877" y="365547"/>
                  </a:lnTo>
                  <a:lnTo>
                    <a:pt x="949236" y="360510"/>
                  </a:lnTo>
                  <a:lnTo>
                    <a:pt x="944623" y="357274"/>
                  </a:lnTo>
                  <a:lnTo>
                    <a:pt x="934795" y="355364"/>
                  </a:lnTo>
                  <a:lnTo>
                    <a:pt x="930168" y="352482"/>
                  </a:lnTo>
                  <a:lnTo>
                    <a:pt x="926531" y="347991"/>
                  </a:lnTo>
                  <a:lnTo>
                    <a:pt x="925118" y="344633"/>
                  </a:lnTo>
                  <a:lnTo>
                    <a:pt x="924149" y="341238"/>
                  </a:lnTo>
                  <a:lnTo>
                    <a:pt x="921805" y="336511"/>
                  </a:lnTo>
                  <a:lnTo>
                    <a:pt x="919121" y="344579"/>
                  </a:lnTo>
                  <a:lnTo>
                    <a:pt x="915155" y="346927"/>
                  </a:lnTo>
                  <a:lnTo>
                    <a:pt x="902087" y="346901"/>
                  </a:lnTo>
                  <a:lnTo>
                    <a:pt x="892269" y="351916"/>
                  </a:lnTo>
                  <a:lnTo>
                    <a:pt x="888291" y="352041"/>
                  </a:lnTo>
                  <a:lnTo>
                    <a:pt x="884280" y="350125"/>
                  </a:lnTo>
                  <a:lnTo>
                    <a:pt x="881774" y="347137"/>
                  </a:lnTo>
                  <a:lnTo>
                    <a:pt x="879712" y="344065"/>
                  </a:lnTo>
                  <a:lnTo>
                    <a:pt x="876871" y="341730"/>
                  </a:lnTo>
                  <a:lnTo>
                    <a:pt x="863280" y="338055"/>
                  </a:lnTo>
                  <a:lnTo>
                    <a:pt x="851946" y="340472"/>
                  </a:lnTo>
                  <a:lnTo>
                    <a:pt x="843795" y="349718"/>
                  </a:lnTo>
                  <a:lnTo>
                    <a:pt x="839598" y="366425"/>
                  </a:lnTo>
                  <a:lnTo>
                    <a:pt x="835886" y="372446"/>
                  </a:lnTo>
                  <a:lnTo>
                    <a:pt x="840228" y="375005"/>
                  </a:lnTo>
                  <a:lnTo>
                    <a:pt x="852462" y="375965"/>
                  </a:lnTo>
                  <a:lnTo>
                    <a:pt x="859786" y="378511"/>
                  </a:lnTo>
                  <a:lnTo>
                    <a:pt x="859290" y="379693"/>
                  </a:lnTo>
                  <a:lnTo>
                    <a:pt x="856353" y="381978"/>
                  </a:lnTo>
                  <a:lnTo>
                    <a:pt x="856333" y="387988"/>
                  </a:lnTo>
                  <a:lnTo>
                    <a:pt x="865995" y="396626"/>
                  </a:lnTo>
                  <a:lnTo>
                    <a:pt x="879480" y="399849"/>
                  </a:lnTo>
                  <a:lnTo>
                    <a:pt x="889374" y="404914"/>
                  </a:lnTo>
                  <a:lnTo>
                    <a:pt x="887977" y="419256"/>
                  </a:lnTo>
                  <a:lnTo>
                    <a:pt x="877884" y="428824"/>
                  </a:lnTo>
                  <a:lnTo>
                    <a:pt x="849507" y="428069"/>
                  </a:lnTo>
                  <a:lnTo>
                    <a:pt x="836690" y="431456"/>
                  </a:lnTo>
                  <a:lnTo>
                    <a:pt x="832979" y="435523"/>
                  </a:lnTo>
                  <a:lnTo>
                    <a:pt x="826896" y="445840"/>
                  </a:lnTo>
                  <a:lnTo>
                    <a:pt x="822711" y="450199"/>
                  </a:lnTo>
                  <a:lnTo>
                    <a:pt x="767778" y="478899"/>
                  </a:lnTo>
                  <a:lnTo>
                    <a:pt x="760862" y="479710"/>
                  </a:lnTo>
                  <a:lnTo>
                    <a:pt x="747574" y="478636"/>
                  </a:lnTo>
                  <a:lnTo>
                    <a:pt x="740597" y="480511"/>
                  </a:lnTo>
                  <a:lnTo>
                    <a:pt x="736849" y="483472"/>
                  </a:lnTo>
                  <a:lnTo>
                    <a:pt x="731662" y="490820"/>
                  </a:lnTo>
                  <a:lnTo>
                    <a:pt x="728099" y="493772"/>
                  </a:lnTo>
                  <a:lnTo>
                    <a:pt x="723577" y="494666"/>
                  </a:lnTo>
                  <a:lnTo>
                    <a:pt x="720018" y="493770"/>
                  </a:lnTo>
                  <a:lnTo>
                    <a:pt x="716964" y="494031"/>
                  </a:lnTo>
                  <a:lnTo>
                    <a:pt x="713833" y="498291"/>
                  </a:lnTo>
                  <a:lnTo>
                    <a:pt x="712561" y="503912"/>
                  </a:lnTo>
                  <a:lnTo>
                    <a:pt x="713235" y="508734"/>
                  </a:lnTo>
                  <a:lnTo>
                    <a:pt x="714282" y="512709"/>
                  </a:lnTo>
                  <a:lnTo>
                    <a:pt x="714235" y="515730"/>
                  </a:lnTo>
                  <a:lnTo>
                    <a:pt x="711935" y="519389"/>
                  </a:lnTo>
                  <a:lnTo>
                    <a:pt x="709877" y="520223"/>
                  </a:lnTo>
                  <a:lnTo>
                    <a:pt x="707675" y="520387"/>
                  </a:lnTo>
                  <a:lnTo>
                    <a:pt x="697515" y="527426"/>
                  </a:lnTo>
                  <a:lnTo>
                    <a:pt x="691073" y="529055"/>
                  </a:lnTo>
                  <a:lnTo>
                    <a:pt x="674395" y="527951"/>
                  </a:lnTo>
                  <a:lnTo>
                    <a:pt x="666619" y="529101"/>
                  </a:lnTo>
                  <a:lnTo>
                    <a:pt x="653092" y="534824"/>
                  </a:lnTo>
                  <a:lnTo>
                    <a:pt x="646181" y="536522"/>
                  </a:lnTo>
                  <a:lnTo>
                    <a:pt x="613684" y="537762"/>
                  </a:lnTo>
                  <a:lnTo>
                    <a:pt x="597401" y="541562"/>
                  </a:lnTo>
                  <a:lnTo>
                    <a:pt x="582967" y="551163"/>
                  </a:lnTo>
                  <a:lnTo>
                    <a:pt x="587524" y="559760"/>
                  </a:lnTo>
                  <a:lnTo>
                    <a:pt x="586424" y="567525"/>
                  </a:lnTo>
                  <a:lnTo>
                    <a:pt x="581856" y="573989"/>
                  </a:lnTo>
                  <a:lnTo>
                    <a:pt x="576017" y="578817"/>
                  </a:lnTo>
                  <a:lnTo>
                    <a:pt x="578304" y="583308"/>
                  </a:lnTo>
                  <a:lnTo>
                    <a:pt x="578110" y="586778"/>
                  </a:lnTo>
                  <a:lnTo>
                    <a:pt x="576049" y="589556"/>
                  </a:lnTo>
                  <a:lnTo>
                    <a:pt x="572536" y="591741"/>
                  </a:lnTo>
                  <a:lnTo>
                    <a:pt x="566565" y="599886"/>
                  </a:lnTo>
                  <a:lnTo>
                    <a:pt x="560648" y="605749"/>
                  </a:lnTo>
                  <a:lnTo>
                    <a:pt x="553968" y="607707"/>
                  </a:lnTo>
                  <a:lnTo>
                    <a:pt x="545711" y="604048"/>
                  </a:lnTo>
                  <a:lnTo>
                    <a:pt x="543192" y="601134"/>
                  </a:lnTo>
                  <a:lnTo>
                    <a:pt x="537752" y="592744"/>
                  </a:lnTo>
                  <a:lnTo>
                    <a:pt x="535716" y="590607"/>
                  </a:lnTo>
                  <a:lnTo>
                    <a:pt x="531231" y="589159"/>
                  </a:lnTo>
                  <a:lnTo>
                    <a:pt x="530247" y="589908"/>
                  </a:lnTo>
                  <a:lnTo>
                    <a:pt x="530105" y="591984"/>
                  </a:lnTo>
                  <a:lnTo>
                    <a:pt x="528025" y="594433"/>
                  </a:lnTo>
                  <a:lnTo>
                    <a:pt x="514802" y="604656"/>
                  </a:lnTo>
                  <a:lnTo>
                    <a:pt x="512919" y="608368"/>
                  </a:lnTo>
                  <a:lnTo>
                    <a:pt x="509507" y="620095"/>
                  </a:lnTo>
                  <a:lnTo>
                    <a:pt x="502044" y="624291"/>
                  </a:lnTo>
                  <a:lnTo>
                    <a:pt x="495902" y="621835"/>
                  </a:lnTo>
                  <a:lnTo>
                    <a:pt x="489856" y="617925"/>
                  </a:lnTo>
                  <a:lnTo>
                    <a:pt x="482781" y="617544"/>
                  </a:lnTo>
                  <a:lnTo>
                    <a:pt x="471915" y="650401"/>
                  </a:lnTo>
                  <a:lnTo>
                    <a:pt x="467048" y="660078"/>
                  </a:lnTo>
                  <a:lnTo>
                    <a:pt x="458355" y="667114"/>
                  </a:lnTo>
                  <a:lnTo>
                    <a:pt x="439154" y="666693"/>
                  </a:lnTo>
                  <a:lnTo>
                    <a:pt x="429024" y="670606"/>
                  </a:lnTo>
                  <a:lnTo>
                    <a:pt x="428951" y="670670"/>
                  </a:lnTo>
                  <a:lnTo>
                    <a:pt x="428913" y="670671"/>
                  </a:lnTo>
                  <a:lnTo>
                    <a:pt x="425639" y="671703"/>
                  </a:lnTo>
                  <a:lnTo>
                    <a:pt x="422229" y="672091"/>
                  </a:lnTo>
                  <a:lnTo>
                    <a:pt x="418836" y="671916"/>
                  </a:lnTo>
                  <a:lnTo>
                    <a:pt x="415609" y="671083"/>
                  </a:lnTo>
                  <a:lnTo>
                    <a:pt x="412717" y="669057"/>
                  </a:lnTo>
                  <a:lnTo>
                    <a:pt x="409688" y="668513"/>
                  </a:lnTo>
                  <a:lnTo>
                    <a:pt x="406670" y="669359"/>
                  </a:lnTo>
                  <a:lnTo>
                    <a:pt x="403737" y="671561"/>
                  </a:lnTo>
                  <a:lnTo>
                    <a:pt x="402177" y="694949"/>
                  </a:lnTo>
                  <a:lnTo>
                    <a:pt x="400168" y="705459"/>
                  </a:lnTo>
                  <a:lnTo>
                    <a:pt x="395224" y="711751"/>
                  </a:lnTo>
                  <a:lnTo>
                    <a:pt x="387550" y="719876"/>
                  </a:lnTo>
                  <a:lnTo>
                    <a:pt x="387549" y="719876"/>
                  </a:lnTo>
                  <a:lnTo>
                    <a:pt x="384713" y="722876"/>
                  </a:lnTo>
                  <a:lnTo>
                    <a:pt x="372227" y="722590"/>
                  </a:lnTo>
                  <a:lnTo>
                    <a:pt x="337830" y="703115"/>
                  </a:lnTo>
                  <a:lnTo>
                    <a:pt x="334753" y="702298"/>
                  </a:lnTo>
                  <a:lnTo>
                    <a:pt x="331502" y="703082"/>
                  </a:lnTo>
                  <a:lnTo>
                    <a:pt x="326494" y="706643"/>
                  </a:lnTo>
                  <a:lnTo>
                    <a:pt x="324264" y="707603"/>
                  </a:lnTo>
                  <a:lnTo>
                    <a:pt x="317726" y="706894"/>
                  </a:lnTo>
                  <a:lnTo>
                    <a:pt x="311905" y="707431"/>
                  </a:lnTo>
                  <a:lnTo>
                    <a:pt x="306027" y="709774"/>
                  </a:lnTo>
                  <a:lnTo>
                    <a:pt x="301504" y="714557"/>
                  </a:lnTo>
                  <a:lnTo>
                    <a:pt x="293832" y="727332"/>
                  </a:lnTo>
                  <a:lnTo>
                    <a:pt x="289885" y="731386"/>
                  </a:lnTo>
                  <a:lnTo>
                    <a:pt x="285156" y="732061"/>
                  </a:lnTo>
                  <a:lnTo>
                    <a:pt x="265580" y="729102"/>
                  </a:lnTo>
                  <a:lnTo>
                    <a:pt x="238373" y="731937"/>
                  </a:lnTo>
                  <a:lnTo>
                    <a:pt x="223806" y="736696"/>
                  </a:lnTo>
                  <a:lnTo>
                    <a:pt x="213950" y="745664"/>
                  </a:lnTo>
                  <a:lnTo>
                    <a:pt x="211302" y="748101"/>
                  </a:lnTo>
                  <a:lnTo>
                    <a:pt x="210099" y="750974"/>
                  </a:lnTo>
                  <a:lnTo>
                    <a:pt x="209424" y="753889"/>
                  </a:lnTo>
                  <a:lnTo>
                    <a:pt x="208515" y="756487"/>
                  </a:lnTo>
                  <a:lnTo>
                    <a:pt x="208623" y="757667"/>
                  </a:lnTo>
                  <a:lnTo>
                    <a:pt x="209165" y="759572"/>
                  </a:lnTo>
                  <a:lnTo>
                    <a:pt x="209453" y="761812"/>
                  </a:lnTo>
                  <a:lnTo>
                    <a:pt x="208718" y="763932"/>
                  </a:lnTo>
                  <a:lnTo>
                    <a:pt x="207269" y="764769"/>
                  </a:lnTo>
                  <a:lnTo>
                    <a:pt x="203986" y="764741"/>
                  </a:lnTo>
                  <a:lnTo>
                    <a:pt x="202687" y="765544"/>
                  </a:lnTo>
                  <a:lnTo>
                    <a:pt x="198455" y="769564"/>
                  </a:lnTo>
                  <a:lnTo>
                    <a:pt x="187904" y="775879"/>
                  </a:lnTo>
                  <a:lnTo>
                    <a:pt x="184084" y="779883"/>
                  </a:lnTo>
                  <a:lnTo>
                    <a:pt x="173303" y="800832"/>
                  </a:lnTo>
                  <a:lnTo>
                    <a:pt x="169262" y="805313"/>
                  </a:lnTo>
                  <a:lnTo>
                    <a:pt x="165257" y="808285"/>
                  </a:lnTo>
                  <a:lnTo>
                    <a:pt x="162387" y="812824"/>
                  </a:lnTo>
                  <a:lnTo>
                    <a:pt x="161637" y="821920"/>
                  </a:lnTo>
                  <a:lnTo>
                    <a:pt x="154654" y="831380"/>
                  </a:lnTo>
                  <a:lnTo>
                    <a:pt x="152824" y="836808"/>
                  </a:lnTo>
                  <a:lnTo>
                    <a:pt x="151945" y="847000"/>
                  </a:lnTo>
                  <a:lnTo>
                    <a:pt x="153220" y="854063"/>
                  </a:lnTo>
                  <a:lnTo>
                    <a:pt x="155494" y="860124"/>
                  </a:lnTo>
                  <a:lnTo>
                    <a:pt x="155622" y="865206"/>
                  </a:lnTo>
                  <a:lnTo>
                    <a:pt x="150606" y="869058"/>
                  </a:lnTo>
                  <a:lnTo>
                    <a:pt x="144340" y="868417"/>
                  </a:lnTo>
                  <a:lnTo>
                    <a:pt x="140488" y="862719"/>
                  </a:lnTo>
                  <a:lnTo>
                    <a:pt x="135711" y="847081"/>
                  </a:lnTo>
                  <a:lnTo>
                    <a:pt x="135260" y="844135"/>
                  </a:lnTo>
                  <a:lnTo>
                    <a:pt x="134536" y="840815"/>
                  </a:lnTo>
                  <a:lnTo>
                    <a:pt x="132932" y="837129"/>
                  </a:lnTo>
                  <a:lnTo>
                    <a:pt x="131292" y="835011"/>
                  </a:lnTo>
                  <a:lnTo>
                    <a:pt x="124745" y="828696"/>
                  </a:lnTo>
                  <a:lnTo>
                    <a:pt x="123768" y="827389"/>
                  </a:lnTo>
                  <a:lnTo>
                    <a:pt x="123360" y="826129"/>
                  </a:lnTo>
                  <a:lnTo>
                    <a:pt x="123672" y="824969"/>
                  </a:lnTo>
                  <a:lnTo>
                    <a:pt x="124628" y="823850"/>
                  </a:lnTo>
                  <a:lnTo>
                    <a:pt x="125072" y="823427"/>
                  </a:lnTo>
                  <a:lnTo>
                    <a:pt x="125555" y="823090"/>
                  </a:lnTo>
                  <a:lnTo>
                    <a:pt x="126042" y="822899"/>
                  </a:lnTo>
                  <a:lnTo>
                    <a:pt x="126607" y="822798"/>
                  </a:lnTo>
                  <a:lnTo>
                    <a:pt x="128153" y="819537"/>
                  </a:lnTo>
                  <a:lnTo>
                    <a:pt x="128279" y="816904"/>
                  </a:lnTo>
                  <a:lnTo>
                    <a:pt x="127019" y="814864"/>
                  </a:lnTo>
                  <a:lnTo>
                    <a:pt x="124378" y="813479"/>
                  </a:lnTo>
                  <a:lnTo>
                    <a:pt x="113870" y="813469"/>
                  </a:lnTo>
                  <a:lnTo>
                    <a:pt x="108504" y="811940"/>
                  </a:lnTo>
                  <a:lnTo>
                    <a:pt x="104340" y="808432"/>
                  </a:lnTo>
                  <a:lnTo>
                    <a:pt x="102800" y="804005"/>
                  </a:lnTo>
                  <a:lnTo>
                    <a:pt x="102684" y="794192"/>
                  </a:lnTo>
                  <a:lnTo>
                    <a:pt x="100409" y="788954"/>
                  </a:lnTo>
                  <a:lnTo>
                    <a:pt x="93274" y="784125"/>
                  </a:lnTo>
                  <a:lnTo>
                    <a:pt x="75729" y="783229"/>
                  </a:lnTo>
                  <a:lnTo>
                    <a:pt x="75598" y="783009"/>
                  </a:lnTo>
                  <a:lnTo>
                    <a:pt x="72833" y="778356"/>
                  </a:lnTo>
                  <a:lnTo>
                    <a:pt x="62391" y="775557"/>
                  </a:lnTo>
                  <a:lnTo>
                    <a:pt x="57537" y="776240"/>
                  </a:lnTo>
                  <a:lnTo>
                    <a:pt x="55952" y="776215"/>
                  </a:lnTo>
                  <a:lnTo>
                    <a:pt x="54414" y="775821"/>
                  </a:lnTo>
                  <a:lnTo>
                    <a:pt x="53099" y="775228"/>
                  </a:lnTo>
                  <a:lnTo>
                    <a:pt x="37930" y="765489"/>
                  </a:lnTo>
                  <a:lnTo>
                    <a:pt x="34447" y="763996"/>
                  </a:lnTo>
                  <a:lnTo>
                    <a:pt x="33174" y="762664"/>
                  </a:lnTo>
                  <a:lnTo>
                    <a:pt x="31414" y="751467"/>
                  </a:lnTo>
                  <a:lnTo>
                    <a:pt x="31533" y="749040"/>
                  </a:lnTo>
                  <a:lnTo>
                    <a:pt x="31890" y="747200"/>
                  </a:lnTo>
                  <a:lnTo>
                    <a:pt x="32374" y="745979"/>
                  </a:lnTo>
                  <a:lnTo>
                    <a:pt x="31019" y="743390"/>
                  </a:lnTo>
                  <a:lnTo>
                    <a:pt x="23266" y="738496"/>
                  </a:lnTo>
                  <a:lnTo>
                    <a:pt x="19351" y="732250"/>
                  </a:lnTo>
                  <a:lnTo>
                    <a:pt x="18599" y="731395"/>
                  </a:lnTo>
                  <a:lnTo>
                    <a:pt x="17787" y="730378"/>
                  </a:lnTo>
                  <a:lnTo>
                    <a:pt x="17087" y="729268"/>
                  </a:lnTo>
                  <a:lnTo>
                    <a:pt x="15854" y="726987"/>
                  </a:lnTo>
                  <a:lnTo>
                    <a:pt x="12607" y="725693"/>
                  </a:lnTo>
                  <a:lnTo>
                    <a:pt x="3006" y="726892"/>
                  </a:lnTo>
                  <a:lnTo>
                    <a:pt x="32" y="722236"/>
                  </a:lnTo>
                  <a:lnTo>
                    <a:pt x="0" y="720596"/>
                  </a:lnTo>
                  <a:lnTo>
                    <a:pt x="812" y="718836"/>
                  </a:lnTo>
                  <a:lnTo>
                    <a:pt x="3084" y="716559"/>
                  </a:lnTo>
                  <a:lnTo>
                    <a:pt x="4715" y="715300"/>
                  </a:lnTo>
                  <a:lnTo>
                    <a:pt x="6278" y="714367"/>
                  </a:lnTo>
                  <a:lnTo>
                    <a:pt x="12110" y="712314"/>
                  </a:lnTo>
                  <a:lnTo>
                    <a:pt x="13276" y="711285"/>
                  </a:lnTo>
                  <a:lnTo>
                    <a:pt x="13808" y="709648"/>
                  </a:lnTo>
                  <a:lnTo>
                    <a:pt x="13807" y="706824"/>
                  </a:lnTo>
                  <a:lnTo>
                    <a:pt x="14163" y="704910"/>
                  </a:lnTo>
                  <a:lnTo>
                    <a:pt x="17038" y="701925"/>
                  </a:lnTo>
                  <a:lnTo>
                    <a:pt x="17840" y="699664"/>
                  </a:lnTo>
                  <a:lnTo>
                    <a:pt x="17568" y="694644"/>
                  </a:lnTo>
                  <a:lnTo>
                    <a:pt x="16843" y="692293"/>
                  </a:lnTo>
                  <a:lnTo>
                    <a:pt x="15790" y="690497"/>
                  </a:lnTo>
                  <a:lnTo>
                    <a:pt x="11266" y="687233"/>
                  </a:lnTo>
                  <a:lnTo>
                    <a:pt x="10287" y="686190"/>
                  </a:lnTo>
                  <a:lnTo>
                    <a:pt x="9639" y="684872"/>
                  </a:lnTo>
                  <a:lnTo>
                    <a:pt x="9594" y="682628"/>
                  </a:lnTo>
                  <a:lnTo>
                    <a:pt x="10213" y="679733"/>
                  </a:lnTo>
                  <a:lnTo>
                    <a:pt x="12422" y="674588"/>
                  </a:lnTo>
                  <a:lnTo>
                    <a:pt x="16200" y="669028"/>
                  </a:lnTo>
                  <a:lnTo>
                    <a:pt x="24631" y="662277"/>
                  </a:lnTo>
                  <a:lnTo>
                    <a:pt x="29433" y="656470"/>
                  </a:lnTo>
                  <a:lnTo>
                    <a:pt x="30078" y="654936"/>
                  </a:lnTo>
                  <a:lnTo>
                    <a:pt x="30948" y="653425"/>
                  </a:lnTo>
                  <a:lnTo>
                    <a:pt x="31269" y="652589"/>
                  </a:lnTo>
                  <a:lnTo>
                    <a:pt x="32088" y="651389"/>
                  </a:lnTo>
                  <a:lnTo>
                    <a:pt x="33706" y="650618"/>
                  </a:lnTo>
                  <a:lnTo>
                    <a:pt x="36288" y="650105"/>
                  </a:lnTo>
                  <a:lnTo>
                    <a:pt x="39686" y="650918"/>
                  </a:lnTo>
                  <a:lnTo>
                    <a:pt x="41504" y="651635"/>
                  </a:lnTo>
                  <a:lnTo>
                    <a:pt x="42422" y="652383"/>
                  </a:lnTo>
                  <a:lnTo>
                    <a:pt x="44947" y="656261"/>
                  </a:lnTo>
                  <a:lnTo>
                    <a:pt x="45451" y="656959"/>
                  </a:lnTo>
                  <a:lnTo>
                    <a:pt x="46275" y="657738"/>
                  </a:lnTo>
                  <a:lnTo>
                    <a:pt x="47421" y="658586"/>
                  </a:lnTo>
                  <a:lnTo>
                    <a:pt x="48786" y="659163"/>
                  </a:lnTo>
                  <a:lnTo>
                    <a:pt x="50314" y="659425"/>
                  </a:lnTo>
                  <a:lnTo>
                    <a:pt x="52119" y="659459"/>
                  </a:lnTo>
                  <a:lnTo>
                    <a:pt x="53749" y="659247"/>
                  </a:lnTo>
                  <a:lnTo>
                    <a:pt x="57393" y="655752"/>
                  </a:lnTo>
                  <a:lnTo>
                    <a:pt x="65222" y="642010"/>
                  </a:lnTo>
                  <a:lnTo>
                    <a:pt x="70939" y="640714"/>
                  </a:lnTo>
                  <a:lnTo>
                    <a:pt x="73776" y="641610"/>
                  </a:lnTo>
                  <a:lnTo>
                    <a:pt x="74754" y="642505"/>
                  </a:lnTo>
                  <a:lnTo>
                    <a:pt x="75843" y="643309"/>
                  </a:lnTo>
                  <a:lnTo>
                    <a:pt x="77266" y="643986"/>
                  </a:lnTo>
                  <a:lnTo>
                    <a:pt x="78791" y="644159"/>
                  </a:lnTo>
                  <a:lnTo>
                    <a:pt x="80699" y="643790"/>
                  </a:lnTo>
                  <a:lnTo>
                    <a:pt x="84933" y="641711"/>
                  </a:lnTo>
                  <a:lnTo>
                    <a:pt x="88534" y="640742"/>
                  </a:lnTo>
                  <a:lnTo>
                    <a:pt x="89971" y="639526"/>
                  </a:lnTo>
                  <a:lnTo>
                    <a:pt x="91330" y="637425"/>
                  </a:lnTo>
                  <a:lnTo>
                    <a:pt x="92841" y="632127"/>
                  </a:lnTo>
                  <a:lnTo>
                    <a:pt x="93658" y="628531"/>
                  </a:lnTo>
                  <a:lnTo>
                    <a:pt x="92829" y="617080"/>
                  </a:lnTo>
                  <a:lnTo>
                    <a:pt x="99218" y="608771"/>
                  </a:lnTo>
                  <a:lnTo>
                    <a:pt x="101224" y="605546"/>
                  </a:lnTo>
                  <a:lnTo>
                    <a:pt x="102761" y="603899"/>
                  </a:lnTo>
                  <a:lnTo>
                    <a:pt x="104451" y="603206"/>
                  </a:lnTo>
                  <a:lnTo>
                    <a:pt x="110743" y="602850"/>
                  </a:lnTo>
                  <a:lnTo>
                    <a:pt x="117692" y="604070"/>
                  </a:lnTo>
                  <a:lnTo>
                    <a:pt x="126695" y="603348"/>
                  </a:lnTo>
                  <a:lnTo>
                    <a:pt x="128861" y="602230"/>
                  </a:lnTo>
                  <a:lnTo>
                    <a:pt x="139888" y="593234"/>
                  </a:lnTo>
                  <a:lnTo>
                    <a:pt x="142570" y="590314"/>
                  </a:lnTo>
                  <a:lnTo>
                    <a:pt x="143948" y="588476"/>
                  </a:lnTo>
                  <a:lnTo>
                    <a:pt x="150982" y="575449"/>
                  </a:lnTo>
                  <a:lnTo>
                    <a:pt x="147517" y="574001"/>
                  </a:lnTo>
                  <a:lnTo>
                    <a:pt x="142681" y="574657"/>
                  </a:lnTo>
                  <a:lnTo>
                    <a:pt x="139306" y="574506"/>
                  </a:lnTo>
                  <a:lnTo>
                    <a:pt x="137778" y="574071"/>
                  </a:lnTo>
                  <a:lnTo>
                    <a:pt x="136468" y="573395"/>
                  </a:lnTo>
                  <a:lnTo>
                    <a:pt x="135324" y="572594"/>
                  </a:lnTo>
                  <a:lnTo>
                    <a:pt x="134157" y="570879"/>
                  </a:lnTo>
                  <a:lnTo>
                    <a:pt x="132751" y="568549"/>
                  </a:lnTo>
                  <a:lnTo>
                    <a:pt x="130889" y="563689"/>
                  </a:lnTo>
                  <a:lnTo>
                    <a:pt x="130193" y="560542"/>
                  </a:lnTo>
                  <a:lnTo>
                    <a:pt x="130770" y="556595"/>
                  </a:lnTo>
                  <a:lnTo>
                    <a:pt x="131561" y="554537"/>
                  </a:lnTo>
                  <a:lnTo>
                    <a:pt x="131849" y="552548"/>
                  </a:lnTo>
                  <a:lnTo>
                    <a:pt x="131184" y="550644"/>
                  </a:lnTo>
                  <a:lnTo>
                    <a:pt x="128940" y="548452"/>
                  </a:lnTo>
                  <a:lnTo>
                    <a:pt x="127187" y="547948"/>
                  </a:lnTo>
                  <a:lnTo>
                    <a:pt x="125729" y="548029"/>
                  </a:lnTo>
                  <a:lnTo>
                    <a:pt x="123780" y="548697"/>
                  </a:lnTo>
                  <a:lnTo>
                    <a:pt x="122473" y="548819"/>
                  </a:lnTo>
                  <a:lnTo>
                    <a:pt x="121122" y="548645"/>
                  </a:lnTo>
                  <a:lnTo>
                    <a:pt x="120679" y="546615"/>
                  </a:lnTo>
                  <a:lnTo>
                    <a:pt x="121109" y="543530"/>
                  </a:lnTo>
                  <a:lnTo>
                    <a:pt x="123716" y="536903"/>
                  </a:lnTo>
                  <a:lnTo>
                    <a:pt x="125793" y="534665"/>
                  </a:lnTo>
                  <a:lnTo>
                    <a:pt x="127451" y="533603"/>
                  </a:lnTo>
                  <a:lnTo>
                    <a:pt x="129642" y="533712"/>
                  </a:lnTo>
                  <a:lnTo>
                    <a:pt x="130812" y="533386"/>
                  </a:lnTo>
                  <a:lnTo>
                    <a:pt x="131642" y="532923"/>
                  </a:lnTo>
                  <a:lnTo>
                    <a:pt x="132192" y="532494"/>
                  </a:lnTo>
                  <a:lnTo>
                    <a:pt x="134469" y="529275"/>
                  </a:lnTo>
                  <a:lnTo>
                    <a:pt x="137195" y="526104"/>
                  </a:lnTo>
                  <a:lnTo>
                    <a:pt x="137833" y="524697"/>
                  </a:lnTo>
                  <a:lnTo>
                    <a:pt x="137627" y="523225"/>
                  </a:lnTo>
                  <a:lnTo>
                    <a:pt x="136458" y="521301"/>
                  </a:lnTo>
                  <a:lnTo>
                    <a:pt x="130455" y="518998"/>
                  </a:lnTo>
                  <a:lnTo>
                    <a:pt x="125904" y="514116"/>
                  </a:lnTo>
                  <a:lnTo>
                    <a:pt x="126209" y="508283"/>
                  </a:lnTo>
                  <a:lnTo>
                    <a:pt x="152300" y="499701"/>
                  </a:lnTo>
                  <a:lnTo>
                    <a:pt x="155277" y="497793"/>
                  </a:lnTo>
                  <a:lnTo>
                    <a:pt x="164108" y="489728"/>
                  </a:lnTo>
                  <a:lnTo>
                    <a:pt x="166362" y="488102"/>
                  </a:lnTo>
                  <a:lnTo>
                    <a:pt x="168807" y="487329"/>
                  </a:lnTo>
                  <a:lnTo>
                    <a:pt x="179308" y="486161"/>
                  </a:lnTo>
                  <a:lnTo>
                    <a:pt x="181904" y="486891"/>
                  </a:lnTo>
                  <a:lnTo>
                    <a:pt x="183268" y="487623"/>
                  </a:lnTo>
                  <a:lnTo>
                    <a:pt x="183416" y="488950"/>
                  </a:lnTo>
                  <a:lnTo>
                    <a:pt x="184499" y="488949"/>
                  </a:lnTo>
                  <a:lnTo>
                    <a:pt x="185832" y="488529"/>
                  </a:lnTo>
                  <a:lnTo>
                    <a:pt x="191952" y="478694"/>
                  </a:lnTo>
                  <a:lnTo>
                    <a:pt x="199209" y="469687"/>
                  </a:lnTo>
                  <a:lnTo>
                    <a:pt x="212669" y="461847"/>
                  </a:lnTo>
                  <a:lnTo>
                    <a:pt x="213650" y="460887"/>
                  </a:lnTo>
                  <a:lnTo>
                    <a:pt x="214407" y="459949"/>
                  </a:lnTo>
                  <a:lnTo>
                    <a:pt x="215052" y="455009"/>
                  </a:lnTo>
                  <a:lnTo>
                    <a:pt x="220488" y="457293"/>
                  </a:lnTo>
                  <a:lnTo>
                    <a:pt x="222233" y="457631"/>
                  </a:lnTo>
                  <a:lnTo>
                    <a:pt x="230052" y="456431"/>
                  </a:lnTo>
                  <a:lnTo>
                    <a:pt x="241748" y="457719"/>
                  </a:lnTo>
                  <a:lnTo>
                    <a:pt x="243306" y="457408"/>
                  </a:lnTo>
                  <a:lnTo>
                    <a:pt x="246071" y="456247"/>
                  </a:lnTo>
                  <a:lnTo>
                    <a:pt x="247472" y="456338"/>
                  </a:lnTo>
                  <a:lnTo>
                    <a:pt x="249002" y="456974"/>
                  </a:lnTo>
                  <a:lnTo>
                    <a:pt x="250646" y="459602"/>
                  </a:lnTo>
                  <a:lnTo>
                    <a:pt x="251511" y="460463"/>
                  </a:lnTo>
                  <a:lnTo>
                    <a:pt x="252406" y="460452"/>
                  </a:lnTo>
                  <a:lnTo>
                    <a:pt x="255170" y="457384"/>
                  </a:lnTo>
                  <a:lnTo>
                    <a:pt x="258313" y="451998"/>
                  </a:lnTo>
                  <a:lnTo>
                    <a:pt x="259118" y="450880"/>
                  </a:lnTo>
                  <a:lnTo>
                    <a:pt x="261193" y="449161"/>
                  </a:lnTo>
                  <a:lnTo>
                    <a:pt x="265018" y="447331"/>
                  </a:lnTo>
                  <a:lnTo>
                    <a:pt x="265111" y="444845"/>
                  </a:lnTo>
                  <a:lnTo>
                    <a:pt x="265000" y="443014"/>
                  </a:lnTo>
                  <a:lnTo>
                    <a:pt x="256894" y="426819"/>
                  </a:lnTo>
                  <a:lnTo>
                    <a:pt x="247893" y="413467"/>
                  </a:lnTo>
                  <a:lnTo>
                    <a:pt x="237481" y="407666"/>
                  </a:lnTo>
                  <a:lnTo>
                    <a:pt x="232403" y="405921"/>
                  </a:lnTo>
                  <a:lnTo>
                    <a:pt x="227246" y="403319"/>
                  </a:lnTo>
                  <a:lnTo>
                    <a:pt x="222310" y="398641"/>
                  </a:lnTo>
                  <a:lnTo>
                    <a:pt x="218305" y="389974"/>
                  </a:lnTo>
                  <a:lnTo>
                    <a:pt x="207961" y="373352"/>
                  </a:lnTo>
                  <a:lnTo>
                    <a:pt x="206784" y="371167"/>
                  </a:lnTo>
                  <a:lnTo>
                    <a:pt x="203522" y="354168"/>
                  </a:lnTo>
                  <a:lnTo>
                    <a:pt x="147498" y="338787"/>
                  </a:lnTo>
                  <a:lnTo>
                    <a:pt x="124434" y="341705"/>
                  </a:lnTo>
                  <a:lnTo>
                    <a:pt x="109311" y="339091"/>
                  </a:lnTo>
                  <a:lnTo>
                    <a:pt x="107720" y="337798"/>
                  </a:lnTo>
                  <a:lnTo>
                    <a:pt x="106445" y="335760"/>
                  </a:lnTo>
                  <a:lnTo>
                    <a:pt x="105330" y="331086"/>
                  </a:lnTo>
                  <a:lnTo>
                    <a:pt x="105439" y="328690"/>
                  </a:lnTo>
                  <a:lnTo>
                    <a:pt x="104880" y="326279"/>
                  </a:lnTo>
                  <a:lnTo>
                    <a:pt x="103329" y="324291"/>
                  </a:lnTo>
                  <a:lnTo>
                    <a:pt x="96722" y="318816"/>
                  </a:lnTo>
                  <a:lnTo>
                    <a:pt x="93168" y="312103"/>
                  </a:lnTo>
                  <a:lnTo>
                    <a:pt x="94467" y="296490"/>
                  </a:lnTo>
                  <a:lnTo>
                    <a:pt x="86695" y="294710"/>
                  </a:lnTo>
                  <a:lnTo>
                    <a:pt x="83327" y="293355"/>
                  </a:lnTo>
                  <a:lnTo>
                    <a:pt x="83058" y="288998"/>
                  </a:lnTo>
                  <a:lnTo>
                    <a:pt x="85160" y="286156"/>
                  </a:lnTo>
                  <a:lnTo>
                    <a:pt x="86660" y="283727"/>
                  </a:lnTo>
                  <a:lnTo>
                    <a:pt x="87238" y="282310"/>
                  </a:lnTo>
                  <a:lnTo>
                    <a:pt x="87702" y="280776"/>
                  </a:lnTo>
                  <a:lnTo>
                    <a:pt x="88056" y="279290"/>
                  </a:lnTo>
                  <a:lnTo>
                    <a:pt x="88237" y="277540"/>
                  </a:lnTo>
                  <a:lnTo>
                    <a:pt x="86625" y="260949"/>
                  </a:lnTo>
                  <a:lnTo>
                    <a:pt x="85157" y="255205"/>
                  </a:lnTo>
                  <a:lnTo>
                    <a:pt x="78060" y="246028"/>
                  </a:lnTo>
                  <a:lnTo>
                    <a:pt x="77287" y="234250"/>
                  </a:lnTo>
                  <a:lnTo>
                    <a:pt x="75968" y="229995"/>
                  </a:lnTo>
                  <a:lnTo>
                    <a:pt x="75273" y="228738"/>
                  </a:lnTo>
                  <a:lnTo>
                    <a:pt x="74803" y="227597"/>
                  </a:lnTo>
                  <a:lnTo>
                    <a:pt x="74561" y="226717"/>
                  </a:lnTo>
                  <a:lnTo>
                    <a:pt x="74347" y="225480"/>
                  </a:lnTo>
                  <a:lnTo>
                    <a:pt x="74200" y="223917"/>
                  </a:lnTo>
                  <a:lnTo>
                    <a:pt x="74579" y="221099"/>
                  </a:lnTo>
                  <a:lnTo>
                    <a:pt x="75681" y="217584"/>
                  </a:lnTo>
                  <a:lnTo>
                    <a:pt x="78806" y="211303"/>
                  </a:lnTo>
                  <a:lnTo>
                    <a:pt x="81021" y="208857"/>
                  </a:lnTo>
                  <a:lnTo>
                    <a:pt x="83043" y="207599"/>
                  </a:lnTo>
                  <a:lnTo>
                    <a:pt x="88242" y="207180"/>
                  </a:lnTo>
                  <a:lnTo>
                    <a:pt x="89505" y="206677"/>
                  </a:lnTo>
                  <a:lnTo>
                    <a:pt x="90649" y="205822"/>
                  </a:lnTo>
                  <a:lnTo>
                    <a:pt x="91396" y="204622"/>
                  </a:lnTo>
                  <a:lnTo>
                    <a:pt x="91914" y="203102"/>
                  </a:lnTo>
                  <a:lnTo>
                    <a:pt x="92363" y="200994"/>
                  </a:lnTo>
                  <a:lnTo>
                    <a:pt x="92787" y="197878"/>
                  </a:lnTo>
                  <a:lnTo>
                    <a:pt x="92802" y="193873"/>
                  </a:lnTo>
                  <a:lnTo>
                    <a:pt x="92143" y="189424"/>
                  </a:lnTo>
                  <a:lnTo>
                    <a:pt x="89672" y="183348"/>
                  </a:lnTo>
                  <a:lnTo>
                    <a:pt x="88107" y="180400"/>
                  </a:lnTo>
                  <a:lnTo>
                    <a:pt x="87042" y="177468"/>
                  </a:lnTo>
                  <a:lnTo>
                    <a:pt x="86559" y="175795"/>
                  </a:lnTo>
                  <a:lnTo>
                    <a:pt x="86673" y="166539"/>
                  </a:lnTo>
                  <a:lnTo>
                    <a:pt x="85149" y="153553"/>
                  </a:lnTo>
                  <a:lnTo>
                    <a:pt x="83284" y="149487"/>
                  </a:lnTo>
                  <a:lnTo>
                    <a:pt x="82428" y="148369"/>
                  </a:lnTo>
                  <a:lnTo>
                    <a:pt x="81845" y="147112"/>
                  </a:lnTo>
                  <a:lnTo>
                    <a:pt x="81586" y="145492"/>
                  </a:lnTo>
                  <a:lnTo>
                    <a:pt x="81428" y="138770"/>
                  </a:lnTo>
                  <a:lnTo>
                    <a:pt x="80948" y="137141"/>
                  </a:lnTo>
                  <a:lnTo>
                    <a:pt x="80687" y="135462"/>
                  </a:lnTo>
                  <a:lnTo>
                    <a:pt x="80925" y="133800"/>
                  </a:lnTo>
                  <a:lnTo>
                    <a:pt x="82593" y="131899"/>
                  </a:lnTo>
                  <a:lnTo>
                    <a:pt x="86558" y="128967"/>
                  </a:lnTo>
                  <a:lnTo>
                    <a:pt x="87417" y="127912"/>
                  </a:lnTo>
                  <a:lnTo>
                    <a:pt x="89425" y="124052"/>
                  </a:lnTo>
                  <a:lnTo>
                    <a:pt x="90284" y="122995"/>
                  </a:lnTo>
                  <a:lnTo>
                    <a:pt x="91423" y="122112"/>
                  </a:lnTo>
                  <a:lnTo>
                    <a:pt x="92640" y="121433"/>
                  </a:lnTo>
                  <a:lnTo>
                    <a:pt x="94134" y="114612"/>
                  </a:lnTo>
                  <a:lnTo>
                    <a:pt x="93493" y="87888"/>
                  </a:lnTo>
                  <a:lnTo>
                    <a:pt x="102840" y="79782"/>
                  </a:lnTo>
                  <a:lnTo>
                    <a:pt x="103750" y="78651"/>
                  </a:lnTo>
                  <a:lnTo>
                    <a:pt x="104273" y="77458"/>
                  </a:lnTo>
                  <a:lnTo>
                    <a:pt x="104786" y="75907"/>
                  </a:lnTo>
                  <a:lnTo>
                    <a:pt x="105375" y="72935"/>
                  </a:lnTo>
                  <a:lnTo>
                    <a:pt x="105702" y="70533"/>
                  </a:lnTo>
                  <a:lnTo>
                    <a:pt x="106223" y="69279"/>
                  </a:lnTo>
                  <a:lnTo>
                    <a:pt x="107250" y="68442"/>
                  </a:lnTo>
                  <a:lnTo>
                    <a:pt x="109805" y="69221"/>
                  </a:lnTo>
                  <a:lnTo>
                    <a:pt x="113290" y="71145"/>
                  </a:lnTo>
                  <a:lnTo>
                    <a:pt x="118744" y="73197"/>
                  </a:lnTo>
                  <a:lnTo>
                    <a:pt x="129576" y="74138"/>
                  </a:lnTo>
                  <a:lnTo>
                    <a:pt x="132482" y="73473"/>
                  </a:lnTo>
                  <a:lnTo>
                    <a:pt x="150178" y="64147"/>
                  </a:lnTo>
                  <a:lnTo>
                    <a:pt x="176474" y="60755"/>
                  </a:lnTo>
                  <a:lnTo>
                    <a:pt x="177938" y="59858"/>
                  </a:lnTo>
                  <a:lnTo>
                    <a:pt x="178969" y="57243"/>
                  </a:lnTo>
                  <a:lnTo>
                    <a:pt x="179462" y="55115"/>
                  </a:lnTo>
                  <a:lnTo>
                    <a:pt x="180591" y="44056"/>
                  </a:lnTo>
                  <a:lnTo>
                    <a:pt x="183748" y="42640"/>
                  </a:lnTo>
                  <a:lnTo>
                    <a:pt x="186160" y="42249"/>
                  </a:lnTo>
                  <a:lnTo>
                    <a:pt x="212164" y="42997"/>
                  </a:lnTo>
                  <a:lnTo>
                    <a:pt x="216772" y="46176"/>
                  </a:lnTo>
                  <a:lnTo>
                    <a:pt x="250796" y="39175"/>
                  </a:lnTo>
                  <a:lnTo>
                    <a:pt x="252427" y="39689"/>
                  </a:lnTo>
                  <a:lnTo>
                    <a:pt x="253397" y="40812"/>
                  </a:lnTo>
                  <a:lnTo>
                    <a:pt x="254098" y="42107"/>
                  </a:lnTo>
                  <a:lnTo>
                    <a:pt x="255706" y="42458"/>
                  </a:lnTo>
                  <a:lnTo>
                    <a:pt x="258221" y="41819"/>
                  </a:lnTo>
                  <a:lnTo>
                    <a:pt x="262850" y="38279"/>
                  </a:lnTo>
                  <a:lnTo>
                    <a:pt x="265399" y="35185"/>
                  </a:lnTo>
                  <a:lnTo>
                    <a:pt x="267926" y="29579"/>
                  </a:lnTo>
                  <a:lnTo>
                    <a:pt x="271333" y="23412"/>
                  </a:lnTo>
                  <a:lnTo>
                    <a:pt x="276464" y="20237"/>
                  </a:lnTo>
                  <a:lnTo>
                    <a:pt x="289611" y="21659"/>
                  </a:lnTo>
                  <a:lnTo>
                    <a:pt x="300170" y="25893"/>
                  </a:lnTo>
                  <a:lnTo>
                    <a:pt x="306886" y="22438"/>
                  </a:lnTo>
                  <a:lnTo>
                    <a:pt x="324926" y="6326"/>
                  </a:lnTo>
                  <a:lnTo>
                    <a:pt x="327934" y="1347"/>
                  </a:lnTo>
                  <a:lnTo>
                    <a:pt x="338177" y="0"/>
                  </a:lnTo>
                  <a:lnTo>
                    <a:pt x="342343" y="8261"/>
                  </a:lnTo>
                  <a:lnTo>
                    <a:pt x="346957" y="11254"/>
                  </a:lnTo>
                  <a:lnTo>
                    <a:pt x="352377" y="13096"/>
                  </a:lnTo>
                  <a:lnTo>
                    <a:pt x="356690" y="13674"/>
                  </a:lnTo>
                  <a:lnTo>
                    <a:pt x="364728" y="17466"/>
                  </a:lnTo>
                  <a:close/>
                </a:path>
              </a:pathLst>
            </a:custGeom>
            <a:solidFill>
              <a:srgbClr val="BFBFBF"/>
            </a:solidFill>
            <a:ln w="6350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Freeform 34">
              <a:extLst>
                <a:ext uri="{FF2B5EF4-FFF2-40B4-BE49-F238E27FC236}">
                  <a16:creationId xmlns:a16="http://schemas.microsoft.com/office/drawing/2014/main" id="{4330DFF3-DFA6-1C86-D47C-E60C5CCA2D29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4862717" y="2553218"/>
              <a:ext cx="1241368" cy="1254803"/>
            </a:xfrm>
            <a:custGeom>
              <a:avLst/>
              <a:gdLst/>
              <a:ahLst/>
              <a:cxnLst/>
              <a:rect l="l" t="t" r="r" b="b"/>
              <a:pathLst>
                <a:path w="1241368" h="1254803">
                  <a:moveTo>
                    <a:pt x="765692" y="507527"/>
                  </a:moveTo>
                  <a:lnTo>
                    <a:pt x="763871" y="507736"/>
                  </a:lnTo>
                  <a:lnTo>
                    <a:pt x="756082" y="515851"/>
                  </a:lnTo>
                  <a:lnTo>
                    <a:pt x="755226" y="517277"/>
                  </a:lnTo>
                  <a:lnTo>
                    <a:pt x="754489" y="518965"/>
                  </a:lnTo>
                  <a:lnTo>
                    <a:pt x="753963" y="520582"/>
                  </a:lnTo>
                  <a:lnTo>
                    <a:pt x="752474" y="521012"/>
                  </a:lnTo>
                  <a:lnTo>
                    <a:pt x="751507" y="521052"/>
                  </a:lnTo>
                  <a:lnTo>
                    <a:pt x="744640" y="516882"/>
                  </a:lnTo>
                  <a:lnTo>
                    <a:pt x="736855" y="523971"/>
                  </a:lnTo>
                  <a:lnTo>
                    <a:pt x="735114" y="527502"/>
                  </a:lnTo>
                  <a:lnTo>
                    <a:pt x="734743" y="528967"/>
                  </a:lnTo>
                  <a:lnTo>
                    <a:pt x="733984" y="530166"/>
                  </a:lnTo>
                  <a:lnTo>
                    <a:pt x="732079" y="531026"/>
                  </a:lnTo>
                  <a:lnTo>
                    <a:pt x="728649" y="531902"/>
                  </a:lnTo>
                  <a:lnTo>
                    <a:pt x="715546" y="531506"/>
                  </a:lnTo>
                  <a:lnTo>
                    <a:pt x="709780" y="529189"/>
                  </a:lnTo>
                  <a:lnTo>
                    <a:pt x="708617" y="528379"/>
                  </a:lnTo>
                  <a:lnTo>
                    <a:pt x="707714" y="527318"/>
                  </a:lnTo>
                  <a:lnTo>
                    <a:pt x="707179" y="526068"/>
                  </a:lnTo>
                  <a:lnTo>
                    <a:pt x="707186" y="520774"/>
                  </a:lnTo>
                  <a:lnTo>
                    <a:pt x="706750" y="519297"/>
                  </a:lnTo>
                  <a:lnTo>
                    <a:pt x="705635" y="516959"/>
                  </a:lnTo>
                  <a:lnTo>
                    <a:pt x="705807" y="515858"/>
                  </a:lnTo>
                  <a:lnTo>
                    <a:pt x="706309" y="514937"/>
                  </a:lnTo>
                  <a:lnTo>
                    <a:pt x="706599" y="514126"/>
                  </a:lnTo>
                  <a:lnTo>
                    <a:pt x="705723" y="513733"/>
                  </a:lnTo>
                  <a:lnTo>
                    <a:pt x="701850" y="513779"/>
                  </a:lnTo>
                  <a:lnTo>
                    <a:pt x="700745" y="514429"/>
                  </a:lnTo>
                  <a:lnTo>
                    <a:pt x="699610" y="515672"/>
                  </a:lnTo>
                  <a:lnTo>
                    <a:pt x="698875" y="518880"/>
                  </a:lnTo>
                  <a:lnTo>
                    <a:pt x="697846" y="521494"/>
                  </a:lnTo>
                  <a:lnTo>
                    <a:pt x="696501" y="524267"/>
                  </a:lnTo>
                  <a:lnTo>
                    <a:pt x="692820" y="527898"/>
                  </a:lnTo>
                  <a:lnTo>
                    <a:pt x="689808" y="529833"/>
                  </a:lnTo>
                  <a:lnTo>
                    <a:pt x="679757" y="531726"/>
                  </a:lnTo>
                  <a:lnTo>
                    <a:pt x="678817" y="532487"/>
                  </a:lnTo>
                  <a:lnTo>
                    <a:pt x="675896" y="541975"/>
                  </a:lnTo>
                  <a:lnTo>
                    <a:pt x="675527" y="543616"/>
                  </a:lnTo>
                  <a:lnTo>
                    <a:pt x="675323" y="545309"/>
                  </a:lnTo>
                  <a:lnTo>
                    <a:pt x="675387" y="546992"/>
                  </a:lnTo>
                  <a:lnTo>
                    <a:pt x="675818" y="548395"/>
                  </a:lnTo>
                  <a:lnTo>
                    <a:pt x="676404" y="549615"/>
                  </a:lnTo>
                  <a:lnTo>
                    <a:pt x="677550" y="551405"/>
                  </a:lnTo>
                  <a:lnTo>
                    <a:pt x="677961" y="552291"/>
                  </a:lnTo>
                  <a:lnTo>
                    <a:pt x="678274" y="553419"/>
                  </a:lnTo>
                  <a:lnTo>
                    <a:pt x="678318" y="554570"/>
                  </a:lnTo>
                  <a:lnTo>
                    <a:pt x="675104" y="555076"/>
                  </a:lnTo>
                  <a:lnTo>
                    <a:pt x="660037" y="549106"/>
                  </a:lnTo>
                  <a:lnTo>
                    <a:pt x="657409" y="547992"/>
                  </a:lnTo>
                  <a:lnTo>
                    <a:pt x="656510" y="548454"/>
                  </a:lnTo>
                  <a:lnTo>
                    <a:pt x="655685" y="549416"/>
                  </a:lnTo>
                  <a:lnTo>
                    <a:pt x="654609" y="552356"/>
                  </a:lnTo>
                  <a:lnTo>
                    <a:pt x="653941" y="553725"/>
                  </a:lnTo>
                  <a:lnTo>
                    <a:pt x="653528" y="555175"/>
                  </a:lnTo>
                  <a:lnTo>
                    <a:pt x="653374" y="556807"/>
                  </a:lnTo>
                  <a:lnTo>
                    <a:pt x="654361" y="559166"/>
                  </a:lnTo>
                  <a:lnTo>
                    <a:pt x="654814" y="562166"/>
                  </a:lnTo>
                  <a:lnTo>
                    <a:pt x="654795" y="567417"/>
                  </a:lnTo>
                  <a:lnTo>
                    <a:pt x="653545" y="575819"/>
                  </a:lnTo>
                  <a:lnTo>
                    <a:pt x="653308" y="591649"/>
                  </a:lnTo>
                  <a:lnTo>
                    <a:pt x="659142" y="601355"/>
                  </a:lnTo>
                  <a:lnTo>
                    <a:pt x="659148" y="602938"/>
                  </a:lnTo>
                  <a:lnTo>
                    <a:pt x="659323" y="604735"/>
                  </a:lnTo>
                  <a:lnTo>
                    <a:pt x="650279" y="616190"/>
                  </a:lnTo>
                  <a:lnTo>
                    <a:pt x="649234" y="617146"/>
                  </a:lnTo>
                  <a:lnTo>
                    <a:pt x="646854" y="618547"/>
                  </a:lnTo>
                  <a:lnTo>
                    <a:pt x="645866" y="619575"/>
                  </a:lnTo>
                  <a:lnTo>
                    <a:pt x="645156" y="620843"/>
                  </a:lnTo>
                  <a:lnTo>
                    <a:pt x="644673" y="622400"/>
                  </a:lnTo>
                  <a:lnTo>
                    <a:pt x="643992" y="625913"/>
                  </a:lnTo>
                  <a:lnTo>
                    <a:pt x="643642" y="629609"/>
                  </a:lnTo>
                  <a:lnTo>
                    <a:pt x="643709" y="631425"/>
                  </a:lnTo>
                  <a:lnTo>
                    <a:pt x="644311" y="634567"/>
                  </a:lnTo>
                  <a:lnTo>
                    <a:pt x="644796" y="635983"/>
                  </a:lnTo>
                  <a:lnTo>
                    <a:pt x="646701" y="639271"/>
                  </a:lnTo>
                  <a:lnTo>
                    <a:pt x="646669" y="639864"/>
                  </a:lnTo>
                  <a:lnTo>
                    <a:pt x="645203" y="641160"/>
                  </a:lnTo>
                  <a:lnTo>
                    <a:pt x="644322" y="642196"/>
                  </a:lnTo>
                  <a:lnTo>
                    <a:pt x="643554" y="643379"/>
                  </a:lnTo>
                  <a:lnTo>
                    <a:pt x="643007" y="644685"/>
                  </a:lnTo>
                  <a:lnTo>
                    <a:pt x="642895" y="646049"/>
                  </a:lnTo>
                  <a:lnTo>
                    <a:pt x="642982" y="646948"/>
                  </a:lnTo>
                  <a:lnTo>
                    <a:pt x="642581" y="647820"/>
                  </a:lnTo>
                  <a:lnTo>
                    <a:pt x="642224" y="648395"/>
                  </a:lnTo>
                  <a:lnTo>
                    <a:pt x="639077" y="652591"/>
                  </a:lnTo>
                  <a:lnTo>
                    <a:pt x="638578" y="653734"/>
                  </a:lnTo>
                  <a:lnTo>
                    <a:pt x="638448" y="654597"/>
                  </a:lnTo>
                  <a:lnTo>
                    <a:pt x="638523" y="655183"/>
                  </a:lnTo>
                  <a:lnTo>
                    <a:pt x="638642" y="655476"/>
                  </a:lnTo>
                  <a:lnTo>
                    <a:pt x="638867" y="655719"/>
                  </a:lnTo>
                  <a:lnTo>
                    <a:pt x="639650" y="656415"/>
                  </a:lnTo>
                  <a:lnTo>
                    <a:pt x="645764" y="660777"/>
                  </a:lnTo>
                  <a:lnTo>
                    <a:pt x="647913" y="661823"/>
                  </a:lnTo>
                  <a:lnTo>
                    <a:pt x="649229" y="662277"/>
                  </a:lnTo>
                  <a:lnTo>
                    <a:pt x="661447" y="664280"/>
                  </a:lnTo>
                  <a:lnTo>
                    <a:pt x="662415" y="664095"/>
                  </a:lnTo>
                  <a:lnTo>
                    <a:pt x="663798" y="663454"/>
                  </a:lnTo>
                  <a:lnTo>
                    <a:pt x="664860" y="661461"/>
                  </a:lnTo>
                  <a:lnTo>
                    <a:pt x="665841" y="660212"/>
                  </a:lnTo>
                  <a:lnTo>
                    <a:pt x="666890" y="659315"/>
                  </a:lnTo>
                  <a:lnTo>
                    <a:pt x="681079" y="651978"/>
                  </a:lnTo>
                  <a:lnTo>
                    <a:pt x="683023" y="651875"/>
                  </a:lnTo>
                  <a:lnTo>
                    <a:pt x="685535" y="652459"/>
                  </a:lnTo>
                  <a:lnTo>
                    <a:pt x="690127" y="655065"/>
                  </a:lnTo>
                  <a:lnTo>
                    <a:pt x="693231" y="658376"/>
                  </a:lnTo>
                  <a:lnTo>
                    <a:pt x="694644" y="658501"/>
                  </a:lnTo>
                  <a:lnTo>
                    <a:pt x="696734" y="657990"/>
                  </a:lnTo>
                  <a:lnTo>
                    <a:pt x="706173" y="653897"/>
                  </a:lnTo>
                  <a:lnTo>
                    <a:pt x="708017" y="652629"/>
                  </a:lnTo>
                  <a:lnTo>
                    <a:pt x="708433" y="652198"/>
                  </a:lnTo>
                  <a:lnTo>
                    <a:pt x="709075" y="652024"/>
                  </a:lnTo>
                  <a:lnTo>
                    <a:pt x="709694" y="652623"/>
                  </a:lnTo>
                  <a:lnTo>
                    <a:pt x="710913" y="654704"/>
                  </a:lnTo>
                  <a:lnTo>
                    <a:pt x="713039" y="659206"/>
                  </a:lnTo>
                  <a:lnTo>
                    <a:pt x="714597" y="659824"/>
                  </a:lnTo>
                  <a:lnTo>
                    <a:pt x="715836" y="660116"/>
                  </a:lnTo>
                  <a:lnTo>
                    <a:pt x="724053" y="656671"/>
                  </a:lnTo>
                  <a:lnTo>
                    <a:pt x="727208" y="655719"/>
                  </a:lnTo>
                  <a:lnTo>
                    <a:pt x="728486" y="656526"/>
                  </a:lnTo>
                  <a:lnTo>
                    <a:pt x="730414" y="658726"/>
                  </a:lnTo>
                  <a:lnTo>
                    <a:pt x="734365" y="662265"/>
                  </a:lnTo>
                  <a:lnTo>
                    <a:pt x="736592" y="665578"/>
                  </a:lnTo>
                  <a:lnTo>
                    <a:pt x="738138" y="667202"/>
                  </a:lnTo>
                  <a:lnTo>
                    <a:pt x="744642" y="670001"/>
                  </a:lnTo>
                  <a:lnTo>
                    <a:pt x="755675" y="669627"/>
                  </a:lnTo>
                  <a:lnTo>
                    <a:pt x="756159" y="665585"/>
                  </a:lnTo>
                  <a:lnTo>
                    <a:pt x="756098" y="664107"/>
                  </a:lnTo>
                  <a:lnTo>
                    <a:pt x="755811" y="662405"/>
                  </a:lnTo>
                  <a:lnTo>
                    <a:pt x="754933" y="659482"/>
                  </a:lnTo>
                  <a:lnTo>
                    <a:pt x="754652" y="657925"/>
                  </a:lnTo>
                  <a:lnTo>
                    <a:pt x="754549" y="656303"/>
                  </a:lnTo>
                  <a:lnTo>
                    <a:pt x="754805" y="654635"/>
                  </a:lnTo>
                  <a:lnTo>
                    <a:pt x="755512" y="653394"/>
                  </a:lnTo>
                  <a:lnTo>
                    <a:pt x="756500" y="652422"/>
                  </a:lnTo>
                  <a:lnTo>
                    <a:pt x="757714" y="651677"/>
                  </a:lnTo>
                  <a:lnTo>
                    <a:pt x="762978" y="649404"/>
                  </a:lnTo>
                  <a:lnTo>
                    <a:pt x="766145" y="648787"/>
                  </a:lnTo>
                  <a:lnTo>
                    <a:pt x="767894" y="649201"/>
                  </a:lnTo>
                  <a:lnTo>
                    <a:pt x="769676" y="650386"/>
                  </a:lnTo>
                  <a:lnTo>
                    <a:pt x="771660" y="653839"/>
                  </a:lnTo>
                  <a:lnTo>
                    <a:pt x="772618" y="656018"/>
                  </a:lnTo>
                  <a:lnTo>
                    <a:pt x="773991" y="657779"/>
                  </a:lnTo>
                  <a:lnTo>
                    <a:pt x="775728" y="658742"/>
                  </a:lnTo>
                  <a:lnTo>
                    <a:pt x="779420" y="659003"/>
                  </a:lnTo>
                  <a:lnTo>
                    <a:pt x="782280" y="658766"/>
                  </a:lnTo>
                  <a:lnTo>
                    <a:pt x="783291" y="658352"/>
                  </a:lnTo>
                  <a:lnTo>
                    <a:pt x="784345" y="657672"/>
                  </a:lnTo>
                  <a:lnTo>
                    <a:pt x="785275" y="656627"/>
                  </a:lnTo>
                  <a:lnTo>
                    <a:pt x="786091" y="655439"/>
                  </a:lnTo>
                  <a:lnTo>
                    <a:pt x="787899" y="654682"/>
                  </a:lnTo>
                  <a:lnTo>
                    <a:pt x="790816" y="654530"/>
                  </a:lnTo>
                  <a:lnTo>
                    <a:pt x="804193" y="659257"/>
                  </a:lnTo>
                  <a:lnTo>
                    <a:pt x="810954" y="662842"/>
                  </a:lnTo>
                  <a:lnTo>
                    <a:pt x="819857" y="665386"/>
                  </a:lnTo>
                  <a:lnTo>
                    <a:pt x="821648" y="665487"/>
                  </a:lnTo>
                  <a:lnTo>
                    <a:pt x="825626" y="664781"/>
                  </a:lnTo>
                  <a:lnTo>
                    <a:pt x="827743" y="666139"/>
                  </a:lnTo>
                  <a:lnTo>
                    <a:pt x="829622" y="669429"/>
                  </a:lnTo>
                  <a:lnTo>
                    <a:pt x="831358" y="678080"/>
                  </a:lnTo>
                  <a:lnTo>
                    <a:pt x="832179" y="685633"/>
                  </a:lnTo>
                  <a:lnTo>
                    <a:pt x="832247" y="687168"/>
                  </a:lnTo>
                  <a:lnTo>
                    <a:pt x="832603" y="687877"/>
                  </a:lnTo>
                  <a:lnTo>
                    <a:pt x="832966" y="688719"/>
                  </a:lnTo>
                  <a:lnTo>
                    <a:pt x="836277" y="688397"/>
                  </a:lnTo>
                  <a:lnTo>
                    <a:pt x="840382" y="678306"/>
                  </a:lnTo>
                  <a:lnTo>
                    <a:pt x="841779" y="676837"/>
                  </a:lnTo>
                  <a:lnTo>
                    <a:pt x="842518" y="676377"/>
                  </a:lnTo>
                  <a:lnTo>
                    <a:pt x="850347" y="673336"/>
                  </a:lnTo>
                  <a:lnTo>
                    <a:pt x="850982" y="672983"/>
                  </a:lnTo>
                  <a:lnTo>
                    <a:pt x="851661" y="672419"/>
                  </a:lnTo>
                  <a:lnTo>
                    <a:pt x="852123" y="671853"/>
                  </a:lnTo>
                  <a:lnTo>
                    <a:pt x="852794" y="670713"/>
                  </a:lnTo>
                  <a:lnTo>
                    <a:pt x="853383" y="669355"/>
                  </a:lnTo>
                  <a:lnTo>
                    <a:pt x="853754" y="667178"/>
                  </a:lnTo>
                  <a:lnTo>
                    <a:pt x="853695" y="664252"/>
                  </a:lnTo>
                  <a:lnTo>
                    <a:pt x="852639" y="659254"/>
                  </a:lnTo>
                  <a:lnTo>
                    <a:pt x="852487" y="655874"/>
                  </a:lnTo>
                  <a:lnTo>
                    <a:pt x="853737" y="651972"/>
                  </a:lnTo>
                  <a:lnTo>
                    <a:pt x="854948" y="650024"/>
                  </a:lnTo>
                  <a:lnTo>
                    <a:pt x="856181" y="648549"/>
                  </a:lnTo>
                  <a:lnTo>
                    <a:pt x="862315" y="642977"/>
                  </a:lnTo>
                  <a:lnTo>
                    <a:pt x="863045" y="641156"/>
                  </a:lnTo>
                  <a:lnTo>
                    <a:pt x="863592" y="638912"/>
                  </a:lnTo>
                  <a:lnTo>
                    <a:pt x="863261" y="635212"/>
                  </a:lnTo>
                  <a:lnTo>
                    <a:pt x="863340" y="633389"/>
                  </a:lnTo>
                  <a:lnTo>
                    <a:pt x="863690" y="631554"/>
                  </a:lnTo>
                  <a:lnTo>
                    <a:pt x="864771" y="630352"/>
                  </a:lnTo>
                  <a:lnTo>
                    <a:pt x="866951" y="628329"/>
                  </a:lnTo>
                  <a:lnTo>
                    <a:pt x="867384" y="627156"/>
                  </a:lnTo>
                  <a:lnTo>
                    <a:pt x="867295" y="625208"/>
                  </a:lnTo>
                  <a:lnTo>
                    <a:pt x="864222" y="621870"/>
                  </a:lnTo>
                  <a:lnTo>
                    <a:pt x="861920" y="620006"/>
                  </a:lnTo>
                  <a:lnTo>
                    <a:pt x="847751" y="614340"/>
                  </a:lnTo>
                  <a:lnTo>
                    <a:pt x="840847" y="606214"/>
                  </a:lnTo>
                  <a:lnTo>
                    <a:pt x="836209" y="603993"/>
                  </a:lnTo>
                  <a:lnTo>
                    <a:pt x="822993" y="606141"/>
                  </a:lnTo>
                  <a:lnTo>
                    <a:pt x="821877" y="604119"/>
                  </a:lnTo>
                  <a:lnTo>
                    <a:pt x="822284" y="599841"/>
                  </a:lnTo>
                  <a:lnTo>
                    <a:pt x="829577" y="580321"/>
                  </a:lnTo>
                  <a:lnTo>
                    <a:pt x="829060" y="575967"/>
                  </a:lnTo>
                  <a:lnTo>
                    <a:pt x="821687" y="575224"/>
                  </a:lnTo>
                  <a:lnTo>
                    <a:pt x="816413" y="573101"/>
                  </a:lnTo>
                  <a:lnTo>
                    <a:pt x="813319" y="570217"/>
                  </a:lnTo>
                  <a:lnTo>
                    <a:pt x="809029" y="568760"/>
                  </a:lnTo>
                  <a:lnTo>
                    <a:pt x="801188" y="563358"/>
                  </a:lnTo>
                  <a:lnTo>
                    <a:pt x="777209" y="537604"/>
                  </a:lnTo>
                  <a:lnTo>
                    <a:pt x="776171" y="535990"/>
                  </a:lnTo>
                  <a:lnTo>
                    <a:pt x="775990" y="535524"/>
                  </a:lnTo>
                  <a:lnTo>
                    <a:pt x="775587" y="532377"/>
                  </a:lnTo>
                  <a:lnTo>
                    <a:pt x="775469" y="529600"/>
                  </a:lnTo>
                  <a:lnTo>
                    <a:pt x="775884" y="526654"/>
                  </a:lnTo>
                  <a:lnTo>
                    <a:pt x="776254" y="521402"/>
                  </a:lnTo>
                  <a:lnTo>
                    <a:pt x="776144" y="520077"/>
                  </a:lnTo>
                  <a:lnTo>
                    <a:pt x="775704" y="518587"/>
                  </a:lnTo>
                  <a:lnTo>
                    <a:pt x="775124" y="517604"/>
                  </a:lnTo>
                  <a:lnTo>
                    <a:pt x="769303" y="512760"/>
                  </a:lnTo>
                  <a:lnTo>
                    <a:pt x="767783" y="510753"/>
                  </a:lnTo>
                  <a:lnTo>
                    <a:pt x="766760" y="508592"/>
                  </a:lnTo>
                  <a:close/>
                  <a:moveTo>
                    <a:pt x="848664" y="0"/>
                  </a:moveTo>
                  <a:lnTo>
                    <a:pt x="854515" y="622"/>
                  </a:lnTo>
                  <a:lnTo>
                    <a:pt x="863594" y="13561"/>
                  </a:lnTo>
                  <a:lnTo>
                    <a:pt x="879743" y="19038"/>
                  </a:lnTo>
                  <a:lnTo>
                    <a:pt x="880867" y="31454"/>
                  </a:lnTo>
                  <a:lnTo>
                    <a:pt x="891567" y="49001"/>
                  </a:lnTo>
                  <a:lnTo>
                    <a:pt x="893745" y="56674"/>
                  </a:lnTo>
                  <a:lnTo>
                    <a:pt x="899427" y="64419"/>
                  </a:lnTo>
                  <a:lnTo>
                    <a:pt x="923165" y="61491"/>
                  </a:lnTo>
                  <a:lnTo>
                    <a:pt x="943495" y="61986"/>
                  </a:lnTo>
                  <a:lnTo>
                    <a:pt x="950919" y="64577"/>
                  </a:lnTo>
                  <a:lnTo>
                    <a:pt x="959481" y="65930"/>
                  </a:lnTo>
                  <a:lnTo>
                    <a:pt x="965864" y="55810"/>
                  </a:lnTo>
                  <a:lnTo>
                    <a:pt x="974240" y="53603"/>
                  </a:lnTo>
                  <a:lnTo>
                    <a:pt x="986736" y="59202"/>
                  </a:lnTo>
                  <a:lnTo>
                    <a:pt x="1000982" y="57575"/>
                  </a:lnTo>
                  <a:lnTo>
                    <a:pt x="1009016" y="58940"/>
                  </a:lnTo>
                  <a:lnTo>
                    <a:pt x="1010347" y="74014"/>
                  </a:lnTo>
                  <a:lnTo>
                    <a:pt x="1009322" y="84760"/>
                  </a:lnTo>
                  <a:lnTo>
                    <a:pt x="1004679" y="97473"/>
                  </a:lnTo>
                  <a:lnTo>
                    <a:pt x="993505" y="117649"/>
                  </a:lnTo>
                  <a:lnTo>
                    <a:pt x="965828" y="138547"/>
                  </a:lnTo>
                  <a:lnTo>
                    <a:pt x="965620" y="142789"/>
                  </a:lnTo>
                  <a:lnTo>
                    <a:pt x="966078" y="149691"/>
                  </a:lnTo>
                  <a:lnTo>
                    <a:pt x="980486" y="151123"/>
                  </a:lnTo>
                  <a:lnTo>
                    <a:pt x="993596" y="153767"/>
                  </a:lnTo>
                  <a:lnTo>
                    <a:pt x="1016225" y="154779"/>
                  </a:lnTo>
                  <a:lnTo>
                    <a:pt x="1020818" y="150975"/>
                  </a:lnTo>
                  <a:lnTo>
                    <a:pt x="1022518" y="142868"/>
                  </a:lnTo>
                  <a:lnTo>
                    <a:pt x="1031309" y="137949"/>
                  </a:lnTo>
                  <a:lnTo>
                    <a:pt x="1040195" y="125004"/>
                  </a:lnTo>
                  <a:lnTo>
                    <a:pt x="1062466" y="109465"/>
                  </a:lnTo>
                  <a:lnTo>
                    <a:pt x="1062521" y="109425"/>
                  </a:lnTo>
                  <a:lnTo>
                    <a:pt x="1065416" y="120033"/>
                  </a:lnTo>
                  <a:lnTo>
                    <a:pt x="1066211" y="124845"/>
                  </a:lnTo>
                  <a:lnTo>
                    <a:pt x="1066995" y="135192"/>
                  </a:lnTo>
                  <a:lnTo>
                    <a:pt x="1068362" y="140742"/>
                  </a:lnTo>
                  <a:lnTo>
                    <a:pt x="1070645" y="144258"/>
                  </a:lnTo>
                  <a:lnTo>
                    <a:pt x="1076114" y="148415"/>
                  </a:lnTo>
                  <a:lnTo>
                    <a:pt x="1077632" y="151528"/>
                  </a:lnTo>
                  <a:lnTo>
                    <a:pt x="1082310" y="155415"/>
                  </a:lnTo>
                  <a:lnTo>
                    <a:pt x="1074387" y="173521"/>
                  </a:lnTo>
                  <a:lnTo>
                    <a:pt x="1072087" y="177420"/>
                  </a:lnTo>
                  <a:lnTo>
                    <a:pt x="1068589" y="179563"/>
                  </a:lnTo>
                  <a:lnTo>
                    <a:pt x="1065476" y="184839"/>
                  </a:lnTo>
                  <a:lnTo>
                    <a:pt x="1063419" y="191951"/>
                  </a:lnTo>
                  <a:lnTo>
                    <a:pt x="1062881" y="199601"/>
                  </a:lnTo>
                  <a:lnTo>
                    <a:pt x="1064627" y="208815"/>
                  </a:lnTo>
                  <a:lnTo>
                    <a:pt x="1067123" y="216790"/>
                  </a:lnTo>
                  <a:lnTo>
                    <a:pt x="1068285" y="225015"/>
                  </a:lnTo>
                  <a:lnTo>
                    <a:pt x="1059778" y="257902"/>
                  </a:lnTo>
                  <a:lnTo>
                    <a:pt x="1059080" y="262733"/>
                  </a:lnTo>
                  <a:lnTo>
                    <a:pt x="1055030" y="273296"/>
                  </a:lnTo>
                  <a:lnTo>
                    <a:pt x="1045089" y="284939"/>
                  </a:lnTo>
                  <a:lnTo>
                    <a:pt x="1025714" y="302195"/>
                  </a:lnTo>
                  <a:lnTo>
                    <a:pt x="1005365" y="314260"/>
                  </a:lnTo>
                  <a:lnTo>
                    <a:pt x="989371" y="327521"/>
                  </a:lnTo>
                  <a:lnTo>
                    <a:pt x="989554" y="331079"/>
                  </a:lnTo>
                  <a:lnTo>
                    <a:pt x="991912" y="336716"/>
                  </a:lnTo>
                  <a:lnTo>
                    <a:pt x="997156" y="356764"/>
                  </a:lnTo>
                  <a:lnTo>
                    <a:pt x="998307" y="363869"/>
                  </a:lnTo>
                  <a:lnTo>
                    <a:pt x="997440" y="374744"/>
                  </a:lnTo>
                  <a:lnTo>
                    <a:pt x="994234" y="381848"/>
                  </a:lnTo>
                  <a:lnTo>
                    <a:pt x="985484" y="390296"/>
                  </a:lnTo>
                  <a:lnTo>
                    <a:pt x="989852" y="398126"/>
                  </a:lnTo>
                  <a:lnTo>
                    <a:pt x="996085" y="402543"/>
                  </a:lnTo>
                  <a:lnTo>
                    <a:pt x="1003442" y="404447"/>
                  </a:lnTo>
                  <a:lnTo>
                    <a:pt x="1011139" y="404615"/>
                  </a:lnTo>
                  <a:lnTo>
                    <a:pt x="1018219" y="407326"/>
                  </a:lnTo>
                  <a:lnTo>
                    <a:pt x="1030195" y="420112"/>
                  </a:lnTo>
                  <a:lnTo>
                    <a:pt x="1039886" y="424680"/>
                  </a:lnTo>
                  <a:lnTo>
                    <a:pt x="1078061" y="449893"/>
                  </a:lnTo>
                  <a:lnTo>
                    <a:pt x="1083765" y="455904"/>
                  </a:lnTo>
                  <a:lnTo>
                    <a:pt x="1096889" y="478693"/>
                  </a:lnTo>
                  <a:lnTo>
                    <a:pt x="1100695" y="481994"/>
                  </a:lnTo>
                  <a:lnTo>
                    <a:pt x="1107450" y="484715"/>
                  </a:lnTo>
                  <a:lnTo>
                    <a:pt x="1118161" y="497829"/>
                  </a:lnTo>
                  <a:lnTo>
                    <a:pt x="1139357" y="504921"/>
                  </a:lnTo>
                  <a:lnTo>
                    <a:pt x="1160765" y="526470"/>
                  </a:lnTo>
                  <a:lnTo>
                    <a:pt x="1162888" y="528604"/>
                  </a:lnTo>
                  <a:lnTo>
                    <a:pt x="1174194" y="536897"/>
                  </a:lnTo>
                  <a:lnTo>
                    <a:pt x="1165660" y="557949"/>
                  </a:lnTo>
                  <a:lnTo>
                    <a:pt x="1163733" y="571367"/>
                  </a:lnTo>
                  <a:lnTo>
                    <a:pt x="1170538" y="576929"/>
                  </a:lnTo>
                  <a:lnTo>
                    <a:pt x="1172507" y="582929"/>
                  </a:lnTo>
                  <a:lnTo>
                    <a:pt x="1167533" y="596656"/>
                  </a:lnTo>
                  <a:lnTo>
                    <a:pt x="1159892" y="610548"/>
                  </a:lnTo>
                  <a:lnTo>
                    <a:pt x="1142779" y="627517"/>
                  </a:lnTo>
                  <a:lnTo>
                    <a:pt x="1146007" y="650088"/>
                  </a:lnTo>
                  <a:lnTo>
                    <a:pt x="1155709" y="674544"/>
                  </a:lnTo>
                  <a:lnTo>
                    <a:pt x="1163978" y="690745"/>
                  </a:lnTo>
                  <a:lnTo>
                    <a:pt x="1162478" y="701251"/>
                  </a:lnTo>
                  <a:lnTo>
                    <a:pt x="1170817" y="709646"/>
                  </a:lnTo>
                  <a:lnTo>
                    <a:pt x="1183010" y="715077"/>
                  </a:lnTo>
                  <a:lnTo>
                    <a:pt x="1193074" y="716820"/>
                  </a:lnTo>
                  <a:lnTo>
                    <a:pt x="1203111" y="720546"/>
                  </a:lnTo>
                  <a:lnTo>
                    <a:pt x="1209119" y="730264"/>
                  </a:lnTo>
                  <a:lnTo>
                    <a:pt x="1209698" y="741957"/>
                  </a:lnTo>
                  <a:lnTo>
                    <a:pt x="1203397" y="751413"/>
                  </a:lnTo>
                  <a:lnTo>
                    <a:pt x="1203605" y="754955"/>
                  </a:lnTo>
                  <a:lnTo>
                    <a:pt x="1209134" y="762613"/>
                  </a:lnTo>
                  <a:lnTo>
                    <a:pt x="1208274" y="770849"/>
                  </a:lnTo>
                  <a:lnTo>
                    <a:pt x="1205119" y="781457"/>
                  </a:lnTo>
                  <a:lnTo>
                    <a:pt x="1203849" y="796394"/>
                  </a:lnTo>
                  <a:lnTo>
                    <a:pt x="1207842" y="804379"/>
                  </a:lnTo>
                  <a:lnTo>
                    <a:pt x="1231650" y="820188"/>
                  </a:lnTo>
                  <a:lnTo>
                    <a:pt x="1225675" y="828639"/>
                  </a:lnTo>
                  <a:lnTo>
                    <a:pt x="1223277" y="833653"/>
                  </a:lnTo>
                  <a:lnTo>
                    <a:pt x="1222455" y="838838"/>
                  </a:lnTo>
                  <a:lnTo>
                    <a:pt x="1222110" y="844113"/>
                  </a:lnTo>
                  <a:lnTo>
                    <a:pt x="1220941" y="849600"/>
                  </a:lnTo>
                  <a:lnTo>
                    <a:pt x="1214165" y="863870"/>
                  </a:lnTo>
                  <a:lnTo>
                    <a:pt x="1212601" y="869528"/>
                  </a:lnTo>
                  <a:lnTo>
                    <a:pt x="1213404" y="904466"/>
                  </a:lnTo>
                  <a:lnTo>
                    <a:pt x="1211072" y="915810"/>
                  </a:lnTo>
                  <a:lnTo>
                    <a:pt x="1206247" y="926409"/>
                  </a:lnTo>
                  <a:lnTo>
                    <a:pt x="1200271" y="935503"/>
                  </a:lnTo>
                  <a:lnTo>
                    <a:pt x="1181236" y="957332"/>
                  </a:lnTo>
                  <a:lnTo>
                    <a:pt x="1177169" y="967496"/>
                  </a:lnTo>
                  <a:lnTo>
                    <a:pt x="1178915" y="979536"/>
                  </a:lnTo>
                  <a:lnTo>
                    <a:pt x="1185223" y="988106"/>
                  </a:lnTo>
                  <a:lnTo>
                    <a:pt x="1191864" y="992183"/>
                  </a:lnTo>
                  <a:lnTo>
                    <a:pt x="1197133" y="998484"/>
                  </a:lnTo>
                  <a:lnTo>
                    <a:pt x="1199387" y="1013472"/>
                  </a:lnTo>
                  <a:lnTo>
                    <a:pt x="1203877" y="1027782"/>
                  </a:lnTo>
                  <a:lnTo>
                    <a:pt x="1212389" y="1036708"/>
                  </a:lnTo>
                  <a:lnTo>
                    <a:pt x="1230414" y="1050066"/>
                  </a:lnTo>
                  <a:lnTo>
                    <a:pt x="1235567" y="1059669"/>
                  </a:lnTo>
                  <a:lnTo>
                    <a:pt x="1239896" y="1073956"/>
                  </a:lnTo>
                  <a:lnTo>
                    <a:pt x="1241368" y="1088957"/>
                  </a:lnTo>
                  <a:lnTo>
                    <a:pt x="1237863" y="1100637"/>
                  </a:lnTo>
                  <a:lnTo>
                    <a:pt x="1231613" y="1112004"/>
                  </a:lnTo>
                  <a:lnTo>
                    <a:pt x="1229363" y="1123268"/>
                  </a:lnTo>
                  <a:lnTo>
                    <a:pt x="1230386" y="1127313"/>
                  </a:lnTo>
                  <a:lnTo>
                    <a:pt x="1230317" y="1127315"/>
                  </a:lnTo>
                  <a:lnTo>
                    <a:pt x="1214940" y="1127495"/>
                  </a:lnTo>
                  <a:lnTo>
                    <a:pt x="1199311" y="1121980"/>
                  </a:lnTo>
                  <a:lnTo>
                    <a:pt x="1190134" y="1117217"/>
                  </a:lnTo>
                  <a:lnTo>
                    <a:pt x="1182294" y="1116179"/>
                  </a:lnTo>
                  <a:lnTo>
                    <a:pt x="1174885" y="1116921"/>
                  </a:lnTo>
                  <a:lnTo>
                    <a:pt x="1159760" y="1122147"/>
                  </a:lnTo>
                  <a:lnTo>
                    <a:pt x="1114166" y="1148322"/>
                  </a:lnTo>
                  <a:lnTo>
                    <a:pt x="1100602" y="1152244"/>
                  </a:lnTo>
                  <a:lnTo>
                    <a:pt x="1088146" y="1144792"/>
                  </a:lnTo>
                  <a:lnTo>
                    <a:pt x="1075176" y="1140735"/>
                  </a:lnTo>
                  <a:lnTo>
                    <a:pt x="1058026" y="1139377"/>
                  </a:lnTo>
                  <a:lnTo>
                    <a:pt x="1036200" y="1145880"/>
                  </a:lnTo>
                  <a:lnTo>
                    <a:pt x="1022316" y="1154542"/>
                  </a:lnTo>
                  <a:lnTo>
                    <a:pt x="1018110" y="1158807"/>
                  </a:lnTo>
                  <a:lnTo>
                    <a:pt x="1005112" y="1177803"/>
                  </a:lnTo>
                  <a:lnTo>
                    <a:pt x="1003228" y="1182187"/>
                  </a:lnTo>
                  <a:lnTo>
                    <a:pt x="1003279" y="1186564"/>
                  </a:lnTo>
                  <a:lnTo>
                    <a:pt x="1003008" y="1191151"/>
                  </a:lnTo>
                  <a:lnTo>
                    <a:pt x="998183" y="1204367"/>
                  </a:lnTo>
                  <a:lnTo>
                    <a:pt x="979625" y="1234021"/>
                  </a:lnTo>
                  <a:lnTo>
                    <a:pt x="973876" y="1244997"/>
                  </a:lnTo>
                  <a:lnTo>
                    <a:pt x="972579" y="1245681"/>
                  </a:lnTo>
                  <a:lnTo>
                    <a:pt x="970451" y="1246389"/>
                  </a:lnTo>
                  <a:lnTo>
                    <a:pt x="968802" y="1245507"/>
                  </a:lnTo>
                  <a:lnTo>
                    <a:pt x="965122" y="1245032"/>
                  </a:lnTo>
                  <a:lnTo>
                    <a:pt x="962427" y="1244302"/>
                  </a:lnTo>
                  <a:lnTo>
                    <a:pt x="939378" y="1248292"/>
                  </a:lnTo>
                  <a:lnTo>
                    <a:pt x="901457" y="1254803"/>
                  </a:lnTo>
                  <a:lnTo>
                    <a:pt x="888771" y="1254116"/>
                  </a:lnTo>
                  <a:lnTo>
                    <a:pt x="847013" y="1253012"/>
                  </a:lnTo>
                  <a:lnTo>
                    <a:pt x="830336" y="1248286"/>
                  </a:lnTo>
                  <a:lnTo>
                    <a:pt x="825601" y="1247658"/>
                  </a:lnTo>
                  <a:lnTo>
                    <a:pt x="822188" y="1248173"/>
                  </a:lnTo>
                  <a:lnTo>
                    <a:pt x="818086" y="1249426"/>
                  </a:lnTo>
                  <a:lnTo>
                    <a:pt x="813677" y="1247777"/>
                  </a:lnTo>
                  <a:lnTo>
                    <a:pt x="807388" y="1239137"/>
                  </a:lnTo>
                  <a:lnTo>
                    <a:pt x="802250" y="1235416"/>
                  </a:lnTo>
                  <a:lnTo>
                    <a:pt x="797992" y="1233315"/>
                  </a:lnTo>
                  <a:lnTo>
                    <a:pt x="795200" y="1230071"/>
                  </a:lnTo>
                  <a:lnTo>
                    <a:pt x="789878" y="1225840"/>
                  </a:lnTo>
                  <a:lnTo>
                    <a:pt x="772839" y="1218281"/>
                  </a:lnTo>
                  <a:lnTo>
                    <a:pt x="768192" y="1218292"/>
                  </a:lnTo>
                  <a:lnTo>
                    <a:pt x="764538" y="1219592"/>
                  </a:lnTo>
                  <a:lnTo>
                    <a:pt x="761316" y="1223418"/>
                  </a:lnTo>
                  <a:lnTo>
                    <a:pt x="756162" y="1226435"/>
                  </a:lnTo>
                  <a:lnTo>
                    <a:pt x="723703" y="1239007"/>
                  </a:lnTo>
                  <a:lnTo>
                    <a:pt x="717125" y="1241184"/>
                  </a:lnTo>
                  <a:lnTo>
                    <a:pt x="712188" y="1233682"/>
                  </a:lnTo>
                  <a:lnTo>
                    <a:pt x="709733" y="1232209"/>
                  </a:lnTo>
                  <a:lnTo>
                    <a:pt x="705039" y="1231513"/>
                  </a:lnTo>
                  <a:lnTo>
                    <a:pt x="703444" y="1235196"/>
                  </a:lnTo>
                  <a:lnTo>
                    <a:pt x="699479" y="1234741"/>
                  </a:lnTo>
                  <a:lnTo>
                    <a:pt x="697900" y="1236914"/>
                  </a:lnTo>
                  <a:lnTo>
                    <a:pt x="696141" y="1238696"/>
                  </a:lnTo>
                  <a:lnTo>
                    <a:pt x="694107" y="1242056"/>
                  </a:lnTo>
                  <a:lnTo>
                    <a:pt x="692809" y="1241365"/>
                  </a:lnTo>
                  <a:lnTo>
                    <a:pt x="691781" y="1240545"/>
                  </a:lnTo>
                  <a:lnTo>
                    <a:pt x="690393" y="1237476"/>
                  </a:lnTo>
                  <a:lnTo>
                    <a:pt x="689720" y="1235773"/>
                  </a:lnTo>
                  <a:lnTo>
                    <a:pt x="689139" y="1233530"/>
                  </a:lnTo>
                  <a:lnTo>
                    <a:pt x="688793" y="1231665"/>
                  </a:lnTo>
                  <a:lnTo>
                    <a:pt x="688726" y="1229893"/>
                  </a:lnTo>
                  <a:lnTo>
                    <a:pt x="689118" y="1228518"/>
                  </a:lnTo>
                  <a:lnTo>
                    <a:pt x="689848" y="1227338"/>
                  </a:lnTo>
                  <a:lnTo>
                    <a:pt x="693740" y="1223406"/>
                  </a:lnTo>
                  <a:lnTo>
                    <a:pt x="694529" y="1222311"/>
                  </a:lnTo>
                  <a:lnTo>
                    <a:pt x="695295" y="1220625"/>
                  </a:lnTo>
                  <a:lnTo>
                    <a:pt x="696844" y="1214727"/>
                  </a:lnTo>
                  <a:lnTo>
                    <a:pt x="696278" y="1206569"/>
                  </a:lnTo>
                  <a:lnTo>
                    <a:pt x="696925" y="1200274"/>
                  </a:lnTo>
                  <a:lnTo>
                    <a:pt x="696077" y="1195367"/>
                  </a:lnTo>
                  <a:lnTo>
                    <a:pt x="693838" y="1193617"/>
                  </a:lnTo>
                  <a:lnTo>
                    <a:pt x="692654" y="1190055"/>
                  </a:lnTo>
                  <a:lnTo>
                    <a:pt x="693220" y="1188937"/>
                  </a:lnTo>
                  <a:lnTo>
                    <a:pt x="693953" y="1187847"/>
                  </a:lnTo>
                  <a:lnTo>
                    <a:pt x="695025" y="1186992"/>
                  </a:lnTo>
                  <a:lnTo>
                    <a:pt x="697723" y="1185294"/>
                  </a:lnTo>
                  <a:lnTo>
                    <a:pt x="698961" y="1183915"/>
                  </a:lnTo>
                  <a:lnTo>
                    <a:pt x="699969" y="1181378"/>
                  </a:lnTo>
                  <a:lnTo>
                    <a:pt x="699792" y="1178161"/>
                  </a:lnTo>
                  <a:lnTo>
                    <a:pt x="698972" y="1173992"/>
                  </a:lnTo>
                  <a:lnTo>
                    <a:pt x="696735" y="1165943"/>
                  </a:lnTo>
                  <a:lnTo>
                    <a:pt x="695387" y="1162384"/>
                  </a:lnTo>
                  <a:lnTo>
                    <a:pt x="694008" y="1159982"/>
                  </a:lnTo>
                  <a:lnTo>
                    <a:pt x="686399" y="1155741"/>
                  </a:lnTo>
                  <a:lnTo>
                    <a:pt x="682741" y="1150864"/>
                  </a:lnTo>
                  <a:lnTo>
                    <a:pt x="682669" y="1147450"/>
                  </a:lnTo>
                  <a:lnTo>
                    <a:pt x="683367" y="1145472"/>
                  </a:lnTo>
                  <a:lnTo>
                    <a:pt x="683939" y="1143055"/>
                  </a:lnTo>
                  <a:lnTo>
                    <a:pt x="684498" y="1138834"/>
                  </a:lnTo>
                  <a:lnTo>
                    <a:pt x="683579" y="1136355"/>
                  </a:lnTo>
                  <a:lnTo>
                    <a:pt x="682420" y="1134846"/>
                  </a:lnTo>
                  <a:lnTo>
                    <a:pt x="677965" y="1132186"/>
                  </a:lnTo>
                  <a:lnTo>
                    <a:pt x="673227" y="1128278"/>
                  </a:lnTo>
                  <a:lnTo>
                    <a:pt x="671935" y="1127616"/>
                  </a:lnTo>
                  <a:lnTo>
                    <a:pt x="670612" y="1127636"/>
                  </a:lnTo>
                  <a:lnTo>
                    <a:pt x="669422" y="1128241"/>
                  </a:lnTo>
                  <a:lnTo>
                    <a:pt x="668409" y="1129167"/>
                  </a:lnTo>
                  <a:lnTo>
                    <a:pt x="666779" y="1129818"/>
                  </a:lnTo>
                  <a:lnTo>
                    <a:pt x="663987" y="1128824"/>
                  </a:lnTo>
                  <a:lnTo>
                    <a:pt x="658965" y="1125636"/>
                  </a:lnTo>
                  <a:lnTo>
                    <a:pt x="648598" y="1113736"/>
                  </a:lnTo>
                  <a:lnTo>
                    <a:pt x="644470" y="1112316"/>
                  </a:lnTo>
                  <a:lnTo>
                    <a:pt x="651306" y="1098734"/>
                  </a:lnTo>
                  <a:lnTo>
                    <a:pt x="654114" y="1095703"/>
                  </a:lnTo>
                  <a:lnTo>
                    <a:pt x="674748" y="1078150"/>
                  </a:lnTo>
                  <a:lnTo>
                    <a:pt x="684130" y="1064225"/>
                  </a:lnTo>
                  <a:lnTo>
                    <a:pt x="685026" y="1057344"/>
                  </a:lnTo>
                  <a:lnTo>
                    <a:pt x="682257" y="1050926"/>
                  </a:lnTo>
                  <a:lnTo>
                    <a:pt x="678584" y="1045282"/>
                  </a:lnTo>
                  <a:lnTo>
                    <a:pt x="676319" y="1039049"/>
                  </a:lnTo>
                  <a:lnTo>
                    <a:pt x="675557" y="1034805"/>
                  </a:lnTo>
                  <a:lnTo>
                    <a:pt x="674718" y="1019649"/>
                  </a:lnTo>
                  <a:lnTo>
                    <a:pt x="675062" y="1015612"/>
                  </a:lnTo>
                  <a:lnTo>
                    <a:pt x="676887" y="1011582"/>
                  </a:lnTo>
                  <a:lnTo>
                    <a:pt x="686980" y="994019"/>
                  </a:lnTo>
                  <a:lnTo>
                    <a:pt x="698577" y="979874"/>
                  </a:lnTo>
                  <a:lnTo>
                    <a:pt x="701368" y="972623"/>
                  </a:lnTo>
                  <a:lnTo>
                    <a:pt x="694583" y="969982"/>
                  </a:lnTo>
                  <a:lnTo>
                    <a:pt x="682769" y="969571"/>
                  </a:lnTo>
                  <a:lnTo>
                    <a:pt x="680869" y="970026"/>
                  </a:lnTo>
                  <a:lnTo>
                    <a:pt x="678798" y="971789"/>
                  </a:lnTo>
                  <a:lnTo>
                    <a:pt x="676216" y="977475"/>
                  </a:lnTo>
                  <a:lnTo>
                    <a:pt x="674776" y="979984"/>
                  </a:lnTo>
                  <a:lnTo>
                    <a:pt x="672099" y="978752"/>
                  </a:lnTo>
                  <a:lnTo>
                    <a:pt x="670234" y="977223"/>
                  </a:lnTo>
                  <a:lnTo>
                    <a:pt x="666945" y="973263"/>
                  </a:lnTo>
                  <a:lnTo>
                    <a:pt x="664408" y="972824"/>
                  </a:lnTo>
                  <a:lnTo>
                    <a:pt x="641182" y="976477"/>
                  </a:lnTo>
                  <a:lnTo>
                    <a:pt x="634578" y="974141"/>
                  </a:lnTo>
                  <a:lnTo>
                    <a:pt x="614262" y="960882"/>
                  </a:lnTo>
                  <a:lnTo>
                    <a:pt x="611598" y="958299"/>
                  </a:lnTo>
                  <a:lnTo>
                    <a:pt x="609956" y="955147"/>
                  </a:lnTo>
                  <a:lnTo>
                    <a:pt x="607813" y="952309"/>
                  </a:lnTo>
                  <a:lnTo>
                    <a:pt x="603414" y="948586"/>
                  </a:lnTo>
                  <a:lnTo>
                    <a:pt x="599524" y="946870"/>
                  </a:lnTo>
                  <a:lnTo>
                    <a:pt x="592264" y="945804"/>
                  </a:lnTo>
                  <a:lnTo>
                    <a:pt x="576059" y="946142"/>
                  </a:lnTo>
                  <a:lnTo>
                    <a:pt x="573248" y="945540"/>
                  </a:lnTo>
                  <a:lnTo>
                    <a:pt x="571460" y="944416"/>
                  </a:lnTo>
                  <a:lnTo>
                    <a:pt x="568465" y="935526"/>
                  </a:lnTo>
                  <a:lnTo>
                    <a:pt x="566538" y="931850"/>
                  </a:lnTo>
                  <a:lnTo>
                    <a:pt x="561115" y="928272"/>
                  </a:lnTo>
                  <a:lnTo>
                    <a:pt x="547554" y="927146"/>
                  </a:lnTo>
                  <a:lnTo>
                    <a:pt x="543642" y="926238"/>
                  </a:lnTo>
                  <a:lnTo>
                    <a:pt x="511555" y="907705"/>
                  </a:lnTo>
                  <a:lnTo>
                    <a:pt x="497701" y="900087"/>
                  </a:lnTo>
                  <a:lnTo>
                    <a:pt x="495676" y="899971"/>
                  </a:lnTo>
                  <a:lnTo>
                    <a:pt x="493499" y="900214"/>
                  </a:lnTo>
                  <a:lnTo>
                    <a:pt x="493050" y="901603"/>
                  </a:lnTo>
                  <a:lnTo>
                    <a:pt x="492992" y="903274"/>
                  </a:lnTo>
                  <a:lnTo>
                    <a:pt x="492285" y="905175"/>
                  </a:lnTo>
                  <a:lnTo>
                    <a:pt x="490761" y="907157"/>
                  </a:lnTo>
                  <a:lnTo>
                    <a:pt x="486545" y="909265"/>
                  </a:lnTo>
                  <a:lnTo>
                    <a:pt x="482156" y="912293"/>
                  </a:lnTo>
                  <a:lnTo>
                    <a:pt x="477388" y="917313"/>
                  </a:lnTo>
                  <a:lnTo>
                    <a:pt x="461048" y="914186"/>
                  </a:lnTo>
                  <a:lnTo>
                    <a:pt x="454886" y="910830"/>
                  </a:lnTo>
                  <a:lnTo>
                    <a:pt x="438017" y="898373"/>
                  </a:lnTo>
                  <a:lnTo>
                    <a:pt x="430659" y="889090"/>
                  </a:lnTo>
                  <a:lnTo>
                    <a:pt x="428577" y="887491"/>
                  </a:lnTo>
                  <a:lnTo>
                    <a:pt x="426807" y="886654"/>
                  </a:lnTo>
                  <a:lnTo>
                    <a:pt x="425395" y="886928"/>
                  </a:lnTo>
                  <a:lnTo>
                    <a:pt x="424381" y="887725"/>
                  </a:lnTo>
                  <a:lnTo>
                    <a:pt x="423596" y="888960"/>
                  </a:lnTo>
                  <a:lnTo>
                    <a:pt x="422474" y="891799"/>
                  </a:lnTo>
                  <a:lnTo>
                    <a:pt x="421086" y="892931"/>
                  </a:lnTo>
                  <a:lnTo>
                    <a:pt x="418977" y="893668"/>
                  </a:lnTo>
                  <a:lnTo>
                    <a:pt x="414781" y="893931"/>
                  </a:lnTo>
                  <a:lnTo>
                    <a:pt x="412586" y="893517"/>
                  </a:lnTo>
                  <a:lnTo>
                    <a:pt x="410873" y="892766"/>
                  </a:lnTo>
                  <a:lnTo>
                    <a:pt x="406769" y="889034"/>
                  </a:lnTo>
                  <a:lnTo>
                    <a:pt x="395938" y="882005"/>
                  </a:lnTo>
                  <a:lnTo>
                    <a:pt x="392863" y="879232"/>
                  </a:lnTo>
                  <a:lnTo>
                    <a:pt x="390841" y="877009"/>
                  </a:lnTo>
                  <a:lnTo>
                    <a:pt x="390438" y="874139"/>
                  </a:lnTo>
                  <a:lnTo>
                    <a:pt x="390389" y="872291"/>
                  </a:lnTo>
                  <a:lnTo>
                    <a:pt x="390241" y="870846"/>
                  </a:lnTo>
                  <a:lnTo>
                    <a:pt x="389248" y="866970"/>
                  </a:lnTo>
                  <a:lnTo>
                    <a:pt x="366618" y="837813"/>
                  </a:lnTo>
                  <a:lnTo>
                    <a:pt x="359905" y="830842"/>
                  </a:lnTo>
                  <a:lnTo>
                    <a:pt x="352798" y="827517"/>
                  </a:lnTo>
                  <a:lnTo>
                    <a:pt x="351292" y="826106"/>
                  </a:lnTo>
                  <a:lnTo>
                    <a:pt x="349991" y="824128"/>
                  </a:lnTo>
                  <a:lnTo>
                    <a:pt x="347462" y="816579"/>
                  </a:lnTo>
                  <a:lnTo>
                    <a:pt x="337973" y="807602"/>
                  </a:lnTo>
                  <a:lnTo>
                    <a:pt x="336850" y="806152"/>
                  </a:lnTo>
                  <a:lnTo>
                    <a:pt x="333531" y="799448"/>
                  </a:lnTo>
                  <a:lnTo>
                    <a:pt x="330325" y="790523"/>
                  </a:lnTo>
                  <a:lnTo>
                    <a:pt x="330506" y="789041"/>
                  </a:lnTo>
                  <a:lnTo>
                    <a:pt x="331112" y="787135"/>
                  </a:lnTo>
                  <a:lnTo>
                    <a:pt x="333617" y="782845"/>
                  </a:lnTo>
                  <a:lnTo>
                    <a:pt x="337826" y="768347"/>
                  </a:lnTo>
                  <a:lnTo>
                    <a:pt x="345649" y="759670"/>
                  </a:lnTo>
                  <a:lnTo>
                    <a:pt x="346164" y="758505"/>
                  </a:lnTo>
                  <a:lnTo>
                    <a:pt x="346660" y="756660"/>
                  </a:lnTo>
                  <a:lnTo>
                    <a:pt x="345771" y="755824"/>
                  </a:lnTo>
                  <a:lnTo>
                    <a:pt x="343690" y="752921"/>
                  </a:lnTo>
                  <a:lnTo>
                    <a:pt x="342418" y="749759"/>
                  </a:lnTo>
                  <a:lnTo>
                    <a:pt x="341287" y="747954"/>
                  </a:lnTo>
                  <a:lnTo>
                    <a:pt x="339955" y="746745"/>
                  </a:lnTo>
                  <a:lnTo>
                    <a:pt x="336530" y="746503"/>
                  </a:lnTo>
                  <a:lnTo>
                    <a:pt x="334592" y="744924"/>
                  </a:lnTo>
                  <a:lnTo>
                    <a:pt x="332616" y="741793"/>
                  </a:lnTo>
                  <a:lnTo>
                    <a:pt x="331427" y="733058"/>
                  </a:lnTo>
                  <a:lnTo>
                    <a:pt x="331162" y="728850"/>
                  </a:lnTo>
                  <a:lnTo>
                    <a:pt x="331415" y="725874"/>
                  </a:lnTo>
                  <a:lnTo>
                    <a:pt x="331867" y="724386"/>
                  </a:lnTo>
                  <a:lnTo>
                    <a:pt x="334057" y="718611"/>
                  </a:lnTo>
                  <a:lnTo>
                    <a:pt x="334954" y="715396"/>
                  </a:lnTo>
                  <a:lnTo>
                    <a:pt x="335294" y="713793"/>
                  </a:lnTo>
                  <a:lnTo>
                    <a:pt x="336197" y="710858"/>
                  </a:lnTo>
                  <a:lnTo>
                    <a:pt x="340397" y="703143"/>
                  </a:lnTo>
                  <a:lnTo>
                    <a:pt x="340776" y="700960"/>
                  </a:lnTo>
                  <a:lnTo>
                    <a:pt x="340570" y="699193"/>
                  </a:lnTo>
                  <a:lnTo>
                    <a:pt x="339982" y="697316"/>
                  </a:lnTo>
                  <a:lnTo>
                    <a:pt x="339324" y="694818"/>
                  </a:lnTo>
                  <a:lnTo>
                    <a:pt x="338515" y="690552"/>
                  </a:lnTo>
                  <a:lnTo>
                    <a:pt x="339002" y="688351"/>
                  </a:lnTo>
                  <a:lnTo>
                    <a:pt x="339707" y="686206"/>
                  </a:lnTo>
                  <a:lnTo>
                    <a:pt x="339822" y="684296"/>
                  </a:lnTo>
                  <a:lnTo>
                    <a:pt x="339059" y="681877"/>
                  </a:lnTo>
                  <a:lnTo>
                    <a:pt x="339124" y="680160"/>
                  </a:lnTo>
                  <a:lnTo>
                    <a:pt x="339578" y="678818"/>
                  </a:lnTo>
                  <a:lnTo>
                    <a:pt x="343548" y="670858"/>
                  </a:lnTo>
                  <a:lnTo>
                    <a:pt x="344872" y="667543"/>
                  </a:lnTo>
                  <a:lnTo>
                    <a:pt x="347077" y="659833"/>
                  </a:lnTo>
                  <a:lnTo>
                    <a:pt x="347435" y="656839"/>
                  </a:lnTo>
                  <a:lnTo>
                    <a:pt x="347323" y="654535"/>
                  </a:lnTo>
                  <a:lnTo>
                    <a:pt x="346696" y="653250"/>
                  </a:lnTo>
                  <a:lnTo>
                    <a:pt x="345073" y="651058"/>
                  </a:lnTo>
                  <a:lnTo>
                    <a:pt x="344398" y="650009"/>
                  </a:lnTo>
                  <a:lnTo>
                    <a:pt x="343593" y="648078"/>
                  </a:lnTo>
                  <a:lnTo>
                    <a:pt x="343776" y="646730"/>
                  </a:lnTo>
                  <a:lnTo>
                    <a:pt x="344327" y="645710"/>
                  </a:lnTo>
                  <a:lnTo>
                    <a:pt x="348066" y="643223"/>
                  </a:lnTo>
                  <a:lnTo>
                    <a:pt x="350035" y="639833"/>
                  </a:lnTo>
                  <a:lnTo>
                    <a:pt x="353001" y="631069"/>
                  </a:lnTo>
                  <a:lnTo>
                    <a:pt x="356814" y="623804"/>
                  </a:lnTo>
                  <a:lnTo>
                    <a:pt x="357200" y="621990"/>
                  </a:lnTo>
                  <a:lnTo>
                    <a:pt x="357518" y="619631"/>
                  </a:lnTo>
                  <a:lnTo>
                    <a:pt x="356972" y="615182"/>
                  </a:lnTo>
                  <a:lnTo>
                    <a:pt x="357033" y="611218"/>
                  </a:lnTo>
                  <a:lnTo>
                    <a:pt x="357835" y="608819"/>
                  </a:lnTo>
                  <a:lnTo>
                    <a:pt x="359261" y="605485"/>
                  </a:lnTo>
                  <a:lnTo>
                    <a:pt x="358806" y="604552"/>
                  </a:lnTo>
                  <a:lnTo>
                    <a:pt x="357830" y="604400"/>
                  </a:lnTo>
                  <a:lnTo>
                    <a:pt x="355384" y="605836"/>
                  </a:lnTo>
                  <a:lnTo>
                    <a:pt x="354047" y="606313"/>
                  </a:lnTo>
                  <a:lnTo>
                    <a:pt x="352650" y="606569"/>
                  </a:lnTo>
                  <a:lnTo>
                    <a:pt x="351240" y="606310"/>
                  </a:lnTo>
                  <a:lnTo>
                    <a:pt x="349838" y="606345"/>
                  </a:lnTo>
                  <a:lnTo>
                    <a:pt x="348552" y="606702"/>
                  </a:lnTo>
                  <a:lnTo>
                    <a:pt x="347382" y="607397"/>
                  </a:lnTo>
                  <a:lnTo>
                    <a:pt x="345697" y="606950"/>
                  </a:lnTo>
                  <a:lnTo>
                    <a:pt x="343641" y="605288"/>
                  </a:lnTo>
                  <a:lnTo>
                    <a:pt x="338246" y="596655"/>
                  </a:lnTo>
                  <a:lnTo>
                    <a:pt x="336295" y="594145"/>
                  </a:lnTo>
                  <a:lnTo>
                    <a:pt x="333655" y="592082"/>
                  </a:lnTo>
                  <a:lnTo>
                    <a:pt x="331694" y="591301"/>
                  </a:lnTo>
                  <a:lnTo>
                    <a:pt x="329913" y="591285"/>
                  </a:lnTo>
                  <a:lnTo>
                    <a:pt x="328743" y="591935"/>
                  </a:lnTo>
                  <a:lnTo>
                    <a:pt x="327908" y="593092"/>
                  </a:lnTo>
                  <a:lnTo>
                    <a:pt x="327460" y="594626"/>
                  </a:lnTo>
                  <a:lnTo>
                    <a:pt x="326777" y="599802"/>
                  </a:lnTo>
                  <a:lnTo>
                    <a:pt x="326274" y="601321"/>
                  </a:lnTo>
                  <a:lnTo>
                    <a:pt x="325495" y="602567"/>
                  </a:lnTo>
                  <a:lnTo>
                    <a:pt x="324659" y="603680"/>
                  </a:lnTo>
                  <a:lnTo>
                    <a:pt x="323695" y="604738"/>
                  </a:lnTo>
                  <a:lnTo>
                    <a:pt x="322707" y="605531"/>
                  </a:lnTo>
                  <a:lnTo>
                    <a:pt x="320077" y="606895"/>
                  </a:lnTo>
                  <a:lnTo>
                    <a:pt x="315298" y="607925"/>
                  </a:lnTo>
                  <a:lnTo>
                    <a:pt x="310846" y="606788"/>
                  </a:lnTo>
                  <a:lnTo>
                    <a:pt x="309799" y="605896"/>
                  </a:lnTo>
                  <a:lnTo>
                    <a:pt x="308580" y="604535"/>
                  </a:lnTo>
                  <a:lnTo>
                    <a:pt x="307891" y="602807"/>
                  </a:lnTo>
                  <a:lnTo>
                    <a:pt x="307229" y="599910"/>
                  </a:lnTo>
                  <a:lnTo>
                    <a:pt x="307287" y="597765"/>
                  </a:lnTo>
                  <a:lnTo>
                    <a:pt x="307678" y="596072"/>
                  </a:lnTo>
                  <a:lnTo>
                    <a:pt x="309298" y="593817"/>
                  </a:lnTo>
                  <a:lnTo>
                    <a:pt x="310456" y="592637"/>
                  </a:lnTo>
                  <a:lnTo>
                    <a:pt x="311501" y="591195"/>
                  </a:lnTo>
                  <a:lnTo>
                    <a:pt x="312745" y="589094"/>
                  </a:lnTo>
                  <a:lnTo>
                    <a:pt x="312392" y="587848"/>
                  </a:lnTo>
                  <a:lnTo>
                    <a:pt x="311456" y="587025"/>
                  </a:lnTo>
                  <a:lnTo>
                    <a:pt x="309884" y="586678"/>
                  </a:lnTo>
                  <a:lnTo>
                    <a:pt x="306492" y="586921"/>
                  </a:lnTo>
                  <a:lnTo>
                    <a:pt x="303112" y="587666"/>
                  </a:lnTo>
                  <a:lnTo>
                    <a:pt x="301370" y="587734"/>
                  </a:lnTo>
                  <a:lnTo>
                    <a:pt x="299249" y="586985"/>
                  </a:lnTo>
                  <a:lnTo>
                    <a:pt x="299007" y="585853"/>
                  </a:lnTo>
                  <a:lnTo>
                    <a:pt x="299303" y="584679"/>
                  </a:lnTo>
                  <a:lnTo>
                    <a:pt x="308200" y="570195"/>
                  </a:lnTo>
                  <a:lnTo>
                    <a:pt x="308866" y="566482"/>
                  </a:lnTo>
                  <a:lnTo>
                    <a:pt x="309430" y="560706"/>
                  </a:lnTo>
                  <a:lnTo>
                    <a:pt x="309752" y="547041"/>
                  </a:lnTo>
                  <a:lnTo>
                    <a:pt x="310423" y="541336"/>
                  </a:lnTo>
                  <a:lnTo>
                    <a:pt x="311314" y="538033"/>
                  </a:lnTo>
                  <a:lnTo>
                    <a:pt x="312814" y="537716"/>
                  </a:lnTo>
                  <a:lnTo>
                    <a:pt x="319547" y="537971"/>
                  </a:lnTo>
                  <a:lnTo>
                    <a:pt x="322558" y="537072"/>
                  </a:lnTo>
                  <a:lnTo>
                    <a:pt x="326054" y="534770"/>
                  </a:lnTo>
                  <a:lnTo>
                    <a:pt x="327765" y="532113"/>
                  </a:lnTo>
                  <a:lnTo>
                    <a:pt x="329755" y="527704"/>
                  </a:lnTo>
                  <a:lnTo>
                    <a:pt x="332925" y="516629"/>
                  </a:lnTo>
                  <a:lnTo>
                    <a:pt x="333654" y="511319"/>
                  </a:lnTo>
                  <a:lnTo>
                    <a:pt x="333482" y="506564"/>
                  </a:lnTo>
                  <a:lnTo>
                    <a:pt x="332634" y="504857"/>
                  </a:lnTo>
                  <a:lnTo>
                    <a:pt x="331581" y="503597"/>
                  </a:lnTo>
                  <a:lnTo>
                    <a:pt x="328239" y="500988"/>
                  </a:lnTo>
                  <a:lnTo>
                    <a:pt x="327131" y="499625"/>
                  </a:lnTo>
                  <a:lnTo>
                    <a:pt x="326168" y="497623"/>
                  </a:lnTo>
                  <a:lnTo>
                    <a:pt x="325374" y="493725"/>
                  </a:lnTo>
                  <a:lnTo>
                    <a:pt x="324668" y="491200"/>
                  </a:lnTo>
                  <a:lnTo>
                    <a:pt x="323872" y="489401"/>
                  </a:lnTo>
                  <a:lnTo>
                    <a:pt x="321982" y="486802"/>
                  </a:lnTo>
                  <a:lnTo>
                    <a:pt x="320903" y="485141"/>
                  </a:lnTo>
                  <a:lnTo>
                    <a:pt x="319838" y="482566"/>
                  </a:lnTo>
                  <a:lnTo>
                    <a:pt x="319685" y="480649"/>
                  </a:lnTo>
                  <a:lnTo>
                    <a:pt x="319966" y="478971"/>
                  </a:lnTo>
                  <a:lnTo>
                    <a:pt x="321413" y="476676"/>
                  </a:lnTo>
                  <a:lnTo>
                    <a:pt x="324658" y="473228"/>
                  </a:lnTo>
                  <a:lnTo>
                    <a:pt x="325902" y="471424"/>
                  </a:lnTo>
                  <a:lnTo>
                    <a:pt x="325755" y="469771"/>
                  </a:lnTo>
                  <a:lnTo>
                    <a:pt x="325061" y="467750"/>
                  </a:lnTo>
                  <a:lnTo>
                    <a:pt x="323683" y="466275"/>
                  </a:lnTo>
                  <a:lnTo>
                    <a:pt x="322513" y="464499"/>
                  </a:lnTo>
                  <a:lnTo>
                    <a:pt x="321493" y="462248"/>
                  </a:lnTo>
                  <a:lnTo>
                    <a:pt x="320568" y="458058"/>
                  </a:lnTo>
                  <a:lnTo>
                    <a:pt x="320802" y="455925"/>
                  </a:lnTo>
                  <a:lnTo>
                    <a:pt x="321458" y="454209"/>
                  </a:lnTo>
                  <a:lnTo>
                    <a:pt x="332482" y="444482"/>
                  </a:lnTo>
                  <a:lnTo>
                    <a:pt x="333826" y="438138"/>
                  </a:lnTo>
                  <a:lnTo>
                    <a:pt x="333465" y="434407"/>
                  </a:lnTo>
                  <a:lnTo>
                    <a:pt x="326231" y="412679"/>
                  </a:lnTo>
                  <a:lnTo>
                    <a:pt x="324257" y="408647"/>
                  </a:lnTo>
                  <a:lnTo>
                    <a:pt x="322433" y="406297"/>
                  </a:lnTo>
                  <a:lnTo>
                    <a:pt x="318428" y="405300"/>
                  </a:lnTo>
                  <a:lnTo>
                    <a:pt x="314203" y="403272"/>
                  </a:lnTo>
                  <a:lnTo>
                    <a:pt x="312586" y="402780"/>
                  </a:lnTo>
                  <a:lnTo>
                    <a:pt x="311092" y="402992"/>
                  </a:lnTo>
                  <a:lnTo>
                    <a:pt x="299335" y="406903"/>
                  </a:lnTo>
                  <a:lnTo>
                    <a:pt x="295754" y="407163"/>
                  </a:lnTo>
                  <a:lnTo>
                    <a:pt x="290655" y="406630"/>
                  </a:lnTo>
                  <a:lnTo>
                    <a:pt x="290879" y="400123"/>
                  </a:lnTo>
                  <a:lnTo>
                    <a:pt x="290143" y="398366"/>
                  </a:lnTo>
                  <a:lnTo>
                    <a:pt x="289020" y="396087"/>
                  </a:lnTo>
                  <a:lnTo>
                    <a:pt x="286714" y="393567"/>
                  </a:lnTo>
                  <a:lnTo>
                    <a:pt x="285411" y="392770"/>
                  </a:lnTo>
                  <a:lnTo>
                    <a:pt x="284013" y="392476"/>
                  </a:lnTo>
                  <a:lnTo>
                    <a:pt x="259835" y="396087"/>
                  </a:lnTo>
                  <a:lnTo>
                    <a:pt x="251200" y="395976"/>
                  </a:lnTo>
                  <a:lnTo>
                    <a:pt x="246057" y="398228"/>
                  </a:lnTo>
                  <a:lnTo>
                    <a:pt x="240129" y="397111"/>
                  </a:lnTo>
                  <a:lnTo>
                    <a:pt x="230598" y="391707"/>
                  </a:lnTo>
                  <a:lnTo>
                    <a:pt x="225907" y="389942"/>
                  </a:lnTo>
                  <a:lnTo>
                    <a:pt x="219725" y="389358"/>
                  </a:lnTo>
                  <a:lnTo>
                    <a:pt x="216205" y="388157"/>
                  </a:lnTo>
                  <a:lnTo>
                    <a:pt x="193543" y="373437"/>
                  </a:lnTo>
                  <a:lnTo>
                    <a:pt x="194047" y="370914"/>
                  </a:lnTo>
                  <a:lnTo>
                    <a:pt x="198040" y="364602"/>
                  </a:lnTo>
                  <a:lnTo>
                    <a:pt x="199762" y="357949"/>
                  </a:lnTo>
                  <a:lnTo>
                    <a:pt x="195512" y="355548"/>
                  </a:lnTo>
                  <a:lnTo>
                    <a:pt x="184716" y="355249"/>
                  </a:lnTo>
                  <a:lnTo>
                    <a:pt x="179819" y="351439"/>
                  </a:lnTo>
                  <a:lnTo>
                    <a:pt x="169060" y="335647"/>
                  </a:lnTo>
                  <a:lnTo>
                    <a:pt x="163745" y="336925"/>
                  </a:lnTo>
                  <a:lnTo>
                    <a:pt x="155013" y="342163"/>
                  </a:lnTo>
                  <a:lnTo>
                    <a:pt x="151565" y="343437"/>
                  </a:lnTo>
                  <a:lnTo>
                    <a:pt x="145532" y="342446"/>
                  </a:lnTo>
                  <a:lnTo>
                    <a:pt x="143729" y="339049"/>
                  </a:lnTo>
                  <a:lnTo>
                    <a:pt x="143101" y="333593"/>
                  </a:lnTo>
                  <a:lnTo>
                    <a:pt x="140575" y="326395"/>
                  </a:lnTo>
                  <a:lnTo>
                    <a:pt x="136560" y="323537"/>
                  </a:lnTo>
                  <a:lnTo>
                    <a:pt x="125156" y="323254"/>
                  </a:lnTo>
                  <a:lnTo>
                    <a:pt x="120405" y="320879"/>
                  </a:lnTo>
                  <a:lnTo>
                    <a:pt x="123200" y="317862"/>
                  </a:lnTo>
                  <a:lnTo>
                    <a:pt x="125082" y="312379"/>
                  </a:lnTo>
                  <a:lnTo>
                    <a:pt x="125026" y="311108"/>
                  </a:lnTo>
                  <a:lnTo>
                    <a:pt x="124836" y="307167"/>
                  </a:lnTo>
                  <a:lnTo>
                    <a:pt x="121315" y="304905"/>
                  </a:lnTo>
                  <a:lnTo>
                    <a:pt x="106141" y="309402"/>
                  </a:lnTo>
                  <a:lnTo>
                    <a:pt x="89176" y="302925"/>
                  </a:lnTo>
                  <a:lnTo>
                    <a:pt x="81256" y="301978"/>
                  </a:lnTo>
                  <a:lnTo>
                    <a:pt x="74826" y="299647"/>
                  </a:lnTo>
                  <a:lnTo>
                    <a:pt x="64444" y="289112"/>
                  </a:lnTo>
                  <a:lnTo>
                    <a:pt x="56509" y="286696"/>
                  </a:lnTo>
                  <a:lnTo>
                    <a:pt x="49289" y="288478"/>
                  </a:lnTo>
                  <a:lnTo>
                    <a:pt x="38190" y="296499"/>
                  </a:lnTo>
                  <a:lnTo>
                    <a:pt x="31820" y="298370"/>
                  </a:lnTo>
                  <a:lnTo>
                    <a:pt x="24415" y="297132"/>
                  </a:lnTo>
                  <a:lnTo>
                    <a:pt x="18689" y="293717"/>
                  </a:lnTo>
                  <a:lnTo>
                    <a:pt x="5905" y="278946"/>
                  </a:lnTo>
                  <a:lnTo>
                    <a:pt x="149" y="268406"/>
                  </a:lnTo>
                  <a:lnTo>
                    <a:pt x="0" y="268133"/>
                  </a:lnTo>
                  <a:lnTo>
                    <a:pt x="147" y="268114"/>
                  </a:lnTo>
                  <a:lnTo>
                    <a:pt x="7612" y="267137"/>
                  </a:lnTo>
                  <a:lnTo>
                    <a:pt x="15643" y="268819"/>
                  </a:lnTo>
                  <a:lnTo>
                    <a:pt x="26857" y="268681"/>
                  </a:lnTo>
                  <a:lnTo>
                    <a:pt x="34914" y="272137"/>
                  </a:lnTo>
                  <a:lnTo>
                    <a:pt x="41334" y="272944"/>
                  </a:lnTo>
                  <a:lnTo>
                    <a:pt x="41762" y="264932"/>
                  </a:lnTo>
                  <a:lnTo>
                    <a:pt x="42746" y="258693"/>
                  </a:lnTo>
                  <a:lnTo>
                    <a:pt x="48048" y="255953"/>
                  </a:lnTo>
                  <a:lnTo>
                    <a:pt x="59256" y="255800"/>
                  </a:lnTo>
                  <a:lnTo>
                    <a:pt x="68939" y="261003"/>
                  </a:lnTo>
                  <a:lnTo>
                    <a:pt x="78093" y="266209"/>
                  </a:lnTo>
                  <a:lnTo>
                    <a:pt x="87156" y="265185"/>
                  </a:lnTo>
                  <a:lnTo>
                    <a:pt x="94015" y="259744"/>
                  </a:lnTo>
                  <a:lnTo>
                    <a:pt x="96253" y="250538"/>
                  </a:lnTo>
                  <a:lnTo>
                    <a:pt x="94701" y="246482"/>
                  </a:lnTo>
                  <a:lnTo>
                    <a:pt x="93648" y="236864"/>
                  </a:lnTo>
                  <a:lnTo>
                    <a:pt x="92524" y="232891"/>
                  </a:lnTo>
                  <a:lnTo>
                    <a:pt x="90616" y="229729"/>
                  </a:lnTo>
                  <a:lnTo>
                    <a:pt x="87968" y="226874"/>
                  </a:lnTo>
                  <a:lnTo>
                    <a:pt x="86999" y="222586"/>
                  </a:lnTo>
                  <a:lnTo>
                    <a:pt x="89038" y="216927"/>
                  </a:lnTo>
                  <a:lnTo>
                    <a:pt x="103968" y="202660"/>
                  </a:lnTo>
                  <a:lnTo>
                    <a:pt x="110637" y="198121"/>
                  </a:lnTo>
                  <a:lnTo>
                    <a:pt x="129160" y="190758"/>
                  </a:lnTo>
                  <a:lnTo>
                    <a:pt x="140890" y="189848"/>
                  </a:lnTo>
                  <a:lnTo>
                    <a:pt x="144946" y="191227"/>
                  </a:lnTo>
                  <a:lnTo>
                    <a:pt x="155946" y="200008"/>
                  </a:lnTo>
                  <a:lnTo>
                    <a:pt x="160384" y="209716"/>
                  </a:lnTo>
                  <a:lnTo>
                    <a:pt x="167227" y="205144"/>
                  </a:lnTo>
                  <a:lnTo>
                    <a:pt x="174634" y="202337"/>
                  </a:lnTo>
                  <a:lnTo>
                    <a:pt x="182089" y="202199"/>
                  </a:lnTo>
                  <a:lnTo>
                    <a:pt x="192757" y="202886"/>
                  </a:lnTo>
                  <a:lnTo>
                    <a:pt x="191537" y="194903"/>
                  </a:lnTo>
                  <a:lnTo>
                    <a:pt x="184537" y="189520"/>
                  </a:lnTo>
                  <a:lnTo>
                    <a:pt x="187576" y="187528"/>
                  </a:lnTo>
                  <a:lnTo>
                    <a:pt x="190524" y="186319"/>
                  </a:lnTo>
                  <a:lnTo>
                    <a:pt x="199932" y="188512"/>
                  </a:lnTo>
                  <a:lnTo>
                    <a:pt x="207719" y="178573"/>
                  </a:lnTo>
                  <a:lnTo>
                    <a:pt x="220874" y="171770"/>
                  </a:lnTo>
                  <a:lnTo>
                    <a:pt x="226619" y="170056"/>
                  </a:lnTo>
                  <a:lnTo>
                    <a:pt x="233143" y="172718"/>
                  </a:lnTo>
                  <a:lnTo>
                    <a:pt x="239905" y="165457"/>
                  </a:lnTo>
                  <a:lnTo>
                    <a:pt x="245658" y="160886"/>
                  </a:lnTo>
                  <a:lnTo>
                    <a:pt x="250955" y="159884"/>
                  </a:lnTo>
                  <a:lnTo>
                    <a:pt x="253949" y="150922"/>
                  </a:lnTo>
                  <a:lnTo>
                    <a:pt x="254304" y="142907"/>
                  </a:lnTo>
                  <a:lnTo>
                    <a:pt x="263196" y="136483"/>
                  </a:lnTo>
                  <a:lnTo>
                    <a:pt x="267947" y="127170"/>
                  </a:lnTo>
                  <a:lnTo>
                    <a:pt x="269696" y="127251"/>
                  </a:lnTo>
                  <a:lnTo>
                    <a:pt x="272808" y="126012"/>
                  </a:lnTo>
                  <a:lnTo>
                    <a:pt x="278659" y="122600"/>
                  </a:lnTo>
                  <a:lnTo>
                    <a:pt x="283615" y="121763"/>
                  </a:lnTo>
                  <a:lnTo>
                    <a:pt x="286499" y="120603"/>
                  </a:lnTo>
                  <a:lnTo>
                    <a:pt x="287978" y="120523"/>
                  </a:lnTo>
                  <a:lnTo>
                    <a:pt x="289899" y="121203"/>
                  </a:lnTo>
                  <a:lnTo>
                    <a:pt x="295401" y="127032"/>
                  </a:lnTo>
                  <a:lnTo>
                    <a:pt x="296841" y="127456"/>
                  </a:lnTo>
                  <a:lnTo>
                    <a:pt x="299094" y="126515"/>
                  </a:lnTo>
                  <a:lnTo>
                    <a:pt x="300555" y="125595"/>
                  </a:lnTo>
                  <a:lnTo>
                    <a:pt x="307142" y="119986"/>
                  </a:lnTo>
                  <a:lnTo>
                    <a:pt x="309814" y="118857"/>
                  </a:lnTo>
                  <a:lnTo>
                    <a:pt x="311519" y="118639"/>
                  </a:lnTo>
                  <a:lnTo>
                    <a:pt x="313488" y="119050"/>
                  </a:lnTo>
                  <a:lnTo>
                    <a:pt x="315527" y="120184"/>
                  </a:lnTo>
                  <a:lnTo>
                    <a:pt x="317882" y="123406"/>
                  </a:lnTo>
                  <a:lnTo>
                    <a:pt x="321109" y="129742"/>
                  </a:lnTo>
                  <a:lnTo>
                    <a:pt x="323637" y="133449"/>
                  </a:lnTo>
                  <a:lnTo>
                    <a:pt x="326154" y="134585"/>
                  </a:lnTo>
                  <a:lnTo>
                    <a:pt x="347746" y="139438"/>
                  </a:lnTo>
                  <a:lnTo>
                    <a:pt x="360347" y="146548"/>
                  </a:lnTo>
                  <a:lnTo>
                    <a:pt x="362549" y="147689"/>
                  </a:lnTo>
                  <a:lnTo>
                    <a:pt x="373057" y="155498"/>
                  </a:lnTo>
                  <a:lnTo>
                    <a:pt x="374373" y="157147"/>
                  </a:lnTo>
                  <a:lnTo>
                    <a:pt x="376279" y="159017"/>
                  </a:lnTo>
                  <a:lnTo>
                    <a:pt x="377052" y="160120"/>
                  </a:lnTo>
                  <a:lnTo>
                    <a:pt x="379167" y="161866"/>
                  </a:lnTo>
                  <a:lnTo>
                    <a:pt x="389068" y="167158"/>
                  </a:lnTo>
                  <a:lnTo>
                    <a:pt x="390160" y="168311"/>
                  </a:lnTo>
                  <a:lnTo>
                    <a:pt x="393281" y="173103"/>
                  </a:lnTo>
                  <a:lnTo>
                    <a:pt x="394371" y="174169"/>
                  </a:lnTo>
                  <a:lnTo>
                    <a:pt x="396566" y="174877"/>
                  </a:lnTo>
                  <a:lnTo>
                    <a:pt x="399759" y="175232"/>
                  </a:lnTo>
                  <a:lnTo>
                    <a:pt x="411945" y="174008"/>
                  </a:lnTo>
                  <a:lnTo>
                    <a:pt x="417136" y="171880"/>
                  </a:lnTo>
                  <a:lnTo>
                    <a:pt x="422362" y="170977"/>
                  </a:lnTo>
                  <a:lnTo>
                    <a:pt x="458882" y="179301"/>
                  </a:lnTo>
                  <a:lnTo>
                    <a:pt x="460739" y="179274"/>
                  </a:lnTo>
                  <a:lnTo>
                    <a:pt x="465491" y="181407"/>
                  </a:lnTo>
                  <a:lnTo>
                    <a:pt x="475011" y="190579"/>
                  </a:lnTo>
                  <a:lnTo>
                    <a:pt x="489476" y="194126"/>
                  </a:lnTo>
                  <a:lnTo>
                    <a:pt x="497979" y="194303"/>
                  </a:lnTo>
                  <a:lnTo>
                    <a:pt x="501012" y="196158"/>
                  </a:lnTo>
                  <a:lnTo>
                    <a:pt x="502011" y="204126"/>
                  </a:lnTo>
                  <a:lnTo>
                    <a:pt x="501978" y="208073"/>
                  </a:lnTo>
                  <a:lnTo>
                    <a:pt x="502285" y="209395"/>
                  </a:lnTo>
                  <a:lnTo>
                    <a:pt x="502812" y="210914"/>
                  </a:lnTo>
                  <a:lnTo>
                    <a:pt x="503589" y="211924"/>
                  </a:lnTo>
                  <a:lnTo>
                    <a:pt x="504535" y="212693"/>
                  </a:lnTo>
                  <a:lnTo>
                    <a:pt x="506267" y="213673"/>
                  </a:lnTo>
                  <a:lnTo>
                    <a:pt x="507978" y="213987"/>
                  </a:lnTo>
                  <a:lnTo>
                    <a:pt x="510423" y="213999"/>
                  </a:lnTo>
                  <a:lnTo>
                    <a:pt x="525392" y="210191"/>
                  </a:lnTo>
                  <a:lnTo>
                    <a:pt x="530200" y="210390"/>
                  </a:lnTo>
                  <a:lnTo>
                    <a:pt x="532610" y="210961"/>
                  </a:lnTo>
                  <a:lnTo>
                    <a:pt x="535035" y="211945"/>
                  </a:lnTo>
                  <a:lnTo>
                    <a:pt x="540059" y="215963"/>
                  </a:lnTo>
                  <a:lnTo>
                    <a:pt x="542431" y="216934"/>
                  </a:lnTo>
                  <a:lnTo>
                    <a:pt x="545149" y="217154"/>
                  </a:lnTo>
                  <a:lnTo>
                    <a:pt x="550565" y="216428"/>
                  </a:lnTo>
                  <a:lnTo>
                    <a:pt x="553142" y="215617"/>
                  </a:lnTo>
                  <a:lnTo>
                    <a:pt x="556281" y="214105"/>
                  </a:lnTo>
                  <a:lnTo>
                    <a:pt x="558602" y="213614"/>
                  </a:lnTo>
                  <a:lnTo>
                    <a:pt x="567802" y="213212"/>
                  </a:lnTo>
                  <a:lnTo>
                    <a:pt x="570430" y="212354"/>
                  </a:lnTo>
                  <a:lnTo>
                    <a:pt x="572201" y="211317"/>
                  </a:lnTo>
                  <a:lnTo>
                    <a:pt x="573285" y="210391"/>
                  </a:lnTo>
                  <a:lnTo>
                    <a:pt x="574670" y="210464"/>
                  </a:lnTo>
                  <a:lnTo>
                    <a:pt x="575978" y="211394"/>
                  </a:lnTo>
                  <a:lnTo>
                    <a:pt x="576866" y="214009"/>
                  </a:lnTo>
                  <a:lnTo>
                    <a:pt x="576442" y="215548"/>
                  </a:lnTo>
                  <a:lnTo>
                    <a:pt x="575582" y="216789"/>
                  </a:lnTo>
                  <a:lnTo>
                    <a:pt x="573409" y="218520"/>
                  </a:lnTo>
                  <a:lnTo>
                    <a:pt x="572543" y="219613"/>
                  </a:lnTo>
                  <a:lnTo>
                    <a:pt x="571890" y="220701"/>
                  </a:lnTo>
                  <a:lnTo>
                    <a:pt x="572595" y="222628"/>
                  </a:lnTo>
                  <a:lnTo>
                    <a:pt x="574569" y="224334"/>
                  </a:lnTo>
                  <a:lnTo>
                    <a:pt x="582872" y="227522"/>
                  </a:lnTo>
                  <a:lnTo>
                    <a:pt x="591600" y="225694"/>
                  </a:lnTo>
                  <a:lnTo>
                    <a:pt x="599944" y="216617"/>
                  </a:lnTo>
                  <a:lnTo>
                    <a:pt x="601396" y="214141"/>
                  </a:lnTo>
                  <a:lnTo>
                    <a:pt x="604866" y="209641"/>
                  </a:lnTo>
                  <a:lnTo>
                    <a:pt x="606766" y="207798"/>
                  </a:lnTo>
                  <a:lnTo>
                    <a:pt x="616563" y="201030"/>
                  </a:lnTo>
                  <a:lnTo>
                    <a:pt x="620911" y="196465"/>
                  </a:lnTo>
                  <a:lnTo>
                    <a:pt x="623923" y="194094"/>
                  </a:lnTo>
                  <a:lnTo>
                    <a:pt x="624995" y="192900"/>
                  </a:lnTo>
                  <a:lnTo>
                    <a:pt x="625799" y="191674"/>
                  </a:lnTo>
                  <a:lnTo>
                    <a:pt x="626391" y="190454"/>
                  </a:lnTo>
                  <a:lnTo>
                    <a:pt x="626776" y="189377"/>
                  </a:lnTo>
                  <a:lnTo>
                    <a:pt x="627059" y="188404"/>
                  </a:lnTo>
                  <a:lnTo>
                    <a:pt x="627276" y="187095"/>
                  </a:lnTo>
                  <a:lnTo>
                    <a:pt x="627904" y="183996"/>
                  </a:lnTo>
                  <a:lnTo>
                    <a:pt x="628434" y="182543"/>
                  </a:lnTo>
                  <a:lnTo>
                    <a:pt x="629604" y="181155"/>
                  </a:lnTo>
                  <a:lnTo>
                    <a:pt x="631144" y="179738"/>
                  </a:lnTo>
                  <a:lnTo>
                    <a:pt x="634057" y="178138"/>
                  </a:lnTo>
                  <a:lnTo>
                    <a:pt x="635966" y="176662"/>
                  </a:lnTo>
                  <a:lnTo>
                    <a:pt x="636800" y="174856"/>
                  </a:lnTo>
                  <a:lnTo>
                    <a:pt x="637870" y="173649"/>
                  </a:lnTo>
                  <a:lnTo>
                    <a:pt x="639313" y="172501"/>
                  </a:lnTo>
                  <a:lnTo>
                    <a:pt x="642051" y="171439"/>
                  </a:lnTo>
                  <a:lnTo>
                    <a:pt x="644448" y="171675"/>
                  </a:lnTo>
                  <a:lnTo>
                    <a:pt x="646932" y="172794"/>
                  </a:lnTo>
                  <a:lnTo>
                    <a:pt x="651549" y="178329"/>
                  </a:lnTo>
                  <a:lnTo>
                    <a:pt x="653948" y="182749"/>
                  </a:lnTo>
                  <a:lnTo>
                    <a:pt x="654897" y="183968"/>
                  </a:lnTo>
                  <a:lnTo>
                    <a:pt x="659179" y="185745"/>
                  </a:lnTo>
                  <a:lnTo>
                    <a:pt x="668777" y="185364"/>
                  </a:lnTo>
                  <a:lnTo>
                    <a:pt x="669822" y="179454"/>
                  </a:lnTo>
                  <a:lnTo>
                    <a:pt x="670094" y="175540"/>
                  </a:lnTo>
                  <a:lnTo>
                    <a:pt x="670401" y="173887"/>
                  </a:lnTo>
                  <a:lnTo>
                    <a:pt x="671349" y="170951"/>
                  </a:lnTo>
                  <a:lnTo>
                    <a:pt x="674399" y="163411"/>
                  </a:lnTo>
                  <a:lnTo>
                    <a:pt x="676100" y="160344"/>
                  </a:lnTo>
                  <a:lnTo>
                    <a:pt x="679875" y="156486"/>
                  </a:lnTo>
                  <a:lnTo>
                    <a:pt x="685273" y="153482"/>
                  </a:lnTo>
                  <a:lnTo>
                    <a:pt x="694189" y="152259"/>
                  </a:lnTo>
                  <a:lnTo>
                    <a:pt x="701415" y="153454"/>
                  </a:lnTo>
                  <a:lnTo>
                    <a:pt x="709184" y="156649"/>
                  </a:lnTo>
                  <a:lnTo>
                    <a:pt x="715506" y="160315"/>
                  </a:lnTo>
                  <a:lnTo>
                    <a:pt x="721823" y="161671"/>
                  </a:lnTo>
                  <a:lnTo>
                    <a:pt x="727774" y="159286"/>
                  </a:lnTo>
                  <a:lnTo>
                    <a:pt x="745138" y="143990"/>
                  </a:lnTo>
                  <a:lnTo>
                    <a:pt x="748686" y="142600"/>
                  </a:lnTo>
                  <a:lnTo>
                    <a:pt x="752452" y="138852"/>
                  </a:lnTo>
                  <a:lnTo>
                    <a:pt x="756655" y="132539"/>
                  </a:lnTo>
                  <a:lnTo>
                    <a:pt x="760749" y="119159"/>
                  </a:lnTo>
                  <a:lnTo>
                    <a:pt x="766555" y="105086"/>
                  </a:lnTo>
                  <a:lnTo>
                    <a:pt x="767940" y="94230"/>
                  </a:lnTo>
                  <a:lnTo>
                    <a:pt x="770252" y="87699"/>
                  </a:lnTo>
                  <a:lnTo>
                    <a:pt x="774827" y="82964"/>
                  </a:lnTo>
                  <a:lnTo>
                    <a:pt x="781016" y="79312"/>
                  </a:lnTo>
                  <a:lnTo>
                    <a:pt x="793103" y="78270"/>
                  </a:lnTo>
                  <a:lnTo>
                    <a:pt x="800480" y="70729"/>
                  </a:lnTo>
                  <a:lnTo>
                    <a:pt x="806320" y="58898"/>
                  </a:lnTo>
                  <a:lnTo>
                    <a:pt x="826154" y="40205"/>
                  </a:lnTo>
                  <a:lnTo>
                    <a:pt x="838239" y="37878"/>
                  </a:lnTo>
                  <a:lnTo>
                    <a:pt x="849916" y="38236"/>
                  </a:lnTo>
                  <a:lnTo>
                    <a:pt x="859757" y="33330"/>
                  </a:lnTo>
                  <a:lnTo>
                    <a:pt x="857837" y="26295"/>
                  </a:lnTo>
                  <a:lnTo>
                    <a:pt x="848546" y="10634"/>
                  </a:lnTo>
                  <a:close/>
                </a:path>
              </a:pathLst>
            </a:custGeom>
            <a:solidFill>
              <a:srgbClr val="BFBFBF"/>
            </a:solidFill>
            <a:ln w="6350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Freeform 36">
              <a:extLst>
                <a:ext uri="{FF2B5EF4-FFF2-40B4-BE49-F238E27FC236}">
                  <a16:creationId xmlns:a16="http://schemas.microsoft.com/office/drawing/2014/main" id="{F1C8044D-7899-7219-0815-6E670F810213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>
            <a:xfrm>
              <a:off x="4631414" y="1904650"/>
              <a:ext cx="1293824" cy="921511"/>
            </a:xfrm>
            <a:custGeom>
              <a:avLst/>
              <a:gdLst/>
              <a:ahLst/>
              <a:cxnLst/>
              <a:rect l="l" t="t" r="r" b="b"/>
              <a:pathLst>
                <a:path w="1293824" h="921511">
                  <a:moveTo>
                    <a:pt x="290368" y="393636"/>
                  </a:moveTo>
                  <a:lnTo>
                    <a:pt x="300472" y="398167"/>
                  </a:lnTo>
                  <a:lnTo>
                    <a:pt x="290948" y="428086"/>
                  </a:lnTo>
                  <a:lnTo>
                    <a:pt x="287464" y="433462"/>
                  </a:lnTo>
                  <a:lnTo>
                    <a:pt x="283303" y="433659"/>
                  </a:lnTo>
                  <a:lnTo>
                    <a:pt x="282974" y="429685"/>
                  </a:lnTo>
                  <a:lnTo>
                    <a:pt x="285160" y="419674"/>
                  </a:lnTo>
                  <a:lnTo>
                    <a:pt x="283588" y="413065"/>
                  </a:lnTo>
                  <a:lnTo>
                    <a:pt x="280795" y="413034"/>
                  </a:lnTo>
                  <a:lnTo>
                    <a:pt x="279030" y="417922"/>
                  </a:lnTo>
                  <a:lnTo>
                    <a:pt x="280645" y="425763"/>
                  </a:lnTo>
                  <a:lnTo>
                    <a:pt x="275775" y="429993"/>
                  </a:lnTo>
                  <a:lnTo>
                    <a:pt x="270377" y="429787"/>
                  </a:lnTo>
                  <a:lnTo>
                    <a:pt x="264911" y="426578"/>
                  </a:lnTo>
                  <a:lnTo>
                    <a:pt x="259705" y="422133"/>
                  </a:lnTo>
                  <a:lnTo>
                    <a:pt x="264486" y="409065"/>
                  </a:lnTo>
                  <a:lnTo>
                    <a:pt x="276515" y="398413"/>
                  </a:lnTo>
                  <a:close/>
                  <a:moveTo>
                    <a:pt x="339280" y="346478"/>
                  </a:moveTo>
                  <a:lnTo>
                    <a:pt x="333735" y="354618"/>
                  </a:lnTo>
                  <a:lnTo>
                    <a:pt x="318454" y="369142"/>
                  </a:lnTo>
                  <a:lnTo>
                    <a:pt x="314171" y="378420"/>
                  </a:lnTo>
                  <a:lnTo>
                    <a:pt x="312286" y="378449"/>
                  </a:lnTo>
                  <a:lnTo>
                    <a:pt x="310297" y="368103"/>
                  </a:lnTo>
                  <a:lnTo>
                    <a:pt x="310303" y="366752"/>
                  </a:lnTo>
                  <a:lnTo>
                    <a:pt x="312041" y="362493"/>
                  </a:lnTo>
                  <a:lnTo>
                    <a:pt x="334661" y="351113"/>
                  </a:lnTo>
                  <a:close/>
                  <a:moveTo>
                    <a:pt x="1068214" y="285905"/>
                  </a:moveTo>
                  <a:lnTo>
                    <a:pt x="1074626" y="288263"/>
                  </a:lnTo>
                  <a:lnTo>
                    <a:pt x="1077828" y="293658"/>
                  </a:lnTo>
                  <a:lnTo>
                    <a:pt x="1085526" y="312002"/>
                  </a:lnTo>
                  <a:lnTo>
                    <a:pt x="1089858" y="319205"/>
                  </a:lnTo>
                  <a:lnTo>
                    <a:pt x="1099181" y="327874"/>
                  </a:lnTo>
                  <a:lnTo>
                    <a:pt x="1121900" y="339761"/>
                  </a:lnTo>
                  <a:lnTo>
                    <a:pt x="1134798" y="344027"/>
                  </a:lnTo>
                  <a:lnTo>
                    <a:pt x="1145323" y="349941"/>
                  </a:lnTo>
                  <a:lnTo>
                    <a:pt x="1207681" y="412008"/>
                  </a:lnTo>
                  <a:lnTo>
                    <a:pt x="1213652" y="415987"/>
                  </a:lnTo>
                  <a:lnTo>
                    <a:pt x="1213848" y="416071"/>
                  </a:lnTo>
                  <a:lnTo>
                    <a:pt x="1213856" y="416072"/>
                  </a:lnTo>
                  <a:lnTo>
                    <a:pt x="1208947" y="431768"/>
                  </a:lnTo>
                  <a:lnTo>
                    <a:pt x="1206266" y="433831"/>
                  </a:lnTo>
                  <a:lnTo>
                    <a:pt x="1203116" y="434938"/>
                  </a:lnTo>
                  <a:lnTo>
                    <a:pt x="1209375" y="441896"/>
                  </a:lnTo>
                  <a:lnTo>
                    <a:pt x="1212558" y="450668"/>
                  </a:lnTo>
                  <a:lnTo>
                    <a:pt x="1174598" y="457027"/>
                  </a:lnTo>
                  <a:lnTo>
                    <a:pt x="1167031" y="456287"/>
                  </a:lnTo>
                  <a:lnTo>
                    <a:pt x="1161183" y="452573"/>
                  </a:lnTo>
                  <a:lnTo>
                    <a:pt x="1153791" y="461836"/>
                  </a:lnTo>
                  <a:lnTo>
                    <a:pt x="1144237" y="468084"/>
                  </a:lnTo>
                  <a:lnTo>
                    <a:pt x="1125158" y="474203"/>
                  </a:lnTo>
                  <a:lnTo>
                    <a:pt x="1103862" y="475568"/>
                  </a:lnTo>
                  <a:lnTo>
                    <a:pt x="1091843" y="472568"/>
                  </a:lnTo>
                  <a:lnTo>
                    <a:pt x="1085270" y="464373"/>
                  </a:lnTo>
                  <a:lnTo>
                    <a:pt x="1089552" y="462543"/>
                  </a:lnTo>
                  <a:lnTo>
                    <a:pt x="1096286" y="456847"/>
                  </a:lnTo>
                  <a:lnTo>
                    <a:pt x="1107026" y="453964"/>
                  </a:lnTo>
                  <a:lnTo>
                    <a:pt x="1118370" y="446644"/>
                  </a:lnTo>
                  <a:lnTo>
                    <a:pt x="1121327" y="443102"/>
                  </a:lnTo>
                  <a:lnTo>
                    <a:pt x="1122984" y="426484"/>
                  </a:lnTo>
                  <a:lnTo>
                    <a:pt x="1109349" y="403328"/>
                  </a:lnTo>
                  <a:lnTo>
                    <a:pt x="1109513" y="388645"/>
                  </a:lnTo>
                  <a:lnTo>
                    <a:pt x="1126482" y="388878"/>
                  </a:lnTo>
                  <a:lnTo>
                    <a:pt x="1132591" y="391076"/>
                  </a:lnTo>
                  <a:lnTo>
                    <a:pt x="1130504" y="395417"/>
                  </a:lnTo>
                  <a:lnTo>
                    <a:pt x="1131481" y="398560"/>
                  </a:lnTo>
                  <a:lnTo>
                    <a:pt x="1129352" y="409845"/>
                  </a:lnTo>
                  <a:lnTo>
                    <a:pt x="1129362" y="418930"/>
                  </a:lnTo>
                  <a:lnTo>
                    <a:pt x="1134150" y="409263"/>
                  </a:lnTo>
                  <a:lnTo>
                    <a:pt x="1138356" y="406730"/>
                  </a:lnTo>
                  <a:lnTo>
                    <a:pt x="1151923" y="406086"/>
                  </a:lnTo>
                  <a:lnTo>
                    <a:pt x="1150242" y="407545"/>
                  </a:lnTo>
                  <a:lnTo>
                    <a:pt x="1148949" y="409098"/>
                  </a:lnTo>
                  <a:lnTo>
                    <a:pt x="1148151" y="411234"/>
                  </a:lnTo>
                  <a:lnTo>
                    <a:pt x="1147792" y="414466"/>
                  </a:lnTo>
                  <a:lnTo>
                    <a:pt x="1159408" y="417457"/>
                  </a:lnTo>
                  <a:lnTo>
                    <a:pt x="1156325" y="410180"/>
                  </a:lnTo>
                  <a:lnTo>
                    <a:pt x="1159908" y="395930"/>
                  </a:lnTo>
                  <a:lnTo>
                    <a:pt x="1158536" y="380738"/>
                  </a:lnTo>
                  <a:lnTo>
                    <a:pt x="1153412" y="371465"/>
                  </a:lnTo>
                  <a:lnTo>
                    <a:pt x="1145819" y="375100"/>
                  </a:lnTo>
                  <a:lnTo>
                    <a:pt x="1142622" y="365938"/>
                  </a:lnTo>
                  <a:lnTo>
                    <a:pt x="1138581" y="358448"/>
                  </a:lnTo>
                  <a:lnTo>
                    <a:pt x="1133721" y="352606"/>
                  </a:lnTo>
                  <a:lnTo>
                    <a:pt x="1128189" y="348612"/>
                  </a:lnTo>
                  <a:lnTo>
                    <a:pt x="1121480" y="347329"/>
                  </a:lnTo>
                  <a:lnTo>
                    <a:pt x="1114867" y="349115"/>
                  </a:lnTo>
                  <a:lnTo>
                    <a:pt x="1111642" y="353650"/>
                  </a:lnTo>
                  <a:lnTo>
                    <a:pt x="1114993" y="360639"/>
                  </a:lnTo>
                  <a:lnTo>
                    <a:pt x="1115200" y="364892"/>
                  </a:lnTo>
                  <a:lnTo>
                    <a:pt x="1112412" y="366633"/>
                  </a:lnTo>
                  <a:lnTo>
                    <a:pt x="1109551" y="370288"/>
                  </a:lnTo>
                  <a:lnTo>
                    <a:pt x="1107309" y="374843"/>
                  </a:lnTo>
                  <a:lnTo>
                    <a:pt x="1106532" y="379143"/>
                  </a:lnTo>
                  <a:lnTo>
                    <a:pt x="1104541" y="380449"/>
                  </a:lnTo>
                  <a:lnTo>
                    <a:pt x="1093034" y="385465"/>
                  </a:lnTo>
                  <a:lnTo>
                    <a:pt x="1093377" y="377762"/>
                  </a:lnTo>
                  <a:lnTo>
                    <a:pt x="1095662" y="372903"/>
                  </a:lnTo>
                  <a:lnTo>
                    <a:pt x="1098177" y="369406"/>
                  </a:lnTo>
                  <a:lnTo>
                    <a:pt x="1098927" y="365667"/>
                  </a:lnTo>
                  <a:lnTo>
                    <a:pt x="1096844" y="358777"/>
                  </a:lnTo>
                  <a:lnTo>
                    <a:pt x="1094295" y="358129"/>
                  </a:lnTo>
                  <a:lnTo>
                    <a:pt x="1091503" y="360357"/>
                  </a:lnTo>
                  <a:lnTo>
                    <a:pt x="1081002" y="365669"/>
                  </a:lnTo>
                  <a:lnTo>
                    <a:pt x="1076373" y="372523"/>
                  </a:lnTo>
                  <a:lnTo>
                    <a:pt x="1071867" y="377413"/>
                  </a:lnTo>
                  <a:lnTo>
                    <a:pt x="1064996" y="375073"/>
                  </a:lnTo>
                  <a:lnTo>
                    <a:pt x="1067154" y="363888"/>
                  </a:lnTo>
                  <a:lnTo>
                    <a:pt x="1075383" y="344642"/>
                  </a:lnTo>
                  <a:lnTo>
                    <a:pt x="1076585" y="329608"/>
                  </a:lnTo>
                  <a:lnTo>
                    <a:pt x="1073225" y="320960"/>
                  </a:lnTo>
                  <a:lnTo>
                    <a:pt x="1058870" y="307157"/>
                  </a:lnTo>
                  <a:lnTo>
                    <a:pt x="1054431" y="300931"/>
                  </a:lnTo>
                  <a:lnTo>
                    <a:pt x="1057234" y="294329"/>
                  </a:lnTo>
                  <a:lnTo>
                    <a:pt x="1062123" y="288631"/>
                  </a:lnTo>
                  <a:close/>
                  <a:moveTo>
                    <a:pt x="640701" y="124601"/>
                  </a:moveTo>
                  <a:lnTo>
                    <a:pt x="640805" y="128111"/>
                  </a:lnTo>
                  <a:lnTo>
                    <a:pt x="638534" y="128176"/>
                  </a:lnTo>
                  <a:lnTo>
                    <a:pt x="645958" y="139436"/>
                  </a:lnTo>
                  <a:lnTo>
                    <a:pt x="660473" y="144920"/>
                  </a:lnTo>
                  <a:lnTo>
                    <a:pt x="736143" y="142559"/>
                  </a:lnTo>
                  <a:lnTo>
                    <a:pt x="748821" y="148215"/>
                  </a:lnTo>
                  <a:lnTo>
                    <a:pt x="756327" y="143565"/>
                  </a:lnTo>
                  <a:lnTo>
                    <a:pt x="765960" y="145613"/>
                  </a:lnTo>
                  <a:lnTo>
                    <a:pt x="770430" y="151839"/>
                  </a:lnTo>
                  <a:lnTo>
                    <a:pt x="762441" y="159793"/>
                  </a:lnTo>
                  <a:lnTo>
                    <a:pt x="754004" y="161938"/>
                  </a:lnTo>
                  <a:lnTo>
                    <a:pt x="718273" y="160035"/>
                  </a:lnTo>
                  <a:lnTo>
                    <a:pt x="703887" y="155115"/>
                  </a:lnTo>
                  <a:lnTo>
                    <a:pt x="695079" y="154203"/>
                  </a:lnTo>
                  <a:lnTo>
                    <a:pt x="692518" y="155448"/>
                  </a:lnTo>
                  <a:lnTo>
                    <a:pt x="689135" y="160741"/>
                  </a:lnTo>
                  <a:lnTo>
                    <a:pt x="687285" y="162218"/>
                  </a:lnTo>
                  <a:lnTo>
                    <a:pt x="680516" y="162425"/>
                  </a:lnTo>
                  <a:lnTo>
                    <a:pt x="671856" y="161058"/>
                  </a:lnTo>
                  <a:lnTo>
                    <a:pt x="668689" y="162968"/>
                  </a:lnTo>
                  <a:lnTo>
                    <a:pt x="666892" y="170656"/>
                  </a:lnTo>
                  <a:lnTo>
                    <a:pt x="664705" y="166486"/>
                  </a:lnTo>
                  <a:lnTo>
                    <a:pt x="662976" y="167607"/>
                  </a:lnTo>
                  <a:lnTo>
                    <a:pt x="660102" y="170254"/>
                  </a:lnTo>
                  <a:lnTo>
                    <a:pt x="658008" y="170920"/>
                  </a:lnTo>
                  <a:lnTo>
                    <a:pt x="658751" y="175785"/>
                  </a:lnTo>
                  <a:lnTo>
                    <a:pt x="660199" y="177931"/>
                  </a:lnTo>
                  <a:lnTo>
                    <a:pt x="662334" y="178588"/>
                  </a:lnTo>
                  <a:lnTo>
                    <a:pt x="665082" y="178903"/>
                  </a:lnTo>
                  <a:lnTo>
                    <a:pt x="663899" y="179239"/>
                  </a:lnTo>
                  <a:lnTo>
                    <a:pt x="662979" y="179291"/>
                  </a:lnTo>
                  <a:lnTo>
                    <a:pt x="662514" y="180049"/>
                  </a:lnTo>
                  <a:lnTo>
                    <a:pt x="662697" y="182511"/>
                  </a:lnTo>
                  <a:lnTo>
                    <a:pt x="656197" y="179212"/>
                  </a:lnTo>
                  <a:lnTo>
                    <a:pt x="649064" y="180095"/>
                  </a:lnTo>
                  <a:lnTo>
                    <a:pt x="643168" y="184315"/>
                  </a:lnTo>
                  <a:lnTo>
                    <a:pt x="640379" y="190958"/>
                  </a:lnTo>
                  <a:lnTo>
                    <a:pt x="634758" y="184255"/>
                  </a:lnTo>
                  <a:lnTo>
                    <a:pt x="628076" y="181116"/>
                  </a:lnTo>
                  <a:lnTo>
                    <a:pt x="615985" y="180315"/>
                  </a:lnTo>
                  <a:lnTo>
                    <a:pt x="610639" y="183068"/>
                  </a:lnTo>
                  <a:lnTo>
                    <a:pt x="606326" y="189819"/>
                  </a:lnTo>
                  <a:lnTo>
                    <a:pt x="604401" y="198598"/>
                  </a:lnTo>
                  <a:lnTo>
                    <a:pt x="606496" y="207547"/>
                  </a:lnTo>
                  <a:lnTo>
                    <a:pt x="601694" y="206700"/>
                  </a:lnTo>
                  <a:lnTo>
                    <a:pt x="599718" y="205916"/>
                  </a:lnTo>
                  <a:lnTo>
                    <a:pt x="597301" y="203887"/>
                  </a:lnTo>
                  <a:lnTo>
                    <a:pt x="595129" y="207855"/>
                  </a:lnTo>
                  <a:lnTo>
                    <a:pt x="597515" y="214632"/>
                  </a:lnTo>
                  <a:lnTo>
                    <a:pt x="596072" y="221443"/>
                  </a:lnTo>
                  <a:lnTo>
                    <a:pt x="592028" y="226509"/>
                  </a:lnTo>
                  <a:lnTo>
                    <a:pt x="586551" y="227935"/>
                  </a:lnTo>
                  <a:lnTo>
                    <a:pt x="589124" y="235662"/>
                  </a:lnTo>
                  <a:lnTo>
                    <a:pt x="592061" y="241705"/>
                  </a:lnTo>
                  <a:lnTo>
                    <a:pt x="592932" y="246709"/>
                  </a:lnTo>
                  <a:lnTo>
                    <a:pt x="589277" y="251320"/>
                  </a:lnTo>
                  <a:lnTo>
                    <a:pt x="604126" y="261090"/>
                  </a:lnTo>
                  <a:lnTo>
                    <a:pt x="612315" y="262985"/>
                  </a:lnTo>
                  <a:lnTo>
                    <a:pt x="619339" y="258299"/>
                  </a:lnTo>
                  <a:lnTo>
                    <a:pt x="614152" y="258652"/>
                  </a:lnTo>
                  <a:lnTo>
                    <a:pt x="610156" y="256807"/>
                  </a:lnTo>
                  <a:lnTo>
                    <a:pt x="603138" y="250948"/>
                  </a:lnTo>
                  <a:lnTo>
                    <a:pt x="605125" y="244168"/>
                  </a:lnTo>
                  <a:lnTo>
                    <a:pt x="608139" y="239128"/>
                  </a:lnTo>
                  <a:lnTo>
                    <a:pt x="616301" y="230714"/>
                  </a:lnTo>
                  <a:lnTo>
                    <a:pt x="618217" y="229310"/>
                  </a:lnTo>
                  <a:lnTo>
                    <a:pt x="621849" y="228046"/>
                  </a:lnTo>
                  <a:lnTo>
                    <a:pt x="623204" y="226937"/>
                  </a:lnTo>
                  <a:lnTo>
                    <a:pt x="624182" y="224093"/>
                  </a:lnTo>
                  <a:lnTo>
                    <a:pt x="624300" y="216852"/>
                  </a:lnTo>
                  <a:lnTo>
                    <a:pt x="624940" y="214507"/>
                  </a:lnTo>
                  <a:lnTo>
                    <a:pt x="630444" y="209534"/>
                  </a:lnTo>
                  <a:lnTo>
                    <a:pt x="651781" y="198448"/>
                  </a:lnTo>
                  <a:lnTo>
                    <a:pt x="647180" y="195208"/>
                  </a:lnTo>
                  <a:lnTo>
                    <a:pt x="645076" y="194733"/>
                  </a:lnTo>
                  <a:lnTo>
                    <a:pt x="644960" y="190826"/>
                  </a:lnTo>
                  <a:lnTo>
                    <a:pt x="651072" y="188345"/>
                  </a:lnTo>
                  <a:lnTo>
                    <a:pt x="653329" y="188488"/>
                  </a:lnTo>
                  <a:lnTo>
                    <a:pt x="656102" y="190501"/>
                  </a:lnTo>
                  <a:lnTo>
                    <a:pt x="655985" y="186595"/>
                  </a:lnTo>
                  <a:lnTo>
                    <a:pt x="662388" y="191991"/>
                  </a:lnTo>
                  <a:lnTo>
                    <a:pt x="672229" y="189068"/>
                  </a:lnTo>
                  <a:lnTo>
                    <a:pt x="690063" y="178146"/>
                  </a:lnTo>
                  <a:lnTo>
                    <a:pt x="689271" y="176261"/>
                  </a:lnTo>
                  <a:lnTo>
                    <a:pt x="688242" y="171964"/>
                  </a:lnTo>
                  <a:lnTo>
                    <a:pt x="687530" y="170031"/>
                  </a:lnTo>
                  <a:lnTo>
                    <a:pt x="690916" y="167367"/>
                  </a:lnTo>
                  <a:lnTo>
                    <a:pt x="694766" y="165664"/>
                  </a:lnTo>
                  <a:lnTo>
                    <a:pt x="698837" y="164979"/>
                  </a:lnTo>
                  <a:lnTo>
                    <a:pt x="703076" y="165313"/>
                  </a:lnTo>
                  <a:lnTo>
                    <a:pt x="703212" y="169544"/>
                  </a:lnTo>
                  <a:lnTo>
                    <a:pt x="698242" y="171002"/>
                  </a:lnTo>
                  <a:lnTo>
                    <a:pt x="695028" y="175640"/>
                  </a:lnTo>
                  <a:lnTo>
                    <a:pt x="693284" y="182236"/>
                  </a:lnTo>
                  <a:lnTo>
                    <a:pt x="692697" y="189398"/>
                  </a:lnTo>
                  <a:lnTo>
                    <a:pt x="696640" y="182014"/>
                  </a:lnTo>
                  <a:lnTo>
                    <a:pt x="698036" y="178130"/>
                  </a:lnTo>
                  <a:lnTo>
                    <a:pt x="699029" y="173561"/>
                  </a:lnTo>
                  <a:lnTo>
                    <a:pt x="702183" y="178909"/>
                  </a:lnTo>
                  <a:lnTo>
                    <a:pt x="705759" y="183848"/>
                  </a:lnTo>
                  <a:lnTo>
                    <a:pt x="709556" y="185498"/>
                  </a:lnTo>
                  <a:lnTo>
                    <a:pt x="713099" y="180963"/>
                  </a:lnTo>
                  <a:lnTo>
                    <a:pt x="717114" y="184326"/>
                  </a:lnTo>
                  <a:lnTo>
                    <a:pt x="720686" y="184048"/>
                  </a:lnTo>
                  <a:lnTo>
                    <a:pt x="723850" y="181271"/>
                  </a:lnTo>
                  <a:lnTo>
                    <a:pt x="726638" y="176992"/>
                  </a:lnTo>
                  <a:lnTo>
                    <a:pt x="727705" y="181378"/>
                  </a:lnTo>
                  <a:lnTo>
                    <a:pt x="729441" y="185441"/>
                  </a:lnTo>
                  <a:lnTo>
                    <a:pt x="731649" y="189025"/>
                  </a:lnTo>
                  <a:lnTo>
                    <a:pt x="737585" y="196139"/>
                  </a:lnTo>
                  <a:lnTo>
                    <a:pt x="738868" y="197144"/>
                  </a:lnTo>
                  <a:lnTo>
                    <a:pt x="740040" y="196477"/>
                  </a:lnTo>
                  <a:lnTo>
                    <a:pt x="743376" y="195600"/>
                  </a:lnTo>
                  <a:lnTo>
                    <a:pt x="749789" y="195806"/>
                  </a:lnTo>
                  <a:lnTo>
                    <a:pt x="753117" y="194718"/>
                  </a:lnTo>
                  <a:lnTo>
                    <a:pt x="756744" y="191244"/>
                  </a:lnTo>
                  <a:lnTo>
                    <a:pt x="759432" y="186545"/>
                  </a:lnTo>
                  <a:lnTo>
                    <a:pt x="762553" y="177152"/>
                  </a:lnTo>
                  <a:lnTo>
                    <a:pt x="765338" y="171402"/>
                  </a:lnTo>
                  <a:lnTo>
                    <a:pt x="773546" y="162672"/>
                  </a:lnTo>
                  <a:lnTo>
                    <a:pt x="786453" y="153637"/>
                  </a:lnTo>
                  <a:lnTo>
                    <a:pt x="799482" y="148221"/>
                  </a:lnTo>
                  <a:lnTo>
                    <a:pt x="808016" y="150432"/>
                  </a:lnTo>
                  <a:lnTo>
                    <a:pt x="803944" y="154697"/>
                  </a:lnTo>
                  <a:lnTo>
                    <a:pt x="804029" y="161516"/>
                  </a:lnTo>
                  <a:lnTo>
                    <a:pt x="806811" y="168680"/>
                  </a:lnTo>
                  <a:lnTo>
                    <a:pt x="810943" y="174119"/>
                  </a:lnTo>
                  <a:lnTo>
                    <a:pt x="825632" y="181083"/>
                  </a:lnTo>
                  <a:lnTo>
                    <a:pt x="829731" y="184775"/>
                  </a:lnTo>
                  <a:lnTo>
                    <a:pt x="823862" y="196281"/>
                  </a:lnTo>
                  <a:lnTo>
                    <a:pt x="825545" y="205019"/>
                  </a:lnTo>
                  <a:lnTo>
                    <a:pt x="835615" y="220062"/>
                  </a:lnTo>
                  <a:lnTo>
                    <a:pt x="836800" y="226258"/>
                  </a:lnTo>
                  <a:lnTo>
                    <a:pt x="837032" y="232441"/>
                  </a:lnTo>
                  <a:lnTo>
                    <a:pt x="838165" y="237242"/>
                  </a:lnTo>
                  <a:lnTo>
                    <a:pt x="841932" y="239059"/>
                  </a:lnTo>
                  <a:lnTo>
                    <a:pt x="856844" y="238503"/>
                  </a:lnTo>
                  <a:lnTo>
                    <a:pt x="857006" y="242733"/>
                  </a:lnTo>
                  <a:lnTo>
                    <a:pt x="853886" y="242944"/>
                  </a:lnTo>
                  <a:lnTo>
                    <a:pt x="851695" y="244004"/>
                  </a:lnTo>
                  <a:lnTo>
                    <a:pt x="848040" y="246607"/>
                  </a:lnTo>
                  <a:lnTo>
                    <a:pt x="858922" y="245151"/>
                  </a:lnTo>
                  <a:lnTo>
                    <a:pt x="876755" y="254461"/>
                  </a:lnTo>
                  <a:lnTo>
                    <a:pt x="888499" y="256802"/>
                  </a:lnTo>
                  <a:lnTo>
                    <a:pt x="897249" y="261164"/>
                  </a:lnTo>
                  <a:lnTo>
                    <a:pt x="909180" y="283440"/>
                  </a:lnTo>
                  <a:lnTo>
                    <a:pt x="918569" y="291099"/>
                  </a:lnTo>
                  <a:lnTo>
                    <a:pt x="913520" y="295003"/>
                  </a:lnTo>
                  <a:lnTo>
                    <a:pt x="909739" y="299274"/>
                  </a:lnTo>
                  <a:lnTo>
                    <a:pt x="918096" y="298872"/>
                  </a:lnTo>
                  <a:lnTo>
                    <a:pt x="930303" y="291978"/>
                  </a:lnTo>
                  <a:lnTo>
                    <a:pt x="936997" y="294266"/>
                  </a:lnTo>
                  <a:lnTo>
                    <a:pt x="934661" y="301067"/>
                  </a:lnTo>
                  <a:lnTo>
                    <a:pt x="933164" y="303783"/>
                  </a:lnTo>
                  <a:lnTo>
                    <a:pt x="930621" y="306261"/>
                  </a:lnTo>
                  <a:lnTo>
                    <a:pt x="934670" y="308520"/>
                  </a:lnTo>
                  <a:lnTo>
                    <a:pt x="937065" y="307047"/>
                  </a:lnTo>
                  <a:lnTo>
                    <a:pt x="939193" y="305074"/>
                  </a:lnTo>
                  <a:lnTo>
                    <a:pt x="942251" y="305787"/>
                  </a:lnTo>
                  <a:lnTo>
                    <a:pt x="944197" y="308596"/>
                  </a:lnTo>
                  <a:lnTo>
                    <a:pt x="949597" y="321483"/>
                  </a:lnTo>
                  <a:lnTo>
                    <a:pt x="954205" y="329745"/>
                  </a:lnTo>
                  <a:lnTo>
                    <a:pt x="959430" y="336374"/>
                  </a:lnTo>
                  <a:lnTo>
                    <a:pt x="965796" y="340208"/>
                  </a:lnTo>
                  <a:lnTo>
                    <a:pt x="973685" y="340016"/>
                  </a:lnTo>
                  <a:lnTo>
                    <a:pt x="973517" y="336111"/>
                  </a:lnTo>
                  <a:lnTo>
                    <a:pt x="970649" y="333599"/>
                  </a:lnTo>
                  <a:lnTo>
                    <a:pt x="966552" y="327228"/>
                  </a:lnTo>
                  <a:lnTo>
                    <a:pt x="963691" y="324809"/>
                  </a:lnTo>
                  <a:lnTo>
                    <a:pt x="963524" y="320904"/>
                  </a:lnTo>
                  <a:lnTo>
                    <a:pt x="1004506" y="310981"/>
                  </a:lnTo>
                  <a:lnTo>
                    <a:pt x="1014216" y="305945"/>
                  </a:lnTo>
                  <a:lnTo>
                    <a:pt x="1030787" y="293474"/>
                  </a:lnTo>
                  <a:lnTo>
                    <a:pt x="1040168" y="289839"/>
                  </a:lnTo>
                  <a:lnTo>
                    <a:pt x="1041829" y="292747"/>
                  </a:lnTo>
                  <a:lnTo>
                    <a:pt x="1041346" y="295284"/>
                  </a:lnTo>
                  <a:lnTo>
                    <a:pt x="1039278" y="297194"/>
                  </a:lnTo>
                  <a:lnTo>
                    <a:pt x="1035970" y="298227"/>
                  </a:lnTo>
                  <a:lnTo>
                    <a:pt x="1036131" y="301759"/>
                  </a:lnTo>
                  <a:lnTo>
                    <a:pt x="1046588" y="306598"/>
                  </a:lnTo>
                  <a:lnTo>
                    <a:pt x="1074203" y="327762"/>
                  </a:lnTo>
                  <a:lnTo>
                    <a:pt x="1074386" y="331645"/>
                  </a:lnTo>
                  <a:lnTo>
                    <a:pt x="1069955" y="340257"/>
                  </a:lnTo>
                  <a:lnTo>
                    <a:pt x="1067717" y="351400"/>
                  </a:lnTo>
                  <a:lnTo>
                    <a:pt x="1064066" y="361630"/>
                  </a:lnTo>
                  <a:lnTo>
                    <a:pt x="1055237" y="367693"/>
                  </a:lnTo>
                  <a:lnTo>
                    <a:pt x="1059423" y="370625"/>
                  </a:lnTo>
                  <a:lnTo>
                    <a:pt x="1069733" y="382682"/>
                  </a:lnTo>
                  <a:lnTo>
                    <a:pt x="1073531" y="388331"/>
                  </a:lnTo>
                  <a:lnTo>
                    <a:pt x="1075569" y="389728"/>
                  </a:lnTo>
                  <a:lnTo>
                    <a:pt x="1085273" y="393330"/>
                  </a:lnTo>
                  <a:lnTo>
                    <a:pt x="1087649" y="394896"/>
                  </a:lnTo>
                  <a:lnTo>
                    <a:pt x="1089337" y="398682"/>
                  </a:lnTo>
                  <a:lnTo>
                    <a:pt x="1090576" y="402817"/>
                  </a:lnTo>
                  <a:lnTo>
                    <a:pt x="1091687" y="405420"/>
                  </a:lnTo>
                  <a:lnTo>
                    <a:pt x="1092168" y="407448"/>
                  </a:lnTo>
                  <a:lnTo>
                    <a:pt x="1091854" y="410073"/>
                  </a:lnTo>
                  <a:lnTo>
                    <a:pt x="1091851" y="412309"/>
                  </a:lnTo>
                  <a:lnTo>
                    <a:pt x="1093211" y="413223"/>
                  </a:lnTo>
                  <a:lnTo>
                    <a:pt x="1098004" y="412531"/>
                  </a:lnTo>
                  <a:lnTo>
                    <a:pt x="1099121" y="412945"/>
                  </a:lnTo>
                  <a:lnTo>
                    <a:pt x="1100998" y="414346"/>
                  </a:lnTo>
                  <a:lnTo>
                    <a:pt x="1103111" y="415504"/>
                  </a:lnTo>
                  <a:lnTo>
                    <a:pt x="1105285" y="416240"/>
                  </a:lnTo>
                  <a:lnTo>
                    <a:pt x="1107187" y="416429"/>
                  </a:lnTo>
                  <a:lnTo>
                    <a:pt x="1111485" y="418530"/>
                  </a:lnTo>
                  <a:lnTo>
                    <a:pt x="1112270" y="423944"/>
                  </a:lnTo>
                  <a:lnTo>
                    <a:pt x="1110500" y="430458"/>
                  </a:lnTo>
                  <a:lnTo>
                    <a:pt x="1106981" y="436006"/>
                  </a:lnTo>
                  <a:lnTo>
                    <a:pt x="1083826" y="457079"/>
                  </a:lnTo>
                  <a:lnTo>
                    <a:pt x="1080664" y="464587"/>
                  </a:lnTo>
                  <a:lnTo>
                    <a:pt x="1084010" y="471420"/>
                  </a:lnTo>
                  <a:lnTo>
                    <a:pt x="1090465" y="474240"/>
                  </a:lnTo>
                  <a:lnTo>
                    <a:pt x="1096789" y="475412"/>
                  </a:lnTo>
                  <a:lnTo>
                    <a:pt x="1099742" y="477369"/>
                  </a:lnTo>
                  <a:lnTo>
                    <a:pt x="1102182" y="483522"/>
                  </a:lnTo>
                  <a:lnTo>
                    <a:pt x="1107468" y="490492"/>
                  </a:lnTo>
                  <a:lnTo>
                    <a:pt x="1113139" y="495115"/>
                  </a:lnTo>
                  <a:lnTo>
                    <a:pt x="1116725" y="494175"/>
                  </a:lnTo>
                  <a:lnTo>
                    <a:pt x="1142575" y="513825"/>
                  </a:lnTo>
                  <a:lnTo>
                    <a:pt x="1153884" y="515836"/>
                  </a:lnTo>
                  <a:lnTo>
                    <a:pt x="1159696" y="522421"/>
                  </a:lnTo>
                  <a:lnTo>
                    <a:pt x="1161080" y="523634"/>
                  </a:lnTo>
                  <a:lnTo>
                    <a:pt x="1169182" y="522579"/>
                  </a:lnTo>
                  <a:lnTo>
                    <a:pt x="1171689" y="523108"/>
                  </a:lnTo>
                  <a:lnTo>
                    <a:pt x="1180442" y="527796"/>
                  </a:lnTo>
                  <a:lnTo>
                    <a:pt x="1184626" y="529285"/>
                  </a:lnTo>
                  <a:lnTo>
                    <a:pt x="1211891" y="529923"/>
                  </a:lnTo>
                  <a:lnTo>
                    <a:pt x="1221251" y="526551"/>
                  </a:lnTo>
                  <a:lnTo>
                    <a:pt x="1224846" y="518441"/>
                  </a:lnTo>
                  <a:lnTo>
                    <a:pt x="1227307" y="516541"/>
                  </a:lnTo>
                  <a:lnTo>
                    <a:pt x="1232776" y="517304"/>
                  </a:lnTo>
                  <a:lnTo>
                    <a:pt x="1237866" y="521814"/>
                  </a:lnTo>
                  <a:lnTo>
                    <a:pt x="1239351" y="531010"/>
                  </a:lnTo>
                  <a:lnTo>
                    <a:pt x="1236911" y="535402"/>
                  </a:lnTo>
                  <a:lnTo>
                    <a:pt x="1221699" y="547591"/>
                  </a:lnTo>
                  <a:lnTo>
                    <a:pt x="1226094" y="549833"/>
                  </a:lnTo>
                  <a:lnTo>
                    <a:pt x="1231138" y="551294"/>
                  </a:lnTo>
                  <a:lnTo>
                    <a:pt x="1236653" y="551752"/>
                  </a:lnTo>
                  <a:lnTo>
                    <a:pt x="1239242" y="551313"/>
                  </a:lnTo>
                  <a:lnTo>
                    <a:pt x="1239232" y="551372"/>
                  </a:lnTo>
                  <a:lnTo>
                    <a:pt x="1240510" y="567403"/>
                  </a:lnTo>
                  <a:lnTo>
                    <a:pt x="1239586" y="576361"/>
                  </a:lnTo>
                  <a:lnTo>
                    <a:pt x="1245292" y="587276"/>
                  </a:lnTo>
                  <a:lnTo>
                    <a:pt x="1253592" y="609093"/>
                  </a:lnTo>
                  <a:lnTo>
                    <a:pt x="1254527" y="614695"/>
                  </a:lnTo>
                  <a:lnTo>
                    <a:pt x="1254741" y="635637"/>
                  </a:lnTo>
                  <a:lnTo>
                    <a:pt x="1255668" y="648285"/>
                  </a:lnTo>
                  <a:lnTo>
                    <a:pt x="1258759" y="659930"/>
                  </a:lnTo>
                  <a:lnTo>
                    <a:pt x="1267702" y="672298"/>
                  </a:lnTo>
                  <a:lnTo>
                    <a:pt x="1271897" y="684031"/>
                  </a:lnTo>
                  <a:lnTo>
                    <a:pt x="1279690" y="695719"/>
                  </a:lnTo>
                  <a:lnTo>
                    <a:pt x="1284860" y="725098"/>
                  </a:lnTo>
                  <a:lnTo>
                    <a:pt x="1293824" y="757992"/>
                  </a:lnTo>
                  <a:lnTo>
                    <a:pt x="1293769" y="758032"/>
                  </a:lnTo>
                  <a:lnTo>
                    <a:pt x="1271498" y="773571"/>
                  </a:lnTo>
                  <a:lnTo>
                    <a:pt x="1262612" y="786516"/>
                  </a:lnTo>
                  <a:lnTo>
                    <a:pt x="1253821" y="791435"/>
                  </a:lnTo>
                  <a:lnTo>
                    <a:pt x="1252121" y="799542"/>
                  </a:lnTo>
                  <a:lnTo>
                    <a:pt x="1247528" y="803346"/>
                  </a:lnTo>
                  <a:lnTo>
                    <a:pt x="1224899" y="802334"/>
                  </a:lnTo>
                  <a:lnTo>
                    <a:pt x="1211789" y="799690"/>
                  </a:lnTo>
                  <a:lnTo>
                    <a:pt x="1197381" y="798258"/>
                  </a:lnTo>
                  <a:lnTo>
                    <a:pt x="1196923" y="791356"/>
                  </a:lnTo>
                  <a:lnTo>
                    <a:pt x="1197131" y="787114"/>
                  </a:lnTo>
                  <a:lnTo>
                    <a:pt x="1224808" y="766216"/>
                  </a:lnTo>
                  <a:lnTo>
                    <a:pt x="1235982" y="746040"/>
                  </a:lnTo>
                  <a:lnTo>
                    <a:pt x="1240625" y="733327"/>
                  </a:lnTo>
                  <a:lnTo>
                    <a:pt x="1241650" y="722581"/>
                  </a:lnTo>
                  <a:lnTo>
                    <a:pt x="1240319" y="707507"/>
                  </a:lnTo>
                  <a:lnTo>
                    <a:pt x="1232285" y="706142"/>
                  </a:lnTo>
                  <a:lnTo>
                    <a:pt x="1218039" y="707769"/>
                  </a:lnTo>
                  <a:lnTo>
                    <a:pt x="1205543" y="702170"/>
                  </a:lnTo>
                  <a:lnTo>
                    <a:pt x="1197167" y="704377"/>
                  </a:lnTo>
                  <a:lnTo>
                    <a:pt x="1190784" y="714497"/>
                  </a:lnTo>
                  <a:lnTo>
                    <a:pt x="1182222" y="713144"/>
                  </a:lnTo>
                  <a:lnTo>
                    <a:pt x="1174798" y="710553"/>
                  </a:lnTo>
                  <a:lnTo>
                    <a:pt x="1154468" y="710058"/>
                  </a:lnTo>
                  <a:lnTo>
                    <a:pt x="1130730" y="712986"/>
                  </a:lnTo>
                  <a:lnTo>
                    <a:pt x="1125048" y="705241"/>
                  </a:lnTo>
                  <a:lnTo>
                    <a:pt x="1122870" y="697568"/>
                  </a:lnTo>
                  <a:lnTo>
                    <a:pt x="1112170" y="680021"/>
                  </a:lnTo>
                  <a:lnTo>
                    <a:pt x="1111046" y="667605"/>
                  </a:lnTo>
                  <a:lnTo>
                    <a:pt x="1094897" y="662128"/>
                  </a:lnTo>
                  <a:lnTo>
                    <a:pt x="1085818" y="649189"/>
                  </a:lnTo>
                  <a:lnTo>
                    <a:pt x="1079967" y="648567"/>
                  </a:lnTo>
                  <a:lnTo>
                    <a:pt x="1079849" y="659201"/>
                  </a:lnTo>
                  <a:lnTo>
                    <a:pt x="1089140" y="674862"/>
                  </a:lnTo>
                  <a:lnTo>
                    <a:pt x="1091060" y="681897"/>
                  </a:lnTo>
                  <a:lnTo>
                    <a:pt x="1081219" y="686803"/>
                  </a:lnTo>
                  <a:lnTo>
                    <a:pt x="1069542" y="686445"/>
                  </a:lnTo>
                  <a:lnTo>
                    <a:pt x="1057457" y="688772"/>
                  </a:lnTo>
                  <a:lnTo>
                    <a:pt x="1037623" y="707465"/>
                  </a:lnTo>
                  <a:lnTo>
                    <a:pt x="1031783" y="719296"/>
                  </a:lnTo>
                  <a:lnTo>
                    <a:pt x="1024406" y="726837"/>
                  </a:lnTo>
                  <a:lnTo>
                    <a:pt x="1012319" y="727879"/>
                  </a:lnTo>
                  <a:lnTo>
                    <a:pt x="1006130" y="731531"/>
                  </a:lnTo>
                  <a:lnTo>
                    <a:pt x="1001555" y="736266"/>
                  </a:lnTo>
                  <a:lnTo>
                    <a:pt x="999243" y="742797"/>
                  </a:lnTo>
                  <a:lnTo>
                    <a:pt x="997858" y="753653"/>
                  </a:lnTo>
                  <a:lnTo>
                    <a:pt x="992052" y="767726"/>
                  </a:lnTo>
                  <a:lnTo>
                    <a:pt x="987958" y="781106"/>
                  </a:lnTo>
                  <a:lnTo>
                    <a:pt x="983755" y="787419"/>
                  </a:lnTo>
                  <a:lnTo>
                    <a:pt x="979989" y="791167"/>
                  </a:lnTo>
                  <a:lnTo>
                    <a:pt x="976441" y="792557"/>
                  </a:lnTo>
                  <a:lnTo>
                    <a:pt x="959077" y="807853"/>
                  </a:lnTo>
                  <a:lnTo>
                    <a:pt x="953126" y="810238"/>
                  </a:lnTo>
                  <a:lnTo>
                    <a:pt x="946809" y="808882"/>
                  </a:lnTo>
                  <a:lnTo>
                    <a:pt x="940487" y="805216"/>
                  </a:lnTo>
                  <a:lnTo>
                    <a:pt x="932718" y="802021"/>
                  </a:lnTo>
                  <a:lnTo>
                    <a:pt x="925492" y="800826"/>
                  </a:lnTo>
                  <a:lnTo>
                    <a:pt x="916576" y="802049"/>
                  </a:lnTo>
                  <a:lnTo>
                    <a:pt x="911178" y="805053"/>
                  </a:lnTo>
                  <a:lnTo>
                    <a:pt x="907403" y="808911"/>
                  </a:lnTo>
                  <a:lnTo>
                    <a:pt x="905702" y="811978"/>
                  </a:lnTo>
                  <a:lnTo>
                    <a:pt x="902652" y="819518"/>
                  </a:lnTo>
                  <a:lnTo>
                    <a:pt x="901704" y="822454"/>
                  </a:lnTo>
                  <a:lnTo>
                    <a:pt x="901397" y="824107"/>
                  </a:lnTo>
                  <a:lnTo>
                    <a:pt x="901125" y="828021"/>
                  </a:lnTo>
                  <a:lnTo>
                    <a:pt x="900080" y="833931"/>
                  </a:lnTo>
                  <a:lnTo>
                    <a:pt x="890482" y="834312"/>
                  </a:lnTo>
                  <a:lnTo>
                    <a:pt x="886200" y="832535"/>
                  </a:lnTo>
                  <a:lnTo>
                    <a:pt x="885251" y="831316"/>
                  </a:lnTo>
                  <a:lnTo>
                    <a:pt x="882852" y="826896"/>
                  </a:lnTo>
                  <a:lnTo>
                    <a:pt x="878235" y="821361"/>
                  </a:lnTo>
                  <a:lnTo>
                    <a:pt x="875751" y="820242"/>
                  </a:lnTo>
                  <a:lnTo>
                    <a:pt x="873354" y="820006"/>
                  </a:lnTo>
                  <a:lnTo>
                    <a:pt x="870616" y="821068"/>
                  </a:lnTo>
                  <a:lnTo>
                    <a:pt x="869173" y="822216"/>
                  </a:lnTo>
                  <a:lnTo>
                    <a:pt x="868103" y="823423"/>
                  </a:lnTo>
                  <a:lnTo>
                    <a:pt x="867269" y="825229"/>
                  </a:lnTo>
                  <a:lnTo>
                    <a:pt x="865360" y="826705"/>
                  </a:lnTo>
                  <a:lnTo>
                    <a:pt x="862447" y="828305"/>
                  </a:lnTo>
                  <a:lnTo>
                    <a:pt x="860907" y="829722"/>
                  </a:lnTo>
                  <a:lnTo>
                    <a:pt x="859737" y="831110"/>
                  </a:lnTo>
                  <a:lnTo>
                    <a:pt x="859207" y="832563"/>
                  </a:lnTo>
                  <a:lnTo>
                    <a:pt x="858579" y="835662"/>
                  </a:lnTo>
                  <a:lnTo>
                    <a:pt x="858362" y="836971"/>
                  </a:lnTo>
                  <a:lnTo>
                    <a:pt x="858079" y="837944"/>
                  </a:lnTo>
                  <a:lnTo>
                    <a:pt x="857694" y="839021"/>
                  </a:lnTo>
                  <a:lnTo>
                    <a:pt x="857102" y="840241"/>
                  </a:lnTo>
                  <a:lnTo>
                    <a:pt x="856298" y="841467"/>
                  </a:lnTo>
                  <a:lnTo>
                    <a:pt x="855226" y="842661"/>
                  </a:lnTo>
                  <a:lnTo>
                    <a:pt x="852214" y="845032"/>
                  </a:lnTo>
                  <a:lnTo>
                    <a:pt x="847866" y="849597"/>
                  </a:lnTo>
                  <a:lnTo>
                    <a:pt x="838069" y="856365"/>
                  </a:lnTo>
                  <a:lnTo>
                    <a:pt x="836169" y="858208"/>
                  </a:lnTo>
                  <a:lnTo>
                    <a:pt x="832699" y="862708"/>
                  </a:lnTo>
                  <a:lnTo>
                    <a:pt x="831247" y="865184"/>
                  </a:lnTo>
                  <a:lnTo>
                    <a:pt x="822903" y="874261"/>
                  </a:lnTo>
                  <a:lnTo>
                    <a:pt x="814175" y="876089"/>
                  </a:lnTo>
                  <a:lnTo>
                    <a:pt x="805872" y="872901"/>
                  </a:lnTo>
                  <a:lnTo>
                    <a:pt x="803898" y="871195"/>
                  </a:lnTo>
                  <a:lnTo>
                    <a:pt x="803193" y="869268"/>
                  </a:lnTo>
                  <a:lnTo>
                    <a:pt x="803846" y="868180"/>
                  </a:lnTo>
                  <a:lnTo>
                    <a:pt x="804712" y="867087"/>
                  </a:lnTo>
                  <a:lnTo>
                    <a:pt x="806885" y="865356"/>
                  </a:lnTo>
                  <a:lnTo>
                    <a:pt x="807745" y="864115"/>
                  </a:lnTo>
                  <a:lnTo>
                    <a:pt x="808169" y="862576"/>
                  </a:lnTo>
                  <a:lnTo>
                    <a:pt x="807281" y="859961"/>
                  </a:lnTo>
                  <a:lnTo>
                    <a:pt x="805973" y="859031"/>
                  </a:lnTo>
                  <a:lnTo>
                    <a:pt x="804588" y="858958"/>
                  </a:lnTo>
                  <a:lnTo>
                    <a:pt x="803504" y="859884"/>
                  </a:lnTo>
                  <a:lnTo>
                    <a:pt x="801733" y="860921"/>
                  </a:lnTo>
                  <a:lnTo>
                    <a:pt x="799105" y="861779"/>
                  </a:lnTo>
                  <a:lnTo>
                    <a:pt x="789905" y="862181"/>
                  </a:lnTo>
                  <a:lnTo>
                    <a:pt x="787584" y="862672"/>
                  </a:lnTo>
                  <a:lnTo>
                    <a:pt x="784445" y="864184"/>
                  </a:lnTo>
                  <a:lnTo>
                    <a:pt x="781868" y="864995"/>
                  </a:lnTo>
                  <a:lnTo>
                    <a:pt x="776452" y="865721"/>
                  </a:lnTo>
                  <a:lnTo>
                    <a:pt x="773734" y="865501"/>
                  </a:lnTo>
                  <a:lnTo>
                    <a:pt x="771362" y="864530"/>
                  </a:lnTo>
                  <a:lnTo>
                    <a:pt x="766338" y="860512"/>
                  </a:lnTo>
                  <a:lnTo>
                    <a:pt x="763913" y="859528"/>
                  </a:lnTo>
                  <a:lnTo>
                    <a:pt x="761503" y="858957"/>
                  </a:lnTo>
                  <a:lnTo>
                    <a:pt x="756695" y="858758"/>
                  </a:lnTo>
                  <a:lnTo>
                    <a:pt x="741726" y="862566"/>
                  </a:lnTo>
                  <a:lnTo>
                    <a:pt x="739281" y="862554"/>
                  </a:lnTo>
                  <a:lnTo>
                    <a:pt x="737570" y="862240"/>
                  </a:lnTo>
                  <a:lnTo>
                    <a:pt x="735838" y="861260"/>
                  </a:lnTo>
                  <a:lnTo>
                    <a:pt x="734892" y="860491"/>
                  </a:lnTo>
                  <a:lnTo>
                    <a:pt x="734115" y="859481"/>
                  </a:lnTo>
                  <a:lnTo>
                    <a:pt x="733588" y="857962"/>
                  </a:lnTo>
                  <a:lnTo>
                    <a:pt x="733281" y="856640"/>
                  </a:lnTo>
                  <a:lnTo>
                    <a:pt x="733314" y="852693"/>
                  </a:lnTo>
                  <a:lnTo>
                    <a:pt x="732315" y="844725"/>
                  </a:lnTo>
                  <a:lnTo>
                    <a:pt x="729282" y="842870"/>
                  </a:lnTo>
                  <a:lnTo>
                    <a:pt x="720779" y="842693"/>
                  </a:lnTo>
                  <a:lnTo>
                    <a:pt x="706314" y="839146"/>
                  </a:lnTo>
                  <a:lnTo>
                    <a:pt x="696794" y="829974"/>
                  </a:lnTo>
                  <a:lnTo>
                    <a:pt x="692042" y="827841"/>
                  </a:lnTo>
                  <a:lnTo>
                    <a:pt x="690185" y="827868"/>
                  </a:lnTo>
                  <a:lnTo>
                    <a:pt x="653665" y="819544"/>
                  </a:lnTo>
                  <a:lnTo>
                    <a:pt x="648439" y="820447"/>
                  </a:lnTo>
                  <a:lnTo>
                    <a:pt x="643248" y="822575"/>
                  </a:lnTo>
                  <a:lnTo>
                    <a:pt x="631062" y="823799"/>
                  </a:lnTo>
                  <a:lnTo>
                    <a:pt x="627869" y="823444"/>
                  </a:lnTo>
                  <a:lnTo>
                    <a:pt x="625674" y="822736"/>
                  </a:lnTo>
                  <a:lnTo>
                    <a:pt x="624584" y="821670"/>
                  </a:lnTo>
                  <a:lnTo>
                    <a:pt x="621463" y="816878"/>
                  </a:lnTo>
                  <a:lnTo>
                    <a:pt x="620371" y="815725"/>
                  </a:lnTo>
                  <a:lnTo>
                    <a:pt x="610470" y="810433"/>
                  </a:lnTo>
                  <a:lnTo>
                    <a:pt x="608355" y="808687"/>
                  </a:lnTo>
                  <a:lnTo>
                    <a:pt x="607582" y="807584"/>
                  </a:lnTo>
                  <a:lnTo>
                    <a:pt x="605676" y="805714"/>
                  </a:lnTo>
                  <a:lnTo>
                    <a:pt x="604360" y="804065"/>
                  </a:lnTo>
                  <a:lnTo>
                    <a:pt x="593852" y="796256"/>
                  </a:lnTo>
                  <a:lnTo>
                    <a:pt x="591650" y="795115"/>
                  </a:lnTo>
                  <a:lnTo>
                    <a:pt x="579049" y="788005"/>
                  </a:lnTo>
                  <a:lnTo>
                    <a:pt x="557457" y="783152"/>
                  </a:lnTo>
                  <a:lnTo>
                    <a:pt x="554940" y="782016"/>
                  </a:lnTo>
                  <a:lnTo>
                    <a:pt x="552412" y="778309"/>
                  </a:lnTo>
                  <a:lnTo>
                    <a:pt x="549185" y="771973"/>
                  </a:lnTo>
                  <a:lnTo>
                    <a:pt x="546830" y="768751"/>
                  </a:lnTo>
                  <a:lnTo>
                    <a:pt x="544791" y="767617"/>
                  </a:lnTo>
                  <a:lnTo>
                    <a:pt x="542822" y="767206"/>
                  </a:lnTo>
                  <a:lnTo>
                    <a:pt x="541117" y="767424"/>
                  </a:lnTo>
                  <a:lnTo>
                    <a:pt x="538445" y="768553"/>
                  </a:lnTo>
                  <a:lnTo>
                    <a:pt x="531858" y="774162"/>
                  </a:lnTo>
                  <a:lnTo>
                    <a:pt x="530397" y="775082"/>
                  </a:lnTo>
                  <a:lnTo>
                    <a:pt x="528144" y="776023"/>
                  </a:lnTo>
                  <a:lnTo>
                    <a:pt x="526704" y="775599"/>
                  </a:lnTo>
                  <a:lnTo>
                    <a:pt x="521202" y="769770"/>
                  </a:lnTo>
                  <a:lnTo>
                    <a:pt x="519281" y="769090"/>
                  </a:lnTo>
                  <a:lnTo>
                    <a:pt x="517802" y="769170"/>
                  </a:lnTo>
                  <a:lnTo>
                    <a:pt x="514918" y="770330"/>
                  </a:lnTo>
                  <a:lnTo>
                    <a:pt x="509962" y="771167"/>
                  </a:lnTo>
                  <a:lnTo>
                    <a:pt x="504111" y="774579"/>
                  </a:lnTo>
                  <a:lnTo>
                    <a:pt x="500999" y="775818"/>
                  </a:lnTo>
                  <a:lnTo>
                    <a:pt x="499250" y="775737"/>
                  </a:lnTo>
                  <a:lnTo>
                    <a:pt x="494499" y="785050"/>
                  </a:lnTo>
                  <a:lnTo>
                    <a:pt x="485607" y="791474"/>
                  </a:lnTo>
                  <a:lnTo>
                    <a:pt x="485252" y="799489"/>
                  </a:lnTo>
                  <a:lnTo>
                    <a:pt x="482258" y="808451"/>
                  </a:lnTo>
                  <a:lnTo>
                    <a:pt x="476961" y="809453"/>
                  </a:lnTo>
                  <a:lnTo>
                    <a:pt x="471208" y="814024"/>
                  </a:lnTo>
                  <a:lnTo>
                    <a:pt x="464446" y="821285"/>
                  </a:lnTo>
                  <a:lnTo>
                    <a:pt x="457922" y="818623"/>
                  </a:lnTo>
                  <a:lnTo>
                    <a:pt x="452177" y="820337"/>
                  </a:lnTo>
                  <a:lnTo>
                    <a:pt x="439022" y="827140"/>
                  </a:lnTo>
                  <a:lnTo>
                    <a:pt x="431235" y="837079"/>
                  </a:lnTo>
                  <a:lnTo>
                    <a:pt x="421827" y="834886"/>
                  </a:lnTo>
                  <a:lnTo>
                    <a:pt x="418879" y="836095"/>
                  </a:lnTo>
                  <a:lnTo>
                    <a:pt x="415840" y="838087"/>
                  </a:lnTo>
                  <a:lnTo>
                    <a:pt x="422840" y="843470"/>
                  </a:lnTo>
                  <a:lnTo>
                    <a:pt x="424060" y="851453"/>
                  </a:lnTo>
                  <a:lnTo>
                    <a:pt x="413392" y="850766"/>
                  </a:lnTo>
                  <a:lnTo>
                    <a:pt x="405937" y="850904"/>
                  </a:lnTo>
                  <a:lnTo>
                    <a:pt x="398530" y="853711"/>
                  </a:lnTo>
                  <a:lnTo>
                    <a:pt x="391687" y="858283"/>
                  </a:lnTo>
                  <a:lnTo>
                    <a:pt x="387249" y="848575"/>
                  </a:lnTo>
                  <a:lnTo>
                    <a:pt x="376249" y="839794"/>
                  </a:lnTo>
                  <a:lnTo>
                    <a:pt x="372193" y="838415"/>
                  </a:lnTo>
                  <a:lnTo>
                    <a:pt x="360463" y="839325"/>
                  </a:lnTo>
                  <a:lnTo>
                    <a:pt x="341940" y="846688"/>
                  </a:lnTo>
                  <a:lnTo>
                    <a:pt x="335271" y="851227"/>
                  </a:lnTo>
                  <a:lnTo>
                    <a:pt x="320341" y="865494"/>
                  </a:lnTo>
                  <a:lnTo>
                    <a:pt x="318302" y="871153"/>
                  </a:lnTo>
                  <a:lnTo>
                    <a:pt x="319271" y="875441"/>
                  </a:lnTo>
                  <a:lnTo>
                    <a:pt x="321919" y="878296"/>
                  </a:lnTo>
                  <a:lnTo>
                    <a:pt x="323827" y="881458"/>
                  </a:lnTo>
                  <a:lnTo>
                    <a:pt x="324951" y="885431"/>
                  </a:lnTo>
                  <a:lnTo>
                    <a:pt x="326004" y="895049"/>
                  </a:lnTo>
                  <a:lnTo>
                    <a:pt x="327556" y="899105"/>
                  </a:lnTo>
                  <a:lnTo>
                    <a:pt x="325318" y="908311"/>
                  </a:lnTo>
                  <a:lnTo>
                    <a:pt x="318459" y="913752"/>
                  </a:lnTo>
                  <a:lnTo>
                    <a:pt x="309396" y="914776"/>
                  </a:lnTo>
                  <a:lnTo>
                    <a:pt x="300242" y="909570"/>
                  </a:lnTo>
                  <a:lnTo>
                    <a:pt x="290559" y="904367"/>
                  </a:lnTo>
                  <a:lnTo>
                    <a:pt x="279351" y="904520"/>
                  </a:lnTo>
                  <a:lnTo>
                    <a:pt x="274049" y="907260"/>
                  </a:lnTo>
                  <a:lnTo>
                    <a:pt x="273065" y="913499"/>
                  </a:lnTo>
                  <a:lnTo>
                    <a:pt x="272637" y="921511"/>
                  </a:lnTo>
                  <a:lnTo>
                    <a:pt x="266217" y="920704"/>
                  </a:lnTo>
                  <a:lnTo>
                    <a:pt x="258160" y="917248"/>
                  </a:lnTo>
                  <a:lnTo>
                    <a:pt x="246946" y="917386"/>
                  </a:lnTo>
                  <a:lnTo>
                    <a:pt x="238915" y="915704"/>
                  </a:lnTo>
                  <a:lnTo>
                    <a:pt x="231450" y="916681"/>
                  </a:lnTo>
                  <a:lnTo>
                    <a:pt x="231303" y="916700"/>
                  </a:lnTo>
                  <a:lnTo>
                    <a:pt x="227219" y="909216"/>
                  </a:lnTo>
                  <a:lnTo>
                    <a:pt x="224914" y="906109"/>
                  </a:lnTo>
                  <a:lnTo>
                    <a:pt x="219344" y="902831"/>
                  </a:lnTo>
                  <a:lnTo>
                    <a:pt x="216766" y="898990"/>
                  </a:lnTo>
                  <a:lnTo>
                    <a:pt x="214117" y="896595"/>
                  </a:lnTo>
                  <a:lnTo>
                    <a:pt x="210650" y="898936"/>
                  </a:lnTo>
                  <a:lnTo>
                    <a:pt x="206199" y="903860"/>
                  </a:lnTo>
                  <a:lnTo>
                    <a:pt x="203785" y="903619"/>
                  </a:lnTo>
                  <a:lnTo>
                    <a:pt x="200191" y="897273"/>
                  </a:lnTo>
                  <a:lnTo>
                    <a:pt x="197439" y="893429"/>
                  </a:lnTo>
                  <a:lnTo>
                    <a:pt x="195434" y="889682"/>
                  </a:lnTo>
                  <a:lnTo>
                    <a:pt x="193383" y="886614"/>
                  </a:lnTo>
                  <a:lnTo>
                    <a:pt x="190496" y="884928"/>
                  </a:lnTo>
                  <a:lnTo>
                    <a:pt x="186144" y="885651"/>
                  </a:lnTo>
                  <a:lnTo>
                    <a:pt x="182629" y="888582"/>
                  </a:lnTo>
                  <a:lnTo>
                    <a:pt x="179859" y="891740"/>
                  </a:lnTo>
                  <a:lnTo>
                    <a:pt x="174524" y="895424"/>
                  </a:lnTo>
                  <a:lnTo>
                    <a:pt x="171283" y="899590"/>
                  </a:lnTo>
                  <a:lnTo>
                    <a:pt x="167778" y="902103"/>
                  </a:lnTo>
                  <a:lnTo>
                    <a:pt x="163712" y="899391"/>
                  </a:lnTo>
                  <a:lnTo>
                    <a:pt x="160399" y="895698"/>
                  </a:lnTo>
                  <a:lnTo>
                    <a:pt x="150741" y="889559"/>
                  </a:lnTo>
                  <a:lnTo>
                    <a:pt x="112827" y="854353"/>
                  </a:lnTo>
                  <a:lnTo>
                    <a:pt x="81585" y="836446"/>
                  </a:lnTo>
                  <a:lnTo>
                    <a:pt x="70612" y="827624"/>
                  </a:lnTo>
                  <a:lnTo>
                    <a:pt x="63546" y="817481"/>
                  </a:lnTo>
                  <a:lnTo>
                    <a:pt x="59535" y="813613"/>
                  </a:lnTo>
                  <a:lnTo>
                    <a:pt x="52921" y="812092"/>
                  </a:lnTo>
                  <a:lnTo>
                    <a:pt x="47309" y="808968"/>
                  </a:lnTo>
                  <a:lnTo>
                    <a:pt x="45635" y="801395"/>
                  </a:lnTo>
                  <a:lnTo>
                    <a:pt x="45491" y="792178"/>
                  </a:lnTo>
                  <a:lnTo>
                    <a:pt x="44523" y="784085"/>
                  </a:lnTo>
                  <a:lnTo>
                    <a:pt x="37024" y="774763"/>
                  </a:lnTo>
                  <a:lnTo>
                    <a:pt x="25338" y="771746"/>
                  </a:lnTo>
                  <a:lnTo>
                    <a:pt x="0" y="772878"/>
                  </a:lnTo>
                  <a:lnTo>
                    <a:pt x="3691" y="767670"/>
                  </a:lnTo>
                  <a:lnTo>
                    <a:pt x="7132" y="761898"/>
                  </a:lnTo>
                  <a:lnTo>
                    <a:pt x="8338" y="758320"/>
                  </a:lnTo>
                  <a:lnTo>
                    <a:pt x="8808" y="755867"/>
                  </a:lnTo>
                  <a:lnTo>
                    <a:pt x="8645" y="754212"/>
                  </a:lnTo>
                  <a:lnTo>
                    <a:pt x="8535" y="752470"/>
                  </a:lnTo>
                  <a:lnTo>
                    <a:pt x="8790" y="748923"/>
                  </a:lnTo>
                  <a:lnTo>
                    <a:pt x="11541" y="730877"/>
                  </a:lnTo>
                  <a:lnTo>
                    <a:pt x="12012" y="729368"/>
                  </a:lnTo>
                  <a:lnTo>
                    <a:pt x="13380" y="727591"/>
                  </a:lnTo>
                  <a:lnTo>
                    <a:pt x="15540" y="725888"/>
                  </a:lnTo>
                  <a:lnTo>
                    <a:pt x="20285" y="723451"/>
                  </a:lnTo>
                  <a:lnTo>
                    <a:pt x="22976" y="722821"/>
                  </a:lnTo>
                  <a:lnTo>
                    <a:pt x="24877" y="722740"/>
                  </a:lnTo>
                  <a:lnTo>
                    <a:pt x="28859" y="724191"/>
                  </a:lnTo>
                  <a:lnTo>
                    <a:pt x="30441" y="723684"/>
                  </a:lnTo>
                  <a:lnTo>
                    <a:pt x="31651" y="722321"/>
                  </a:lnTo>
                  <a:lnTo>
                    <a:pt x="32537" y="719272"/>
                  </a:lnTo>
                  <a:lnTo>
                    <a:pt x="33004" y="717011"/>
                  </a:lnTo>
                  <a:lnTo>
                    <a:pt x="34047" y="713476"/>
                  </a:lnTo>
                  <a:lnTo>
                    <a:pt x="34940" y="712203"/>
                  </a:lnTo>
                  <a:lnTo>
                    <a:pt x="36255" y="711237"/>
                  </a:lnTo>
                  <a:lnTo>
                    <a:pt x="42215" y="710254"/>
                  </a:lnTo>
                  <a:lnTo>
                    <a:pt x="48817" y="707509"/>
                  </a:lnTo>
                  <a:lnTo>
                    <a:pt x="52297" y="706888"/>
                  </a:lnTo>
                  <a:lnTo>
                    <a:pt x="53929" y="706187"/>
                  </a:lnTo>
                  <a:lnTo>
                    <a:pt x="69080" y="693971"/>
                  </a:lnTo>
                  <a:lnTo>
                    <a:pt x="74337" y="690855"/>
                  </a:lnTo>
                  <a:lnTo>
                    <a:pt x="75070" y="689891"/>
                  </a:lnTo>
                  <a:lnTo>
                    <a:pt x="74691" y="687974"/>
                  </a:lnTo>
                  <a:lnTo>
                    <a:pt x="74840" y="686259"/>
                  </a:lnTo>
                  <a:lnTo>
                    <a:pt x="75403" y="683019"/>
                  </a:lnTo>
                  <a:lnTo>
                    <a:pt x="75499" y="681424"/>
                  </a:lnTo>
                  <a:lnTo>
                    <a:pt x="76068" y="679456"/>
                  </a:lnTo>
                  <a:lnTo>
                    <a:pt x="78358" y="674095"/>
                  </a:lnTo>
                  <a:lnTo>
                    <a:pt x="78662" y="671967"/>
                  </a:lnTo>
                  <a:lnTo>
                    <a:pt x="78600" y="670120"/>
                  </a:lnTo>
                  <a:lnTo>
                    <a:pt x="77845" y="667081"/>
                  </a:lnTo>
                  <a:lnTo>
                    <a:pt x="76977" y="662344"/>
                  </a:lnTo>
                  <a:lnTo>
                    <a:pt x="76863" y="660748"/>
                  </a:lnTo>
                  <a:lnTo>
                    <a:pt x="77328" y="659238"/>
                  </a:lnTo>
                  <a:lnTo>
                    <a:pt x="78534" y="658198"/>
                  </a:lnTo>
                  <a:lnTo>
                    <a:pt x="81325" y="658183"/>
                  </a:lnTo>
                  <a:lnTo>
                    <a:pt x="84142" y="659748"/>
                  </a:lnTo>
                  <a:lnTo>
                    <a:pt x="85356" y="660169"/>
                  </a:lnTo>
                  <a:lnTo>
                    <a:pt x="86884" y="660250"/>
                  </a:lnTo>
                  <a:lnTo>
                    <a:pt x="102421" y="657791"/>
                  </a:lnTo>
                  <a:lnTo>
                    <a:pt x="103844" y="657856"/>
                  </a:lnTo>
                  <a:lnTo>
                    <a:pt x="105110" y="658336"/>
                  </a:lnTo>
                  <a:lnTo>
                    <a:pt x="106275" y="659273"/>
                  </a:lnTo>
                  <a:lnTo>
                    <a:pt x="107073" y="660391"/>
                  </a:lnTo>
                  <a:lnTo>
                    <a:pt x="107714" y="661715"/>
                  </a:lnTo>
                  <a:lnTo>
                    <a:pt x="108249" y="663042"/>
                  </a:lnTo>
                  <a:lnTo>
                    <a:pt x="108681" y="664516"/>
                  </a:lnTo>
                  <a:lnTo>
                    <a:pt x="109072" y="667868"/>
                  </a:lnTo>
                  <a:lnTo>
                    <a:pt x="109399" y="669460"/>
                  </a:lnTo>
                  <a:lnTo>
                    <a:pt x="110144" y="670594"/>
                  </a:lnTo>
                  <a:lnTo>
                    <a:pt x="111151" y="671385"/>
                  </a:lnTo>
                  <a:lnTo>
                    <a:pt x="112674" y="670725"/>
                  </a:lnTo>
                  <a:lnTo>
                    <a:pt x="114243" y="669031"/>
                  </a:lnTo>
                  <a:lnTo>
                    <a:pt x="116321" y="664909"/>
                  </a:lnTo>
                  <a:lnTo>
                    <a:pt x="118153" y="663299"/>
                  </a:lnTo>
                  <a:lnTo>
                    <a:pt x="119356" y="661991"/>
                  </a:lnTo>
                  <a:lnTo>
                    <a:pt x="119718" y="661221"/>
                  </a:lnTo>
                  <a:lnTo>
                    <a:pt x="118553" y="660239"/>
                  </a:lnTo>
                  <a:lnTo>
                    <a:pt x="115969" y="659724"/>
                  </a:lnTo>
                  <a:lnTo>
                    <a:pt x="115597" y="659210"/>
                  </a:lnTo>
                  <a:lnTo>
                    <a:pt x="118062" y="657834"/>
                  </a:lnTo>
                  <a:lnTo>
                    <a:pt x="119213" y="656910"/>
                  </a:lnTo>
                  <a:lnTo>
                    <a:pt x="119459" y="654456"/>
                  </a:lnTo>
                  <a:lnTo>
                    <a:pt x="119064" y="650795"/>
                  </a:lnTo>
                  <a:lnTo>
                    <a:pt x="114850" y="635371"/>
                  </a:lnTo>
                  <a:lnTo>
                    <a:pt x="114518" y="625475"/>
                  </a:lnTo>
                  <a:lnTo>
                    <a:pt x="117191" y="624274"/>
                  </a:lnTo>
                  <a:lnTo>
                    <a:pt x="119017" y="622265"/>
                  </a:lnTo>
                  <a:lnTo>
                    <a:pt x="119603" y="620918"/>
                  </a:lnTo>
                  <a:lnTo>
                    <a:pt x="119944" y="619497"/>
                  </a:lnTo>
                  <a:lnTo>
                    <a:pt x="119932" y="617931"/>
                  </a:lnTo>
                  <a:lnTo>
                    <a:pt x="119816" y="616366"/>
                  </a:lnTo>
                  <a:lnTo>
                    <a:pt x="119978" y="614607"/>
                  </a:lnTo>
                  <a:lnTo>
                    <a:pt x="120072" y="613069"/>
                  </a:lnTo>
                  <a:lnTo>
                    <a:pt x="119956" y="611608"/>
                  </a:lnTo>
                  <a:lnTo>
                    <a:pt x="119561" y="610147"/>
                  </a:lnTo>
                  <a:lnTo>
                    <a:pt x="116631" y="604748"/>
                  </a:lnTo>
                  <a:lnTo>
                    <a:pt x="116251" y="602918"/>
                  </a:lnTo>
                  <a:lnTo>
                    <a:pt x="116133" y="601102"/>
                  </a:lnTo>
                  <a:lnTo>
                    <a:pt x="116331" y="599504"/>
                  </a:lnTo>
                  <a:lnTo>
                    <a:pt x="116267" y="597821"/>
                  </a:lnTo>
                  <a:lnTo>
                    <a:pt x="115308" y="595832"/>
                  </a:lnTo>
                  <a:lnTo>
                    <a:pt x="113715" y="593465"/>
                  </a:lnTo>
                  <a:lnTo>
                    <a:pt x="109326" y="589078"/>
                  </a:lnTo>
                  <a:lnTo>
                    <a:pt x="105687" y="586620"/>
                  </a:lnTo>
                  <a:lnTo>
                    <a:pt x="99248" y="584297"/>
                  </a:lnTo>
                  <a:lnTo>
                    <a:pt x="96095" y="583756"/>
                  </a:lnTo>
                  <a:lnTo>
                    <a:pt x="93575" y="583726"/>
                  </a:lnTo>
                  <a:lnTo>
                    <a:pt x="89067" y="584950"/>
                  </a:lnTo>
                  <a:lnTo>
                    <a:pt x="86328" y="583415"/>
                  </a:lnTo>
                  <a:lnTo>
                    <a:pt x="82634" y="580038"/>
                  </a:lnTo>
                  <a:lnTo>
                    <a:pt x="75321" y="570431"/>
                  </a:lnTo>
                  <a:lnTo>
                    <a:pt x="72673" y="565924"/>
                  </a:lnTo>
                  <a:lnTo>
                    <a:pt x="70033" y="562570"/>
                  </a:lnTo>
                  <a:lnTo>
                    <a:pt x="68768" y="561438"/>
                  </a:lnTo>
                  <a:lnTo>
                    <a:pt x="59350" y="558825"/>
                  </a:lnTo>
                  <a:lnTo>
                    <a:pt x="56360" y="558854"/>
                  </a:lnTo>
                  <a:lnTo>
                    <a:pt x="53526" y="558365"/>
                  </a:lnTo>
                  <a:lnTo>
                    <a:pt x="52841" y="557687"/>
                  </a:lnTo>
                  <a:lnTo>
                    <a:pt x="52471" y="556950"/>
                  </a:lnTo>
                  <a:lnTo>
                    <a:pt x="52674" y="555383"/>
                  </a:lnTo>
                  <a:lnTo>
                    <a:pt x="55655" y="542399"/>
                  </a:lnTo>
                  <a:lnTo>
                    <a:pt x="56367" y="537787"/>
                  </a:lnTo>
                  <a:lnTo>
                    <a:pt x="56810" y="531684"/>
                  </a:lnTo>
                  <a:lnTo>
                    <a:pt x="55575" y="525175"/>
                  </a:lnTo>
                  <a:lnTo>
                    <a:pt x="54721" y="521426"/>
                  </a:lnTo>
                  <a:lnTo>
                    <a:pt x="53965" y="516480"/>
                  </a:lnTo>
                  <a:lnTo>
                    <a:pt x="53540" y="515021"/>
                  </a:lnTo>
                  <a:lnTo>
                    <a:pt x="50631" y="508386"/>
                  </a:lnTo>
                  <a:lnTo>
                    <a:pt x="50154" y="506998"/>
                  </a:lnTo>
                  <a:lnTo>
                    <a:pt x="49939" y="505656"/>
                  </a:lnTo>
                  <a:lnTo>
                    <a:pt x="49933" y="504458"/>
                  </a:lnTo>
                  <a:lnTo>
                    <a:pt x="50033" y="503247"/>
                  </a:lnTo>
                  <a:lnTo>
                    <a:pt x="50953" y="498354"/>
                  </a:lnTo>
                  <a:lnTo>
                    <a:pt x="51417" y="496829"/>
                  </a:lnTo>
                  <a:lnTo>
                    <a:pt x="54004" y="490687"/>
                  </a:lnTo>
                  <a:lnTo>
                    <a:pt x="55253" y="489366"/>
                  </a:lnTo>
                  <a:lnTo>
                    <a:pt x="57129" y="487881"/>
                  </a:lnTo>
                  <a:lnTo>
                    <a:pt x="63929" y="484745"/>
                  </a:lnTo>
                  <a:lnTo>
                    <a:pt x="70494" y="480546"/>
                  </a:lnTo>
                  <a:lnTo>
                    <a:pt x="86938" y="464917"/>
                  </a:lnTo>
                  <a:lnTo>
                    <a:pt x="94950" y="459549"/>
                  </a:lnTo>
                  <a:lnTo>
                    <a:pt x="96150" y="459411"/>
                  </a:lnTo>
                  <a:lnTo>
                    <a:pt x="97144" y="459597"/>
                  </a:lnTo>
                  <a:lnTo>
                    <a:pt x="98245" y="460240"/>
                  </a:lnTo>
                  <a:lnTo>
                    <a:pt x="102397" y="461600"/>
                  </a:lnTo>
                  <a:lnTo>
                    <a:pt x="102768" y="462337"/>
                  </a:lnTo>
                  <a:lnTo>
                    <a:pt x="102722" y="463223"/>
                  </a:lnTo>
                  <a:lnTo>
                    <a:pt x="102311" y="464290"/>
                  </a:lnTo>
                  <a:lnTo>
                    <a:pt x="102004" y="465356"/>
                  </a:lnTo>
                  <a:lnTo>
                    <a:pt x="101958" y="466242"/>
                  </a:lnTo>
                  <a:lnTo>
                    <a:pt x="102227" y="467392"/>
                  </a:lnTo>
                  <a:lnTo>
                    <a:pt x="102912" y="468304"/>
                  </a:lnTo>
                  <a:lnTo>
                    <a:pt x="103543" y="468862"/>
                  </a:lnTo>
                  <a:lnTo>
                    <a:pt x="103910" y="469067"/>
                  </a:lnTo>
                  <a:lnTo>
                    <a:pt x="104329" y="469211"/>
                  </a:lnTo>
                  <a:lnTo>
                    <a:pt x="105948" y="469200"/>
                  </a:lnTo>
                  <a:lnTo>
                    <a:pt x="115236" y="467394"/>
                  </a:lnTo>
                  <a:lnTo>
                    <a:pt x="117056" y="466112"/>
                  </a:lnTo>
                  <a:lnTo>
                    <a:pt x="118370" y="464803"/>
                  </a:lnTo>
                  <a:lnTo>
                    <a:pt x="119132" y="464206"/>
                  </a:lnTo>
                  <a:lnTo>
                    <a:pt x="119653" y="463965"/>
                  </a:lnTo>
                  <a:lnTo>
                    <a:pt x="120348" y="463798"/>
                  </a:lnTo>
                  <a:lnTo>
                    <a:pt x="120607" y="463515"/>
                  </a:lnTo>
                  <a:lnTo>
                    <a:pt x="120342" y="462926"/>
                  </a:lnTo>
                  <a:lnTo>
                    <a:pt x="106765" y="458677"/>
                  </a:lnTo>
                  <a:lnTo>
                    <a:pt x="106084" y="458239"/>
                  </a:lnTo>
                  <a:lnTo>
                    <a:pt x="105085" y="457358"/>
                  </a:lnTo>
                  <a:lnTo>
                    <a:pt x="103512" y="456335"/>
                  </a:lnTo>
                  <a:lnTo>
                    <a:pt x="102401" y="454215"/>
                  </a:lnTo>
                  <a:lnTo>
                    <a:pt x="101294" y="452567"/>
                  </a:lnTo>
                  <a:lnTo>
                    <a:pt x="101301" y="437675"/>
                  </a:lnTo>
                  <a:lnTo>
                    <a:pt x="101806" y="435454"/>
                  </a:lnTo>
                  <a:lnTo>
                    <a:pt x="105721" y="435683"/>
                  </a:lnTo>
                  <a:lnTo>
                    <a:pt x="107389" y="435323"/>
                  </a:lnTo>
                  <a:lnTo>
                    <a:pt x="111666" y="431923"/>
                  </a:lnTo>
                  <a:lnTo>
                    <a:pt x="121448" y="421476"/>
                  </a:lnTo>
                  <a:lnTo>
                    <a:pt x="126988" y="419250"/>
                  </a:lnTo>
                  <a:lnTo>
                    <a:pt x="133382" y="417852"/>
                  </a:lnTo>
                  <a:lnTo>
                    <a:pt x="151198" y="408052"/>
                  </a:lnTo>
                  <a:lnTo>
                    <a:pt x="192014" y="402229"/>
                  </a:lnTo>
                  <a:lnTo>
                    <a:pt x="194980" y="403339"/>
                  </a:lnTo>
                  <a:lnTo>
                    <a:pt x="197339" y="406571"/>
                  </a:lnTo>
                  <a:lnTo>
                    <a:pt x="199613" y="414598"/>
                  </a:lnTo>
                  <a:lnTo>
                    <a:pt x="202037" y="418575"/>
                  </a:lnTo>
                  <a:lnTo>
                    <a:pt x="214035" y="421748"/>
                  </a:lnTo>
                  <a:lnTo>
                    <a:pt x="215901" y="424613"/>
                  </a:lnTo>
                  <a:lnTo>
                    <a:pt x="214487" y="437656"/>
                  </a:lnTo>
                  <a:lnTo>
                    <a:pt x="215294" y="443604"/>
                  </a:lnTo>
                  <a:lnTo>
                    <a:pt x="219596" y="446045"/>
                  </a:lnTo>
                  <a:lnTo>
                    <a:pt x="229633" y="446606"/>
                  </a:lnTo>
                  <a:lnTo>
                    <a:pt x="232420" y="445897"/>
                  </a:lnTo>
                  <a:lnTo>
                    <a:pt x="245891" y="434009"/>
                  </a:lnTo>
                  <a:lnTo>
                    <a:pt x="248488" y="435722"/>
                  </a:lnTo>
                  <a:lnTo>
                    <a:pt x="252042" y="443774"/>
                  </a:lnTo>
                  <a:lnTo>
                    <a:pt x="254149" y="445632"/>
                  </a:lnTo>
                  <a:lnTo>
                    <a:pt x="268178" y="445451"/>
                  </a:lnTo>
                  <a:lnTo>
                    <a:pt x="268366" y="447241"/>
                  </a:lnTo>
                  <a:lnTo>
                    <a:pt x="281502" y="463418"/>
                  </a:lnTo>
                  <a:lnTo>
                    <a:pt x="284076" y="465082"/>
                  </a:lnTo>
                  <a:lnTo>
                    <a:pt x="287915" y="465029"/>
                  </a:lnTo>
                  <a:lnTo>
                    <a:pt x="288267" y="458997"/>
                  </a:lnTo>
                  <a:lnTo>
                    <a:pt x="291534" y="449762"/>
                  </a:lnTo>
                  <a:lnTo>
                    <a:pt x="293972" y="438326"/>
                  </a:lnTo>
                  <a:lnTo>
                    <a:pt x="292359" y="429135"/>
                  </a:lnTo>
                  <a:lnTo>
                    <a:pt x="294790" y="424912"/>
                  </a:lnTo>
                  <a:lnTo>
                    <a:pt x="298010" y="422308"/>
                  </a:lnTo>
                  <a:lnTo>
                    <a:pt x="300819" y="421569"/>
                  </a:lnTo>
                  <a:lnTo>
                    <a:pt x="300125" y="419020"/>
                  </a:lnTo>
                  <a:lnTo>
                    <a:pt x="299208" y="412564"/>
                  </a:lnTo>
                  <a:lnTo>
                    <a:pt x="298566" y="409875"/>
                  </a:lnTo>
                  <a:lnTo>
                    <a:pt x="309879" y="398028"/>
                  </a:lnTo>
                  <a:lnTo>
                    <a:pt x="309814" y="393772"/>
                  </a:lnTo>
                  <a:lnTo>
                    <a:pt x="307517" y="393806"/>
                  </a:lnTo>
                  <a:lnTo>
                    <a:pt x="307464" y="390247"/>
                  </a:lnTo>
                  <a:lnTo>
                    <a:pt x="316103" y="393701"/>
                  </a:lnTo>
                  <a:lnTo>
                    <a:pt x="319000" y="393633"/>
                  </a:lnTo>
                  <a:lnTo>
                    <a:pt x="325728" y="388481"/>
                  </a:lnTo>
                  <a:lnTo>
                    <a:pt x="331469" y="373197"/>
                  </a:lnTo>
                  <a:lnTo>
                    <a:pt x="335924" y="369915"/>
                  </a:lnTo>
                  <a:lnTo>
                    <a:pt x="338612" y="368918"/>
                  </a:lnTo>
                  <a:lnTo>
                    <a:pt x="340783" y="366370"/>
                  </a:lnTo>
                  <a:lnTo>
                    <a:pt x="342443" y="362714"/>
                  </a:lnTo>
                  <a:lnTo>
                    <a:pt x="343847" y="358457"/>
                  </a:lnTo>
                  <a:lnTo>
                    <a:pt x="344018" y="355614"/>
                  </a:lnTo>
                  <a:lnTo>
                    <a:pt x="341473" y="353632"/>
                  </a:lnTo>
                  <a:lnTo>
                    <a:pt x="341424" y="350701"/>
                  </a:lnTo>
                  <a:lnTo>
                    <a:pt x="342440" y="347753"/>
                  </a:lnTo>
                  <a:lnTo>
                    <a:pt x="343799" y="345776"/>
                  </a:lnTo>
                  <a:lnTo>
                    <a:pt x="345028" y="344220"/>
                  </a:lnTo>
                  <a:lnTo>
                    <a:pt x="353065" y="329034"/>
                  </a:lnTo>
                  <a:lnTo>
                    <a:pt x="363596" y="321433"/>
                  </a:lnTo>
                  <a:lnTo>
                    <a:pt x="376646" y="319320"/>
                  </a:lnTo>
                  <a:lnTo>
                    <a:pt x="404707" y="323786"/>
                  </a:lnTo>
                  <a:lnTo>
                    <a:pt x="484162" y="304937"/>
                  </a:lnTo>
                  <a:lnTo>
                    <a:pt x="496532" y="296562"/>
                  </a:lnTo>
                  <a:lnTo>
                    <a:pt x="498627" y="312895"/>
                  </a:lnTo>
                  <a:lnTo>
                    <a:pt x="497742" y="328807"/>
                  </a:lnTo>
                  <a:lnTo>
                    <a:pt x="498764" y="342305"/>
                  </a:lnTo>
                  <a:lnTo>
                    <a:pt x="506811" y="351336"/>
                  </a:lnTo>
                  <a:lnTo>
                    <a:pt x="503401" y="344479"/>
                  </a:lnTo>
                  <a:lnTo>
                    <a:pt x="501391" y="329680"/>
                  </a:lnTo>
                  <a:lnTo>
                    <a:pt x="499489" y="324160"/>
                  </a:lnTo>
                  <a:lnTo>
                    <a:pt x="502822" y="317406"/>
                  </a:lnTo>
                  <a:lnTo>
                    <a:pt x="512339" y="311695"/>
                  </a:lnTo>
                  <a:lnTo>
                    <a:pt x="515015" y="303906"/>
                  </a:lnTo>
                  <a:lnTo>
                    <a:pt x="511248" y="303623"/>
                  </a:lnTo>
                  <a:lnTo>
                    <a:pt x="507668" y="304356"/>
                  </a:lnTo>
                  <a:lnTo>
                    <a:pt x="504270" y="305901"/>
                  </a:lnTo>
                  <a:lnTo>
                    <a:pt x="501215" y="308135"/>
                  </a:lnTo>
                  <a:lnTo>
                    <a:pt x="503623" y="302728"/>
                  </a:lnTo>
                  <a:lnTo>
                    <a:pt x="514623" y="287510"/>
                  </a:lnTo>
                  <a:lnTo>
                    <a:pt x="521252" y="281210"/>
                  </a:lnTo>
                  <a:lnTo>
                    <a:pt x="528869" y="267625"/>
                  </a:lnTo>
                  <a:lnTo>
                    <a:pt x="533498" y="264441"/>
                  </a:lnTo>
                  <a:lnTo>
                    <a:pt x="537844" y="263057"/>
                  </a:lnTo>
                  <a:lnTo>
                    <a:pt x="562664" y="248637"/>
                  </a:lnTo>
                  <a:lnTo>
                    <a:pt x="575044" y="237637"/>
                  </a:lnTo>
                  <a:lnTo>
                    <a:pt x="579832" y="231696"/>
                  </a:lnTo>
                  <a:lnTo>
                    <a:pt x="591223" y="207959"/>
                  </a:lnTo>
                  <a:lnTo>
                    <a:pt x="610452" y="178326"/>
                  </a:lnTo>
                  <a:lnTo>
                    <a:pt x="612464" y="172755"/>
                  </a:lnTo>
                  <a:lnTo>
                    <a:pt x="625507" y="148445"/>
                  </a:lnTo>
                  <a:lnTo>
                    <a:pt x="630349" y="133297"/>
                  </a:lnTo>
                  <a:lnTo>
                    <a:pt x="634017" y="128236"/>
                  </a:lnTo>
                  <a:close/>
                  <a:moveTo>
                    <a:pt x="839392" y="50679"/>
                  </a:moveTo>
                  <a:lnTo>
                    <a:pt x="843135" y="51168"/>
                  </a:lnTo>
                  <a:lnTo>
                    <a:pt x="845311" y="54439"/>
                  </a:lnTo>
                  <a:lnTo>
                    <a:pt x="845501" y="60787"/>
                  </a:lnTo>
                  <a:lnTo>
                    <a:pt x="845288" y="60167"/>
                  </a:lnTo>
                  <a:lnTo>
                    <a:pt x="844299" y="59016"/>
                  </a:lnTo>
                  <a:lnTo>
                    <a:pt x="842973" y="58926"/>
                  </a:lnTo>
                  <a:lnTo>
                    <a:pt x="843271" y="66737"/>
                  </a:lnTo>
                  <a:lnTo>
                    <a:pt x="841195" y="66814"/>
                  </a:lnTo>
                  <a:lnTo>
                    <a:pt x="840750" y="55146"/>
                  </a:lnTo>
                  <a:lnTo>
                    <a:pt x="832890" y="62142"/>
                  </a:lnTo>
                  <a:lnTo>
                    <a:pt x="831329" y="71558"/>
                  </a:lnTo>
                  <a:lnTo>
                    <a:pt x="831422" y="82634"/>
                  </a:lnTo>
                  <a:lnTo>
                    <a:pt x="828683" y="94607"/>
                  </a:lnTo>
                  <a:lnTo>
                    <a:pt x="826373" y="97880"/>
                  </a:lnTo>
                  <a:lnTo>
                    <a:pt x="821828" y="102166"/>
                  </a:lnTo>
                  <a:lnTo>
                    <a:pt x="819993" y="106657"/>
                  </a:lnTo>
                  <a:lnTo>
                    <a:pt x="819012" y="112279"/>
                  </a:lnTo>
                  <a:lnTo>
                    <a:pt x="818602" y="118021"/>
                  </a:lnTo>
                  <a:lnTo>
                    <a:pt x="818591" y="130148"/>
                  </a:lnTo>
                  <a:lnTo>
                    <a:pt x="816320" y="130230"/>
                  </a:lnTo>
                  <a:lnTo>
                    <a:pt x="816031" y="122419"/>
                  </a:lnTo>
                  <a:lnTo>
                    <a:pt x="816492" y="109252"/>
                  </a:lnTo>
                  <a:lnTo>
                    <a:pt x="825487" y="71353"/>
                  </a:lnTo>
                  <a:lnTo>
                    <a:pt x="827183" y="56811"/>
                  </a:lnTo>
                  <a:lnTo>
                    <a:pt x="829458" y="52723"/>
                  </a:lnTo>
                  <a:lnTo>
                    <a:pt x="834820" y="51083"/>
                  </a:lnTo>
                  <a:close/>
                  <a:moveTo>
                    <a:pt x="929752" y="0"/>
                  </a:moveTo>
                  <a:lnTo>
                    <a:pt x="938665" y="4406"/>
                  </a:lnTo>
                  <a:lnTo>
                    <a:pt x="938815" y="7938"/>
                  </a:lnTo>
                  <a:lnTo>
                    <a:pt x="933904" y="12240"/>
                  </a:lnTo>
                  <a:lnTo>
                    <a:pt x="927237" y="16471"/>
                  </a:lnTo>
                  <a:lnTo>
                    <a:pt x="921457" y="22015"/>
                  </a:lnTo>
                  <a:lnTo>
                    <a:pt x="919183" y="30210"/>
                  </a:lnTo>
                  <a:lnTo>
                    <a:pt x="920600" y="40304"/>
                  </a:lnTo>
                  <a:lnTo>
                    <a:pt x="923766" y="48300"/>
                  </a:lnTo>
                  <a:lnTo>
                    <a:pt x="928395" y="54421"/>
                  </a:lnTo>
                  <a:lnTo>
                    <a:pt x="934172" y="58910"/>
                  </a:lnTo>
                  <a:lnTo>
                    <a:pt x="948202" y="63056"/>
                  </a:lnTo>
                  <a:lnTo>
                    <a:pt x="990779" y="52952"/>
                  </a:lnTo>
                  <a:lnTo>
                    <a:pt x="1005666" y="55561"/>
                  </a:lnTo>
                  <a:lnTo>
                    <a:pt x="1016171" y="66225"/>
                  </a:lnTo>
                  <a:lnTo>
                    <a:pt x="1019027" y="80839"/>
                  </a:lnTo>
                  <a:lnTo>
                    <a:pt x="1010992" y="95052"/>
                  </a:lnTo>
                  <a:lnTo>
                    <a:pt x="996720" y="105576"/>
                  </a:lnTo>
                  <a:lnTo>
                    <a:pt x="989743" y="113005"/>
                  </a:lnTo>
                  <a:lnTo>
                    <a:pt x="987005" y="121506"/>
                  </a:lnTo>
                  <a:lnTo>
                    <a:pt x="988646" y="131054"/>
                  </a:lnTo>
                  <a:lnTo>
                    <a:pt x="992009" y="140920"/>
                  </a:lnTo>
                  <a:lnTo>
                    <a:pt x="996120" y="149264"/>
                  </a:lnTo>
                  <a:lnTo>
                    <a:pt x="999810" y="154182"/>
                  </a:lnTo>
                  <a:lnTo>
                    <a:pt x="1006791" y="157461"/>
                  </a:lnTo>
                  <a:lnTo>
                    <a:pt x="1022719" y="160598"/>
                  </a:lnTo>
                  <a:lnTo>
                    <a:pt x="1029878" y="165286"/>
                  </a:lnTo>
                  <a:lnTo>
                    <a:pt x="1039484" y="181154"/>
                  </a:lnTo>
                  <a:lnTo>
                    <a:pt x="1045522" y="188380"/>
                  </a:lnTo>
                  <a:lnTo>
                    <a:pt x="1053829" y="191191"/>
                  </a:lnTo>
                  <a:lnTo>
                    <a:pt x="1049533" y="194601"/>
                  </a:lnTo>
                  <a:lnTo>
                    <a:pt x="1045447" y="200216"/>
                  </a:lnTo>
                  <a:lnTo>
                    <a:pt x="1042482" y="207778"/>
                  </a:lnTo>
                  <a:lnTo>
                    <a:pt x="1041611" y="217158"/>
                  </a:lnTo>
                  <a:lnTo>
                    <a:pt x="1042030" y="226222"/>
                  </a:lnTo>
                  <a:lnTo>
                    <a:pt x="1041163" y="229846"/>
                  </a:lnTo>
                  <a:lnTo>
                    <a:pt x="1037672" y="229655"/>
                  </a:lnTo>
                  <a:lnTo>
                    <a:pt x="1030278" y="227401"/>
                  </a:lnTo>
                  <a:lnTo>
                    <a:pt x="1034187" y="227226"/>
                  </a:lnTo>
                  <a:lnTo>
                    <a:pt x="1037202" y="225344"/>
                  </a:lnTo>
                  <a:lnTo>
                    <a:pt x="1038383" y="221448"/>
                  </a:lnTo>
                  <a:lnTo>
                    <a:pt x="1036745" y="215421"/>
                  </a:lnTo>
                  <a:lnTo>
                    <a:pt x="1034466" y="215524"/>
                  </a:lnTo>
                  <a:lnTo>
                    <a:pt x="1031217" y="219395"/>
                  </a:lnTo>
                  <a:lnTo>
                    <a:pt x="1026177" y="221576"/>
                  </a:lnTo>
                  <a:lnTo>
                    <a:pt x="1020806" y="221885"/>
                  </a:lnTo>
                  <a:lnTo>
                    <a:pt x="1016650" y="220183"/>
                  </a:lnTo>
                  <a:lnTo>
                    <a:pt x="1016476" y="216326"/>
                  </a:lnTo>
                  <a:lnTo>
                    <a:pt x="1028605" y="210429"/>
                  </a:lnTo>
                  <a:lnTo>
                    <a:pt x="1033544" y="206109"/>
                  </a:lnTo>
                  <a:lnTo>
                    <a:pt x="1036011" y="199476"/>
                  </a:lnTo>
                  <a:lnTo>
                    <a:pt x="1018738" y="201436"/>
                  </a:lnTo>
                  <a:lnTo>
                    <a:pt x="1011119" y="204218"/>
                  </a:lnTo>
                  <a:lnTo>
                    <a:pt x="1004730" y="209018"/>
                  </a:lnTo>
                  <a:lnTo>
                    <a:pt x="1022532" y="195238"/>
                  </a:lnTo>
                  <a:lnTo>
                    <a:pt x="1028674" y="192330"/>
                  </a:lnTo>
                  <a:lnTo>
                    <a:pt x="1028496" y="188426"/>
                  </a:lnTo>
                  <a:lnTo>
                    <a:pt x="1019512" y="187966"/>
                  </a:lnTo>
                  <a:lnTo>
                    <a:pt x="1014872" y="188637"/>
                  </a:lnTo>
                  <a:lnTo>
                    <a:pt x="1011725" y="191127"/>
                  </a:lnTo>
                  <a:lnTo>
                    <a:pt x="1007462" y="196602"/>
                  </a:lnTo>
                  <a:lnTo>
                    <a:pt x="1004584" y="195423"/>
                  </a:lnTo>
                  <a:lnTo>
                    <a:pt x="1001840" y="191770"/>
                  </a:lnTo>
                  <a:lnTo>
                    <a:pt x="997976" y="189773"/>
                  </a:lnTo>
                  <a:lnTo>
                    <a:pt x="964967" y="195099"/>
                  </a:lnTo>
                  <a:lnTo>
                    <a:pt x="959165" y="199139"/>
                  </a:lnTo>
                  <a:lnTo>
                    <a:pt x="942196" y="215491"/>
                  </a:lnTo>
                  <a:lnTo>
                    <a:pt x="938728" y="221595"/>
                  </a:lnTo>
                  <a:lnTo>
                    <a:pt x="935211" y="230492"/>
                  </a:lnTo>
                  <a:lnTo>
                    <a:pt x="927109" y="232546"/>
                  </a:lnTo>
                  <a:lnTo>
                    <a:pt x="919936" y="236699"/>
                  </a:lnTo>
                  <a:lnTo>
                    <a:pt x="919258" y="252024"/>
                  </a:lnTo>
                  <a:lnTo>
                    <a:pt x="923663" y="247935"/>
                  </a:lnTo>
                  <a:lnTo>
                    <a:pt x="923625" y="245027"/>
                  </a:lnTo>
                  <a:lnTo>
                    <a:pt x="922888" y="244312"/>
                  </a:lnTo>
                  <a:lnTo>
                    <a:pt x="921963" y="244302"/>
                  </a:lnTo>
                  <a:lnTo>
                    <a:pt x="921396" y="243766"/>
                  </a:lnTo>
                  <a:lnTo>
                    <a:pt x="937227" y="240329"/>
                  </a:lnTo>
                  <a:lnTo>
                    <a:pt x="939552" y="241282"/>
                  </a:lnTo>
                  <a:lnTo>
                    <a:pt x="942544" y="254222"/>
                  </a:lnTo>
                  <a:lnTo>
                    <a:pt x="942116" y="260247"/>
                  </a:lnTo>
                  <a:lnTo>
                    <a:pt x="936950" y="263043"/>
                  </a:lnTo>
                  <a:lnTo>
                    <a:pt x="927344" y="261921"/>
                  </a:lnTo>
                  <a:lnTo>
                    <a:pt x="916614" y="258581"/>
                  </a:lnTo>
                  <a:lnTo>
                    <a:pt x="904446" y="251241"/>
                  </a:lnTo>
                  <a:lnTo>
                    <a:pt x="906987" y="248113"/>
                  </a:lnTo>
                  <a:lnTo>
                    <a:pt x="908507" y="241301"/>
                  </a:lnTo>
                  <a:lnTo>
                    <a:pt x="911601" y="232423"/>
                  </a:lnTo>
                  <a:lnTo>
                    <a:pt x="906832" y="235546"/>
                  </a:lnTo>
                  <a:lnTo>
                    <a:pt x="904724" y="237913"/>
                  </a:lnTo>
                  <a:lnTo>
                    <a:pt x="902807" y="240968"/>
                  </a:lnTo>
                  <a:lnTo>
                    <a:pt x="904202" y="242496"/>
                  </a:lnTo>
                  <a:lnTo>
                    <a:pt x="905231" y="244411"/>
                  </a:lnTo>
                  <a:lnTo>
                    <a:pt x="898523" y="244047"/>
                  </a:lnTo>
                  <a:lnTo>
                    <a:pt x="895047" y="244905"/>
                  </a:lnTo>
                  <a:lnTo>
                    <a:pt x="892684" y="247048"/>
                  </a:lnTo>
                  <a:lnTo>
                    <a:pt x="889758" y="248744"/>
                  </a:lnTo>
                  <a:lnTo>
                    <a:pt x="886353" y="246617"/>
                  </a:lnTo>
                  <a:lnTo>
                    <a:pt x="883151" y="243412"/>
                  </a:lnTo>
                  <a:lnTo>
                    <a:pt x="880967" y="241821"/>
                  </a:lnTo>
                  <a:lnTo>
                    <a:pt x="876040" y="241078"/>
                  </a:lnTo>
                  <a:lnTo>
                    <a:pt x="870034" y="238444"/>
                  </a:lnTo>
                  <a:lnTo>
                    <a:pt x="866204" y="233679"/>
                  </a:lnTo>
                  <a:lnTo>
                    <a:pt x="867794" y="226307"/>
                  </a:lnTo>
                  <a:lnTo>
                    <a:pt x="862878" y="225027"/>
                  </a:lnTo>
                  <a:lnTo>
                    <a:pt x="852863" y="230433"/>
                  </a:lnTo>
                  <a:lnTo>
                    <a:pt x="849539" y="230954"/>
                  </a:lnTo>
                  <a:lnTo>
                    <a:pt x="847090" y="226621"/>
                  </a:lnTo>
                  <a:lnTo>
                    <a:pt x="848979" y="222686"/>
                  </a:lnTo>
                  <a:lnTo>
                    <a:pt x="853366" y="220845"/>
                  </a:lnTo>
                  <a:lnTo>
                    <a:pt x="858524" y="222795"/>
                  </a:lnTo>
                  <a:lnTo>
                    <a:pt x="858386" y="219214"/>
                  </a:lnTo>
                  <a:lnTo>
                    <a:pt x="837106" y="204059"/>
                  </a:lnTo>
                  <a:lnTo>
                    <a:pt x="841225" y="191615"/>
                  </a:lnTo>
                  <a:lnTo>
                    <a:pt x="847400" y="181259"/>
                  </a:lnTo>
                  <a:lnTo>
                    <a:pt x="855706" y="177106"/>
                  </a:lnTo>
                  <a:lnTo>
                    <a:pt x="866126" y="183416"/>
                  </a:lnTo>
                  <a:lnTo>
                    <a:pt x="868250" y="179424"/>
                  </a:lnTo>
                  <a:lnTo>
                    <a:pt x="872272" y="183042"/>
                  </a:lnTo>
                  <a:lnTo>
                    <a:pt x="876845" y="182028"/>
                  </a:lnTo>
                  <a:lnTo>
                    <a:pt x="886464" y="174835"/>
                  </a:lnTo>
                  <a:lnTo>
                    <a:pt x="881213" y="174456"/>
                  </a:lnTo>
                  <a:lnTo>
                    <a:pt x="877107" y="170773"/>
                  </a:lnTo>
                  <a:lnTo>
                    <a:pt x="875263" y="165257"/>
                  </a:lnTo>
                  <a:lnTo>
                    <a:pt x="876572" y="159247"/>
                  </a:lnTo>
                  <a:lnTo>
                    <a:pt x="876430" y="155667"/>
                  </a:lnTo>
                  <a:lnTo>
                    <a:pt x="871866" y="155399"/>
                  </a:lnTo>
                  <a:lnTo>
                    <a:pt x="869295" y="152728"/>
                  </a:lnTo>
                  <a:lnTo>
                    <a:pt x="867063" y="149716"/>
                  </a:lnTo>
                  <a:lnTo>
                    <a:pt x="863623" y="148381"/>
                  </a:lnTo>
                  <a:lnTo>
                    <a:pt x="848999" y="152844"/>
                  </a:lnTo>
                  <a:lnTo>
                    <a:pt x="854305" y="140726"/>
                  </a:lnTo>
                  <a:lnTo>
                    <a:pt x="856675" y="137563"/>
                  </a:lnTo>
                  <a:lnTo>
                    <a:pt x="865567" y="134991"/>
                  </a:lnTo>
                  <a:lnTo>
                    <a:pt x="875390" y="129282"/>
                  </a:lnTo>
                  <a:lnTo>
                    <a:pt x="882154" y="127763"/>
                  </a:lnTo>
                  <a:lnTo>
                    <a:pt x="881998" y="123858"/>
                  </a:lnTo>
                  <a:lnTo>
                    <a:pt x="882399" y="123727"/>
                  </a:lnTo>
                  <a:lnTo>
                    <a:pt x="884381" y="122508"/>
                  </a:lnTo>
                  <a:lnTo>
                    <a:pt x="886357" y="119777"/>
                  </a:lnTo>
                  <a:lnTo>
                    <a:pt x="877000" y="116578"/>
                  </a:lnTo>
                  <a:lnTo>
                    <a:pt x="872868" y="114038"/>
                  </a:lnTo>
                  <a:lnTo>
                    <a:pt x="870048" y="109072"/>
                  </a:lnTo>
                  <a:lnTo>
                    <a:pt x="871130" y="107679"/>
                  </a:lnTo>
                  <a:lnTo>
                    <a:pt x="872145" y="106663"/>
                  </a:lnTo>
                  <a:lnTo>
                    <a:pt x="872640" y="104804"/>
                  </a:lnTo>
                  <a:lnTo>
                    <a:pt x="872184" y="100794"/>
                  </a:lnTo>
                  <a:lnTo>
                    <a:pt x="862560" y="105050"/>
                  </a:lnTo>
                  <a:lnTo>
                    <a:pt x="856644" y="105951"/>
                  </a:lnTo>
                  <a:lnTo>
                    <a:pt x="853924" y="103445"/>
                  </a:lnTo>
                  <a:lnTo>
                    <a:pt x="853124" y="101660"/>
                  </a:lnTo>
                  <a:lnTo>
                    <a:pt x="851568" y="101275"/>
                  </a:lnTo>
                  <a:lnTo>
                    <a:pt x="849978" y="100008"/>
                  </a:lnTo>
                  <a:lnTo>
                    <a:pt x="849080" y="95642"/>
                  </a:lnTo>
                  <a:lnTo>
                    <a:pt x="848485" y="90706"/>
                  </a:lnTo>
                  <a:lnTo>
                    <a:pt x="847130" y="87778"/>
                  </a:lnTo>
                  <a:lnTo>
                    <a:pt x="844921" y="86557"/>
                  </a:lnTo>
                  <a:lnTo>
                    <a:pt x="841953" y="86690"/>
                  </a:lnTo>
                  <a:lnTo>
                    <a:pt x="849421" y="82709"/>
                  </a:lnTo>
                  <a:lnTo>
                    <a:pt x="874663" y="77976"/>
                  </a:lnTo>
                  <a:lnTo>
                    <a:pt x="880216" y="79018"/>
                  </a:lnTo>
                  <a:lnTo>
                    <a:pt x="882133" y="82366"/>
                  </a:lnTo>
                  <a:lnTo>
                    <a:pt x="886054" y="83773"/>
                  </a:lnTo>
                  <a:lnTo>
                    <a:pt x="890058" y="86550"/>
                  </a:lnTo>
                  <a:lnTo>
                    <a:pt x="892141" y="93987"/>
                  </a:lnTo>
                  <a:lnTo>
                    <a:pt x="893708" y="98001"/>
                  </a:lnTo>
                  <a:lnTo>
                    <a:pt x="896160" y="95763"/>
                  </a:lnTo>
                  <a:lnTo>
                    <a:pt x="897138" y="89204"/>
                  </a:lnTo>
                  <a:lnTo>
                    <a:pt x="894054" y="80432"/>
                  </a:lnTo>
                  <a:lnTo>
                    <a:pt x="898561" y="73619"/>
                  </a:lnTo>
                  <a:lnTo>
                    <a:pt x="904344" y="67033"/>
                  </a:lnTo>
                  <a:lnTo>
                    <a:pt x="910403" y="61995"/>
                  </a:lnTo>
                  <a:lnTo>
                    <a:pt x="915896" y="59655"/>
                  </a:lnTo>
                  <a:lnTo>
                    <a:pt x="912682" y="71448"/>
                  </a:lnTo>
                  <a:lnTo>
                    <a:pt x="910407" y="76569"/>
                  </a:lnTo>
                  <a:lnTo>
                    <a:pt x="907652" y="79892"/>
                  </a:lnTo>
                  <a:lnTo>
                    <a:pt x="909754" y="79738"/>
                  </a:lnTo>
                  <a:lnTo>
                    <a:pt x="911576" y="80014"/>
                  </a:lnTo>
                  <a:lnTo>
                    <a:pt x="913222" y="81275"/>
                  </a:lnTo>
                  <a:lnTo>
                    <a:pt x="914815" y="83865"/>
                  </a:lnTo>
                  <a:lnTo>
                    <a:pt x="913254" y="86652"/>
                  </a:lnTo>
                  <a:lnTo>
                    <a:pt x="910544" y="95051"/>
                  </a:lnTo>
                  <a:lnTo>
                    <a:pt x="915335" y="95160"/>
                  </a:lnTo>
                  <a:lnTo>
                    <a:pt x="919110" y="93610"/>
                  </a:lnTo>
                  <a:lnTo>
                    <a:pt x="921930" y="89888"/>
                  </a:lnTo>
                  <a:lnTo>
                    <a:pt x="923666" y="83507"/>
                  </a:lnTo>
                  <a:lnTo>
                    <a:pt x="920825" y="82784"/>
                  </a:lnTo>
                  <a:lnTo>
                    <a:pt x="917561" y="80332"/>
                  </a:lnTo>
                  <a:lnTo>
                    <a:pt x="914640" y="79612"/>
                  </a:lnTo>
                  <a:lnTo>
                    <a:pt x="914479" y="75707"/>
                  </a:lnTo>
                  <a:lnTo>
                    <a:pt x="918807" y="71271"/>
                  </a:lnTo>
                  <a:lnTo>
                    <a:pt x="922820" y="78770"/>
                  </a:lnTo>
                  <a:lnTo>
                    <a:pt x="928985" y="85968"/>
                  </a:lnTo>
                  <a:lnTo>
                    <a:pt x="933226" y="93618"/>
                  </a:lnTo>
                  <a:lnTo>
                    <a:pt x="931456" y="102352"/>
                  </a:lnTo>
                  <a:lnTo>
                    <a:pt x="938420" y="111611"/>
                  </a:lnTo>
                  <a:lnTo>
                    <a:pt x="946814" y="114268"/>
                  </a:lnTo>
                  <a:lnTo>
                    <a:pt x="963898" y="113111"/>
                  </a:lnTo>
                  <a:lnTo>
                    <a:pt x="961254" y="108937"/>
                  </a:lnTo>
                  <a:lnTo>
                    <a:pt x="964115" y="101248"/>
                  </a:lnTo>
                  <a:lnTo>
                    <a:pt x="965633" y="98809"/>
                  </a:lnTo>
                  <a:lnTo>
                    <a:pt x="967742" y="96927"/>
                  </a:lnTo>
                  <a:lnTo>
                    <a:pt x="967558" y="92698"/>
                  </a:lnTo>
                  <a:lnTo>
                    <a:pt x="964623" y="84881"/>
                  </a:lnTo>
                  <a:lnTo>
                    <a:pt x="962640" y="80891"/>
                  </a:lnTo>
                  <a:lnTo>
                    <a:pt x="959909" y="77745"/>
                  </a:lnTo>
                  <a:lnTo>
                    <a:pt x="959740" y="73841"/>
                  </a:lnTo>
                  <a:lnTo>
                    <a:pt x="961620" y="72318"/>
                  </a:lnTo>
                  <a:lnTo>
                    <a:pt x="962647" y="71064"/>
                  </a:lnTo>
                  <a:lnTo>
                    <a:pt x="963953" y="70030"/>
                  </a:lnTo>
                  <a:lnTo>
                    <a:pt x="966542" y="69292"/>
                  </a:lnTo>
                  <a:lnTo>
                    <a:pt x="966389" y="65784"/>
                  </a:lnTo>
                  <a:lnTo>
                    <a:pt x="962274" y="66190"/>
                  </a:lnTo>
                  <a:lnTo>
                    <a:pt x="959711" y="68767"/>
                  </a:lnTo>
                  <a:lnTo>
                    <a:pt x="957738" y="71899"/>
                  </a:lnTo>
                  <a:lnTo>
                    <a:pt x="955398" y="74023"/>
                  </a:lnTo>
                  <a:lnTo>
                    <a:pt x="951837" y="74801"/>
                  </a:lnTo>
                  <a:lnTo>
                    <a:pt x="940428" y="74647"/>
                  </a:lnTo>
                  <a:lnTo>
                    <a:pt x="938571" y="72908"/>
                  </a:lnTo>
                  <a:lnTo>
                    <a:pt x="936620" y="68937"/>
                  </a:lnTo>
                  <a:lnTo>
                    <a:pt x="934185" y="64986"/>
                  </a:lnTo>
                  <a:lnTo>
                    <a:pt x="930954" y="63303"/>
                  </a:lnTo>
                  <a:lnTo>
                    <a:pt x="925922" y="62439"/>
                  </a:lnTo>
                  <a:lnTo>
                    <a:pt x="923755" y="59685"/>
                  </a:lnTo>
                  <a:lnTo>
                    <a:pt x="922468" y="56014"/>
                  </a:lnTo>
                  <a:lnTo>
                    <a:pt x="920090" y="52059"/>
                  </a:lnTo>
                  <a:lnTo>
                    <a:pt x="916001" y="46519"/>
                  </a:lnTo>
                  <a:lnTo>
                    <a:pt x="915178" y="44247"/>
                  </a:lnTo>
                  <a:lnTo>
                    <a:pt x="910886" y="48146"/>
                  </a:lnTo>
                  <a:lnTo>
                    <a:pt x="908413" y="50993"/>
                  </a:lnTo>
                  <a:lnTo>
                    <a:pt x="903380" y="58620"/>
                  </a:lnTo>
                  <a:lnTo>
                    <a:pt x="895807" y="63648"/>
                  </a:lnTo>
                  <a:lnTo>
                    <a:pt x="890420" y="70029"/>
                  </a:lnTo>
                  <a:lnTo>
                    <a:pt x="884612" y="74750"/>
                  </a:lnTo>
                  <a:lnTo>
                    <a:pt x="877893" y="72892"/>
                  </a:lnTo>
                  <a:lnTo>
                    <a:pt x="876465" y="66173"/>
                  </a:lnTo>
                  <a:lnTo>
                    <a:pt x="878392" y="55552"/>
                  </a:lnTo>
                  <a:lnTo>
                    <a:pt x="882320" y="45739"/>
                  </a:lnTo>
                  <a:lnTo>
                    <a:pt x="886808" y="41279"/>
                  </a:lnTo>
                  <a:lnTo>
                    <a:pt x="887708" y="38824"/>
                  </a:lnTo>
                  <a:lnTo>
                    <a:pt x="888918" y="33374"/>
                  </a:lnTo>
                  <a:lnTo>
                    <a:pt x="889431" y="28022"/>
                  </a:lnTo>
                  <a:lnTo>
                    <a:pt x="888364" y="25619"/>
                  </a:lnTo>
                  <a:lnTo>
                    <a:pt x="873739" y="30055"/>
                  </a:lnTo>
                  <a:lnTo>
                    <a:pt x="869026" y="33635"/>
                  </a:lnTo>
                  <a:lnTo>
                    <a:pt x="866874" y="33089"/>
                  </a:lnTo>
                  <a:lnTo>
                    <a:pt x="866802" y="26457"/>
                  </a:lnTo>
                  <a:lnTo>
                    <a:pt x="868508" y="22528"/>
                  </a:lnTo>
                  <a:lnTo>
                    <a:pt x="871856" y="18580"/>
                  </a:lnTo>
                  <a:lnTo>
                    <a:pt x="875724" y="15545"/>
                  </a:lnTo>
                  <a:lnTo>
                    <a:pt x="920535" y="516"/>
                  </a:lnTo>
                  <a:close/>
                </a:path>
              </a:pathLst>
            </a:custGeom>
            <a:solidFill>
              <a:srgbClr val="BFBFBF"/>
            </a:solidFill>
            <a:ln w="6350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0" name="TextBox 12">
            <a:extLst>
              <a:ext uri="{FF2B5EF4-FFF2-40B4-BE49-F238E27FC236}">
                <a16:creationId xmlns:a16="http://schemas.microsoft.com/office/drawing/2014/main" id="{C5B8E80C-84FA-2ADD-F639-CBA5C45965E7}"/>
              </a:ext>
            </a:extLst>
          </p:cNvPr>
          <p:cNvSpPr txBox="1"/>
          <p:nvPr/>
        </p:nvSpPr>
        <p:spPr>
          <a:xfrm>
            <a:off x="670593" y="5272511"/>
            <a:ext cx="48841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00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Mannheim</a:t>
            </a:r>
          </a:p>
        </p:txBody>
      </p:sp>
      <p:cxnSp>
        <p:nvCxnSpPr>
          <p:cNvPr id="81" name="Straight Connector 10">
            <a:extLst>
              <a:ext uri="{FF2B5EF4-FFF2-40B4-BE49-F238E27FC236}">
                <a16:creationId xmlns:a16="http://schemas.microsoft.com/office/drawing/2014/main" id="{94F0B889-8905-A13F-7E9D-3172E4E64D41}"/>
              </a:ext>
            </a:extLst>
          </p:cNvPr>
          <p:cNvCxnSpPr>
            <a:cxnSpLocks/>
          </p:cNvCxnSpPr>
          <p:nvPr/>
        </p:nvCxnSpPr>
        <p:spPr>
          <a:xfrm flipH="1">
            <a:off x="1035844" y="5323987"/>
            <a:ext cx="509226" cy="0"/>
          </a:xfrm>
          <a:prstGeom prst="line">
            <a:avLst/>
          </a:prstGeom>
          <a:ln w="12700" cap="rnd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Oval 417">
            <a:extLst>
              <a:ext uri="{FF2B5EF4-FFF2-40B4-BE49-F238E27FC236}">
                <a16:creationId xmlns:a16="http://schemas.microsoft.com/office/drawing/2014/main" id="{938DB17C-7F42-DC1B-4C3F-A4D7C2763E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7103" y="5307557"/>
            <a:ext cx="33365" cy="34785"/>
          </a:xfrm>
          <a:prstGeom prst="ellipse">
            <a:avLst/>
          </a:prstGeom>
          <a:solidFill>
            <a:schemeClr val="accent4"/>
          </a:solidFill>
          <a:ln w="12700" algn="ctr">
            <a:noFill/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600" i="0" u="none" strike="noStrike" kern="1200" cap="none" spc="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8AFB7DD-A565-A2DA-7B3E-5B842019D5D0}"/>
              </a:ext>
            </a:extLst>
          </p:cNvPr>
          <p:cNvSpPr>
            <a:spLocks/>
          </p:cNvSpPr>
          <p:nvPr/>
        </p:nvSpPr>
        <p:spPr>
          <a:xfrm>
            <a:off x="7437437" y="2079335"/>
            <a:ext cx="114300" cy="1143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6" name="TextBox 419">
            <a:extLst>
              <a:ext uri="{FF2B5EF4-FFF2-40B4-BE49-F238E27FC236}">
                <a16:creationId xmlns:a16="http://schemas.microsoft.com/office/drawing/2014/main" id="{140D3623-8619-E803-1282-5278FFC12267}"/>
              </a:ext>
            </a:extLst>
          </p:cNvPr>
          <p:cNvSpPr txBox="1">
            <a:spLocks/>
          </p:cNvSpPr>
          <p:nvPr/>
        </p:nvSpPr>
        <p:spPr>
          <a:xfrm>
            <a:off x="6981180" y="2485855"/>
            <a:ext cx="102681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27</a:t>
            </a:r>
          </a:p>
        </p:txBody>
      </p:sp>
      <p:sp>
        <p:nvSpPr>
          <p:cNvPr id="87" name="TextBox 419">
            <a:extLst>
              <a:ext uri="{FF2B5EF4-FFF2-40B4-BE49-F238E27FC236}">
                <a16:creationId xmlns:a16="http://schemas.microsoft.com/office/drawing/2014/main" id="{BDE0E88D-364F-A343-9F5D-5B19AEBA4540}"/>
              </a:ext>
            </a:extLst>
          </p:cNvPr>
          <p:cNvSpPr txBox="1">
            <a:spLocks/>
          </p:cNvSpPr>
          <p:nvPr/>
        </p:nvSpPr>
        <p:spPr>
          <a:xfrm>
            <a:off x="6981180" y="2262379"/>
            <a:ext cx="1026814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Betten-Station</a:t>
            </a:r>
          </a:p>
        </p:txBody>
      </p:sp>
      <p:pic>
        <p:nvPicPr>
          <p:cNvPr id="88" name="Grafik 87">
            <a:extLst>
              <a:ext uri="{FF2B5EF4-FFF2-40B4-BE49-F238E27FC236}">
                <a16:creationId xmlns:a16="http://schemas.microsoft.com/office/drawing/2014/main" id="{A58CBE65-AD5A-2D95-F6E4-0612994E7925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825499" y="1915734"/>
            <a:ext cx="1565276" cy="463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8695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97241752-A81A-425B-B671-3708241694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677" y="7836"/>
          <a:ext cx="1585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97241752-A81A-425B-B671-3708241694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677" y="7836"/>
                        <a:ext cx="1585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F4E83EA-4F41-458A-A1FC-6F40CA3836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ein Krankenhaus Bayern – Patientenportal und Interoperabilitätsplattform für &gt;100 Krankenhäuse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526CD93-5984-41F3-A9BF-8D2D5294ABC5}"/>
              </a:ext>
            </a:extLst>
          </p:cNvPr>
          <p:cNvSpPr/>
          <p:nvPr/>
        </p:nvSpPr>
        <p:spPr>
          <a:xfrm>
            <a:off x="550504" y="1630449"/>
            <a:ext cx="5463298" cy="153198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96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Zielsetzung des Projektes</a:t>
            </a:r>
          </a:p>
          <a:p>
            <a:pPr marL="0" marR="0" lvl="0" indent="0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uf der Grundlage der Fördermittel aus dem</a:t>
            </a: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198" b="1" i="0" u="none" strike="noStrike" kern="1200" cap="none" spc="0" normalizeH="0" baseline="0" noProof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rankenhauszukunftsgesetz (KHZG) </a:t>
            </a: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zur Förderung der Digitalisierung der deutschen Krankenhäuser haben 56 bayerische Krankenhausträger </a:t>
            </a:r>
            <a:r>
              <a:rPr kumimoji="0" lang="de-DE" sz="1198" b="1" i="0" u="none" strike="noStrike" kern="1200" cap="none" spc="0" normalizeH="0" baseline="0" noProof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ine z</a:t>
            </a:r>
            <a:r>
              <a:rPr kumimoji="0" lang="de-DE" sz="1198" b="1" i="0" u="none" strike="noStrike" kern="1200" cap="none" spc="0" normalizeH="0" baseline="0" noProof="0" err="1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tral</a:t>
            </a:r>
            <a:r>
              <a:rPr kumimoji="0" lang="de-DE" sz="1198" b="1" i="0" u="none" strike="noStrike" kern="1200" cap="none" spc="0" normalizeH="0" baseline="0" noProof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betriebene Interoperabilitäts-Plattform inkl. Patientenportal</a:t>
            </a:r>
            <a:r>
              <a:rPr kumimoji="0" lang="de-DE" sz="119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ür das </a:t>
            </a:r>
            <a:r>
              <a:rPr kumimoji="0" lang="de-DE" sz="1198" b="1" i="0" u="none" strike="noStrike" kern="1200" cap="none" spc="0" normalizeH="0" baseline="0" noProof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gitale Aufnahme-, Behandlungs-, Entlass- und Überleitungsmanagement </a:t>
            </a: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auftragt. Ziel dieses Projekts ist es die (über-)regionale digitale Vernetzung voranzutreiben und damit die med. Versorgung zu verbessern.</a:t>
            </a:r>
          </a:p>
          <a:p>
            <a:pPr marL="0" marR="0" lvl="0" indent="0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96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044B916-53BD-438E-BB55-CE60D00DE8FE}"/>
              </a:ext>
            </a:extLst>
          </p:cNvPr>
          <p:cNvSpPr/>
          <p:nvPr/>
        </p:nvSpPr>
        <p:spPr>
          <a:xfrm>
            <a:off x="549858" y="3976893"/>
            <a:ext cx="5463944" cy="253236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606" rIns="0" rtlCol="0" anchor="t"/>
          <a:lstStyle/>
          <a:p>
            <a:pPr marL="0" marR="0" lvl="0" indent="0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96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efergegenstände</a:t>
            </a: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9BC2140B-67B7-449F-8302-AA272F04654B}"/>
              </a:ext>
            </a:extLst>
          </p:cNvPr>
          <p:cNvSpPr/>
          <p:nvPr/>
        </p:nvSpPr>
        <p:spPr>
          <a:xfrm>
            <a:off x="6155028" y="1630449"/>
            <a:ext cx="5463297" cy="153197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96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ncen &amp; Ausblick </a:t>
            </a:r>
            <a:endParaRPr kumimoji="0" lang="de-DE" sz="1046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11">
            <a:extLst>
              <a:ext uri="{FF2B5EF4-FFF2-40B4-BE49-F238E27FC236}">
                <a16:creationId xmlns:a16="http://schemas.microsoft.com/office/drawing/2014/main" id="{E89F8FAB-1769-4517-8C63-7D0183A04A3A}"/>
              </a:ext>
            </a:extLst>
          </p:cNvPr>
          <p:cNvSpPr/>
          <p:nvPr/>
        </p:nvSpPr>
        <p:spPr>
          <a:xfrm>
            <a:off x="6155028" y="3235862"/>
            <a:ext cx="5463297" cy="215125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96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rchitektur</a:t>
            </a:r>
          </a:p>
          <a:p>
            <a:pPr marL="456377" marR="0" lvl="1" indent="0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46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ectangle 13">
            <a:extLst>
              <a:ext uri="{FF2B5EF4-FFF2-40B4-BE49-F238E27FC236}">
                <a16:creationId xmlns:a16="http://schemas.microsoft.com/office/drawing/2014/main" id="{2F18C3DF-4E28-4B0F-83F5-8448DCF93E5C}"/>
              </a:ext>
            </a:extLst>
          </p:cNvPr>
          <p:cNvSpPr/>
          <p:nvPr/>
        </p:nvSpPr>
        <p:spPr>
          <a:xfrm>
            <a:off x="6156623" y="5494675"/>
            <a:ext cx="2072172" cy="79744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96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Zeitplan</a:t>
            </a: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AEF4DADB-3BE2-F1D3-9825-DB71468AF19B}"/>
              </a:ext>
            </a:extLst>
          </p:cNvPr>
          <p:cNvSpPr/>
          <p:nvPr/>
        </p:nvSpPr>
        <p:spPr>
          <a:xfrm>
            <a:off x="549858" y="3236373"/>
            <a:ext cx="5463298" cy="65112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96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uftraggeber</a:t>
            </a:r>
          </a:p>
          <a:p>
            <a:pPr marL="0" marR="0" lvl="0" indent="0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9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6</a:t>
            </a: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räger |</a:t>
            </a:r>
            <a:r>
              <a:rPr kumimoji="0" lang="de-DE" sz="179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111 </a:t>
            </a: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rankenhäuser | </a:t>
            </a:r>
            <a:r>
              <a:rPr kumimoji="0" lang="de-DE" sz="179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5.000</a:t>
            </a: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tationäre Betten aus Bayern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EA16DA5-CE19-4BED-8304-60A50C0A27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68314" y="3325768"/>
            <a:ext cx="318738" cy="17234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4FDF5797-DAC1-FD4C-7525-756FEAF677B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73270" y="3273973"/>
            <a:ext cx="853668" cy="275933"/>
          </a:xfrm>
          <a:prstGeom prst="rect">
            <a:avLst/>
          </a:prstGeom>
        </p:spPr>
      </p:pic>
      <p:pic>
        <p:nvPicPr>
          <p:cNvPr id="15" name="Picture 2" descr="Vorstand und Aufsichtsrat bei der Gründung der Klinik IT eG in München: Erste Reihe von links: Aufsichtsrat Michael Krappmann, Aufsichtsrat Dr. Uwe Gretscher, Norman Lüttgerding (in Vertretung für Dietmar Pawlik), Aufsichtsratsvorsitzender Michael Hoffmann, stv. Aufsichtsratsvorsitzender Sebastian Lehotzki und Vorstand Martin Gösele">
            <a:extLst>
              <a:ext uri="{FF2B5EF4-FFF2-40B4-BE49-F238E27FC236}">
                <a16:creationId xmlns:a16="http://schemas.microsoft.com/office/drawing/2014/main" id="{38BE3AA6-E147-7E00-948F-F408279C2E3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98" r="15901" b="69210"/>
          <a:stretch/>
        </p:blipFill>
        <p:spPr bwMode="auto">
          <a:xfrm>
            <a:off x="3656815" y="3343010"/>
            <a:ext cx="897013" cy="137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91" name="Textfeld 1190">
            <a:extLst>
              <a:ext uri="{FF2B5EF4-FFF2-40B4-BE49-F238E27FC236}">
                <a16:creationId xmlns:a16="http://schemas.microsoft.com/office/drawing/2014/main" id="{0370483D-C621-EE9D-EE87-E27129D892AD}"/>
              </a:ext>
            </a:extLst>
          </p:cNvPr>
          <p:cNvSpPr txBox="1"/>
          <p:nvPr/>
        </p:nvSpPr>
        <p:spPr>
          <a:xfrm>
            <a:off x="9383244" y="3480482"/>
            <a:ext cx="2223987" cy="16436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141" marR="0" lvl="0" indent="-171141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KB Gesundheitsportal bietet eine Plattform für den </a:t>
            </a:r>
            <a:r>
              <a:rPr kumimoji="0" lang="de-DE" sz="119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enaustausch</a:t>
            </a: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er verschiedenen Einrichtungen und den Patienten</a:t>
            </a:r>
          </a:p>
          <a:p>
            <a:pPr marL="171141" marR="0" lvl="0" indent="-171141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er </a:t>
            </a:r>
            <a:r>
              <a:rPr kumimoji="0" lang="de-DE" sz="119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schiedene Anbindungsstufen </a:t>
            </a: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KH Stufe 1, 2, 3a, 3b)</a:t>
            </a:r>
          </a:p>
        </p:txBody>
      </p:sp>
      <p:pic>
        <p:nvPicPr>
          <p:cNvPr id="1192" name="Grafik 1191" descr="Leuchtturmszenerie mit einfarbiger Füllung">
            <a:extLst>
              <a:ext uri="{FF2B5EF4-FFF2-40B4-BE49-F238E27FC236}">
                <a16:creationId xmlns:a16="http://schemas.microsoft.com/office/drawing/2014/main" id="{C4077267-2F2A-970B-F542-EC32E0F5C6B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08800" y="1988732"/>
            <a:ext cx="288975" cy="288975"/>
          </a:xfrm>
          <a:prstGeom prst="rect">
            <a:avLst/>
          </a:prstGeom>
        </p:spPr>
      </p:pic>
      <p:sp>
        <p:nvSpPr>
          <p:cNvPr id="1193" name="Rectangle 13">
            <a:extLst>
              <a:ext uri="{FF2B5EF4-FFF2-40B4-BE49-F238E27FC236}">
                <a16:creationId xmlns:a16="http://schemas.microsoft.com/office/drawing/2014/main" id="{1E0AB0FE-BA71-8707-0885-02AEF5B0F153}"/>
              </a:ext>
            </a:extLst>
          </p:cNvPr>
          <p:cNvSpPr/>
          <p:nvPr/>
        </p:nvSpPr>
        <p:spPr>
          <a:xfrm>
            <a:off x="8363949" y="5494675"/>
            <a:ext cx="3254377" cy="79744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96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jektlaufzeit</a:t>
            </a:r>
          </a:p>
        </p:txBody>
      </p:sp>
      <p:grpSp>
        <p:nvGrpSpPr>
          <p:cNvPr id="1296" name="Gruppieren 1295">
            <a:extLst>
              <a:ext uri="{FF2B5EF4-FFF2-40B4-BE49-F238E27FC236}">
                <a16:creationId xmlns:a16="http://schemas.microsoft.com/office/drawing/2014/main" id="{F21C03E1-5C49-5E9C-8F84-4B06F4B2FDA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379101" y="5809141"/>
            <a:ext cx="1688916" cy="193937"/>
            <a:chOff x="5334000" y="3429000"/>
            <a:chExt cx="1524000" cy="152400"/>
          </a:xfrm>
        </p:grpSpPr>
        <p:sp>
          <p:nvSpPr>
            <p:cNvPr id="1293" name="background">
              <a:extLst>
                <a:ext uri="{FF2B5EF4-FFF2-40B4-BE49-F238E27FC236}">
                  <a16:creationId xmlns:a16="http://schemas.microsoft.com/office/drawing/2014/main" id="{C2F29D19-34C8-713C-E92A-CFC23DF7634C}"/>
                </a:ext>
              </a:extLst>
            </p:cNvPr>
            <p:cNvSpPr/>
            <p:nvPr/>
          </p:nvSpPr>
          <p:spPr>
            <a:xfrm>
              <a:off x="5334000" y="3429000"/>
              <a:ext cx="1524000" cy="1524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27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97" b="0" i="0" u="none" strike="noStrike" kern="1200" cap="none" spc="0" normalizeH="0" baseline="0" noProof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94" name="bar">
              <a:extLst>
                <a:ext uri="{FF2B5EF4-FFF2-40B4-BE49-F238E27FC236}">
                  <a16:creationId xmlns:a16="http://schemas.microsoft.com/office/drawing/2014/main" id="{9C3B8FDD-BE52-4A32-2021-C9D54A8001A3}"/>
                </a:ext>
              </a:extLst>
            </p:cNvPr>
            <p:cNvSpPr/>
            <p:nvPr/>
          </p:nvSpPr>
          <p:spPr>
            <a:xfrm>
              <a:off x="5334000" y="3429000"/>
              <a:ext cx="0" cy="152400"/>
            </a:xfrm>
            <a:prstGeom prst="rect">
              <a:avLst/>
            </a:prstGeom>
            <a:solidFill>
              <a:srgbClr val="EC66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27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9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95" name="foreground">
              <a:extLst>
                <a:ext uri="{FF2B5EF4-FFF2-40B4-BE49-F238E27FC236}">
                  <a16:creationId xmlns:a16="http://schemas.microsoft.com/office/drawing/2014/main" id="{1F35BE80-D247-2532-BCBA-3EBDCEB372B7}"/>
                </a:ext>
              </a:extLst>
            </p:cNvPr>
            <p:cNvSpPr/>
            <p:nvPr/>
          </p:nvSpPr>
          <p:spPr>
            <a:xfrm>
              <a:off x="5334000" y="3429000"/>
              <a:ext cx="1524000" cy="152400"/>
            </a:xfrm>
            <a:prstGeom prst="rect">
              <a:avLst/>
            </a:prstGeom>
            <a:noFill/>
            <a:ln w="9525">
              <a:solidFill>
                <a:srgbClr val="EC6602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27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9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298" name="Textfeld 1297">
            <a:extLst>
              <a:ext uri="{FF2B5EF4-FFF2-40B4-BE49-F238E27FC236}">
                <a16:creationId xmlns:a16="http://schemas.microsoft.com/office/drawing/2014/main" id="{4149839E-F7E0-09DD-080F-6A5DF13B47E8}"/>
              </a:ext>
            </a:extLst>
          </p:cNvPr>
          <p:cNvSpPr txBox="1"/>
          <p:nvPr/>
        </p:nvSpPr>
        <p:spPr>
          <a:xfrm>
            <a:off x="6548366" y="1902809"/>
            <a:ext cx="4968553" cy="4608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uchtturmcharakter und Referenzpunkt (</a:t>
            </a:r>
            <a:r>
              <a:rPr kumimoji="0" lang="de-DE" sz="1198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lueprint</a:t>
            </a: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 für andere Projekte dieser Art und Bundesländer </a:t>
            </a:r>
          </a:p>
        </p:txBody>
      </p:sp>
      <p:sp>
        <p:nvSpPr>
          <p:cNvPr id="1306" name="Textfeld 1305">
            <a:extLst>
              <a:ext uri="{FF2B5EF4-FFF2-40B4-BE49-F238E27FC236}">
                <a16:creationId xmlns:a16="http://schemas.microsoft.com/office/drawing/2014/main" id="{6C2C0A95-6F07-2A13-7ECF-D48A2B6E8D33}"/>
              </a:ext>
            </a:extLst>
          </p:cNvPr>
          <p:cNvSpPr txBox="1"/>
          <p:nvPr/>
        </p:nvSpPr>
        <p:spPr>
          <a:xfrm>
            <a:off x="6129212" y="6033599"/>
            <a:ext cx="807557" cy="2611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4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ktober 23</a:t>
            </a:r>
          </a:p>
        </p:txBody>
      </p:sp>
      <p:sp>
        <p:nvSpPr>
          <p:cNvPr id="1307" name="Textfeld 1306">
            <a:extLst>
              <a:ext uri="{FF2B5EF4-FFF2-40B4-BE49-F238E27FC236}">
                <a16:creationId xmlns:a16="http://schemas.microsoft.com/office/drawing/2014/main" id="{3860530D-C131-EF1F-D525-196D43AD12A4}"/>
              </a:ext>
            </a:extLst>
          </p:cNvPr>
          <p:cNvSpPr txBox="1"/>
          <p:nvPr/>
        </p:nvSpPr>
        <p:spPr>
          <a:xfrm>
            <a:off x="7697943" y="6029157"/>
            <a:ext cx="594279" cy="2611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4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i 25</a:t>
            </a:r>
          </a:p>
        </p:txBody>
      </p:sp>
      <p:cxnSp>
        <p:nvCxnSpPr>
          <p:cNvPr id="1309" name="Gerader Verbinder 1308">
            <a:extLst>
              <a:ext uri="{FF2B5EF4-FFF2-40B4-BE49-F238E27FC236}">
                <a16:creationId xmlns:a16="http://schemas.microsoft.com/office/drawing/2014/main" id="{D01E90AD-2D17-BEC7-41A0-8B4745E32AB3}"/>
              </a:ext>
            </a:extLst>
          </p:cNvPr>
          <p:cNvCxnSpPr/>
          <p:nvPr/>
        </p:nvCxnSpPr>
        <p:spPr>
          <a:xfrm>
            <a:off x="6387037" y="6003078"/>
            <a:ext cx="0" cy="65651"/>
          </a:xfrm>
          <a:prstGeom prst="line">
            <a:avLst/>
          </a:prstGeom>
          <a:ln w="127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0" name="Gerader Verbinder 1309">
            <a:extLst>
              <a:ext uri="{FF2B5EF4-FFF2-40B4-BE49-F238E27FC236}">
                <a16:creationId xmlns:a16="http://schemas.microsoft.com/office/drawing/2014/main" id="{E9A1AF5B-3F86-4CB8-8427-27B1B7A407E8}"/>
              </a:ext>
            </a:extLst>
          </p:cNvPr>
          <p:cNvCxnSpPr/>
          <p:nvPr/>
        </p:nvCxnSpPr>
        <p:spPr>
          <a:xfrm>
            <a:off x="8069830" y="6007422"/>
            <a:ext cx="0" cy="65651"/>
          </a:xfrm>
          <a:prstGeom prst="line">
            <a:avLst/>
          </a:prstGeom>
          <a:ln w="127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1" name="Textfeld 1310">
            <a:extLst>
              <a:ext uri="{FF2B5EF4-FFF2-40B4-BE49-F238E27FC236}">
                <a16:creationId xmlns:a16="http://schemas.microsoft.com/office/drawing/2014/main" id="{FCDE9974-4011-7905-D1EE-522A10DA86AC}"/>
              </a:ext>
            </a:extLst>
          </p:cNvPr>
          <p:cNvSpPr txBox="1"/>
          <p:nvPr/>
        </p:nvSpPr>
        <p:spPr>
          <a:xfrm>
            <a:off x="8409792" y="5768496"/>
            <a:ext cx="3148812" cy="2764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aufzeit bis zu 5 Jahren - verlängerbar</a:t>
            </a:r>
          </a:p>
        </p:txBody>
      </p:sp>
      <p:pic>
        <p:nvPicPr>
          <p:cNvPr id="1408" name="Grafik 1407">
            <a:extLst>
              <a:ext uri="{FF2B5EF4-FFF2-40B4-BE49-F238E27FC236}">
                <a16:creationId xmlns:a16="http://schemas.microsoft.com/office/drawing/2014/main" id="{5E31E29E-B3EA-A6EA-EED9-675AA2550483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b="12381"/>
          <a:stretch/>
        </p:blipFill>
        <p:spPr>
          <a:xfrm>
            <a:off x="6244855" y="3253693"/>
            <a:ext cx="3138389" cy="2112709"/>
          </a:xfrm>
          <a:prstGeom prst="rect">
            <a:avLst/>
          </a:prstGeom>
        </p:spPr>
      </p:pic>
      <p:sp>
        <p:nvSpPr>
          <p:cNvPr id="1410" name="Textfeld 1409">
            <a:extLst>
              <a:ext uri="{FF2B5EF4-FFF2-40B4-BE49-F238E27FC236}">
                <a16:creationId xmlns:a16="http://schemas.microsoft.com/office/drawing/2014/main" id="{537883CE-BFF0-CC37-5411-5A10B36FC3D9}"/>
              </a:ext>
            </a:extLst>
          </p:cNvPr>
          <p:cNvSpPr txBox="1"/>
          <p:nvPr/>
        </p:nvSpPr>
        <p:spPr>
          <a:xfrm>
            <a:off x="542927" y="4204782"/>
            <a:ext cx="5522858" cy="23044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141" marR="0" lvl="0" indent="-171141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198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operabilitätsplattform der Siemens Healthineers mit folgenden Bestandteilen:</a:t>
            </a:r>
          </a:p>
          <a:p>
            <a:pPr marL="627518" marR="0" lvl="1" indent="-171141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19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tientenportal </a:t>
            </a: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reitgestellt durch die </a:t>
            </a:r>
            <a:r>
              <a:rPr kumimoji="0" lang="de-DE" sz="1198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medi</a:t>
            </a: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GmbH</a:t>
            </a:r>
          </a:p>
          <a:p>
            <a:pPr marL="627518" marR="0" lvl="1" indent="-171141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19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Ärzteportal</a:t>
            </a: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er Siemens Healthineers</a:t>
            </a:r>
          </a:p>
          <a:p>
            <a:pPr marL="627518" marR="0" lvl="1" indent="-171141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19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tlass- und Überleitung</a:t>
            </a:r>
            <a:r>
              <a:rPr kumimoji="0" lang="de-DE" sz="1198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management</a:t>
            </a:r>
            <a:r>
              <a:rPr kumimoji="0" lang="de-DE" sz="119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r </a:t>
            </a:r>
            <a:r>
              <a:rPr kumimoji="0" lang="de-DE" sz="1198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ubedian</a:t>
            </a: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GmbH</a:t>
            </a:r>
          </a:p>
          <a:p>
            <a:pPr marL="627518" marR="0" lvl="1" indent="-171141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schiedene </a:t>
            </a:r>
            <a:r>
              <a:rPr kumimoji="0" lang="de-DE" sz="119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ckend-</a:t>
            </a:r>
            <a:r>
              <a:rPr kumimoji="0" lang="de-DE" sz="1198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ompon</a:t>
            </a:r>
            <a:r>
              <a:rPr kumimoji="0" lang="de-DE" sz="119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ten</a:t>
            </a: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inkl. Kommunikation der </a:t>
            </a:r>
            <a:r>
              <a:rPr kumimoji="0" lang="de-DE" sz="1198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req</a:t>
            </a: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GmbH + Identitätsmanagement der </a:t>
            </a:r>
            <a:r>
              <a:rPr kumimoji="0" lang="de-DE" sz="1198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esso</a:t>
            </a: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E</a:t>
            </a:r>
          </a:p>
          <a:p>
            <a:pPr marL="627518" marR="0" lvl="1" indent="-171141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tional: </a:t>
            </a:r>
            <a:r>
              <a:rPr kumimoji="0" lang="de-DE" sz="119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mporäres Rechenzentrum </a:t>
            </a: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r FI-TS GmbH</a:t>
            </a:r>
          </a:p>
          <a:p>
            <a:pPr marL="171141" marR="0" lvl="0" indent="-171141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198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lgende Services wurden angeboten:</a:t>
            </a:r>
          </a:p>
          <a:p>
            <a:pPr marL="627518" marR="0" lvl="1" indent="-171141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mplementierung und Projektmanagement der Plattform</a:t>
            </a:r>
          </a:p>
          <a:p>
            <a:pPr marL="627518" marR="0" lvl="1" indent="-171141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zessuales Change-Management durch SHS Consulting + Accenture GmbH</a:t>
            </a:r>
          </a:p>
          <a:p>
            <a:pPr marL="627518" marR="0" lvl="1" indent="-171141" algn="l" defTabSz="912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19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chulungen der Anwender</a:t>
            </a:r>
          </a:p>
        </p:txBody>
      </p:sp>
    </p:spTree>
    <p:extLst>
      <p:ext uri="{BB962C8B-B14F-4D97-AF65-F5344CB8AC3E}">
        <p14:creationId xmlns:p14="http://schemas.microsoft.com/office/powerpoint/2010/main" val="300856167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5" name="Gruppieren 224">
            <a:extLst>
              <a:ext uri="{FF2B5EF4-FFF2-40B4-BE49-F238E27FC236}">
                <a16:creationId xmlns:a16="http://schemas.microsoft.com/office/drawing/2014/main" id="{F71AB483-7606-F31D-2F47-D2C7D900EB27}"/>
              </a:ext>
            </a:extLst>
          </p:cNvPr>
          <p:cNvGrpSpPr/>
          <p:nvPr/>
        </p:nvGrpSpPr>
        <p:grpSpPr>
          <a:xfrm>
            <a:off x="3437027" y="2143672"/>
            <a:ext cx="5302249" cy="3839690"/>
            <a:chOff x="3437027" y="2143672"/>
            <a:chExt cx="5302249" cy="3839690"/>
          </a:xfrm>
        </p:grpSpPr>
        <p:sp>
          <p:nvSpPr>
            <p:cNvPr id="224" name="Rechteck 223">
              <a:extLst>
                <a:ext uri="{FF2B5EF4-FFF2-40B4-BE49-F238E27FC236}">
                  <a16:creationId xmlns:a16="http://schemas.microsoft.com/office/drawing/2014/main" id="{1FDBE1A7-3B00-C3E6-CB7A-B00C8E0D4382}"/>
                </a:ext>
              </a:extLst>
            </p:cNvPr>
            <p:cNvSpPr/>
            <p:nvPr/>
          </p:nvSpPr>
          <p:spPr>
            <a:xfrm>
              <a:off x="3437028" y="2143672"/>
              <a:ext cx="5302248" cy="383969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sz="2400" b="1">
                  <a:solidFill>
                    <a:schemeClr val="bg1"/>
                  </a:solidFill>
                </a:rPr>
                <a:t>MKB Gesundheitsportal</a:t>
              </a:r>
            </a:p>
          </p:txBody>
        </p:sp>
        <p:sp>
          <p:nvSpPr>
            <p:cNvPr id="240" name="Rechteck 239">
              <a:extLst>
                <a:ext uri="{FF2B5EF4-FFF2-40B4-BE49-F238E27FC236}">
                  <a16:creationId xmlns:a16="http://schemas.microsoft.com/office/drawing/2014/main" id="{BE57BB7D-202C-2122-7831-6037AC747AB0}"/>
                </a:ext>
              </a:extLst>
            </p:cNvPr>
            <p:cNvSpPr/>
            <p:nvPr/>
          </p:nvSpPr>
          <p:spPr>
            <a:xfrm>
              <a:off x="3437027" y="5560386"/>
              <a:ext cx="84294" cy="774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1" name="Rechteck 240">
              <a:extLst>
                <a:ext uri="{FF2B5EF4-FFF2-40B4-BE49-F238E27FC236}">
                  <a16:creationId xmlns:a16="http://schemas.microsoft.com/office/drawing/2014/main" id="{EAD66C5A-F06A-13C2-F109-27ECE0255C6F}"/>
                </a:ext>
              </a:extLst>
            </p:cNvPr>
            <p:cNvSpPr/>
            <p:nvPr/>
          </p:nvSpPr>
          <p:spPr>
            <a:xfrm>
              <a:off x="8651877" y="5560386"/>
              <a:ext cx="84294" cy="774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B46C6244-4B66-D6FE-1687-C94F23C4DDEA}"/>
                </a:ext>
              </a:extLst>
            </p:cNvPr>
            <p:cNvSpPr/>
            <p:nvPr/>
          </p:nvSpPr>
          <p:spPr>
            <a:xfrm>
              <a:off x="3437027" y="4024796"/>
              <a:ext cx="84294" cy="774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0A83FCDF-F55C-98BF-B461-F21CD11D9053}"/>
                </a:ext>
              </a:extLst>
            </p:cNvPr>
            <p:cNvSpPr/>
            <p:nvPr/>
          </p:nvSpPr>
          <p:spPr>
            <a:xfrm>
              <a:off x="8654982" y="4024796"/>
              <a:ext cx="84294" cy="774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aphicFrame>
        <p:nvGraphicFramePr>
          <p:cNvPr id="38" name="Objekt 37" hidden="1">
            <a:extLst>
              <a:ext uri="{FF2B5EF4-FFF2-40B4-BE49-F238E27FC236}">
                <a16:creationId xmlns:a16="http://schemas.microsoft.com/office/drawing/2014/main" id="{26457EFB-E50B-436E-8719-B4344854C0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624" imgH="623" progId="TCLayout.ActiveDocument.1">
                  <p:embed/>
                </p:oleObj>
              </mc:Choice>
              <mc:Fallback>
                <p:oleObj name="think-cell Folie" r:id="rId8" imgW="624" imgH="623" progId="TCLayout.ActiveDocument.1">
                  <p:embed/>
                  <p:pic>
                    <p:nvPicPr>
                      <p:cNvPr id="38" name="Objekt 37" hidden="1">
                        <a:extLst>
                          <a:ext uri="{FF2B5EF4-FFF2-40B4-BE49-F238E27FC236}">
                            <a16:creationId xmlns:a16="http://schemas.microsoft.com/office/drawing/2014/main" id="{26457EFB-E50B-436E-8719-B4344854C0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7E0C86F-0251-458A-9676-8C97AC1318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19599"/>
            <a:ext cx="9503159" cy="832913"/>
          </a:xfrm>
        </p:spPr>
        <p:txBody>
          <a:bodyPr vert="horz"/>
          <a:lstStyle/>
          <a:p>
            <a:r>
              <a:rPr lang="de-DE"/>
              <a:t>Die Übersicht der Gesamtarchitektur zeigt wesentliche Bestandteile des Portals und die Schwerpunkte der Partner</a:t>
            </a:r>
            <a:endParaRPr lang="de-DE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23855DC-9CF8-4AFB-9C47-0F79C6A2964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0000" y="6297348"/>
            <a:ext cx="6109278" cy="360000"/>
          </a:xfrm>
        </p:spPr>
        <p:txBody>
          <a:bodyPr/>
          <a:lstStyle/>
          <a:p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1855BB0D-A989-4C4D-B195-FC5FC00032F5}"/>
              </a:ext>
            </a:extLst>
          </p:cNvPr>
          <p:cNvSpPr txBox="1">
            <a:spLocks/>
          </p:cNvSpPr>
          <p:nvPr/>
        </p:nvSpPr>
        <p:spPr>
          <a:xfrm>
            <a:off x="515420" y="6292093"/>
            <a:ext cx="5403850" cy="36036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300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EFFA83B-6ABA-4618-BF58-2AC1EA2F073A}"/>
              </a:ext>
            </a:extLst>
          </p:cNvPr>
          <p:cNvSpPr/>
          <p:nvPr/>
        </p:nvSpPr>
        <p:spPr>
          <a:xfrm>
            <a:off x="0" y="0"/>
            <a:ext cx="8438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4" name="TextBox 42">
            <a:extLst>
              <a:ext uri="{FF2B5EF4-FFF2-40B4-BE49-F238E27FC236}">
                <a16:creationId xmlns:a16="http://schemas.microsoft.com/office/drawing/2014/main" id="{3D68E523-C14C-44FE-A002-0858381778AA}"/>
              </a:ext>
            </a:extLst>
          </p:cNvPr>
          <p:cNvSpPr txBox="1"/>
          <p:nvPr/>
        </p:nvSpPr>
        <p:spPr>
          <a:xfrm>
            <a:off x="75379" y="50656"/>
            <a:ext cx="504327" cy="30977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b="1"/>
              <a:t>03|</a:t>
            </a:r>
          </a:p>
        </p:txBody>
      </p:sp>
      <p:sp>
        <p:nvSpPr>
          <p:cNvPr id="45" name="Rectangle 45">
            <a:extLst>
              <a:ext uri="{FF2B5EF4-FFF2-40B4-BE49-F238E27FC236}">
                <a16:creationId xmlns:a16="http://schemas.microsoft.com/office/drawing/2014/main" id="{0125FE39-B884-406A-BAA6-09D0B200EA02}"/>
              </a:ext>
            </a:extLst>
          </p:cNvPr>
          <p:cNvSpPr/>
          <p:nvPr/>
        </p:nvSpPr>
        <p:spPr>
          <a:xfrm>
            <a:off x="-34006" y="363186"/>
            <a:ext cx="152400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03AD9071-E965-A1E5-F5C8-5C2DC7767372}"/>
              </a:ext>
            </a:extLst>
          </p:cNvPr>
          <p:cNvGrpSpPr/>
          <p:nvPr/>
        </p:nvGrpSpPr>
        <p:grpSpPr>
          <a:xfrm>
            <a:off x="1708446" y="2590830"/>
            <a:ext cx="73957" cy="183524"/>
            <a:chOff x="1708446" y="2590830"/>
            <a:chExt cx="73957" cy="183524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ED0A2494-78F8-BFB0-BC55-7580D0B1A7B5}"/>
                </a:ext>
              </a:extLst>
            </p:cNvPr>
            <p:cNvSpPr/>
            <p:nvPr/>
          </p:nvSpPr>
          <p:spPr>
            <a:xfrm>
              <a:off x="1708446" y="2590830"/>
              <a:ext cx="73957" cy="675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C4D98C51-00B5-739F-7BF9-005AE07F036C}"/>
                </a:ext>
              </a:extLst>
            </p:cNvPr>
            <p:cNvSpPr/>
            <p:nvPr/>
          </p:nvSpPr>
          <p:spPr>
            <a:xfrm>
              <a:off x="1708446" y="2706835"/>
              <a:ext cx="73957" cy="675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47" name="Verbinder: gewinkelt 46">
            <a:extLst>
              <a:ext uri="{FF2B5EF4-FFF2-40B4-BE49-F238E27FC236}">
                <a16:creationId xmlns:a16="http://schemas.microsoft.com/office/drawing/2014/main" id="{99C22086-ADDB-3EFE-D735-2AFAA5EFF70D}"/>
              </a:ext>
            </a:extLst>
          </p:cNvPr>
          <p:cNvCxnSpPr>
            <a:cxnSpLocks/>
            <a:stCxn id="252" idx="3"/>
            <a:endCxn id="240" idx="1"/>
          </p:cNvCxnSpPr>
          <p:nvPr/>
        </p:nvCxnSpPr>
        <p:spPr>
          <a:xfrm>
            <a:off x="2016243" y="2898845"/>
            <a:ext cx="1420784" cy="2700262"/>
          </a:xfrm>
          <a:prstGeom prst="bentConnector3">
            <a:avLst>
              <a:gd name="adj1" fmla="val 28547"/>
            </a:avLst>
          </a:prstGeom>
          <a:ln w="12700" cap="rnd">
            <a:solidFill>
              <a:schemeClr val="tx1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Verbinder: gewinkelt 47">
            <a:extLst>
              <a:ext uri="{FF2B5EF4-FFF2-40B4-BE49-F238E27FC236}">
                <a16:creationId xmlns:a16="http://schemas.microsoft.com/office/drawing/2014/main" id="{BDF597C5-AF20-E9BB-1631-13F3D3C6F599}"/>
              </a:ext>
            </a:extLst>
          </p:cNvPr>
          <p:cNvCxnSpPr>
            <a:cxnSpLocks/>
            <a:stCxn id="253" idx="3"/>
            <a:endCxn id="240" idx="1"/>
          </p:cNvCxnSpPr>
          <p:nvPr/>
        </p:nvCxnSpPr>
        <p:spPr>
          <a:xfrm>
            <a:off x="2016243" y="5309547"/>
            <a:ext cx="1420784" cy="289560"/>
          </a:xfrm>
          <a:prstGeom prst="bentConnector3">
            <a:avLst>
              <a:gd name="adj1" fmla="val 28324"/>
            </a:avLst>
          </a:prstGeom>
          <a:ln w="12700" cap="rnd">
            <a:solidFill>
              <a:schemeClr val="tx1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BFEC6F5C-8999-8A7A-6978-B4638F7CF10B}"/>
              </a:ext>
            </a:extLst>
          </p:cNvPr>
          <p:cNvSpPr/>
          <p:nvPr/>
        </p:nvSpPr>
        <p:spPr>
          <a:xfrm>
            <a:off x="2781225" y="5617877"/>
            <a:ext cx="379537" cy="11180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600"/>
              <a:t>Termin</a:t>
            </a:r>
          </a:p>
        </p:txBody>
      </p:sp>
      <p:sp>
        <p:nvSpPr>
          <p:cNvPr id="55" name="Rechteck: abgerundete Ecken 54">
            <a:extLst>
              <a:ext uri="{FF2B5EF4-FFF2-40B4-BE49-F238E27FC236}">
                <a16:creationId xmlns:a16="http://schemas.microsoft.com/office/drawing/2014/main" id="{2E611100-5495-E0E3-DDE2-57A7C5FCFC9C}"/>
              </a:ext>
            </a:extLst>
          </p:cNvPr>
          <p:cNvSpPr/>
          <p:nvPr/>
        </p:nvSpPr>
        <p:spPr>
          <a:xfrm>
            <a:off x="2781225" y="5474078"/>
            <a:ext cx="379537" cy="11180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600"/>
              <a:t>Dokument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3859F364-A79B-FC2F-9EB4-CC7A3520F901}"/>
              </a:ext>
            </a:extLst>
          </p:cNvPr>
          <p:cNvSpPr/>
          <p:nvPr/>
        </p:nvSpPr>
        <p:spPr>
          <a:xfrm>
            <a:off x="2781225" y="5769154"/>
            <a:ext cx="379537" cy="11180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600"/>
              <a:t>DICOM</a:t>
            </a:r>
          </a:p>
        </p:txBody>
      </p:sp>
      <p:cxnSp>
        <p:nvCxnSpPr>
          <p:cNvPr id="62" name="Verbinder: gewinkelt 61">
            <a:extLst>
              <a:ext uri="{FF2B5EF4-FFF2-40B4-BE49-F238E27FC236}">
                <a16:creationId xmlns:a16="http://schemas.microsoft.com/office/drawing/2014/main" id="{BC7B0D2F-95EB-E4E9-1B41-D551A419C84B}"/>
              </a:ext>
            </a:extLst>
          </p:cNvPr>
          <p:cNvCxnSpPr>
            <a:cxnSpLocks/>
            <a:stCxn id="255" idx="1"/>
            <a:endCxn id="241" idx="3"/>
          </p:cNvCxnSpPr>
          <p:nvPr/>
        </p:nvCxnSpPr>
        <p:spPr>
          <a:xfrm rot="10800000" flipV="1">
            <a:off x="8736171" y="2898845"/>
            <a:ext cx="1414304" cy="2700262"/>
          </a:xfrm>
          <a:prstGeom prst="bentConnector3">
            <a:avLst>
              <a:gd name="adj1" fmla="val 27587"/>
            </a:avLst>
          </a:prstGeom>
          <a:ln w="12700" cap="rnd">
            <a:solidFill>
              <a:schemeClr val="tx1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Verbinder: gewinkelt 62">
            <a:extLst>
              <a:ext uri="{FF2B5EF4-FFF2-40B4-BE49-F238E27FC236}">
                <a16:creationId xmlns:a16="http://schemas.microsoft.com/office/drawing/2014/main" id="{3D27C69F-E30D-571F-8601-D2493E145B57}"/>
              </a:ext>
            </a:extLst>
          </p:cNvPr>
          <p:cNvCxnSpPr>
            <a:cxnSpLocks/>
            <a:stCxn id="254" idx="1"/>
            <a:endCxn id="241" idx="3"/>
          </p:cNvCxnSpPr>
          <p:nvPr/>
        </p:nvCxnSpPr>
        <p:spPr>
          <a:xfrm rot="10800000" flipV="1">
            <a:off x="8736171" y="5309547"/>
            <a:ext cx="1414304" cy="289560"/>
          </a:xfrm>
          <a:prstGeom prst="bentConnector3">
            <a:avLst>
              <a:gd name="adj1" fmla="val 27587"/>
            </a:avLst>
          </a:prstGeom>
          <a:ln w="12700" cap="rnd">
            <a:solidFill>
              <a:schemeClr val="tx1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6" name="Gruppieren 85">
            <a:extLst>
              <a:ext uri="{FF2B5EF4-FFF2-40B4-BE49-F238E27FC236}">
                <a16:creationId xmlns:a16="http://schemas.microsoft.com/office/drawing/2014/main" id="{BAD17783-ABB5-EB2B-EE60-2A57E44A1BA4}"/>
              </a:ext>
            </a:extLst>
          </p:cNvPr>
          <p:cNvGrpSpPr/>
          <p:nvPr/>
        </p:nvGrpSpPr>
        <p:grpSpPr>
          <a:xfrm>
            <a:off x="7249899" y="1247945"/>
            <a:ext cx="1164434" cy="712033"/>
            <a:chOff x="6446916" y="261243"/>
            <a:chExt cx="1164434" cy="712032"/>
          </a:xfrm>
        </p:grpSpPr>
        <p:grpSp>
          <p:nvGrpSpPr>
            <p:cNvPr id="87" name="Grafik 1">
              <a:extLst>
                <a:ext uri="{FF2B5EF4-FFF2-40B4-BE49-F238E27FC236}">
                  <a16:creationId xmlns:a16="http://schemas.microsoft.com/office/drawing/2014/main" id="{F2DC0235-4369-27C1-9A8D-8EFCDF37C911}"/>
                </a:ext>
              </a:extLst>
            </p:cNvPr>
            <p:cNvGrpSpPr/>
            <p:nvPr/>
          </p:nvGrpSpPr>
          <p:grpSpPr>
            <a:xfrm>
              <a:off x="6446916" y="261243"/>
              <a:ext cx="180966" cy="712032"/>
              <a:chOff x="8599201" y="2644432"/>
              <a:chExt cx="453965" cy="1786172"/>
            </a:xfrm>
            <a:solidFill>
              <a:schemeClr val="accent1"/>
            </a:solidFill>
          </p:grpSpPr>
          <p:sp>
            <p:nvSpPr>
              <p:cNvPr id="89" name="Freihandform: Form 19">
                <a:extLst>
                  <a:ext uri="{FF2B5EF4-FFF2-40B4-BE49-F238E27FC236}">
                    <a16:creationId xmlns:a16="http://schemas.microsoft.com/office/drawing/2014/main" id="{8EE4ED98-FBB3-9150-8413-1B5D5A37A384}"/>
                  </a:ext>
                </a:extLst>
              </p:cNvPr>
              <p:cNvSpPr/>
              <p:nvPr/>
            </p:nvSpPr>
            <p:spPr>
              <a:xfrm>
                <a:off x="8604664" y="2665421"/>
                <a:ext cx="442735" cy="1681910"/>
              </a:xfrm>
              <a:custGeom>
                <a:avLst/>
                <a:gdLst>
                  <a:gd name="connsiteX0" fmla="*/ 442718 w 442735"/>
                  <a:gd name="connsiteY0" fmla="*/ 607893 h 1681910"/>
                  <a:gd name="connsiteX1" fmla="*/ 433280 w 442735"/>
                  <a:gd name="connsiteY1" fmla="*/ 432062 h 1681910"/>
                  <a:gd name="connsiteX2" fmla="*/ 318799 w 442735"/>
                  <a:gd name="connsiteY2" fmla="*/ 275260 h 1681910"/>
                  <a:gd name="connsiteX3" fmla="*/ 260645 w 442735"/>
                  <a:gd name="connsiteY3" fmla="*/ 202948 h 1681910"/>
                  <a:gd name="connsiteX4" fmla="*/ 277086 w 442735"/>
                  <a:gd name="connsiteY4" fmla="*/ 165042 h 1681910"/>
                  <a:gd name="connsiteX5" fmla="*/ 296268 w 442735"/>
                  <a:gd name="connsiteY5" fmla="*/ 138401 h 1681910"/>
                  <a:gd name="connsiteX6" fmla="*/ 290483 w 442735"/>
                  <a:gd name="connsiteY6" fmla="*/ 107802 h 1681910"/>
                  <a:gd name="connsiteX7" fmla="*/ 222586 w 442735"/>
                  <a:gd name="connsiteY7" fmla="*/ 19 h 1681910"/>
                  <a:gd name="connsiteX8" fmla="*/ 220150 w 442735"/>
                  <a:gd name="connsiteY8" fmla="*/ 19 h 1681910"/>
                  <a:gd name="connsiteX9" fmla="*/ 152253 w 442735"/>
                  <a:gd name="connsiteY9" fmla="*/ 107802 h 1681910"/>
                  <a:gd name="connsiteX10" fmla="*/ 146468 w 442735"/>
                  <a:gd name="connsiteY10" fmla="*/ 138401 h 1681910"/>
                  <a:gd name="connsiteX11" fmla="*/ 165650 w 442735"/>
                  <a:gd name="connsiteY11" fmla="*/ 165042 h 1681910"/>
                  <a:gd name="connsiteX12" fmla="*/ 182091 w 442735"/>
                  <a:gd name="connsiteY12" fmla="*/ 202948 h 1681910"/>
                  <a:gd name="connsiteX13" fmla="*/ 123937 w 442735"/>
                  <a:gd name="connsiteY13" fmla="*/ 275260 h 1681910"/>
                  <a:gd name="connsiteX14" fmla="*/ 9456 w 442735"/>
                  <a:gd name="connsiteY14" fmla="*/ 432062 h 1681910"/>
                  <a:gd name="connsiteX15" fmla="*/ 18 w 442735"/>
                  <a:gd name="connsiteY15" fmla="*/ 607893 h 1681910"/>
                  <a:gd name="connsiteX16" fmla="*/ 14632 w 442735"/>
                  <a:gd name="connsiteY16" fmla="*/ 846141 h 1681910"/>
                  <a:gd name="connsiteX17" fmla="*/ 37315 w 442735"/>
                  <a:gd name="connsiteY17" fmla="*/ 1006444 h 1681910"/>
                  <a:gd name="connsiteX18" fmla="*/ 60455 w 442735"/>
                  <a:gd name="connsiteY18" fmla="*/ 825285 h 1681910"/>
                  <a:gd name="connsiteX19" fmla="*/ 61216 w 442735"/>
                  <a:gd name="connsiteY19" fmla="*/ 669701 h 1681910"/>
                  <a:gd name="connsiteX20" fmla="*/ 81768 w 442735"/>
                  <a:gd name="connsiteY20" fmla="*/ 473622 h 1681910"/>
                  <a:gd name="connsiteX21" fmla="*/ 86487 w 442735"/>
                  <a:gd name="connsiteY21" fmla="*/ 656608 h 1681910"/>
                  <a:gd name="connsiteX22" fmla="*/ 82529 w 442735"/>
                  <a:gd name="connsiteY22" fmla="*/ 1130820 h 1681910"/>
                  <a:gd name="connsiteX23" fmla="*/ 92120 w 442735"/>
                  <a:gd name="connsiteY23" fmla="*/ 1263417 h 1681910"/>
                  <a:gd name="connsiteX24" fmla="*/ 122719 w 442735"/>
                  <a:gd name="connsiteY24" fmla="*/ 1681911 h 1681910"/>
                  <a:gd name="connsiteX25" fmla="*/ 186658 w 442735"/>
                  <a:gd name="connsiteY25" fmla="*/ 1673690 h 1681910"/>
                  <a:gd name="connsiteX26" fmla="*/ 196401 w 442735"/>
                  <a:gd name="connsiteY26" fmla="*/ 1523130 h 1681910"/>
                  <a:gd name="connsiteX27" fmla="*/ 196401 w 442735"/>
                  <a:gd name="connsiteY27" fmla="*/ 1233426 h 1681910"/>
                  <a:gd name="connsiteX28" fmla="*/ 213300 w 442735"/>
                  <a:gd name="connsiteY28" fmla="*/ 1006444 h 1681910"/>
                  <a:gd name="connsiteX29" fmla="*/ 230045 w 442735"/>
                  <a:gd name="connsiteY29" fmla="*/ 1006444 h 1681910"/>
                  <a:gd name="connsiteX30" fmla="*/ 246944 w 442735"/>
                  <a:gd name="connsiteY30" fmla="*/ 1233426 h 1681910"/>
                  <a:gd name="connsiteX31" fmla="*/ 246944 w 442735"/>
                  <a:gd name="connsiteY31" fmla="*/ 1523130 h 1681910"/>
                  <a:gd name="connsiteX32" fmla="*/ 256687 w 442735"/>
                  <a:gd name="connsiteY32" fmla="*/ 1673690 h 1681910"/>
                  <a:gd name="connsiteX33" fmla="*/ 320625 w 442735"/>
                  <a:gd name="connsiteY33" fmla="*/ 1681911 h 1681910"/>
                  <a:gd name="connsiteX34" fmla="*/ 351225 w 442735"/>
                  <a:gd name="connsiteY34" fmla="*/ 1263417 h 1681910"/>
                  <a:gd name="connsiteX35" fmla="*/ 360816 w 442735"/>
                  <a:gd name="connsiteY35" fmla="*/ 1130820 h 1681910"/>
                  <a:gd name="connsiteX36" fmla="*/ 356857 w 442735"/>
                  <a:gd name="connsiteY36" fmla="*/ 656608 h 1681910"/>
                  <a:gd name="connsiteX37" fmla="*/ 361577 w 442735"/>
                  <a:gd name="connsiteY37" fmla="*/ 473622 h 1681910"/>
                  <a:gd name="connsiteX38" fmla="*/ 382129 w 442735"/>
                  <a:gd name="connsiteY38" fmla="*/ 669701 h 1681910"/>
                  <a:gd name="connsiteX39" fmla="*/ 382890 w 442735"/>
                  <a:gd name="connsiteY39" fmla="*/ 825285 h 1681910"/>
                  <a:gd name="connsiteX40" fmla="*/ 406029 w 442735"/>
                  <a:gd name="connsiteY40" fmla="*/ 1006444 h 1681910"/>
                  <a:gd name="connsiteX41" fmla="*/ 428713 w 442735"/>
                  <a:gd name="connsiteY41" fmla="*/ 846141 h 1681910"/>
                  <a:gd name="connsiteX42" fmla="*/ 442718 w 442735"/>
                  <a:gd name="connsiteY42" fmla="*/ 607893 h 1681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442735" h="1681910">
                    <a:moveTo>
                      <a:pt x="442718" y="607893"/>
                    </a:moveTo>
                    <a:cubicBezTo>
                      <a:pt x="442109" y="543955"/>
                      <a:pt x="431301" y="455963"/>
                      <a:pt x="433280" y="432062"/>
                    </a:cubicBezTo>
                    <a:cubicBezTo>
                      <a:pt x="434954" y="412119"/>
                      <a:pt x="426277" y="294442"/>
                      <a:pt x="318799" y="275260"/>
                    </a:cubicBezTo>
                    <a:cubicBezTo>
                      <a:pt x="241463" y="261407"/>
                      <a:pt x="260645" y="202948"/>
                      <a:pt x="260645" y="202948"/>
                    </a:cubicBezTo>
                    <a:cubicBezTo>
                      <a:pt x="275868" y="192444"/>
                      <a:pt x="277086" y="165042"/>
                      <a:pt x="277086" y="165042"/>
                    </a:cubicBezTo>
                    <a:cubicBezTo>
                      <a:pt x="286373" y="164890"/>
                      <a:pt x="285611" y="161997"/>
                      <a:pt x="296268" y="138401"/>
                    </a:cubicBezTo>
                    <a:cubicBezTo>
                      <a:pt x="306924" y="114652"/>
                      <a:pt x="290483" y="107802"/>
                      <a:pt x="290483" y="107802"/>
                    </a:cubicBezTo>
                    <a:cubicBezTo>
                      <a:pt x="311644" y="-4091"/>
                      <a:pt x="222586" y="19"/>
                      <a:pt x="222586" y="19"/>
                    </a:cubicBezTo>
                    <a:lnTo>
                      <a:pt x="220150" y="19"/>
                    </a:lnTo>
                    <a:cubicBezTo>
                      <a:pt x="220150" y="19"/>
                      <a:pt x="131092" y="-4091"/>
                      <a:pt x="152253" y="107802"/>
                    </a:cubicBezTo>
                    <a:cubicBezTo>
                      <a:pt x="152253" y="107802"/>
                      <a:pt x="135812" y="114804"/>
                      <a:pt x="146468" y="138401"/>
                    </a:cubicBezTo>
                    <a:cubicBezTo>
                      <a:pt x="157125" y="162149"/>
                      <a:pt x="156363" y="165042"/>
                      <a:pt x="165650" y="165042"/>
                    </a:cubicBezTo>
                    <a:cubicBezTo>
                      <a:pt x="165650" y="165042"/>
                      <a:pt x="166716" y="192596"/>
                      <a:pt x="182091" y="202948"/>
                    </a:cubicBezTo>
                    <a:cubicBezTo>
                      <a:pt x="182091" y="202948"/>
                      <a:pt x="201273" y="261407"/>
                      <a:pt x="123937" y="275260"/>
                    </a:cubicBezTo>
                    <a:cubicBezTo>
                      <a:pt x="16459" y="294442"/>
                      <a:pt x="7782" y="412119"/>
                      <a:pt x="9456" y="432062"/>
                    </a:cubicBezTo>
                    <a:cubicBezTo>
                      <a:pt x="11435" y="455811"/>
                      <a:pt x="779" y="543955"/>
                      <a:pt x="18" y="607893"/>
                    </a:cubicBezTo>
                    <a:cubicBezTo>
                      <a:pt x="-591" y="671832"/>
                      <a:pt x="14632" y="846141"/>
                      <a:pt x="14632" y="846141"/>
                    </a:cubicBezTo>
                    <a:cubicBezTo>
                      <a:pt x="4889" y="928652"/>
                      <a:pt x="17525" y="1004313"/>
                      <a:pt x="37315" y="1006444"/>
                    </a:cubicBezTo>
                    <a:cubicBezTo>
                      <a:pt x="57106" y="1008576"/>
                      <a:pt x="60455" y="825285"/>
                      <a:pt x="60455" y="825285"/>
                    </a:cubicBezTo>
                    <a:lnTo>
                      <a:pt x="61216" y="669701"/>
                    </a:lnTo>
                    <a:lnTo>
                      <a:pt x="81768" y="473622"/>
                    </a:lnTo>
                    <a:lnTo>
                      <a:pt x="86487" y="656608"/>
                    </a:lnTo>
                    <a:cubicBezTo>
                      <a:pt x="86487" y="656608"/>
                      <a:pt x="53300" y="968233"/>
                      <a:pt x="82529" y="1130820"/>
                    </a:cubicBezTo>
                    <a:cubicBezTo>
                      <a:pt x="82529" y="1130820"/>
                      <a:pt x="94708" y="1232209"/>
                      <a:pt x="92120" y="1263417"/>
                    </a:cubicBezTo>
                    <a:cubicBezTo>
                      <a:pt x="89380" y="1294625"/>
                      <a:pt x="109779" y="1596202"/>
                      <a:pt x="122719" y="1681911"/>
                    </a:cubicBezTo>
                    <a:lnTo>
                      <a:pt x="186658" y="1673690"/>
                    </a:lnTo>
                    <a:cubicBezTo>
                      <a:pt x="186658" y="1673690"/>
                      <a:pt x="189703" y="1544899"/>
                      <a:pt x="196401" y="1523130"/>
                    </a:cubicBezTo>
                    <a:cubicBezTo>
                      <a:pt x="203100" y="1501360"/>
                      <a:pt x="192443" y="1285795"/>
                      <a:pt x="196401" y="1233426"/>
                    </a:cubicBezTo>
                    <a:cubicBezTo>
                      <a:pt x="200360" y="1181058"/>
                      <a:pt x="213300" y="1006444"/>
                      <a:pt x="213300" y="1006444"/>
                    </a:cubicBezTo>
                    <a:lnTo>
                      <a:pt x="230045" y="1006444"/>
                    </a:lnTo>
                    <a:cubicBezTo>
                      <a:pt x="230045" y="1006444"/>
                      <a:pt x="242985" y="1181058"/>
                      <a:pt x="246944" y="1233426"/>
                    </a:cubicBezTo>
                    <a:cubicBezTo>
                      <a:pt x="250902" y="1285795"/>
                      <a:pt x="240245" y="1501360"/>
                      <a:pt x="246944" y="1523130"/>
                    </a:cubicBezTo>
                    <a:cubicBezTo>
                      <a:pt x="253642" y="1544899"/>
                      <a:pt x="256687" y="1673690"/>
                      <a:pt x="256687" y="1673690"/>
                    </a:cubicBezTo>
                    <a:lnTo>
                      <a:pt x="320625" y="1681911"/>
                    </a:lnTo>
                    <a:cubicBezTo>
                      <a:pt x="333565" y="1596202"/>
                      <a:pt x="353965" y="1294777"/>
                      <a:pt x="351225" y="1263417"/>
                    </a:cubicBezTo>
                    <a:cubicBezTo>
                      <a:pt x="348484" y="1232209"/>
                      <a:pt x="360816" y="1130820"/>
                      <a:pt x="360816" y="1130820"/>
                    </a:cubicBezTo>
                    <a:cubicBezTo>
                      <a:pt x="390045" y="968233"/>
                      <a:pt x="356857" y="656608"/>
                      <a:pt x="356857" y="656608"/>
                    </a:cubicBezTo>
                    <a:lnTo>
                      <a:pt x="361577" y="473622"/>
                    </a:lnTo>
                    <a:lnTo>
                      <a:pt x="382129" y="669701"/>
                    </a:lnTo>
                    <a:lnTo>
                      <a:pt x="382890" y="825285"/>
                    </a:lnTo>
                    <a:cubicBezTo>
                      <a:pt x="382890" y="825285"/>
                      <a:pt x="386239" y="1008728"/>
                      <a:pt x="406029" y="1006444"/>
                    </a:cubicBezTo>
                    <a:cubicBezTo>
                      <a:pt x="425820" y="1004313"/>
                      <a:pt x="438456" y="928652"/>
                      <a:pt x="428713" y="846141"/>
                    </a:cubicBezTo>
                    <a:cubicBezTo>
                      <a:pt x="428104" y="846141"/>
                      <a:pt x="443327" y="671832"/>
                      <a:pt x="442718" y="607893"/>
                    </a:cubicBezTo>
                    <a:close/>
                  </a:path>
                </a:pathLst>
              </a:custGeom>
              <a:solidFill>
                <a:srgbClr val="C09066"/>
              </a:solidFill>
              <a:ln w="15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 sz="1795">
                  <a:solidFill>
                    <a:srgbClr val="000000"/>
                  </a:solidFill>
                  <a:latin typeface="Siemens Sans"/>
                </a:endParaRPr>
              </a:p>
            </p:txBody>
          </p:sp>
          <p:sp>
            <p:nvSpPr>
              <p:cNvPr id="90" name="Freihandform: Form 20">
                <a:extLst>
                  <a:ext uri="{FF2B5EF4-FFF2-40B4-BE49-F238E27FC236}">
                    <a16:creationId xmlns:a16="http://schemas.microsoft.com/office/drawing/2014/main" id="{A551B114-8EAD-BAB5-0E35-36BCCC8E47CD}"/>
                  </a:ext>
                </a:extLst>
              </p:cNvPr>
              <p:cNvSpPr/>
              <p:nvPr/>
            </p:nvSpPr>
            <p:spPr>
              <a:xfrm>
                <a:off x="8747988" y="2644432"/>
                <a:ext cx="156206" cy="142339"/>
              </a:xfrm>
              <a:custGeom>
                <a:avLst/>
                <a:gdLst>
                  <a:gd name="connsiteX0" fmla="*/ 9538 w 156206"/>
                  <a:gd name="connsiteY0" fmla="*/ 142340 h 142339"/>
                  <a:gd name="connsiteX1" fmla="*/ 20651 w 156206"/>
                  <a:gd name="connsiteY1" fmla="*/ 125137 h 142339"/>
                  <a:gd name="connsiteX2" fmla="*/ 20651 w 156206"/>
                  <a:gd name="connsiteY2" fmla="*/ 68658 h 142339"/>
                  <a:gd name="connsiteX3" fmla="*/ 53534 w 156206"/>
                  <a:gd name="connsiteY3" fmla="*/ 61808 h 142339"/>
                  <a:gd name="connsiteX4" fmla="*/ 103772 w 156206"/>
                  <a:gd name="connsiteY4" fmla="*/ 77335 h 142339"/>
                  <a:gd name="connsiteX5" fmla="*/ 87026 w 156206"/>
                  <a:gd name="connsiteY5" fmla="*/ 61808 h 142339"/>
                  <a:gd name="connsiteX6" fmla="*/ 121279 w 156206"/>
                  <a:gd name="connsiteY6" fmla="*/ 69267 h 142339"/>
                  <a:gd name="connsiteX7" fmla="*/ 135893 w 156206"/>
                  <a:gd name="connsiteY7" fmla="*/ 119657 h 142339"/>
                  <a:gd name="connsiteX8" fmla="*/ 150356 w 156206"/>
                  <a:gd name="connsiteY8" fmla="*/ 133967 h 142339"/>
                  <a:gd name="connsiteX9" fmla="*/ 153401 w 156206"/>
                  <a:gd name="connsiteY9" fmla="*/ 58610 h 142339"/>
                  <a:gd name="connsiteX10" fmla="*/ 102402 w 156206"/>
                  <a:gd name="connsiteY10" fmla="*/ 19791 h 142339"/>
                  <a:gd name="connsiteX11" fmla="*/ 66779 w 156206"/>
                  <a:gd name="connsiteY11" fmla="*/ 0 h 142339"/>
                  <a:gd name="connsiteX12" fmla="*/ 71650 w 156206"/>
                  <a:gd name="connsiteY12" fmla="*/ 12636 h 142339"/>
                  <a:gd name="connsiteX13" fmla="*/ 39529 w 156206"/>
                  <a:gd name="connsiteY13" fmla="*/ 8830 h 142339"/>
                  <a:gd name="connsiteX14" fmla="*/ 49272 w 156206"/>
                  <a:gd name="connsiteY14" fmla="*/ 21770 h 142339"/>
                  <a:gd name="connsiteX15" fmla="*/ 5123 w 156206"/>
                  <a:gd name="connsiteY15" fmla="*/ 55109 h 142339"/>
                  <a:gd name="connsiteX16" fmla="*/ 9538 w 156206"/>
                  <a:gd name="connsiteY16" fmla="*/ 142340 h 142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56206" h="142339">
                    <a:moveTo>
                      <a:pt x="9538" y="142340"/>
                    </a:moveTo>
                    <a:lnTo>
                      <a:pt x="20651" y="125137"/>
                    </a:lnTo>
                    <a:cubicBezTo>
                      <a:pt x="20651" y="125137"/>
                      <a:pt x="9538" y="80228"/>
                      <a:pt x="20651" y="68658"/>
                    </a:cubicBezTo>
                    <a:cubicBezTo>
                      <a:pt x="31765" y="57088"/>
                      <a:pt x="43030" y="56479"/>
                      <a:pt x="53534" y="61808"/>
                    </a:cubicBezTo>
                    <a:cubicBezTo>
                      <a:pt x="64038" y="67136"/>
                      <a:pt x="91289" y="78097"/>
                      <a:pt x="103772" y="77335"/>
                    </a:cubicBezTo>
                    <a:cubicBezTo>
                      <a:pt x="103772" y="77335"/>
                      <a:pt x="95399" y="73225"/>
                      <a:pt x="87026" y="61808"/>
                    </a:cubicBezTo>
                    <a:cubicBezTo>
                      <a:pt x="87026" y="61808"/>
                      <a:pt x="112906" y="62416"/>
                      <a:pt x="121279" y="69267"/>
                    </a:cubicBezTo>
                    <a:cubicBezTo>
                      <a:pt x="129652" y="76117"/>
                      <a:pt x="140917" y="105347"/>
                      <a:pt x="135893" y="119657"/>
                    </a:cubicBezTo>
                    <a:lnTo>
                      <a:pt x="150356" y="133967"/>
                    </a:lnTo>
                    <a:cubicBezTo>
                      <a:pt x="150356" y="133967"/>
                      <a:pt x="161165" y="80380"/>
                      <a:pt x="153401" y="58610"/>
                    </a:cubicBezTo>
                    <a:cubicBezTo>
                      <a:pt x="145637" y="36841"/>
                      <a:pt x="112906" y="23749"/>
                      <a:pt x="102402" y="19791"/>
                    </a:cubicBezTo>
                    <a:cubicBezTo>
                      <a:pt x="91898" y="15832"/>
                      <a:pt x="85656" y="2131"/>
                      <a:pt x="66779" y="0"/>
                    </a:cubicBezTo>
                    <a:cubicBezTo>
                      <a:pt x="66779" y="0"/>
                      <a:pt x="68910" y="2893"/>
                      <a:pt x="71650" y="12636"/>
                    </a:cubicBezTo>
                    <a:cubicBezTo>
                      <a:pt x="74391" y="22379"/>
                      <a:pt x="47902" y="7460"/>
                      <a:pt x="39529" y="8830"/>
                    </a:cubicBezTo>
                    <a:cubicBezTo>
                      <a:pt x="39529" y="8830"/>
                      <a:pt x="48663" y="17659"/>
                      <a:pt x="49272" y="21770"/>
                    </a:cubicBezTo>
                    <a:cubicBezTo>
                      <a:pt x="50033" y="25880"/>
                      <a:pt x="19281" y="25271"/>
                      <a:pt x="5123" y="55109"/>
                    </a:cubicBezTo>
                    <a:cubicBezTo>
                      <a:pt x="-8578" y="84338"/>
                      <a:pt x="9538" y="142340"/>
                      <a:pt x="9538" y="142340"/>
                    </a:cubicBezTo>
                    <a:close/>
                  </a:path>
                </a:pathLst>
              </a:custGeom>
              <a:solidFill>
                <a:srgbClr val="404040"/>
              </a:solidFill>
              <a:ln w="15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 sz="1795">
                  <a:solidFill>
                    <a:srgbClr val="000000"/>
                  </a:solidFill>
                  <a:latin typeface="Siemens Sans"/>
                </a:endParaRPr>
              </a:p>
            </p:txBody>
          </p:sp>
          <p:sp>
            <p:nvSpPr>
              <p:cNvPr id="91" name="Freihandform: Form 223">
                <a:extLst>
                  <a:ext uri="{FF2B5EF4-FFF2-40B4-BE49-F238E27FC236}">
                    <a16:creationId xmlns:a16="http://schemas.microsoft.com/office/drawing/2014/main" id="{1FE59D8D-8C05-F281-4B4B-E59436B09933}"/>
                  </a:ext>
                </a:extLst>
              </p:cNvPr>
              <p:cNvSpPr/>
              <p:nvPr/>
            </p:nvSpPr>
            <p:spPr>
              <a:xfrm>
                <a:off x="8662226" y="3531048"/>
                <a:ext cx="327762" cy="813086"/>
              </a:xfrm>
              <a:custGeom>
                <a:avLst/>
                <a:gdLst>
                  <a:gd name="connsiteX0" fmla="*/ 327763 w 327762"/>
                  <a:gd name="connsiteY0" fmla="*/ 96517 h 813086"/>
                  <a:gd name="connsiteX1" fmla="*/ 315432 w 327762"/>
                  <a:gd name="connsiteY1" fmla="*/ 0 h 813086"/>
                  <a:gd name="connsiteX2" fmla="*/ 163805 w 327762"/>
                  <a:gd name="connsiteY2" fmla="*/ 20247 h 813086"/>
                  <a:gd name="connsiteX3" fmla="*/ 12331 w 327762"/>
                  <a:gd name="connsiteY3" fmla="*/ 0 h 813086"/>
                  <a:gd name="connsiteX4" fmla="*/ 0 w 327762"/>
                  <a:gd name="connsiteY4" fmla="*/ 96517 h 813086"/>
                  <a:gd name="connsiteX5" fmla="*/ 17507 w 327762"/>
                  <a:gd name="connsiteY5" fmla="*/ 407990 h 813086"/>
                  <a:gd name="connsiteX6" fmla="*/ 52521 w 327762"/>
                  <a:gd name="connsiteY6" fmla="*/ 813087 h 813086"/>
                  <a:gd name="connsiteX7" fmla="*/ 133815 w 327762"/>
                  <a:gd name="connsiteY7" fmla="*/ 813087 h 813086"/>
                  <a:gd name="connsiteX8" fmla="*/ 142645 w 327762"/>
                  <a:gd name="connsiteY8" fmla="*/ 676836 h 813086"/>
                  <a:gd name="connsiteX9" fmla="*/ 148734 w 327762"/>
                  <a:gd name="connsiteY9" fmla="*/ 467209 h 813086"/>
                  <a:gd name="connsiteX10" fmla="*/ 145842 w 327762"/>
                  <a:gd name="connsiteY10" fmla="*/ 381653 h 813086"/>
                  <a:gd name="connsiteX11" fmla="*/ 162283 w 327762"/>
                  <a:gd name="connsiteY11" fmla="*/ 182986 h 813086"/>
                  <a:gd name="connsiteX12" fmla="*/ 163805 w 327762"/>
                  <a:gd name="connsiteY12" fmla="*/ 181464 h 813086"/>
                  <a:gd name="connsiteX13" fmla="*/ 165328 w 327762"/>
                  <a:gd name="connsiteY13" fmla="*/ 182986 h 813086"/>
                  <a:gd name="connsiteX14" fmla="*/ 181769 w 327762"/>
                  <a:gd name="connsiteY14" fmla="*/ 381653 h 813086"/>
                  <a:gd name="connsiteX15" fmla="*/ 178877 w 327762"/>
                  <a:gd name="connsiteY15" fmla="*/ 467209 h 813086"/>
                  <a:gd name="connsiteX16" fmla="*/ 184966 w 327762"/>
                  <a:gd name="connsiteY16" fmla="*/ 676836 h 813086"/>
                  <a:gd name="connsiteX17" fmla="*/ 193796 w 327762"/>
                  <a:gd name="connsiteY17" fmla="*/ 813087 h 813086"/>
                  <a:gd name="connsiteX18" fmla="*/ 275089 w 327762"/>
                  <a:gd name="connsiteY18" fmla="*/ 813087 h 813086"/>
                  <a:gd name="connsiteX19" fmla="*/ 310104 w 327762"/>
                  <a:gd name="connsiteY19" fmla="*/ 407990 h 813086"/>
                  <a:gd name="connsiteX20" fmla="*/ 327763 w 327762"/>
                  <a:gd name="connsiteY20" fmla="*/ 96517 h 813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27762" h="813086">
                    <a:moveTo>
                      <a:pt x="327763" y="96517"/>
                    </a:moveTo>
                    <a:lnTo>
                      <a:pt x="315432" y="0"/>
                    </a:lnTo>
                    <a:lnTo>
                      <a:pt x="163805" y="20247"/>
                    </a:lnTo>
                    <a:lnTo>
                      <a:pt x="12331" y="0"/>
                    </a:lnTo>
                    <a:lnTo>
                      <a:pt x="0" y="96517"/>
                    </a:lnTo>
                    <a:cubicBezTo>
                      <a:pt x="4415" y="202320"/>
                      <a:pt x="23749" y="330198"/>
                      <a:pt x="17507" y="407990"/>
                    </a:cubicBezTo>
                    <a:cubicBezTo>
                      <a:pt x="11265" y="485934"/>
                      <a:pt x="52521" y="813087"/>
                      <a:pt x="52521" y="813087"/>
                    </a:cubicBezTo>
                    <a:lnTo>
                      <a:pt x="133815" y="813087"/>
                    </a:lnTo>
                    <a:cubicBezTo>
                      <a:pt x="133967" y="811564"/>
                      <a:pt x="142340" y="678359"/>
                      <a:pt x="142645" y="676836"/>
                    </a:cubicBezTo>
                    <a:cubicBezTo>
                      <a:pt x="142645" y="676836"/>
                      <a:pt x="152540" y="577579"/>
                      <a:pt x="148734" y="467209"/>
                    </a:cubicBezTo>
                    <a:cubicBezTo>
                      <a:pt x="147668" y="435696"/>
                      <a:pt x="145842" y="407076"/>
                      <a:pt x="145842" y="381653"/>
                    </a:cubicBezTo>
                    <a:cubicBezTo>
                      <a:pt x="145994" y="327153"/>
                      <a:pt x="156041" y="231093"/>
                      <a:pt x="162283" y="182986"/>
                    </a:cubicBezTo>
                    <a:cubicBezTo>
                      <a:pt x="162435" y="181921"/>
                      <a:pt x="163196" y="181464"/>
                      <a:pt x="163805" y="181464"/>
                    </a:cubicBezTo>
                    <a:cubicBezTo>
                      <a:pt x="164566" y="181464"/>
                      <a:pt x="165175" y="181921"/>
                      <a:pt x="165328" y="182986"/>
                    </a:cubicBezTo>
                    <a:cubicBezTo>
                      <a:pt x="171569" y="231093"/>
                      <a:pt x="181617" y="327153"/>
                      <a:pt x="181769" y="381653"/>
                    </a:cubicBezTo>
                    <a:cubicBezTo>
                      <a:pt x="181921" y="407076"/>
                      <a:pt x="179942" y="435849"/>
                      <a:pt x="178877" y="467209"/>
                    </a:cubicBezTo>
                    <a:cubicBezTo>
                      <a:pt x="175071" y="577579"/>
                      <a:pt x="184966" y="676836"/>
                      <a:pt x="184966" y="676836"/>
                    </a:cubicBezTo>
                    <a:cubicBezTo>
                      <a:pt x="185271" y="678359"/>
                      <a:pt x="193644" y="811564"/>
                      <a:pt x="193796" y="813087"/>
                    </a:cubicBezTo>
                    <a:lnTo>
                      <a:pt x="275089" y="813087"/>
                    </a:lnTo>
                    <a:cubicBezTo>
                      <a:pt x="275089" y="813087"/>
                      <a:pt x="316345" y="485934"/>
                      <a:pt x="310104" y="407990"/>
                    </a:cubicBezTo>
                    <a:cubicBezTo>
                      <a:pt x="304014" y="330045"/>
                      <a:pt x="323500" y="202168"/>
                      <a:pt x="327763" y="96517"/>
                    </a:cubicBezTo>
                    <a:close/>
                  </a:path>
                </a:pathLst>
              </a:custGeom>
              <a:solidFill>
                <a:srgbClr val="9B9B9B"/>
              </a:solidFill>
              <a:ln w="15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 sz="1795">
                  <a:solidFill>
                    <a:srgbClr val="000000"/>
                  </a:solidFill>
                  <a:latin typeface="Siemens Sans"/>
                </a:endParaRPr>
              </a:p>
            </p:txBody>
          </p:sp>
          <p:sp>
            <p:nvSpPr>
              <p:cNvPr id="92" name="Freihandform: Form 224">
                <a:extLst>
                  <a:ext uri="{FF2B5EF4-FFF2-40B4-BE49-F238E27FC236}">
                    <a16:creationId xmlns:a16="http://schemas.microsoft.com/office/drawing/2014/main" id="{45095B0C-F3E1-1C24-DB90-B36C94E53975}"/>
                  </a:ext>
                </a:extLst>
              </p:cNvPr>
              <p:cNvSpPr/>
              <p:nvPr/>
            </p:nvSpPr>
            <p:spPr>
              <a:xfrm>
                <a:off x="8599201" y="2928959"/>
                <a:ext cx="453965" cy="633144"/>
              </a:xfrm>
              <a:custGeom>
                <a:avLst/>
                <a:gdLst>
                  <a:gd name="connsiteX0" fmla="*/ 375413 w 453965"/>
                  <a:gd name="connsiteY0" fmla="*/ 247534 h 633144"/>
                  <a:gd name="connsiteX1" fmla="*/ 453966 w 453965"/>
                  <a:gd name="connsiteY1" fmla="*/ 201102 h 633144"/>
                  <a:gd name="connsiteX2" fmla="*/ 399618 w 453965"/>
                  <a:gd name="connsiteY2" fmla="*/ 46279 h 633144"/>
                  <a:gd name="connsiteX3" fmla="*/ 307211 w 453965"/>
                  <a:gd name="connsiteY3" fmla="*/ 0 h 633144"/>
                  <a:gd name="connsiteX4" fmla="*/ 226983 w 453965"/>
                  <a:gd name="connsiteY4" fmla="*/ 27098 h 633144"/>
                  <a:gd name="connsiteX5" fmla="*/ 146755 w 453965"/>
                  <a:gd name="connsiteY5" fmla="*/ 0 h 633144"/>
                  <a:gd name="connsiteX6" fmla="*/ 54348 w 453965"/>
                  <a:gd name="connsiteY6" fmla="*/ 46279 h 633144"/>
                  <a:gd name="connsiteX7" fmla="*/ 0 w 453965"/>
                  <a:gd name="connsiteY7" fmla="*/ 201102 h 633144"/>
                  <a:gd name="connsiteX8" fmla="*/ 78554 w 453965"/>
                  <a:gd name="connsiteY8" fmla="*/ 247534 h 633144"/>
                  <a:gd name="connsiteX9" fmla="*/ 84186 w 453965"/>
                  <a:gd name="connsiteY9" fmla="*/ 422300 h 633144"/>
                  <a:gd name="connsiteX10" fmla="*/ 69419 w 453965"/>
                  <a:gd name="connsiteY10" fmla="*/ 600567 h 633144"/>
                  <a:gd name="connsiteX11" fmla="*/ 226983 w 453965"/>
                  <a:gd name="connsiteY11" fmla="*/ 633145 h 633144"/>
                  <a:gd name="connsiteX12" fmla="*/ 384394 w 453965"/>
                  <a:gd name="connsiteY12" fmla="*/ 600567 h 633144"/>
                  <a:gd name="connsiteX13" fmla="*/ 369780 w 453965"/>
                  <a:gd name="connsiteY13" fmla="*/ 422300 h 633144"/>
                  <a:gd name="connsiteX14" fmla="*/ 375413 w 453965"/>
                  <a:gd name="connsiteY14" fmla="*/ 247534 h 633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53965" h="633144">
                    <a:moveTo>
                      <a:pt x="375413" y="247534"/>
                    </a:moveTo>
                    <a:lnTo>
                      <a:pt x="453966" y="201102"/>
                    </a:lnTo>
                    <a:cubicBezTo>
                      <a:pt x="453966" y="124680"/>
                      <a:pt x="415907" y="65461"/>
                      <a:pt x="399618" y="46279"/>
                    </a:cubicBezTo>
                    <a:cubicBezTo>
                      <a:pt x="383329" y="27250"/>
                      <a:pt x="307211" y="0"/>
                      <a:pt x="307211" y="0"/>
                    </a:cubicBezTo>
                    <a:lnTo>
                      <a:pt x="226983" y="27098"/>
                    </a:lnTo>
                    <a:lnTo>
                      <a:pt x="146755" y="0"/>
                    </a:lnTo>
                    <a:cubicBezTo>
                      <a:pt x="146755" y="0"/>
                      <a:pt x="70789" y="27250"/>
                      <a:pt x="54348" y="46279"/>
                    </a:cubicBezTo>
                    <a:cubicBezTo>
                      <a:pt x="38059" y="65309"/>
                      <a:pt x="0" y="124528"/>
                      <a:pt x="0" y="201102"/>
                    </a:cubicBezTo>
                    <a:lnTo>
                      <a:pt x="78554" y="247534"/>
                    </a:lnTo>
                    <a:lnTo>
                      <a:pt x="84186" y="422300"/>
                    </a:lnTo>
                    <a:lnTo>
                      <a:pt x="69419" y="600567"/>
                    </a:lnTo>
                    <a:cubicBezTo>
                      <a:pt x="69419" y="600567"/>
                      <a:pt x="170199" y="632079"/>
                      <a:pt x="226983" y="633145"/>
                    </a:cubicBezTo>
                    <a:cubicBezTo>
                      <a:pt x="283767" y="632232"/>
                      <a:pt x="384394" y="600567"/>
                      <a:pt x="384394" y="600567"/>
                    </a:cubicBezTo>
                    <a:lnTo>
                      <a:pt x="369780" y="422300"/>
                    </a:lnTo>
                    <a:lnTo>
                      <a:pt x="375413" y="247534"/>
                    </a:lnTo>
                    <a:close/>
                  </a:path>
                </a:pathLst>
              </a:custGeom>
              <a:solidFill>
                <a:schemeClr val="bg2"/>
              </a:solidFill>
              <a:ln w="15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 sz="1795">
                  <a:solidFill>
                    <a:srgbClr val="000000"/>
                  </a:solidFill>
                  <a:latin typeface="Siemens Sans"/>
                </a:endParaRPr>
              </a:p>
            </p:txBody>
          </p:sp>
          <p:grpSp>
            <p:nvGrpSpPr>
              <p:cNvPr id="93" name="Grafik 1">
                <a:extLst>
                  <a:ext uri="{FF2B5EF4-FFF2-40B4-BE49-F238E27FC236}">
                    <a16:creationId xmlns:a16="http://schemas.microsoft.com/office/drawing/2014/main" id="{AFE89870-CC47-05CB-8EC6-1265F4C1FA14}"/>
                  </a:ext>
                </a:extLst>
              </p:cNvPr>
              <p:cNvGrpSpPr/>
              <p:nvPr/>
            </p:nvGrpSpPr>
            <p:grpSpPr>
              <a:xfrm>
                <a:off x="8745499" y="2904449"/>
                <a:ext cx="161369" cy="76117"/>
                <a:chOff x="8745499" y="2904449"/>
                <a:chExt cx="161369" cy="76117"/>
              </a:xfrm>
              <a:solidFill>
                <a:srgbClr val="FFFFFF"/>
              </a:solidFill>
            </p:grpSpPr>
            <p:sp>
              <p:nvSpPr>
                <p:cNvPr id="99" name="Freihandform: Form 226">
                  <a:extLst>
                    <a:ext uri="{FF2B5EF4-FFF2-40B4-BE49-F238E27FC236}">
                      <a16:creationId xmlns:a16="http://schemas.microsoft.com/office/drawing/2014/main" id="{E2FBB925-3A2B-F5BD-F32C-99B8465D90B7}"/>
                    </a:ext>
                  </a:extLst>
                </p:cNvPr>
                <p:cNvSpPr/>
                <p:nvPr/>
              </p:nvSpPr>
              <p:spPr>
                <a:xfrm>
                  <a:off x="8745499" y="2904449"/>
                  <a:ext cx="76422" cy="76117"/>
                </a:xfrm>
                <a:custGeom>
                  <a:avLst/>
                  <a:gdLst>
                    <a:gd name="connsiteX0" fmla="*/ 16137 w 76422"/>
                    <a:gd name="connsiteY0" fmla="*/ 0 h 76117"/>
                    <a:gd name="connsiteX1" fmla="*/ 0 w 76422"/>
                    <a:gd name="connsiteY1" fmla="*/ 23292 h 76117"/>
                    <a:gd name="connsiteX2" fmla="*/ 55870 w 76422"/>
                    <a:gd name="connsiteY2" fmla="*/ 76117 h 76117"/>
                    <a:gd name="connsiteX3" fmla="*/ 76422 w 76422"/>
                    <a:gd name="connsiteY3" fmla="*/ 49020 h 761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6422" h="76117">
                      <a:moveTo>
                        <a:pt x="16137" y="0"/>
                      </a:moveTo>
                      <a:lnTo>
                        <a:pt x="0" y="23292"/>
                      </a:lnTo>
                      <a:lnTo>
                        <a:pt x="55870" y="76117"/>
                      </a:lnTo>
                      <a:lnTo>
                        <a:pt x="76422" y="490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de-DE" sz="1795">
                    <a:solidFill>
                      <a:srgbClr val="000000"/>
                    </a:solidFill>
                    <a:latin typeface="Siemens Sans"/>
                  </a:endParaRPr>
                </a:p>
              </p:txBody>
            </p:sp>
            <p:sp>
              <p:nvSpPr>
                <p:cNvPr id="100" name="Freihandform: Form 228">
                  <a:extLst>
                    <a:ext uri="{FF2B5EF4-FFF2-40B4-BE49-F238E27FC236}">
                      <a16:creationId xmlns:a16="http://schemas.microsoft.com/office/drawing/2014/main" id="{1EA78C23-DB4B-B8D1-9E8C-7EF4182DBEF6}"/>
                    </a:ext>
                  </a:extLst>
                </p:cNvPr>
                <p:cNvSpPr/>
                <p:nvPr/>
              </p:nvSpPr>
              <p:spPr>
                <a:xfrm>
                  <a:off x="8830294" y="2904449"/>
                  <a:ext cx="76574" cy="76117"/>
                </a:xfrm>
                <a:custGeom>
                  <a:avLst/>
                  <a:gdLst>
                    <a:gd name="connsiteX0" fmla="*/ 60437 w 76574"/>
                    <a:gd name="connsiteY0" fmla="*/ 0 h 76117"/>
                    <a:gd name="connsiteX1" fmla="*/ 76574 w 76574"/>
                    <a:gd name="connsiteY1" fmla="*/ 23292 h 76117"/>
                    <a:gd name="connsiteX2" fmla="*/ 20552 w 76574"/>
                    <a:gd name="connsiteY2" fmla="*/ 76117 h 76117"/>
                    <a:gd name="connsiteX3" fmla="*/ 0 w 76574"/>
                    <a:gd name="connsiteY3" fmla="*/ 49020 h 761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6574" h="76117">
                      <a:moveTo>
                        <a:pt x="60437" y="0"/>
                      </a:moveTo>
                      <a:lnTo>
                        <a:pt x="76574" y="23292"/>
                      </a:lnTo>
                      <a:lnTo>
                        <a:pt x="20552" y="76117"/>
                      </a:lnTo>
                      <a:lnTo>
                        <a:pt x="0" y="490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de-DE" sz="1795">
                    <a:solidFill>
                      <a:srgbClr val="000000"/>
                    </a:solidFill>
                    <a:latin typeface="Siemens Sans"/>
                  </a:endParaRPr>
                </a:p>
              </p:txBody>
            </p:sp>
          </p:grpSp>
          <p:sp>
            <p:nvSpPr>
              <p:cNvPr id="94" name="Freihandform: Form 229">
                <a:extLst>
                  <a:ext uri="{FF2B5EF4-FFF2-40B4-BE49-F238E27FC236}">
                    <a16:creationId xmlns:a16="http://schemas.microsoft.com/office/drawing/2014/main" id="{B497B984-38DA-9AF2-6C61-05746E037965}"/>
                  </a:ext>
                </a:extLst>
              </p:cNvPr>
              <p:cNvSpPr/>
              <p:nvPr/>
            </p:nvSpPr>
            <p:spPr>
              <a:xfrm>
                <a:off x="8635841" y="4320480"/>
                <a:ext cx="161076" cy="110124"/>
              </a:xfrm>
              <a:custGeom>
                <a:avLst/>
                <a:gdLst>
                  <a:gd name="connsiteX0" fmla="*/ 155481 w 161076"/>
                  <a:gd name="connsiteY0" fmla="*/ 6300 h 110124"/>
                  <a:gd name="connsiteX1" fmla="*/ 148479 w 161076"/>
                  <a:gd name="connsiteY1" fmla="*/ 22285 h 110124"/>
                  <a:gd name="connsiteX2" fmla="*/ 144216 w 161076"/>
                  <a:gd name="connsiteY2" fmla="*/ 21219 h 110124"/>
                  <a:gd name="connsiteX3" fmla="*/ 137822 w 161076"/>
                  <a:gd name="connsiteY3" fmla="*/ 12085 h 110124"/>
                  <a:gd name="connsiteX4" fmla="*/ 69773 w 161076"/>
                  <a:gd name="connsiteY4" fmla="*/ 20306 h 110124"/>
                  <a:gd name="connsiteX5" fmla="*/ 36433 w 161076"/>
                  <a:gd name="connsiteY5" fmla="*/ 48926 h 110124"/>
                  <a:gd name="connsiteX6" fmla="*/ 10858 w 161076"/>
                  <a:gd name="connsiteY6" fmla="*/ 65519 h 110124"/>
                  <a:gd name="connsiteX7" fmla="*/ 10401 w 161076"/>
                  <a:gd name="connsiteY7" fmla="*/ 110124 h 110124"/>
                  <a:gd name="connsiteX8" fmla="*/ 33693 w 161076"/>
                  <a:gd name="connsiteY8" fmla="*/ 110124 h 110124"/>
                  <a:gd name="connsiteX9" fmla="*/ 91390 w 161076"/>
                  <a:gd name="connsiteY9" fmla="*/ 110124 h 110124"/>
                  <a:gd name="connsiteX10" fmla="*/ 116966 w 161076"/>
                  <a:gd name="connsiteY10" fmla="*/ 106166 h 110124"/>
                  <a:gd name="connsiteX11" fmla="*/ 132494 w 161076"/>
                  <a:gd name="connsiteY11" fmla="*/ 96423 h 110124"/>
                  <a:gd name="connsiteX12" fmla="*/ 157308 w 161076"/>
                  <a:gd name="connsiteY12" fmla="*/ 95966 h 110124"/>
                  <a:gd name="connsiteX13" fmla="*/ 155481 w 161076"/>
                  <a:gd name="connsiteY13" fmla="*/ 6300 h 110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1076" h="110124">
                    <a:moveTo>
                      <a:pt x="155481" y="6300"/>
                    </a:moveTo>
                    <a:cubicBezTo>
                      <a:pt x="147565" y="7823"/>
                      <a:pt x="154416" y="21828"/>
                      <a:pt x="148479" y="22285"/>
                    </a:cubicBezTo>
                    <a:cubicBezTo>
                      <a:pt x="147108" y="22437"/>
                      <a:pt x="145738" y="21981"/>
                      <a:pt x="144216" y="21219"/>
                    </a:cubicBezTo>
                    <a:cubicBezTo>
                      <a:pt x="142389" y="17870"/>
                      <a:pt x="140258" y="14673"/>
                      <a:pt x="137822" y="12085"/>
                    </a:cubicBezTo>
                    <a:cubicBezTo>
                      <a:pt x="89868" y="-19275"/>
                      <a:pt x="69773" y="20306"/>
                      <a:pt x="69773" y="20306"/>
                    </a:cubicBezTo>
                    <a:cubicBezTo>
                      <a:pt x="63988" y="27765"/>
                      <a:pt x="41609" y="46338"/>
                      <a:pt x="36433" y="48926"/>
                    </a:cubicBezTo>
                    <a:lnTo>
                      <a:pt x="10858" y="65519"/>
                    </a:lnTo>
                    <a:cubicBezTo>
                      <a:pt x="-2843" y="76633"/>
                      <a:pt x="-4214" y="107536"/>
                      <a:pt x="10401" y="110124"/>
                    </a:cubicBezTo>
                    <a:lnTo>
                      <a:pt x="33693" y="110124"/>
                    </a:lnTo>
                    <a:lnTo>
                      <a:pt x="91390" y="110124"/>
                    </a:lnTo>
                    <a:lnTo>
                      <a:pt x="116966" y="106166"/>
                    </a:lnTo>
                    <a:lnTo>
                      <a:pt x="132494" y="96423"/>
                    </a:lnTo>
                    <a:cubicBezTo>
                      <a:pt x="132646" y="96271"/>
                      <a:pt x="157308" y="95966"/>
                      <a:pt x="157308" y="95966"/>
                    </a:cubicBezTo>
                    <a:cubicBezTo>
                      <a:pt x="166747" y="72370"/>
                      <a:pt x="155481" y="6300"/>
                      <a:pt x="155481" y="6300"/>
                    </a:cubicBezTo>
                    <a:close/>
                  </a:path>
                </a:pathLst>
              </a:custGeom>
              <a:solidFill>
                <a:srgbClr val="404040"/>
              </a:solidFill>
              <a:ln w="15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 sz="1795">
                  <a:solidFill>
                    <a:srgbClr val="000000"/>
                  </a:solidFill>
                  <a:latin typeface="Siemens Sans"/>
                </a:endParaRPr>
              </a:p>
            </p:txBody>
          </p:sp>
          <p:sp>
            <p:nvSpPr>
              <p:cNvPr id="95" name="Freihandform: Form 230">
                <a:extLst>
                  <a:ext uri="{FF2B5EF4-FFF2-40B4-BE49-F238E27FC236}">
                    <a16:creationId xmlns:a16="http://schemas.microsoft.com/office/drawing/2014/main" id="{25F5A438-E598-10FF-65B7-51D09D09426E}"/>
                  </a:ext>
                </a:extLst>
              </p:cNvPr>
              <p:cNvSpPr/>
              <p:nvPr/>
            </p:nvSpPr>
            <p:spPr>
              <a:xfrm>
                <a:off x="8847078" y="4320480"/>
                <a:ext cx="161076" cy="110124"/>
              </a:xfrm>
              <a:custGeom>
                <a:avLst/>
                <a:gdLst>
                  <a:gd name="connsiteX0" fmla="*/ 5595 w 161076"/>
                  <a:gd name="connsiteY0" fmla="*/ 6300 h 110124"/>
                  <a:gd name="connsiteX1" fmla="*/ 12598 w 161076"/>
                  <a:gd name="connsiteY1" fmla="*/ 22285 h 110124"/>
                  <a:gd name="connsiteX2" fmla="*/ 16861 w 161076"/>
                  <a:gd name="connsiteY2" fmla="*/ 21219 h 110124"/>
                  <a:gd name="connsiteX3" fmla="*/ 23255 w 161076"/>
                  <a:gd name="connsiteY3" fmla="*/ 12085 h 110124"/>
                  <a:gd name="connsiteX4" fmla="*/ 91304 w 161076"/>
                  <a:gd name="connsiteY4" fmla="*/ 20306 h 110124"/>
                  <a:gd name="connsiteX5" fmla="*/ 124643 w 161076"/>
                  <a:gd name="connsiteY5" fmla="*/ 48926 h 110124"/>
                  <a:gd name="connsiteX6" fmla="*/ 150219 w 161076"/>
                  <a:gd name="connsiteY6" fmla="*/ 65519 h 110124"/>
                  <a:gd name="connsiteX7" fmla="*/ 150676 w 161076"/>
                  <a:gd name="connsiteY7" fmla="*/ 110124 h 110124"/>
                  <a:gd name="connsiteX8" fmla="*/ 127384 w 161076"/>
                  <a:gd name="connsiteY8" fmla="*/ 110124 h 110124"/>
                  <a:gd name="connsiteX9" fmla="*/ 69687 w 161076"/>
                  <a:gd name="connsiteY9" fmla="*/ 110124 h 110124"/>
                  <a:gd name="connsiteX10" fmla="*/ 44111 w 161076"/>
                  <a:gd name="connsiteY10" fmla="*/ 106166 h 110124"/>
                  <a:gd name="connsiteX11" fmla="*/ 28583 w 161076"/>
                  <a:gd name="connsiteY11" fmla="*/ 96423 h 110124"/>
                  <a:gd name="connsiteX12" fmla="*/ 3769 w 161076"/>
                  <a:gd name="connsiteY12" fmla="*/ 95966 h 110124"/>
                  <a:gd name="connsiteX13" fmla="*/ 5595 w 161076"/>
                  <a:gd name="connsiteY13" fmla="*/ 6300 h 110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1076" h="110124">
                    <a:moveTo>
                      <a:pt x="5595" y="6300"/>
                    </a:moveTo>
                    <a:cubicBezTo>
                      <a:pt x="13512" y="7823"/>
                      <a:pt x="6661" y="21828"/>
                      <a:pt x="12598" y="22285"/>
                    </a:cubicBezTo>
                    <a:cubicBezTo>
                      <a:pt x="13968" y="22437"/>
                      <a:pt x="15338" y="21981"/>
                      <a:pt x="16861" y="21219"/>
                    </a:cubicBezTo>
                    <a:cubicBezTo>
                      <a:pt x="18688" y="17870"/>
                      <a:pt x="20819" y="14673"/>
                      <a:pt x="23255" y="12085"/>
                    </a:cubicBezTo>
                    <a:cubicBezTo>
                      <a:pt x="71209" y="-19275"/>
                      <a:pt x="91304" y="20306"/>
                      <a:pt x="91304" y="20306"/>
                    </a:cubicBezTo>
                    <a:cubicBezTo>
                      <a:pt x="97089" y="27765"/>
                      <a:pt x="119467" y="46338"/>
                      <a:pt x="124643" y="48926"/>
                    </a:cubicBezTo>
                    <a:lnTo>
                      <a:pt x="150219" y="65519"/>
                    </a:lnTo>
                    <a:cubicBezTo>
                      <a:pt x="163920" y="76633"/>
                      <a:pt x="165290" y="107536"/>
                      <a:pt x="150676" y="110124"/>
                    </a:cubicBezTo>
                    <a:lnTo>
                      <a:pt x="127384" y="110124"/>
                    </a:lnTo>
                    <a:lnTo>
                      <a:pt x="69687" y="110124"/>
                    </a:lnTo>
                    <a:lnTo>
                      <a:pt x="44111" y="106166"/>
                    </a:lnTo>
                    <a:lnTo>
                      <a:pt x="28583" y="96423"/>
                    </a:lnTo>
                    <a:cubicBezTo>
                      <a:pt x="28431" y="96271"/>
                      <a:pt x="3769" y="95966"/>
                      <a:pt x="3769" y="95966"/>
                    </a:cubicBezTo>
                    <a:cubicBezTo>
                      <a:pt x="-5670" y="72370"/>
                      <a:pt x="5595" y="6300"/>
                      <a:pt x="5595" y="6300"/>
                    </a:cubicBezTo>
                    <a:close/>
                  </a:path>
                </a:pathLst>
              </a:custGeom>
              <a:solidFill>
                <a:srgbClr val="404040"/>
              </a:solidFill>
              <a:ln w="15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 sz="1795">
                  <a:solidFill>
                    <a:srgbClr val="000000"/>
                  </a:solidFill>
                  <a:latin typeface="Siemens Sans"/>
                </a:endParaRPr>
              </a:p>
            </p:txBody>
          </p:sp>
          <p:grpSp>
            <p:nvGrpSpPr>
              <p:cNvPr id="96" name="Grafik 1">
                <a:extLst>
                  <a:ext uri="{FF2B5EF4-FFF2-40B4-BE49-F238E27FC236}">
                    <a16:creationId xmlns:a16="http://schemas.microsoft.com/office/drawing/2014/main" id="{49EB1780-8971-B8B0-AECD-10466EA3E6BB}"/>
                  </a:ext>
                </a:extLst>
              </p:cNvPr>
              <p:cNvGrpSpPr/>
              <p:nvPr/>
            </p:nvGrpSpPr>
            <p:grpSpPr>
              <a:xfrm>
                <a:off x="8659943" y="3519935"/>
                <a:ext cx="332481" cy="87993"/>
                <a:chOff x="8659943" y="3519935"/>
                <a:chExt cx="332481" cy="87993"/>
              </a:xfrm>
              <a:solidFill>
                <a:srgbClr val="C09066"/>
              </a:solidFill>
            </p:grpSpPr>
            <p:sp>
              <p:nvSpPr>
                <p:cNvPr id="97" name="Freihandform: Form 232">
                  <a:extLst>
                    <a:ext uri="{FF2B5EF4-FFF2-40B4-BE49-F238E27FC236}">
                      <a16:creationId xmlns:a16="http://schemas.microsoft.com/office/drawing/2014/main" id="{4D43C2E1-5C33-183C-3771-85DB4127A5E5}"/>
                    </a:ext>
                  </a:extLst>
                </p:cNvPr>
                <p:cNvSpPr/>
                <p:nvPr/>
              </p:nvSpPr>
              <p:spPr>
                <a:xfrm>
                  <a:off x="8659943" y="3519935"/>
                  <a:ext cx="23637" cy="87993"/>
                </a:xfrm>
                <a:custGeom>
                  <a:avLst/>
                  <a:gdLst>
                    <a:gd name="connsiteX0" fmla="*/ 3349 w 23637"/>
                    <a:gd name="connsiteY0" fmla="*/ 6242 h 87993"/>
                    <a:gd name="connsiteX1" fmla="*/ 0 w 23637"/>
                    <a:gd name="connsiteY1" fmla="*/ 0 h 87993"/>
                    <a:gd name="connsiteX2" fmla="*/ 0 w 23637"/>
                    <a:gd name="connsiteY2" fmla="*/ 43996 h 87993"/>
                    <a:gd name="connsiteX3" fmla="*/ 21009 w 23637"/>
                    <a:gd name="connsiteY3" fmla="*/ 87992 h 87993"/>
                    <a:gd name="connsiteX4" fmla="*/ 17812 w 23637"/>
                    <a:gd name="connsiteY4" fmla="*/ 32426 h 87993"/>
                    <a:gd name="connsiteX5" fmla="*/ 3349 w 23637"/>
                    <a:gd name="connsiteY5" fmla="*/ 6242 h 879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3637" h="87993">
                      <a:moveTo>
                        <a:pt x="3349" y="6242"/>
                      </a:moveTo>
                      <a:lnTo>
                        <a:pt x="0" y="0"/>
                      </a:lnTo>
                      <a:lnTo>
                        <a:pt x="0" y="43996"/>
                      </a:lnTo>
                      <a:cubicBezTo>
                        <a:pt x="0" y="43996"/>
                        <a:pt x="7460" y="88296"/>
                        <a:pt x="21009" y="87992"/>
                      </a:cubicBezTo>
                      <a:cubicBezTo>
                        <a:pt x="27859" y="87839"/>
                        <a:pt x="19334" y="43844"/>
                        <a:pt x="17812" y="32426"/>
                      </a:cubicBezTo>
                      <a:cubicBezTo>
                        <a:pt x="16137" y="21008"/>
                        <a:pt x="3349" y="6242"/>
                        <a:pt x="3349" y="6242"/>
                      </a:cubicBezTo>
                      <a:close/>
                    </a:path>
                  </a:pathLst>
                </a:custGeom>
                <a:solidFill>
                  <a:srgbClr val="C09066"/>
                </a:solidFill>
                <a:ln w="1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de-DE" sz="1795">
                    <a:solidFill>
                      <a:srgbClr val="000000"/>
                    </a:solidFill>
                    <a:latin typeface="Siemens Sans"/>
                  </a:endParaRPr>
                </a:p>
              </p:txBody>
            </p:sp>
            <p:sp>
              <p:nvSpPr>
                <p:cNvPr id="98" name="Freihandform: Form 233">
                  <a:extLst>
                    <a:ext uri="{FF2B5EF4-FFF2-40B4-BE49-F238E27FC236}">
                      <a16:creationId xmlns:a16="http://schemas.microsoft.com/office/drawing/2014/main" id="{5E5A218F-26D2-F67C-42F5-7CBB158759A7}"/>
                    </a:ext>
                  </a:extLst>
                </p:cNvPr>
                <p:cNvSpPr/>
                <p:nvPr/>
              </p:nvSpPr>
              <p:spPr>
                <a:xfrm>
                  <a:off x="8968787" y="3519935"/>
                  <a:ext cx="23637" cy="87993"/>
                </a:xfrm>
                <a:custGeom>
                  <a:avLst/>
                  <a:gdLst>
                    <a:gd name="connsiteX0" fmla="*/ 20136 w 23637"/>
                    <a:gd name="connsiteY0" fmla="*/ 6242 h 87993"/>
                    <a:gd name="connsiteX1" fmla="*/ 5826 w 23637"/>
                    <a:gd name="connsiteY1" fmla="*/ 32426 h 87993"/>
                    <a:gd name="connsiteX2" fmla="*/ 2629 w 23637"/>
                    <a:gd name="connsiteY2" fmla="*/ 87992 h 87993"/>
                    <a:gd name="connsiteX3" fmla="*/ 23638 w 23637"/>
                    <a:gd name="connsiteY3" fmla="*/ 43996 h 87993"/>
                    <a:gd name="connsiteX4" fmla="*/ 23638 w 23637"/>
                    <a:gd name="connsiteY4" fmla="*/ 0 h 87993"/>
                    <a:gd name="connsiteX5" fmla="*/ 20136 w 23637"/>
                    <a:gd name="connsiteY5" fmla="*/ 6242 h 879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3637" h="87993">
                      <a:moveTo>
                        <a:pt x="20136" y="6242"/>
                      </a:moveTo>
                      <a:cubicBezTo>
                        <a:pt x="20136" y="6242"/>
                        <a:pt x="7349" y="21008"/>
                        <a:pt x="5826" y="32426"/>
                      </a:cubicBezTo>
                      <a:cubicBezTo>
                        <a:pt x="4304" y="43844"/>
                        <a:pt x="-4221" y="87839"/>
                        <a:pt x="2629" y="87992"/>
                      </a:cubicBezTo>
                      <a:cubicBezTo>
                        <a:pt x="16026" y="88296"/>
                        <a:pt x="23638" y="43996"/>
                        <a:pt x="23638" y="43996"/>
                      </a:cubicBezTo>
                      <a:lnTo>
                        <a:pt x="23638" y="0"/>
                      </a:lnTo>
                      <a:lnTo>
                        <a:pt x="20136" y="6242"/>
                      </a:lnTo>
                      <a:close/>
                    </a:path>
                  </a:pathLst>
                </a:custGeom>
                <a:solidFill>
                  <a:srgbClr val="C09066"/>
                </a:solidFill>
                <a:ln w="1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de-DE" sz="1795">
                    <a:solidFill>
                      <a:srgbClr val="000000"/>
                    </a:solidFill>
                    <a:latin typeface="Siemens Sans"/>
                  </a:endParaRPr>
                </a:p>
              </p:txBody>
            </p:sp>
          </p:grpSp>
        </p:grpSp>
        <p:sp>
          <p:nvSpPr>
            <p:cNvPr id="88" name="Textfeld 87">
              <a:extLst>
                <a:ext uri="{FF2B5EF4-FFF2-40B4-BE49-F238E27FC236}">
                  <a16:creationId xmlns:a16="http://schemas.microsoft.com/office/drawing/2014/main" id="{6884B5C4-B7EF-F588-DE47-812CCA29C717}"/>
                </a:ext>
              </a:extLst>
            </p:cNvPr>
            <p:cNvSpPr txBox="1"/>
            <p:nvPr/>
          </p:nvSpPr>
          <p:spPr>
            <a:xfrm>
              <a:off x="6716360" y="539032"/>
              <a:ext cx="894990" cy="2897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de-AT"/>
                <a:t>Patienten</a:t>
              </a:r>
            </a:p>
          </p:txBody>
        </p:sp>
      </p:grpSp>
      <p:sp>
        <p:nvSpPr>
          <p:cNvPr id="101" name="Rechteck: abgerundete Ecken 100">
            <a:extLst>
              <a:ext uri="{FF2B5EF4-FFF2-40B4-BE49-F238E27FC236}">
                <a16:creationId xmlns:a16="http://schemas.microsoft.com/office/drawing/2014/main" id="{0E2E47EC-BF6F-D5E0-9712-B2E7FD677F90}"/>
              </a:ext>
            </a:extLst>
          </p:cNvPr>
          <p:cNvSpPr/>
          <p:nvPr/>
        </p:nvSpPr>
        <p:spPr>
          <a:xfrm>
            <a:off x="2781225" y="5324110"/>
            <a:ext cx="379537" cy="11180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600"/>
              <a:t>Patient</a:t>
            </a:r>
          </a:p>
        </p:txBody>
      </p:sp>
      <p:sp>
        <p:nvSpPr>
          <p:cNvPr id="161" name="Rechteck: abgerundete Ecken 160">
            <a:extLst>
              <a:ext uri="{FF2B5EF4-FFF2-40B4-BE49-F238E27FC236}">
                <a16:creationId xmlns:a16="http://schemas.microsoft.com/office/drawing/2014/main" id="{D2091CF7-D832-7F01-27EC-9635DA792ACF}"/>
              </a:ext>
            </a:extLst>
          </p:cNvPr>
          <p:cNvSpPr/>
          <p:nvPr/>
        </p:nvSpPr>
        <p:spPr>
          <a:xfrm>
            <a:off x="2781225" y="5910920"/>
            <a:ext cx="379537" cy="11180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600"/>
              <a:t>LDAP</a:t>
            </a: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2D7D1BC5-E5C2-6A91-8513-3CE4247E81EA}"/>
              </a:ext>
            </a:extLst>
          </p:cNvPr>
          <p:cNvCxnSpPr>
            <a:cxnSpLocks/>
          </p:cNvCxnSpPr>
          <p:nvPr/>
        </p:nvCxnSpPr>
        <p:spPr>
          <a:xfrm>
            <a:off x="7405680" y="2050361"/>
            <a:ext cx="12816" cy="1715205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523D8155-408B-038B-8963-E380EEDC7914}"/>
              </a:ext>
            </a:extLst>
          </p:cNvPr>
          <p:cNvGrpSpPr/>
          <p:nvPr/>
        </p:nvGrpSpPr>
        <p:grpSpPr>
          <a:xfrm>
            <a:off x="3591555" y="3020808"/>
            <a:ext cx="4993194" cy="2854177"/>
            <a:chOff x="3057870" y="2900969"/>
            <a:chExt cx="4993194" cy="2854177"/>
          </a:xfrm>
        </p:grpSpPr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EF6B1152-77EF-021C-9B98-2A43945E4CE7}"/>
                </a:ext>
              </a:extLst>
            </p:cNvPr>
            <p:cNvSpPr/>
            <p:nvPr/>
          </p:nvSpPr>
          <p:spPr>
            <a:xfrm>
              <a:off x="3057870" y="3645727"/>
              <a:ext cx="2321024" cy="619904"/>
            </a:xfrm>
            <a:prstGeom prst="rect">
              <a:avLst/>
            </a:prstGeom>
            <a:ln>
              <a:solidFill>
                <a:srgbClr val="EC660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b="1">
                  <a:solidFill>
                    <a:srgbClr val="EC6602"/>
                  </a:solidFill>
                </a:rPr>
                <a:t>Ärzteportal</a:t>
              </a:r>
              <a:br>
                <a:rPr lang="de-DE" b="1">
                  <a:solidFill>
                    <a:srgbClr val="EC6602"/>
                  </a:solidFill>
                </a:rPr>
              </a:br>
              <a:r>
                <a:rPr lang="de-DE" sz="1400">
                  <a:solidFill>
                    <a:schemeClr val="bg1">
                      <a:lumMod val="50000"/>
                    </a:schemeClr>
                  </a:solidFill>
                </a:rPr>
                <a:t>(Siemens Healthineers)</a:t>
              </a:r>
            </a:p>
          </p:txBody>
        </p:sp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08F5F844-3EF4-38FE-7A22-89AE0CAAB1AF}"/>
                </a:ext>
              </a:extLst>
            </p:cNvPr>
            <p:cNvSpPr/>
            <p:nvPr/>
          </p:nvSpPr>
          <p:spPr>
            <a:xfrm>
              <a:off x="5724299" y="3645727"/>
              <a:ext cx="2321024" cy="619904"/>
            </a:xfrm>
            <a:prstGeom prst="rect">
              <a:avLst/>
            </a:prstGeom>
            <a:ln>
              <a:solidFill>
                <a:srgbClr val="EC660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b="1">
                  <a:solidFill>
                    <a:srgbClr val="EC6602"/>
                  </a:solidFill>
                </a:rPr>
                <a:t>Patientenportal</a:t>
              </a:r>
              <a:br>
                <a:rPr lang="de-DE" b="1">
                  <a:solidFill>
                    <a:srgbClr val="EC6602"/>
                  </a:solidFill>
                </a:rPr>
              </a:br>
              <a:r>
                <a:rPr lang="de-DE" sz="1400">
                  <a:solidFill>
                    <a:schemeClr val="bg1">
                      <a:lumMod val="50000"/>
                    </a:schemeClr>
                  </a:solidFill>
                </a:rPr>
                <a:t>(samedi)</a:t>
              </a: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B6D076AE-40E1-9E46-36F4-4D8D244E2287}"/>
                </a:ext>
              </a:extLst>
            </p:cNvPr>
            <p:cNvSpPr/>
            <p:nvPr/>
          </p:nvSpPr>
          <p:spPr>
            <a:xfrm>
              <a:off x="3063865" y="4390485"/>
              <a:ext cx="4987199" cy="619904"/>
            </a:xfrm>
            <a:prstGeom prst="rect">
              <a:avLst/>
            </a:prstGeom>
            <a:ln>
              <a:solidFill>
                <a:srgbClr val="EC660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b="1" err="1">
                  <a:solidFill>
                    <a:srgbClr val="EC6602"/>
                  </a:solidFill>
                </a:rPr>
                <a:t>Entlassmanagement</a:t>
              </a:r>
              <a:br>
                <a:rPr lang="de-DE" b="1">
                  <a:solidFill>
                    <a:srgbClr val="EC6602"/>
                  </a:solidFill>
                </a:rPr>
              </a:br>
              <a:r>
                <a:rPr lang="de-DE" sz="1400">
                  <a:solidFill>
                    <a:schemeClr val="bg1">
                      <a:lumMod val="50000"/>
                    </a:schemeClr>
                  </a:solidFill>
                </a:rPr>
                <a:t>(</a:t>
              </a:r>
              <a:r>
                <a:rPr lang="de-DE" sz="1400" err="1">
                  <a:solidFill>
                    <a:schemeClr val="bg1">
                      <a:lumMod val="50000"/>
                    </a:schemeClr>
                  </a:solidFill>
                </a:rPr>
                <a:t>Nubedian</a:t>
              </a:r>
              <a:r>
                <a:rPr lang="de-DE" sz="1400">
                  <a:solidFill>
                    <a:schemeClr val="bg1">
                      <a:lumMod val="50000"/>
                    </a:schemeClr>
                  </a:solidFill>
                </a:rPr>
                <a:t>)</a:t>
              </a:r>
              <a:endParaRPr lang="de-DE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2FA62CC1-CD7C-F6B9-3AFB-E59236999C50}"/>
                </a:ext>
              </a:extLst>
            </p:cNvPr>
            <p:cNvSpPr/>
            <p:nvPr/>
          </p:nvSpPr>
          <p:spPr>
            <a:xfrm>
              <a:off x="3058124" y="5135242"/>
              <a:ext cx="4987199" cy="619904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b="1">
                  <a:solidFill>
                    <a:schemeClr val="bg2"/>
                  </a:solidFill>
                </a:rPr>
                <a:t>Gesundheitsportal Backend</a:t>
              </a:r>
              <a:br>
                <a:rPr lang="de-DE" b="1">
                  <a:solidFill>
                    <a:schemeClr val="bg2"/>
                  </a:solidFill>
                </a:rPr>
              </a:br>
              <a:r>
                <a:rPr lang="de-DE" sz="1400">
                  <a:solidFill>
                    <a:schemeClr val="bg1">
                      <a:lumMod val="50000"/>
                    </a:schemeClr>
                  </a:solidFill>
                </a:rPr>
                <a:t>(Siemens Healthineers + </a:t>
              </a:r>
              <a:r>
                <a:rPr lang="de-DE" sz="1400" err="1">
                  <a:solidFill>
                    <a:schemeClr val="bg1">
                      <a:lumMod val="50000"/>
                    </a:schemeClr>
                  </a:solidFill>
                </a:rPr>
                <a:t>vireq</a:t>
              </a:r>
              <a:r>
                <a:rPr lang="de-DE" sz="1400">
                  <a:solidFill>
                    <a:schemeClr val="bg1">
                      <a:lumMod val="50000"/>
                    </a:schemeClr>
                  </a:solidFill>
                </a:rPr>
                <a:t>)</a:t>
              </a:r>
            </a:p>
          </p:txBody>
        </p:sp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F24C5E10-6DFF-C2BD-51C5-B7EF8A97DF6D}"/>
                </a:ext>
              </a:extLst>
            </p:cNvPr>
            <p:cNvSpPr/>
            <p:nvPr/>
          </p:nvSpPr>
          <p:spPr>
            <a:xfrm>
              <a:off x="5724299" y="2900969"/>
              <a:ext cx="2321024" cy="619904"/>
            </a:xfrm>
            <a:prstGeom prst="rect">
              <a:avLst/>
            </a:prstGeom>
            <a:ln>
              <a:solidFill>
                <a:srgbClr val="EC660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b="1">
                  <a:solidFill>
                    <a:srgbClr val="EC6602"/>
                  </a:solidFill>
                </a:rPr>
                <a:t>Identity Management</a:t>
              </a:r>
              <a:br>
                <a:rPr lang="de-DE" b="1">
                  <a:solidFill>
                    <a:srgbClr val="EC6602"/>
                  </a:solidFill>
                </a:rPr>
              </a:br>
              <a:r>
                <a:rPr lang="de-DE" sz="1400">
                  <a:solidFill>
                    <a:schemeClr val="bg1">
                      <a:lumMod val="50000"/>
                    </a:schemeClr>
                  </a:solidFill>
                </a:rPr>
                <a:t>(Adesso)</a:t>
              </a:r>
            </a:p>
          </p:txBody>
        </p:sp>
      </p:grpSp>
      <p:cxnSp>
        <p:nvCxnSpPr>
          <p:cNvPr id="246" name="Verbinder: gewinkelt 245">
            <a:extLst>
              <a:ext uri="{FF2B5EF4-FFF2-40B4-BE49-F238E27FC236}">
                <a16:creationId xmlns:a16="http://schemas.microsoft.com/office/drawing/2014/main" id="{AF62328A-2D67-3FAE-BA39-2920B1D28074}"/>
              </a:ext>
            </a:extLst>
          </p:cNvPr>
          <p:cNvCxnSpPr>
            <a:cxnSpLocks/>
            <a:stCxn id="5" idx="3"/>
            <a:endCxn id="46" idx="1"/>
          </p:cNvCxnSpPr>
          <p:nvPr/>
        </p:nvCxnSpPr>
        <p:spPr>
          <a:xfrm>
            <a:off x="2024365" y="2659331"/>
            <a:ext cx="1412662" cy="1404186"/>
          </a:xfrm>
          <a:prstGeom prst="bentConnector3">
            <a:avLst>
              <a:gd name="adj1" fmla="val 85817"/>
            </a:avLst>
          </a:prstGeom>
          <a:ln w="12700" cap="rnd">
            <a:solidFill>
              <a:schemeClr val="tx1">
                <a:lumMod val="50000"/>
                <a:lumOff val="50000"/>
              </a:schemeClr>
            </a:solidFill>
            <a:prstDash val="sysDot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D4C3D23C-B828-E9C5-C509-C56FFF5CB040}"/>
              </a:ext>
            </a:extLst>
          </p:cNvPr>
          <p:cNvGrpSpPr/>
          <p:nvPr/>
        </p:nvGrpSpPr>
        <p:grpSpPr>
          <a:xfrm>
            <a:off x="596696" y="1774515"/>
            <a:ext cx="1427669" cy="1769632"/>
            <a:chOff x="596696" y="1774515"/>
            <a:chExt cx="1427669" cy="1769632"/>
          </a:xfrm>
        </p:grpSpPr>
        <p:grpSp>
          <p:nvGrpSpPr>
            <p:cNvPr id="236" name="Gruppieren 235">
              <a:extLst>
                <a:ext uri="{FF2B5EF4-FFF2-40B4-BE49-F238E27FC236}">
                  <a16:creationId xmlns:a16="http://schemas.microsoft.com/office/drawing/2014/main" id="{4A209C47-954B-F168-6E50-EB17CAD0206B}"/>
                </a:ext>
              </a:extLst>
            </p:cNvPr>
            <p:cNvGrpSpPr/>
            <p:nvPr/>
          </p:nvGrpSpPr>
          <p:grpSpPr>
            <a:xfrm>
              <a:off x="596696" y="1774515"/>
              <a:ext cx="1427669" cy="1769632"/>
              <a:chOff x="596696" y="1774515"/>
              <a:chExt cx="1427669" cy="1769632"/>
            </a:xfrm>
          </p:grpSpPr>
          <p:sp>
            <p:nvSpPr>
              <p:cNvPr id="5" name="Rechteck 4">
                <a:extLst>
                  <a:ext uri="{FF2B5EF4-FFF2-40B4-BE49-F238E27FC236}">
                    <a16:creationId xmlns:a16="http://schemas.microsoft.com/office/drawing/2014/main" id="{7DDB4A70-92C2-B975-BBAC-AF58978D829D}"/>
                  </a:ext>
                </a:extLst>
              </p:cNvPr>
              <p:cNvSpPr/>
              <p:nvPr/>
            </p:nvSpPr>
            <p:spPr>
              <a:xfrm>
                <a:off x="596696" y="1774515"/>
                <a:ext cx="1427669" cy="1769632"/>
              </a:xfrm>
              <a:prstGeom prst="rect">
                <a:avLst/>
              </a:prstGeom>
              <a:ln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tlCol="0" anchor="t"/>
              <a:lstStyle/>
              <a:p>
                <a:r>
                  <a:rPr lang="de-DE"/>
                  <a:t>KH Stufe 1</a:t>
                </a:r>
              </a:p>
            </p:txBody>
          </p:sp>
          <p:sp>
            <p:nvSpPr>
              <p:cNvPr id="6" name="Rechteck: abgerundete Ecken 5">
                <a:extLst>
                  <a:ext uri="{FF2B5EF4-FFF2-40B4-BE49-F238E27FC236}">
                    <a16:creationId xmlns:a16="http://schemas.microsoft.com/office/drawing/2014/main" id="{B0C158B3-5572-1091-DD88-D1952E8AD885}"/>
                  </a:ext>
                </a:extLst>
              </p:cNvPr>
              <p:cNvSpPr/>
              <p:nvPr/>
            </p:nvSpPr>
            <p:spPr>
              <a:xfrm>
                <a:off x="925830" y="2546129"/>
                <a:ext cx="861060" cy="289560"/>
              </a:xfrm>
              <a:prstGeom prst="round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400"/>
                  <a:t>KIS</a:t>
                </a:r>
              </a:p>
            </p:txBody>
          </p:sp>
          <p:sp>
            <p:nvSpPr>
              <p:cNvPr id="7" name="Rechteck: abgerundete Ecken 6">
                <a:extLst>
                  <a:ext uri="{FF2B5EF4-FFF2-40B4-BE49-F238E27FC236}">
                    <a16:creationId xmlns:a16="http://schemas.microsoft.com/office/drawing/2014/main" id="{DF7095EB-DC69-ED2A-9E02-80CA47E7782F}"/>
                  </a:ext>
                </a:extLst>
              </p:cNvPr>
              <p:cNvSpPr/>
              <p:nvPr/>
            </p:nvSpPr>
            <p:spPr>
              <a:xfrm>
                <a:off x="925830" y="2898845"/>
                <a:ext cx="861060" cy="289560"/>
              </a:xfrm>
              <a:prstGeom prst="round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400"/>
                  <a:t>PACS</a:t>
                </a:r>
              </a:p>
            </p:txBody>
          </p:sp>
        </p:grpSp>
        <p:sp>
          <p:nvSpPr>
            <p:cNvPr id="252" name="Rechteck 251">
              <a:extLst>
                <a:ext uri="{FF2B5EF4-FFF2-40B4-BE49-F238E27FC236}">
                  <a16:creationId xmlns:a16="http://schemas.microsoft.com/office/drawing/2014/main" id="{AF36E680-98CD-15F7-9DBE-3FBF32591492}"/>
                </a:ext>
              </a:extLst>
            </p:cNvPr>
            <p:cNvSpPr/>
            <p:nvPr/>
          </p:nvSpPr>
          <p:spPr>
            <a:xfrm>
              <a:off x="1931949" y="2860124"/>
              <a:ext cx="84294" cy="774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80" name="Gruppieren 79">
            <a:extLst>
              <a:ext uri="{FF2B5EF4-FFF2-40B4-BE49-F238E27FC236}">
                <a16:creationId xmlns:a16="http://schemas.microsoft.com/office/drawing/2014/main" id="{7F3A0E27-E317-52EA-B19F-3121A1F6D84D}"/>
              </a:ext>
            </a:extLst>
          </p:cNvPr>
          <p:cNvGrpSpPr/>
          <p:nvPr/>
        </p:nvGrpSpPr>
        <p:grpSpPr>
          <a:xfrm>
            <a:off x="601980" y="4221587"/>
            <a:ext cx="1417320" cy="1761775"/>
            <a:chOff x="601980" y="4221587"/>
            <a:chExt cx="1417320" cy="1761775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C8B82741-D124-9736-F3C6-5C3111B27AA9}"/>
                </a:ext>
              </a:extLst>
            </p:cNvPr>
            <p:cNvGrpSpPr/>
            <p:nvPr/>
          </p:nvGrpSpPr>
          <p:grpSpPr>
            <a:xfrm>
              <a:off x="601980" y="4221587"/>
              <a:ext cx="1417320" cy="1761775"/>
              <a:chOff x="601980" y="4221587"/>
              <a:chExt cx="1417320" cy="1761775"/>
            </a:xfrm>
          </p:grpSpPr>
          <p:sp>
            <p:nvSpPr>
              <p:cNvPr id="12" name="Rechteck 11">
                <a:extLst>
                  <a:ext uri="{FF2B5EF4-FFF2-40B4-BE49-F238E27FC236}">
                    <a16:creationId xmlns:a16="http://schemas.microsoft.com/office/drawing/2014/main" id="{D841754D-0C66-733C-6598-530559DFE39B}"/>
                  </a:ext>
                </a:extLst>
              </p:cNvPr>
              <p:cNvSpPr/>
              <p:nvPr/>
            </p:nvSpPr>
            <p:spPr>
              <a:xfrm>
                <a:off x="601980" y="4221587"/>
                <a:ext cx="1417320" cy="1761775"/>
              </a:xfrm>
              <a:prstGeom prst="rect">
                <a:avLst/>
              </a:prstGeom>
              <a:ln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tlCol="0" anchor="t"/>
              <a:lstStyle/>
              <a:p>
                <a:r>
                  <a:rPr lang="de-DE"/>
                  <a:t>KH Stufe 3a</a:t>
                </a:r>
              </a:p>
            </p:txBody>
          </p:sp>
          <p:sp>
            <p:nvSpPr>
              <p:cNvPr id="13" name="Rechteck: abgerundete Ecken 12">
                <a:extLst>
                  <a:ext uri="{FF2B5EF4-FFF2-40B4-BE49-F238E27FC236}">
                    <a16:creationId xmlns:a16="http://schemas.microsoft.com/office/drawing/2014/main" id="{21DFAB57-C31B-81BB-72C5-6947CC982A3B}"/>
                  </a:ext>
                </a:extLst>
              </p:cNvPr>
              <p:cNvSpPr/>
              <p:nvPr/>
            </p:nvSpPr>
            <p:spPr>
              <a:xfrm>
                <a:off x="931149" y="5270826"/>
                <a:ext cx="861060" cy="289560"/>
              </a:xfrm>
              <a:prstGeom prst="round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400"/>
                  <a:t>PACS</a:t>
                </a:r>
              </a:p>
            </p:txBody>
          </p:sp>
          <p:sp>
            <p:nvSpPr>
              <p:cNvPr id="14" name="Rechteck: abgerundete Ecken 13">
                <a:extLst>
                  <a:ext uri="{FF2B5EF4-FFF2-40B4-BE49-F238E27FC236}">
                    <a16:creationId xmlns:a16="http://schemas.microsoft.com/office/drawing/2014/main" id="{C68629A9-0071-191B-A4D8-EB807034CA85}"/>
                  </a:ext>
                </a:extLst>
              </p:cNvPr>
              <p:cNvSpPr/>
              <p:nvPr/>
            </p:nvSpPr>
            <p:spPr>
              <a:xfrm>
                <a:off x="931149" y="5616444"/>
                <a:ext cx="861060" cy="289560"/>
              </a:xfrm>
              <a:prstGeom prst="round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400"/>
                  <a:t>IHE XDS</a:t>
                </a:r>
              </a:p>
            </p:txBody>
          </p:sp>
          <p:grpSp>
            <p:nvGrpSpPr>
              <p:cNvPr id="15" name="Gruppieren 14">
                <a:extLst>
                  <a:ext uri="{FF2B5EF4-FFF2-40B4-BE49-F238E27FC236}">
                    <a16:creationId xmlns:a16="http://schemas.microsoft.com/office/drawing/2014/main" id="{F2F1DCA0-863E-2831-73B1-88D441BF6E64}"/>
                  </a:ext>
                </a:extLst>
              </p:cNvPr>
              <p:cNvGrpSpPr/>
              <p:nvPr/>
            </p:nvGrpSpPr>
            <p:grpSpPr>
              <a:xfrm>
                <a:off x="931149" y="4918110"/>
                <a:ext cx="861060" cy="289560"/>
                <a:chOff x="931149" y="4918110"/>
                <a:chExt cx="861060" cy="289560"/>
              </a:xfrm>
            </p:grpSpPr>
            <p:sp>
              <p:nvSpPr>
                <p:cNvPr id="16" name="Rechteck: abgerundete Ecken 15">
                  <a:extLst>
                    <a:ext uri="{FF2B5EF4-FFF2-40B4-BE49-F238E27FC236}">
                      <a16:creationId xmlns:a16="http://schemas.microsoft.com/office/drawing/2014/main" id="{3F05D8E1-2247-4B1C-C3A7-1FDACD90952B}"/>
                    </a:ext>
                  </a:extLst>
                </p:cNvPr>
                <p:cNvSpPr/>
                <p:nvPr/>
              </p:nvSpPr>
              <p:spPr>
                <a:xfrm>
                  <a:off x="931149" y="4918110"/>
                  <a:ext cx="861060" cy="289560"/>
                </a:xfrm>
                <a:prstGeom prst="round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sz="1400"/>
                    <a:t>KIS</a:t>
                  </a:r>
                </a:p>
              </p:txBody>
            </p:sp>
            <p:sp>
              <p:nvSpPr>
                <p:cNvPr id="17" name="Rechteck 16">
                  <a:extLst>
                    <a:ext uri="{FF2B5EF4-FFF2-40B4-BE49-F238E27FC236}">
                      <a16:creationId xmlns:a16="http://schemas.microsoft.com/office/drawing/2014/main" id="{363FBF33-9E27-B332-FADD-BBD84BCDD9A1}"/>
                    </a:ext>
                  </a:extLst>
                </p:cNvPr>
                <p:cNvSpPr/>
                <p:nvPr/>
              </p:nvSpPr>
              <p:spPr>
                <a:xfrm>
                  <a:off x="1708446" y="5084891"/>
                  <a:ext cx="73957" cy="67519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8" name="Rechteck 17">
                  <a:extLst>
                    <a:ext uri="{FF2B5EF4-FFF2-40B4-BE49-F238E27FC236}">
                      <a16:creationId xmlns:a16="http://schemas.microsoft.com/office/drawing/2014/main" id="{D0989A95-BA5B-C10C-D3A9-A1CCCD8D55A3}"/>
                    </a:ext>
                  </a:extLst>
                </p:cNvPr>
                <p:cNvSpPr/>
                <p:nvPr/>
              </p:nvSpPr>
              <p:spPr>
                <a:xfrm>
                  <a:off x="1708446" y="4961314"/>
                  <a:ext cx="73957" cy="67519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</p:grpSp>
        <p:sp>
          <p:nvSpPr>
            <p:cNvPr id="253" name="Rechteck 252">
              <a:extLst>
                <a:ext uri="{FF2B5EF4-FFF2-40B4-BE49-F238E27FC236}">
                  <a16:creationId xmlns:a16="http://schemas.microsoft.com/office/drawing/2014/main" id="{C1ED6022-8C03-37CB-D838-6282E57725B2}"/>
                </a:ext>
              </a:extLst>
            </p:cNvPr>
            <p:cNvSpPr/>
            <p:nvPr/>
          </p:nvSpPr>
          <p:spPr>
            <a:xfrm>
              <a:off x="1931949" y="5270826"/>
              <a:ext cx="84294" cy="774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81" name="Gruppieren 80">
            <a:extLst>
              <a:ext uri="{FF2B5EF4-FFF2-40B4-BE49-F238E27FC236}">
                <a16:creationId xmlns:a16="http://schemas.microsoft.com/office/drawing/2014/main" id="{049E78DF-6F14-0AB2-F4BF-FA2516E6152F}"/>
              </a:ext>
            </a:extLst>
          </p:cNvPr>
          <p:cNvGrpSpPr/>
          <p:nvPr/>
        </p:nvGrpSpPr>
        <p:grpSpPr>
          <a:xfrm>
            <a:off x="10150475" y="4221587"/>
            <a:ext cx="1417320" cy="1761775"/>
            <a:chOff x="10150475" y="4221587"/>
            <a:chExt cx="1417320" cy="1761775"/>
          </a:xfrm>
        </p:grpSpPr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54555175-04B8-69C2-B6FC-69643E3B9E30}"/>
                </a:ext>
              </a:extLst>
            </p:cNvPr>
            <p:cNvGrpSpPr/>
            <p:nvPr/>
          </p:nvGrpSpPr>
          <p:grpSpPr>
            <a:xfrm>
              <a:off x="10150475" y="4221587"/>
              <a:ext cx="1417320" cy="1761775"/>
              <a:chOff x="9253781" y="3619932"/>
              <a:chExt cx="1417320" cy="1761775"/>
            </a:xfrm>
          </p:grpSpPr>
          <p:sp>
            <p:nvSpPr>
              <p:cNvPr id="20" name="Rechteck 19">
                <a:extLst>
                  <a:ext uri="{FF2B5EF4-FFF2-40B4-BE49-F238E27FC236}">
                    <a16:creationId xmlns:a16="http://schemas.microsoft.com/office/drawing/2014/main" id="{01E809D9-EBF4-CCA2-AC24-A3259341302F}"/>
                  </a:ext>
                </a:extLst>
              </p:cNvPr>
              <p:cNvSpPr/>
              <p:nvPr/>
            </p:nvSpPr>
            <p:spPr>
              <a:xfrm>
                <a:off x="9253781" y="3619932"/>
                <a:ext cx="1417320" cy="1761775"/>
              </a:xfrm>
              <a:prstGeom prst="rect">
                <a:avLst/>
              </a:prstGeom>
              <a:ln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tlCol="0" anchor="t"/>
              <a:lstStyle/>
              <a:p>
                <a:r>
                  <a:rPr lang="de-DE"/>
                  <a:t>KH Stufe 3b</a:t>
                </a:r>
              </a:p>
            </p:txBody>
          </p:sp>
          <p:sp>
            <p:nvSpPr>
              <p:cNvPr id="21" name="Rechteck: abgerundete Ecken 20">
                <a:extLst>
                  <a:ext uri="{FF2B5EF4-FFF2-40B4-BE49-F238E27FC236}">
                    <a16:creationId xmlns:a16="http://schemas.microsoft.com/office/drawing/2014/main" id="{FE6FEE0B-42BF-9BC8-B371-E96119559E2D}"/>
                  </a:ext>
                </a:extLst>
              </p:cNvPr>
              <p:cNvSpPr/>
              <p:nvPr/>
            </p:nvSpPr>
            <p:spPr>
              <a:xfrm>
                <a:off x="9426774" y="4316455"/>
                <a:ext cx="861060" cy="289560"/>
              </a:xfrm>
              <a:prstGeom prst="round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400"/>
                  <a:t>KIS</a:t>
                </a:r>
              </a:p>
            </p:txBody>
          </p:sp>
          <p:sp>
            <p:nvSpPr>
              <p:cNvPr id="22" name="Rechteck: abgerundete Ecken 21">
                <a:extLst>
                  <a:ext uri="{FF2B5EF4-FFF2-40B4-BE49-F238E27FC236}">
                    <a16:creationId xmlns:a16="http://schemas.microsoft.com/office/drawing/2014/main" id="{18455888-FDBA-5B72-A0E3-A2830D21D0C3}"/>
                  </a:ext>
                </a:extLst>
              </p:cNvPr>
              <p:cNvSpPr/>
              <p:nvPr/>
            </p:nvSpPr>
            <p:spPr>
              <a:xfrm>
                <a:off x="9426774" y="4669171"/>
                <a:ext cx="861060" cy="289560"/>
              </a:xfrm>
              <a:prstGeom prst="round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400"/>
                  <a:t>PACS</a:t>
                </a:r>
              </a:p>
            </p:txBody>
          </p:sp>
          <p:sp>
            <p:nvSpPr>
              <p:cNvPr id="23" name="Rechteck: abgerundete Ecken 22">
                <a:extLst>
                  <a:ext uri="{FF2B5EF4-FFF2-40B4-BE49-F238E27FC236}">
                    <a16:creationId xmlns:a16="http://schemas.microsoft.com/office/drawing/2014/main" id="{F8750E35-DB6E-5F94-9355-E7FDCDD8C41D}"/>
                  </a:ext>
                </a:extLst>
              </p:cNvPr>
              <p:cNvSpPr/>
              <p:nvPr/>
            </p:nvSpPr>
            <p:spPr>
              <a:xfrm>
                <a:off x="9426774" y="5014789"/>
                <a:ext cx="861060" cy="289560"/>
              </a:xfrm>
              <a:prstGeom prst="round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400"/>
                  <a:t>CDR</a:t>
                </a:r>
              </a:p>
            </p:txBody>
          </p:sp>
          <p:sp>
            <p:nvSpPr>
              <p:cNvPr id="24" name="Rechteck 23">
                <a:extLst>
                  <a:ext uri="{FF2B5EF4-FFF2-40B4-BE49-F238E27FC236}">
                    <a16:creationId xmlns:a16="http://schemas.microsoft.com/office/drawing/2014/main" id="{46B6DECE-7E6C-2226-E9DC-69F66677E1E0}"/>
                  </a:ext>
                </a:extLst>
              </p:cNvPr>
              <p:cNvSpPr/>
              <p:nvPr/>
            </p:nvSpPr>
            <p:spPr>
              <a:xfrm>
                <a:off x="9431572" y="4490334"/>
                <a:ext cx="73957" cy="67519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F14910BD-748A-EFF3-7F2E-D458FF710770}"/>
                  </a:ext>
                </a:extLst>
              </p:cNvPr>
              <p:cNvSpPr/>
              <p:nvPr/>
            </p:nvSpPr>
            <p:spPr>
              <a:xfrm>
                <a:off x="9431572" y="4366757"/>
                <a:ext cx="73957" cy="67519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D29B4C35-8CCD-AD63-4633-9CAF304CAEA4}"/>
                </a:ext>
              </a:extLst>
            </p:cNvPr>
            <p:cNvSpPr/>
            <p:nvPr/>
          </p:nvSpPr>
          <p:spPr>
            <a:xfrm>
              <a:off x="10150475" y="5270826"/>
              <a:ext cx="84294" cy="774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82" name="Gruppieren 81">
            <a:extLst>
              <a:ext uri="{FF2B5EF4-FFF2-40B4-BE49-F238E27FC236}">
                <a16:creationId xmlns:a16="http://schemas.microsoft.com/office/drawing/2014/main" id="{087C66E0-D71F-3EC9-E91E-12BA70AB03CD}"/>
              </a:ext>
            </a:extLst>
          </p:cNvPr>
          <p:cNvGrpSpPr/>
          <p:nvPr/>
        </p:nvGrpSpPr>
        <p:grpSpPr>
          <a:xfrm>
            <a:off x="10150475" y="1774515"/>
            <a:ext cx="1434841" cy="1761775"/>
            <a:chOff x="10150475" y="1774515"/>
            <a:chExt cx="1434841" cy="1761775"/>
          </a:xfrm>
        </p:grpSpPr>
        <p:grpSp>
          <p:nvGrpSpPr>
            <p:cNvPr id="235" name="Gruppieren 234">
              <a:extLst>
                <a:ext uri="{FF2B5EF4-FFF2-40B4-BE49-F238E27FC236}">
                  <a16:creationId xmlns:a16="http://schemas.microsoft.com/office/drawing/2014/main" id="{61C11378-56BE-A82D-D329-B362F1FF89E0}"/>
                </a:ext>
              </a:extLst>
            </p:cNvPr>
            <p:cNvGrpSpPr/>
            <p:nvPr/>
          </p:nvGrpSpPr>
          <p:grpSpPr>
            <a:xfrm>
              <a:off x="10151939" y="1774515"/>
              <a:ext cx="1433377" cy="1761775"/>
              <a:chOff x="9255245" y="1774515"/>
              <a:chExt cx="1433377" cy="1761775"/>
            </a:xfrm>
          </p:grpSpPr>
          <p:sp>
            <p:nvSpPr>
              <p:cNvPr id="27" name="Rechteck 26">
                <a:extLst>
                  <a:ext uri="{FF2B5EF4-FFF2-40B4-BE49-F238E27FC236}">
                    <a16:creationId xmlns:a16="http://schemas.microsoft.com/office/drawing/2014/main" id="{A7165C19-14BA-1DD0-BFDC-D1972C74020F}"/>
                  </a:ext>
                </a:extLst>
              </p:cNvPr>
              <p:cNvSpPr/>
              <p:nvPr/>
            </p:nvSpPr>
            <p:spPr>
              <a:xfrm>
                <a:off x="9255245" y="1774515"/>
                <a:ext cx="1433377" cy="1761775"/>
              </a:xfrm>
              <a:prstGeom prst="rect">
                <a:avLst/>
              </a:prstGeom>
              <a:ln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tlCol="0" anchor="t"/>
              <a:lstStyle/>
              <a:p>
                <a:r>
                  <a:rPr lang="de-DE"/>
                  <a:t>KH Stufe 2</a:t>
                </a:r>
              </a:p>
            </p:txBody>
          </p:sp>
          <p:sp>
            <p:nvSpPr>
              <p:cNvPr id="28" name="Rechteck: abgerundete Ecken 27">
                <a:extLst>
                  <a:ext uri="{FF2B5EF4-FFF2-40B4-BE49-F238E27FC236}">
                    <a16:creationId xmlns:a16="http://schemas.microsoft.com/office/drawing/2014/main" id="{82704C85-3BDF-3B86-5647-886E847A98C5}"/>
                  </a:ext>
                </a:extLst>
              </p:cNvPr>
              <p:cNvSpPr/>
              <p:nvPr/>
            </p:nvSpPr>
            <p:spPr>
              <a:xfrm>
                <a:off x="9426774" y="2898845"/>
                <a:ext cx="861060" cy="289560"/>
              </a:xfrm>
              <a:prstGeom prst="round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400"/>
                  <a:t>PACS</a:t>
                </a:r>
              </a:p>
            </p:txBody>
          </p:sp>
          <p:grpSp>
            <p:nvGrpSpPr>
              <p:cNvPr id="29" name="Gruppieren 28">
                <a:extLst>
                  <a:ext uri="{FF2B5EF4-FFF2-40B4-BE49-F238E27FC236}">
                    <a16:creationId xmlns:a16="http://schemas.microsoft.com/office/drawing/2014/main" id="{C14387D2-24CE-2CEC-63E7-9A3DA877710B}"/>
                  </a:ext>
                </a:extLst>
              </p:cNvPr>
              <p:cNvGrpSpPr/>
              <p:nvPr/>
            </p:nvGrpSpPr>
            <p:grpSpPr>
              <a:xfrm>
                <a:off x="9426774" y="2546129"/>
                <a:ext cx="861060" cy="289560"/>
                <a:chOff x="9426774" y="2367208"/>
                <a:chExt cx="861060" cy="289560"/>
              </a:xfrm>
              <a:solidFill>
                <a:schemeClr val="tx1"/>
              </a:solidFill>
            </p:grpSpPr>
            <p:sp>
              <p:nvSpPr>
                <p:cNvPr id="30" name="Rechteck: abgerundete Ecken 29">
                  <a:extLst>
                    <a:ext uri="{FF2B5EF4-FFF2-40B4-BE49-F238E27FC236}">
                      <a16:creationId xmlns:a16="http://schemas.microsoft.com/office/drawing/2014/main" id="{B30016AC-5D2B-BE9F-3CAD-BD3D7ACFF9C0}"/>
                    </a:ext>
                  </a:extLst>
                </p:cNvPr>
                <p:cNvSpPr/>
                <p:nvPr/>
              </p:nvSpPr>
              <p:spPr>
                <a:xfrm>
                  <a:off x="9426774" y="2367208"/>
                  <a:ext cx="861060" cy="28956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sz="1400"/>
                    <a:t>KIS</a:t>
                  </a:r>
                </a:p>
              </p:txBody>
            </p:sp>
            <p:sp>
              <p:nvSpPr>
                <p:cNvPr id="31" name="Rechteck 30">
                  <a:extLst>
                    <a:ext uri="{FF2B5EF4-FFF2-40B4-BE49-F238E27FC236}">
                      <a16:creationId xmlns:a16="http://schemas.microsoft.com/office/drawing/2014/main" id="{7A0A1FDA-2DFC-1F3F-36C4-8DB017B2AAA3}"/>
                    </a:ext>
                  </a:extLst>
                </p:cNvPr>
                <p:cNvSpPr/>
                <p:nvPr/>
              </p:nvSpPr>
              <p:spPr>
                <a:xfrm>
                  <a:off x="9426774" y="2531738"/>
                  <a:ext cx="73957" cy="67519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2" name="Rechteck 31">
                  <a:extLst>
                    <a:ext uri="{FF2B5EF4-FFF2-40B4-BE49-F238E27FC236}">
                      <a16:creationId xmlns:a16="http://schemas.microsoft.com/office/drawing/2014/main" id="{348F54FE-DC93-B0DD-4856-D6DEB8D795E5}"/>
                    </a:ext>
                  </a:extLst>
                </p:cNvPr>
                <p:cNvSpPr/>
                <p:nvPr/>
              </p:nvSpPr>
              <p:spPr>
                <a:xfrm>
                  <a:off x="9426774" y="2408161"/>
                  <a:ext cx="73957" cy="67519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</p:grpSp>
        <p:sp>
          <p:nvSpPr>
            <p:cNvPr id="255" name="Rechteck 254">
              <a:extLst>
                <a:ext uri="{FF2B5EF4-FFF2-40B4-BE49-F238E27FC236}">
                  <a16:creationId xmlns:a16="http://schemas.microsoft.com/office/drawing/2014/main" id="{B6CE223F-BA98-0E8B-ADC8-9FD31DB76CB7}"/>
                </a:ext>
              </a:extLst>
            </p:cNvPr>
            <p:cNvSpPr/>
            <p:nvPr/>
          </p:nvSpPr>
          <p:spPr>
            <a:xfrm>
              <a:off x="10150475" y="2860124"/>
              <a:ext cx="84294" cy="774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194B9205-E4EB-1288-7838-1A0C8BF226DA}"/>
              </a:ext>
            </a:extLst>
          </p:cNvPr>
          <p:cNvCxnSpPr>
            <a:cxnSpLocks/>
            <a:stCxn id="12" idx="3"/>
            <a:endCxn id="46" idx="1"/>
          </p:cNvCxnSpPr>
          <p:nvPr/>
        </p:nvCxnSpPr>
        <p:spPr>
          <a:xfrm flipV="1">
            <a:off x="2019300" y="4063517"/>
            <a:ext cx="1417727" cy="1038958"/>
          </a:xfrm>
          <a:prstGeom prst="bentConnector3">
            <a:avLst>
              <a:gd name="adj1" fmla="val 85689"/>
            </a:avLst>
          </a:prstGeom>
          <a:ln w="12700" cap="rnd">
            <a:solidFill>
              <a:schemeClr val="tx1">
                <a:lumMod val="50000"/>
                <a:lumOff val="50000"/>
              </a:schemeClr>
            </a:solidFill>
            <a:prstDash val="sysDot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Verbinder: gewinkelt 64">
            <a:extLst>
              <a:ext uri="{FF2B5EF4-FFF2-40B4-BE49-F238E27FC236}">
                <a16:creationId xmlns:a16="http://schemas.microsoft.com/office/drawing/2014/main" id="{3B3E0871-0E7A-0D38-C7E8-3C7A06AC29F7}"/>
              </a:ext>
            </a:extLst>
          </p:cNvPr>
          <p:cNvCxnSpPr>
            <a:cxnSpLocks/>
            <a:stCxn id="49" idx="3"/>
            <a:endCxn id="20" idx="1"/>
          </p:cNvCxnSpPr>
          <p:nvPr/>
        </p:nvCxnSpPr>
        <p:spPr>
          <a:xfrm>
            <a:off x="8739276" y="4063517"/>
            <a:ext cx="1411199" cy="1038958"/>
          </a:xfrm>
          <a:prstGeom prst="bentConnector3">
            <a:avLst>
              <a:gd name="adj1" fmla="val 12540"/>
            </a:avLst>
          </a:prstGeom>
          <a:ln w="12700" cap="rnd">
            <a:solidFill>
              <a:schemeClr val="tx1">
                <a:lumMod val="50000"/>
                <a:lumOff val="50000"/>
              </a:schemeClr>
            </a:solidFill>
            <a:prstDash val="sysDot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Verbinder: gewinkelt 69">
            <a:extLst>
              <a:ext uri="{FF2B5EF4-FFF2-40B4-BE49-F238E27FC236}">
                <a16:creationId xmlns:a16="http://schemas.microsoft.com/office/drawing/2014/main" id="{32297E3E-1E12-2BFE-D565-53F6392A53CA}"/>
              </a:ext>
            </a:extLst>
          </p:cNvPr>
          <p:cNvCxnSpPr>
            <a:cxnSpLocks/>
            <a:stCxn id="49" idx="3"/>
            <a:endCxn id="27" idx="1"/>
          </p:cNvCxnSpPr>
          <p:nvPr/>
        </p:nvCxnSpPr>
        <p:spPr>
          <a:xfrm flipV="1">
            <a:off x="8739276" y="2655403"/>
            <a:ext cx="1412663" cy="1408114"/>
          </a:xfrm>
          <a:prstGeom prst="bentConnector3">
            <a:avLst>
              <a:gd name="adj1" fmla="val 12579"/>
            </a:avLst>
          </a:prstGeom>
          <a:ln w="12700" cap="rnd">
            <a:solidFill>
              <a:schemeClr val="tx1">
                <a:lumMod val="50000"/>
                <a:lumOff val="50000"/>
              </a:schemeClr>
            </a:solidFill>
            <a:prstDash val="sysDot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: abgerundete Ecken 82">
            <a:extLst>
              <a:ext uri="{FF2B5EF4-FFF2-40B4-BE49-F238E27FC236}">
                <a16:creationId xmlns:a16="http://schemas.microsoft.com/office/drawing/2014/main" id="{A72CB3FA-F1AA-D84C-87C3-3ECA8B3490F7}"/>
              </a:ext>
            </a:extLst>
          </p:cNvPr>
          <p:cNvSpPr/>
          <p:nvPr/>
        </p:nvSpPr>
        <p:spPr>
          <a:xfrm>
            <a:off x="2790981" y="2508803"/>
            <a:ext cx="379537" cy="111807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600"/>
              <a:t>URL</a:t>
            </a:r>
          </a:p>
        </p:txBody>
      </p:sp>
      <p:sp>
        <p:nvSpPr>
          <p:cNvPr id="85" name="Rechteck: abgerundete Ecken 84">
            <a:extLst>
              <a:ext uri="{FF2B5EF4-FFF2-40B4-BE49-F238E27FC236}">
                <a16:creationId xmlns:a16="http://schemas.microsoft.com/office/drawing/2014/main" id="{E5D77ED6-2A22-9904-07C4-3E61FBA2A7D1}"/>
              </a:ext>
            </a:extLst>
          </p:cNvPr>
          <p:cNvSpPr/>
          <p:nvPr/>
        </p:nvSpPr>
        <p:spPr>
          <a:xfrm>
            <a:off x="2790981" y="4961166"/>
            <a:ext cx="379537" cy="111807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600"/>
              <a:t>URL</a:t>
            </a:r>
          </a:p>
        </p:txBody>
      </p:sp>
      <p:sp>
        <p:nvSpPr>
          <p:cNvPr id="102" name="Rechteck: abgerundete Ecken 101">
            <a:extLst>
              <a:ext uri="{FF2B5EF4-FFF2-40B4-BE49-F238E27FC236}">
                <a16:creationId xmlns:a16="http://schemas.microsoft.com/office/drawing/2014/main" id="{D550CB58-49FE-811F-C6AA-A7266478D48A}"/>
              </a:ext>
            </a:extLst>
          </p:cNvPr>
          <p:cNvSpPr/>
          <p:nvPr/>
        </p:nvSpPr>
        <p:spPr>
          <a:xfrm>
            <a:off x="9005786" y="5617877"/>
            <a:ext cx="379537" cy="11180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600"/>
              <a:t>Termin</a:t>
            </a:r>
          </a:p>
        </p:txBody>
      </p:sp>
      <p:sp>
        <p:nvSpPr>
          <p:cNvPr id="103" name="Rechteck: abgerundete Ecken 102">
            <a:extLst>
              <a:ext uri="{FF2B5EF4-FFF2-40B4-BE49-F238E27FC236}">
                <a16:creationId xmlns:a16="http://schemas.microsoft.com/office/drawing/2014/main" id="{C25E0E8F-A994-7C27-9192-177E27331FF9}"/>
              </a:ext>
            </a:extLst>
          </p:cNvPr>
          <p:cNvSpPr/>
          <p:nvPr/>
        </p:nvSpPr>
        <p:spPr>
          <a:xfrm>
            <a:off x="9005786" y="5474078"/>
            <a:ext cx="379537" cy="11180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600"/>
              <a:t>Dokument</a:t>
            </a:r>
          </a:p>
        </p:txBody>
      </p:sp>
      <p:sp>
        <p:nvSpPr>
          <p:cNvPr id="104" name="Rechteck: abgerundete Ecken 103">
            <a:extLst>
              <a:ext uri="{FF2B5EF4-FFF2-40B4-BE49-F238E27FC236}">
                <a16:creationId xmlns:a16="http://schemas.microsoft.com/office/drawing/2014/main" id="{3C835273-083F-A584-1505-69BE629FE08D}"/>
              </a:ext>
            </a:extLst>
          </p:cNvPr>
          <p:cNvSpPr/>
          <p:nvPr/>
        </p:nvSpPr>
        <p:spPr>
          <a:xfrm>
            <a:off x="9005786" y="5769154"/>
            <a:ext cx="379537" cy="11180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600"/>
              <a:t>DICOM</a:t>
            </a:r>
          </a:p>
        </p:txBody>
      </p:sp>
      <p:sp>
        <p:nvSpPr>
          <p:cNvPr id="105" name="Rechteck: abgerundete Ecken 104">
            <a:extLst>
              <a:ext uri="{FF2B5EF4-FFF2-40B4-BE49-F238E27FC236}">
                <a16:creationId xmlns:a16="http://schemas.microsoft.com/office/drawing/2014/main" id="{B6A20E35-4C35-B0D3-F178-3760E443AB75}"/>
              </a:ext>
            </a:extLst>
          </p:cNvPr>
          <p:cNvSpPr/>
          <p:nvPr/>
        </p:nvSpPr>
        <p:spPr>
          <a:xfrm>
            <a:off x="9005786" y="5324110"/>
            <a:ext cx="379537" cy="11180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600"/>
              <a:t>Patient</a:t>
            </a:r>
          </a:p>
        </p:txBody>
      </p:sp>
      <p:sp>
        <p:nvSpPr>
          <p:cNvPr id="106" name="Rechteck: abgerundete Ecken 105">
            <a:extLst>
              <a:ext uri="{FF2B5EF4-FFF2-40B4-BE49-F238E27FC236}">
                <a16:creationId xmlns:a16="http://schemas.microsoft.com/office/drawing/2014/main" id="{949A2CF1-09A8-750E-51EB-2477BFE5D573}"/>
              </a:ext>
            </a:extLst>
          </p:cNvPr>
          <p:cNvSpPr/>
          <p:nvPr/>
        </p:nvSpPr>
        <p:spPr>
          <a:xfrm>
            <a:off x="9005786" y="5910920"/>
            <a:ext cx="379537" cy="11180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600"/>
              <a:t>LDAP</a:t>
            </a:r>
          </a:p>
        </p:txBody>
      </p:sp>
      <p:sp>
        <p:nvSpPr>
          <p:cNvPr id="107" name="Rechteck: abgerundete Ecken 106">
            <a:extLst>
              <a:ext uri="{FF2B5EF4-FFF2-40B4-BE49-F238E27FC236}">
                <a16:creationId xmlns:a16="http://schemas.microsoft.com/office/drawing/2014/main" id="{8431BC14-B157-725A-4B6B-0DD5C76C2046}"/>
              </a:ext>
            </a:extLst>
          </p:cNvPr>
          <p:cNvSpPr/>
          <p:nvPr/>
        </p:nvSpPr>
        <p:spPr>
          <a:xfrm>
            <a:off x="9015542" y="2508803"/>
            <a:ext cx="379537" cy="111807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600"/>
              <a:t>URL</a:t>
            </a:r>
          </a:p>
        </p:txBody>
      </p:sp>
      <p:sp>
        <p:nvSpPr>
          <p:cNvPr id="108" name="Rechteck: abgerundete Ecken 107">
            <a:extLst>
              <a:ext uri="{FF2B5EF4-FFF2-40B4-BE49-F238E27FC236}">
                <a16:creationId xmlns:a16="http://schemas.microsoft.com/office/drawing/2014/main" id="{B5E6CA43-8DBA-975D-2FF8-88A9FFC02D37}"/>
              </a:ext>
            </a:extLst>
          </p:cNvPr>
          <p:cNvSpPr/>
          <p:nvPr/>
        </p:nvSpPr>
        <p:spPr>
          <a:xfrm>
            <a:off x="9015542" y="4961166"/>
            <a:ext cx="379537" cy="111807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600"/>
              <a:t>URL</a:t>
            </a:r>
          </a:p>
        </p:txBody>
      </p:sp>
      <p:sp>
        <p:nvSpPr>
          <p:cNvPr id="226" name="background">
            <a:extLst>
              <a:ext uri="{FF2B5EF4-FFF2-40B4-BE49-F238E27FC236}">
                <a16:creationId xmlns:a16="http://schemas.microsoft.com/office/drawing/2014/main" id="{63A3D718-69B1-4924-9CDA-F6FB63D37EBB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8279594" y="5309547"/>
            <a:ext cx="254000" cy="254000"/>
          </a:xfrm>
          <a:prstGeom prst="rect">
            <a:avLst/>
          </a:prstGeom>
          <a:solidFill>
            <a:srgbClr val="EC66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de-DE" sz="130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227" name="background">
            <a:extLst>
              <a:ext uri="{FF2B5EF4-FFF2-40B4-BE49-F238E27FC236}">
                <a16:creationId xmlns:a16="http://schemas.microsoft.com/office/drawing/2014/main" id="{34178FB1-E4B2-804E-4A88-07BF3D4CD6C9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8279594" y="4559865"/>
            <a:ext cx="254000" cy="254000"/>
          </a:xfrm>
          <a:prstGeom prst="rect">
            <a:avLst/>
          </a:prstGeom>
          <a:solidFill>
            <a:srgbClr val="EC66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de-DE" sz="130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228" name="background">
            <a:extLst>
              <a:ext uri="{FF2B5EF4-FFF2-40B4-BE49-F238E27FC236}">
                <a16:creationId xmlns:a16="http://schemas.microsoft.com/office/drawing/2014/main" id="{42539DEE-7CB9-3215-FDE3-208639E3BC22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8279594" y="3813279"/>
            <a:ext cx="254000" cy="254000"/>
          </a:xfrm>
          <a:prstGeom prst="rect">
            <a:avLst/>
          </a:prstGeom>
          <a:solidFill>
            <a:srgbClr val="EC66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de-DE" sz="130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29" name="background">
            <a:extLst>
              <a:ext uri="{FF2B5EF4-FFF2-40B4-BE49-F238E27FC236}">
                <a16:creationId xmlns:a16="http://schemas.microsoft.com/office/drawing/2014/main" id="{127C153B-7C37-D96F-8078-06E516637212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5604122" y="3813279"/>
            <a:ext cx="254000" cy="254000"/>
          </a:xfrm>
          <a:prstGeom prst="rect">
            <a:avLst/>
          </a:prstGeom>
          <a:solidFill>
            <a:srgbClr val="EC66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de-DE" sz="1300">
                <a:solidFill>
                  <a:srgbClr val="FFFFFF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020790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55" grpId="0" animBg="1"/>
      <p:bldP spid="56" grpId="0" animBg="1"/>
      <p:bldP spid="101" grpId="0" animBg="1"/>
      <p:bldP spid="161" grpId="0" animBg="1"/>
      <p:bldP spid="83" grpId="0" animBg="1"/>
      <p:bldP spid="85" grpId="0" animBg="1"/>
      <p:bldP spid="102" grpId="0" animBg="1"/>
      <p:bldP spid="103" grpId="0" animBg="1"/>
      <p:bldP spid="104" grpId="0" animBg="1"/>
      <p:bldP spid="105" grpId="0" animBg="1"/>
      <p:bldP spid="106" grpId="0" animBg="1"/>
      <p:bldP spid="107" grpId="0" animBg="1"/>
      <p:bldP spid="108" grpId="0" animBg="1"/>
      <p:bldP spid="226" grpId="0" animBg="1"/>
      <p:bldP spid="227" grpId="0" animBg="1"/>
      <p:bldP spid="228" grpId="0" animBg="1"/>
      <p:bldP spid="229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615599B-C729-E6D2-B1E3-520D93BE3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6156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615599B-C729-E6D2-B1E3-520D93BE3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A8FF0CBD-5672-0A3F-6285-47A46731235A}"/>
              </a:ext>
            </a:extLst>
          </p:cNvPr>
          <p:cNvSpPr/>
          <p:nvPr/>
        </p:nvSpPr>
        <p:spPr>
          <a:xfrm>
            <a:off x="9490189" y="6489700"/>
            <a:ext cx="733311" cy="1836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55BF8452-2342-029D-F5D8-77E6FD67CCC1}"/>
              </a:ext>
            </a:extLst>
          </p:cNvPr>
          <p:cNvSpPr>
            <a:spLocks/>
          </p:cNvSpPr>
          <p:nvPr/>
        </p:nvSpPr>
        <p:spPr>
          <a:xfrm rot="10800000">
            <a:off x="8999007" y="1619251"/>
            <a:ext cx="3170768" cy="5238749"/>
          </a:xfrm>
          <a:custGeom>
            <a:avLst/>
            <a:gdLst>
              <a:gd name="connsiteX0" fmla="*/ 541336 w 3170768"/>
              <a:gd name="connsiteY0" fmla="*/ 5238749 h 5238749"/>
              <a:gd name="connsiteX1" fmla="*/ 0 w 3170768"/>
              <a:gd name="connsiteY1" fmla="*/ 3914361 h 5238749"/>
              <a:gd name="connsiteX2" fmla="*/ 0 w 3170768"/>
              <a:gd name="connsiteY2" fmla="*/ 3129698 h 5238749"/>
              <a:gd name="connsiteX3" fmla="*/ 0 w 3170768"/>
              <a:gd name="connsiteY3" fmla="*/ 202194 h 5238749"/>
              <a:gd name="connsiteX4" fmla="*/ 0 w 3170768"/>
              <a:gd name="connsiteY4" fmla="*/ 0 h 5238749"/>
              <a:gd name="connsiteX5" fmla="*/ 1891522 w 3170768"/>
              <a:gd name="connsiteY5" fmla="*/ 0 h 5238749"/>
              <a:gd name="connsiteX6" fmla="*/ 3170768 w 3170768"/>
              <a:gd name="connsiteY6" fmla="*/ 3129698 h 5238749"/>
              <a:gd name="connsiteX7" fmla="*/ 541336 w 3170768"/>
              <a:gd name="connsiteY7" fmla="*/ 3129698 h 5238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70768" h="5238749">
                <a:moveTo>
                  <a:pt x="541336" y="5238749"/>
                </a:moveTo>
                <a:lnTo>
                  <a:pt x="0" y="3914361"/>
                </a:lnTo>
                <a:lnTo>
                  <a:pt x="0" y="3129698"/>
                </a:lnTo>
                <a:lnTo>
                  <a:pt x="0" y="202194"/>
                </a:lnTo>
                <a:lnTo>
                  <a:pt x="0" y="0"/>
                </a:lnTo>
                <a:lnTo>
                  <a:pt x="1891522" y="0"/>
                </a:lnTo>
                <a:lnTo>
                  <a:pt x="3170768" y="3129698"/>
                </a:lnTo>
                <a:lnTo>
                  <a:pt x="541336" y="3129698"/>
                </a:lnTo>
                <a:close/>
              </a:path>
            </a:pathLst>
          </a:custGeom>
          <a:pattFill prst="wdDnDiag">
            <a:fgClr>
              <a:srgbClr val="ECECEC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F196A09-C0D2-A440-742D-AF27AE3F9099}"/>
              </a:ext>
            </a:extLst>
          </p:cNvPr>
          <p:cNvSpPr>
            <a:spLocks/>
          </p:cNvSpPr>
          <p:nvPr/>
        </p:nvSpPr>
        <p:spPr>
          <a:xfrm>
            <a:off x="6738054" y="1626027"/>
            <a:ext cx="1885245" cy="4568398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tIns="144000" rtlCol="0" anchor="t"/>
          <a:lstStyle/>
          <a:p>
            <a:pPr algn="ctr"/>
            <a:r>
              <a:rPr lang="de-DE" sz="1200" b="1">
                <a:solidFill>
                  <a:schemeClr val="tx1"/>
                </a:solidFill>
              </a:rPr>
              <a:t>TI </a:t>
            </a:r>
            <a:r>
              <a:rPr lang="de-DE" sz="1200" b="1">
                <a:noFill/>
              </a:rPr>
              <a:t>(</a:t>
            </a:r>
            <a:r>
              <a:rPr lang="de-DE" sz="1200" b="1" err="1">
                <a:noFill/>
              </a:rPr>
              <a:t>gematik</a:t>
            </a:r>
            <a:r>
              <a:rPr lang="de-DE" sz="1200" b="1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F94C8E-F2A2-EAEB-8613-9C98C484720B}"/>
              </a:ext>
            </a:extLst>
          </p:cNvPr>
          <p:cNvSpPr>
            <a:spLocks/>
          </p:cNvSpPr>
          <p:nvPr/>
        </p:nvSpPr>
        <p:spPr>
          <a:xfrm>
            <a:off x="6938173" y="4787900"/>
            <a:ext cx="4690265" cy="1206500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8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Ins="252000" rtlCol="0" anchor="ctr"/>
          <a:lstStyle/>
          <a:p>
            <a:pPr algn="r"/>
            <a:r>
              <a:rPr lang="de-DE" sz="3200" b="1">
                <a:solidFill>
                  <a:schemeClr val="accent5"/>
                </a:solidFill>
              </a:rPr>
              <a:t>GKV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60D40FC-E461-CD6D-30B9-720D6753FCDE}"/>
              </a:ext>
            </a:extLst>
          </p:cNvPr>
          <p:cNvSpPr/>
          <p:nvPr/>
        </p:nvSpPr>
        <p:spPr>
          <a:xfrm>
            <a:off x="6629118" y="5220866"/>
            <a:ext cx="381282" cy="184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F7730498-5DDD-9B73-2669-78462ACCE664}"/>
              </a:ext>
            </a:extLst>
          </p:cNvPr>
          <p:cNvSpPr>
            <a:spLocks/>
          </p:cNvSpPr>
          <p:nvPr/>
        </p:nvSpPr>
        <p:spPr>
          <a:xfrm>
            <a:off x="540000" y="1626027"/>
            <a:ext cx="5822700" cy="2427813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1" name="Rectangle 2">
            <a:extLst>
              <a:ext uri="{FF2B5EF4-FFF2-40B4-BE49-F238E27FC236}">
                <a16:creationId xmlns:a16="http://schemas.microsoft.com/office/drawing/2014/main" id="{660D5D9C-945D-E4BF-F154-8C63D988A806}"/>
              </a:ext>
            </a:extLst>
          </p:cNvPr>
          <p:cNvSpPr>
            <a:spLocks/>
          </p:cNvSpPr>
          <p:nvPr/>
        </p:nvSpPr>
        <p:spPr>
          <a:xfrm>
            <a:off x="2565596" y="2100943"/>
            <a:ext cx="3303607" cy="1668180"/>
          </a:xfrm>
          <a:prstGeom prst="roundRect">
            <a:avLst>
              <a:gd name="adj" fmla="val 50000"/>
            </a:avLst>
          </a:prstGeom>
          <a:ln w="31750">
            <a:miter lim="800000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08000" tIns="72000" rIns="108000" bIns="72000" rtlCol="0" anchor="t">
            <a:noAutofit/>
          </a:bodyPr>
          <a:lstStyle/>
          <a:p>
            <a:endParaRPr lang="de-AT" sz="1600" b="1"/>
          </a:p>
        </p:txBody>
      </p:sp>
      <p:sp>
        <p:nvSpPr>
          <p:cNvPr id="701" name="Rechteck 700">
            <a:extLst>
              <a:ext uri="{FF2B5EF4-FFF2-40B4-BE49-F238E27FC236}">
                <a16:creationId xmlns:a16="http://schemas.microsoft.com/office/drawing/2014/main" id="{2B75C1DF-0634-4B85-B1D6-FAC0EDB6AF3D}"/>
              </a:ext>
            </a:extLst>
          </p:cNvPr>
          <p:cNvSpPr/>
          <p:nvPr/>
        </p:nvSpPr>
        <p:spPr>
          <a:xfrm>
            <a:off x="3409668" y="3711575"/>
            <a:ext cx="247932" cy="4092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5" name="Rechteck 704">
            <a:extLst>
              <a:ext uri="{FF2B5EF4-FFF2-40B4-BE49-F238E27FC236}">
                <a16:creationId xmlns:a16="http://schemas.microsoft.com/office/drawing/2014/main" id="{B27BE0E2-AB1B-6A51-E4F2-5749B2C276DD}"/>
              </a:ext>
            </a:extLst>
          </p:cNvPr>
          <p:cNvSpPr/>
          <p:nvPr/>
        </p:nvSpPr>
        <p:spPr>
          <a:xfrm>
            <a:off x="4190720" y="3711575"/>
            <a:ext cx="132192" cy="4092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25EB3133-9263-2DE5-A02E-FEB771D65E4F}"/>
              </a:ext>
            </a:extLst>
          </p:cNvPr>
          <p:cNvSpPr>
            <a:spLocks/>
          </p:cNvSpPr>
          <p:nvPr/>
        </p:nvSpPr>
        <p:spPr>
          <a:xfrm>
            <a:off x="8999007" y="1619250"/>
            <a:ext cx="2629432" cy="2109051"/>
          </a:xfrm>
          <a:prstGeom prst="rect">
            <a:avLst/>
          </a:prstGeom>
          <a:solidFill>
            <a:srgbClr val="EC6602"/>
          </a:solidFill>
          <a:ln>
            <a:noFill/>
          </a:ln>
          <a:effectLst>
            <a:outerShdw blurRad="50800" dist="38100" dir="27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44000" tIns="180000" rIns="216000"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1600" b="1">
                <a:solidFill>
                  <a:schemeClr val="bg1"/>
                </a:solidFill>
              </a:rPr>
              <a:t>Ambulanter Sektor</a:t>
            </a:r>
          </a:p>
        </p:txBody>
      </p:sp>
      <p:sp>
        <p:nvSpPr>
          <p:cNvPr id="113" name="TextBox 26">
            <a:extLst>
              <a:ext uri="{FF2B5EF4-FFF2-40B4-BE49-F238E27FC236}">
                <a16:creationId xmlns:a16="http://schemas.microsoft.com/office/drawing/2014/main" id="{CA0D15B2-7277-05F8-3889-10927C2CEB18}"/>
              </a:ext>
            </a:extLst>
          </p:cNvPr>
          <p:cNvSpPr txBox="1">
            <a:spLocks/>
          </p:cNvSpPr>
          <p:nvPr/>
        </p:nvSpPr>
        <p:spPr>
          <a:xfrm>
            <a:off x="2954600" y="2698030"/>
            <a:ext cx="1151328" cy="1896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AT" sz="1050"/>
              <a:t>FHIR Repository</a:t>
            </a:r>
          </a:p>
        </p:txBody>
      </p:sp>
      <p:sp>
        <p:nvSpPr>
          <p:cNvPr id="114" name="TextBox 26">
            <a:extLst>
              <a:ext uri="{FF2B5EF4-FFF2-40B4-BE49-F238E27FC236}">
                <a16:creationId xmlns:a16="http://schemas.microsoft.com/office/drawing/2014/main" id="{48318B70-6EAD-AE93-50B8-BAEFF3B7B72F}"/>
              </a:ext>
            </a:extLst>
          </p:cNvPr>
          <p:cNvSpPr txBox="1">
            <a:spLocks/>
          </p:cNvSpPr>
          <p:nvPr/>
        </p:nvSpPr>
        <p:spPr>
          <a:xfrm>
            <a:off x="4385732" y="2698030"/>
            <a:ext cx="1151328" cy="1896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AT" sz="1050"/>
              <a:t>XDS Repository</a:t>
            </a:r>
          </a:p>
        </p:txBody>
      </p:sp>
      <p:sp>
        <p:nvSpPr>
          <p:cNvPr id="115" name="TextBox 26">
            <a:extLst>
              <a:ext uri="{FF2B5EF4-FFF2-40B4-BE49-F238E27FC236}">
                <a16:creationId xmlns:a16="http://schemas.microsoft.com/office/drawing/2014/main" id="{0164ED82-AE3E-955B-120A-FA3A82F758AD}"/>
              </a:ext>
            </a:extLst>
          </p:cNvPr>
          <p:cNvSpPr txBox="1">
            <a:spLocks/>
          </p:cNvSpPr>
          <p:nvPr/>
        </p:nvSpPr>
        <p:spPr>
          <a:xfrm>
            <a:off x="4759113" y="3276198"/>
            <a:ext cx="404566" cy="1896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AT" sz="1050"/>
              <a:t>Video</a:t>
            </a:r>
          </a:p>
        </p:txBody>
      </p:sp>
      <p:sp>
        <p:nvSpPr>
          <p:cNvPr id="116" name="TextBox 26">
            <a:extLst>
              <a:ext uri="{FF2B5EF4-FFF2-40B4-BE49-F238E27FC236}">
                <a16:creationId xmlns:a16="http://schemas.microsoft.com/office/drawing/2014/main" id="{F6DC81CF-9EF2-C927-DCD9-904796C23053}"/>
              </a:ext>
            </a:extLst>
          </p:cNvPr>
          <p:cNvSpPr txBox="1">
            <a:spLocks/>
          </p:cNvSpPr>
          <p:nvPr/>
        </p:nvSpPr>
        <p:spPr>
          <a:xfrm>
            <a:off x="3858700" y="3276198"/>
            <a:ext cx="774260" cy="1896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AT" sz="1050"/>
              <a:t>Patientinnen &amp; Patienten</a:t>
            </a:r>
          </a:p>
        </p:txBody>
      </p:sp>
      <p:sp>
        <p:nvSpPr>
          <p:cNvPr id="117" name="TextBox 26">
            <a:extLst>
              <a:ext uri="{FF2B5EF4-FFF2-40B4-BE49-F238E27FC236}">
                <a16:creationId xmlns:a16="http://schemas.microsoft.com/office/drawing/2014/main" id="{49684EDD-D839-0E17-9066-1BA34739BBBA}"/>
              </a:ext>
            </a:extLst>
          </p:cNvPr>
          <p:cNvSpPr txBox="1">
            <a:spLocks/>
          </p:cNvSpPr>
          <p:nvPr/>
        </p:nvSpPr>
        <p:spPr>
          <a:xfrm>
            <a:off x="3267022" y="3276198"/>
            <a:ext cx="526486" cy="1896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AT" sz="1050"/>
              <a:t>Medizin</a:t>
            </a:r>
          </a:p>
        </p:txBody>
      </p:sp>
      <p:pic>
        <p:nvPicPr>
          <p:cNvPr id="118" name="Grafik 117">
            <a:extLst>
              <a:ext uri="{FF2B5EF4-FFF2-40B4-BE49-F238E27FC236}">
                <a16:creationId xmlns:a16="http://schemas.microsoft.com/office/drawing/2014/main" id="{1074237B-C3C4-788E-0E3A-015484B2BCD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83039" y="1828801"/>
            <a:ext cx="492639" cy="541563"/>
          </a:xfrm>
          <a:custGeom>
            <a:avLst/>
            <a:gdLst>
              <a:gd name="connsiteX0" fmla="*/ 247650 w 492639"/>
              <a:gd name="connsiteY0" fmla="*/ 0 h 541563"/>
              <a:gd name="connsiteX1" fmla="*/ 492639 w 492639"/>
              <a:gd name="connsiteY1" fmla="*/ 106317 h 541563"/>
              <a:gd name="connsiteX2" fmla="*/ 475043 w 492639"/>
              <a:gd name="connsiteY2" fmla="*/ 372055 h 541563"/>
              <a:gd name="connsiteX3" fmla="*/ 246256 w 492639"/>
              <a:gd name="connsiteY3" fmla="*/ 541563 h 541563"/>
              <a:gd name="connsiteX4" fmla="*/ 18434 w 492639"/>
              <a:gd name="connsiteY4" fmla="*/ 372375 h 541563"/>
              <a:gd name="connsiteX5" fmla="*/ 0 w 492639"/>
              <a:gd name="connsiteY5" fmla="*/ 114300 h 541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2639" h="541563">
                <a:moveTo>
                  <a:pt x="247650" y="0"/>
                </a:moveTo>
                <a:lnTo>
                  <a:pt x="492639" y="106317"/>
                </a:lnTo>
                <a:lnTo>
                  <a:pt x="475043" y="372055"/>
                </a:lnTo>
                <a:lnTo>
                  <a:pt x="246256" y="541563"/>
                </a:lnTo>
                <a:lnTo>
                  <a:pt x="18434" y="372375"/>
                </a:lnTo>
                <a:lnTo>
                  <a:pt x="0" y="114300"/>
                </a:lnTo>
                <a:close/>
              </a:path>
            </a:pathLst>
          </a:custGeom>
        </p:spPr>
      </p:pic>
      <p:grpSp>
        <p:nvGrpSpPr>
          <p:cNvPr id="119" name="Gruppieren 118">
            <a:extLst>
              <a:ext uri="{FF2B5EF4-FFF2-40B4-BE49-F238E27FC236}">
                <a16:creationId xmlns:a16="http://schemas.microsoft.com/office/drawing/2014/main" id="{8FF5F333-18D5-E078-84AC-AB5D5D7B8F0D}"/>
              </a:ext>
            </a:extLst>
          </p:cNvPr>
          <p:cNvGrpSpPr>
            <a:grpSpLocks/>
          </p:cNvGrpSpPr>
          <p:nvPr/>
        </p:nvGrpSpPr>
        <p:grpSpPr>
          <a:xfrm>
            <a:off x="3385349" y="3004662"/>
            <a:ext cx="289830" cy="217636"/>
            <a:chOff x="4311336" y="2097052"/>
            <a:chExt cx="433388" cy="325437"/>
          </a:xfrm>
          <a:solidFill>
            <a:schemeClr val="tx2"/>
          </a:solidFill>
        </p:grpSpPr>
        <p:sp>
          <p:nvSpPr>
            <p:cNvPr id="120" name="Freeform 131">
              <a:extLst>
                <a:ext uri="{FF2B5EF4-FFF2-40B4-BE49-F238E27FC236}">
                  <a16:creationId xmlns:a16="http://schemas.microsoft.com/office/drawing/2014/main" id="{AA2647A7-4D07-DAF5-5F6F-3874A15E4C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11336" y="2097052"/>
              <a:ext cx="433388" cy="325437"/>
            </a:xfrm>
            <a:custGeom>
              <a:avLst/>
              <a:gdLst>
                <a:gd name="T0" fmla="*/ 384 w 467"/>
                <a:gd name="T1" fmla="*/ 33 h 350"/>
                <a:gd name="T2" fmla="*/ 84 w 467"/>
                <a:gd name="T3" fmla="*/ 33 h 350"/>
                <a:gd name="T4" fmla="*/ 84 w 467"/>
                <a:gd name="T5" fmla="*/ 217 h 350"/>
                <a:gd name="T6" fmla="*/ 384 w 467"/>
                <a:gd name="T7" fmla="*/ 217 h 350"/>
                <a:gd name="T8" fmla="*/ 384 w 467"/>
                <a:gd name="T9" fmla="*/ 33 h 350"/>
                <a:gd name="T10" fmla="*/ 467 w 467"/>
                <a:gd name="T11" fmla="*/ 317 h 350"/>
                <a:gd name="T12" fmla="*/ 467 w 467"/>
                <a:gd name="T13" fmla="*/ 283 h 350"/>
                <a:gd name="T14" fmla="*/ 0 w 467"/>
                <a:gd name="T15" fmla="*/ 283 h 350"/>
                <a:gd name="T16" fmla="*/ 0 w 467"/>
                <a:gd name="T17" fmla="*/ 317 h 350"/>
                <a:gd name="T18" fmla="*/ 34 w 467"/>
                <a:gd name="T19" fmla="*/ 350 h 350"/>
                <a:gd name="T20" fmla="*/ 434 w 467"/>
                <a:gd name="T21" fmla="*/ 350 h 350"/>
                <a:gd name="T22" fmla="*/ 467 w 467"/>
                <a:gd name="T23" fmla="*/ 317 h 350"/>
                <a:gd name="T24" fmla="*/ 417 w 467"/>
                <a:gd name="T25" fmla="*/ 250 h 350"/>
                <a:gd name="T26" fmla="*/ 50 w 467"/>
                <a:gd name="T27" fmla="*/ 250 h 350"/>
                <a:gd name="T28" fmla="*/ 50 w 467"/>
                <a:gd name="T29" fmla="*/ 33 h 350"/>
                <a:gd name="T30" fmla="*/ 84 w 467"/>
                <a:gd name="T31" fmla="*/ 0 h 350"/>
                <a:gd name="T32" fmla="*/ 384 w 467"/>
                <a:gd name="T33" fmla="*/ 0 h 350"/>
                <a:gd name="T34" fmla="*/ 417 w 467"/>
                <a:gd name="T35" fmla="*/ 33 h 350"/>
                <a:gd name="T36" fmla="*/ 417 w 467"/>
                <a:gd name="T37" fmla="*/ 25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7" h="350">
                  <a:moveTo>
                    <a:pt x="384" y="33"/>
                  </a:moveTo>
                  <a:lnTo>
                    <a:pt x="84" y="33"/>
                  </a:lnTo>
                  <a:lnTo>
                    <a:pt x="84" y="217"/>
                  </a:lnTo>
                  <a:lnTo>
                    <a:pt x="384" y="217"/>
                  </a:lnTo>
                  <a:lnTo>
                    <a:pt x="384" y="33"/>
                  </a:lnTo>
                  <a:close/>
                  <a:moveTo>
                    <a:pt x="467" y="317"/>
                  </a:moveTo>
                  <a:lnTo>
                    <a:pt x="467" y="283"/>
                  </a:lnTo>
                  <a:lnTo>
                    <a:pt x="0" y="283"/>
                  </a:lnTo>
                  <a:lnTo>
                    <a:pt x="0" y="317"/>
                  </a:lnTo>
                  <a:cubicBezTo>
                    <a:pt x="0" y="335"/>
                    <a:pt x="15" y="350"/>
                    <a:pt x="34" y="350"/>
                  </a:cubicBezTo>
                  <a:lnTo>
                    <a:pt x="434" y="350"/>
                  </a:lnTo>
                  <a:cubicBezTo>
                    <a:pt x="452" y="350"/>
                    <a:pt x="467" y="335"/>
                    <a:pt x="467" y="317"/>
                  </a:cubicBezTo>
                  <a:close/>
                  <a:moveTo>
                    <a:pt x="417" y="250"/>
                  </a:moveTo>
                  <a:lnTo>
                    <a:pt x="50" y="250"/>
                  </a:lnTo>
                  <a:lnTo>
                    <a:pt x="50" y="33"/>
                  </a:lnTo>
                  <a:cubicBezTo>
                    <a:pt x="50" y="15"/>
                    <a:pt x="65" y="0"/>
                    <a:pt x="84" y="0"/>
                  </a:cubicBezTo>
                  <a:lnTo>
                    <a:pt x="384" y="0"/>
                  </a:lnTo>
                  <a:cubicBezTo>
                    <a:pt x="402" y="0"/>
                    <a:pt x="417" y="15"/>
                    <a:pt x="417" y="33"/>
                  </a:cubicBezTo>
                  <a:lnTo>
                    <a:pt x="417" y="2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3">
              <a:extLst>
                <a:ext uri="{FF2B5EF4-FFF2-40B4-BE49-F238E27FC236}">
                  <a16:creationId xmlns:a16="http://schemas.microsoft.com/office/drawing/2014/main" id="{DE4DC3EC-7A8F-9EF5-1B1E-9056ECD46D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5935" y="2152641"/>
              <a:ext cx="144190" cy="110361"/>
            </a:xfrm>
            <a:custGeom>
              <a:avLst/>
              <a:gdLst>
                <a:gd name="T0" fmla="*/ 3 w 106"/>
                <a:gd name="T1" fmla="*/ 35 h 81"/>
                <a:gd name="T2" fmla="*/ 14 w 106"/>
                <a:gd name="T3" fmla="*/ 35 h 81"/>
                <a:gd name="T4" fmla="*/ 37 w 106"/>
                <a:gd name="T5" fmla="*/ 58 h 81"/>
                <a:gd name="T6" fmla="*/ 92 w 106"/>
                <a:gd name="T7" fmla="*/ 3 h 81"/>
                <a:gd name="T8" fmla="*/ 103 w 106"/>
                <a:gd name="T9" fmla="*/ 3 h 81"/>
                <a:gd name="T10" fmla="*/ 103 w 106"/>
                <a:gd name="T11" fmla="*/ 15 h 81"/>
                <a:gd name="T12" fmla="*/ 37 w 106"/>
                <a:gd name="T13" fmla="*/ 81 h 81"/>
                <a:gd name="T14" fmla="*/ 3 w 106"/>
                <a:gd name="T15" fmla="*/ 47 h 81"/>
                <a:gd name="T16" fmla="*/ 3 w 106"/>
                <a:gd name="T17" fmla="*/ 3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6" h="81">
                  <a:moveTo>
                    <a:pt x="3" y="35"/>
                  </a:moveTo>
                  <a:cubicBezTo>
                    <a:pt x="6" y="32"/>
                    <a:pt x="11" y="32"/>
                    <a:pt x="14" y="35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5" y="0"/>
                    <a:pt x="100" y="0"/>
                    <a:pt x="103" y="3"/>
                  </a:cubicBezTo>
                  <a:cubicBezTo>
                    <a:pt x="106" y="6"/>
                    <a:pt x="106" y="12"/>
                    <a:pt x="103" y="15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0" y="44"/>
                    <a:pt x="0" y="38"/>
                    <a:pt x="3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2" name="Gruppieren 121">
            <a:extLst>
              <a:ext uri="{FF2B5EF4-FFF2-40B4-BE49-F238E27FC236}">
                <a16:creationId xmlns:a16="http://schemas.microsoft.com/office/drawing/2014/main" id="{BAA8D766-F895-1928-C078-9DB763634713}"/>
              </a:ext>
            </a:extLst>
          </p:cNvPr>
          <p:cNvGrpSpPr>
            <a:grpSpLocks/>
          </p:cNvGrpSpPr>
          <p:nvPr/>
        </p:nvGrpSpPr>
        <p:grpSpPr>
          <a:xfrm>
            <a:off x="3391496" y="2371274"/>
            <a:ext cx="277536" cy="266772"/>
            <a:chOff x="4594010" y="2281236"/>
            <a:chExt cx="326145" cy="313497"/>
          </a:xfrm>
          <a:solidFill>
            <a:schemeClr val="tx2"/>
          </a:solidFill>
        </p:grpSpPr>
        <p:sp>
          <p:nvSpPr>
            <p:cNvPr id="123" name="Freeform 29">
              <a:extLst>
                <a:ext uri="{FF2B5EF4-FFF2-40B4-BE49-F238E27FC236}">
                  <a16:creationId xmlns:a16="http://schemas.microsoft.com/office/drawing/2014/main" id="{59C39BA9-CC35-5A14-B47D-7202A174F5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94010" y="2364581"/>
              <a:ext cx="215433" cy="230152"/>
            </a:xfrm>
            <a:custGeom>
              <a:avLst/>
              <a:gdLst>
                <a:gd name="T0" fmla="*/ 183 w 333"/>
                <a:gd name="T1" fmla="*/ 334 h 367"/>
                <a:gd name="T2" fmla="*/ 333 w 333"/>
                <a:gd name="T3" fmla="*/ 334 h 367"/>
                <a:gd name="T4" fmla="*/ 333 w 333"/>
                <a:gd name="T5" fmla="*/ 367 h 367"/>
                <a:gd name="T6" fmla="*/ 0 w 333"/>
                <a:gd name="T7" fmla="*/ 367 h 367"/>
                <a:gd name="T8" fmla="*/ 0 w 333"/>
                <a:gd name="T9" fmla="*/ 334 h 367"/>
                <a:gd name="T10" fmla="*/ 150 w 333"/>
                <a:gd name="T11" fmla="*/ 334 h 367"/>
                <a:gd name="T12" fmla="*/ 150 w 333"/>
                <a:gd name="T13" fmla="*/ 300 h 367"/>
                <a:gd name="T14" fmla="*/ 183 w 333"/>
                <a:gd name="T15" fmla="*/ 300 h 367"/>
                <a:gd name="T16" fmla="*/ 183 w 333"/>
                <a:gd name="T17" fmla="*/ 334 h 367"/>
                <a:gd name="T18" fmla="*/ 17 w 333"/>
                <a:gd name="T19" fmla="*/ 217 h 367"/>
                <a:gd name="T20" fmla="*/ 67 w 333"/>
                <a:gd name="T21" fmla="*/ 217 h 367"/>
                <a:gd name="T22" fmla="*/ 67 w 333"/>
                <a:gd name="T23" fmla="*/ 250 h 367"/>
                <a:gd name="T24" fmla="*/ 17 w 333"/>
                <a:gd name="T25" fmla="*/ 250 h 367"/>
                <a:gd name="T26" fmla="*/ 17 w 333"/>
                <a:gd name="T27" fmla="*/ 217 h 367"/>
                <a:gd name="T28" fmla="*/ 0 w 333"/>
                <a:gd name="T29" fmla="*/ 267 h 367"/>
                <a:gd name="T30" fmla="*/ 333 w 333"/>
                <a:gd name="T31" fmla="*/ 267 h 367"/>
                <a:gd name="T32" fmla="*/ 333 w 333"/>
                <a:gd name="T33" fmla="*/ 200 h 367"/>
                <a:gd name="T34" fmla="*/ 0 w 333"/>
                <a:gd name="T35" fmla="*/ 200 h 367"/>
                <a:gd name="T36" fmla="*/ 0 w 333"/>
                <a:gd name="T37" fmla="*/ 267 h 367"/>
                <a:gd name="T38" fmla="*/ 17 w 333"/>
                <a:gd name="T39" fmla="*/ 117 h 367"/>
                <a:gd name="T40" fmla="*/ 67 w 333"/>
                <a:gd name="T41" fmla="*/ 117 h 367"/>
                <a:gd name="T42" fmla="*/ 67 w 333"/>
                <a:gd name="T43" fmla="*/ 150 h 367"/>
                <a:gd name="T44" fmla="*/ 17 w 333"/>
                <a:gd name="T45" fmla="*/ 150 h 367"/>
                <a:gd name="T46" fmla="*/ 17 w 333"/>
                <a:gd name="T47" fmla="*/ 117 h 367"/>
                <a:gd name="T48" fmla="*/ 0 w 333"/>
                <a:gd name="T49" fmla="*/ 167 h 367"/>
                <a:gd name="T50" fmla="*/ 333 w 333"/>
                <a:gd name="T51" fmla="*/ 167 h 367"/>
                <a:gd name="T52" fmla="*/ 333 w 333"/>
                <a:gd name="T53" fmla="*/ 100 h 367"/>
                <a:gd name="T54" fmla="*/ 0 w 333"/>
                <a:gd name="T55" fmla="*/ 100 h 367"/>
                <a:gd name="T56" fmla="*/ 0 w 333"/>
                <a:gd name="T57" fmla="*/ 167 h 367"/>
                <a:gd name="T58" fmla="*/ 67 w 333"/>
                <a:gd name="T59" fmla="*/ 50 h 367"/>
                <a:gd name="T60" fmla="*/ 17 w 333"/>
                <a:gd name="T61" fmla="*/ 50 h 367"/>
                <a:gd name="T62" fmla="*/ 17 w 333"/>
                <a:gd name="T63" fmla="*/ 17 h 367"/>
                <a:gd name="T64" fmla="*/ 67 w 333"/>
                <a:gd name="T65" fmla="*/ 17 h 367"/>
                <a:gd name="T66" fmla="*/ 67 w 333"/>
                <a:gd name="T67" fmla="*/ 50 h 367"/>
                <a:gd name="T68" fmla="*/ 0 w 333"/>
                <a:gd name="T69" fmla="*/ 67 h 367"/>
                <a:gd name="T70" fmla="*/ 333 w 333"/>
                <a:gd name="T71" fmla="*/ 67 h 367"/>
                <a:gd name="T72" fmla="*/ 333 w 333"/>
                <a:gd name="T73" fmla="*/ 0 h 367"/>
                <a:gd name="T74" fmla="*/ 0 w 333"/>
                <a:gd name="T75" fmla="*/ 0 h 367"/>
                <a:gd name="T76" fmla="*/ 0 w 333"/>
                <a:gd name="T77" fmla="*/ 67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33" h="367">
                  <a:moveTo>
                    <a:pt x="183" y="334"/>
                  </a:moveTo>
                  <a:lnTo>
                    <a:pt x="333" y="334"/>
                  </a:lnTo>
                  <a:lnTo>
                    <a:pt x="333" y="367"/>
                  </a:lnTo>
                  <a:lnTo>
                    <a:pt x="0" y="367"/>
                  </a:lnTo>
                  <a:lnTo>
                    <a:pt x="0" y="334"/>
                  </a:lnTo>
                  <a:lnTo>
                    <a:pt x="150" y="334"/>
                  </a:lnTo>
                  <a:lnTo>
                    <a:pt x="150" y="300"/>
                  </a:lnTo>
                  <a:lnTo>
                    <a:pt x="183" y="300"/>
                  </a:lnTo>
                  <a:lnTo>
                    <a:pt x="183" y="334"/>
                  </a:lnTo>
                  <a:close/>
                  <a:moveTo>
                    <a:pt x="17" y="217"/>
                  </a:moveTo>
                  <a:lnTo>
                    <a:pt x="67" y="217"/>
                  </a:lnTo>
                  <a:lnTo>
                    <a:pt x="67" y="250"/>
                  </a:lnTo>
                  <a:lnTo>
                    <a:pt x="17" y="250"/>
                  </a:lnTo>
                  <a:lnTo>
                    <a:pt x="17" y="217"/>
                  </a:lnTo>
                  <a:close/>
                  <a:moveTo>
                    <a:pt x="0" y="267"/>
                  </a:moveTo>
                  <a:lnTo>
                    <a:pt x="333" y="267"/>
                  </a:lnTo>
                  <a:lnTo>
                    <a:pt x="333" y="200"/>
                  </a:lnTo>
                  <a:lnTo>
                    <a:pt x="0" y="200"/>
                  </a:lnTo>
                  <a:lnTo>
                    <a:pt x="0" y="267"/>
                  </a:lnTo>
                  <a:close/>
                  <a:moveTo>
                    <a:pt x="17" y="117"/>
                  </a:moveTo>
                  <a:lnTo>
                    <a:pt x="67" y="117"/>
                  </a:lnTo>
                  <a:lnTo>
                    <a:pt x="67" y="150"/>
                  </a:lnTo>
                  <a:lnTo>
                    <a:pt x="17" y="150"/>
                  </a:lnTo>
                  <a:lnTo>
                    <a:pt x="17" y="117"/>
                  </a:lnTo>
                  <a:close/>
                  <a:moveTo>
                    <a:pt x="0" y="167"/>
                  </a:moveTo>
                  <a:lnTo>
                    <a:pt x="333" y="167"/>
                  </a:lnTo>
                  <a:lnTo>
                    <a:pt x="333" y="100"/>
                  </a:lnTo>
                  <a:lnTo>
                    <a:pt x="0" y="100"/>
                  </a:lnTo>
                  <a:lnTo>
                    <a:pt x="0" y="167"/>
                  </a:lnTo>
                  <a:close/>
                  <a:moveTo>
                    <a:pt x="67" y="50"/>
                  </a:moveTo>
                  <a:lnTo>
                    <a:pt x="17" y="50"/>
                  </a:lnTo>
                  <a:lnTo>
                    <a:pt x="17" y="17"/>
                  </a:lnTo>
                  <a:lnTo>
                    <a:pt x="67" y="17"/>
                  </a:lnTo>
                  <a:lnTo>
                    <a:pt x="67" y="50"/>
                  </a:lnTo>
                  <a:close/>
                  <a:moveTo>
                    <a:pt x="0" y="67"/>
                  </a:moveTo>
                  <a:lnTo>
                    <a:pt x="333" y="67"/>
                  </a:lnTo>
                  <a:lnTo>
                    <a:pt x="333" y="0"/>
                  </a:lnTo>
                  <a:lnTo>
                    <a:pt x="0" y="0"/>
                  </a:lnTo>
                  <a:lnTo>
                    <a:pt x="0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41">
              <a:extLst>
                <a:ext uri="{FF2B5EF4-FFF2-40B4-BE49-F238E27FC236}">
                  <a16:creationId xmlns:a16="http://schemas.microsoft.com/office/drawing/2014/main" id="{37F94AAA-5C2D-2A16-5C12-5722E7B7CB1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4790683" y="2281236"/>
              <a:ext cx="129472" cy="150777"/>
            </a:xfrm>
            <a:custGeom>
              <a:avLst/>
              <a:gdLst>
                <a:gd name="T0" fmla="*/ 96 w 96"/>
                <a:gd name="T1" fmla="*/ 64 h 112"/>
                <a:gd name="T2" fmla="*/ 48 w 96"/>
                <a:gd name="T3" fmla="*/ 112 h 112"/>
                <a:gd name="T4" fmla="*/ 0 w 96"/>
                <a:gd name="T5" fmla="*/ 64 h 112"/>
                <a:gd name="T6" fmla="*/ 44 w 96"/>
                <a:gd name="T7" fmla="*/ 16 h 112"/>
                <a:gd name="T8" fmla="*/ 44 w 96"/>
                <a:gd name="T9" fmla="*/ 6 h 112"/>
                <a:gd name="T10" fmla="*/ 51 w 96"/>
                <a:gd name="T11" fmla="*/ 3 h 112"/>
                <a:gd name="T12" fmla="*/ 72 w 96"/>
                <a:gd name="T13" fmla="*/ 24 h 112"/>
                <a:gd name="T14" fmla="*/ 51 w 96"/>
                <a:gd name="T15" fmla="*/ 45 h 112"/>
                <a:gd name="T16" fmla="*/ 44 w 96"/>
                <a:gd name="T17" fmla="*/ 42 h 112"/>
                <a:gd name="T18" fmla="*/ 44 w 96"/>
                <a:gd name="T19" fmla="*/ 31 h 112"/>
                <a:gd name="T20" fmla="*/ 15 w 96"/>
                <a:gd name="T21" fmla="*/ 64 h 112"/>
                <a:gd name="T22" fmla="*/ 48 w 96"/>
                <a:gd name="T23" fmla="*/ 97 h 112"/>
                <a:gd name="T24" fmla="*/ 81 w 96"/>
                <a:gd name="T25" fmla="*/ 64 h 112"/>
                <a:gd name="T26" fmla="*/ 96 w 96"/>
                <a:gd name="T27" fmla="*/ 6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112">
                  <a:moveTo>
                    <a:pt x="96" y="64"/>
                  </a:moveTo>
                  <a:cubicBezTo>
                    <a:pt x="96" y="91"/>
                    <a:pt x="75" y="112"/>
                    <a:pt x="48" y="112"/>
                  </a:cubicBezTo>
                  <a:cubicBezTo>
                    <a:pt x="21" y="112"/>
                    <a:pt x="0" y="91"/>
                    <a:pt x="0" y="64"/>
                  </a:cubicBezTo>
                  <a:cubicBezTo>
                    <a:pt x="0" y="39"/>
                    <a:pt x="19" y="18"/>
                    <a:pt x="44" y="16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4" y="2"/>
                    <a:pt x="48" y="0"/>
                    <a:pt x="51" y="3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48" y="48"/>
                    <a:pt x="44" y="46"/>
                    <a:pt x="44" y="42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28" y="33"/>
                    <a:pt x="15" y="47"/>
                    <a:pt x="15" y="64"/>
                  </a:cubicBezTo>
                  <a:cubicBezTo>
                    <a:pt x="15" y="82"/>
                    <a:pt x="30" y="97"/>
                    <a:pt x="48" y="97"/>
                  </a:cubicBezTo>
                  <a:cubicBezTo>
                    <a:pt x="66" y="97"/>
                    <a:pt x="81" y="82"/>
                    <a:pt x="81" y="64"/>
                  </a:cubicBezTo>
                  <a:lnTo>
                    <a:pt x="96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8" name="Gruppieren 127">
            <a:extLst>
              <a:ext uri="{FF2B5EF4-FFF2-40B4-BE49-F238E27FC236}">
                <a16:creationId xmlns:a16="http://schemas.microsoft.com/office/drawing/2014/main" id="{C24E6DC5-1416-5D16-5A7F-60C307E4CCAF}"/>
              </a:ext>
            </a:extLst>
          </p:cNvPr>
          <p:cNvGrpSpPr>
            <a:grpSpLocks/>
          </p:cNvGrpSpPr>
          <p:nvPr/>
        </p:nvGrpSpPr>
        <p:grpSpPr>
          <a:xfrm>
            <a:off x="4100915" y="3004662"/>
            <a:ext cx="289830" cy="217636"/>
            <a:chOff x="4311336" y="2097052"/>
            <a:chExt cx="433388" cy="325437"/>
          </a:xfrm>
          <a:solidFill>
            <a:schemeClr val="tx2"/>
          </a:solidFill>
        </p:grpSpPr>
        <p:sp>
          <p:nvSpPr>
            <p:cNvPr id="129" name="Freeform 131">
              <a:extLst>
                <a:ext uri="{FF2B5EF4-FFF2-40B4-BE49-F238E27FC236}">
                  <a16:creationId xmlns:a16="http://schemas.microsoft.com/office/drawing/2014/main" id="{E4ECCA07-FDFA-F233-6B01-5AABE3C0CA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11336" y="2097052"/>
              <a:ext cx="433388" cy="325437"/>
            </a:xfrm>
            <a:custGeom>
              <a:avLst/>
              <a:gdLst>
                <a:gd name="T0" fmla="*/ 384 w 467"/>
                <a:gd name="T1" fmla="*/ 33 h 350"/>
                <a:gd name="T2" fmla="*/ 84 w 467"/>
                <a:gd name="T3" fmla="*/ 33 h 350"/>
                <a:gd name="T4" fmla="*/ 84 w 467"/>
                <a:gd name="T5" fmla="*/ 217 h 350"/>
                <a:gd name="T6" fmla="*/ 384 w 467"/>
                <a:gd name="T7" fmla="*/ 217 h 350"/>
                <a:gd name="T8" fmla="*/ 384 w 467"/>
                <a:gd name="T9" fmla="*/ 33 h 350"/>
                <a:gd name="T10" fmla="*/ 467 w 467"/>
                <a:gd name="T11" fmla="*/ 317 h 350"/>
                <a:gd name="T12" fmla="*/ 467 w 467"/>
                <a:gd name="T13" fmla="*/ 283 h 350"/>
                <a:gd name="T14" fmla="*/ 0 w 467"/>
                <a:gd name="T15" fmla="*/ 283 h 350"/>
                <a:gd name="T16" fmla="*/ 0 w 467"/>
                <a:gd name="T17" fmla="*/ 317 h 350"/>
                <a:gd name="T18" fmla="*/ 34 w 467"/>
                <a:gd name="T19" fmla="*/ 350 h 350"/>
                <a:gd name="T20" fmla="*/ 434 w 467"/>
                <a:gd name="T21" fmla="*/ 350 h 350"/>
                <a:gd name="T22" fmla="*/ 467 w 467"/>
                <a:gd name="T23" fmla="*/ 317 h 350"/>
                <a:gd name="T24" fmla="*/ 417 w 467"/>
                <a:gd name="T25" fmla="*/ 250 h 350"/>
                <a:gd name="T26" fmla="*/ 50 w 467"/>
                <a:gd name="T27" fmla="*/ 250 h 350"/>
                <a:gd name="T28" fmla="*/ 50 w 467"/>
                <a:gd name="T29" fmla="*/ 33 h 350"/>
                <a:gd name="T30" fmla="*/ 84 w 467"/>
                <a:gd name="T31" fmla="*/ 0 h 350"/>
                <a:gd name="T32" fmla="*/ 384 w 467"/>
                <a:gd name="T33" fmla="*/ 0 h 350"/>
                <a:gd name="T34" fmla="*/ 417 w 467"/>
                <a:gd name="T35" fmla="*/ 33 h 350"/>
                <a:gd name="T36" fmla="*/ 417 w 467"/>
                <a:gd name="T37" fmla="*/ 25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7" h="350">
                  <a:moveTo>
                    <a:pt x="384" y="33"/>
                  </a:moveTo>
                  <a:lnTo>
                    <a:pt x="84" y="33"/>
                  </a:lnTo>
                  <a:lnTo>
                    <a:pt x="84" y="217"/>
                  </a:lnTo>
                  <a:lnTo>
                    <a:pt x="384" y="217"/>
                  </a:lnTo>
                  <a:lnTo>
                    <a:pt x="384" y="33"/>
                  </a:lnTo>
                  <a:close/>
                  <a:moveTo>
                    <a:pt x="467" y="317"/>
                  </a:moveTo>
                  <a:lnTo>
                    <a:pt x="467" y="283"/>
                  </a:lnTo>
                  <a:lnTo>
                    <a:pt x="0" y="283"/>
                  </a:lnTo>
                  <a:lnTo>
                    <a:pt x="0" y="317"/>
                  </a:lnTo>
                  <a:cubicBezTo>
                    <a:pt x="0" y="335"/>
                    <a:pt x="15" y="350"/>
                    <a:pt x="34" y="350"/>
                  </a:cubicBezTo>
                  <a:lnTo>
                    <a:pt x="434" y="350"/>
                  </a:lnTo>
                  <a:cubicBezTo>
                    <a:pt x="452" y="350"/>
                    <a:pt x="467" y="335"/>
                    <a:pt x="467" y="317"/>
                  </a:cubicBezTo>
                  <a:close/>
                  <a:moveTo>
                    <a:pt x="417" y="250"/>
                  </a:moveTo>
                  <a:lnTo>
                    <a:pt x="50" y="250"/>
                  </a:lnTo>
                  <a:lnTo>
                    <a:pt x="50" y="33"/>
                  </a:lnTo>
                  <a:cubicBezTo>
                    <a:pt x="50" y="15"/>
                    <a:pt x="65" y="0"/>
                    <a:pt x="84" y="0"/>
                  </a:cubicBezTo>
                  <a:lnTo>
                    <a:pt x="384" y="0"/>
                  </a:lnTo>
                  <a:cubicBezTo>
                    <a:pt x="402" y="0"/>
                    <a:pt x="417" y="15"/>
                    <a:pt x="417" y="33"/>
                  </a:cubicBezTo>
                  <a:lnTo>
                    <a:pt x="417" y="2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3">
              <a:extLst>
                <a:ext uri="{FF2B5EF4-FFF2-40B4-BE49-F238E27FC236}">
                  <a16:creationId xmlns:a16="http://schemas.microsoft.com/office/drawing/2014/main" id="{0EE01C71-2A04-B68A-2386-0574BD60C6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5935" y="2152641"/>
              <a:ext cx="144190" cy="110361"/>
            </a:xfrm>
            <a:custGeom>
              <a:avLst/>
              <a:gdLst>
                <a:gd name="T0" fmla="*/ 3 w 106"/>
                <a:gd name="T1" fmla="*/ 35 h 81"/>
                <a:gd name="T2" fmla="*/ 14 w 106"/>
                <a:gd name="T3" fmla="*/ 35 h 81"/>
                <a:gd name="T4" fmla="*/ 37 w 106"/>
                <a:gd name="T5" fmla="*/ 58 h 81"/>
                <a:gd name="T6" fmla="*/ 92 w 106"/>
                <a:gd name="T7" fmla="*/ 3 h 81"/>
                <a:gd name="T8" fmla="*/ 103 w 106"/>
                <a:gd name="T9" fmla="*/ 3 h 81"/>
                <a:gd name="T10" fmla="*/ 103 w 106"/>
                <a:gd name="T11" fmla="*/ 15 h 81"/>
                <a:gd name="T12" fmla="*/ 37 w 106"/>
                <a:gd name="T13" fmla="*/ 81 h 81"/>
                <a:gd name="T14" fmla="*/ 3 w 106"/>
                <a:gd name="T15" fmla="*/ 47 h 81"/>
                <a:gd name="T16" fmla="*/ 3 w 106"/>
                <a:gd name="T17" fmla="*/ 3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6" h="81">
                  <a:moveTo>
                    <a:pt x="3" y="35"/>
                  </a:moveTo>
                  <a:cubicBezTo>
                    <a:pt x="6" y="32"/>
                    <a:pt x="11" y="32"/>
                    <a:pt x="14" y="35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5" y="0"/>
                    <a:pt x="100" y="0"/>
                    <a:pt x="103" y="3"/>
                  </a:cubicBezTo>
                  <a:cubicBezTo>
                    <a:pt x="106" y="6"/>
                    <a:pt x="106" y="12"/>
                    <a:pt x="103" y="15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0" y="44"/>
                    <a:pt x="0" y="38"/>
                    <a:pt x="3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1" name="Gruppieren 130">
            <a:extLst>
              <a:ext uri="{FF2B5EF4-FFF2-40B4-BE49-F238E27FC236}">
                <a16:creationId xmlns:a16="http://schemas.microsoft.com/office/drawing/2014/main" id="{DE628E62-2A7D-19F4-C554-5F5CEFE5C31D}"/>
              </a:ext>
            </a:extLst>
          </p:cNvPr>
          <p:cNvGrpSpPr>
            <a:grpSpLocks/>
          </p:cNvGrpSpPr>
          <p:nvPr/>
        </p:nvGrpSpPr>
        <p:grpSpPr>
          <a:xfrm>
            <a:off x="4816481" y="3004662"/>
            <a:ext cx="289830" cy="217636"/>
            <a:chOff x="5824543" y="3045619"/>
            <a:chExt cx="289830" cy="217636"/>
          </a:xfrm>
          <a:solidFill>
            <a:schemeClr val="tx2"/>
          </a:solidFill>
        </p:grpSpPr>
        <p:sp>
          <p:nvSpPr>
            <p:cNvPr id="132" name="Freeform 125">
              <a:extLst>
                <a:ext uri="{FF2B5EF4-FFF2-40B4-BE49-F238E27FC236}">
                  <a16:creationId xmlns:a16="http://schemas.microsoft.com/office/drawing/2014/main" id="{E14A8B13-1205-7CD2-E7E4-F2146CAFF2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9116" y="3087862"/>
              <a:ext cx="100684" cy="70040"/>
            </a:xfrm>
            <a:custGeom>
              <a:avLst/>
              <a:gdLst>
                <a:gd name="T0" fmla="*/ 110 w 112"/>
                <a:gd name="T1" fmla="*/ 12 h 78"/>
                <a:gd name="T2" fmla="*/ 100 w 112"/>
                <a:gd name="T3" fmla="*/ 2 h 78"/>
                <a:gd name="T4" fmla="*/ 56 w 112"/>
                <a:gd name="T5" fmla="*/ 0 h 78"/>
                <a:gd name="T6" fmla="*/ 12 w 112"/>
                <a:gd name="T7" fmla="*/ 2 h 78"/>
                <a:gd name="T8" fmla="*/ 2 w 112"/>
                <a:gd name="T9" fmla="*/ 12 h 78"/>
                <a:gd name="T10" fmla="*/ 0 w 112"/>
                <a:gd name="T11" fmla="*/ 39 h 78"/>
                <a:gd name="T12" fmla="*/ 2 w 112"/>
                <a:gd name="T13" fmla="*/ 66 h 78"/>
                <a:gd name="T14" fmla="*/ 12 w 112"/>
                <a:gd name="T15" fmla="*/ 76 h 78"/>
                <a:gd name="T16" fmla="*/ 56 w 112"/>
                <a:gd name="T17" fmla="*/ 78 h 78"/>
                <a:gd name="T18" fmla="*/ 100 w 112"/>
                <a:gd name="T19" fmla="*/ 76 h 78"/>
                <a:gd name="T20" fmla="*/ 110 w 112"/>
                <a:gd name="T21" fmla="*/ 66 h 78"/>
                <a:gd name="T22" fmla="*/ 112 w 112"/>
                <a:gd name="T23" fmla="*/ 39 h 78"/>
                <a:gd name="T24" fmla="*/ 110 w 112"/>
                <a:gd name="T25" fmla="*/ 12 h 78"/>
                <a:gd name="T26" fmla="*/ 45 w 112"/>
                <a:gd name="T27" fmla="*/ 56 h 78"/>
                <a:gd name="T28" fmla="*/ 45 w 112"/>
                <a:gd name="T29" fmla="*/ 22 h 78"/>
                <a:gd name="T30" fmla="*/ 74 w 112"/>
                <a:gd name="T31" fmla="*/ 39 h 78"/>
                <a:gd name="T32" fmla="*/ 45 w 112"/>
                <a:gd name="T33" fmla="*/ 5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" h="78">
                  <a:moveTo>
                    <a:pt x="110" y="12"/>
                  </a:moveTo>
                  <a:cubicBezTo>
                    <a:pt x="108" y="7"/>
                    <a:pt x="105" y="3"/>
                    <a:pt x="100" y="2"/>
                  </a:cubicBezTo>
                  <a:cubicBezTo>
                    <a:pt x="91" y="0"/>
                    <a:pt x="56" y="0"/>
                    <a:pt x="56" y="0"/>
                  </a:cubicBezTo>
                  <a:cubicBezTo>
                    <a:pt x="56" y="0"/>
                    <a:pt x="21" y="0"/>
                    <a:pt x="12" y="2"/>
                  </a:cubicBezTo>
                  <a:cubicBezTo>
                    <a:pt x="7" y="3"/>
                    <a:pt x="4" y="7"/>
                    <a:pt x="2" y="12"/>
                  </a:cubicBezTo>
                  <a:cubicBezTo>
                    <a:pt x="0" y="21"/>
                    <a:pt x="0" y="39"/>
                    <a:pt x="0" y="39"/>
                  </a:cubicBezTo>
                  <a:cubicBezTo>
                    <a:pt x="0" y="39"/>
                    <a:pt x="0" y="57"/>
                    <a:pt x="2" y="66"/>
                  </a:cubicBezTo>
                  <a:cubicBezTo>
                    <a:pt x="4" y="71"/>
                    <a:pt x="7" y="75"/>
                    <a:pt x="12" y="76"/>
                  </a:cubicBezTo>
                  <a:cubicBezTo>
                    <a:pt x="21" y="78"/>
                    <a:pt x="56" y="78"/>
                    <a:pt x="56" y="78"/>
                  </a:cubicBezTo>
                  <a:cubicBezTo>
                    <a:pt x="56" y="78"/>
                    <a:pt x="91" y="78"/>
                    <a:pt x="100" y="76"/>
                  </a:cubicBezTo>
                  <a:cubicBezTo>
                    <a:pt x="105" y="75"/>
                    <a:pt x="108" y="71"/>
                    <a:pt x="110" y="66"/>
                  </a:cubicBezTo>
                  <a:cubicBezTo>
                    <a:pt x="112" y="57"/>
                    <a:pt x="112" y="39"/>
                    <a:pt x="112" y="39"/>
                  </a:cubicBezTo>
                  <a:cubicBezTo>
                    <a:pt x="112" y="39"/>
                    <a:pt x="112" y="21"/>
                    <a:pt x="110" y="12"/>
                  </a:cubicBezTo>
                  <a:close/>
                  <a:moveTo>
                    <a:pt x="45" y="56"/>
                  </a:moveTo>
                  <a:cubicBezTo>
                    <a:pt x="45" y="22"/>
                    <a:pt x="45" y="22"/>
                    <a:pt x="45" y="22"/>
                  </a:cubicBezTo>
                  <a:cubicBezTo>
                    <a:pt x="74" y="39"/>
                    <a:pt x="74" y="39"/>
                    <a:pt x="74" y="39"/>
                  </a:cubicBezTo>
                  <a:lnTo>
                    <a:pt x="45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31">
              <a:extLst>
                <a:ext uri="{FF2B5EF4-FFF2-40B4-BE49-F238E27FC236}">
                  <a16:creationId xmlns:a16="http://schemas.microsoft.com/office/drawing/2014/main" id="{8780B5F8-6E5A-6A46-B57C-8F53D6ABE5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4543" y="3045619"/>
              <a:ext cx="289830" cy="217636"/>
            </a:xfrm>
            <a:custGeom>
              <a:avLst/>
              <a:gdLst>
                <a:gd name="T0" fmla="*/ 384 w 467"/>
                <a:gd name="T1" fmla="*/ 33 h 350"/>
                <a:gd name="T2" fmla="*/ 84 w 467"/>
                <a:gd name="T3" fmla="*/ 33 h 350"/>
                <a:gd name="T4" fmla="*/ 84 w 467"/>
                <a:gd name="T5" fmla="*/ 217 h 350"/>
                <a:gd name="T6" fmla="*/ 384 w 467"/>
                <a:gd name="T7" fmla="*/ 217 h 350"/>
                <a:gd name="T8" fmla="*/ 384 w 467"/>
                <a:gd name="T9" fmla="*/ 33 h 350"/>
                <a:gd name="T10" fmla="*/ 467 w 467"/>
                <a:gd name="T11" fmla="*/ 317 h 350"/>
                <a:gd name="T12" fmla="*/ 467 w 467"/>
                <a:gd name="T13" fmla="*/ 283 h 350"/>
                <a:gd name="T14" fmla="*/ 0 w 467"/>
                <a:gd name="T15" fmla="*/ 283 h 350"/>
                <a:gd name="T16" fmla="*/ 0 w 467"/>
                <a:gd name="T17" fmla="*/ 317 h 350"/>
                <a:gd name="T18" fmla="*/ 34 w 467"/>
                <a:gd name="T19" fmla="*/ 350 h 350"/>
                <a:gd name="T20" fmla="*/ 434 w 467"/>
                <a:gd name="T21" fmla="*/ 350 h 350"/>
                <a:gd name="T22" fmla="*/ 467 w 467"/>
                <a:gd name="T23" fmla="*/ 317 h 350"/>
                <a:gd name="T24" fmla="*/ 417 w 467"/>
                <a:gd name="T25" fmla="*/ 250 h 350"/>
                <a:gd name="T26" fmla="*/ 50 w 467"/>
                <a:gd name="T27" fmla="*/ 250 h 350"/>
                <a:gd name="T28" fmla="*/ 50 w 467"/>
                <a:gd name="T29" fmla="*/ 33 h 350"/>
                <a:gd name="T30" fmla="*/ 84 w 467"/>
                <a:gd name="T31" fmla="*/ 0 h 350"/>
                <a:gd name="T32" fmla="*/ 384 w 467"/>
                <a:gd name="T33" fmla="*/ 0 h 350"/>
                <a:gd name="T34" fmla="*/ 417 w 467"/>
                <a:gd name="T35" fmla="*/ 33 h 350"/>
                <a:gd name="T36" fmla="*/ 417 w 467"/>
                <a:gd name="T37" fmla="*/ 25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7" h="350">
                  <a:moveTo>
                    <a:pt x="384" y="33"/>
                  </a:moveTo>
                  <a:lnTo>
                    <a:pt x="84" y="33"/>
                  </a:lnTo>
                  <a:lnTo>
                    <a:pt x="84" y="217"/>
                  </a:lnTo>
                  <a:lnTo>
                    <a:pt x="384" y="217"/>
                  </a:lnTo>
                  <a:lnTo>
                    <a:pt x="384" y="33"/>
                  </a:lnTo>
                  <a:close/>
                  <a:moveTo>
                    <a:pt x="467" y="317"/>
                  </a:moveTo>
                  <a:lnTo>
                    <a:pt x="467" y="283"/>
                  </a:lnTo>
                  <a:lnTo>
                    <a:pt x="0" y="283"/>
                  </a:lnTo>
                  <a:lnTo>
                    <a:pt x="0" y="317"/>
                  </a:lnTo>
                  <a:cubicBezTo>
                    <a:pt x="0" y="335"/>
                    <a:pt x="15" y="350"/>
                    <a:pt x="34" y="350"/>
                  </a:cubicBezTo>
                  <a:lnTo>
                    <a:pt x="434" y="350"/>
                  </a:lnTo>
                  <a:cubicBezTo>
                    <a:pt x="452" y="350"/>
                    <a:pt x="467" y="335"/>
                    <a:pt x="467" y="317"/>
                  </a:cubicBezTo>
                  <a:close/>
                  <a:moveTo>
                    <a:pt x="417" y="250"/>
                  </a:moveTo>
                  <a:lnTo>
                    <a:pt x="50" y="250"/>
                  </a:lnTo>
                  <a:lnTo>
                    <a:pt x="50" y="33"/>
                  </a:lnTo>
                  <a:cubicBezTo>
                    <a:pt x="50" y="15"/>
                    <a:pt x="65" y="0"/>
                    <a:pt x="84" y="0"/>
                  </a:cubicBezTo>
                  <a:lnTo>
                    <a:pt x="384" y="0"/>
                  </a:lnTo>
                  <a:cubicBezTo>
                    <a:pt x="402" y="0"/>
                    <a:pt x="417" y="15"/>
                    <a:pt x="417" y="33"/>
                  </a:cubicBezTo>
                  <a:lnTo>
                    <a:pt x="417" y="2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4" name="Gruppieren 133">
            <a:extLst>
              <a:ext uri="{FF2B5EF4-FFF2-40B4-BE49-F238E27FC236}">
                <a16:creationId xmlns:a16="http://schemas.microsoft.com/office/drawing/2014/main" id="{14B42534-5384-3B00-4A63-3D845AD1F1E3}"/>
              </a:ext>
            </a:extLst>
          </p:cNvPr>
          <p:cNvGrpSpPr>
            <a:grpSpLocks/>
          </p:cNvGrpSpPr>
          <p:nvPr/>
        </p:nvGrpSpPr>
        <p:grpSpPr>
          <a:xfrm>
            <a:off x="4870319" y="2403409"/>
            <a:ext cx="182154" cy="230840"/>
            <a:chOff x="5437597" y="2170077"/>
            <a:chExt cx="344488" cy="436562"/>
          </a:xfrm>
          <a:solidFill>
            <a:schemeClr val="tx2"/>
          </a:solidFill>
        </p:grpSpPr>
        <p:sp>
          <p:nvSpPr>
            <p:cNvPr id="135" name="Freeform 107">
              <a:extLst>
                <a:ext uri="{FF2B5EF4-FFF2-40B4-BE49-F238E27FC236}">
                  <a16:creationId xmlns:a16="http://schemas.microsoft.com/office/drawing/2014/main" id="{05A3E0C1-B9F7-4305-D618-D22561FB7A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7597" y="2170077"/>
              <a:ext cx="344488" cy="436562"/>
            </a:xfrm>
            <a:custGeom>
              <a:avLst/>
              <a:gdLst>
                <a:gd name="T0" fmla="*/ 40 w 217"/>
                <a:gd name="T1" fmla="*/ 0 h 275"/>
                <a:gd name="T2" fmla="*/ 40 w 217"/>
                <a:gd name="T3" fmla="*/ 236 h 275"/>
                <a:gd name="T4" fmla="*/ 217 w 217"/>
                <a:gd name="T5" fmla="*/ 236 h 275"/>
                <a:gd name="T6" fmla="*/ 217 w 217"/>
                <a:gd name="T7" fmla="*/ 78 h 275"/>
                <a:gd name="T8" fmla="*/ 138 w 217"/>
                <a:gd name="T9" fmla="*/ 78 h 275"/>
                <a:gd name="T10" fmla="*/ 138 w 217"/>
                <a:gd name="T11" fmla="*/ 0 h 275"/>
                <a:gd name="T12" fmla="*/ 40 w 217"/>
                <a:gd name="T13" fmla="*/ 0 h 275"/>
                <a:gd name="T14" fmla="*/ 217 w 217"/>
                <a:gd name="T15" fmla="*/ 59 h 275"/>
                <a:gd name="T16" fmla="*/ 158 w 217"/>
                <a:gd name="T17" fmla="*/ 0 h 275"/>
                <a:gd name="T18" fmla="*/ 158 w 217"/>
                <a:gd name="T19" fmla="*/ 59 h 275"/>
                <a:gd name="T20" fmla="*/ 217 w 217"/>
                <a:gd name="T21" fmla="*/ 59 h 275"/>
                <a:gd name="T22" fmla="*/ 0 w 217"/>
                <a:gd name="T23" fmla="*/ 39 h 275"/>
                <a:gd name="T24" fmla="*/ 0 w 217"/>
                <a:gd name="T25" fmla="*/ 275 h 275"/>
                <a:gd name="T26" fmla="*/ 178 w 217"/>
                <a:gd name="T27" fmla="*/ 275 h 275"/>
                <a:gd name="T28" fmla="*/ 178 w 217"/>
                <a:gd name="T29" fmla="*/ 255 h 275"/>
                <a:gd name="T30" fmla="*/ 20 w 217"/>
                <a:gd name="T31" fmla="*/ 255 h 275"/>
                <a:gd name="T32" fmla="*/ 20 w 217"/>
                <a:gd name="T33" fmla="*/ 39 h 275"/>
                <a:gd name="T34" fmla="*/ 0 w 217"/>
                <a:gd name="T35" fmla="*/ 3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75">
                  <a:moveTo>
                    <a:pt x="40" y="0"/>
                  </a:moveTo>
                  <a:lnTo>
                    <a:pt x="40" y="236"/>
                  </a:lnTo>
                  <a:lnTo>
                    <a:pt x="217" y="236"/>
                  </a:lnTo>
                  <a:lnTo>
                    <a:pt x="217" y="78"/>
                  </a:lnTo>
                  <a:lnTo>
                    <a:pt x="138" y="78"/>
                  </a:lnTo>
                  <a:lnTo>
                    <a:pt x="138" y="0"/>
                  </a:lnTo>
                  <a:lnTo>
                    <a:pt x="40" y="0"/>
                  </a:lnTo>
                  <a:close/>
                  <a:moveTo>
                    <a:pt x="217" y="59"/>
                  </a:moveTo>
                  <a:lnTo>
                    <a:pt x="158" y="0"/>
                  </a:lnTo>
                  <a:lnTo>
                    <a:pt x="158" y="59"/>
                  </a:lnTo>
                  <a:lnTo>
                    <a:pt x="217" y="59"/>
                  </a:lnTo>
                  <a:close/>
                  <a:moveTo>
                    <a:pt x="0" y="39"/>
                  </a:moveTo>
                  <a:lnTo>
                    <a:pt x="0" y="275"/>
                  </a:lnTo>
                  <a:lnTo>
                    <a:pt x="178" y="275"/>
                  </a:lnTo>
                  <a:lnTo>
                    <a:pt x="178" y="255"/>
                  </a:lnTo>
                  <a:lnTo>
                    <a:pt x="20" y="255"/>
                  </a:lnTo>
                  <a:lnTo>
                    <a:pt x="20" y="39"/>
                  </a:lnTo>
                  <a:lnTo>
                    <a:pt x="0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61">
              <a:extLst>
                <a:ext uri="{FF2B5EF4-FFF2-40B4-BE49-F238E27FC236}">
                  <a16:creationId xmlns:a16="http://schemas.microsoft.com/office/drawing/2014/main" id="{CCA3E9BA-70C2-8C8E-1554-9E12F086D9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5477" y="2340444"/>
              <a:ext cx="141886" cy="141886"/>
            </a:xfrm>
            <a:custGeom>
              <a:avLst/>
              <a:gdLst>
                <a:gd name="T0" fmla="*/ 300 w 433"/>
                <a:gd name="T1" fmla="*/ 217 h 433"/>
                <a:gd name="T2" fmla="*/ 217 w 433"/>
                <a:gd name="T3" fmla="*/ 300 h 433"/>
                <a:gd name="T4" fmla="*/ 133 w 433"/>
                <a:gd name="T5" fmla="*/ 217 h 433"/>
                <a:gd name="T6" fmla="*/ 217 w 433"/>
                <a:gd name="T7" fmla="*/ 133 h 433"/>
                <a:gd name="T8" fmla="*/ 300 w 433"/>
                <a:gd name="T9" fmla="*/ 217 h 433"/>
                <a:gd name="T10" fmla="*/ 433 w 433"/>
                <a:gd name="T11" fmla="*/ 250 h 433"/>
                <a:gd name="T12" fmla="*/ 433 w 433"/>
                <a:gd name="T13" fmla="*/ 183 h 433"/>
                <a:gd name="T14" fmla="*/ 360 w 433"/>
                <a:gd name="T15" fmla="*/ 171 h 433"/>
                <a:gd name="T16" fmla="*/ 350 w 433"/>
                <a:gd name="T17" fmla="*/ 148 h 433"/>
                <a:gd name="T18" fmla="*/ 393 w 433"/>
                <a:gd name="T19" fmla="*/ 87 h 433"/>
                <a:gd name="T20" fmla="*/ 346 w 433"/>
                <a:gd name="T21" fmla="*/ 40 h 433"/>
                <a:gd name="T22" fmla="*/ 285 w 433"/>
                <a:gd name="T23" fmla="*/ 83 h 433"/>
                <a:gd name="T24" fmla="*/ 262 w 433"/>
                <a:gd name="T25" fmla="*/ 74 h 433"/>
                <a:gd name="T26" fmla="*/ 250 w 433"/>
                <a:gd name="T27" fmla="*/ 0 h 433"/>
                <a:gd name="T28" fmla="*/ 183 w 433"/>
                <a:gd name="T29" fmla="*/ 0 h 433"/>
                <a:gd name="T30" fmla="*/ 171 w 433"/>
                <a:gd name="T31" fmla="*/ 74 h 433"/>
                <a:gd name="T32" fmla="*/ 148 w 433"/>
                <a:gd name="T33" fmla="*/ 83 h 433"/>
                <a:gd name="T34" fmla="*/ 87 w 433"/>
                <a:gd name="T35" fmla="*/ 40 h 433"/>
                <a:gd name="T36" fmla="*/ 40 w 433"/>
                <a:gd name="T37" fmla="*/ 87 h 433"/>
                <a:gd name="T38" fmla="*/ 83 w 433"/>
                <a:gd name="T39" fmla="*/ 148 h 433"/>
                <a:gd name="T40" fmla="*/ 74 w 433"/>
                <a:gd name="T41" fmla="*/ 171 h 433"/>
                <a:gd name="T42" fmla="*/ 0 w 433"/>
                <a:gd name="T43" fmla="*/ 183 h 433"/>
                <a:gd name="T44" fmla="*/ 0 w 433"/>
                <a:gd name="T45" fmla="*/ 250 h 433"/>
                <a:gd name="T46" fmla="*/ 74 w 433"/>
                <a:gd name="T47" fmla="*/ 262 h 433"/>
                <a:gd name="T48" fmla="*/ 83 w 433"/>
                <a:gd name="T49" fmla="*/ 285 h 433"/>
                <a:gd name="T50" fmla="*/ 40 w 433"/>
                <a:gd name="T51" fmla="*/ 346 h 433"/>
                <a:gd name="T52" fmla="*/ 87 w 433"/>
                <a:gd name="T53" fmla="*/ 393 h 433"/>
                <a:gd name="T54" fmla="*/ 148 w 433"/>
                <a:gd name="T55" fmla="*/ 350 h 433"/>
                <a:gd name="T56" fmla="*/ 171 w 433"/>
                <a:gd name="T57" fmla="*/ 360 h 433"/>
                <a:gd name="T58" fmla="*/ 183 w 433"/>
                <a:gd name="T59" fmla="*/ 433 h 433"/>
                <a:gd name="T60" fmla="*/ 250 w 433"/>
                <a:gd name="T61" fmla="*/ 433 h 433"/>
                <a:gd name="T62" fmla="*/ 262 w 433"/>
                <a:gd name="T63" fmla="*/ 360 h 433"/>
                <a:gd name="T64" fmla="*/ 285 w 433"/>
                <a:gd name="T65" fmla="*/ 350 h 433"/>
                <a:gd name="T66" fmla="*/ 346 w 433"/>
                <a:gd name="T67" fmla="*/ 393 h 433"/>
                <a:gd name="T68" fmla="*/ 393 w 433"/>
                <a:gd name="T69" fmla="*/ 346 h 433"/>
                <a:gd name="T70" fmla="*/ 350 w 433"/>
                <a:gd name="T71" fmla="*/ 285 h 433"/>
                <a:gd name="T72" fmla="*/ 360 w 433"/>
                <a:gd name="T73" fmla="*/ 262 h 433"/>
                <a:gd name="T74" fmla="*/ 433 w 433"/>
                <a:gd name="T75" fmla="*/ 250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33" h="433">
                  <a:moveTo>
                    <a:pt x="300" y="217"/>
                  </a:moveTo>
                  <a:cubicBezTo>
                    <a:pt x="300" y="263"/>
                    <a:pt x="263" y="300"/>
                    <a:pt x="217" y="300"/>
                  </a:cubicBezTo>
                  <a:cubicBezTo>
                    <a:pt x="171" y="300"/>
                    <a:pt x="133" y="263"/>
                    <a:pt x="133" y="217"/>
                  </a:cubicBezTo>
                  <a:cubicBezTo>
                    <a:pt x="133" y="171"/>
                    <a:pt x="171" y="133"/>
                    <a:pt x="217" y="133"/>
                  </a:cubicBezTo>
                  <a:cubicBezTo>
                    <a:pt x="263" y="133"/>
                    <a:pt x="300" y="171"/>
                    <a:pt x="300" y="217"/>
                  </a:cubicBezTo>
                  <a:close/>
                  <a:moveTo>
                    <a:pt x="433" y="250"/>
                  </a:moveTo>
                  <a:lnTo>
                    <a:pt x="433" y="183"/>
                  </a:lnTo>
                  <a:lnTo>
                    <a:pt x="360" y="171"/>
                  </a:lnTo>
                  <a:cubicBezTo>
                    <a:pt x="357" y="163"/>
                    <a:pt x="354" y="155"/>
                    <a:pt x="350" y="148"/>
                  </a:cubicBezTo>
                  <a:lnTo>
                    <a:pt x="393" y="87"/>
                  </a:lnTo>
                  <a:lnTo>
                    <a:pt x="346" y="40"/>
                  </a:lnTo>
                  <a:lnTo>
                    <a:pt x="285" y="83"/>
                  </a:lnTo>
                  <a:cubicBezTo>
                    <a:pt x="278" y="80"/>
                    <a:pt x="270" y="76"/>
                    <a:pt x="262" y="74"/>
                  </a:cubicBezTo>
                  <a:lnTo>
                    <a:pt x="250" y="0"/>
                  </a:lnTo>
                  <a:lnTo>
                    <a:pt x="183" y="0"/>
                  </a:lnTo>
                  <a:lnTo>
                    <a:pt x="171" y="74"/>
                  </a:lnTo>
                  <a:cubicBezTo>
                    <a:pt x="163" y="76"/>
                    <a:pt x="155" y="80"/>
                    <a:pt x="148" y="83"/>
                  </a:cubicBezTo>
                  <a:lnTo>
                    <a:pt x="87" y="40"/>
                  </a:lnTo>
                  <a:lnTo>
                    <a:pt x="40" y="87"/>
                  </a:lnTo>
                  <a:lnTo>
                    <a:pt x="83" y="148"/>
                  </a:lnTo>
                  <a:cubicBezTo>
                    <a:pt x="80" y="155"/>
                    <a:pt x="76" y="163"/>
                    <a:pt x="74" y="171"/>
                  </a:cubicBezTo>
                  <a:lnTo>
                    <a:pt x="0" y="183"/>
                  </a:lnTo>
                  <a:lnTo>
                    <a:pt x="0" y="250"/>
                  </a:lnTo>
                  <a:lnTo>
                    <a:pt x="74" y="262"/>
                  </a:lnTo>
                  <a:cubicBezTo>
                    <a:pt x="76" y="270"/>
                    <a:pt x="80" y="278"/>
                    <a:pt x="83" y="285"/>
                  </a:cubicBezTo>
                  <a:lnTo>
                    <a:pt x="40" y="346"/>
                  </a:lnTo>
                  <a:lnTo>
                    <a:pt x="87" y="393"/>
                  </a:lnTo>
                  <a:lnTo>
                    <a:pt x="148" y="350"/>
                  </a:lnTo>
                  <a:cubicBezTo>
                    <a:pt x="155" y="354"/>
                    <a:pt x="163" y="357"/>
                    <a:pt x="171" y="360"/>
                  </a:cubicBezTo>
                  <a:lnTo>
                    <a:pt x="183" y="433"/>
                  </a:lnTo>
                  <a:lnTo>
                    <a:pt x="250" y="433"/>
                  </a:lnTo>
                  <a:lnTo>
                    <a:pt x="262" y="360"/>
                  </a:lnTo>
                  <a:cubicBezTo>
                    <a:pt x="270" y="357"/>
                    <a:pt x="278" y="354"/>
                    <a:pt x="285" y="350"/>
                  </a:cubicBezTo>
                  <a:lnTo>
                    <a:pt x="346" y="393"/>
                  </a:lnTo>
                  <a:lnTo>
                    <a:pt x="393" y="346"/>
                  </a:lnTo>
                  <a:lnTo>
                    <a:pt x="350" y="285"/>
                  </a:lnTo>
                  <a:cubicBezTo>
                    <a:pt x="354" y="278"/>
                    <a:pt x="357" y="270"/>
                    <a:pt x="360" y="262"/>
                  </a:cubicBezTo>
                  <a:lnTo>
                    <a:pt x="433" y="2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7" name="Gruppieren 136">
            <a:extLst>
              <a:ext uri="{FF2B5EF4-FFF2-40B4-BE49-F238E27FC236}">
                <a16:creationId xmlns:a16="http://schemas.microsoft.com/office/drawing/2014/main" id="{165A972C-C6C2-C2D0-1C2A-3C98442AD367}"/>
              </a:ext>
            </a:extLst>
          </p:cNvPr>
          <p:cNvGrpSpPr>
            <a:grpSpLocks/>
          </p:cNvGrpSpPr>
          <p:nvPr/>
        </p:nvGrpSpPr>
        <p:grpSpPr>
          <a:xfrm>
            <a:off x="5591740" y="2657570"/>
            <a:ext cx="554926" cy="554926"/>
            <a:chOff x="9798749" y="5417011"/>
            <a:chExt cx="554926" cy="554926"/>
          </a:xfrm>
        </p:grpSpPr>
        <p:grpSp>
          <p:nvGrpSpPr>
            <p:cNvPr id="138" name="Gruppieren 137">
              <a:extLst>
                <a:ext uri="{FF2B5EF4-FFF2-40B4-BE49-F238E27FC236}">
                  <a16:creationId xmlns:a16="http://schemas.microsoft.com/office/drawing/2014/main" id="{92245E4B-A5D1-0B85-F95C-57B5A1BDCC50}"/>
                </a:ext>
              </a:extLst>
            </p:cNvPr>
            <p:cNvGrpSpPr/>
            <p:nvPr/>
          </p:nvGrpSpPr>
          <p:grpSpPr>
            <a:xfrm>
              <a:off x="9798749" y="5417011"/>
              <a:ext cx="554926" cy="554926"/>
              <a:chOff x="9798749" y="5417011"/>
              <a:chExt cx="554926" cy="554926"/>
            </a:xfrm>
          </p:grpSpPr>
          <p:sp>
            <p:nvSpPr>
              <p:cNvPr id="140" name="Ellipse 139">
                <a:extLst>
                  <a:ext uri="{FF2B5EF4-FFF2-40B4-BE49-F238E27FC236}">
                    <a16:creationId xmlns:a16="http://schemas.microsoft.com/office/drawing/2014/main" id="{FAFDEC55-8DA2-1DA1-A6C5-1658D61530B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798749" y="5417011"/>
                <a:ext cx="554926" cy="55492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1" name="Ellipse 140">
                <a:extLst>
                  <a:ext uri="{FF2B5EF4-FFF2-40B4-BE49-F238E27FC236}">
                    <a16:creationId xmlns:a16="http://schemas.microsoft.com/office/drawing/2014/main" id="{64D625C3-8BE7-F959-D82A-804DFE686F9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853518" y="5471780"/>
                <a:ext cx="445388" cy="44538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39" name="Grafik 102">
              <a:extLst>
                <a:ext uri="{FF2B5EF4-FFF2-40B4-BE49-F238E27FC236}">
                  <a16:creationId xmlns:a16="http://schemas.microsoft.com/office/drawing/2014/main" id="{23F7F912-66AA-12CC-08E2-65BEF24168D3}"/>
                </a:ext>
              </a:extLst>
            </p:cNvPr>
            <p:cNvSpPr/>
            <p:nvPr/>
          </p:nvSpPr>
          <p:spPr>
            <a:xfrm rot="18900000">
              <a:off x="9934808" y="5606288"/>
              <a:ext cx="269408" cy="176150"/>
            </a:xfrm>
            <a:custGeom>
              <a:avLst/>
              <a:gdLst>
                <a:gd name="connsiteX0" fmla="*/ 233363 w 247650"/>
                <a:gd name="connsiteY0" fmla="*/ 104775 h 161925"/>
                <a:gd name="connsiteX1" fmla="*/ 190500 w 247650"/>
                <a:gd name="connsiteY1" fmla="*/ 104775 h 161925"/>
                <a:gd name="connsiteX2" fmla="*/ 190500 w 247650"/>
                <a:gd name="connsiteY2" fmla="*/ 57150 h 161925"/>
                <a:gd name="connsiteX3" fmla="*/ 233363 w 247650"/>
                <a:gd name="connsiteY3" fmla="*/ 57150 h 161925"/>
                <a:gd name="connsiteX4" fmla="*/ 247650 w 247650"/>
                <a:gd name="connsiteY4" fmla="*/ 42863 h 161925"/>
                <a:gd name="connsiteX5" fmla="*/ 233363 w 247650"/>
                <a:gd name="connsiteY5" fmla="*/ 28575 h 161925"/>
                <a:gd name="connsiteX6" fmla="*/ 190500 w 247650"/>
                <a:gd name="connsiteY6" fmla="*/ 28575 h 161925"/>
                <a:gd name="connsiteX7" fmla="*/ 190500 w 247650"/>
                <a:gd name="connsiteY7" fmla="*/ 0 h 161925"/>
                <a:gd name="connsiteX8" fmla="*/ 142875 w 247650"/>
                <a:gd name="connsiteY8" fmla="*/ 0 h 161925"/>
                <a:gd name="connsiteX9" fmla="*/ 85725 w 247650"/>
                <a:gd name="connsiteY9" fmla="*/ 57150 h 161925"/>
                <a:gd name="connsiteX10" fmla="*/ 19050 w 247650"/>
                <a:gd name="connsiteY10" fmla="*/ 57150 h 161925"/>
                <a:gd name="connsiteX11" fmla="*/ 0 w 247650"/>
                <a:gd name="connsiteY11" fmla="*/ 104775 h 161925"/>
                <a:gd name="connsiteX12" fmla="*/ 85725 w 247650"/>
                <a:gd name="connsiteY12" fmla="*/ 104775 h 161925"/>
                <a:gd name="connsiteX13" fmla="*/ 142875 w 247650"/>
                <a:gd name="connsiteY13" fmla="*/ 161925 h 161925"/>
                <a:gd name="connsiteX14" fmla="*/ 190500 w 247650"/>
                <a:gd name="connsiteY14" fmla="*/ 161925 h 161925"/>
                <a:gd name="connsiteX15" fmla="*/ 190500 w 247650"/>
                <a:gd name="connsiteY15" fmla="*/ 133350 h 161925"/>
                <a:gd name="connsiteX16" fmla="*/ 233363 w 247650"/>
                <a:gd name="connsiteY16" fmla="*/ 133350 h 161925"/>
                <a:gd name="connsiteX17" fmla="*/ 247650 w 247650"/>
                <a:gd name="connsiteY17" fmla="*/ 119063 h 161925"/>
                <a:gd name="connsiteX18" fmla="*/ 233363 w 247650"/>
                <a:gd name="connsiteY18" fmla="*/ 10477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7650" h="161925">
                  <a:moveTo>
                    <a:pt x="233363" y="104775"/>
                  </a:moveTo>
                  <a:lnTo>
                    <a:pt x="190500" y="104775"/>
                  </a:lnTo>
                  <a:lnTo>
                    <a:pt x="190500" y="57150"/>
                  </a:lnTo>
                  <a:lnTo>
                    <a:pt x="233363" y="57150"/>
                  </a:lnTo>
                  <a:cubicBezTo>
                    <a:pt x="241268" y="57150"/>
                    <a:pt x="247650" y="50768"/>
                    <a:pt x="247650" y="42863"/>
                  </a:cubicBezTo>
                  <a:cubicBezTo>
                    <a:pt x="247650" y="34957"/>
                    <a:pt x="241268" y="28575"/>
                    <a:pt x="233363" y="28575"/>
                  </a:cubicBezTo>
                  <a:lnTo>
                    <a:pt x="190500" y="28575"/>
                  </a:lnTo>
                  <a:lnTo>
                    <a:pt x="190500" y="0"/>
                  </a:lnTo>
                  <a:lnTo>
                    <a:pt x="142875" y="0"/>
                  </a:lnTo>
                  <a:cubicBezTo>
                    <a:pt x="111347" y="0"/>
                    <a:pt x="85725" y="25622"/>
                    <a:pt x="85725" y="57150"/>
                  </a:cubicBezTo>
                  <a:lnTo>
                    <a:pt x="19050" y="57150"/>
                  </a:lnTo>
                  <a:lnTo>
                    <a:pt x="0" y="104775"/>
                  </a:lnTo>
                  <a:lnTo>
                    <a:pt x="85725" y="104775"/>
                  </a:lnTo>
                  <a:cubicBezTo>
                    <a:pt x="85725" y="136303"/>
                    <a:pt x="111347" y="161925"/>
                    <a:pt x="142875" y="161925"/>
                  </a:cubicBezTo>
                  <a:lnTo>
                    <a:pt x="190500" y="161925"/>
                  </a:lnTo>
                  <a:lnTo>
                    <a:pt x="190500" y="133350"/>
                  </a:lnTo>
                  <a:lnTo>
                    <a:pt x="233363" y="133350"/>
                  </a:lnTo>
                  <a:cubicBezTo>
                    <a:pt x="241268" y="133350"/>
                    <a:pt x="247650" y="126968"/>
                    <a:pt x="247650" y="119063"/>
                  </a:cubicBezTo>
                  <a:cubicBezTo>
                    <a:pt x="247650" y="111157"/>
                    <a:pt x="241268" y="104775"/>
                    <a:pt x="233363" y="104775"/>
                  </a:cubicBezTo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6D12B5CD-47FC-13DE-5E8A-1FEE60358E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Einbindung in die Telematik Infrastruktur (TI)</a:t>
            </a:r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2B1D9FA-5786-0F9D-A2EF-45901BA3CBD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F6FC584-A095-9E8B-5430-83CF71834B8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pt-BR"/>
              <a:t>A91GER-H-001672-E4</a:t>
            </a:r>
            <a:endParaRPr lang="de-DE"/>
          </a:p>
        </p:txBody>
      </p:sp>
      <p:sp>
        <p:nvSpPr>
          <p:cNvPr id="142" name="Freeform 5">
            <a:extLst>
              <a:ext uri="{FF2B5EF4-FFF2-40B4-BE49-F238E27FC236}">
                <a16:creationId xmlns:a16="http://schemas.microsoft.com/office/drawing/2014/main" id="{C1ACF167-27F0-8FFC-65B0-1CE40E82C34A}"/>
              </a:ext>
            </a:extLst>
          </p:cNvPr>
          <p:cNvSpPr>
            <a:spLocks noEditPoints="1"/>
          </p:cNvSpPr>
          <p:nvPr/>
        </p:nvSpPr>
        <p:spPr bwMode="auto">
          <a:xfrm>
            <a:off x="684376" y="1767013"/>
            <a:ext cx="395701" cy="411038"/>
          </a:xfrm>
          <a:custGeom>
            <a:avLst/>
            <a:gdLst>
              <a:gd name="T0" fmla="*/ 84 w 104"/>
              <a:gd name="T1" fmla="*/ 44 h 108"/>
              <a:gd name="T2" fmla="*/ 76 w 104"/>
              <a:gd name="T3" fmla="*/ 0 h 108"/>
              <a:gd name="T4" fmla="*/ 24 w 104"/>
              <a:gd name="T5" fmla="*/ 8 h 108"/>
              <a:gd name="T6" fmla="*/ 8 w 104"/>
              <a:gd name="T7" fmla="*/ 24 h 108"/>
              <a:gd name="T8" fmla="*/ 0 w 104"/>
              <a:gd name="T9" fmla="*/ 108 h 108"/>
              <a:gd name="T10" fmla="*/ 104 w 104"/>
              <a:gd name="T11" fmla="*/ 52 h 108"/>
              <a:gd name="T12" fmla="*/ 28 w 104"/>
              <a:gd name="T13" fmla="*/ 96 h 108"/>
              <a:gd name="T14" fmla="*/ 16 w 104"/>
              <a:gd name="T15" fmla="*/ 84 h 108"/>
              <a:gd name="T16" fmla="*/ 28 w 104"/>
              <a:gd name="T17" fmla="*/ 96 h 108"/>
              <a:gd name="T18" fmla="*/ 16 w 104"/>
              <a:gd name="T19" fmla="*/ 76 h 108"/>
              <a:gd name="T20" fmla="*/ 28 w 104"/>
              <a:gd name="T21" fmla="*/ 64 h 108"/>
              <a:gd name="T22" fmla="*/ 28 w 104"/>
              <a:gd name="T23" fmla="*/ 56 h 108"/>
              <a:gd name="T24" fmla="*/ 16 w 104"/>
              <a:gd name="T25" fmla="*/ 44 h 108"/>
              <a:gd name="T26" fmla="*/ 28 w 104"/>
              <a:gd name="T27" fmla="*/ 56 h 108"/>
              <a:gd name="T28" fmla="*/ 36 w 104"/>
              <a:gd name="T29" fmla="*/ 96 h 108"/>
              <a:gd name="T30" fmla="*/ 48 w 104"/>
              <a:gd name="T31" fmla="*/ 84 h 108"/>
              <a:gd name="T32" fmla="*/ 48 w 104"/>
              <a:gd name="T33" fmla="*/ 76 h 108"/>
              <a:gd name="T34" fmla="*/ 36 w 104"/>
              <a:gd name="T35" fmla="*/ 64 h 108"/>
              <a:gd name="T36" fmla="*/ 48 w 104"/>
              <a:gd name="T37" fmla="*/ 76 h 108"/>
              <a:gd name="T38" fmla="*/ 56 w 104"/>
              <a:gd name="T39" fmla="*/ 96 h 108"/>
              <a:gd name="T40" fmla="*/ 68 w 104"/>
              <a:gd name="T41" fmla="*/ 84 h 108"/>
              <a:gd name="T42" fmla="*/ 68 w 104"/>
              <a:gd name="T43" fmla="*/ 76 h 108"/>
              <a:gd name="T44" fmla="*/ 56 w 104"/>
              <a:gd name="T45" fmla="*/ 64 h 108"/>
              <a:gd name="T46" fmla="*/ 68 w 104"/>
              <a:gd name="T47" fmla="*/ 76 h 108"/>
              <a:gd name="T48" fmla="*/ 60 w 104"/>
              <a:gd name="T49" fmla="*/ 44 h 108"/>
              <a:gd name="T50" fmla="*/ 48 w 104"/>
              <a:gd name="T51" fmla="*/ 32 h 108"/>
              <a:gd name="T52" fmla="*/ 40 w 104"/>
              <a:gd name="T53" fmla="*/ 44 h 108"/>
              <a:gd name="T54" fmla="*/ 48 w 104"/>
              <a:gd name="T55" fmla="*/ 12 h 108"/>
              <a:gd name="T56" fmla="*/ 60 w 104"/>
              <a:gd name="T57" fmla="*/ 24 h 108"/>
              <a:gd name="T58" fmla="*/ 68 w 104"/>
              <a:gd name="T59" fmla="*/ 12 h 108"/>
              <a:gd name="T60" fmla="*/ 88 w 104"/>
              <a:gd name="T61" fmla="*/ 96 h 108"/>
              <a:gd name="T62" fmla="*/ 76 w 104"/>
              <a:gd name="T63" fmla="*/ 84 h 108"/>
              <a:gd name="T64" fmla="*/ 88 w 104"/>
              <a:gd name="T65" fmla="*/ 96 h 108"/>
              <a:gd name="T66" fmla="*/ 76 w 104"/>
              <a:gd name="T67" fmla="*/ 76 h 108"/>
              <a:gd name="T68" fmla="*/ 88 w 104"/>
              <a:gd name="T69" fmla="*/ 64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04" h="108">
                <a:moveTo>
                  <a:pt x="96" y="44"/>
                </a:moveTo>
                <a:cubicBezTo>
                  <a:pt x="84" y="44"/>
                  <a:pt x="84" y="44"/>
                  <a:pt x="84" y="44"/>
                </a:cubicBezTo>
                <a:cubicBezTo>
                  <a:pt x="84" y="8"/>
                  <a:pt x="84" y="8"/>
                  <a:pt x="84" y="8"/>
                </a:cubicBezTo>
                <a:cubicBezTo>
                  <a:pt x="84" y="4"/>
                  <a:pt x="80" y="0"/>
                  <a:pt x="76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28" y="0"/>
                  <a:pt x="24" y="4"/>
                  <a:pt x="24" y="8"/>
                </a:cubicBezTo>
                <a:cubicBezTo>
                  <a:pt x="24" y="24"/>
                  <a:pt x="24" y="24"/>
                  <a:pt x="24" y="24"/>
                </a:cubicBezTo>
                <a:cubicBezTo>
                  <a:pt x="8" y="24"/>
                  <a:pt x="8" y="24"/>
                  <a:pt x="8" y="24"/>
                </a:cubicBezTo>
                <a:cubicBezTo>
                  <a:pt x="4" y="24"/>
                  <a:pt x="0" y="28"/>
                  <a:pt x="0" y="32"/>
                </a:cubicBezTo>
                <a:cubicBezTo>
                  <a:pt x="0" y="108"/>
                  <a:pt x="0" y="108"/>
                  <a:pt x="0" y="108"/>
                </a:cubicBezTo>
                <a:cubicBezTo>
                  <a:pt x="104" y="108"/>
                  <a:pt x="104" y="108"/>
                  <a:pt x="104" y="108"/>
                </a:cubicBezTo>
                <a:cubicBezTo>
                  <a:pt x="104" y="52"/>
                  <a:pt x="104" y="52"/>
                  <a:pt x="104" y="52"/>
                </a:cubicBezTo>
                <a:cubicBezTo>
                  <a:pt x="104" y="48"/>
                  <a:pt x="100" y="44"/>
                  <a:pt x="96" y="44"/>
                </a:cubicBezTo>
                <a:close/>
                <a:moveTo>
                  <a:pt x="28" y="96"/>
                </a:moveTo>
                <a:cubicBezTo>
                  <a:pt x="16" y="96"/>
                  <a:pt x="16" y="96"/>
                  <a:pt x="16" y="96"/>
                </a:cubicBezTo>
                <a:cubicBezTo>
                  <a:pt x="16" y="84"/>
                  <a:pt x="16" y="84"/>
                  <a:pt x="16" y="84"/>
                </a:cubicBezTo>
                <a:cubicBezTo>
                  <a:pt x="28" y="84"/>
                  <a:pt x="28" y="84"/>
                  <a:pt x="28" y="84"/>
                </a:cubicBezTo>
                <a:lnTo>
                  <a:pt x="28" y="96"/>
                </a:lnTo>
                <a:close/>
                <a:moveTo>
                  <a:pt x="28" y="76"/>
                </a:moveTo>
                <a:cubicBezTo>
                  <a:pt x="16" y="76"/>
                  <a:pt x="16" y="76"/>
                  <a:pt x="16" y="76"/>
                </a:cubicBezTo>
                <a:cubicBezTo>
                  <a:pt x="16" y="64"/>
                  <a:pt x="16" y="64"/>
                  <a:pt x="16" y="64"/>
                </a:cubicBezTo>
                <a:cubicBezTo>
                  <a:pt x="28" y="64"/>
                  <a:pt x="28" y="64"/>
                  <a:pt x="28" y="64"/>
                </a:cubicBezTo>
                <a:lnTo>
                  <a:pt x="28" y="76"/>
                </a:lnTo>
                <a:close/>
                <a:moveTo>
                  <a:pt x="28" y="56"/>
                </a:moveTo>
                <a:cubicBezTo>
                  <a:pt x="16" y="56"/>
                  <a:pt x="16" y="56"/>
                  <a:pt x="16" y="56"/>
                </a:cubicBezTo>
                <a:cubicBezTo>
                  <a:pt x="16" y="44"/>
                  <a:pt x="16" y="44"/>
                  <a:pt x="16" y="44"/>
                </a:cubicBezTo>
                <a:cubicBezTo>
                  <a:pt x="28" y="44"/>
                  <a:pt x="28" y="44"/>
                  <a:pt x="28" y="44"/>
                </a:cubicBezTo>
                <a:lnTo>
                  <a:pt x="28" y="56"/>
                </a:lnTo>
                <a:close/>
                <a:moveTo>
                  <a:pt x="48" y="96"/>
                </a:moveTo>
                <a:cubicBezTo>
                  <a:pt x="36" y="96"/>
                  <a:pt x="36" y="96"/>
                  <a:pt x="36" y="96"/>
                </a:cubicBezTo>
                <a:cubicBezTo>
                  <a:pt x="36" y="84"/>
                  <a:pt x="36" y="84"/>
                  <a:pt x="36" y="84"/>
                </a:cubicBezTo>
                <a:cubicBezTo>
                  <a:pt x="48" y="84"/>
                  <a:pt x="48" y="84"/>
                  <a:pt x="48" y="84"/>
                </a:cubicBezTo>
                <a:lnTo>
                  <a:pt x="48" y="96"/>
                </a:lnTo>
                <a:close/>
                <a:moveTo>
                  <a:pt x="48" y="76"/>
                </a:moveTo>
                <a:cubicBezTo>
                  <a:pt x="36" y="76"/>
                  <a:pt x="36" y="76"/>
                  <a:pt x="36" y="76"/>
                </a:cubicBezTo>
                <a:cubicBezTo>
                  <a:pt x="36" y="64"/>
                  <a:pt x="36" y="64"/>
                  <a:pt x="36" y="64"/>
                </a:cubicBezTo>
                <a:cubicBezTo>
                  <a:pt x="48" y="64"/>
                  <a:pt x="48" y="64"/>
                  <a:pt x="48" y="64"/>
                </a:cubicBezTo>
                <a:lnTo>
                  <a:pt x="48" y="76"/>
                </a:lnTo>
                <a:close/>
                <a:moveTo>
                  <a:pt x="68" y="96"/>
                </a:moveTo>
                <a:cubicBezTo>
                  <a:pt x="56" y="96"/>
                  <a:pt x="56" y="96"/>
                  <a:pt x="56" y="96"/>
                </a:cubicBezTo>
                <a:cubicBezTo>
                  <a:pt x="56" y="84"/>
                  <a:pt x="56" y="84"/>
                  <a:pt x="56" y="84"/>
                </a:cubicBezTo>
                <a:cubicBezTo>
                  <a:pt x="68" y="84"/>
                  <a:pt x="68" y="84"/>
                  <a:pt x="68" y="84"/>
                </a:cubicBezTo>
                <a:lnTo>
                  <a:pt x="68" y="96"/>
                </a:lnTo>
                <a:close/>
                <a:moveTo>
                  <a:pt x="68" y="76"/>
                </a:moveTo>
                <a:cubicBezTo>
                  <a:pt x="56" y="76"/>
                  <a:pt x="56" y="76"/>
                  <a:pt x="56" y="76"/>
                </a:cubicBezTo>
                <a:cubicBezTo>
                  <a:pt x="56" y="64"/>
                  <a:pt x="56" y="64"/>
                  <a:pt x="56" y="64"/>
                </a:cubicBezTo>
                <a:cubicBezTo>
                  <a:pt x="68" y="64"/>
                  <a:pt x="68" y="64"/>
                  <a:pt x="68" y="64"/>
                </a:cubicBezTo>
                <a:lnTo>
                  <a:pt x="68" y="76"/>
                </a:lnTo>
                <a:close/>
                <a:moveTo>
                  <a:pt x="68" y="44"/>
                </a:moveTo>
                <a:cubicBezTo>
                  <a:pt x="60" y="44"/>
                  <a:pt x="60" y="44"/>
                  <a:pt x="60" y="44"/>
                </a:cubicBezTo>
                <a:cubicBezTo>
                  <a:pt x="60" y="32"/>
                  <a:pt x="60" y="32"/>
                  <a:pt x="60" y="32"/>
                </a:cubicBezTo>
                <a:cubicBezTo>
                  <a:pt x="48" y="32"/>
                  <a:pt x="48" y="32"/>
                  <a:pt x="48" y="32"/>
                </a:cubicBezTo>
                <a:cubicBezTo>
                  <a:pt x="48" y="44"/>
                  <a:pt x="48" y="44"/>
                  <a:pt x="48" y="44"/>
                </a:cubicBezTo>
                <a:cubicBezTo>
                  <a:pt x="40" y="44"/>
                  <a:pt x="40" y="44"/>
                  <a:pt x="40" y="44"/>
                </a:cubicBezTo>
                <a:cubicBezTo>
                  <a:pt x="40" y="12"/>
                  <a:pt x="40" y="12"/>
                  <a:pt x="40" y="12"/>
                </a:cubicBezTo>
                <a:cubicBezTo>
                  <a:pt x="48" y="12"/>
                  <a:pt x="48" y="12"/>
                  <a:pt x="48" y="12"/>
                </a:cubicBezTo>
                <a:cubicBezTo>
                  <a:pt x="48" y="24"/>
                  <a:pt x="48" y="24"/>
                  <a:pt x="48" y="24"/>
                </a:cubicBezTo>
                <a:cubicBezTo>
                  <a:pt x="60" y="24"/>
                  <a:pt x="60" y="24"/>
                  <a:pt x="60" y="24"/>
                </a:cubicBezTo>
                <a:cubicBezTo>
                  <a:pt x="60" y="12"/>
                  <a:pt x="60" y="12"/>
                  <a:pt x="60" y="12"/>
                </a:cubicBezTo>
                <a:cubicBezTo>
                  <a:pt x="68" y="12"/>
                  <a:pt x="68" y="12"/>
                  <a:pt x="68" y="12"/>
                </a:cubicBezTo>
                <a:lnTo>
                  <a:pt x="68" y="44"/>
                </a:lnTo>
                <a:close/>
                <a:moveTo>
                  <a:pt x="88" y="96"/>
                </a:moveTo>
                <a:cubicBezTo>
                  <a:pt x="76" y="96"/>
                  <a:pt x="76" y="96"/>
                  <a:pt x="76" y="96"/>
                </a:cubicBezTo>
                <a:cubicBezTo>
                  <a:pt x="76" y="84"/>
                  <a:pt x="76" y="84"/>
                  <a:pt x="76" y="84"/>
                </a:cubicBezTo>
                <a:cubicBezTo>
                  <a:pt x="88" y="84"/>
                  <a:pt x="88" y="84"/>
                  <a:pt x="88" y="84"/>
                </a:cubicBezTo>
                <a:lnTo>
                  <a:pt x="88" y="96"/>
                </a:lnTo>
                <a:close/>
                <a:moveTo>
                  <a:pt x="88" y="76"/>
                </a:moveTo>
                <a:cubicBezTo>
                  <a:pt x="76" y="76"/>
                  <a:pt x="76" y="76"/>
                  <a:pt x="76" y="76"/>
                </a:cubicBezTo>
                <a:cubicBezTo>
                  <a:pt x="76" y="64"/>
                  <a:pt x="76" y="64"/>
                  <a:pt x="76" y="64"/>
                </a:cubicBezTo>
                <a:cubicBezTo>
                  <a:pt x="88" y="64"/>
                  <a:pt x="88" y="64"/>
                  <a:pt x="88" y="64"/>
                </a:cubicBezTo>
                <a:lnTo>
                  <a:pt x="88" y="7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54" name="Gerader Verbinder 153">
            <a:extLst>
              <a:ext uri="{FF2B5EF4-FFF2-40B4-BE49-F238E27FC236}">
                <a16:creationId xmlns:a16="http://schemas.microsoft.com/office/drawing/2014/main" id="{EA6D1D8A-ADE4-F33B-1A4C-D3FF1F43C5D4}"/>
              </a:ext>
            </a:extLst>
          </p:cNvPr>
          <p:cNvCxnSpPr>
            <a:cxnSpLocks/>
          </p:cNvCxnSpPr>
          <p:nvPr/>
        </p:nvCxnSpPr>
        <p:spPr>
          <a:xfrm>
            <a:off x="2011680" y="2935033"/>
            <a:ext cx="360045" cy="0"/>
          </a:xfrm>
          <a:prstGeom prst="line">
            <a:avLst/>
          </a:prstGeom>
          <a:ln w="19050" cap="rnd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2" name="Gruppieren 161">
            <a:extLst>
              <a:ext uri="{FF2B5EF4-FFF2-40B4-BE49-F238E27FC236}">
                <a16:creationId xmlns:a16="http://schemas.microsoft.com/office/drawing/2014/main" id="{415AB758-EB6D-71E3-06B9-076CD92171CD}"/>
              </a:ext>
            </a:extLst>
          </p:cNvPr>
          <p:cNvGrpSpPr/>
          <p:nvPr/>
        </p:nvGrpSpPr>
        <p:grpSpPr>
          <a:xfrm>
            <a:off x="1714887" y="2546198"/>
            <a:ext cx="296793" cy="1175972"/>
            <a:chOff x="1714887" y="2546198"/>
            <a:chExt cx="381000" cy="1175972"/>
          </a:xfrm>
        </p:grpSpPr>
        <p:sp>
          <p:nvSpPr>
            <p:cNvPr id="160" name="Freihandform: Form 159">
              <a:extLst>
                <a:ext uri="{FF2B5EF4-FFF2-40B4-BE49-F238E27FC236}">
                  <a16:creationId xmlns:a16="http://schemas.microsoft.com/office/drawing/2014/main" id="{CD81E2CB-3635-795C-E988-6F082FCAB2A9}"/>
                </a:ext>
              </a:extLst>
            </p:cNvPr>
            <p:cNvSpPr>
              <a:spLocks/>
            </p:cNvSpPr>
            <p:nvPr/>
          </p:nvSpPr>
          <p:spPr>
            <a:xfrm>
              <a:off x="1714887" y="2546198"/>
              <a:ext cx="381000" cy="587984"/>
            </a:xfrm>
            <a:custGeom>
              <a:avLst/>
              <a:gdLst>
                <a:gd name="connsiteX0" fmla="*/ 0 w 381000"/>
                <a:gd name="connsiteY0" fmla="*/ 0 h 533400"/>
                <a:gd name="connsiteX1" fmla="*/ 381000 w 381000"/>
                <a:gd name="connsiteY1" fmla="*/ 0 h 533400"/>
                <a:gd name="connsiteX2" fmla="*/ 381000 w 381000"/>
                <a:gd name="connsiteY2" fmla="*/ 53340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1000" h="533400">
                  <a:moveTo>
                    <a:pt x="0" y="0"/>
                  </a:moveTo>
                  <a:lnTo>
                    <a:pt x="381000" y="0"/>
                  </a:lnTo>
                  <a:lnTo>
                    <a:pt x="381000" y="533400"/>
                  </a:lnTo>
                </a:path>
              </a:pathLst>
            </a:custGeom>
            <a:ln w="19050" cap="rnd">
              <a:solidFill>
                <a:schemeClr val="accent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" name="Freihandform: Form 160">
              <a:extLst>
                <a:ext uri="{FF2B5EF4-FFF2-40B4-BE49-F238E27FC236}">
                  <a16:creationId xmlns:a16="http://schemas.microsoft.com/office/drawing/2014/main" id="{5952D36E-D872-88BB-4E7B-C572AC26BB0F}"/>
                </a:ext>
              </a:extLst>
            </p:cNvPr>
            <p:cNvSpPr>
              <a:spLocks/>
            </p:cNvSpPr>
            <p:nvPr/>
          </p:nvSpPr>
          <p:spPr>
            <a:xfrm flipV="1">
              <a:off x="1714887" y="3134186"/>
              <a:ext cx="381000" cy="587984"/>
            </a:xfrm>
            <a:custGeom>
              <a:avLst/>
              <a:gdLst>
                <a:gd name="connsiteX0" fmla="*/ 0 w 381000"/>
                <a:gd name="connsiteY0" fmla="*/ 0 h 533400"/>
                <a:gd name="connsiteX1" fmla="*/ 381000 w 381000"/>
                <a:gd name="connsiteY1" fmla="*/ 0 h 533400"/>
                <a:gd name="connsiteX2" fmla="*/ 381000 w 381000"/>
                <a:gd name="connsiteY2" fmla="*/ 53340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1000" h="533400">
                  <a:moveTo>
                    <a:pt x="0" y="0"/>
                  </a:moveTo>
                  <a:lnTo>
                    <a:pt x="381000" y="0"/>
                  </a:lnTo>
                  <a:lnTo>
                    <a:pt x="381000" y="533400"/>
                  </a:lnTo>
                </a:path>
              </a:pathLst>
            </a:custGeom>
            <a:ln w="19050" cap="rnd">
              <a:solidFill>
                <a:schemeClr val="accent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64" name="Gerader Verbinder 163">
            <a:extLst>
              <a:ext uri="{FF2B5EF4-FFF2-40B4-BE49-F238E27FC236}">
                <a16:creationId xmlns:a16="http://schemas.microsoft.com/office/drawing/2014/main" id="{C8D43B49-261E-24DD-CF8A-42B3FE038F7D}"/>
              </a:ext>
            </a:extLst>
          </p:cNvPr>
          <p:cNvCxnSpPr>
            <a:cxnSpLocks/>
          </p:cNvCxnSpPr>
          <p:nvPr/>
        </p:nvCxnSpPr>
        <p:spPr>
          <a:xfrm>
            <a:off x="1744980" y="2935033"/>
            <a:ext cx="260033" cy="0"/>
          </a:xfrm>
          <a:prstGeom prst="line">
            <a:avLst/>
          </a:prstGeom>
          <a:ln w="19050" cap="rnd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Gerader Verbinder 164">
            <a:extLst>
              <a:ext uri="{FF2B5EF4-FFF2-40B4-BE49-F238E27FC236}">
                <a16:creationId xmlns:a16="http://schemas.microsoft.com/office/drawing/2014/main" id="{8C0D9F63-72E3-9B2E-8FCB-7E20D844CC67}"/>
              </a:ext>
            </a:extLst>
          </p:cNvPr>
          <p:cNvCxnSpPr>
            <a:cxnSpLocks/>
          </p:cNvCxnSpPr>
          <p:nvPr/>
        </p:nvCxnSpPr>
        <p:spPr>
          <a:xfrm>
            <a:off x="1744980" y="3343412"/>
            <a:ext cx="266700" cy="0"/>
          </a:xfrm>
          <a:prstGeom prst="line">
            <a:avLst/>
          </a:prstGeom>
          <a:ln w="19050" cap="rnd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EA734F63-315E-F710-3E07-6A56CFD29AB6}"/>
              </a:ext>
            </a:extLst>
          </p:cNvPr>
          <p:cNvGrpSpPr/>
          <p:nvPr/>
        </p:nvGrpSpPr>
        <p:grpSpPr>
          <a:xfrm>
            <a:off x="2364777" y="2734214"/>
            <a:ext cx="401638" cy="401638"/>
            <a:chOff x="3520477" y="2734214"/>
            <a:chExt cx="401638" cy="401638"/>
          </a:xfrm>
        </p:grpSpPr>
        <p:sp>
          <p:nvSpPr>
            <p:cNvPr id="126" name="Ellipse 125">
              <a:extLst>
                <a:ext uri="{FF2B5EF4-FFF2-40B4-BE49-F238E27FC236}">
                  <a16:creationId xmlns:a16="http://schemas.microsoft.com/office/drawing/2014/main" id="{72BC4A20-F550-3E71-86EA-661D4CB09384}"/>
                </a:ext>
              </a:extLst>
            </p:cNvPr>
            <p:cNvSpPr>
              <a:spLocks/>
            </p:cNvSpPr>
            <p:nvPr/>
          </p:nvSpPr>
          <p:spPr>
            <a:xfrm>
              <a:off x="3606996" y="2820733"/>
              <a:ext cx="228600" cy="228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" name="Freeform 61">
              <a:extLst>
                <a:ext uri="{FF2B5EF4-FFF2-40B4-BE49-F238E27FC236}">
                  <a16:creationId xmlns:a16="http://schemas.microsoft.com/office/drawing/2014/main" id="{0B79D732-8093-F44E-3512-3FD6A97F99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0477" y="2734214"/>
              <a:ext cx="401638" cy="401638"/>
            </a:xfrm>
            <a:custGeom>
              <a:avLst/>
              <a:gdLst>
                <a:gd name="T0" fmla="*/ 300 w 433"/>
                <a:gd name="T1" fmla="*/ 217 h 433"/>
                <a:gd name="T2" fmla="*/ 217 w 433"/>
                <a:gd name="T3" fmla="*/ 300 h 433"/>
                <a:gd name="T4" fmla="*/ 133 w 433"/>
                <a:gd name="T5" fmla="*/ 217 h 433"/>
                <a:gd name="T6" fmla="*/ 217 w 433"/>
                <a:gd name="T7" fmla="*/ 133 h 433"/>
                <a:gd name="T8" fmla="*/ 300 w 433"/>
                <a:gd name="T9" fmla="*/ 217 h 433"/>
                <a:gd name="T10" fmla="*/ 433 w 433"/>
                <a:gd name="T11" fmla="*/ 250 h 433"/>
                <a:gd name="T12" fmla="*/ 433 w 433"/>
                <a:gd name="T13" fmla="*/ 183 h 433"/>
                <a:gd name="T14" fmla="*/ 360 w 433"/>
                <a:gd name="T15" fmla="*/ 171 h 433"/>
                <a:gd name="T16" fmla="*/ 350 w 433"/>
                <a:gd name="T17" fmla="*/ 148 h 433"/>
                <a:gd name="T18" fmla="*/ 393 w 433"/>
                <a:gd name="T19" fmla="*/ 87 h 433"/>
                <a:gd name="T20" fmla="*/ 346 w 433"/>
                <a:gd name="T21" fmla="*/ 40 h 433"/>
                <a:gd name="T22" fmla="*/ 285 w 433"/>
                <a:gd name="T23" fmla="*/ 83 h 433"/>
                <a:gd name="T24" fmla="*/ 262 w 433"/>
                <a:gd name="T25" fmla="*/ 74 h 433"/>
                <a:gd name="T26" fmla="*/ 250 w 433"/>
                <a:gd name="T27" fmla="*/ 0 h 433"/>
                <a:gd name="T28" fmla="*/ 183 w 433"/>
                <a:gd name="T29" fmla="*/ 0 h 433"/>
                <a:gd name="T30" fmla="*/ 171 w 433"/>
                <a:gd name="T31" fmla="*/ 74 h 433"/>
                <a:gd name="T32" fmla="*/ 148 w 433"/>
                <a:gd name="T33" fmla="*/ 83 h 433"/>
                <a:gd name="T34" fmla="*/ 87 w 433"/>
                <a:gd name="T35" fmla="*/ 40 h 433"/>
                <a:gd name="T36" fmla="*/ 40 w 433"/>
                <a:gd name="T37" fmla="*/ 87 h 433"/>
                <a:gd name="T38" fmla="*/ 83 w 433"/>
                <a:gd name="T39" fmla="*/ 148 h 433"/>
                <a:gd name="T40" fmla="*/ 74 w 433"/>
                <a:gd name="T41" fmla="*/ 171 h 433"/>
                <a:gd name="T42" fmla="*/ 0 w 433"/>
                <a:gd name="T43" fmla="*/ 183 h 433"/>
                <a:gd name="T44" fmla="*/ 0 w 433"/>
                <a:gd name="T45" fmla="*/ 250 h 433"/>
                <a:gd name="T46" fmla="*/ 74 w 433"/>
                <a:gd name="T47" fmla="*/ 262 h 433"/>
                <a:gd name="T48" fmla="*/ 83 w 433"/>
                <a:gd name="T49" fmla="*/ 285 h 433"/>
                <a:gd name="T50" fmla="*/ 40 w 433"/>
                <a:gd name="T51" fmla="*/ 346 h 433"/>
                <a:gd name="T52" fmla="*/ 87 w 433"/>
                <a:gd name="T53" fmla="*/ 393 h 433"/>
                <a:gd name="T54" fmla="*/ 148 w 433"/>
                <a:gd name="T55" fmla="*/ 350 h 433"/>
                <a:gd name="T56" fmla="*/ 171 w 433"/>
                <a:gd name="T57" fmla="*/ 360 h 433"/>
                <a:gd name="T58" fmla="*/ 183 w 433"/>
                <a:gd name="T59" fmla="*/ 433 h 433"/>
                <a:gd name="T60" fmla="*/ 250 w 433"/>
                <a:gd name="T61" fmla="*/ 433 h 433"/>
                <a:gd name="T62" fmla="*/ 262 w 433"/>
                <a:gd name="T63" fmla="*/ 360 h 433"/>
                <a:gd name="T64" fmla="*/ 285 w 433"/>
                <a:gd name="T65" fmla="*/ 350 h 433"/>
                <a:gd name="T66" fmla="*/ 346 w 433"/>
                <a:gd name="T67" fmla="*/ 393 h 433"/>
                <a:gd name="T68" fmla="*/ 393 w 433"/>
                <a:gd name="T69" fmla="*/ 346 h 433"/>
                <a:gd name="T70" fmla="*/ 350 w 433"/>
                <a:gd name="T71" fmla="*/ 285 h 433"/>
                <a:gd name="T72" fmla="*/ 360 w 433"/>
                <a:gd name="T73" fmla="*/ 262 h 433"/>
                <a:gd name="T74" fmla="*/ 433 w 433"/>
                <a:gd name="T75" fmla="*/ 250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33" h="433">
                  <a:moveTo>
                    <a:pt x="300" y="217"/>
                  </a:moveTo>
                  <a:cubicBezTo>
                    <a:pt x="300" y="263"/>
                    <a:pt x="263" y="300"/>
                    <a:pt x="217" y="300"/>
                  </a:cubicBezTo>
                  <a:cubicBezTo>
                    <a:pt x="171" y="300"/>
                    <a:pt x="133" y="263"/>
                    <a:pt x="133" y="217"/>
                  </a:cubicBezTo>
                  <a:cubicBezTo>
                    <a:pt x="133" y="171"/>
                    <a:pt x="171" y="133"/>
                    <a:pt x="217" y="133"/>
                  </a:cubicBezTo>
                  <a:cubicBezTo>
                    <a:pt x="263" y="133"/>
                    <a:pt x="300" y="171"/>
                    <a:pt x="300" y="217"/>
                  </a:cubicBezTo>
                  <a:close/>
                  <a:moveTo>
                    <a:pt x="433" y="250"/>
                  </a:moveTo>
                  <a:lnTo>
                    <a:pt x="433" y="183"/>
                  </a:lnTo>
                  <a:lnTo>
                    <a:pt x="360" y="171"/>
                  </a:lnTo>
                  <a:cubicBezTo>
                    <a:pt x="357" y="163"/>
                    <a:pt x="354" y="155"/>
                    <a:pt x="350" y="148"/>
                  </a:cubicBezTo>
                  <a:lnTo>
                    <a:pt x="393" y="87"/>
                  </a:lnTo>
                  <a:lnTo>
                    <a:pt x="346" y="40"/>
                  </a:lnTo>
                  <a:lnTo>
                    <a:pt x="285" y="83"/>
                  </a:lnTo>
                  <a:cubicBezTo>
                    <a:pt x="278" y="80"/>
                    <a:pt x="270" y="76"/>
                    <a:pt x="262" y="74"/>
                  </a:cubicBezTo>
                  <a:lnTo>
                    <a:pt x="250" y="0"/>
                  </a:lnTo>
                  <a:lnTo>
                    <a:pt x="183" y="0"/>
                  </a:lnTo>
                  <a:lnTo>
                    <a:pt x="171" y="74"/>
                  </a:lnTo>
                  <a:cubicBezTo>
                    <a:pt x="163" y="76"/>
                    <a:pt x="155" y="80"/>
                    <a:pt x="148" y="83"/>
                  </a:cubicBezTo>
                  <a:lnTo>
                    <a:pt x="87" y="40"/>
                  </a:lnTo>
                  <a:lnTo>
                    <a:pt x="40" y="87"/>
                  </a:lnTo>
                  <a:lnTo>
                    <a:pt x="83" y="148"/>
                  </a:lnTo>
                  <a:cubicBezTo>
                    <a:pt x="80" y="155"/>
                    <a:pt x="76" y="163"/>
                    <a:pt x="74" y="171"/>
                  </a:cubicBezTo>
                  <a:lnTo>
                    <a:pt x="0" y="183"/>
                  </a:lnTo>
                  <a:lnTo>
                    <a:pt x="0" y="250"/>
                  </a:lnTo>
                  <a:lnTo>
                    <a:pt x="74" y="262"/>
                  </a:lnTo>
                  <a:cubicBezTo>
                    <a:pt x="76" y="270"/>
                    <a:pt x="80" y="278"/>
                    <a:pt x="83" y="285"/>
                  </a:cubicBezTo>
                  <a:lnTo>
                    <a:pt x="40" y="346"/>
                  </a:lnTo>
                  <a:lnTo>
                    <a:pt x="87" y="393"/>
                  </a:lnTo>
                  <a:lnTo>
                    <a:pt x="148" y="350"/>
                  </a:lnTo>
                  <a:cubicBezTo>
                    <a:pt x="155" y="354"/>
                    <a:pt x="163" y="357"/>
                    <a:pt x="171" y="360"/>
                  </a:cubicBezTo>
                  <a:lnTo>
                    <a:pt x="183" y="433"/>
                  </a:lnTo>
                  <a:lnTo>
                    <a:pt x="250" y="433"/>
                  </a:lnTo>
                  <a:lnTo>
                    <a:pt x="262" y="360"/>
                  </a:lnTo>
                  <a:cubicBezTo>
                    <a:pt x="270" y="357"/>
                    <a:pt x="278" y="354"/>
                    <a:pt x="285" y="350"/>
                  </a:cubicBezTo>
                  <a:lnTo>
                    <a:pt x="346" y="393"/>
                  </a:lnTo>
                  <a:lnTo>
                    <a:pt x="393" y="346"/>
                  </a:lnTo>
                  <a:lnTo>
                    <a:pt x="350" y="285"/>
                  </a:lnTo>
                  <a:cubicBezTo>
                    <a:pt x="354" y="278"/>
                    <a:pt x="357" y="270"/>
                    <a:pt x="360" y="262"/>
                  </a:cubicBezTo>
                  <a:lnTo>
                    <a:pt x="433" y="25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38" name="Gruppieren 437">
            <a:extLst>
              <a:ext uri="{FF2B5EF4-FFF2-40B4-BE49-F238E27FC236}">
                <a16:creationId xmlns:a16="http://schemas.microsoft.com/office/drawing/2014/main" id="{7A16A8C9-2678-5974-0096-195C4D4A4813}"/>
              </a:ext>
            </a:extLst>
          </p:cNvPr>
          <p:cNvGrpSpPr>
            <a:grpSpLocks/>
          </p:cNvGrpSpPr>
          <p:nvPr/>
        </p:nvGrpSpPr>
        <p:grpSpPr>
          <a:xfrm flipH="1">
            <a:off x="2047874" y="4960494"/>
            <a:ext cx="765105" cy="1049473"/>
            <a:chOff x="9590362" y="1659724"/>
            <a:chExt cx="2578928" cy="3537443"/>
          </a:xfrm>
        </p:grpSpPr>
        <p:grpSp>
          <p:nvGrpSpPr>
            <p:cNvPr id="440" name="Grafik 297">
              <a:extLst>
                <a:ext uri="{FF2B5EF4-FFF2-40B4-BE49-F238E27FC236}">
                  <a16:creationId xmlns:a16="http://schemas.microsoft.com/office/drawing/2014/main" id="{836B07E2-6652-786F-A7FF-0E82497DFDB3}"/>
                </a:ext>
              </a:extLst>
            </p:cNvPr>
            <p:cNvGrpSpPr/>
            <p:nvPr/>
          </p:nvGrpSpPr>
          <p:grpSpPr>
            <a:xfrm>
              <a:off x="11138852" y="1928127"/>
              <a:ext cx="1030438" cy="3268937"/>
              <a:chOff x="11138852" y="1928127"/>
              <a:chExt cx="1030438" cy="3268937"/>
            </a:xfrm>
          </p:grpSpPr>
          <p:grpSp>
            <p:nvGrpSpPr>
              <p:cNvPr id="540" name="Grafik 297">
                <a:extLst>
                  <a:ext uri="{FF2B5EF4-FFF2-40B4-BE49-F238E27FC236}">
                    <a16:creationId xmlns:a16="http://schemas.microsoft.com/office/drawing/2014/main" id="{E3870563-B01F-8B5E-E9AE-6E680249948F}"/>
                  </a:ext>
                </a:extLst>
              </p:cNvPr>
              <p:cNvGrpSpPr/>
              <p:nvPr/>
            </p:nvGrpSpPr>
            <p:grpSpPr>
              <a:xfrm>
                <a:off x="11876781" y="2514754"/>
                <a:ext cx="292510" cy="1386761"/>
                <a:chOff x="11876781" y="2514754"/>
                <a:chExt cx="292510" cy="1386761"/>
              </a:xfrm>
            </p:grpSpPr>
            <p:grpSp>
              <p:nvGrpSpPr>
                <p:cNvPr id="616" name="Grafik 297">
                  <a:extLst>
                    <a:ext uri="{FF2B5EF4-FFF2-40B4-BE49-F238E27FC236}">
                      <a16:creationId xmlns:a16="http://schemas.microsoft.com/office/drawing/2014/main" id="{23161A07-B209-AD77-E474-D8C14BE75818}"/>
                    </a:ext>
                  </a:extLst>
                </p:cNvPr>
                <p:cNvGrpSpPr/>
                <p:nvPr/>
              </p:nvGrpSpPr>
              <p:grpSpPr>
                <a:xfrm>
                  <a:off x="11972799" y="3056405"/>
                  <a:ext cx="164676" cy="555321"/>
                  <a:chOff x="11972799" y="3056405"/>
                  <a:chExt cx="164676" cy="555321"/>
                </a:xfrm>
              </p:grpSpPr>
              <p:sp>
                <p:nvSpPr>
                  <p:cNvPr id="641" name="Freihandform: Form 640">
                    <a:extLst>
                      <a:ext uri="{FF2B5EF4-FFF2-40B4-BE49-F238E27FC236}">
                        <a16:creationId xmlns:a16="http://schemas.microsoft.com/office/drawing/2014/main" id="{CEB78265-FD56-29A3-D312-B5CAE96CAB30}"/>
                      </a:ext>
                    </a:extLst>
                  </p:cNvPr>
                  <p:cNvSpPr/>
                  <p:nvPr/>
                </p:nvSpPr>
                <p:spPr>
                  <a:xfrm>
                    <a:off x="11972799" y="3137396"/>
                    <a:ext cx="164494" cy="474330"/>
                  </a:xfrm>
                  <a:custGeom>
                    <a:avLst/>
                    <a:gdLst>
                      <a:gd name="connsiteX0" fmla="*/ 108364 w 164494"/>
                      <a:gd name="connsiteY0" fmla="*/ 474331 h 474330"/>
                      <a:gd name="connsiteX1" fmla="*/ 24047 w 164494"/>
                      <a:gd name="connsiteY1" fmla="*/ 463686 h 474330"/>
                      <a:gd name="connsiteX2" fmla="*/ 1001 w 164494"/>
                      <a:gd name="connsiteY2" fmla="*/ 0 h 474330"/>
                      <a:gd name="connsiteX3" fmla="*/ 164495 w 164494"/>
                      <a:gd name="connsiteY3" fmla="*/ 9012 h 474330"/>
                      <a:gd name="connsiteX4" fmla="*/ 108364 w 164494"/>
                      <a:gd name="connsiteY4" fmla="*/ 474331 h 4743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4494" h="474330">
                        <a:moveTo>
                          <a:pt x="108364" y="474331"/>
                        </a:moveTo>
                        <a:lnTo>
                          <a:pt x="24047" y="463686"/>
                        </a:lnTo>
                        <a:cubicBezTo>
                          <a:pt x="24047" y="463686"/>
                          <a:pt x="-5773" y="46574"/>
                          <a:pt x="1001" y="0"/>
                        </a:cubicBezTo>
                        <a:lnTo>
                          <a:pt x="164495" y="9012"/>
                        </a:lnTo>
                        <a:cubicBezTo>
                          <a:pt x="144353" y="220350"/>
                          <a:pt x="121792" y="349911"/>
                          <a:pt x="108364" y="474331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42" name="Freihandform: Form 641">
                    <a:extLst>
                      <a:ext uri="{FF2B5EF4-FFF2-40B4-BE49-F238E27FC236}">
                        <a16:creationId xmlns:a16="http://schemas.microsoft.com/office/drawing/2014/main" id="{3EB93E6C-5086-96CF-5B10-BF694D7CC0A2}"/>
                      </a:ext>
                    </a:extLst>
                  </p:cNvPr>
                  <p:cNvSpPr/>
                  <p:nvPr/>
                </p:nvSpPr>
                <p:spPr>
                  <a:xfrm>
                    <a:off x="11974042" y="3056405"/>
                    <a:ext cx="163433" cy="163433"/>
                  </a:xfrm>
                  <a:custGeom>
                    <a:avLst/>
                    <a:gdLst>
                      <a:gd name="connsiteX0" fmla="*/ 163433 w 163433"/>
                      <a:gd name="connsiteY0" fmla="*/ 81717 h 163433"/>
                      <a:gd name="connsiteX1" fmla="*/ 81717 w 163433"/>
                      <a:gd name="connsiteY1" fmla="*/ 163433 h 163433"/>
                      <a:gd name="connsiteX2" fmla="*/ 0 w 163433"/>
                      <a:gd name="connsiteY2" fmla="*/ 81717 h 163433"/>
                      <a:gd name="connsiteX3" fmla="*/ 81717 w 163433"/>
                      <a:gd name="connsiteY3" fmla="*/ 0 h 163433"/>
                      <a:gd name="connsiteX4" fmla="*/ 163433 w 163433"/>
                      <a:gd name="connsiteY4" fmla="*/ 81717 h 1634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3433" h="163433">
                        <a:moveTo>
                          <a:pt x="163433" y="81717"/>
                        </a:moveTo>
                        <a:cubicBezTo>
                          <a:pt x="163433" y="126847"/>
                          <a:pt x="126848" y="163433"/>
                          <a:pt x="81717" y="163433"/>
                        </a:cubicBezTo>
                        <a:cubicBezTo>
                          <a:pt x="36586" y="163433"/>
                          <a:pt x="0" y="126847"/>
                          <a:pt x="0" y="81717"/>
                        </a:cubicBezTo>
                        <a:cubicBezTo>
                          <a:pt x="0" y="36586"/>
                          <a:pt x="36586" y="0"/>
                          <a:pt x="81717" y="0"/>
                        </a:cubicBezTo>
                        <a:cubicBezTo>
                          <a:pt x="126848" y="0"/>
                          <a:pt x="163433" y="36586"/>
                          <a:pt x="163433" y="81717"/>
                        </a:cubicBezTo>
                        <a:close/>
                      </a:path>
                    </a:pathLst>
                  </a:custGeom>
                  <a:solidFill>
                    <a:srgbClr val="F9D9D2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43" name="Freihandform: Form 642">
                    <a:extLst>
                      <a:ext uri="{FF2B5EF4-FFF2-40B4-BE49-F238E27FC236}">
                        <a16:creationId xmlns:a16="http://schemas.microsoft.com/office/drawing/2014/main" id="{746E3BE2-7D83-9146-43D4-C2D628C2F89D}"/>
                      </a:ext>
                    </a:extLst>
                  </p:cNvPr>
                  <p:cNvSpPr/>
                  <p:nvPr/>
                </p:nvSpPr>
                <p:spPr>
                  <a:xfrm>
                    <a:off x="11992974" y="3544769"/>
                    <a:ext cx="94962" cy="66957"/>
                  </a:xfrm>
                  <a:custGeom>
                    <a:avLst/>
                    <a:gdLst>
                      <a:gd name="connsiteX0" fmla="*/ 0 w 94962"/>
                      <a:gd name="connsiteY0" fmla="*/ 0 h 66957"/>
                      <a:gd name="connsiteX1" fmla="*/ 3932 w 94962"/>
                      <a:gd name="connsiteY1" fmla="*/ 56312 h 66957"/>
                      <a:gd name="connsiteX2" fmla="*/ 88249 w 94962"/>
                      <a:gd name="connsiteY2" fmla="*/ 66958 h 66957"/>
                      <a:gd name="connsiteX3" fmla="*/ 94963 w 94962"/>
                      <a:gd name="connsiteY3" fmla="*/ 9617 h 66957"/>
                      <a:gd name="connsiteX4" fmla="*/ 0 w 94962"/>
                      <a:gd name="connsiteY4" fmla="*/ 0 h 66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4962" h="66957">
                        <a:moveTo>
                          <a:pt x="0" y="0"/>
                        </a:moveTo>
                        <a:cubicBezTo>
                          <a:pt x="2359" y="34356"/>
                          <a:pt x="3932" y="56312"/>
                          <a:pt x="3932" y="56312"/>
                        </a:cubicBezTo>
                        <a:lnTo>
                          <a:pt x="88249" y="66958"/>
                        </a:lnTo>
                        <a:cubicBezTo>
                          <a:pt x="90305" y="48026"/>
                          <a:pt x="92543" y="29033"/>
                          <a:pt x="94963" y="9617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617" name="Freihandform: Form 616">
                  <a:extLst>
                    <a:ext uri="{FF2B5EF4-FFF2-40B4-BE49-F238E27FC236}">
                      <a16:creationId xmlns:a16="http://schemas.microsoft.com/office/drawing/2014/main" id="{36EFA170-BD0C-F326-751E-6C2CAB5F4231}"/>
                    </a:ext>
                  </a:extLst>
                </p:cNvPr>
                <p:cNvSpPr/>
                <p:nvPr/>
              </p:nvSpPr>
              <p:spPr>
                <a:xfrm>
                  <a:off x="11916157" y="2526609"/>
                  <a:ext cx="253134" cy="668188"/>
                </a:xfrm>
                <a:custGeom>
                  <a:avLst/>
                  <a:gdLst>
                    <a:gd name="connsiteX0" fmla="*/ 114258 w 253134"/>
                    <a:gd name="connsiteY0" fmla="*/ 0 h 668188"/>
                    <a:gd name="connsiteX1" fmla="*/ 194644 w 253134"/>
                    <a:gd name="connsiteY1" fmla="*/ 160409 h 668188"/>
                    <a:gd name="connsiteX2" fmla="*/ 253134 w 253134"/>
                    <a:gd name="connsiteY2" fmla="*/ 666434 h 668188"/>
                    <a:gd name="connsiteX3" fmla="*/ 41312 w 253134"/>
                    <a:gd name="connsiteY3" fmla="*/ 668189 h 668188"/>
                    <a:gd name="connsiteX4" fmla="*/ 0 w 253134"/>
                    <a:gd name="connsiteY4" fmla="*/ 175167 h 668188"/>
                    <a:gd name="connsiteX5" fmla="*/ 114198 w 253134"/>
                    <a:gd name="connsiteY5" fmla="*/ 0 h 6681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53134" h="668188">
                      <a:moveTo>
                        <a:pt x="114258" y="0"/>
                      </a:moveTo>
                      <a:cubicBezTo>
                        <a:pt x="114258" y="0"/>
                        <a:pt x="178192" y="18993"/>
                        <a:pt x="194644" y="160409"/>
                      </a:cubicBezTo>
                      <a:cubicBezTo>
                        <a:pt x="211096" y="301825"/>
                        <a:pt x="253134" y="666434"/>
                        <a:pt x="253134" y="666434"/>
                      </a:cubicBezTo>
                      <a:lnTo>
                        <a:pt x="41312" y="668189"/>
                      </a:lnTo>
                      <a:lnTo>
                        <a:pt x="0" y="175167"/>
                      </a:lnTo>
                      <a:lnTo>
                        <a:pt x="114198" y="0"/>
                      </a:ln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18" name="Freihandform: Form 617">
                  <a:extLst>
                    <a:ext uri="{FF2B5EF4-FFF2-40B4-BE49-F238E27FC236}">
                      <a16:creationId xmlns:a16="http://schemas.microsoft.com/office/drawing/2014/main" id="{5F81FBFF-1238-3359-415D-D355D98D45E4}"/>
                    </a:ext>
                  </a:extLst>
                </p:cNvPr>
                <p:cNvSpPr/>
                <p:nvPr/>
              </p:nvSpPr>
              <p:spPr>
                <a:xfrm>
                  <a:off x="11876781" y="2514754"/>
                  <a:ext cx="210128" cy="210128"/>
                </a:xfrm>
                <a:custGeom>
                  <a:avLst/>
                  <a:gdLst>
                    <a:gd name="connsiteX0" fmla="*/ 210129 w 210128"/>
                    <a:gd name="connsiteY0" fmla="*/ 105064 h 210128"/>
                    <a:gd name="connsiteX1" fmla="*/ 105064 w 210128"/>
                    <a:gd name="connsiteY1" fmla="*/ 210128 h 210128"/>
                    <a:gd name="connsiteX2" fmla="*/ 0 w 210128"/>
                    <a:gd name="connsiteY2" fmla="*/ 105064 h 210128"/>
                    <a:gd name="connsiteX3" fmla="*/ 105064 w 210128"/>
                    <a:gd name="connsiteY3" fmla="*/ 0 h 210128"/>
                    <a:gd name="connsiteX4" fmla="*/ 210129 w 210128"/>
                    <a:gd name="connsiteY4" fmla="*/ 105064 h 2101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0128" h="210128">
                      <a:moveTo>
                        <a:pt x="210129" y="105064"/>
                      </a:moveTo>
                      <a:cubicBezTo>
                        <a:pt x="210129" y="163089"/>
                        <a:pt x="163089" y="210128"/>
                        <a:pt x="105064" y="210128"/>
                      </a:cubicBezTo>
                      <a:cubicBezTo>
                        <a:pt x="47039" y="210128"/>
                        <a:pt x="0" y="163089"/>
                        <a:pt x="0" y="105064"/>
                      </a:cubicBezTo>
                      <a:cubicBezTo>
                        <a:pt x="0" y="47039"/>
                        <a:pt x="47039" y="0"/>
                        <a:pt x="105064" y="0"/>
                      </a:cubicBezTo>
                      <a:cubicBezTo>
                        <a:pt x="163089" y="0"/>
                        <a:pt x="210129" y="47039"/>
                        <a:pt x="210129" y="105064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619" name="Grafik 297">
                  <a:extLst>
                    <a:ext uri="{FF2B5EF4-FFF2-40B4-BE49-F238E27FC236}">
                      <a16:creationId xmlns:a16="http://schemas.microsoft.com/office/drawing/2014/main" id="{55FDE164-7002-6F8F-BAF8-E345E7D3ED56}"/>
                    </a:ext>
                  </a:extLst>
                </p:cNvPr>
                <p:cNvGrpSpPr/>
                <p:nvPr/>
              </p:nvGrpSpPr>
              <p:grpSpPr>
                <a:xfrm>
                  <a:off x="11946098" y="3566242"/>
                  <a:ext cx="143230" cy="335273"/>
                  <a:chOff x="11946098" y="3566242"/>
                  <a:chExt cx="143230" cy="335273"/>
                </a:xfrm>
                <a:solidFill>
                  <a:srgbClr val="02787D"/>
                </a:solidFill>
              </p:grpSpPr>
              <p:grpSp>
                <p:nvGrpSpPr>
                  <p:cNvPr id="620" name="Grafik 297">
                    <a:extLst>
                      <a:ext uri="{FF2B5EF4-FFF2-40B4-BE49-F238E27FC236}">
                        <a16:creationId xmlns:a16="http://schemas.microsoft.com/office/drawing/2014/main" id="{5066CE1E-BCA9-1B64-0378-E337D157166A}"/>
                      </a:ext>
                    </a:extLst>
                  </p:cNvPr>
                  <p:cNvGrpSpPr/>
                  <p:nvPr/>
                </p:nvGrpSpPr>
                <p:grpSpPr>
                  <a:xfrm>
                    <a:off x="11991897" y="3779147"/>
                    <a:ext cx="71060" cy="63636"/>
                    <a:chOff x="11991897" y="3779147"/>
                    <a:chExt cx="71060" cy="63636"/>
                  </a:xfrm>
                  <a:solidFill>
                    <a:srgbClr val="02787D"/>
                  </a:solidFill>
                </p:grpSpPr>
                <p:sp>
                  <p:nvSpPr>
                    <p:cNvPr id="639" name="Freihandform: Form 638">
                      <a:extLst>
                        <a:ext uri="{FF2B5EF4-FFF2-40B4-BE49-F238E27FC236}">
                          <a16:creationId xmlns:a16="http://schemas.microsoft.com/office/drawing/2014/main" id="{747CAA7A-21CB-09C2-1F9F-9B2257023B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91897" y="3797206"/>
                      <a:ext cx="39028" cy="45577"/>
                    </a:xfrm>
                    <a:custGeom>
                      <a:avLst/>
                      <a:gdLst>
                        <a:gd name="connsiteX0" fmla="*/ 1924 w 39028"/>
                        <a:gd name="connsiteY0" fmla="*/ 45577 h 45577"/>
                        <a:gd name="connsiteX1" fmla="*/ 26179 w 39028"/>
                        <a:gd name="connsiteY1" fmla="*/ 33298 h 45577"/>
                        <a:gd name="connsiteX2" fmla="*/ 38759 w 39028"/>
                        <a:gd name="connsiteY2" fmla="*/ 6443 h 45577"/>
                        <a:gd name="connsiteX3" fmla="*/ 37005 w 39028"/>
                        <a:gd name="connsiteY3" fmla="*/ 31 h 45577"/>
                        <a:gd name="connsiteX4" fmla="*/ 9968 w 39028"/>
                        <a:gd name="connsiteY4" fmla="*/ 19568 h 45577"/>
                        <a:gd name="connsiteX5" fmla="*/ 1984 w 39028"/>
                        <a:gd name="connsiteY5" fmla="*/ 45577 h 45577"/>
                        <a:gd name="connsiteX6" fmla="*/ 1984 w 39028"/>
                        <a:gd name="connsiteY6" fmla="*/ 45577 h 4557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9028" h="45577">
                          <a:moveTo>
                            <a:pt x="1924" y="45577"/>
                          </a:moveTo>
                          <a:lnTo>
                            <a:pt x="26179" y="33298"/>
                          </a:lnTo>
                          <a:cubicBezTo>
                            <a:pt x="35312" y="28460"/>
                            <a:pt x="40272" y="18721"/>
                            <a:pt x="38759" y="6443"/>
                          </a:cubicBezTo>
                          <a:cubicBezTo>
                            <a:pt x="38276" y="2511"/>
                            <a:pt x="37670" y="-332"/>
                            <a:pt x="37005" y="31"/>
                          </a:cubicBezTo>
                          <a:cubicBezTo>
                            <a:pt x="35614" y="636"/>
                            <a:pt x="24061" y="8923"/>
                            <a:pt x="9968" y="19568"/>
                          </a:cubicBezTo>
                          <a:cubicBezTo>
                            <a:pt x="1077" y="26343"/>
                            <a:pt x="-2613" y="32875"/>
                            <a:pt x="1984" y="45577"/>
                          </a:cubicBezTo>
                          <a:lnTo>
                            <a:pt x="1984" y="45577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40" name="Freihandform: Form 639">
                      <a:extLst>
                        <a:ext uri="{FF2B5EF4-FFF2-40B4-BE49-F238E27FC236}">
                          <a16:creationId xmlns:a16="http://schemas.microsoft.com/office/drawing/2014/main" id="{FBBE33C0-D0DB-09D7-F252-6D83F8522D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013756" y="3779147"/>
                      <a:ext cx="49201" cy="51418"/>
                    </a:xfrm>
                    <a:custGeom>
                      <a:avLst/>
                      <a:gdLst>
                        <a:gd name="connsiteX0" fmla="*/ 4320 w 49201"/>
                        <a:gd name="connsiteY0" fmla="*/ 51358 h 51418"/>
                        <a:gd name="connsiteX1" fmla="*/ 41518 w 49201"/>
                        <a:gd name="connsiteY1" fmla="*/ 30793 h 51418"/>
                        <a:gd name="connsiteX2" fmla="*/ 49019 w 49201"/>
                        <a:gd name="connsiteY2" fmla="*/ 24139 h 51418"/>
                        <a:gd name="connsiteX3" fmla="*/ 28454 w 49201"/>
                        <a:gd name="connsiteY3" fmla="*/ 5 h 51418"/>
                        <a:gd name="connsiteX4" fmla="*/ 6558 w 49201"/>
                        <a:gd name="connsiteY4" fmla="*/ 23655 h 51418"/>
                        <a:gd name="connsiteX5" fmla="*/ 4320 w 49201"/>
                        <a:gd name="connsiteY5" fmla="*/ 51418 h 51418"/>
                        <a:gd name="connsiteX6" fmla="*/ 4320 w 49201"/>
                        <a:gd name="connsiteY6" fmla="*/ 51418 h 5141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9201" h="51418">
                          <a:moveTo>
                            <a:pt x="4320" y="51358"/>
                          </a:moveTo>
                          <a:lnTo>
                            <a:pt x="41518" y="30793"/>
                          </a:lnTo>
                          <a:cubicBezTo>
                            <a:pt x="46055" y="28071"/>
                            <a:pt x="47748" y="25712"/>
                            <a:pt x="49019" y="24139"/>
                          </a:cubicBezTo>
                          <a:cubicBezTo>
                            <a:pt x="50894" y="12163"/>
                            <a:pt x="37950" y="-297"/>
                            <a:pt x="28454" y="5"/>
                          </a:cubicBezTo>
                          <a:lnTo>
                            <a:pt x="6558" y="23655"/>
                          </a:lnTo>
                          <a:cubicBezTo>
                            <a:pt x="-2092" y="29825"/>
                            <a:pt x="-1487" y="39442"/>
                            <a:pt x="4320" y="51418"/>
                          </a:cubicBezTo>
                          <a:lnTo>
                            <a:pt x="4320" y="51418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621" name="Grafik 297">
                    <a:extLst>
                      <a:ext uri="{FF2B5EF4-FFF2-40B4-BE49-F238E27FC236}">
                        <a16:creationId xmlns:a16="http://schemas.microsoft.com/office/drawing/2014/main" id="{499E4008-7939-E0B4-3318-4231A1FCBB4C}"/>
                      </a:ext>
                    </a:extLst>
                  </p:cNvPr>
                  <p:cNvGrpSpPr/>
                  <p:nvPr/>
                </p:nvGrpSpPr>
                <p:grpSpPr>
                  <a:xfrm>
                    <a:off x="11985158" y="3753599"/>
                    <a:ext cx="101447" cy="124931"/>
                    <a:chOff x="11985158" y="3753599"/>
                    <a:chExt cx="101447" cy="124931"/>
                  </a:xfrm>
                  <a:solidFill>
                    <a:srgbClr val="02787D"/>
                  </a:solidFill>
                </p:grpSpPr>
                <p:sp>
                  <p:nvSpPr>
                    <p:cNvPr id="636" name="Freihandform: Form 635">
                      <a:extLst>
                        <a:ext uri="{FF2B5EF4-FFF2-40B4-BE49-F238E27FC236}">
                          <a16:creationId xmlns:a16="http://schemas.microsoft.com/office/drawing/2014/main" id="{7EE8DE6F-4A67-D8CD-0D4A-777592E5E7F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85158" y="3820113"/>
                      <a:ext cx="47131" cy="58418"/>
                    </a:xfrm>
                    <a:custGeom>
                      <a:avLst/>
                      <a:gdLst>
                        <a:gd name="connsiteX0" fmla="*/ 2493 w 47131"/>
                        <a:gd name="connsiteY0" fmla="*/ 58418 h 58418"/>
                        <a:gd name="connsiteX1" fmla="*/ 31768 w 47131"/>
                        <a:gd name="connsiteY1" fmla="*/ 40091 h 58418"/>
                        <a:gd name="connsiteX2" fmla="*/ 46768 w 47131"/>
                        <a:gd name="connsiteY2" fmla="*/ 7126 h 58418"/>
                        <a:gd name="connsiteX3" fmla="*/ 44530 w 47131"/>
                        <a:gd name="connsiteY3" fmla="*/ 49 h 58418"/>
                        <a:gd name="connsiteX4" fmla="*/ 11928 w 47131"/>
                        <a:gd name="connsiteY4" fmla="*/ 27207 h 58418"/>
                        <a:gd name="connsiteX5" fmla="*/ 2493 w 47131"/>
                        <a:gd name="connsiteY5" fmla="*/ 58418 h 58418"/>
                        <a:gd name="connsiteX6" fmla="*/ 2493 w 47131"/>
                        <a:gd name="connsiteY6" fmla="*/ 58418 h 5841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7131" h="58418">
                          <a:moveTo>
                            <a:pt x="2493" y="58418"/>
                          </a:moveTo>
                          <a:lnTo>
                            <a:pt x="31768" y="40091"/>
                          </a:lnTo>
                          <a:cubicBezTo>
                            <a:pt x="42777" y="32953"/>
                            <a:pt x="48704" y="20917"/>
                            <a:pt x="46768" y="7126"/>
                          </a:cubicBezTo>
                          <a:cubicBezTo>
                            <a:pt x="46164" y="2710"/>
                            <a:pt x="45377" y="-435"/>
                            <a:pt x="44530" y="49"/>
                          </a:cubicBezTo>
                          <a:cubicBezTo>
                            <a:pt x="42897" y="1017"/>
                            <a:pt x="28925" y="12509"/>
                            <a:pt x="11928" y="27207"/>
                          </a:cubicBezTo>
                          <a:cubicBezTo>
                            <a:pt x="1223" y="36522"/>
                            <a:pt x="-3193" y="44627"/>
                            <a:pt x="2493" y="58418"/>
                          </a:cubicBezTo>
                          <a:lnTo>
                            <a:pt x="2493" y="58418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37" name="Freihandform: Form 636">
                      <a:extLst>
                        <a:ext uri="{FF2B5EF4-FFF2-40B4-BE49-F238E27FC236}">
                          <a16:creationId xmlns:a16="http://schemas.microsoft.com/office/drawing/2014/main" id="{5835A037-26B5-FB20-13E0-B5A66DE49A0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010819" y="3786350"/>
                      <a:ext cx="62106" cy="74155"/>
                    </a:xfrm>
                    <a:custGeom>
                      <a:avLst/>
                      <a:gdLst>
                        <a:gd name="connsiteX0" fmla="*/ 5381 w 62106"/>
                        <a:gd name="connsiteY0" fmla="*/ 74156 h 74155"/>
                        <a:gd name="connsiteX1" fmla="*/ 50080 w 62106"/>
                        <a:gd name="connsiteY1" fmla="*/ 45546 h 74155"/>
                        <a:gd name="connsiteX2" fmla="*/ 55766 w 62106"/>
                        <a:gd name="connsiteY2" fmla="*/ 3569 h 74155"/>
                        <a:gd name="connsiteX3" fmla="*/ 50927 w 62106"/>
                        <a:gd name="connsiteY3" fmla="*/ 0 h 74155"/>
                        <a:gd name="connsiteX4" fmla="*/ 7801 w 62106"/>
                        <a:gd name="connsiteY4" fmla="*/ 41917 h 74155"/>
                        <a:gd name="connsiteX5" fmla="*/ 5381 w 62106"/>
                        <a:gd name="connsiteY5" fmla="*/ 74095 h 74155"/>
                        <a:gd name="connsiteX6" fmla="*/ 5381 w 62106"/>
                        <a:gd name="connsiteY6" fmla="*/ 74095 h 7415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62106" h="74155">
                          <a:moveTo>
                            <a:pt x="5381" y="74156"/>
                          </a:moveTo>
                          <a:lnTo>
                            <a:pt x="50080" y="45546"/>
                          </a:lnTo>
                          <a:cubicBezTo>
                            <a:pt x="63508" y="36776"/>
                            <a:pt x="66109" y="17601"/>
                            <a:pt x="55766" y="3569"/>
                          </a:cubicBezTo>
                          <a:lnTo>
                            <a:pt x="50927" y="0"/>
                          </a:lnTo>
                          <a:lnTo>
                            <a:pt x="7801" y="41917"/>
                          </a:lnTo>
                          <a:cubicBezTo>
                            <a:pt x="-2603" y="50506"/>
                            <a:pt x="-1756" y="61393"/>
                            <a:pt x="5381" y="74095"/>
                          </a:cubicBezTo>
                          <a:lnTo>
                            <a:pt x="5381" y="74095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38" name="Freihandform: Form 637">
                      <a:extLst>
                        <a:ext uri="{FF2B5EF4-FFF2-40B4-BE49-F238E27FC236}">
                          <a16:creationId xmlns:a16="http://schemas.microsoft.com/office/drawing/2014/main" id="{525D8F20-59EC-4573-ED78-9553A6D4369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044011" y="3753599"/>
                      <a:ext cx="42594" cy="70796"/>
                    </a:xfrm>
                    <a:custGeom>
                      <a:avLst/>
                      <a:gdLst>
                        <a:gd name="connsiteX0" fmla="*/ 42595 w 42594"/>
                        <a:gd name="connsiteY0" fmla="*/ 9343 h 70796"/>
                        <a:gd name="connsiteX1" fmla="*/ 28139 w 42594"/>
                        <a:gd name="connsiteY1" fmla="*/ 64506 h 70796"/>
                        <a:gd name="connsiteX2" fmla="*/ 24207 w 42594"/>
                        <a:gd name="connsiteY2" fmla="*/ 70797 h 70796"/>
                        <a:gd name="connsiteX3" fmla="*/ 194 w 42594"/>
                        <a:gd name="connsiteY3" fmla="*/ 37167 h 70796"/>
                        <a:gd name="connsiteX4" fmla="*/ 2976 w 42594"/>
                        <a:gd name="connsiteY4" fmla="*/ 6561 h 70796"/>
                        <a:gd name="connsiteX5" fmla="*/ 42595 w 42594"/>
                        <a:gd name="connsiteY5" fmla="*/ 9343 h 7079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594" h="70796">
                          <a:moveTo>
                            <a:pt x="42595" y="9343"/>
                          </a:moveTo>
                          <a:cubicBezTo>
                            <a:pt x="39813" y="20775"/>
                            <a:pt x="28139" y="64506"/>
                            <a:pt x="28139" y="64506"/>
                          </a:cubicBezTo>
                          <a:lnTo>
                            <a:pt x="24207" y="70797"/>
                          </a:lnTo>
                          <a:cubicBezTo>
                            <a:pt x="7997" y="67047"/>
                            <a:pt x="-1500" y="52409"/>
                            <a:pt x="194" y="37167"/>
                          </a:cubicBezTo>
                          <a:lnTo>
                            <a:pt x="2976" y="6561"/>
                          </a:lnTo>
                          <a:cubicBezTo>
                            <a:pt x="9751" y="-2633"/>
                            <a:pt x="39873" y="-2573"/>
                            <a:pt x="42595" y="9343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622" name="Grafik 297">
                    <a:extLst>
                      <a:ext uri="{FF2B5EF4-FFF2-40B4-BE49-F238E27FC236}">
                        <a16:creationId xmlns:a16="http://schemas.microsoft.com/office/drawing/2014/main" id="{97665069-850C-2F65-6241-50DC3ECBB086}"/>
                      </a:ext>
                    </a:extLst>
                  </p:cNvPr>
                  <p:cNvGrpSpPr/>
                  <p:nvPr/>
                </p:nvGrpSpPr>
                <p:grpSpPr>
                  <a:xfrm>
                    <a:off x="11990326" y="3742989"/>
                    <a:ext cx="85513" cy="158526"/>
                    <a:chOff x="11990326" y="3742989"/>
                    <a:chExt cx="85513" cy="158526"/>
                  </a:xfrm>
                  <a:solidFill>
                    <a:srgbClr val="02787D"/>
                  </a:solidFill>
                </p:grpSpPr>
                <p:sp>
                  <p:nvSpPr>
                    <p:cNvPr id="633" name="Freihandform: Form 632">
                      <a:extLst>
                        <a:ext uri="{FF2B5EF4-FFF2-40B4-BE49-F238E27FC236}">
                          <a16:creationId xmlns:a16="http://schemas.microsoft.com/office/drawing/2014/main" id="{32DA2FA3-098A-9643-B91F-F1A271F3BD8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90326" y="3824551"/>
                      <a:ext cx="38110" cy="76964"/>
                    </a:xfrm>
                    <a:custGeom>
                      <a:avLst/>
                      <a:gdLst>
                        <a:gd name="connsiteX0" fmla="*/ 8575 w 38110"/>
                        <a:gd name="connsiteY0" fmla="*/ 76904 h 76964"/>
                        <a:gd name="connsiteX1" fmla="*/ 31076 w 38110"/>
                        <a:gd name="connsiteY1" fmla="*/ 46298 h 76964"/>
                        <a:gd name="connsiteX2" fmla="*/ 33012 w 38110"/>
                        <a:gd name="connsiteY2" fmla="*/ 6498 h 76964"/>
                        <a:gd name="connsiteX3" fmla="*/ 27870 w 38110"/>
                        <a:gd name="connsiteY3" fmla="*/ 147 h 76964"/>
                        <a:gd name="connsiteX4" fmla="*/ 5491 w 38110"/>
                        <a:gd name="connsiteY4" fmla="*/ 41157 h 76964"/>
                        <a:gd name="connsiteX5" fmla="*/ 8515 w 38110"/>
                        <a:gd name="connsiteY5" fmla="*/ 76964 h 76964"/>
                        <a:gd name="connsiteX6" fmla="*/ 8515 w 38110"/>
                        <a:gd name="connsiteY6" fmla="*/ 76964 h 769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8110" h="76964">
                          <a:moveTo>
                            <a:pt x="8575" y="76904"/>
                          </a:moveTo>
                          <a:lnTo>
                            <a:pt x="31076" y="46298"/>
                          </a:lnTo>
                          <a:cubicBezTo>
                            <a:pt x="39484" y="34563"/>
                            <a:pt x="40633" y="19805"/>
                            <a:pt x="33012" y="6498"/>
                          </a:cubicBezTo>
                          <a:cubicBezTo>
                            <a:pt x="30592" y="2204"/>
                            <a:pt x="28536" y="-700"/>
                            <a:pt x="27870" y="147"/>
                          </a:cubicBezTo>
                          <a:cubicBezTo>
                            <a:pt x="26540" y="1780"/>
                            <a:pt x="16922" y="19200"/>
                            <a:pt x="5491" y="41157"/>
                          </a:cubicBezTo>
                          <a:cubicBezTo>
                            <a:pt x="-1707" y="55008"/>
                            <a:pt x="-2917" y="65109"/>
                            <a:pt x="8515" y="76964"/>
                          </a:cubicBezTo>
                          <a:lnTo>
                            <a:pt x="8515" y="76964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34" name="Freihandform: Form 633">
                      <a:extLst>
                        <a:ext uri="{FF2B5EF4-FFF2-40B4-BE49-F238E27FC236}">
                          <a16:creationId xmlns:a16="http://schemas.microsoft.com/office/drawing/2014/main" id="{EB7B1FA4-CDC3-8DFF-90CD-FE9BDCC71AE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005558" y="3796330"/>
                      <a:ext cx="52356" cy="76575"/>
                    </a:xfrm>
                    <a:custGeom>
                      <a:avLst/>
                      <a:gdLst>
                        <a:gd name="connsiteX0" fmla="*/ 14271 w 52356"/>
                        <a:gd name="connsiteY0" fmla="*/ 76575 h 76575"/>
                        <a:gd name="connsiteX1" fmla="*/ 48144 w 52356"/>
                        <a:gd name="connsiteY1" fmla="*/ 28852 h 76575"/>
                        <a:gd name="connsiteX2" fmla="*/ 29817 w 52356"/>
                        <a:gd name="connsiteY2" fmla="*/ 1815 h 76575"/>
                        <a:gd name="connsiteX3" fmla="*/ 27518 w 52356"/>
                        <a:gd name="connsiteY3" fmla="*/ 0 h 76575"/>
                        <a:gd name="connsiteX4" fmla="*/ 3384 w 52356"/>
                        <a:gd name="connsiteY4" fmla="*/ 42280 h 76575"/>
                        <a:gd name="connsiteX5" fmla="*/ 13425 w 52356"/>
                        <a:gd name="connsiteY5" fmla="*/ 75910 h 76575"/>
                        <a:gd name="connsiteX6" fmla="*/ 14271 w 52356"/>
                        <a:gd name="connsiteY6" fmla="*/ 76575 h 7657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52356" h="76575">
                          <a:moveTo>
                            <a:pt x="14271" y="76575"/>
                          </a:moveTo>
                          <a:lnTo>
                            <a:pt x="48144" y="28852"/>
                          </a:lnTo>
                          <a:cubicBezTo>
                            <a:pt x="58366" y="14396"/>
                            <a:pt x="49111" y="6714"/>
                            <a:pt x="29817" y="1815"/>
                          </a:cubicBezTo>
                          <a:lnTo>
                            <a:pt x="27518" y="0"/>
                          </a:lnTo>
                          <a:lnTo>
                            <a:pt x="3384" y="42280"/>
                          </a:lnTo>
                          <a:cubicBezTo>
                            <a:pt x="-3814" y="55284"/>
                            <a:pt x="904" y="65809"/>
                            <a:pt x="13425" y="75910"/>
                          </a:cubicBezTo>
                          <a:lnTo>
                            <a:pt x="14271" y="76575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35" name="Freihandform: Form 634">
                      <a:extLst>
                        <a:ext uri="{FF2B5EF4-FFF2-40B4-BE49-F238E27FC236}">
                          <a16:creationId xmlns:a16="http://schemas.microsoft.com/office/drawing/2014/main" id="{EC373F80-76CE-27BA-0FD1-1E454659E67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031820" y="3742989"/>
                      <a:ext cx="44019" cy="76991"/>
                    </a:xfrm>
                    <a:custGeom>
                      <a:avLst/>
                      <a:gdLst>
                        <a:gd name="connsiteX0" fmla="*/ 43959 w 44019"/>
                        <a:gd name="connsiteY0" fmla="*/ 12090 h 76991"/>
                        <a:gd name="connsiteX1" fmla="*/ 24725 w 44019"/>
                        <a:gd name="connsiteY1" fmla="*/ 76991 h 76991"/>
                        <a:gd name="connsiteX2" fmla="*/ 228 w 44019"/>
                        <a:gd name="connsiteY2" fmla="*/ 53886 h 76991"/>
                        <a:gd name="connsiteX3" fmla="*/ 4764 w 44019"/>
                        <a:gd name="connsiteY3" fmla="*/ 5981 h 76991"/>
                        <a:gd name="connsiteX4" fmla="*/ 44019 w 44019"/>
                        <a:gd name="connsiteY4" fmla="*/ 12150 h 7699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4019" h="76991">
                          <a:moveTo>
                            <a:pt x="43959" y="12090"/>
                          </a:moveTo>
                          <a:cubicBezTo>
                            <a:pt x="43778" y="13300"/>
                            <a:pt x="24725" y="76991"/>
                            <a:pt x="24725" y="76991"/>
                          </a:cubicBezTo>
                          <a:cubicBezTo>
                            <a:pt x="6881" y="72939"/>
                            <a:pt x="-1527" y="70640"/>
                            <a:pt x="228" y="53886"/>
                          </a:cubicBezTo>
                          <a:lnTo>
                            <a:pt x="4764" y="5981"/>
                          </a:lnTo>
                          <a:cubicBezTo>
                            <a:pt x="12143" y="-4181"/>
                            <a:pt x="40935" y="-915"/>
                            <a:pt x="44019" y="12150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623" name="Grafik 297">
                    <a:extLst>
                      <a:ext uri="{FF2B5EF4-FFF2-40B4-BE49-F238E27FC236}">
                        <a16:creationId xmlns:a16="http://schemas.microsoft.com/office/drawing/2014/main" id="{3C0D113C-4E5B-CD13-8F35-1469A0901BDC}"/>
                      </a:ext>
                    </a:extLst>
                  </p:cNvPr>
                  <p:cNvGrpSpPr/>
                  <p:nvPr/>
                </p:nvGrpSpPr>
                <p:grpSpPr>
                  <a:xfrm>
                    <a:off x="11987985" y="3749196"/>
                    <a:ext cx="74487" cy="151835"/>
                    <a:chOff x="11987985" y="3749196"/>
                    <a:chExt cx="74487" cy="151835"/>
                  </a:xfrm>
                  <a:solidFill>
                    <a:srgbClr val="02787D"/>
                  </a:solidFill>
                </p:grpSpPr>
                <p:sp>
                  <p:nvSpPr>
                    <p:cNvPr id="630" name="Freihandform: Form 629">
                      <a:extLst>
                        <a:ext uri="{FF2B5EF4-FFF2-40B4-BE49-F238E27FC236}">
                          <a16:creationId xmlns:a16="http://schemas.microsoft.com/office/drawing/2014/main" id="{B635068F-182D-C3C2-58D9-D1D37A3CF4C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87985" y="3830759"/>
                      <a:ext cx="34589" cy="70272"/>
                    </a:xfrm>
                    <a:custGeom>
                      <a:avLst/>
                      <a:gdLst>
                        <a:gd name="connsiteX0" fmla="*/ 10917 w 34589"/>
                        <a:gd name="connsiteY0" fmla="*/ 70273 h 70272"/>
                        <a:gd name="connsiteX1" fmla="*/ 29426 w 34589"/>
                        <a:gd name="connsiteY1" fmla="*/ 40393 h 70272"/>
                        <a:gd name="connsiteX2" fmla="*/ 27672 w 34589"/>
                        <a:gd name="connsiteY2" fmla="*/ 5371 h 70272"/>
                        <a:gd name="connsiteX3" fmla="*/ 21744 w 34589"/>
                        <a:gd name="connsiteY3" fmla="*/ 169 h 70272"/>
                        <a:gd name="connsiteX4" fmla="*/ 3356 w 34589"/>
                        <a:gd name="connsiteY4" fmla="*/ 38215 h 70272"/>
                        <a:gd name="connsiteX5" fmla="*/ 10978 w 34589"/>
                        <a:gd name="connsiteY5" fmla="*/ 70273 h 70272"/>
                        <a:gd name="connsiteX6" fmla="*/ 10978 w 34589"/>
                        <a:gd name="connsiteY6" fmla="*/ 70273 h 7027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4589" h="70272">
                          <a:moveTo>
                            <a:pt x="10917" y="70273"/>
                          </a:moveTo>
                          <a:lnTo>
                            <a:pt x="29426" y="40393"/>
                          </a:lnTo>
                          <a:cubicBezTo>
                            <a:pt x="36260" y="28961"/>
                            <a:pt x="36926" y="16743"/>
                            <a:pt x="27672" y="5371"/>
                          </a:cubicBezTo>
                          <a:cubicBezTo>
                            <a:pt x="24708" y="1742"/>
                            <a:pt x="22288" y="-677"/>
                            <a:pt x="21744" y="169"/>
                          </a:cubicBezTo>
                          <a:cubicBezTo>
                            <a:pt x="20655" y="1803"/>
                            <a:pt x="11885" y="17287"/>
                            <a:pt x="3356" y="38215"/>
                          </a:cubicBezTo>
                          <a:cubicBezTo>
                            <a:pt x="-2027" y="51461"/>
                            <a:pt x="-1906" y="60716"/>
                            <a:pt x="10978" y="70273"/>
                          </a:cubicBezTo>
                          <a:lnTo>
                            <a:pt x="10978" y="70273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31" name="Freihandform: Form 630">
                      <a:extLst>
                        <a:ext uri="{FF2B5EF4-FFF2-40B4-BE49-F238E27FC236}">
                          <a16:creationId xmlns:a16="http://schemas.microsoft.com/office/drawing/2014/main" id="{F7B967E9-5026-A34D-EF54-01CEF70533F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001678" y="3796330"/>
                      <a:ext cx="46919" cy="74881"/>
                    </a:xfrm>
                    <a:custGeom>
                      <a:avLst/>
                      <a:gdLst>
                        <a:gd name="connsiteX0" fmla="*/ 15672 w 46919"/>
                        <a:gd name="connsiteY0" fmla="*/ 74821 h 74881"/>
                        <a:gd name="connsiteX1" fmla="*/ 43556 w 46919"/>
                        <a:gd name="connsiteY1" fmla="*/ 28670 h 74881"/>
                        <a:gd name="connsiteX2" fmla="*/ 26741 w 46919"/>
                        <a:gd name="connsiteY2" fmla="*/ 0 h 74881"/>
                        <a:gd name="connsiteX3" fmla="*/ 22084 w 46919"/>
                        <a:gd name="connsiteY3" fmla="*/ 4960 h 74881"/>
                        <a:gd name="connsiteX4" fmla="*/ 2124 w 46919"/>
                        <a:gd name="connsiteY4" fmla="*/ 46393 h 74881"/>
                        <a:gd name="connsiteX5" fmla="*/ 15672 w 46919"/>
                        <a:gd name="connsiteY5" fmla="*/ 74881 h 74881"/>
                        <a:gd name="connsiteX6" fmla="*/ 15672 w 46919"/>
                        <a:gd name="connsiteY6" fmla="*/ 74881 h 748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6919" h="74881">
                          <a:moveTo>
                            <a:pt x="15672" y="74821"/>
                          </a:moveTo>
                          <a:lnTo>
                            <a:pt x="43556" y="28670"/>
                          </a:lnTo>
                          <a:cubicBezTo>
                            <a:pt x="51843" y="14577"/>
                            <a:pt x="44282" y="7561"/>
                            <a:pt x="26741" y="0"/>
                          </a:cubicBezTo>
                          <a:lnTo>
                            <a:pt x="22084" y="4960"/>
                          </a:lnTo>
                          <a:lnTo>
                            <a:pt x="2124" y="46393"/>
                          </a:lnTo>
                          <a:cubicBezTo>
                            <a:pt x="-3320" y="58853"/>
                            <a:pt x="1881" y="66958"/>
                            <a:pt x="15672" y="74881"/>
                          </a:cubicBezTo>
                          <a:lnTo>
                            <a:pt x="15672" y="74881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32" name="Freihandform: Form 631">
                      <a:extLst>
                        <a:ext uri="{FF2B5EF4-FFF2-40B4-BE49-F238E27FC236}">
                          <a16:creationId xmlns:a16="http://schemas.microsoft.com/office/drawing/2014/main" id="{751A53B9-8498-3410-AF30-E4F4147F5AF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023561" y="3749196"/>
                      <a:ext cx="38911" cy="69332"/>
                    </a:xfrm>
                    <a:custGeom>
                      <a:avLst/>
                      <a:gdLst>
                        <a:gd name="connsiteX0" fmla="*/ 38851 w 38911"/>
                        <a:gd name="connsiteY0" fmla="*/ 6729 h 69332"/>
                        <a:gd name="connsiteX1" fmla="*/ 24576 w 38911"/>
                        <a:gd name="connsiteY1" fmla="*/ 69332 h 69332"/>
                        <a:gd name="connsiteX2" fmla="*/ 19 w 38911"/>
                        <a:gd name="connsiteY2" fmla="*/ 54392 h 69332"/>
                        <a:gd name="connsiteX3" fmla="*/ 3950 w 38911"/>
                        <a:gd name="connsiteY3" fmla="*/ 9814 h 69332"/>
                        <a:gd name="connsiteX4" fmla="*/ 38911 w 38911"/>
                        <a:gd name="connsiteY4" fmla="*/ 6729 h 6933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8911" h="69332">
                          <a:moveTo>
                            <a:pt x="38851" y="6729"/>
                          </a:moveTo>
                          <a:cubicBezTo>
                            <a:pt x="38790" y="7818"/>
                            <a:pt x="24576" y="69332"/>
                            <a:pt x="24576" y="69332"/>
                          </a:cubicBezTo>
                          <a:cubicBezTo>
                            <a:pt x="6370" y="66611"/>
                            <a:pt x="-405" y="69756"/>
                            <a:pt x="19" y="54392"/>
                          </a:cubicBezTo>
                          <a:lnTo>
                            <a:pt x="3950" y="9814"/>
                          </a:lnTo>
                          <a:cubicBezTo>
                            <a:pt x="10543" y="197"/>
                            <a:pt x="34798" y="-4944"/>
                            <a:pt x="38911" y="6729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624" name="Grafik 297">
                    <a:extLst>
                      <a:ext uri="{FF2B5EF4-FFF2-40B4-BE49-F238E27FC236}">
                        <a16:creationId xmlns:a16="http://schemas.microsoft.com/office/drawing/2014/main" id="{6E251BB6-3B48-229D-657F-15FF35EC94E2}"/>
                      </a:ext>
                    </a:extLst>
                  </p:cNvPr>
                  <p:cNvGrpSpPr/>
                  <p:nvPr/>
                </p:nvGrpSpPr>
                <p:grpSpPr>
                  <a:xfrm>
                    <a:off x="11946098" y="3618585"/>
                    <a:ext cx="105739" cy="213190"/>
                    <a:chOff x="11946098" y="3618585"/>
                    <a:chExt cx="105739" cy="213190"/>
                  </a:xfrm>
                  <a:solidFill>
                    <a:srgbClr val="02787D"/>
                  </a:solidFill>
                </p:grpSpPr>
                <p:sp>
                  <p:nvSpPr>
                    <p:cNvPr id="627" name="Freihandform: Form 626">
                      <a:extLst>
                        <a:ext uri="{FF2B5EF4-FFF2-40B4-BE49-F238E27FC236}">
                          <a16:creationId xmlns:a16="http://schemas.microsoft.com/office/drawing/2014/main" id="{A327D9DB-B2F5-3C59-9FD2-2A2D6D9F8B7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58921" y="3744917"/>
                      <a:ext cx="32671" cy="86858"/>
                    </a:xfrm>
                    <a:custGeom>
                      <a:avLst/>
                      <a:gdLst>
                        <a:gd name="connsiteX0" fmla="*/ 12339 w 32671"/>
                        <a:gd name="connsiteY0" fmla="*/ 86858 h 86858"/>
                        <a:gd name="connsiteX1" fmla="*/ 0 w 32671"/>
                        <a:gd name="connsiteY1" fmla="*/ 44216 h 86858"/>
                        <a:gd name="connsiteX2" fmla="*/ 11673 w 32671"/>
                        <a:gd name="connsiteY2" fmla="*/ 2359 h 86858"/>
                        <a:gd name="connsiteX3" fmla="*/ 20202 w 32671"/>
                        <a:gd name="connsiteY3" fmla="*/ 1089 h 86858"/>
                        <a:gd name="connsiteX4" fmla="*/ 31997 w 32671"/>
                        <a:gd name="connsiteY4" fmla="*/ 52684 h 86858"/>
                        <a:gd name="connsiteX5" fmla="*/ 12399 w 32671"/>
                        <a:gd name="connsiteY5" fmla="*/ 86858 h 86858"/>
                        <a:gd name="connsiteX6" fmla="*/ 12399 w 32671"/>
                        <a:gd name="connsiteY6" fmla="*/ 86858 h 868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2671" h="86858">
                          <a:moveTo>
                            <a:pt x="12339" y="86858"/>
                          </a:moveTo>
                          <a:lnTo>
                            <a:pt x="0" y="44216"/>
                          </a:lnTo>
                          <a:cubicBezTo>
                            <a:pt x="1573" y="30304"/>
                            <a:pt x="3206" y="8771"/>
                            <a:pt x="11673" y="2359"/>
                          </a:cubicBezTo>
                          <a:cubicBezTo>
                            <a:pt x="16452" y="-1270"/>
                            <a:pt x="19779" y="121"/>
                            <a:pt x="20202" y="1089"/>
                          </a:cubicBezTo>
                          <a:cubicBezTo>
                            <a:pt x="23347" y="8226"/>
                            <a:pt x="28610" y="30909"/>
                            <a:pt x="31997" y="52684"/>
                          </a:cubicBezTo>
                          <a:cubicBezTo>
                            <a:pt x="34356" y="67805"/>
                            <a:pt x="31150" y="77906"/>
                            <a:pt x="12399" y="86858"/>
                          </a:cubicBezTo>
                          <a:lnTo>
                            <a:pt x="12399" y="86858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28" name="Freihandform: Form 627">
                      <a:extLst>
                        <a:ext uri="{FF2B5EF4-FFF2-40B4-BE49-F238E27FC236}">
                          <a16:creationId xmlns:a16="http://schemas.microsoft.com/office/drawing/2014/main" id="{5F16F0FA-CC80-6FF5-7D5A-88CDA5970B5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46098" y="3716544"/>
                      <a:ext cx="49961" cy="74915"/>
                    </a:xfrm>
                    <a:custGeom>
                      <a:avLst/>
                      <a:gdLst>
                        <a:gd name="connsiteX0" fmla="*/ 0 w 49961"/>
                        <a:gd name="connsiteY0" fmla="*/ 6901 h 74915"/>
                        <a:gd name="connsiteX1" fmla="*/ 49961 w 49961"/>
                        <a:gd name="connsiteY1" fmla="*/ 13554 h 74915"/>
                        <a:gd name="connsiteX2" fmla="*/ 38651 w 49961"/>
                        <a:gd name="connsiteY2" fmla="*/ 49180 h 74915"/>
                        <a:gd name="connsiteX3" fmla="*/ 12823 w 49961"/>
                        <a:gd name="connsiteY3" fmla="*/ 72588 h 74915"/>
                        <a:gd name="connsiteX4" fmla="*/ 0 w 49961"/>
                        <a:gd name="connsiteY4" fmla="*/ 6901 h 7491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9961" h="74915">
                          <a:moveTo>
                            <a:pt x="0" y="6901"/>
                          </a:moveTo>
                          <a:cubicBezTo>
                            <a:pt x="16029" y="-11850"/>
                            <a:pt x="49961" y="13554"/>
                            <a:pt x="49961" y="13554"/>
                          </a:cubicBezTo>
                          <a:lnTo>
                            <a:pt x="38651" y="49180"/>
                          </a:lnTo>
                          <a:cubicBezTo>
                            <a:pt x="36836" y="64846"/>
                            <a:pt x="25404" y="81056"/>
                            <a:pt x="12823" y="72588"/>
                          </a:cubicBezTo>
                          <a:cubicBezTo>
                            <a:pt x="12823" y="72588"/>
                            <a:pt x="61" y="6175"/>
                            <a:pt x="0" y="6901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29" name="Freihandform: Form 628">
                      <a:extLst>
                        <a:ext uri="{FF2B5EF4-FFF2-40B4-BE49-F238E27FC236}">
                          <a16:creationId xmlns:a16="http://schemas.microsoft.com/office/drawing/2014/main" id="{E13ABDE7-9DFE-26FF-9B84-99BF352728D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46098" y="3618585"/>
                      <a:ext cx="105739" cy="122980"/>
                    </a:xfrm>
                    <a:custGeom>
                      <a:avLst/>
                      <a:gdLst>
                        <a:gd name="connsiteX0" fmla="*/ 13005 w 105739"/>
                        <a:gd name="connsiteY0" fmla="*/ 52237 h 122980"/>
                        <a:gd name="connsiteX1" fmla="*/ 0 w 105739"/>
                        <a:gd name="connsiteY1" fmla="*/ 104860 h 122980"/>
                        <a:gd name="connsiteX2" fmla="*/ 0 w 105739"/>
                        <a:gd name="connsiteY2" fmla="*/ 104860 h 122980"/>
                        <a:gd name="connsiteX3" fmla="*/ 49598 w 105739"/>
                        <a:gd name="connsiteY3" fmla="*/ 112360 h 122980"/>
                        <a:gd name="connsiteX4" fmla="*/ 96475 w 105739"/>
                        <a:gd name="connsiteY4" fmla="*/ 56532 h 122980"/>
                        <a:gd name="connsiteX5" fmla="*/ 47300 w 105739"/>
                        <a:gd name="connsiteY5" fmla="*/ 3244 h 122980"/>
                        <a:gd name="connsiteX6" fmla="*/ 12944 w 105739"/>
                        <a:gd name="connsiteY6" fmla="*/ 52237 h 12298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05739" h="122980">
                          <a:moveTo>
                            <a:pt x="13005" y="52237"/>
                          </a:moveTo>
                          <a:cubicBezTo>
                            <a:pt x="7561" y="66875"/>
                            <a:pt x="0" y="104860"/>
                            <a:pt x="0" y="104860"/>
                          </a:cubicBezTo>
                          <a:lnTo>
                            <a:pt x="0" y="104860"/>
                          </a:lnTo>
                          <a:cubicBezTo>
                            <a:pt x="5685" y="123853"/>
                            <a:pt x="34114" y="130385"/>
                            <a:pt x="49598" y="112360"/>
                          </a:cubicBezTo>
                          <a:cubicBezTo>
                            <a:pt x="49598" y="112360"/>
                            <a:pt x="65083" y="73286"/>
                            <a:pt x="96475" y="56532"/>
                          </a:cubicBezTo>
                          <a:cubicBezTo>
                            <a:pt x="123633" y="42015"/>
                            <a:pt x="86192" y="-13934"/>
                            <a:pt x="47300" y="3244"/>
                          </a:cubicBezTo>
                          <a:cubicBezTo>
                            <a:pt x="27642" y="23204"/>
                            <a:pt x="12944" y="52237"/>
                            <a:pt x="12944" y="52237"/>
                          </a:cubicBez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625" name="Freihandform: Form 624">
                    <a:extLst>
                      <a:ext uri="{FF2B5EF4-FFF2-40B4-BE49-F238E27FC236}">
                        <a16:creationId xmlns:a16="http://schemas.microsoft.com/office/drawing/2014/main" id="{7E11C41A-15D9-2866-727E-762FAA49F23E}"/>
                      </a:ext>
                    </a:extLst>
                  </p:cNvPr>
                  <p:cNvSpPr/>
                  <p:nvPr/>
                </p:nvSpPr>
                <p:spPr>
                  <a:xfrm>
                    <a:off x="11952267" y="3601082"/>
                    <a:ext cx="137060" cy="179703"/>
                  </a:xfrm>
                  <a:custGeom>
                    <a:avLst/>
                    <a:gdLst>
                      <a:gd name="connsiteX0" fmla="*/ 137061 w 137060"/>
                      <a:gd name="connsiteY0" fmla="*/ 137243 h 179703"/>
                      <a:gd name="connsiteX1" fmla="*/ 128895 w 137060"/>
                      <a:gd name="connsiteY1" fmla="*/ 10645 h 179703"/>
                      <a:gd name="connsiteX2" fmla="*/ 44578 w 137060"/>
                      <a:gd name="connsiteY2" fmla="*/ 0 h 179703"/>
                      <a:gd name="connsiteX3" fmla="*/ 36352 w 137060"/>
                      <a:gd name="connsiteY3" fmla="*/ 21352 h 179703"/>
                      <a:gd name="connsiteX4" fmla="*/ 0 w 137060"/>
                      <a:gd name="connsiteY4" fmla="*/ 96778 h 179703"/>
                      <a:gd name="connsiteX5" fmla="*/ 45183 w 137060"/>
                      <a:gd name="connsiteY5" fmla="*/ 123633 h 179703"/>
                      <a:gd name="connsiteX6" fmla="*/ 74216 w 137060"/>
                      <a:gd name="connsiteY6" fmla="*/ 179704 h 179703"/>
                      <a:gd name="connsiteX7" fmla="*/ 134339 w 137060"/>
                      <a:gd name="connsiteY7" fmla="*/ 161921 h 179703"/>
                      <a:gd name="connsiteX8" fmla="*/ 137061 w 137060"/>
                      <a:gd name="connsiteY8" fmla="*/ 137303 h 1797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37060" h="179703">
                        <a:moveTo>
                          <a:pt x="137061" y="137243"/>
                        </a:moveTo>
                        <a:cubicBezTo>
                          <a:pt x="133130" y="104580"/>
                          <a:pt x="128774" y="66232"/>
                          <a:pt x="128895" y="10645"/>
                        </a:cubicBezTo>
                        <a:lnTo>
                          <a:pt x="44578" y="0"/>
                        </a:lnTo>
                        <a:cubicBezTo>
                          <a:pt x="42219" y="13972"/>
                          <a:pt x="38651" y="19537"/>
                          <a:pt x="36352" y="21352"/>
                        </a:cubicBezTo>
                        <a:cubicBezTo>
                          <a:pt x="1693" y="48510"/>
                          <a:pt x="0" y="96778"/>
                          <a:pt x="0" y="96778"/>
                        </a:cubicBezTo>
                        <a:cubicBezTo>
                          <a:pt x="61" y="101374"/>
                          <a:pt x="31331" y="97624"/>
                          <a:pt x="45183" y="123633"/>
                        </a:cubicBezTo>
                        <a:cubicBezTo>
                          <a:pt x="49115" y="131012"/>
                          <a:pt x="73671" y="141174"/>
                          <a:pt x="74216" y="179704"/>
                        </a:cubicBezTo>
                        <a:cubicBezTo>
                          <a:pt x="116435" y="145832"/>
                          <a:pt x="132585" y="160953"/>
                          <a:pt x="134339" y="161921"/>
                        </a:cubicBezTo>
                        <a:cubicBezTo>
                          <a:pt x="134823" y="152183"/>
                          <a:pt x="136759" y="143957"/>
                          <a:pt x="137061" y="137303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26" name="Freihandform: Form 625">
                    <a:extLst>
                      <a:ext uri="{FF2B5EF4-FFF2-40B4-BE49-F238E27FC236}">
                        <a16:creationId xmlns:a16="http://schemas.microsoft.com/office/drawing/2014/main" id="{09FB495B-182F-BAFB-9200-0809776538D2}"/>
                      </a:ext>
                    </a:extLst>
                  </p:cNvPr>
                  <p:cNvSpPr/>
                  <p:nvPr/>
                </p:nvSpPr>
                <p:spPr>
                  <a:xfrm>
                    <a:off x="11996180" y="3566242"/>
                    <a:ext cx="85164" cy="85164"/>
                  </a:xfrm>
                  <a:custGeom>
                    <a:avLst/>
                    <a:gdLst>
                      <a:gd name="connsiteX0" fmla="*/ 85164 w 85164"/>
                      <a:gd name="connsiteY0" fmla="*/ 42582 h 85164"/>
                      <a:gd name="connsiteX1" fmla="*/ 42582 w 85164"/>
                      <a:gd name="connsiteY1" fmla="*/ 85164 h 85164"/>
                      <a:gd name="connsiteX2" fmla="*/ 0 w 85164"/>
                      <a:gd name="connsiteY2" fmla="*/ 42582 h 85164"/>
                      <a:gd name="connsiteX3" fmla="*/ 42582 w 85164"/>
                      <a:gd name="connsiteY3" fmla="*/ 0 h 85164"/>
                      <a:gd name="connsiteX4" fmla="*/ 85164 w 85164"/>
                      <a:gd name="connsiteY4" fmla="*/ 42582 h 85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5164" h="85164">
                        <a:moveTo>
                          <a:pt x="85164" y="42582"/>
                        </a:moveTo>
                        <a:cubicBezTo>
                          <a:pt x="85164" y="66100"/>
                          <a:pt x="66100" y="85164"/>
                          <a:pt x="42582" y="85164"/>
                        </a:cubicBezTo>
                        <a:cubicBezTo>
                          <a:pt x="19065" y="85164"/>
                          <a:pt x="0" y="66100"/>
                          <a:pt x="0" y="42582"/>
                        </a:cubicBezTo>
                        <a:cubicBezTo>
                          <a:pt x="0" y="19065"/>
                          <a:pt x="19064" y="0"/>
                          <a:pt x="42582" y="0"/>
                        </a:cubicBezTo>
                        <a:cubicBezTo>
                          <a:pt x="66099" y="0"/>
                          <a:pt x="85164" y="19065"/>
                          <a:pt x="85164" y="42582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sp>
            <p:nvSpPr>
              <p:cNvPr id="541" name="Freihandform: Form 540">
                <a:extLst>
                  <a:ext uri="{FF2B5EF4-FFF2-40B4-BE49-F238E27FC236}">
                    <a16:creationId xmlns:a16="http://schemas.microsoft.com/office/drawing/2014/main" id="{523893EC-78B8-2710-7F1E-4DEEC94449DD}"/>
                  </a:ext>
                </a:extLst>
              </p:cNvPr>
              <p:cNvSpPr/>
              <p:nvPr/>
            </p:nvSpPr>
            <p:spPr>
              <a:xfrm>
                <a:off x="11321277" y="3386780"/>
                <a:ext cx="363036" cy="363036"/>
              </a:xfrm>
              <a:custGeom>
                <a:avLst/>
                <a:gdLst>
                  <a:gd name="connsiteX0" fmla="*/ 363037 w 363036"/>
                  <a:gd name="connsiteY0" fmla="*/ 181518 h 363036"/>
                  <a:gd name="connsiteX1" fmla="*/ 181518 w 363036"/>
                  <a:gd name="connsiteY1" fmla="*/ 363037 h 363036"/>
                  <a:gd name="connsiteX2" fmla="*/ 0 w 363036"/>
                  <a:gd name="connsiteY2" fmla="*/ 181518 h 363036"/>
                  <a:gd name="connsiteX3" fmla="*/ 181518 w 363036"/>
                  <a:gd name="connsiteY3" fmla="*/ 0 h 363036"/>
                  <a:gd name="connsiteX4" fmla="*/ 363037 w 363036"/>
                  <a:gd name="connsiteY4" fmla="*/ 181518 h 363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3036" h="363036">
                    <a:moveTo>
                      <a:pt x="363037" y="181518"/>
                    </a:moveTo>
                    <a:cubicBezTo>
                      <a:pt x="363037" y="281768"/>
                      <a:pt x="281768" y="363037"/>
                      <a:pt x="181518" y="363037"/>
                    </a:cubicBezTo>
                    <a:cubicBezTo>
                      <a:pt x="81268" y="363037"/>
                      <a:pt x="0" y="281768"/>
                      <a:pt x="0" y="181518"/>
                    </a:cubicBezTo>
                    <a:cubicBezTo>
                      <a:pt x="0" y="81269"/>
                      <a:pt x="81268" y="0"/>
                      <a:pt x="181518" y="0"/>
                    </a:cubicBezTo>
                    <a:cubicBezTo>
                      <a:pt x="281768" y="0"/>
                      <a:pt x="363037" y="81269"/>
                      <a:pt x="363037" y="181518"/>
                    </a:cubicBezTo>
                    <a:close/>
                  </a:path>
                </a:pathLst>
              </a:custGeom>
              <a:solidFill>
                <a:srgbClr val="009999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2" name="Freihandform: Form 541">
                <a:extLst>
                  <a:ext uri="{FF2B5EF4-FFF2-40B4-BE49-F238E27FC236}">
                    <a16:creationId xmlns:a16="http://schemas.microsoft.com/office/drawing/2014/main" id="{A98E18E9-A526-65C5-AA3C-4C35DC060D26}"/>
                  </a:ext>
                </a:extLst>
              </p:cNvPr>
              <p:cNvSpPr/>
              <p:nvPr/>
            </p:nvSpPr>
            <p:spPr>
              <a:xfrm>
                <a:off x="11686068" y="3386780"/>
                <a:ext cx="366302" cy="366303"/>
              </a:xfrm>
              <a:custGeom>
                <a:avLst/>
                <a:gdLst>
                  <a:gd name="connsiteX0" fmla="*/ 366303 w 366302"/>
                  <a:gd name="connsiteY0" fmla="*/ 183151 h 366303"/>
                  <a:gd name="connsiteX1" fmla="*/ 183151 w 366302"/>
                  <a:gd name="connsiteY1" fmla="*/ 366303 h 366303"/>
                  <a:gd name="connsiteX2" fmla="*/ -1 w 366302"/>
                  <a:gd name="connsiteY2" fmla="*/ 183151 h 366303"/>
                  <a:gd name="connsiteX3" fmla="*/ 183151 w 366302"/>
                  <a:gd name="connsiteY3" fmla="*/ 0 h 366303"/>
                  <a:gd name="connsiteX4" fmla="*/ 366303 w 366302"/>
                  <a:gd name="connsiteY4" fmla="*/ 183151 h 366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6302" h="366303">
                    <a:moveTo>
                      <a:pt x="366303" y="183151"/>
                    </a:moveTo>
                    <a:cubicBezTo>
                      <a:pt x="366303" y="284303"/>
                      <a:pt x="284303" y="366303"/>
                      <a:pt x="183151" y="366303"/>
                    </a:cubicBezTo>
                    <a:cubicBezTo>
                      <a:pt x="82000" y="366303"/>
                      <a:pt x="-1" y="284303"/>
                      <a:pt x="-1" y="183151"/>
                    </a:cubicBezTo>
                    <a:cubicBezTo>
                      <a:pt x="-1" y="82000"/>
                      <a:pt x="81999" y="0"/>
                      <a:pt x="183151" y="0"/>
                    </a:cubicBezTo>
                    <a:cubicBezTo>
                      <a:pt x="284303" y="0"/>
                      <a:pt x="366303" y="82000"/>
                      <a:pt x="366303" y="183151"/>
                    </a:cubicBezTo>
                    <a:close/>
                  </a:path>
                </a:pathLst>
              </a:custGeom>
              <a:solidFill>
                <a:srgbClr val="009999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3" name="Freihandform: Form 542">
                <a:extLst>
                  <a:ext uri="{FF2B5EF4-FFF2-40B4-BE49-F238E27FC236}">
                    <a16:creationId xmlns:a16="http://schemas.microsoft.com/office/drawing/2014/main" id="{1D81738C-C717-A61D-6BA9-66F6DC08D671}"/>
                  </a:ext>
                </a:extLst>
              </p:cNvPr>
              <p:cNvSpPr/>
              <p:nvPr/>
            </p:nvSpPr>
            <p:spPr>
              <a:xfrm>
                <a:off x="11431967" y="2413137"/>
                <a:ext cx="543949" cy="331530"/>
              </a:xfrm>
              <a:custGeom>
                <a:avLst/>
                <a:gdLst>
                  <a:gd name="connsiteX0" fmla="*/ 255129 w 543949"/>
                  <a:gd name="connsiteY0" fmla="*/ 331524 h 331530"/>
                  <a:gd name="connsiteX1" fmla="*/ 543950 w 543949"/>
                  <a:gd name="connsiteY1" fmla="*/ 92544 h 331530"/>
                  <a:gd name="connsiteX2" fmla="*/ 374045 w 543949"/>
                  <a:gd name="connsiteY2" fmla="*/ 35929 h 331530"/>
                  <a:gd name="connsiteX3" fmla="*/ 254706 w 543949"/>
                  <a:gd name="connsiteY3" fmla="*/ 0 h 331530"/>
                  <a:gd name="connsiteX4" fmla="*/ 126960 w 543949"/>
                  <a:gd name="connsiteY4" fmla="*/ 37743 h 331530"/>
                  <a:gd name="connsiteX5" fmla="*/ 0 w 543949"/>
                  <a:gd name="connsiteY5" fmla="*/ 79720 h 331530"/>
                  <a:gd name="connsiteX6" fmla="*/ 255129 w 543949"/>
                  <a:gd name="connsiteY6" fmla="*/ 331524 h 33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43949" h="331530">
                    <a:moveTo>
                      <a:pt x="255129" y="331524"/>
                    </a:moveTo>
                    <a:cubicBezTo>
                      <a:pt x="466710" y="332975"/>
                      <a:pt x="543950" y="92544"/>
                      <a:pt x="543950" y="92544"/>
                    </a:cubicBezTo>
                    <a:lnTo>
                      <a:pt x="374045" y="35929"/>
                    </a:lnTo>
                    <a:lnTo>
                      <a:pt x="254706" y="0"/>
                    </a:lnTo>
                    <a:lnTo>
                      <a:pt x="126960" y="37743"/>
                    </a:lnTo>
                    <a:lnTo>
                      <a:pt x="0" y="79720"/>
                    </a:lnTo>
                    <a:cubicBezTo>
                      <a:pt x="0" y="79720"/>
                      <a:pt x="43610" y="330072"/>
                      <a:pt x="255129" y="331524"/>
                    </a:cubicBezTo>
                    <a:close/>
                  </a:path>
                </a:pathLst>
              </a:custGeom>
              <a:solidFill>
                <a:srgbClr val="F9D9D2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4" name="Freihandform: Form 543">
                <a:extLst>
                  <a:ext uri="{FF2B5EF4-FFF2-40B4-BE49-F238E27FC236}">
                    <a16:creationId xmlns:a16="http://schemas.microsoft.com/office/drawing/2014/main" id="{AC9FF8A7-F8C6-3171-DD73-ADBEA56D9488}"/>
                  </a:ext>
                </a:extLst>
              </p:cNvPr>
              <p:cNvSpPr/>
              <p:nvPr/>
            </p:nvSpPr>
            <p:spPr>
              <a:xfrm>
                <a:off x="11358295" y="2428077"/>
                <a:ext cx="321746" cy="175911"/>
              </a:xfrm>
              <a:custGeom>
                <a:avLst/>
                <a:gdLst>
                  <a:gd name="connsiteX0" fmla="*/ 317370 w 321746"/>
                  <a:gd name="connsiteY0" fmla="*/ 148554 h 175911"/>
                  <a:gd name="connsiteX1" fmla="*/ 275514 w 321746"/>
                  <a:gd name="connsiteY1" fmla="*/ 15122 h 175911"/>
                  <a:gd name="connsiteX2" fmla="*/ 277752 w 321746"/>
                  <a:gd name="connsiteY2" fmla="*/ 0 h 175911"/>
                  <a:gd name="connsiteX3" fmla="*/ 200572 w 321746"/>
                  <a:gd name="connsiteY3" fmla="*/ 22803 h 175911"/>
                  <a:gd name="connsiteX4" fmla="*/ 0 w 321746"/>
                  <a:gd name="connsiteY4" fmla="*/ 89156 h 175911"/>
                  <a:gd name="connsiteX5" fmla="*/ 317310 w 321746"/>
                  <a:gd name="connsiteY5" fmla="*/ 148554 h 17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1746" h="175911">
                    <a:moveTo>
                      <a:pt x="317370" y="148554"/>
                    </a:moveTo>
                    <a:cubicBezTo>
                      <a:pt x="338721" y="126113"/>
                      <a:pt x="274970" y="91757"/>
                      <a:pt x="275514" y="15122"/>
                    </a:cubicBezTo>
                    <a:cubicBezTo>
                      <a:pt x="275514" y="9496"/>
                      <a:pt x="276482" y="4597"/>
                      <a:pt x="277752" y="0"/>
                    </a:cubicBezTo>
                    <a:lnTo>
                      <a:pt x="200572" y="22803"/>
                    </a:lnTo>
                    <a:lnTo>
                      <a:pt x="0" y="89156"/>
                    </a:lnTo>
                    <a:cubicBezTo>
                      <a:pt x="21110" y="129682"/>
                      <a:pt x="138574" y="221621"/>
                      <a:pt x="317310" y="148554"/>
                    </a:cubicBezTo>
                    <a:close/>
                  </a:path>
                </a:pathLst>
              </a:custGeom>
              <a:solidFill>
                <a:srgbClr val="F2BBB3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5" name="Freihandform: Form 544">
                <a:extLst>
                  <a:ext uri="{FF2B5EF4-FFF2-40B4-BE49-F238E27FC236}">
                    <a16:creationId xmlns:a16="http://schemas.microsoft.com/office/drawing/2014/main" id="{6A3B85C0-F9C0-EA6A-3013-5318D1DFE328}"/>
                  </a:ext>
                </a:extLst>
              </p:cNvPr>
              <p:cNvSpPr/>
              <p:nvPr/>
            </p:nvSpPr>
            <p:spPr>
              <a:xfrm>
                <a:off x="11594311" y="4818059"/>
                <a:ext cx="146013" cy="183695"/>
              </a:xfrm>
              <a:custGeom>
                <a:avLst/>
                <a:gdLst>
                  <a:gd name="connsiteX0" fmla="*/ 0 w 146013"/>
                  <a:gd name="connsiteY0" fmla="*/ 18146 h 183695"/>
                  <a:gd name="connsiteX1" fmla="*/ 54558 w 146013"/>
                  <a:gd name="connsiteY1" fmla="*/ 183696 h 183695"/>
                  <a:gd name="connsiteX2" fmla="*/ 146013 w 146013"/>
                  <a:gd name="connsiteY2" fmla="*/ 170691 h 183695"/>
                  <a:gd name="connsiteX3" fmla="*/ 127807 w 146013"/>
                  <a:gd name="connsiteY3" fmla="*/ 0 h 183695"/>
                  <a:gd name="connsiteX4" fmla="*/ 0 w 146013"/>
                  <a:gd name="connsiteY4" fmla="*/ 18206 h 183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013" h="183695">
                    <a:moveTo>
                      <a:pt x="0" y="18146"/>
                    </a:moveTo>
                    <a:cubicBezTo>
                      <a:pt x="22501" y="79176"/>
                      <a:pt x="43308" y="138876"/>
                      <a:pt x="54558" y="183696"/>
                    </a:cubicBezTo>
                    <a:lnTo>
                      <a:pt x="146013" y="170691"/>
                    </a:lnTo>
                    <a:cubicBezTo>
                      <a:pt x="146013" y="170691"/>
                      <a:pt x="137484" y="91999"/>
                      <a:pt x="127807" y="0"/>
                    </a:cubicBezTo>
                    <a:lnTo>
                      <a:pt x="0" y="18206"/>
                    </a:lnTo>
                    <a:close/>
                  </a:path>
                </a:pathLst>
              </a:custGeom>
              <a:solidFill>
                <a:srgbClr val="F9D9D2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6" name="Freihandform: Form 545">
                <a:extLst>
                  <a:ext uri="{FF2B5EF4-FFF2-40B4-BE49-F238E27FC236}">
                    <a16:creationId xmlns:a16="http://schemas.microsoft.com/office/drawing/2014/main" id="{F16F2164-B2AF-E9F5-0B1C-B1A384E06E3F}"/>
                  </a:ext>
                </a:extLst>
              </p:cNvPr>
              <p:cNvSpPr/>
              <p:nvPr/>
            </p:nvSpPr>
            <p:spPr>
              <a:xfrm>
                <a:off x="11581075" y="4991110"/>
                <a:ext cx="189371" cy="147888"/>
              </a:xfrm>
              <a:custGeom>
                <a:avLst/>
                <a:gdLst>
                  <a:gd name="connsiteX0" fmla="*/ 67492 w 189371"/>
                  <a:gd name="connsiteY0" fmla="*/ 8287 h 147888"/>
                  <a:gd name="connsiteX1" fmla="*/ 51 w 189371"/>
                  <a:gd name="connsiteY1" fmla="*/ 147888 h 147888"/>
                  <a:gd name="connsiteX2" fmla="*/ 189371 w 189371"/>
                  <a:gd name="connsiteY2" fmla="*/ 130892 h 147888"/>
                  <a:gd name="connsiteX3" fmla="*/ 159492 w 189371"/>
                  <a:gd name="connsiteY3" fmla="*/ 0 h 147888"/>
                  <a:gd name="connsiteX4" fmla="*/ 67492 w 189371"/>
                  <a:gd name="connsiteY4" fmla="*/ 8287 h 147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371" h="147888">
                    <a:moveTo>
                      <a:pt x="67492" y="8287"/>
                    </a:moveTo>
                    <a:cubicBezTo>
                      <a:pt x="62775" y="101072"/>
                      <a:pt x="-2067" y="123815"/>
                      <a:pt x="51" y="147888"/>
                    </a:cubicBezTo>
                    <a:lnTo>
                      <a:pt x="189371" y="130892"/>
                    </a:lnTo>
                    <a:cubicBezTo>
                      <a:pt x="173766" y="80023"/>
                      <a:pt x="167899" y="41675"/>
                      <a:pt x="159492" y="0"/>
                    </a:cubicBezTo>
                    <a:lnTo>
                      <a:pt x="67492" y="8287"/>
                    </a:lnTo>
                    <a:close/>
                  </a:path>
                </a:pathLst>
              </a:custGeom>
              <a:solidFill>
                <a:srgbClr val="F9D9D2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7" name="Freihandform: Form 546">
                <a:extLst>
                  <a:ext uri="{FF2B5EF4-FFF2-40B4-BE49-F238E27FC236}">
                    <a16:creationId xmlns:a16="http://schemas.microsoft.com/office/drawing/2014/main" id="{029CCF07-7AAC-8779-BE0C-D0BC97D61C8F}"/>
                  </a:ext>
                </a:extLst>
              </p:cNvPr>
              <p:cNvSpPr/>
              <p:nvPr/>
            </p:nvSpPr>
            <p:spPr>
              <a:xfrm>
                <a:off x="11320709" y="3561947"/>
                <a:ext cx="366367" cy="731577"/>
              </a:xfrm>
              <a:custGeom>
                <a:avLst/>
                <a:gdLst>
                  <a:gd name="connsiteX0" fmla="*/ 342557 w 366367"/>
                  <a:gd name="connsiteY0" fmla="*/ 731517 h 731577"/>
                  <a:gd name="connsiteX1" fmla="*/ 128799 w 366367"/>
                  <a:gd name="connsiteY1" fmla="*/ 731517 h 731577"/>
                  <a:gd name="connsiteX2" fmla="*/ 72124 w 366367"/>
                  <a:gd name="connsiteY2" fmla="*/ 522659 h 731577"/>
                  <a:gd name="connsiteX3" fmla="*/ 14481 w 366367"/>
                  <a:gd name="connsiteY3" fmla="*/ 210612 h 731577"/>
                  <a:gd name="connsiteX4" fmla="*/ 387 w 366367"/>
                  <a:gd name="connsiteY4" fmla="*/ 8589 h 731577"/>
                  <a:gd name="connsiteX5" fmla="*/ 363484 w 366367"/>
                  <a:gd name="connsiteY5" fmla="*/ 0 h 731577"/>
                  <a:gd name="connsiteX6" fmla="*/ 342557 w 366367"/>
                  <a:gd name="connsiteY6" fmla="*/ 731578 h 731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6367" h="731577">
                    <a:moveTo>
                      <a:pt x="342557" y="731517"/>
                    </a:moveTo>
                    <a:lnTo>
                      <a:pt x="128799" y="731517"/>
                    </a:lnTo>
                    <a:cubicBezTo>
                      <a:pt x="128799" y="731517"/>
                      <a:pt x="93778" y="595303"/>
                      <a:pt x="72124" y="522659"/>
                    </a:cubicBezTo>
                    <a:cubicBezTo>
                      <a:pt x="50470" y="450016"/>
                      <a:pt x="25489" y="306361"/>
                      <a:pt x="14481" y="210612"/>
                    </a:cubicBezTo>
                    <a:cubicBezTo>
                      <a:pt x="6436" y="140932"/>
                      <a:pt x="-1911" y="69377"/>
                      <a:pt x="387" y="8589"/>
                    </a:cubicBezTo>
                    <a:cubicBezTo>
                      <a:pt x="68011" y="8589"/>
                      <a:pt x="363484" y="0"/>
                      <a:pt x="363484" y="0"/>
                    </a:cubicBezTo>
                    <a:cubicBezTo>
                      <a:pt x="372981" y="258215"/>
                      <a:pt x="357194" y="476327"/>
                      <a:pt x="342557" y="731578"/>
                    </a:cubicBezTo>
                    <a:close/>
                  </a:path>
                </a:pathLst>
              </a:custGeom>
              <a:solidFill>
                <a:srgbClr val="009999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8" name="Freihandform: Form 547">
                <a:extLst>
                  <a:ext uri="{FF2B5EF4-FFF2-40B4-BE49-F238E27FC236}">
                    <a16:creationId xmlns:a16="http://schemas.microsoft.com/office/drawing/2014/main" id="{ADE9BC00-2E91-1698-E199-1AFD184988B3}"/>
                  </a:ext>
                </a:extLst>
              </p:cNvPr>
              <p:cNvSpPr/>
              <p:nvPr/>
            </p:nvSpPr>
            <p:spPr>
              <a:xfrm>
                <a:off x="11450391" y="4277496"/>
                <a:ext cx="296163" cy="619860"/>
              </a:xfrm>
              <a:custGeom>
                <a:avLst/>
                <a:gdLst>
                  <a:gd name="connsiteX0" fmla="*/ 296103 w 296163"/>
                  <a:gd name="connsiteY0" fmla="*/ 592399 h 619860"/>
                  <a:gd name="connsiteX1" fmla="*/ 103152 w 296163"/>
                  <a:gd name="connsiteY1" fmla="*/ 619860 h 619860"/>
                  <a:gd name="connsiteX2" fmla="*/ 265 w 296163"/>
                  <a:gd name="connsiteY2" fmla="*/ 30122 h 619860"/>
                  <a:gd name="connsiteX3" fmla="*/ 211906 w 296163"/>
                  <a:gd name="connsiteY3" fmla="*/ 0 h 619860"/>
                  <a:gd name="connsiteX4" fmla="*/ 263017 w 296163"/>
                  <a:gd name="connsiteY4" fmla="*/ 265594 h 619860"/>
                  <a:gd name="connsiteX5" fmla="*/ 296163 w 296163"/>
                  <a:gd name="connsiteY5" fmla="*/ 592399 h 619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6163" h="619860">
                    <a:moveTo>
                      <a:pt x="296103" y="592399"/>
                    </a:moveTo>
                    <a:lnTo>
                      <a:pt x="103152" y="619860"/>
                    </a:lnTo>
                    <a:cubicBezTo>
                      <a:pt x="-10380" y="409853"/>
                      <a:pt x="265" y="30122"/>
                      <a:pt x="265" y="30122"/>
                    </a:cubicBezTo>
                    <a:lnTo>
                      <a:pt x="211906" y="0"/>
                    </a:lnTo>
                    <a:cubicBezTo>
                      <a:pt x="211906" y="0"/>
                      <a:pt x="257452" y="182547"/>
                      <a:pt x="263017" y="265594"/>
                    </a:cubicBezTo>
                    <a:cubicBezTo>
                      <a:pt x="268521" y="348641"/>
                      <a:pt x="296163" y="592399"/>
                      <a:pt x="296163" y="592399"/>
                    </a:cubicBezTo>
                    <a:close/>
                  </a:path>
                </a:pathLst>
              </a:custGeom>
              <a:solidFill>
                <a:srgbClr val="009999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9" name="Freihandform: Form 548">
                <a:extLst>
                  <a:ext uri="{FF2B5EF4-FFF2-40B4-BE49-F238E27FC236}">
                    <a16:creationId xmlns:a16="http://schemas.microsoft.com/office/drawing/2014/main" id="{2FF520D4-8623-1B23-6260-2D8AB2E25797}"/>
                  </a:ext>
                </a:extLst>
              </p:cNvPr>
              <p:cNvSpPr/>
              <p:nvPr/>
            </p:nvSpPr>
            <p:spPr>
              <a:xfrm>
                <a:off x="11449508" y="4184348"/>
                <a:ext cx="213757" cy="213757"/>
              </a:xfrm>
              <a:custGeom>
                <a:avLst/>
                <a:gdLst>
                  <a:gd name="connsiteX0" fmla="*/ 213757 w 213757"/>
                  <a:gd name="connsiteY0" fmla="*/ 106879 h 213757"/>
                  <a:gd name="connsiteX1" fmla="*/ 106878 w 213757"/>
                  <a:gd name="connsiteY1" fmla="*/ 213757 h 213757"/>
                  <a:gd name="connsiteX2" fmla="*/ 0 w 213757"/>
                  <a:gd name="connsiteY2" fmla="*/ 106879 h 213757"/>
                  <a:gd name="connsiteX3" fmla="*/ 106878 w 213757"/>
                  <a:gd name="connsiteY3" fmla="*/ 0 h 213757"/>
                  <a:gd name="connsiteX4" fmla="*/ 213757 w 213757"/>
                  <a:gd name="connsiteY4" fmla="*/ 106879 h 213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3757" h="213757">
                    <a:moveTo>
                      <a:pt x="213757" y="106879"/>
                    </a:moveTo>
                    <a:cubicBezTo>
                      <a:pt x="213757" y="165906"/>
                      <a:pt x="165906" y="213757"/>
                      <a:pt x="106878" y="213757"/>
                    </a:cubicBezTo>
                    <a:cubicBezTo>
                      <a:pt x="47851" y="213757"/>
                      <a:pt x="0" y="165906"/>
                      <a:pt x="0" y="106879"/>
                    </a:cubicBezTo>
                    <a:cubicBezTo>
                      <a:pt x="0" y="47851"/>
                      <a:pt x="47851" y="0"/>
                      <a:pt x="106878" y="0"/>
                    </a:cubicBezTo>
                    <a:cubicBezTo>
                      <a:pt x="165906" y="0"/>
                      <a:pt x="213757" y="47851"/>
                      <a:pt x="213757" y="106879"/>
                    </a:cubicBezTo>
                    <a:close/>
                  </a:path>
                </a:pathLst>
              </a:custGeom>
              <a:solidFill>
                <a:srgbClr val="009999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0" name="Freihandform: Form 549">
                <a:extLst>
                  <a:ext uri="{FF2B5EF4-FFF2-40B4-BE49-F238E27FC236}">
                    <a16:creationId xmlns:a16="http://schemas.microsoft.com/office/drawing/2014/main" id="{FA8BB806-EF35-7A11-5159-23F6201D620D}"/>
                  </a:ext>
                </a:extLst>
              </p:cNvPr>
              <p:cNvSpPr/>
              <p:nvPr/>
            </p:nvSpPr>
            <p:spPr>
              <a:xfrm>
                <a:off x="11648386" y="4949556"/>
                <a:ext cx="91454" cy="91454"/>
              </a:xfrm>
              <a:custGeom>
                <a:avLst/>
                <a:gdLst>
                  <a:gd name="connsiteX0" fmla="*/ 91455 w 91454"/>
                  <a:gd name="connsiteY0" fmla="*/ 45727 h 91454"/>
                  <a:gd name="connsiteX1" fmla="*/ 45727 w 91454"/>
                  <a:gd name="connsiteY1" fmla="*/ 91455 h 91454"/>
                  <a:gd name="connsiteX2" fmla="*/ 0 w 91454"/>
                  <a:gd name="connsiteY2" fmla="*/ 45727 h 91454"/>
                  <a:gd name="connsiteX3" fmla="*/ 45727 w 91454"/>
                  <a:gd name="connsiteY3" fmla="*/ 0 h 91454"/>
                  <a:gd name="connsiteX4" fmla="*/ 91455 w 91454"/>
                  <a:gd name="connsiteY4" fmla="*/ 45727 h 91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454" h="91454">
                    <a:moveTo>
                      <a:pt x="91455" y="45727"/>
                    </a:moveTo>
                    <a:cubicBezTo>
                      <a:pt x="91455" y="70982"/>
                      <a:pt x="70982" y="91455"/>
                      <a:pt x="45727" y="91455"/>
                    </a:cubicBezTo>
                    <a:cubicBezTo>
                      <a:pt x="20473" y="91455"/>
                      <a:pt x="0" y="70982"/>
                      <a:pt x="0" y="45727"/>
                    </a:cubicBezTo>
                    <a:cubicBezTo>
                      <a:pt x="0" y="20473"/>
                      <a:pt x="20473" y="0"/>
                      <a:pt x="45727" y="0"/>
                    </a:cubicBezTo>
                    <a:cubicBezTo>
                      <a:pt x="70982" y="0"/>
                      <a:pt x="91455" y="20473"/>
                      <a:pt x="91455" y="45727"/>
                    </a:cubicBezTo>
                    <a:close/>
                  </a:path>
                </a:pathLst>
              </a:custGeom>
              <a:solidFill>
                <a:srgbClr val="F9D9D2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1" name="Freihandform: Form 550">
                <a:extLst>
                  <a:ext uri="{FF2B5EF4-FFF2-40B4-BE49-F238E27FC236}">
                    <a16:creationId xmlns:a16="http://schemas.microsoft.com/office/drawing/2014/main" id="{E50D3EDB-C022-D273-EE6C-AE373121201C}"/>
                  </a:ext>
                </a:extLst>
              </p:cNvPr>
              <p:cNvSpPr/>
              <p:nvPr/>
            </p:nvSpPr>
            <p:spPr>
              <a:xfrm>
                <a:off x="11556024" y="5109420"/>
                <a:ext cx="230361" cy="86010"/>
              </a:xfrm>
              <a:custGeom>
                <a:avLst/>
                <a:gdLst>
                  <a:gd name="connsiteX0" fmla="*/ 0 w 230361"/>
                  <a:gd name="connsiteY0" fmla="*/ 20323 h 86010"/>
                  <a:gd name="connsiteX1" fmla="*/ 4476 w 230361"/>
                  <a:gd name="connsiteY1" fmla="*/ 69922 h 86010"/>
                  <a:gd name="connsiteX2" fmla="*/ 16573 w 230361"/>
                  <a:gd name="connsiteY2" fmla="*/ 86011 h 86010"/>
                  <a:gd name="connsiteX3" fmla="*/ 221621 w 230361"/>
                  <a:gd name="connsiteY3" fmla="*/ 67563 h 86010"/>
                  <a:gd name="connsiteX4" fmla="*/ 230270 w 230361"/>
                  <a:gd name="connsiteY4" fmla="*/ 49719 h 86010"/>
                  <a:gd name="connsiteX5" fmla="*/ 225794 w 230361"/>
                  <a:gd name="connsiteY5" fmla="*/ 0 h 86010"/>
                  <a:gd name="connsiteX6" fmla="*/ 0 w 230361"/>
                  <a:gd name="connsiteY6" fmla="*/ 20323 h 86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0361" h="86010">
                    <a:moveTo>
                      <a:pt x="0" y="20323"/>
                    </a:moveTo>
                    <a:lnTo>
                      <a:pt x="4476" y="69922"/>
                    </a:lnTo>
                    <a:cubicBezTo>
                      <a:pt x="5202" y="77906"/>
                      <a:pt x="10222" y="84378"/>
                      <a:pt x="16573" y="86011"/>
                    </a:cubicBezTo>
                    <a:lnTo>
                      <a:pt x="221621" y="67563"/>
                    </a:lnTo>
                    <a:cubicBezTo>
                      <a:pt x="227367" y="64660"/>
                      <a:pt x="230996" y="57522"/>
                      <a:pt x="230270" y="49719"/>
                    </a:cubicBezTo>
                    <a:lnTo>
                      <a:pt x="225794" y="0"/>
                    </a:lnTo>
                    <a:lnTo>
                      <a:pt x="0" y="20323"/>
                    </a:lnTo>
                    <a:close/>
                  </a:path>
                </a:pathLst>
              </a:custGeom>
              <a:solidFill>
                <a:srgbClr val="404040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2" name="Freihandform: Form 551">
                <a:extLst>
                  <a:ext uri="{FF2B5EF4-FFF2-40B4-BE49-F238E27FC236}">
                    <a16:creationId xmlns:a16="http://schemas.microsoft.com/office/drawing/2014/main" id="{C9AE259B-FED2-E04A-350B-5E892EF59288}"/>
                  </a:ext>
                </a:extLst>
              </p:cNvPr>
              <p:cNvSpPr/>
              <p:nvPr/>
            </p:nvSpPr>
            <p:spPr>
              <a:xfrm>
                <a:off x="11556024" y="5028991"/>
                <a:ext cx="225793" cy="104076"/>
              </a:xfrm>
              <a:custGeom>
                <a:avLst/>
                <a:gdLst>
                  <a:gd name="connsiteX0" fmla="*/ 225794 w 225793"/>
                  <a:gd name="connsiteY0" fmla="*/ 80429 h 104076"/>
                  <a:gd name="connsiteX1" fmla="*/ 192527 w 225793"/>
                  <a:gd name="connsiteY1" fmla="*/ 3068 h 104076"/>
                  <a:gd name="connsiteX2" fmla="*/ 181397 w 225793"/>
                  <a:gd name="connsiteY2" fmla="*/ 29197 h 104076"/>
                  <a:gd name="connsiteX3" fmla="*/ 61151 w 225793"/>
                  <a:gd name="connsiteY3" fmla="*/ 26959 h 104076"/>
                  <a:gd name="connsiteX4" fmla="*/ 0 w 225793"/>
                  <a:gd name="connsiteY4" fmla="*/ 100752 h 104076"/>
                  <a:gd name="connsiteX5" fmla="*/ 225794 w 225793"/>
                  <a:gd name="connsiteY5" fmla="*/ 80429 h 104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5793" h="104076">
                    <a:moveTo>
                      <a:pt x="225794" y="80429"/>
                    </a:moveTo>
                    <a:cubicBezTo>
                      <a:pt x="223193" y="41537"/>
                      <a:pt x="217386" y="12382"/>
                      <a:pt x="192527" y="3068"/>
                    </a:cubicBezTo>
                    <a:lnTo>
                      <a:pt x="181397" y="29197"/>
                    </a:lnTo>
                    <a:cubicBezTo>
                      <a:pt x="181397" y="29197"/>
                      <a:pt x="88370" y="-34978"/>
                      <a:pt x="61151" y="26959"/>
                    </a:cubicBezTo>
                    <a:cubicBezTo>
                      <a:pt x="38045" y="79522"/>
                      <a:pt x="6956" y="63130"/>
                      <a:pt x="0" y="100752"/>
                    </a:cubicBezTo>
                    <a:cubicBezTo>
                      <a:pt x="25102" y="110067"/>
                      <a:pt x="198454" y="98696"/>
                      <a:pt x="225794" y="80429"/>
                    </a:cubicBezTo>
                    <a:close/>
                  </a:path>
                </a:pathLst>
              </a:custGeom>
              <a:solidFill>
                <a:srgbClr val="E6E6E6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3" name="Freihandform: Form 552">
                <a:extLst>
                  <a:ext uri="{FF2B5EF4-FFF2-40B4-BE49-F238E27FC236}">
                    <a16:creationId xmlns:a16="http://schemas.microsoft.com/office/drawing/2014/main" id="{24B722EA-B752-B741-3EC3-E9A433EF119C}"/>
                  </a:ext>
                </a:extLst>
              </p:cNvPr>
              <p:cNvSpPr/>
              <p:nvPr/>
            </p:nvSpPr>
            <p:spPr>
              <a:xfrm>
                <a:off x="11727198" y="4837112"/>
                <a:ext cx="129077" cy="171538"/>
              </a:xfrm>
              <a:custGeom>
                <a:avLst/>
                <a:gdLst>
                  <a:gd name="connsiteX0" fmla="*/ 0 w 129077"/>
                  <a:gd name="connsiteY0" fmla="*/ 0 h 171538"/>
                  <a:gd name="connsiteX1" fmla="*/ 6049 w 129077"/>
                  <a:gd name="connsiteY1" fmla="*/ 171538 h 171538"/>
                  <a:gd name="connsiteX2" fmla="*/ 98411 w 129077"/>
                  <a:gd name="connsiteY2" fmla="*/ 171538 h 171538"/>
                  <a:gd name="connsiteX3" fmla="*/ 129078 w 129077"/>
                  <a:gd name="connsiteY3" fmla="*/ 0 h 171538"/>
                  <a:gd name="connsiteX4" fmla="*/ 0 w 129077"/>
                  <a:gd name="connsiteY4" fmla="*/ 0 h 17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9077" h="171538">
                    <a:moveTo>
                      <a:pt x="0" y="0"/>
                    </a:moveTo>
                    <a:cubicBezTo>
                      <a:pt x="3448" y="92423"/>
                      <a:pt x="6049" y="171538"/>
                      <a:pt x="6049" y="171538"/>
                    </a:cubicBezTo>
                    <a:lnTo>
                      <a:pt x="98411" y="171538"/>
                    </a:lnTo>
                    <a:cubicBezTo>
                      <a:pt x="103250" y="125629"/>
                      <a:pt x="115408" y="63571"/>
                      <a:pt x="129078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9D9D2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4" name="Freihandform: Form 553">
                <a:extLst>
                  <a:ext uri="{FF2B5EF4-FFF2-40B4-BE49-F238E27FC236}">
                    <a16:creationId xmlns:a16="http://schemas.microsoft.com/office/drawing/2014/main" id="{401A1967-1619-08AB-3CF6-4DF78469D706}"/>
                  </a:ext>
                </a:extLst>
              </p:cNvPr>
              <p:cNvSpPr/>
              <p:nvPr/>
            </p:nvSpPr>
            <p:spPr>
              <a:xfrm>
                <a:off x="11715162" y="5008650"/>
                <a:ext cx="190107" cy="133008"/>
              </a:xfrm>
              <a:custGeom>
                <a:avLst/>
                <a:gdLst>
                  <a:gd name="connsiteX0" fmla="*/ 110447 w 190107"/>
                  <a:gd name="connsiteY0" fmla="*/ 0 h 133008"/>
                  <a:gd name="connsiteX1" fmla="*/ 190108 w 190107"/>
                  <a:gd name="connsiteY1" fmla="*/ 133009 h 133008"/>
                  <a:gd name="connsiteX2" fmla="*/ 0 w 190107"/>
                  <a:gd name="connsiteY2" fmla="*/ 133009 h 133008"/>
                  <a:gd name="connsiteX3" fmla="*/ 18085 w 190107"/>
                  <a:gd name="connsiteY3" fmla="*/ 0 h 133008"/>
                  <a:gd name="connsiteX4" fmla="*/ 110447 w 190107"/>
                  <a:gd name="connsiteY4" fmla="*/ 0 h 133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107" h="133008">
                    <a:moveTo>
                      <a:pt x="110447" y="0"/>
                    </a:moveTo>
                    <a:cubicBezTo>
                      <a:pt x="123452" y="91999"/>
                      <a:pt x="190108" y="108875"/>
                      <a:pt x="190108" y="133009"/>
                    </a:cubicBezTo>
                    <a:lnTo>
                      <a:pt x="0" y="133009"/>
                    </a:lnTo>
                    <a:cubicBezTo>
                      <a:pt x="11009" y="80930"/>
                      <a:pt x="13428" y="42219"/>
                      <a:pt x="18085" y="0"/>
                    </a:cubicBezTo>
                    <a:lnTo>
                      <a:pt x="110447" y="0"/>
                    </a:lnTo>
                    <a:close/>
                  </a:path>
                </a:pathLst>
              </a:custGeom>
              <a:solidFill>
                <a:srgbClr val="F9D9D2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5" name="Freihandform: Form 554">
                <a:extLst>
                  <a:ext uri="{FF2B5EF4-FFF2-40B4-BE49-F238E27FC236}">
                    <a16:creationId xmlns:a16="http://schemas.microsoft.com/office/drawing/2014/main" id="{CF5B0463-D4A3-1B84-5C94-0FD0BFA72160}"/>
                  </a:ext>
                </a:extLst>
              </p:cNvPr>
              <p:cNvSpPr/>
              <p:nvPr/>
            </p:nvSpPr>
            <p:spPr>
              <a:xfrm>
                <a:off x="11683757" y="3561887"/>
                <a:ext cx="368614" cy="731577"/>
              </a:xfrm>
              <a:custGeom>
                <a:avLst/>
                <a:gdLst>
                  <a:gd name="connsiteX0" fmla="*/ 26627 w 368614"/>
                  <a:gd name="connsiteY0" fmla="*/ 731578 h 731577"/>
                  <a:gd name="connsiteX1" fmla="*/ 240385 w 368614"/>
                  <a:gd name="connsiteY1" fmla="*/ 731578 h 731577"/>
                  <a:gd name="connsiteX2" fmla="*/ 297060 w 368614"/>
                  <a:gd name="connsiteY2" fmla="*/ 522720 h 731577"/>
                  <a:gd name="connsiteX3" fmla="*/ 354703 w 368614"/>
                  <a:gd name="connsiteY3" fmla="*/ 210673 h 731577"/>
                  <a:gd name="connsiteX4" fmla="*/ 368615 w 368614"/>
                  <a:gd name="connsiteY4" fmla="*/ 12279 h 731577"/>
                  <a:gd name="connsiteX5" fmla="*/ 2553 w 368614"/>
                  <a:gd name="connsiteY5" fmla="*/ 0 h 731577"/>
                  <a:gd name="connsiteX6" fmla="*/ 26688 w 368614"/>
                  <a:gd name="connsiteY6" fmla="*/ 731578 h 731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8614" h="731577">
                    <a:moveTo>
                      <a:pt x="26627" y="731578"/>
                    </a:moveTo>
                    <a:lnTo>
                      <a:pt x="240385" y="731578"/>
                    </a:lnTo>
                    <a:cubicBezTo>
                      <a:pt x="240385" y="731578"/>
                      <a:pt x="275406" y="595363"/>
                      <a:pt x="297060" y="522720"/>
                    </a:cubicBezTo>
                    <a:cubicBezTo>
                      <a:pt x="318714" y="450076"/>
                      <a:pt x="343694" y="306422"/>
                      <a:pt x="354703" y="210673"/>
                    </a:cubicBezTo>
                    <a:cubicBezTo>
                      <a:pt x="361175" y="154723"/>
                      <a:pt x="366377" y="69861"/>
                      <a:pt x="368615" y="12279"/>
                    </a:cubicBezTo>
                    <a:cubicBezTo>
                      <a:pt x="233126" y="9254"/>
                      <a:pt x="2553" y="0"/>
                      <a:pt x="2553" y="0"/>
                    </a:cubicBezTo>
                    <a:cubicBezTo>
                      <a:pt x="-6943" y="258215"/>
                      <a:pt x="12050" y="476327"/>
                      <a:pt x="26688" y="731578"/>
                    </a:cubicBezTo>
                    <a:close/>
                  </a:path>
                </a:pathLst>
              </a:custGeom>
              <a:solidFill>
                <a:srgbClr val="009999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6" name="Freihandform: Form 555">
                <a:extLst>
                  <a:ext uri="{FF2B5EF4-FFF2-40B4-BE49-F238E27FC236}">
                    <a16:creationId xmlns:a16="http://schemas.microsoft.com/office/drawing/2014/main" id="{182732FA-9224-9DC9-ACB0-71566A73C64E}"/>
                  </a:ext>
                </a:extLst>
              </p:cNvPr>
              <p:cNvSpPr/>
              <p:nvPr/>
            </p:nvSpPr>
            <p:spPr>
              <a:xfrm>
                <a:off x="11695905" y="4293465"/>
                <a:ext cx="251767" cy="598387"/>
              </a:xfrm>
              <a:custGeom>
                <a:avLst/>
                <a:gdLst>
                  <a:gd name="connsiteX0" fmla="*/ 14479 w 251767"/>
                  <a:gd name="connsiteY0" fmla="*/ 598387 h 598387"/>
                  <a:gd name="connsiteX1" fmla="*/ 209365 w 251767"/>
                  <a:gd name="connsiteY1" fmla="*/ 598387 h 598387"/>
                  <a:gd name="connsiteX2" fmla="*/ 228176 w 251767"/>
                  <a:gd name="connsiteY2" fmla="*/ 0 h 598387"/>
                  <a:gd name="connsiteX3" fmla="*/ 14419 w 251767"/>
                  <a:gd name="connsiteY3" fmla="*/ 0 h 598387"/>
                  <a:gd name="connsiteX4" fmla="*/ 1233 w 251767"/>
                  <a:gd name="connsiteY4" fmla="*/ 270130 h 598387"/>
                  <a:gd name="connsiteX5" fmla="*/ 14419 w 251767"/>
                  <a:gd name="connsiteY5" fmla="*/ 598387 h 598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1767" h="598387">
                    <a:moveTo>
                      <a:pt x="14479" y="598387"/>
                    </a:moveTo>
                    <a:lnTo>
                      <a:pt x="209365" y="598387"/>
                    </a:lnTo>
                    <a:cubicBezTo>
                      <a:pt x="292170" y="374529"/>
                      <a:pt x="228176" y="0"/>
                      <a:pt x="228176" y="0"/>
                    </a:cubicBezTo>
                    <a:lnTo>
                      <a:pt x="14419" y="0"/>
                    </a:lnTo>
                    <a:cubicBezTo>
                      <a:pt x="14419" y="0"/>
                      <a:pt x="-4998" y="187143"/>
                      <a:pt x="1233" y="270130"/>
                    </a:cubicBezTo>
                    <a:cubicBezTo>
                      <a:pt x="7463" y="353177"/>
                      <a:pt x="14419" y="598387"/>
                      <a:pt x="14419" y="598387"/>
                    </a:cubicBezTo>
                    <a:close/>
                  </a:path>
                </a:pathLst>
              </a:custGeom>
              <a:solidFill>
                <a:srgbClr val="009999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7" name="Freihandform: Form 556">
                <a:extLst>
                  <a:ext uri="{FF2B5EF4-FFF2-40B4-BE49-F238E27FC236}">
                    <a16:creationId xmlns:a16="http://schemas.microsoft.com/office/drawing/2014/main" id="{231B3812-516A-F8CB-3FFD-EC69D51D9CB9}"/>
                  </a:ext>
                </a:extLst>
              </p:cNvPr>
              <p:cNvSpPr/>
              <p:nvPr/>
            </p:nvSpPr>
            <p:spPr>
              <a:xfrm>
                <a:off x="11734215" y="4962923"/>
                <a:ext cx="91454" cy="91454"/>
              </a:xfrm>
              <a:custGeom>
                <a:avLst/>
                <a:gdLst>
                  <a:gd name="connsiteX0" fmla="*/ 91455 w 91454"/>
                  <a:gd name="connsiteY0" fmla="*/ 45727 h 91454"/>
                  <a:gd name="connsiteX1" fmla="*/ 45727 w 91454"/>
                  <a:gd name="connsiteY1" fmla="*/ 91455 h 91454"/>
                  <a:gd name="connsiteX2" fmla="*/ -1 w 91454"/>
                  <a:gd name="connsiteY2" fmla="*/ 45727 h 91454"/>
                  <a:gd name="connsiteX3" fmla="*/ 45727 w 91454"/>
                  <a:gd name="connsiteY3" fmla="*/ 0 h 91454"/>
                  <a:gd name="connsiteX4" fmla="*/ 91455 w 91454"/>
                  <a:gd name="connsiteY4" fmla="*/ 45727 h 91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454" h="91454">
                    <a:moveTo>
                      <a:pt x="91455" y="45727"/>
                    </a:moveTo>
                    <a:cubicBezTo>
                      <a:pt x="91455" y="70982"/>
                      <a:pt x="70982" y="91455"/>
                      <a:pt x="45727" y="91455"/>
                    </a:cubicBezTo>
                    <a:cubicBezTo>
                      <a:pt x="20472" y="91455"/>
                      <a:pt x="-1" y="70982"/>
                      <a:pt x="-1" y="45727"/>
                    </a:cubicBezTo>
                    <a:cubicBezTo>
                      <a:pt x="-1" y="20473"/>
                      <a:pt x="20472" y="0"/>
                      <a:pt x="45727" y="0"/>
                    </a:cubicBezTo>
                    <a:cubicBezTo>
                      <a:pt x="70982" y="0"/>
                      <a:pt x="91455" y="20473"/>
                      <a:pt x="91455" y="45727"/>
                    </a:cubicBezTo>
                    <a:close/>
                  </a:path>
                </a:pathLst>
              </a:custGeom>
              <a:solidFill>
                <a:srgbClr val="F9D9D2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8" name="Freihandform: Form 557">
                <a:extLst>
                  <a:ext uri="{FF2B5EF4-FFF2-40B4-BE49-F238E27FC236}">
                    <a16:creationId xmlns:a16="http://schemas.microsoft.com/office/drawing/2014/main" id="{EF6BC955-8915-7D52-F79E-7BB395BF8066}"/>
                  </a:ext>
                </a:extLst>
              </p:cNvPr>
              <p:cNvSpPr/>
              <p:nvPr/>
            </p:nvSpPr>
            <p:spPr>
              <a:xfrm>
                <a:off x="11702823" y="5130167"/>
                <a:ext cx="226701" cy="66897"/>
              </a:xfrm>
              <a:custGeom>
                <a:avLst/>
                <a:gdLst>
                  <a:gd name="connsiteX0" fmla="*/ 226641 w 226701"/>
                  <a:gd name="connsiteY0" fmla="*/ 0 h 66897"/>
                  <a:gd name="connsiteX1" fmla="*/ 226641 w 226701"/>
                  <a:gd name="connsiteY1" fmla="*/ 49780 h 66897"/>
                  <a:gd name="connsiteX2" fmla="*/ 216056 w 226701"/>
                  <a:gd name="connsiteY2" fmla="*/ 66897 h 66897"/>
                  <a:gd name="connsiteX3" fmla="*/ 10222 w 226701"/>
                  <a:gd name="connsiteY3" fmla="*/ 66897 h 66897"/>
                  <a:gd name="connsiteX4" fmla="*/ 0 w 226701"/>
                  <a:gd name="connsiteY4" fmla="*/ 49901 h 66897"/>
                  <a:gd name="connsiteX5" fmla="*/ 0 w 226701"/>
                  <a:gd name="connsiteY5" fmla="*/ 0 h 66897"/>
                  <a:gd name="connsiteX6" fmla="*/ 226701 w 226701"/>
                  <a:gd name="connsiteY6" fmla="*/ 0 h 66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6701" h="66897">
                    <a:moveTo>
                      <a:pt x="226641" y="0"/>
                    </a:moveTo>
                    <a:lnTo>
                      <a:pt x="226641" y="49780"/>
                    </a:lnTo>
                    <a:cubicBezTo>
                      <a:pt x="226641" y="57764"/>
                      <a:pt x="222225" y="64660"/>
                      <a:pt x="216056" y="66897"/>
                    </a:cubicBezTo>
                    <a:lnTo>
                      <a:pt x="10222" y="66897"/>
                    </a:lnTo>
                    <a:cubicBezTo>
                      <a:pt x="4234" y="64538"/>
                      <a:pt x="0" y="57703"/>
                      <a:pt x="0" y="49901"/>
                    </a:cubicBezTo>
                    <a:lnTo>
                      <a:pt x="0" y="0"/>
                    </a:lnTo>
                    <a:lnTo>
                      <a:pt x="226701" y="0"/>
                    </a:lnTo>
                    <a:close/>
                  </a:path>
                </a:pathLst>
              </a:custGeom>
              <a:solidFill>
                <a:srgbClr val="404040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9" name="Freihandform: Form 558">
                <a:extLst>
                  <a:ext uri="{FF2B5EF4-FFF2-40B4-BE49-F238E27FC236}">
                    <a16:creationId xmlns:a16="http://schemas.microsoft.com/office/drawing/2014/main" id="{96AE9FC1-52EE-BB5D-4C17-8176C750D616}"/>
                  </a:ext>
                </a:extLst>
              </p:cNvPr>
              <p:cNvSpPr/>
              <p:nvPr/>
            </p:nvSpPr>
            <p:spPr>
              <a:xfrm>
                <a:off x="11702690" y="5038831"/>
                <a:ext cx="226834" cy="101604"/>
              </a:xfrm>
              <a:custGeom>
                <a:avLst/>
                <a:gdLst>
                  <a:gd name="connsiteX0" fmla="*/ 133 w 226834"/>
                  <a:gd name="connsiteY0" fmla="*/ 91336 h 101604"/>
                  <a:gd name="connsiteX1" fmla="*/ 26323 w 226834"/>
                  <a:gd name="connsiteY1" fmla="*/ 11313 h 101604"/>
                  <a:gd name="connsiteX2" fmla="*/ 39751 w 226834"/>
                  <a:gd name="connsiteY2" fmla="*/ 36354 h 101604"/>
                  <a:gd name="connsiteX3" fmla="*/ 159332 w 226834"/>
                  <a:gd name="connsiteY3" fmla="*/ 23350 h 101604"/>
                  <a:gd name="connsiteX4" fmla="*/ 226834 w 226834"/>
                  <a:gd name="connsiteY4" fmla="*/ 91336 h 101604"/>
                  <a:gd name="connsiteX5" fmla="*/ 133 w 226834"/>
                  <a:gd name="connsiteY5" fmla="*/ 91336 h 101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6834" h="101604">
                    <a:moveTo>
                      <a:pt x="133" y="91336"/>
                    </a:moveTo>
                    <a:cubicBezTo>
                      <a:pt x="-774" y="52383"/>
                      <a:pt x="2432" y="22806"/>
                      <a:pt x="26323" y="11313"/>
                    </a:cubicBezTo>
                    <a:lnTo>
                      <a:pt x="39751" y="36354"/>
                    </a:lnTo>
                    <a:cubicBezTo>
                      <a:pt x="39751" y="36354"/>
                      <a:pt x="126669" y="-35926"/>
                      <a:pt x="159332" y="23350"/>
                    </a:cubicBezTo>
                    <a:cubicBezTo>
                      <a:pt x="187034" y="73614"/>
                      <a:pt x="216551" y="54500"/>
                      <a:pt x="226834" y="91336"/>
                    </a:cubicBezTo>
                    <a:cubicBezTo>
                      <a:pt x="202640" y="102829"/>
                      <a:pt x="29045" y="107062"/>
                      <a:pt x="133" y="91336"/>
                    </a:cubicBezTo>
                    <a:close/>
                  </a:path>
                </a:pathLst>
              </a:custGeom>
              <a:solidFill>
                <a:srgbClr val="E6E6E6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0" name="Freihandform: Form 559">
                <a:extLst>
                  <a:ext uri="{FF2B5EF4-FFF2-40B4-BE49-F238E27FC236}">
                    <a16:creationId xmlns:a16="http://schemas.microsoft.com/office/drawing/2014/main" id="{D77FB47B-35A1-44C5-E114-66AC5FC9B0A7}"/>
                  </a:ext>
                </a:extLst>
              </p:cNvPr>
              <p:cNvSpPr/>
              <p:nvPr/>
            </p:nvSpPr>
            <p:spPr>
              <a:xfrm>
                <a:off x="11684193" y="3561887"/>
                <a:ext cx="367936" cy="83591"/>
              </a:xfrm>
              <a:custGeom>
                <a:avLst/>
                <a:gdLst>
                  <a:gd name="connsiteX0" fmla="*/ 0 w 367936"/>
                  <a:gd name="connsiteY0" fmla="*/ 83592 h 83591"/>
                  <a:gd name="connsiteX1" fmla="*/ 365758 w 367936"/>
                  <a:gd name="connsiteY1" fmla="*/ 62784 h 83591"/>
                  <a:gd name="connsiteX2" fmla="*/ 365758 w 367936"/>
                  <a:gd name="connsiteY2" fmla="*/ 62784 h 83591"/>
                  <a:gd name="connsiteX3" fmla="*/ 367937 w 367936"/>
                  <a:gd name="connsiteY3" fmla="*/ 12279 h 83591"/>
                  <a:gd name="connsiteX4" fmla="*/ 2057 w 367936"/>
                  <a:gd name="connsiteY4" fmla="*/ 0 h 83591"/>
                  <a:gd name="connsiteX5" fmla="*/ 0 w 367936"/>
                  <a:gd name="connsiteY5" fmla="*/ 83592 h 83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7936" h="83591">
                    <a:moveTo>
                      <a:pt x="0" y="83592"/>
                    </a:moveTo>
                    <a:cubicBezTo>
                      <a:pt x="107786" y="70527"/>
                      <a:pt x="252892" y="50506"/>
                      <a:pt x="365758" y="62784"/>
                    </a:cubicBezTo>
                    <a:lnTo>
                      <a:pt x="365758" y="62784"/>
                    </a:lnTo>
                    <a:cubicBezTo>
                      <a:pt x="366666" y="45606"/>
                      <a:pt x="367392" y="27158"/>
                      <a:pt x="367937" y="12279"/>
                    </a:cubicBezTo>
                    <a:cubicBezTo>
                      <a:pt x="232448" y="9254"/>
                      <a:pt x="2057" y="0"/>
                      <a:pt x="2057" y="0"/>
                    </a:cubicBezTo>
                    <a:cubicBezTo>
                      <a:pt x="1029" y="28368"/>
                      <a:pt x="363" y="56131"/>
                      <a:pt x="0" y="83592"/>
                    </a:cubicBezTo>
                    <a:close/>
                  </a:path>
                </a:pathLst>
              </a:custGeom>
              <a:solidFill>
                <a:srgbClr val="02787D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1" name="Freihandform: Form 560">
                <a:extLst>
                  <a:ext uri="{FF2B5EF4-FFF2-40B4-BE49-F238E27FC236}">
                    <a16:creationId xmlns:a16="http://schemas.microsoft.com/office/drawing/2014/main" id="{AD8C4782-6716-92BF-2A78-7630EA946187}"/>
                  </a:ext>
                </a:extLst>
              </p:cNvPr>
              <p:cNvSpPr/>
              <p:nvPr/>
            </p:nvSpPr>
            <p:spPr>
              <a:xfrm>
                <a:off x="11320727" y="3561826"/>
                <a:ext cx="365643" cy="143049"/>
              </a:xfrm>
              <a:custGeom>
                <a:avLst/>
                <a:gdLst>
                  <a:gd name="connsiteX0" fmla="*/ 363466 w 365643"/>
                  <a:gd name="connsiteY0" fmla="*/ 61 h 143049"/>
                  <a:gd name="connsiteX1" fmla="*/ 368 w 365643"/>
                  <a:gd name="connsiteY1" fmla="*/ 8650 h 143049"/>
                  <a:gd name="connsiteX2" fmla="*/ 7022 w 365643"/>
                  <a:gd name="connsiteY2" fmla="*/ 143049 h 143049"/>
                  <a:gd name="connsiteX3" fmla="*/ 365643 w 365643"/>
                  <a:gd name="connsiteY3" fmla="*/ 83592 h 143049"/>
                  <a:gd name="connsiteX4" fmla="*/ 363466 w 365643"/>
                  <a:gd name="connsiteY4" fmla="*/ 0 h 143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5643" h="143049">
                    <a:moveTo>
                      <a:pt x="363466" y="61"/>
                    </a:moveTo>
                    <a:cubicBezTo>
                      <a:pt x="363466" y="61"/>
                      <a:pt x="68052" y="8650"/>
                      <a:pt x="368" y="8650"/>
                    </a:cubicBezTo>
                    <a:cubicBezTo>
                      <a:pt x="-1144" y="49841"/>
                      <a:pt x="2183" y="95931"/>
                      <a:pt x="7022" y="143049"/>
                    </a:cubicBezTo>
                    <a:cubicBezTo>
                      <a:pt x="89222" y="125387"/>
                      <a:pt x="233602" y="100104"/>
                      <a:pt x="365643" y="83592"/>
                    </a:cubicBezTo>
                    <a:cubicBezTo>
                      <a:pt x="365159" y="56131"/>
                      <a:pt x="364494" y="28368"/>
                      <a:pt x="363466" y="0"/>
                    </a:cubicBezTo>
                    <a:close/>
                  </a:path>
                </a:pathLst>
              </a:custGeom>
              <a:solidFill>
                <a:srgbClr val="02787D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2" name="Freihandform: Form 561">
                <a:extLst>
                  <a:ext uri="{FF2B5EF4-FFF2-40B4-BE49-F238E27FC236}">
                    <a16:creationId xmlns:a16="http://schemas.microsoft.com/office/drawing/2014/main" id="{7B1149D3-E7C6-8914-FBCD-05C312884FD3}"/>
                  </a:ext>
                </a:extLst>
              </p:cNvPr>
              <p:cNvSpPr/>
              <p:nvPr/>
            </p:nvSpPr>
            <p:spPr>
              <a:xfrm>
                <a:off x="11710384" y="4184348"/>
                <a:ext cx="213757" cy="213757"/>
              </a:xfrm>
              <a:custGeom>
                <a:avLst/>
                <a:gdLst>
                  <a:gd name="connsiteX0" fmla="*/ 213757 w 213757"/>
                  <a:gd name="connsiteY0" fmla="*/ 106879 h 213757"/>
                  <a:gd name="connsiteX1" fmla="*/ 106879 w 213757"/>
                  <a:gd name="connsiteY1" fmla="*/ 213757 h 213757"/>
                  <a:gd name="connsiteX2" fmla="*/ 0 w 213757"/>
                  <a:gd name="connsiteY2" fmla="*/ 106879 h 213757"/>
                  <a:gd name="connsiteX3" fmla="*/ 106879 w 213757"/>
                  <a:gd name="connsiteY3" fmla="*/ 0 h 213757"/>
                  <a:gd name="connsiteX4" fmla="*/ 213757 w 213757"/>
                  <a:gd name="connsiteY4" fmla="*/ 106879 h 213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3757" h="213757">
                    <a:moveTo>
                      <a:pt x="213757" y="106879"/>
                    </a:moveTo>
                    <a:cubicBezTo>
                      <a:pt x="213757" y="165906"/>
                      <a:pt x="165906" y="213757"/>
                      <a:pt x="106879" y="213757"/>
                    </a:cubicBezTo>
                    <a:cubicBezTo>
                      <a:pt x="47851" y="213757"/>
                      <a:pt x="0" y="165906"/>
                      <a:pt x="0" y="106879"/>
                    </a:cubicBezTo>
                    <a:cubicBezTo>
                      <a:pt x="0" y="47851"/>
                      <a:pt x="47851" y="0"/>
                      <a:pt x="106879" y="0"/>
                    </a:cubicBezTo>
                    <a:cubicBezTo>
                      <a:pt x="165906" y="0"/>
                      <a:pt x="213757" y="47851"/>
                      <a:pt x="213757" y="106879"/>
                    </a:cubicBezTo>
                    <a:close/>
                  </a:path>
                </a:pathLst>
              </a:custGeom>
              <a:solidFill>
                <a:srgbClr val="009999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563" name="Grafik 297">
                <a:extLst>
                  <a:ext uri="{FF2B5EF4-FFF2-40B4-BE49-F238E27FC236}">
                    <a16:creationId xmlns:a16="http://schemas.microsoft.com/office/drawing/2014/main" id="{B87EEBC4-8B91-F399-E1D5-7D22B99A9AE3}"/>
                  </a:ext>
                </a:extLst>
              </p:cNvPr>
              <p:cNvGrpSpPr/>
              <p:nvPr/>
            </p:nvGrpSpPr>
            <p:grpSpPr>
              <a:xfrm>
                <a:off x="11174966" y="3045397"/>
                <a:ext cx="164094" cy="552660"/>
                <a:chOff x="11174966" y="3045397"/>
                <a:chExt cx="164094" cy="552660"/>
              </a:xfrm>
            </p:grpSpPr>
            <p:sp>
              <p:nvSpPr>
                <p:cNvPr id="613" name="Freihandform: Form 612">
                  <a:extLst>
                    <a:ext uri="{FF2B5EF4-FFF2-40B4-BE49-F238E27FC236}">
                      <a16:creationId xmlns:a16="http://schemas.microsoft.com/office/drawing/2014/main" id="{5C7ACAD8-AF9E-A6F9-514B-F096C250821A}"/>
                    </a:ext>
                  </a:extLst>
                </p:cNvPr>
                <p:cNvSpPr/>
                <p:nvPr/>
              </p:nvSpPr>
              <p:spPr>
                <a:xfrm>
                  <a:off x="11174966" y="3125964"/>
                  <a:ext cx="163973" cy="472093"/>
                </a:xfrm>
                <a:custGeom>
                  <a:avLst/>
                  <a:gdLst>
                    <a:gd name="connsiteX0" fmla="*/ 9130 w 163973"/>
                    <a:gd name="connsiteY0" fmla="*/ 472093 h 472093"/>
                    <a:gd name="connsiteX1" fmla="*/ 94294 w 163973"/>
                    <a:gd name="connsiteY1" fmla="*/ 468161 h 472093"/>
                    <a:gd name="connsiteX2" fmla="*/ 163974 w 163973"/>
                    <a:gd name="connsiteY2" fmla="*/ 9133 h 472093"/>
                    <a:gd name="connsiteX3" fmla="*/ 118 w 163973"/>
                    <a:gd name="connsiteY3" fmla="*/ 0 h 472093"/>
                    <a:gd name="connsiteX4" fmla="*/ 9130 w 163973"/>
                    <a:gd name="connsiteY4" fmla="*/ 472093 h 4720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3973" h="472093">
                      <a:moveTo>
                        <a:pt x="9130" y="472093"/>
                      </a:moveTo>
                      <a:lnTo>
                        <a:pt x="94294" y="468161"/>
                      </a:lnTo>
                      <a:cubicBezTo>
                        <a:pt x="94294" y="468161"/>
                        <a:pt x="161071" y="61151"/>
                        <a:pt x="163974" y="9133"/>
                      </a:cubicBezTo>
                      <a:lnTo>
                        <a:pt x="118" y="0"/>
                      </a:lnTo>
                      <a:cubicBezTo>
                        <a:pt x="-1153" y="212306"/>
                        <a:pt x="8283" y="346887"/>
                        <a:pt x="9130" y="472093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14" name="Freihandform: Form 613">
                  <a:extLst>
                    <a:ext uri="{FF2B5EF4-FFF2-40B4-BE49-F238E27FC236}">
                      <a16:creationId xmlns:a16="http://schemas.microsoft.com/office/drawing/2014/main" id="{52ED6348-C239-1D07-CECA-8A62494D1BE7}"/>
                    </a:ext>
                  </a:extLst>
                </p:cNvPr>
                <p:cNvSpPr/>
                <p:nvPr/>
              </p:nvSpPr>
              <p:spPr>
                <a:xfrm>
                  <a:off x="11175143" y="3045397"/>
                  <a:ext cx="163916" cy="163916"/>
                </a:xfrm>
                <a:custGeom>
                  <a:avLst/>
                  <a:gdLst>
                    <a:gd name="connsiteX0" fmla="*/ 163917 w 163916"/>
                    <a:gd name="connsiteY0" fmla="*/ 81959 h 163916"/>
                    <a:gd name="connsiteX1" fmla="*/ 81958 w 163916"/>
                    <a:gd name="connsiteY1" fmla="*/ 163917 h 163916"/>
                    <a:gd name="connsiteX2" fmla="*/ 0 w 163916"/>
                    <a:gd name="connsiteY2" fmla="*/ 81958 h 163916"/>
                    <a:gd name="connsiteX3" fmla="*/ 81958 w 163916"/>
                    <a:gd name="connsiteY3" fmla="*/ 0 h 163916"/>
                    <a:gd name="connsiteX4" fmla="*/ 163917 w 163916"/>
                    <a:gd name="connsiteY4" fmla="*/ 81959 h 1639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3916" h="163916">
                      <a:moveTo>
                        <a:pt x="163917" y="81959"/>
                      </a:moveTo>
                      <a:cubicBezTo>
                        <a:pt x="163917" y="127223"/>
                        <a:pt x="127223" y="163917"/>
                        <a:pt x="81958" y="163917"/>
                      </a:cubicBezTo>
                      <a:cubicBezTo>
                        <a:pt x="36694" y="163917"/>
                        <a:pt x="0" y="127223"/>
                        <a:pt x="0" y="81958"/>
                      </a:cubicBezTo>
                      <a:cubicBezTo>
                        <a:pt x="0" y="36694"/>
                        <a:pt x="36694" y="0"/>
                        <a:pt x="81958" y="0"/>
                      </a:cubicBezTo>
                      <a:cubicBezTo>
                        <a:pt x="127222" y="0"/>
                        <a:pt x="163917" y="36694"/>
                        <a:pt x="163917" y="81959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15" name="Freihandform: Form 614">
                  <a:extLst>
                    <a:ext uri="{FF2B5EF4-FFF2-40B4-BE49-F238E27FC236}">
                      <a16:creationId xmlns:a16="http://schemas.microsoft.com/office/drawing/2014/main" id="{476795C9-3058-D5F7-E84E-EDE3A26AE97E}"/>
                    </a:ext>
                  </a:extLst>
                </p:cNvPr>
                <p:cNvSpPr/>
                <p:nvPr/>
              </p:nvSpPr>
              <p:spPr>
                <a:xfrm>
                  <a:off x="11183128" y="3538055"/>
                  <a:ext cx="95265" cy="60002"/>
                </a:xfrm>
                <a:custGeom>
                  <a:avLst/>
                  <a:gdLst>
                    <a:gd name="connsiteX0" fmla="*/ 0 w 95265"/>
                    <a:gd name="connsiteY0" fmla="*/ 61 h 60002"/>
                    <a:gd name="connsiteX1" fmla="*/ 968 w 95265"/>
                    <a:gd name="connsiteY1" fmla="*/ 60002 h 60002"/>
                    <a:gd name="connsiteX2" fmla="*/ 86132 w 95265"/>
                    <a:gd name="connsiteY2" fmla="*/ 56070 h 60002"/>
                    <a:gd name="connsiteX3" fmla="*/ 95265 w 95265"/>
                    <a:gd name="connsiteY3" fmla="*/ 0 h 60002"/>
                    <a:gd name="connsiteX4" fmla="*/ 61 w 95265"/>
                    <a:gd name="connsiteY4" fmla="*/ 0 h 600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5265" h="60002">
                      <a:moveTo>
                        <a:pt x="0" y="61"/>
                      </a:moveTo>
                      <a:cubicBezTo>
                        <a:pt x="484" y="20444"/>
                        <a:pt x="847" y="40344"/>
                        <a:pt x="968" y="60002"/>
                      </a:cubicBezTo>
                      <a:lnTo>
                        <a:pt x="86132" y="56070"/>
                      </a:lnTo>
                      <a:cubicBezTo>
                        <a:pt x="86132" y="56070"/>
                        <a:pt x="89700" y="34235"/>
                        <a:pt x="95265" y="0"/>
                      </a:cubicBezTo>
                      <a:lnTo>
                        <a:pt x="61" y="0"/>
                      </a:ln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64" name="Grafik 297">
                <a:extLst>
                  <a:ext uri="{FF2B5EF4-FFF2-40B4-BE49-F238E27FC236}">
                    <a16:creationId xmlns:a16="http://schemas.microsoft.com/office/drawing/2014/main" id="{9E66FC14-F7CC-1654-874B-91626CBE89D3}"/>
                  </a:ext>
                </a:extLst>
              </p:cNvPr>
              <p:cNvGrpSpPr/>
              <p:nvPr/>
            </p:nvGrpSpPr>
            <p:grpSpPr>
              <a:xfrm>
                <a:off x="11138852" y="2513423"/>
                <a:ext cx="352330" cy="680527"/>
                <a:chOff x="11138852" y="2513423"/>
                <a:chExt cx="352330" cy="680527"/>
              </a:xfrm>
            </p:grpSpPr>
            <p:sp>
              <p:nvSpPr>
                <p:cNvPr id="610" name="Freihandform: Form 609">
                  <a:extLst>
                    <a:ext uri="{FF2B5EF4-FFF2-40B4-BE49-F238E27FC236}">
                      <a16:creationId xmlns:a16="http://schemas.microsoft.com/office/drawing/2014/main" id="{87AF9F5F-01F1-2253-8E0D-96B9D7D0242C}"/>
                    </a:ext>
                  </a:extLst>
                </p:cNvPr>
                <p:cNvSpPr/>
                <p:nvPr/>
              </p:nvSpPr>
              <p:spPr>
                <a:xfrm>
                  <a:off x="11279482" y="2513423"/>
                  <a:ext cx="211700" cy="211700"/>
                </a:xfrm>
                <a:custGeom>
                  <a:avLst/>
                  <a:gdLst>
                    <a:gd name="connsiteX0" fmla="*/ 211701 w 211700"/>
                    <a:gd name="connsiteY0" fmla="*/ 105850 h 211700"/>
                    <a:gd name="connsiteX1" fmla="*/ 105851 w 211700"/>
                    <a:gd name="connsiteY1" fmla="*/ 211701 h 211700"/>
                    <a:gd name="connsiteX2" fmla="*/ 0 w 211700"/>
                    <a:gd name="connsiteY2" fmla="*/ 105850 h 211700"/>
                    <a:gd name="connsiteX3" fmla="*/ 105851 w 211700"/>
                    <a:gd name="connsiteY3" fmla="*/ 0 h 211700"/>
                    <a:gd name="connsiteX4" fmla="*/ 211701 w 211700"/>
                    <a:gd name="connsiteY4" fmla="*/ 105850 h 211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1700" h="211700">
                      <a:moveTo>
                        <a:pt x="211701" y="105850"/>
                      </a:moveTo>
                      <a:cubicBezTo>
                        <a:pt x="211701" y="164310"/>
                        <a:pt x="164311" y="211701"/>
                        <a:pt x="105851" y="211701"/>
                      </a:cubicBezTo>
                      <a:cubicBezTo>
                        <a:pt x="47391" y="211701"/>
                        <a:pt x="0" y="164310"/>
                        <a:pt x="0" y="105850"/>
                      </a:cubicBezTo>
                      <a:cubicBezTo>
                        <a:pt x="0" y="47391"/>
                        <a:pt x="47391" y="0"/>
                        <a:pt x="105851" y="0"/>
                      </a:cubicBezTo>
                      <a:cubicBezTo>
                        <a:pt x="164311" y="0"/>
                        <a:pt x="211701" y="47391"/>
                        <a:pt x="211701" y="105850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11" name="Freihandform: Form 610">
                  <a:extLst>
                    <a:ext uri="{FF2B5EF4-FFF2-40B4-BE49-F238E27FC236}">
                      <a16:creationId xmlns:a16="http://schemas.microsoft.com/office/drawing/2014/main" id="{95A83010-A7DA-F5B3-82DE-7F5B99278BDC}"/>
                    </a:ext>
                  </a:extLst>
                </p:cNvPr>
                <p:cNvSpPr/>
                <p:nvPr/>
              </p:nvSpPr>
              <p:spPr>
                <a:xfrm>
                  <a:off x="11138852" y="2521286"/>
                  <a:ext cx="309748" cy="672604"/>
                </a:xfrm>
                <a:custGeom>
                  <a:avLst/>
                  <a:gdLst>
                    <a:gd name="connsiteX0" fmla="*/ 206196 w 309748"/>
                    <a:gd name="connsiteY0" fmla="*/ 61 h 672604"/>
                    <a:gd name="connsiteX1" fmla="*/ 109237 w 309748"/>
                    <a:gd name="connsiteY1" fmla="*/ 151941 h 672604"/>
                    <a:gd name="connsiteX2" fmla="*/ 0 w 309748"/>
                    <a:gd name="connsiteY2" fmla="*/ 649498 h 672604"/>
                    <a:gd name="connsiteX3" fmla="*/ 210551 w 309748"/>
                    <a:gd name="connsiteY3" fmla="*/ 672604 h 672604"/>
                    <a:gd name="connsiteX4" fmla="*/ 309748 w 309748"/>
                    <a:gd name="connsiteY4" fmla="*/ 182668 h 672604"/>
                    <a:gd name="connsiteX5" fmla="*/ 206196 w 309748"/>
                    <a:gd name="connsiteY5" fmla="*/ 0 h 6726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09748" h="672604">
                      <a:moveTo>
                        <a:pt x="206196" y="61"/>
                      </a:moveTo>
                      <a:cubicBezTo>
                        <a:pt x="206196" y="61"/>
                        <a:pt x="139541" y="14880"/>
                        <a:pt x="109237" y="151941"/>
                      </a:cubicBezTo>
                      <a:cubicBezTo>
                        <a:pt x="78511" y="290938"/>
                        <a:pt x="0" y="649498"/>
                        <a:pt x="0" y="649498"/>
                      </a:cubicBezTo>
                      <a:lnTo>
                        <a:pt x="210551" y="672604"/>
                      </a:lnTo>
                      <a:lnTo>
                        <a:pt x="309748" y="182668"/>
                      </a:lnTo>
                      <a:lnTo>
                        <a:pt x="206196" y="0"/>
                      </a:ln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12" name="Freihandform: Form 611">
                  <a:extLst>
                    <a:ext uri="{FF2B5EF4-FFF2-40B4-BE49-F238E27FC236}">
                      <a16:creationId xmlns:a16="http://schemas.microsoft.com/office/drawing/2014/main" id="{D8D80501-6F43-5DEF-7FC5-AF6E2B01CC90}"/>
                    </a:ext>
                  </a:extLst>
                </p:cNvPr>
                <p:cNvSpPr/>
                <p:nvPr/>
              </p:nvSpPr>
              <p:spPr>
                <a:xfrm>
                  <a:off x="11220790" y="2704014"/>
                  <a:ext cx="227870" cy="489936"/>
                </a:xfrm>
                <a:custGeom>
                  <a:avLst/>
                  <a:gdLst>
                    <a:gd name="connsiteX0" fmla="*/ 68853 w 227870"/>
                    <a:gd name="connsiteY0" fmla="*/ 234202 h 489936"/>
                    <a:gd name="connsiteX1" fmla="*/ 46050 w 227870"/>
                    <a:gd name="connsiteY1" fmla="*/ 411426 h 489936"/>
                    <a:gd name="connsiteX2" fmla="*/ 1290 w 227870"/>
                    <a:gd name="connsiteY2" fmla="*/ 475964 h 489936"/>
                    <a:gd name="connsiteX3" fmla="*/ 128674 w 227870"/>
                    <a:gd name="connsiteY3" fmla="*/ 489936 h 489936"/>
                    <a:gd name="connsiteX4" fmla="*/ 227871 w 227870"/>
                    <a:gd name="connsiteY4" fmla="*/ 0 h 489936"/>
                    <a:gd name="connsiteX5" fmla="*/ 68913 w 227870"/>
                    <a:gd name="connsiteY5" fmla="*/ 234202 h 489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27870" h="489936">
                      <a:moveTo>
                        <a:pt x="68853" y="234202"/>
                      </a:moveTo>
                      <a:cubicBezTo>
                        <a:pt x="96495" y="346403"/>
                        <a:pt x="103996" y="388804"/>
                        <a:pt x="46050" y="411426"/>
                      </a:cubicBezTo>
                      <a:cubicBezTo>
                        <a:pt x="-11896" y="434047"/>
                        <a:pt x="1290" y="475964"/>
                        <a:pt x="1290" y="475964"/>
                      </a:cubicBezTo>
                      <a:lnTo>
                        <a:pt x="128674" y="489936"/>
                      </a:lnTo>
                      <a:lnTo>
                        <a:pt x="227871" y="0"/>
                      </a:lnTo>
                      <a:cubicBezTo>
                        <a:pt x="227871" y="0"/>
                        <a:pt x="43207" y="129742"/>
                        <a:pt x="68913" y="234202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565" name="Freihandform: Form 564">
                <a:extLst>
                  <a:ext uri="{FF2B5EF4-FFF2-40B4-BE49-F238E27FC236}">
                    <a16:creationId xmlns:a16="http://schemas.microsoft.com/office/drawing/2014/main" id="{49AB4862-7CCD-F5B4-A341-0D11EDC484DA}"/>
                  </a:ext>
                </a:extLst>
              </p:cNvPr>
              <p:cNvSpPr/>
              <p:nvPr/>
            </p:nvSpPr>
            <p:spPr>
              <a:xfrm>
                <a:off x="11592799" y="2187522"/>
                <a:ext cx="184482" cy="347094"/>
              </a:xfrm>
              <a:custGeom>
                <a:avLst/>
                <a:gdLst>
                  <a:gd name="connsiteX0" fmla="*/ 0 w 184482"/>
                  <a:gd name="connsiteY0" fmla="*/ 298440 h 347094"/>
                  <a:gd name="connsiteX1" fmla="*/ 184482 w 184482"/>
                  <a:gd name="connsiteY1" fmla="*/ 298440 h 347094"/>
                  <a:gd name="connsiteX2" fmla="*/ 184482 w 184482"/>
                  <a:gd name="connsiteY2" fmla="*/ 60307 h 347094"/>
                  <a:gd name="connsiteX3" fmla="*/ 0 w 184482"/>
                  <a:gd name="connsiteY3" fmla="*/ 60307 h 347094"/>
                  <a:gd name="connsiteX4" fmla="*/ 0 w 184482"/>
                  <a:gd name="connsiteY4" fmla="*/ 298440 h 347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4482" h="347094">
                    <a:moveTo>
                      <a:pt x="0" y="298440"/>
                    </a:moveTo>
                    <a:cubicBezTo>
                      <a:pt x="32058" y="362858"/>
                      <a:pt x="146739" y="363765"/>
                      <a:pt x="184482" y="298440"/>
                    </a:cubicBezTo>
                    <a:lnTo>
                      <a:pt x="184482" y="60307"/>
                    </a:lnTo>
                    <a:cubicBezTo>
                      <a:pt x="151820" y="-29091"/>
                      <a:pt x="13488" y="-10583"/>
                      <a:pt x="0" y="60307"/>
                    </a:cubicBezTo>
                    <a:lnTo>
                      <a:pt x="0" y="298440"/>
                    </a:lnTo>
                    <a:close/>
                  </a:path>
                </a:pathLst>
              </a:custGeom>
              <a:solidFill>
                <a:srgbClr val="F9D9D2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6" name="Freihandform: Form 565">
                <a:extLst>
                  <a:ext uri="{FF2B5EF4-FFF2-40B4-BE49-F238E27FC236}">
                    <a16:creationId xmlns:a16="http://schemas.microsoft.com/office/drawing/2014/main" id="{457E615B-063C-5C80-FC6C-8C3B1DB44EE0}"/>
                  </a:ext>
                </a:extLst>
              </p:cNvPr>
              <p:cNvSpPr/>
              <p:nvPr/>
            </p:nvSpPr>
            <p:spPr>
              <a:xfrm>
                <a:off x="11592799" y="2187522"/>
                <a:ext cx="184482" cy="345619"/>
              </a:xfrm>
              <a:custGeom>
                <a:avLst/>
                <a:gdLst>
                  <a:gd name="connsiteX0" fmla="*/ 184482 w 184482"/>
                  <a:gd name="connsiteY0" fmla="*/ 60307 h 345619"/>
                  <a:gd name="connsiteX1" fmla="*/ 0 w 184482"/>
                  <a:gd name="connsiteY1" fmla="*/ 60307 h 345619"/>
                  <a:gd name="connsiteX2" fmla="*/ 0 w 184482"/>
                  <a:gd name="connsiteY2" fmla="*/ 298440 h 345619"/>
                  <a:gd name="connsiteX3" fmla="*/ 0 w 184482"/>
                  <a:gd name="connsiteY3" fmla="*/ 298440 h 345619"/>
                  <a:gd name="connsiteX4" fmla="*/ 5141 w 184482"/>
                  <a:gd name="connsiteY4" fmla="*/ 307090 h 345619"/>
                  <a:gd name="connsiteX5" fmla="*/ 6109 w 184482"/>
                  <a:gd name="connsiteY5" fmla="*/ 308541 h 345619"/>
                  <a:gd name="connsiteX6" fmla="*/ 12097 w 184482"/>
                  <a:gd name="connsiteY6" fmla="*/ 315981 h 345619"/>
                  <a:gd name="connsiteX7" fmla="*/ 13247 w 184482"/>
                  <a:gd name="connsiteY7" fmla="*/ 317191 h 345619"/>
                  <a:gd name="connsiteX8" fmla="*/ 28852 w 184482"/>
                  <a:gd name="connsiteY8" fmla="*/ 330014 h 345619"/>
                  <a:gd name="connsiteX9" fmla="*/ 29759 w 184482"/>
                  <a:gd name="connsiteY9" fmla="*/ 330619 h 345619"/>
                  <a:gd name="connsiteX10" fmla="*/ 38832 w 184482"/>
                  <a:gd name="connsiteY10" fmla="*/ 335639 h 345619"/>
                  <a:gd name="connsiteX11" fmla="*/ 39498 w 184482"/>
                  <a:gd name="connsiteY11" fmla="*/ 335941 h 345619"/>
                  <a:gd name="connsiteX12" fmla="*/ 60304 w 184482"/>
                  <a:gd name="connsiteY12" fmla="*/ 343381 h 345619"/>
                  <a:gd name="connsiteX13" fmla="*/ 60365 w 184482"/>
                  <a:gd name="connsiteY13" fmla="*/ 343381 h 345619"/>
                  <a:gd name="connsiteX14" fmla="*/ 71615 w 184482"/>
                  <a:gd name="connsiteY14" fmla="*/ 345619 h 345619"/>
                  <a:gd name="connsiteX15" fmla="*/ 71615 w 184482"/>
                  <a:gd name="connsiteY15" fmla="*/ 345619 h 345619"/>
                  <a:gd name="connsiteX16" fmla="*/ 41010 w 184482"/>
                  <a:gd name="connsiteY16" fmla="*/ 255556 h 345619"/>
                  <a:gd name="connsiteX17" fmla="*/ 91273 w 184482"/>
                  <a:gd name="connsiteY17" fmla="*/ 220474 h 345619"/>
                  <a:gd name="connsiteX18" fmla="*/ 184422 w 184482"/>
                  <a:gd name="connsiteY18" fmla="*/ 110329 h 345619"/>
                  <a:gd name="connsiteX19" fmla="*/ 184422 w 184482"/>
                  <a:gd name="connsiteY19" fmla="*/ 60246 h 345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84482" h="345619">
                    <a:moveTo>
                      <a:pt x="184482" y="60307"/>
                    </a:moveTo>
                    <a:cubicBezTo>
                      <a:pt x="151820" y="-29091"/>
                      <a:pt x="13488" y="-10583"/>
                      <a:pt x="0" y="60307"/>
                    </a:cubicBezTo>
                    <a:lnTo>
                      <a:pt x="0" y="298440"/>
                    </a:lnTo>
                    <a:cubicBezTo>
                      <a:pt x="0" y="298440"/>
                      <a:pt x="0" y="298440"/>
                      <a:pt x="0" y="298440"/>
                    </a:cubicBezTo>
                    <a:cubicBezTo>
                      <a:pt x="1512" y="301465"/>
                      <a:pt x="3266" y="304307"/>
                      <a:pt x="5141" y="307090"/>
                    </a:cubicBezTo>
                    <a:cubicBezTo>
                      <a:pt x="5444" y="307574"/>
                      <a:pt x="5806" y="308057"/>
                      <a:pt x="6109" y="308541"/>
                    </a:cubicBezTo>
                    <a:cubicBezTo>
                      <a:pt x="7985" y="311142"/>
                      <a:pt x="9980" y="313622"/>
                      <a:pt x="12097" y="315981"/>
                    </a:cubicBezTo>
                    <a:cubicBezTo>
                      <a:pt x="12460" y="316405"/>
                      <a:pt x="12823" y="316767"/>
                      <a:pt x="13247" y="317191"/>
                    </a:cubicBezTo>
                    <a:cubicBezTo>
                      <a:pt x="17904" y="322030"/>
                      <a:pt x="23106" y="326324"/>
                      <a:pt x="28852" y="330014"/>
                    </a:cubicBezTo>
                    <a:cubicBezTo>
                      <a:pt x="29155" y="330195"/>
                      <a:pt x="29457" y="330437"/>
                      <a:pt x="29759" y="330619"/>
                    </a:cubicBezTo>
                    <a:cubicBezTo>
                      <a:pt x="32663" y="332433"/>
                      <a:pt x="35687" y="334127"/>
                      <a:pt x="38832" y="335639"/>
                    </a:cubicBezTo>
                    <a:cubicBezTo>
                      <a:pt x="39074" y="335760"/>
                      <a:pt x="39316" y="335881"/>
                      <a:pt x="39498" y="335941"/>
                    </a:cubicBezTo>
                    <a:cubicBezTo>
                      <a:pt x="46090" y="339087"/>
                      <a:pt x="53046" y="341567"/>
                      <a:pt x="60304" y="343381"/>
                    </a:cubicBezTo>
                    <a:cubicBezTo>
                      <a:pt x="60304" y="343381"/>
                      <a:pt x="60304" y="343381"/>
                      <a:pt x="60365" y="343381"/>
                    </a:cubicBezTo>
                    <a:cubicBezTo>
                      <a:pt x="64054" y="344289"/>
                      <a:pt x="67805" y="345075"/>
                      <a:pt x="71615" y="345619"/>
                    </a:cubicBezTo>
                    <a:cubicBezTo>
                      <a:pt x="71615" y="345619"/>
                      <a:pt x="71615" y="345619"/>
                      <a:pt x="71615" y="345619"/>
                    </a:cubicBezTo>
                    <a:cubicBezTo>
                      <a:pt x="58066" y="324328"/>
                      <a:pt x="40707" y="295779"/>
                      <a:pt x="41010" y="255556"/>
                    </a:cubicBezTo>
                    <a:cubicBezTo>
                      <a:pt x="41191" y="236079"/>
                      <a:pt x="55345" y="222349"/>
                      <a:pt x="91273" y="220474"/>
                    </a:cubicBezTo>
                    <a:cubicBezTo>
                      <a:pt x="151397" y="217389"/>
                      <a:pt x="179038" y="128535"/>
                      <a:pt x="184422" y="110329"/>
                    </a:cubicBezTo>
                    <a:lnTo>
                      <a:pt x="184422" y="60246"/>
                    </a:lnTo>
                    <a:close/>
                  </a:path>
                </a:pathLst>
              </a:custGeom>
              <a:solidFill>
                <a:srgbClr val="F2BBB3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7" name="Freihandform: Form 566">
                <a:extLst>
                  <a:ext uri="{FF2B5EF4-FFF2-40B4-BE49-F238E27FC236}">
                    <a16:creationId xmlns:a16="http://schemas.microsoft.com/office/drawing/2014/main" id="{B824CC29-6F81-A791-0A1F-3B354E2A5C6F}"/>
                  </a:ext>
                </a:extLst>
              </p:cNvPr>
              <p:cNvSpPr/>
              <p:nvPr/>
            </p:nvSpPr>
            <p:spPr>
              <a:xfrm>
                <a:off x="11554257" y="2045063"/>
                <a:ext cx="261685" cy="343154"/>
              </a:xfrm>
              <a:custGeom>
                <a:avLst/>
                <a:gdLst>
                  <a:gd name="connsiteX0" fmla="*/ 260888 w 261685"/>
                  <a:gd name="connsiteY0" fmla="*/ 115908 h 343154"/>
                  <a:gd name="connsiteX1" fmla="*/ 226713 w 261685"/>
                  <a:gd name="connsiteY1" fmla="*/ 30200 h 343154"/>
                  <a:gd name="connsiteX2" fmla="*/ 130843 w 261685"/>
                  <a:gd name="connsiteY2" fmla="*/ 17 h 343154"/>
                  <a:gd name="connsiteX3" fmla="*/ 34973 w 261685"/>
                  <a:gd name="connsiteY3" fmla="*/ 30200 h 343154"/>
                  <a:gd name="connsiteX4" fmla="*/ 798 w 261685"/>
                  <a:gd name="connsiteY4" fmla="*/ 115908 h 343154"/>
                  <a:gd name="connsiteX5" fmla="*/ 1342 w 261685"/>
                  <a:gd name="connsiteY5" fmla="*/ 197806 h 343154"/>
                  <a:gd name="connsiteX6" fmla="*/ 40235 w 261685"/>
                  <a:gd name="connsiteY6" fmla="*/ 289080 h 343154"/>
                  <a:gd name="connsiteX7" fmla="*/ 130843 w 261685"/>
                  <a:gd name="connsiteY7" fmla="*/ 343154 h 343154"/>
                  <a:gd name="connsiteX8" fmla="*/ 221451 w 261685"/>
                  <a:gd name="connsiteY8" fmla="*/ 289080 h 343154"/>
                  <a:gd name="connsiteX9" fmla="*/ 260344 w 261685"/>
                  <a:gd name="connsiteY9" fmla="*/ 197806 h 343154"/>
                  <a:gd name="connsiteX10" fmla="*/ 260888 w 261685"/>
                  <a:gd name="connsiteY10" fmla="*/ 115908 h 343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1685" h="343154">
                    <a:moveTo>
                      <a:pt x="260888" y="115908"/>
                    </a:moveTo>
                    <a:cubicBezTo>
                      <a:pt x="260888" y="115908"/>
                      <a:pt x="257803" y="64798"/>
                      <a:pt x="226713" y="30200"/>
                    </a:cubicBezTo>
                    <a:cubicBezTo>
                      <a:pt x="201067" y="1711"/>
                      <a:pt x="148566" y="-225"/>
                      <a:pt x="130843" y="17"/>
                    </a:cubicBezTo>
                    <a:cubicBezTo>
                      <a:pt x="113120" y="-164"/>
                      <a:pt x="60558" y="1711"/>
                      <a:pt x="34973" y="30200"/>
                    </a:cubicBezTo>
                    <a:cubicBezTo>
                      <a:pt x="3883" y="64798"/>
                      <a:pt x="798" y="115908"/>
                      <a:pt x="798" y="115908"/>
                    </a:cubicBezTo>
                    <a:cubicBezTo>
                      <a:pt x="798" y="115908"/>
                      <a:pt x="-1319" y="174943"/>
                      <a:pt x="1342" y="197806"/>
                    </a:cubicBezTo>
                    <a:cubicBezTo>
                      <a:pt x="4004" y="220610"/>
                      <a:pt x="1221" y="251941"/>
                      <a:pt x="40235" y="289080"/>
                    </a:cubicBezTo>
                    <a:cubicBezTo>
                      <a:pt x="78341" y="325371"/>
                      <a:pt x="104411" y="342307"/>
                      <a:pt x="130843" y="343154"/>
                    </a:cubicBezTo>
                    <a:cubicBezTo>
                      <a:pt x="157275" y="342368"/>
                      <a:pt x="183345" y="325371"/>
                      <a:pt x="221451" y="289080"/>
                    </a:cubicBezTo>
                    <a:cubicBezTo>
                      <a:pt x="260465" y="251881"/>
                      <a:pt x="257742" y="220610"/>
                      <a:pt x="260344" y="197806"/>
                    </a:cubicBezTo>
                    <a:cubicBezTo>
                      <a:pt x="263005" y="175003"/>
                      <a:pt x="260888" y="115908"/>
                      <a:pt x="260888" y="115908"/>
                    </a:cubicBezTo>
                    <a:close/>
                  </a:path>
                </a:pathLst>
              </a:custGeom>
              <a:solidFill>
                <a:srgbClr val="F9D9D2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8" name="Freihandform: Form 567">
                <a:extLst>
                  <a:ext uri="{FF2B5EF4-FFF2-40B4-BE49-F238E27FC236}">
                    <a16:creationId xmlns:a16="http://schemas.microsoft.com/office/drawing/2014/main" id="{2320A589-C4F3-90A6-4ACC-1E47C205CB3B}"/>
                  </a:ext>
                </a:extLst>
              </p:cNvPr>
              <p:cNvSpPr/>
              <p:nvPr/>
            </p:nvSpPr>
            <p:spPr>
              <a:xfrm rot="-3871802">
                <a:off x="11747236" y="2163336"/>
                <a:ext cx="128714" cy="86011"/>
              </a:xfrm>
              <a:custGeom>
                <a:avLst/>
                <a:gdLst>
                  <a:gd name="connsiteX0" fmla="*/ 128714 w 128714"/>
                  <a:gd name="connsiteY0" fmla="*/ 43006 h 86011"/>
                  <a:gd name="connsiteX1" fmla="*/ 64357 w 128714"/>
                  <a:gd name="connsiteY1" fmla="*/ 86011 h 86011"/>
                  <a:gd name="connsiteX2" fmla="*/ 0 w 128714"/>
                  <a:gd name="connsiteY2" fmla="*/ 43006 h 86011"/>
                  <a:gd name="connsiteX3" fmla="*/ 64357 w 128714"/>
                  <a:gd name="connsiteY3" fmla="*/ 0 h 86011"/>
                  <a:gd name="connsiteX4" fmla="*/ 128714 w 128714"/>
                  <a:gd name="connsiteY4" fmla="*/ 43006 h 86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714" h="86011">
                    <a:moveTo>
                      <a:pt x="128714" y="43006"/>
                    </a:moveTo>
                    <a:cubicBezTo>
                      <a:pt x="128714" y="66757"/>
                      <a:pt x="99900" y="86011"/>
                      <a:pt x="64357" y="86011"/>
                    </a:cubicBezTo>
                    <a:cubicBezTo>
                      <a:pt x="28813" y="86011"/>
                      <a:pt x="0" y="66757"/>
                      <a:pt x="0" y="43006"/>
                    </a:cubicBezTo>
                    <a:cubicBezTo>
                      <a:pt x="0" y="19254"/>
                      <a:pt x="28813" y="0"/>
                      <a:pt x="64357" y="0"/>
                    </a:cubicBezTo>
                    <a:cubicBezTo>
                      <a:pt x="99900" y="0"/>
                      <a:pt x="128714" y="19254"/>
                      <a:pt x="128714" y="43006"/>
                    </a:cubicBezTo>
                    <a:close/>
                  </a:path>
                </a:pathLst>
              </a:custGeom>
              <a:solidFill>
                <a:srgbClr val="F9D9D2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9" name="Freihandform: Form 568">
                <a:extLst>
                  <a:ext uri="{FF2B5EF4-FFF2-40B4-BE49-F238E27FC236}">
                    <a16:creationId xmlns:a16="http://schemas.microsoft.com/office/drawing/2014/main" id="{0E52EDF6-D189-68DB-1963-27ECC22B5684}"/>
                  </a:ext>
                </a:extLst>
              </p:cNvPr>
              <p:cNvSpPr/>
              <p:nvPr/>
            </p:nvSpPr>
            <p:spPr>
              <a:xfrm rot="-1168199">
                <a:off x="11511939" y="2141862"/>
                <a:ext cx="86252" cy="128230"/>
              </a:xfrm>
              <a:custGeom>
                <a:avLst/>
                <a:gdLst>
                  <a:gd name="connsiteX0" fmla="*/ 86253 w 86252"/>
                  <a:gd name="connsiteY0" fmla="*/ 64115 h 128230"/>
                  <a:gd name="connsiteX1" fmla="*/ 43127 w 86252"/>
                  <a:gd name="connsiteY1" fmla="*/ 128230 h 128230"/>
                  <a:gd name="connsiteX2" fmla="*/ 0 w 86252"/>
                  <a:gd name="connsiteY2" fmla="*/ 64115 h 128230"/>
                  <a:gd name="connsiteX3" fmla="*/ 43127 w 86252"/>
                  <a:gd name="connsiteY3" fmla="*/ 0 h 128230"/>
                  <a:gd name="connsiteX4" fmla="*/ 86253 w 86252"/>
                  <a:gd name="connsiteY4" fmla="*/ 64115 h 12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252" h="128230">
                    <a:moveTo>
                      <a:pt x="86253" y="64115"/>
                    </a:moveTo>
                    <a:cubicBezTo>
                      <a:pt x="86253" y="99525"/>
                      <a:pt x="66944" y="128230"/>
                      <a:pt x="43127" y="128230"/>
                    </a:cubicBezTo>
                    <a:cubicBezTo>
                      <a:pt x="19309" y="128230"/>
                      <a:pt x="0" y="99525"/>
                      <a:pt x="0" y="64115"/>
                    </a:cubicBezTo>
                    <a:cubicBezTo>
                      <a:pt x="0" y="28705"/>
                      <a:pt x="19309" y="0"/>
                      <a:pt x="43127" y="0"/>
                    </a:cubicBezTo>
                    <a:cubicBezTo>
                      <a:pt x="66944" y="0"/>
                      <a:pt x="86253" y="28705"/>
                      <a:pt x="86253" y="64115"/>
                    </a:cubicBezTo>
                    <a:close/>
                  </a:path>
                </a:pathLst>
              </a:custGeom>
              <a:solidFill>
                <a:srgbClr val="F9D9D2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0" name="Freihandform: Form 569">
                <a:extLst>
                  <a:ext uri="{FF2B5EF4-FFF2-40B4-BE49-F238E27FC236}">
                    <a16:creationId xmlns:a16="http://schemas.microsoft.com/office/drawing/2014/main" id="{5D1704EC-F972-A7DD-9283-3ED80FB9076C}"/>
                  </a:ext>
                </a:extLst>
              </p:cNvPr>
              <p:cNvSpPr/>
              <p:nvPr/>
            </p:nvSpPr>
            <p:spPr>
              <a:xfrm>
                <a:off x="11518704" y="1942617"/>
                <a:ext cx="332793" cy="347915"/>
              </a:xfrm>
              <a:custGeom>
                <a:avLst/>
                <a:gdLst>
                  <a:gd name="connsiteX0" fmla="*/ 332794 w 332793"/>
                  <a:gd name="connsiteY0" fmla="*/ 173958 h 347915"/>
                  <a:gd name="connsiteX1" fmla="*/ 166397 w 332793"/>
                  <a:gd name="connsiteY1" fmla="*/ 347915 h 347915"/>
                  <a:gd name="connsiteX2" fmla="*/ 0 w 332793"/>
                  <a:gd name="connsiteY2" fmla="*/ 173958 h 347915"/>
                  <a:gd name="connsiteX3" fmla="*/ 166397 w 332793"/>
                  <a:gd name="connsiteY3" fmla="*/ 0 h 347915"/>
                  <a:gd name="connsiteX4" fmla="*/ 332794 w 332793"/>
                  <a:gd name="connsiteY4" fmla="*/ 173958 h 347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2793" h="347915">
                    <a:moveTo>
                      <a:pt x="332794" y="173958"/>
                    </a:moveTo>
                    <a:cubicBezTo>
                      <a:pt x="332794" y="270032"/>
                      <a:pt x="258295" y="347915"/>
                      <a:pt x="166397" y="347915"/>
                    </a:cubicBezTo>
                    <a:cubicBezTo>
                      <a:pt x="74498" y="347915"/>
                      <a:pt x="0" y="270032"/>
                      <a:pt x="0" y="173958"/>
                    </a:cubicBezTo>
                    <a:cubicBezTo>
                      <a:pt x="0" y="77883"/>
                      <a:pt x="74498" y="0"/>
                      <a:pt x="166397" y="0"/>
                    </a:cubicBezTo>
                    <a:cubicBezTo>
                      <a:pt x="258295" y="0"/>
                      <a:pt x="332794" y="77883"/>
                      <a:pt x="332794" y="173958"/>
                    </a:cubicBezTo>
                    <a:close/>
                  </a:path>
                </a:pathLst>
              </a:custGeom>
              <a:solidFill>
                <a:srgbClr val="F9D9D2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1" name="Freihandform: Form 570">
                <a:extLst>
                  <a:ext uri="{FF2B5EF4-FFF2-40B4-BE49-F238E27FC236}">
                    <a16:creationId xmlns:a16="http://schemas.microsoft.com/office/drawing/2014/main" id="{3AEE8837-5EDA-67A0-A7F6-3E5D084DD7E6}"/>
                  </a:ext>
                </a:extLst>
              </p:cNvPr>
              <p:cNvSpPr/>
              <p:nvPr/>
            </p:nvSpPr>
            <p:spPr>
              <a:xfrm>
                <a:off x="11511370" y="1945641"/>
                <a:ext cx="328272" cy="250230"/>
              </a:xfrm>
              <a:custGeom>
                <a:avLst/>
                <a:gdLst>
                  <a:gd name="connsiteX0" fmla="*/ 165625 w 328272"/>
                  <a:gd name="connsiteY0" fmla="*/ 78874 h 250230"/>
                  <a:gd name="connsiteX1" fmla="*/ 304198 w 328272"/>
                  <a:gd name="connsiteY1" fmla="*/ 250230 h 250230"/>
                  <a:gd name="connsiteX2" fmla="*/ 328272 w 328272"/>
                  <a:gd name="connsiteY2" fmla="*/ 173958 h 250230"/>
                  <a:gd name="connsiteX3" fmla="*/ 164839 w 328272"/>
                  <a:gd name="connsiteY3" fmla="*/ 0 h 250230"/>
                  <a:gd name="connsiteX4" fmla="*/ 54331 w 328272"/>
                  <a:gd name="connsiteY4" fmla="*/ 45788 h 250230"/>
                  <a:gd name="connsiteX5" fmla="*/ 20277 w 328272"/>
                  <a:gd name="connsiteY5" fmla="*/ 236561 h 250230"/>
                  <a:gd name="connsiteX6" fmla="*/ 165625 w 328272"/>
                  <a:gd name="connsiteY6" fmla="*/ 78874 h 250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272" h="250230">
                    <a:moveTo>
                      <a:pt x="165625" y="78874"/>
                    </a:moveTo>
                    <a:cubicBezTo>
                      <a:pt x="284057" y="86374"/>
                      <a:pt x="269540" y="183756"/>
                      <a:pt x="304198" y="250230"/>
                    </a:cubicBezTo>
                    <a:cubicBezTo>
                      <a:pt x="310731" y="231419"/>
                      <a:pt x="328272" y="195188"/>
                      <a:pt x="328272" y="173958"/>
                    </a:cubicBezTo>
                    <a:cubicBezTo>
                      <a:pt x="328272" y="77845"/>
                      <a:pt x="255083" y="0"/>
                      <a:pt x="164839" y="0"/>
                    </a:cubicBezTo>
                    <a:cubicBezTo>
                      <a:pt x="122257" y="0"/>
                      <a:pt x="83424" y="17359"/>
                      <a:pt x="54331" y="45788"/>
                    </a:cubicBezTo>
                    <a:cubicBezTo>
                      <a:pt x="10841" y="66958"/>
                      <a:pt x="-23454" y="158655"/>
                      <a:pt x="20277" y="236561"/>
                    </a:cubicBezTo>
                    <a:cubicBezTo>
                      <a:pt x="62860" y="195007"/>
                      <a:pt x="58988" y="72160"/>
                      <a:pt x="165625" y="78874"/>
                    </a:cubicBezTo>
                    <a:close/>
                  </a:path>
                </a:pathLst>
              </a:custGeom>
              <a:solidFill>
                <a:srgbClr val="C09066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2" name="Freihandform: Form 571">
                <a:extLst>
                  <a:ext uri="{FF2B5EF4-FFF2-40B4-BE49-F238E27FC236}">
                    <a16:creationId xmlns:a16="http://schemas.microsoft.com/office/drawing/2014/main" id="{14E30CA1-E751-7B5C-898C-1DAE2429C65F}"/>
                  </a:ext>
                </a:extLst>
              </p:cNvPr>
              <p:cNvSpPr/>
              <p:nvPr/>
            </p:nvSpPr>
            <p:spPr>
              <a:xfrm>
                <a:off x="11653285" y="2232163"/>
                <a:ext cx="48738" cy="19839"/>
              </a:xfrm>
              <a:custGeom>
                <a:avLst/>
                <a:gdLst>
                  <a:gd name="connsiteX0" fmla="*/ 665 w 48738"/>
                  <a:gd name="connsiteY0" fmla="*/ 0 h 19839"/>
                  <a:gd name="connsiteX1" fmla="*/ 22138 w 48738"/>
                  <a:gd name="connsiteY1" fmla="*/ 6532 h 19839"/>
                  <a:gd name="connsiteX2" fmla="*/ 48147 w 48738"/>
                  <a:gd name="connsiteY2" fmla="*/ 0 h 19839"/>
                  <a:gd name="connsiteX3" fmla="*/ 48147 w 48738"/>
                  <a:gd name="connsiteY3" fmla="*/ 5686 h 19839"/>
                  <a:gd name="connsiteX4" fmla="*/ 22985 w 48738"/>
                  <a:gd name="connsiteY4" fmla="*/ 19839 h 19839"/>
                  <a:gd name="connsiteX5" fmla="*/ 726 w 48738"/>
                  <a:gd name="connsiteY5" fmla="*/ 6291 h 19839"/>
                  <a:gd name="connsiteX6" fmla="*/ 726 w 48738"/>
                  <a:gd name="connsiteY6" fmla="*/ 0 h 19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738" h="19839">
                    <a:moveTo>
                      <a:pt x="665" y="0"/>
                    </a:moveTo>
                    <a:cubicBezTo>
                      <a:pt x="665" y="0"/>
                      <a:pt x="6835" y="6532"/>
                      <a:pt x="22138" y="6532"/>
                    </a:cubicBezTo>
                    <a:cubicBezTo>
                      <a:pt x="41493" y="6532"/>
                      <a:pt x="48147" y="0"/>
                      <a:pt x="48147" y="0"/>
                    </a:cubicBezTo>
                    <a:cubicBezTo>
                      <a:pt x="48147" y="0"/>
                      <a:pt x="49478" y="1936"/>
                      <a:pt x="48147" y="5686"/>
                    </a:cubicBezTo>
                    <a:cubicBezTo>
                      <a:pt x="47179" y="8347"/>
                      <a:pt x="38772" y="19839"/>
                      <a:pt x="22985" y="19839"/>
                    </a:cubicBezTo>
                    <a:cubicBezTo>
                      <a:pt x="10646" y="19839"/>
                      <a:pt x="2359" y="10162"/>
                      <a:pt x="726" y="6291"/>
                    </a:cubicBezTo>
                    <a:cubicBezTo>
                      <a:pt x="-907" y="2419"/>
                      <a:pt x="726" y="0"/>
                      <a:pt x="726" y="0"/>
                    </a:cubicBezTo>
                    <a:close/>
                  </a:path>
                </a:pathLst>
              </a:custGeom>
              <a:solidFill>
                <a:srgbClr val="F2BBB3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3" name="Freihandform: Form 572">
                <a:extLst>
                  <a:ext uri="{FF2B5EF4-FFF2-40B4-BE49-F238E27FC236}">
                    <a16:creationId xmlns:a16="http://schemas.microsoft.com/office/drawing/2014/main" id="{16CE07ED-8319-3A67-67AD-A93C960ABF7B}"/>
                  </a:ext>
                </a:extLst>
              </p:cNvPr>
              <p:cNvSpPr/>
              <p:nvPr/>
            </p:nvSpPr>
            <p:spPr>
              <a:xfrm>
                <a:off x="11697217" y="2129414"/>
                <a:ext cx="86717" cy="29137"/>
              </a:xfrm>
              <a:custGeom>
                <a:avLst/>
                <a:gdLst>
                  <a:gd name="connsiteX0" fmla="*/ 67725 w 86717"/>
                  <a:gd name="connsiteY0" fmla="*/ 10931 h 29137"/>
                  <a:gd name="connsiteX1" fmla="*/ 34518 w 86717"/>
                  <a:gd name="connsiteY1" fmla="*/ 467 h 29137"/>
                  <a:gd name="connsiteX2" fmla="*/ 34518 w 86717"/>
                  <a:gd name="connsiteY2" fmla="*/ 467 h 29137"/>
                  <a:gd name="connsiteX3" fmla="*/ 4760 w 86717"/>
                  <a:gd name="connsiteY3" fmla="*/ 3854 h 29137"/>
                  <a:gd name="connsiteX4" fmla="*/ 2643 w 86717"/>
                  <a:gd name="connsiteY4" fmla="*/ 5487 h 29137"/>
                  <a:gd name="connsiteX5" fmla="*/ 8631 w 86717"/>
                  <a:gd name="connsiteY5" fmla="*/ 20609 h 29137"/>
                  <a:gd name="connsiteX6" fmla="*/ 25567 w 86717"/>
                  <a:gd name="connsiteY6" fmla="*/ 19036 h 29137"/>
                  <a:gd name="connsiteX7" fmla="*/ 65306 w 86717"/>
                  <a:gd name="connsiteY7" fmla="*/ 21335 h 29137"/>
                  <a:gd name="connsiteX8" fmla="*/ 86718 w 86717"/>
                  <a:gd name="connsiteY8" fmla="*/ 29137 h 29137"/>
                  <a:gd name="connsiteX9" fmla="*/ 67665 w 86717"/>
                  <a:gd name="connsiteY9" fmla="*/ 10991 h 29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6717" h="29137">
                    <a:moveTo>
                      <a:pt x="67725" y="10931"/>
                    </a:moveTo>
                    <a:cubicBezTo>
                      <a:pt x="56233" y="3612"/>
                      <a:pt x="43773" y="830"/>
                      <a:pt x="34518" y="467"/>
                    </a:cubicBezTo>
                    <a:lnTo>
                      <a:pt x="34518" y="467"/>
                    </a:lnTo>
                    <a:cubicBezTo>
                      <a:pt x="18671" y="-1106"/>
                      <a:pt x="8207" y="1616"/>
                      <a:pt x="4760" y="3854"/>
                    </a:cubicBezTo>
                    <a:cubicBezTo>
                      <a:pt x="3973" y="4399"/>
                      <a:pt x="3248" y="4943"/>
                      <a:pt x="2643" y="5487"/>
                    </a:cubicBezTo>
                    <a:cubicBezTo>
                      <a:pt x="-2983" y="10871"/>
                      <a:pt x="1010" y="20790"/>
                      <a:pt x="8631" y="20609"/>
                    </a:cubicBezTo>
                    <a:cubicBezTo>
                      <a:pt x="12139" y="20548"/>
                      <a:pt x="20668" y="19580"/>
                      <a:pt x="25567" y="19036"/>
                    </a:cubicBezTo>
                    <a:cubicBezTo>
                      <a:pt x="34095" y="18129"/>
                      <a:pt x="58350" y="19399"/>
                      <a:pt x="65306" y="21335"/>
                    </a:cubicBezTo>
                    <a:cubicBezTo>
                      <a:pt x="78916" y="25024"/>
                      <a:pt x="86718" y="29137"/>
                      <a:pt x="86718" y="29137"/>
                    </a:cubicBezTo>
                    <a:cubicBezTo>
                      <a:pt x="86718" y="29137"/>
                      <a:pt x="83028" y="20790"/>
                      <a:pt x="67665" y="10991"/>
                    </a:cubicBezTo>
                    <a:close/>
                  </a:path>
                </a:pathLst>
              </a:custGeom>
              <a:solidFill>
                <a:srgbClr val="8A5942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4" name="Freihandform: Form 573">
                <a:extLst>
                  <a:ext uri="{FF2B5EF4-FFF2-40B4-BE49-F238E27FC236}">
                    <a16:creationId xmlns:a16="http://schemas.microsoft.com/office/drawing/2014/main" id="{4496AB81-4F49-51A5-2BEB-E40C5E664942}"/>
                  </a:ext>
                </a:extLst>
              </p:cNvPr>
              <p:cNvSpPr/>
              <p:nvPr/>
            </p:nvSpPr>
            <p:spPr>
              <a:xfrm>
                <a:off x="11633687" y="2269845"/>
                <a:ext cx="95568" cy="44941"/>
              </a:xfrm>
              <a:custGeom>
                <a:avLst/>
                <a:gdLst>
                  <a:gd name="connsiteX0" fmla="*/ 0 w 95568"/>
                  <a:gd name="connsiteY0" fmla="*/ 4961 h 44941"/>
                  <a:gd name="connsiteX1" fmla="*/ 36170 w 95568"/>
                  <a:gd name="connsiteY1" fmla="*/ 545 h 44941"/>
                  <a:gd name="connsiteX2" fmla="*/ 45607 w 95568"/>
                  <a:gd name="connsiteY2" fmla="*/ 3630 h 44941"/>
                  <a:gd name="connsiteX3" fmla="*/ 54498 w 95568"/>
                  <a:gd name="connsiteY3" fmla="*/ 1 h 44941"/>
                  <a:gd name="connsiteX4" fmla="*/ 95568 w 95568"/>
                  <a:gd name="connsiteY4" fmla="*/ 5263 h 44941"/>
                  <a:gd name="connsiteX5" fmla="*/ 44396 w 95568"/>
                  <a:gd name="connsiteY5" fmla="*/ 44942 h 44941"/>
                  <a:gd name="connsiteX6" fmla="*/ 61 w 95568"/>
                  <a:gd name="connsiteY6" fmla="*/ 4900 h 44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5568" h="44941">
                    <a:moveTo>
                      <a:pt x="0" y="4961"/>
                    </a:moveTo>
                    <a:cubicBezTo>
                      <a:pt x="0" y="4961"/>
                      <a:pt x="12339" y="2602"/>
                      <a:pt x="36170" y="545"/>
                    </a:cubicBezTo>
                    <a:cubicBezTo>
                      <a:pt x="38046" y="364"/>
                      <a:pt x="40163" y="3811"/>
                      <a:pt x="45607" y="3630"/>
                    </a:cubicBezTo>
                    <a:cubicBezTo>
                      <a:pt x="52139" y="3448"/>
                      <a:pt x="52381" y="-60"/>
                      <a:pt x="54498" y="1"/>
                    </a:cubicBezTo>
                    <a:cubicBezTo>
                      <a:pt x="80144" y="908"/>
                      <a:pt x="95568" y="5263"/>
                      <a:pt x="95568" y="5263"/>
                    </a:cubicBezTo>
                    <a:cubicBezTo>
                      <a:pt x="95568" y="5263"/>
                      <a:pt x="82865" y="44942"/>
                      <a:pt x="44396" y="44942"/>
                    </a:cubicBezTo>
                    <a:cubicBezTo>
                      <a:pt x="9799" y="44942"/>
                      <a:pt x="61" y="4900"/>
                      <a:pt x="61" y="4900"/>
                    </a:cubicBezTo>
                    <a:close/>
                  </a:path>
                </a:pathLst>
              </a:custGeom>
              <a:solidFill>
                <a:srgbClr val="F2BBB3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5" name="Freihandform: Form 574">
                <a:extLst>
                  <a:ext uri="{FF2B5EF4-FFF2-40B4-BE49-F238E27FC236}">
                    <a16:creationId xmlns:a16="http://schemas.microsoft.com/office/drawing/2014/main" id="{0CA9781A-F664-C649-6966-5A6FD86F3E6C}"/>
                  </a:ext>
                </a:extLst>
              </p:cNvPr>
              <p:cNvSpPr/>
              <p:nvPr/>
            </p:nvSpPr>
            <p:spPr>
              <a:xfrm rot="-5166000">
                <a:off x="11600716" y="2174957"/>
                <a:ext cx="24920" cy="23468"/>
              </a:xfrm>
              <a:custGeom>
                <a:avLst/>
                <a:gdLst>
                  <a:gd name="connsiteX0" fmla="*/ 24920 w 24920"/>
                  <a:gd name="connsiteY0" fmla="*/ 11734 h 23468"/>
                  <a:gd name="connsiteX1" fmla="*/ 12459 w 24920"/>
                  <a:gd name="connsiteY1" fmla="*/ 23469 h 23468"/>
                  <a:gd name="connsiteX2" fmla="*/ -1 w 24920"/>
                  <a:gd name="connsiteY2" fmla="*/ 11734 h 23468"/>
                  <a:gd name="connsiteX3" fmla="*/ 12459 w 24920"/>
                  <a:gd name="connsiteY3" fmla="*/ 0 h 23468"/>
                  <a:gd name="connsiteX4" fmla="*/ 24920 w 24920"/>
                  <a:gd name="connsiteY4" fmla="*/ 11734 h 23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20" h="23468">
                    <a:moveTo>
                      <a:pt x="24920" y="11734"/>
                    </a:moveTo>
                    <a:cubicBezTo>
                      <a:pt x="24920" y="18215"/>
                      <a:pt x="19342" y="23469"/>
                      <a:pt x="12459" y="23469"/>
                    </a:cubicBezTo>
                    <a:cubicBezTo>
                      <a:pt x="5578" y="23469"/>
                      <a:pt x="-1" y="18215"/>
                      <a:pt x="-1" y="11734"/>
                    </a:cubicBezTo>
                    <a:cubicBezTo>
                      <a:pt x="-1" y="5254"/>
                      <a:pt x="5577" y="0"/>
                      <a:pt x="12459" y="0"/>
                    </a:cubicBezTo>
                    <a:cubicBezTo>
                      <a:pt x="19341" y="0"/>
                      <a:pt x="24920" y="5254"/>
                      <a:pt x="24920" y="11734"/>
                    </a:cubicBezTo>
                    <a:close/>
                  </a:path>
                </a:pathLst>
              </a:custGeom>
              <a:solidFill>
                <a:srgbClr val="8A5942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6" name="Freihandform: Form 575">
                <a:extLst>
                  <a:ext uri="{FF2B5EF4-FFF2-40B4-BE49-F238E27FC236}">
                    <a16:creationId xmlns:a16="http://schemas.microsoft.com/office/drawing/2014/main" id="{09394160-9463-694C-E1B5-9ED3E9140332}"/>
                  </a:ext>
                </a:extLst>
              </p:cNvPr>
              <p:cNvSpPr/>
              <p:nvPr/>
            </p:nvSpPr>
            <p:spPr>
              <a:xfrm>
                <a:off x="11570056" y="2130443"/>
                <a:ext cx="86657" cy="29137"/>
              </a:xfrm>
              <a:custGeom>
                <a:avLst/>
                <a:gdLst>
                  <a:gd name="connsiteX0" fmla="*/ 19053 w 86657"/>
                  <a:gd name="connsiteY0" fmla="*/ 10931 h 29137"/>
                  <a:gd name="connsiteX1" fmla="*/ 52199 w 86657"/>
                  <a:gd name="connsiteY1" fmla="*/ 467 h 29137"/>
                  <a:gd name="connsiteX2" fmla="*/ 52199 w 86657"/>
                  <a:gd name="connsiteY2" fmla="*/ 467 h 29137"/>
                  <a:gd name="connsiteX3" fmla="*/ 81898 w 86657"/>
                  <a:gd name="connsiteY3" fmla="*/ 3854 h 29137"/>
                  <a:gd name="connsiteX4" fmla="*/ 84015 w 86657"/>
                  <a:gd name="connsiteY4" fmla="*/ 5487 h 29137"/>
                  <a:gd name="connsiteX5" fmla="*/ 78027 w 86657"/>
                  <a:gd name="connsiteY5" fmla="*/ 20609 h 29137"/>
                  <a:gd name="connsiteX6" fmla="*/ 61151 w 86657"/>
                  <a:gd name="connsiteY6" fmla="*/ 19036 h 29137"/>
                  <a:gd name="connsiteX7" fmla="*/ 21412 w 86657"/>
                  <a:gd name="connsiteY7" fmla="*/ 21335 h 29137"/>
                  <a:gd name="connsiteX8" fmla="*/ 0 w 86657"/>
                  <a:gd name="connsiteY8" fmla="*/ 29137 h 29137"/>
                  <a:gd name="connsiteX9" fmla="*/ 18993 w 86657"/>
                  <a:gd name="connsiteY9" fmla="*/ 10991 h 29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6657" h="29137">
                    <a:moveTo>
                      <a:pt x="19053" y="10931"/>
                    </a:moveTo>
                    <a:cubicBezTo>
                      <a:pt x="30546" y="3612"/>
                      <a:pt x="43005" y="830"/>
                      <a:pt x="52199" y="467"/>
                    </a:cubicBezTo>
                    <a:lnTo>
                      <a:pt x="52199" y="467"/>
                    </a:lnTo>
                    <a:cubicBezTo>
                      <a:pt x="67986" y="-1106"/>
                      <a:pt x="78511" y="1616"/>
                      <a:pt x="81898" y="3854"/>
                    </a:cubicBezTo>
                    <a:cubicBezTo>
                      <a:pt x="82685" y="4399"/>
                      <a:pt x="83410" y="4943"/>
                      <a:pt x="84015" y="5487"/>
                    </a:cubicBezTo>
                    <a:cubicBezTo>
                      <a:pt x="89641" y="10871"/>
                      <a:pt x="85648" y="20790"/>
                      <a:pt x="78027" y="20609"/>
                    </a:cubicBezTo>
                    <a:cubicBezTo>
                      <a:pt x="74519" y="20548"/>
                      <a:pt x="65990" y="19581"/>
                      <a:pt x="61151" y="19036"/>
                    </a:cubicBezTo>
                    <a:cubicBezTo>
                      <a:pt x="52623" y="18129"/>
                      <a:pt x="28368" y="19399"/>
                      <a:pt x="21412" y="21335"/>
                    </a:cubicBezTo>
                    <a:cubicBezTo>
                      <a:pt x="7803" y="25024"/>
                      <a:pt x="0" y="29137"/>
                      <a:pt x="0" y="29137"/>
                    </a:cubicBezTo>
                    <a:cubicBezTo>
                      <a:pt x="0" y="29137"/>
                      <a:pt x="3690" y="20790"/>
                      <a:pt x="18993" y="10991"/>
                    </a:cubicBezTo>
                    <a:close/>
                  </a:path>
                </a:pathLst>
              </a:custGeom>
              <a:solidFill>
                <a:srgbClr val="8A5942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7" name="Freihandform: Form 576">
                <a:extLst>
                  <a:ext uri="{FF2B5EF4-FFF2-40B4-BE49-F238E27FC236}">
                    <a16:creationId xmlns:a16="http://schemas.microsoft.com/office/drawing/2014/main" id="{A26A2AE0-9CF0-6379-4415-5FAB6F93F35D}"/>
                  </a:ext>
                </a:extLst>
              </p:cNvPr>
              <p:cNvSpPr/>
              <p:nvPr/>
            </p:nvSpPr>
            <p:spPr>
              <a:xfrm>
                <a:off x="11580553" y="2168491"/>
                <a:ext cx="64100" cy="16950"/>
              </a:xfrm>
              <a:custGeom>
                <a:avLst/>
                <a:gdLst>
                  <a:gd name="connsiteX0" fmla="*/ 2085 w 64100"/>
                  <a:gd name="connsiteY0" fmla="*/ 10989 h 16950"/>
                  <a:gd name="connsiteX1" fmla="*/ 28637 w 64100"/>
                  <a:gd name="connsiteY1" fmla="*/ 101 h 16950"/>
                  <a:gd name="connsiteX2" fmla="*/ 62631 w 64100"/>
                  <a:gd name="connsiteY2" fmla="*/ 10807 h 16950"/>
                  <a:gd name="connsiteX3" fmla="*/ 60574 w 64100"/>
                  <a:gd name="connsiteY3" fmla="*/ 16614 h 16950"/>
                  <a:gd name="connsiteX4" fmla="*/ 33598 w 64100"/>
                  <a:gd name="connsiteY4" fmla="*/ 7178 h 16950"/>
                  <a:gd name="connsiteX5" fmla="*/ 6742 w 64100"/>
                  <a:gd name="connsiteY5" fmla="*/ 13166 h 16950"/>
                  <a:gd name="connsiteX6" fmla="*/ 814 w 64100"/>
                  <a:gd name="connsiteY6" fmla="*/ 15767 h 16950"/>
                  <a:gd name="connsiteX7" fmla="*/ 2085 w 64100"/>
                  <a:gd name="connsiteY7" fmla="*/ 10928 h 16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4100" h="16950">
                    <a:moveTo>
                      <a:pt x="2085" y="10989"/>
                    </a:moveTo>
                    <a:cubicBezTo>
                      <a:pt x="5049" y="7965"/>
                      <a:pt x="14847" y="888"/>
                      <a:pt x="28637" y="101"/>
                    </a:cubicBezTo>
                    <a:cubicBezTo>
                      <a:pt x="47449" y="-927"/>
                      <a:pt x="58215" y="6090"/>
                      <a:pt x="62631" y="10807"/>
                    </a:cubicBezTo>
                    <a:cubicBezTo>
                      <a:pt x="65837" y="14255"/>
                      <a:pt x="63175" y="18126"/>
                      <a:pt x="60574" y="16614"/>
                    </a:cubicBezTo>
                    <a:cubicBezTo>
                      <a:pt x="53800" y="12743"/>
                      <a:pt x="50171" y="9174"/>
                      <a:pt x="33598" y="7178"/>
                    </a:cubicBezTo>
                    <a:cubicBezTo>
                      <a:pt x="21984" y="5787"/>
                      <a:pt x="10976" y="10807"/>
                      <a:pt x="6742" y="13166"/>
                    </a:cubicBezTo>
                    <a:cubicBezTo>
                      <a:pt x="3476" y="14981"/>
                      <a:pt x="1843" y="16493"/>
                      <a:pt x="814" y="15767"/>
                    </a:cubicBezTo>
                    <a:cubicBezTo>
                      <a:pt x="-1000" y="14437"/>
                      <a:pt x="573" y="12501"/>
                      <a:pt x="2085" y="10928"/>
                    </a:cubicBezTo>
                    <a:close/>
                  </a:path>
                </a:pathLst>
              </a:custGeom>
              <a:solidFill>
                <a:srgbClr val="8A5942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8" name="Freihandform: Form 577">
                <a:extLst>
                  <a:ext uri="{FF2B5EF4-FFF2-40B4-BE49-F238E27FC236}">
                    <a16:creationId xmlns:a16="http://schemas.microsoft.com/office/drawing/2014/main" id="{8E799CC1-0A92-7D67-2A15-25AA65EF7443}"/>
                  </a:ext>
                </a:extLst>
              </p:cNvPr>
              <p:cNvSpPr/>
              <p:nvPr/>
            </p:nvSpPr>
            <p:spPr>
              <a:xfrm rot="-234000">
                <a:off x="11725754" y="2174535"/>
                <a:ext cx="23468" cy="24920"/>
              </a:xfrm>
              <a:custGeom>
                <a:avLst/>
                <a:gdLst>
                  <a:gd name="connsiteX0" fmla="*/ 23468 w 23468"/>
                  <a:gd name="connsiteY0" fmla="*/ 12460 h 24920"/>
                  <a:gd name="connsiteX1" fmla="*/ 11734 w 23468"/>
                  <a:gd name="connsiteY1" fmla="*/ 24920 h 24920"/>
                  <a:gd name="connsiteX2" fmla="*/ 1 w 23468"/>
                  <a:gd name="connsiteY2" fmla="*/ 12460 h 24920"/>
                  <a:gd name="connsiteX3" fmla="*/ 11734 w 23468"/>
                  <a:gd name="connsiteY3" fmla="*/ 0 h 24920"/>
                  <a:gd name="connsiteX4" fmla="*/ 23468 w 23468"/>
                  <a:gd name="connsiteY4" fmla="*/ 12460 h 24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468" h="24920">
                    <a:moveTo>
                      <a:pt x="23468" y="12460"/>
                    </a:moveTo>
                    <a:cubicBezTo>
                      <a:pt x="23468" y="19342"/>
                      <a:pt x="18215" y="24920"/>
                      <a:pt x="11734" y="24920"/>
                    </a:cubicBezTo>
                    <a:cubicBezTo>
                      <a:pt x="5254" y="24920"/>
                      <a:pt x="1" y="19342"/>
                      <a:pt x="1" y="12460"/>
                    </a:cubicBezTo>
                    <a:cubicBezTo>
                      <a:pt x="1" y="5579"/>
                      <a:pt x="5254" y="0"/>
                      <a:pt x="11734" y="0"/>
                    </a:cubicBezTo>
                    <a:cubicBezTo>
                      <a:pt x="18215" y="0"/>
                      <a:pt x="23468" y="5579"/>
                      <a:pt x="23468" y="12460"/>
                    </a:cubicBezTo>
                    <a:close/>
                  </a:path>
                </a:pathLst>
              </a:custGeom>
              <a:solidFill>
                <a:srgbClr val="8A5942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9" name="Freihandform: Form 578">
                <a:extLst>
                  <a:ext uri="{FF2B5EF4-FFF2-40B4-BE49-F238E27FC236}">
                    <a16:creationId xmlns:a16="http://schemas.microsoft.com/office/drawing/2014/main" id="{77D7CB43-B1AB-956A-FE0B-4D775D8C839C}"/>
                  </a:ext>
                </a:extLst>
              </p:cNvPr>
              <p:cNvSpPr/>
              <p:nvPr/>
            </p:nvSpPr>
            <p:spPr>
              <a:xfrm>
                <a:off x="11706252" y="2168491"/>
                <a:ext cx="64101" cy="16950"/>
              </a:xfrm>
              <a:custGeom>
                <a:avLst/>
                <a:gdLst>
                  <a:gd name="connsiteX0" fmla="*/ 62017 w 64101"/>
                  <a:gd name="connsiteY0" fmla="*/ 10989 h 16950"/>
                  <a:gd name="connsiteX1" fmla="*/ 35463 w 64101"/>
                  <a:gd name="connsiteY1" fmla="*/ 101 h 16950"/>
                  <a:gd name="connsiteX2" fmla="*/ 1470 w 64101"/>
                  <a:gd name="connsiteY2" fmla="*/ 10807 h 16950"/>
                  <a:gd name="connsiteX3" fmla="*/ 3526 w 64101"/>
                  <a:gd name="connsiteY3" fmla="*/ 16614 h 16950"/>
                  <a:gd name="connsiteX4" fmla="*/ 30504 w 64101"/>
                  <a:gd name="connsiteY4" fmla="*/ 7178 h 16950"/>
                  <a:gd name="connsiteX5" fmla="*/ 57359 w 64101"/>
                  <a:gd name="connsiteY5" fmla="*/ 13166 h 16950"/>
                  <a:gd name="connsiteX6" fmla="*/ 63287 w 64101"/>
                  <a:gd name="connsiteY6" fmla="*/ 15767 h 16950"/>
                  <a:gd name="connsiteX7" fmla="*/ 62017 w 64101"/>
                  <a:gd name="connsiteY7" fmla="*/ 10928 h 16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4101" h="16950">
                    <a:moveTo>
                      <a:pt x="62017" y="10989"/>
                    </a:moveTo>
                    <a:cubicBezTo>
                      <a:pt x="59053" y="7965"/>
                      <a:pt x="49254" y="888"/>
                      <a:pt x="35463" y="101"/>
                    </a:cubicBezTo>
                    <a:cubicBezTo>
                      <a:pt x="16652" y="-927"/>
                      <a:pt x="5885" y="6090"/>
                      <a:pt x="1470" y="10807"/>
                    </a:cubicBezTo>
                    <a:cubicBezTo>
                      <a:pt x="-1736" y="14255"/>
                      <a:pt x="926" y="18126"/>
                      <a:pt x="3526" y="16614"/>
                    </a:cubicBezTo>
                    <a:cubicBezTo>
                      <a:pt x="10301" y="12743"/>
                      <a:pt x="13931" y="9174"/>
                      <a:pt x="30504" y="7178"/>
                    </a:cubicBezTo>
                    <a:cubicBezTo>
                      <a:pt x="42116" y="5787"/>
                      <a:pt x="53125" y="10807"/>
                      <a:pt x="57359" y="13166"/>
                    </a:cubicBezTo>
                    <a:cubicBezTo>
                      <a:pt x="60625" y="14981"/>
                      <a:pt x="62259" y="16493"/>
                      <a:pt x="63287" y="15767"/>
                    </a:cubicBezTo>
                    <a:cubicBezTo>
                      <a:pt x="65101" y="14437"/>
                      <a:pt x="63529" y="12501"/>
                      <a:pt x="62017" y="10928"/>
                    </a:cubicBezTo>
                    <a:close/>
                  </a:path>
                </a:pathLst>
              </a:custGeom>
              <a:solidFill>
                <a:srgbClr val="8A5942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0" name="Freihandform: Form 579">
                <a:extLst>
                  <a:ext uri="{FF2B5EF4-FFF2-40B4-BE49-F238E27FC236}">
                    <a16:creationId xmlns:a16="http://schemas.microsoft.com/office/drawing/2014/main" id="{AE6CBFE4-130A-61A8-7DE3-4388AAD6561A}"/>
                  </a:ext>
                </a:extLst>
              </p:cNvPr>
              <p:cNvSpPr/>
              <p:nvPr/>
            </p:nvSpPr>
            <p:spPr>
              <a:xfrm>
                <a:off x="11643728" y="2279947"/>
                <a:ext cx="75425" cy="18026"/>
              </a:xfrm>
              <a:custGeom>
                <a:avLst/>
                <a:gdLst>
                  <a:gd name="connsiteX0" fmla="*/ 61 w 75425"/>
                  <a:gd name="connsiteY0" fmla="*/ 0 h 18026"/>
                  <a:gd name="connsiteX1" fmla="*/ 75426 w 75425"/>
                  <a:gd name="connsiteY1" fmla="*/ 0 h 18026"/>
                  <a:gd name="connsiteX2" fmla="*/ 36533 w 75425"/>
                  <a:gd name="connsiteY2" fmla="*/ 18025 h 18026"/>
                  <a:gd name="connsiteX3" fmla="*/ 0 w 75425"/>
                  <a:gd name="connsiteY3" fmla="*/ 0 h 18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425" h="18026">
                    <a:moveTo>
                      <a:pt x="61" y="0"/>
                    </a:moveTo>
                    <a:cubicBezTo>
                      <a:pt x="28731" y="3266"/>
                      <a:pt x="42340" y="3145"/>
                      <a:pt x="75426" y="0"/>
                    </a:cubicBezTo>
                    <a:cubicBezTo>
                      <a:pt x="75426" y="0"/>
                      <a:pt x="64054" y="17843"/>
                      <a:pt x="36533" y="18025"/>
                    </a:cubicBezTo>
                    <a:cubicBezTo>
                      <a:pt x="19355" y="18146"/>
                      <a:pt x="9012" y="10646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1" name="Freihandform: Form 580">
                <a:extLst>
                  <a:ext uri="{FF2B5EF4-FFF2-40B4-BE49-F238E27FC236}">
                    <a16:creationId xmlns:a16="http://schemas.microsoft.com/office/drawing/2014/main" id="{8650417F-2CDA-F0CC-061F-C1A6FD6D8E0D}"/>
                  </a:ext>
                </a:extLst>
              </p:cNvPr>
              <p:cNvSpPr/>
              <p:nvPr/>
            </p:nvSpPr>
            <p:spPr>
              <a:xfrm>
                <a:off x="11573867" y="1928127"/>
                <a:ext cx="300796" cy="234231"/>
              </a:xfrm>
              <a:custGeom>
                <a:avLst/>
                <a:gdLst>
                  <a:gd name="connsiteX0" fmla="*/ 61 w 300796"/>
                  <a:gd name="connsiteY0" fmla="*/ 61185 h 234231"/>
                  <a:gd name="connsiteX1" fmla="*/ 196458 w 300796"/>
                  <a:gd name="connsiteY1" fmla="*/ 219417 h 234231"/>
                  <a:gd name="connsiteX2" fmla="*/ 300797 w 300796"/>
                  <a:gd name="connsiteY2" fmla="*/ 230123 h 234231"/>
                  <a:gd name="connsiteX3" fmla="*/ 275090 w 300796"/>
                  <a:gd name="connsiteY3" fmla="*/ 135220 h 234231"/>
                  <a:gd name="connsiteX4" fmla="*/ 0 w 300796"/>
                  <a:gd name="connsiteY4" fmla="*/ 61185 h 234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0796" h="234231">
                    <a:moveTo>
                      <a:pt x="61" y="61185"/>
                    </a:moveTo>
                    <a:cubicBezTo>
                      <a:pt x="-2843" y="129172"/>
                      <a:pt x="103250" y="194254"/>
                      <a:pt x="196458" y="219417"/>
                    </a:cubicBezTo>
                    <a:cubicBezTo>
                      <a:pt x="289667" y="244518"/>
                      <a:pt x="300797" y="230123"/>
                      <a:pt x="300797" y="230123"/>
                    </a:cubicBezTo>
                    <a:cubicBezTo>
                      <a:pt x="300797" y="230123"/>
                      <a:pt x="277812" y="221836"/>
                      <a:pt x="275090" y="135220"/>
                    </a:cubicBezTo>
                    <a:cubicBezTo>
                      <a:pt x="272005" y="37354"/>
                      <a:pt x="118129" y="-70735"/>
                      <a:pt x="0" y="61185"/>
                    </a:cubicBezTo>
                    <a:close/>
                  </a:path>
                </a:pathLst>
              </a:custGeom>
              <a:solidFill>
                <a:srgbClr val="8A5942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2" name="Freihandform: Form 581">
                <a:extLst>
                  <a:ext uri="{FF2B5EF4-FFF2-40B4-BE49-F238E27FC236}">
                    <a16:creationId xmlns:a16="http://schemas.microsoft.com/office/drawing/2014/main" id="{DE46BC07-ED3C-AF4D-C9ED-0D618B781D39}"/>
                  </a:ext>
                </a:extLst>
              </p:cNvPr>
              <p:cNvSpPr/>
              <p:nvPr/>
            </p:nvSpPr>
            <p:spPr>
              <a:xfrm>
                <a:off x="11301257" y="2440900"/>
                <a:ext cx="766961" cy="1169315"/>
              </a:xfrm>
              <a:custGeom>
                <a:avLst/>
                <a:gdLst>
                  <a:gd name="connsiteX0" fmla="*/ 110749 w 766961"/>
                  <a:gd name="connsiteY0" fmla="*/ 634680 h 1169315"/>
                  <a:gd name="connsiteX1" fmla="*/ 0 w 766961"/>
                  <a:gd name="connsiteY1" fmla="*/ 1169315 h 1169315"/>
                  <a:gd name="connsiteX2" fmla="*/ 766962 w 766961"/>
                  <a:gd name="connsiteY2" fmla="*/ 1169315 h 1169315"/>
                  <a:gd name="connsiteX3" fmla="*/ 659962 w 766961"/>
                  <a:gd name="connsiteY3" fmla="*/ 653794 h 1169315"/>
                  <a:gd name="connsiteX4" fmla="*/ 722565 w 766961"/>
                  <a:gd name="connsiteY4" fmla="*/ 82625 h 1169315"/>
                  <a:gd name="connsiteX5" fmla="*/ 508929 w 766961"/>
                  <a:gd name="connsiteY5" fmla="*/ 908 h 1169315"/>
                  <a:gd name="connsiteX6" fmla="*/ 494594 w 766961"/>
                  <a:gd name="connsiteY6" fmla="*/ 5384 h 1169315"/>
                  <a:gd name="connsiteX7" fmla="*/ 380094 w 766961"/>
                  <a:gd name="connsiteY7" fmla="*/ 133130 h 1169315"/>
                  <a:gd name="connsiteX8" fmla="*/ 272368 w 766961"/>
                  <a:gd name="connsiteY8" fmla="*/ 5082 h 1169315"/>
                  <a:gd name="connsiteX9" fmla="*/ 261360 w 766961"/>
                  <a:gd name="connsiteY9" fmla="*/ 1452 h 1169315"/>
                  <a:gd name="connsiteX10" fmla="*/ 45909 w 766961"/>
                  <a:gd name="connsiteY10" fmla="*/ 79721 h 1169315"/>
                  <a:gd name="connsiteX11" fmla="*/ 110871 w 766961"/>
                  <a:gd name="connsiteY11" fmla="*/ 634801 h 1169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66961" h="1169315">
                    <a:moveTo>
                      <a:pt x="110749" y="634680"/>
                    </a:moveTo>
                    <a:cubicBezTo>
                      <a:pt x="21351" y="876745"/>
                      <a:pt x="3145" y="1117539"/>
                      <a:pt x="0" y="1169315"/>
                    </a:cubicBezTo>
                    <a:lnTo>
                      <a:pt x="766962" y="1169315"/>
                    </a:lnTo>
                    <a:cubicBezTo>
                      <a:pt x="762849" y="1116995"/>
                      <a:pt x="736597" y="804464"/>
                      <a:pt x="659962" y="653794"/>
                    </a:cubicBezTo>
                    <a:cubicBezTo>
                      <a:pt x="619436" y="574134"/>
                      <a:pt x="722565" y="82625"/>
                      <a:pt x="722565" y="82625"/>
                    </a:cubicBezTo>
                    <a:cubicBezTo>
                      <a:pt x="640788" y="50023"/>
                      <a:pt x="609517" y="37381"/>
                      <a:pt x="508929" y="908"/>
                    </a:cubicBezTo>
                    <a:cubicBezTo>
                      <a:pt x="503425" y="-1088"/>
                      <a:pt x="497497" y="122"/>
                      <a:pt x="494594" y="5384"/>
                    </a:cubicBezTo>
                    <a:cubicBezTo>
                      <a:pt x="476568" y="38409"/>
                      <a:pt x="414450" y="134884"/>
                      <a:pt x="380094" y="133130"/>
                    </a:cubicBezTo>
                    <a:cubicBezTo>
                      <a:pt x="339870" y="131013"/>
                      <a:pt x="286461" y="35748"/>
                      <a:pt x="272368" y="5082"/>
                    </a:cubicBezTo>
                    <a:cubicBezTo>
                      <a:pt x="270372" y="727"/>
                      <a:pt x="265714" y="-181"/>
                      <a:pt x="261360" y="1452"/>
                    </a:cubicBezTo>
                    <a:cubicBezTo>
                      <a:pt x="177829" y="32240"/>
                      <a:pt x="141537" y="44700"/>
                      <a:pt x="45909" y="79721"/>
                    </a:cubicBezTo>
                    <a:cubicBezTo>
                      <a:pt x="45909" y="79721"/>
                      <a:pt x="113532" y="475420"/>
                      <a:pt x="110871" y="634801"/>
                    </a:cubicBezTo>
                    <a:close/>
                  </a:path>
                </a:pathLst>
              </a:custGeom>
              <a:solidFill>
                <a:srgbClr val="009999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3" name="Freihandform: Form 582">
                <a:extLst>
                  <a:ext uri="{FF2B5EF4-FFF2-40B4-BE49-F238E27FC236}">
                    <a16:creationId xmlns:a16="http://schemas.microsoft.com/office/drawing/2014/main" id="{F1651A1C-4894-BF89-E509-C6F85B300124}"/>
                  </a:ext>
                </a:extLst>
              </p:cNvPr>
              <p:cNvSpPr/>
              <p:nvPr/>
            </p:nvSpPr>
            <p:spPr>
              <a:xfrm>
                <a:off x="11815932" y="2760992"/>
                <a:ext cx="126173" cy="70405"/>
              </a:xfrm>
              <a:custGeom>
                <a:avLst/>
                <a:gdLst>
                  <a:gd name="connsiteX0" fmla="*/ 0 w 126173"/>
                  <a:gd name="connsiteY0" fmla="*/ 0 h 70405"/>
                  <a:gd name="connsiteX1" fmla="*/ 126174 w 126173"/>
                  <a:gd name="connsiteY1" fmla="*/ 0 h 70405"/>
                  <a:gd name="connsiteX2" fmla="*/ 126174 w 126173"/>
                  <a:gd name="connsiteY2" fmla="*/ 70406 h 70405"/>
                  <a:gd name="connsiteX3" fmla="*/ 0 w 126173"/>
                  <a:gd name="connsiteY3" fmla="*/ 70406 h 70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173" h="70405">
                    <a:moveTo>
                      <a:pt x="0" y="0"/>
                    </a:moveTo>
                    <a:lnTo>
                      <a:pt x="126174" y="0"/>
                    </a:lnTo>
                    <a:lnTo>
                      <a:pt x="126174" y="70406"/>
                    </a:lnTo>
                    <a:lnTo>
                      <a:pt x="0" y="70406"/>
                    </a:lnTo>
                    <a:close/>
                  </a:path>
                </a:pathLst>
              </a:custGeom>
              <a:solidFill>
                <a:srgbClr val="FFFFFF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4" name="Freihandform: Form 583">
                <a:extLst>
                  <a:ext uri="{FF2B5EF4-FFF2-40B4-BE49-F238E27FC236}">
                    <a16:creationId xmlns:a16="http://schemas.microsoft.com/office/drawing/2014/main" id="{24143FB8-F22C-FAAF-07F9-E78953661447}"/>
                  </a:ext>
                </a:extLst>
              </p:cNvPr>
              <p:cNvSpPr/>
              <p:nvPr/>
            </p:nvSpPr>
            <p:spPr>
              <a:xfrm>
                <a:off x="11765212" y="2760932"/>
                <a:ext cx="162195" cy="183574"/>
              </a:xfrm>
              <a:custGeom>
                <a:avLst/>
                <a:gdLst>
                  <a:gd name="connsiteX0" fmla="*/ 16183 w 162195"/>
                  <a:gd name="connsiteY0" fmla="*/ 60 h 183574"/>
                  <a:gd name="connsiteX1" fmla="*/ 16848 w 162195"/>
                  <a:gd name="connsiteY1" fmla="*/ 136517 h 183574"/>
                  <a:gd name="connsiteX2" fmla="*/ 95601 w 162195"/>
                  <a:gd name="connsiteY2" fmla="*/ 176075 h 183574"/>
                  <a:gd name="connsiteX3" fmla="*/ 162196 w 162195"/>
                  <a:gd name="connsiteY3" fmla="*/ 171538 h 183574"/>
                  <a:gd name="connsiteX4" fmla="*/ 162196 w 162195"/>
                  <a:gd name="connsiteY4" fmla="*/ 171538 h 183574"/>
                  <a:gd name="connsiteX5" fmla="*/ 94936 w 162195"/>
                  <a:gd name="connsiteY5" fmla="*/ 183575 h 183574"/>
                  <a:gd name="connsiteX6" fmla="*/ 7472 w 162195"/>
                  <a:gd name="connsiteY6" fmla="*/ 143836 h 183574"/>
                  <a:gd name="connsiteX7" fmla="*/ 577 w 162195"/>
                  <a:gd name="connsiteY7" fmla="*/ 6170 h 183574"/>
                  <a:gd name="connsiteX8" fmla="*/ 16183 w 162195"/>
                  <a:gd name="connsiteY8" fmla="*/ 0 h 183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195" h="183574">
                    <a:moveTo>
                      <a:pt x="16183" y="60"/>
                    </a:moveTo>
                    <a:lnTo>
                      <a:pt x="16848" y="136517"/>
                    </a:lnTo>
                    <a:lnTo>
                      <a:pt x="95601" y="176075"/>
                    </a:lnTo>
                    <a:lnTo>
                      <a:pt x="162196" y="171538"/>
                    </a:lnTo>
                    <a:lnTo>
                      <a:pt x="162196" y="171538"/>
                    </a:lnTo>
                    <a:lnTo>
                      <a:pt x="94936" y="183575"/>
                    </a:lnTo>
                    <a:cubicBezTo>
                      <a:pt x="94936" y="183575"/>
                      <a:pt x="12191" y="148795"/>
                      <a:pt x="7472" y="143836"/>
                    </a:cubicBezTo>
                    <a:cubicBezTo>
                      <a:pt x="2754" y="138876"/>
                      <a:pt x="-1600" y="10404"/>
                      <a:pt x="577" y="6170"/>
                    </a:cubicBezTo>
                    <a:cubicBezTo>
                      <a:pt x="2754" y="1936"/>
                      <a:pt x="16183" y="0"/>
                      <a:pt x="16183" y="0"/>
                    </a:cubicBezTo>
                    <a:close/>
                  </a:path>
                </a:pathLst>
              </a:custGeom>
              <a:solidFill>
                <a:srgbClr val="02787D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5" name="Freihandform: Form 584">
                <a:extLst>
                  <a:ext uri="{FF2B5EF4-FFF2-40B4-BE49-F238E27FC236}">
                    <a16:creationId xmlns:a16="http://schemas.microsoft.com/office/drawing/2014/main" id="{8CD2FFFC-ED8B-2EA0-831B-03CC6A6DA203}"/>
                  </a:ext>
                </a:extLst>
              </p:cNvPr>
              <p:cNvSpPr/>
              <p:nvPr/>
            </p:nvSpPr>
            <p:spPr>
              <a:xfrm>
                <a:off x="11431785" y="2402008"/>
                <a:ext cx="233899" cy="653611"/>
              </a:xfrm>
              <a:custGeom>
                <a:avLst/>
                <a:gdLst>
                  <a:gd name="connsiteX0" fmla="*/ 217266 w 233899"/>
                  <a:gd name="connsiteY0" fmla="*/ 603287 h 653611"/>
                  <a:gd name="connsiteX1" fmla="*/ 217266 w 233899"/>
                  <a:gd name="connsiteY1" fmla="*/ 493082 h 653611"/>
                  <a:gd name="connsiteX2" fmla="*/ 124661 w 233899"/>
                  <a:gd name="connsiteY2" fmla="*/ 304607 h 653611"/>
                  <a:gd name="connsiteX3" fmla="*/ 80870 w 233899"/>
                  <a:gd name="connsiteY3" fmla="*/ 163191 h 653611"/>
                  <a:gd name="connsiteX4" fmla="*/ 56615 w 233899"/>
                  <a:gd name="connsiteY4" fmla="*/ 111778 h 653611"/>
                  <a:gd name="connsiteX5" fmla="*/ 74639 w 233899"/>
                  <a:gd name="connsiteY5" fmla="*/ 45848 h 653611"/>
                  <a:gd name="connsiteX6" fmla="*/ 160953 w 233899"/>
                  <a:gd name="connsiteY6" fmla="*/ 12097 h 653611"/>
                  <a:gd name="connsiteX7" fmla="*/ 160953 w 233899"/>
                  <a:gd name="connsiteY7" fmla="*/ 0 h 653611"/>
                  <a:gd name="connsiteX8" fmla="*/ 65627 w 233899"/>
                  <a:gd name="connsiteY8" fmla="*/ 37743 h 653611"/>
                  <a:gd name="connsiteX9" fmla="*/ 44518 w 233899"/>
                  <a:gd name="connsiteY9" fmla="*/ 113048 h 653611"/>
                  <a:gd name="connsiteX10" fmla="*/ 71192 w 233899"/>
                  <a:gd name="connsiteY10" fmla="*/ 170570 h 653611"/>
                  <a:gd name="connsiteX11" fmla="*/ 112443 w 233899"/>
                  <a:gd name="connsiteY11" fmla="*/ 304668 h 653611"/>
                  <a:gd name="connsiteX12" fmla="*/ 20021 w 233899"/>
                  <a:gd name="connsiteY12" fmla="*/ 493082 h 653611"/>
                  <a:gd name="connsiteX13" fmla="*/ 20021 w 233899"/>
                  <a:gd name="connsiteY13" fmla="*/ 602259 h 653611"/>
                  <a:gd name="connsiteX14" fmla="*/ 0 w 233899"/>
                  <a:gd name="connsiteY14" fmla="*/ 627542 h 653611"/>
                  <a:gd name="connsiteX15" fmla="*/ 26070 w 233899"/>
                  <a:gd name="connsiteY15" fmla="*/ 653611 h 653611"/>
                  <a:gd name="connsiteX16" fmla="*/ 52139 w 233899"/>
                  <a:gd name="connsiteY16" fmla="*/ 627542 h 653611"/>
                  <a:gd name="connsiteX17" fmla="*/ 32118 w 233899"/>
                  <a:gd name="connsiteY17" fmla="*/ 602259 h 653611"/>
                  <a:gd name="connsiteX18" fmla="*/ 32118 w 233899"/>
                  <a:gd name="connsiteY18" fmla="*/ 493082 h 653611"/>
                  <a:gd name="connsiteX19" fmla="*/ 118552 w 233899"/>
                  <a:gd name="connsiteY19" fmla="*/ 406647 h 653611"/>
                  <a:gd name="connsiteX20" fmla="*/ 204987 w 233899"/>
                  <a:gd name="connsiteY20" fmla="*/ 493082 h 653611"/>
                  <a:gd name="connsiteX21" fmla="*/ 204987 w 233899"/>
                  <a:gd name="connsiteY21" fmla="*/ 601775 h 653611"/>
                  <a:gd name="connsiteX22" fmla="*/ 181761 w 233899"/>
                  <a:gd name="connsiteY22" fmla="*/ 627542 h 653611"/>
                  <a:gd name="connsiteX23" fmla="*/ 207830 w 233899"/>
                  <a:gd name="connsiteY23" fmla="*/ 653611 h 653611"/>
                  <a:gd name="connsiteX24" fmla="*/ 233899 w 233899"/>
                  <a:gd name="connsiteY24" fmla="*/ 627542 h 653611"/>
                  <a:gd name="connsiteX25" fmla="*/ 217145 w 233899"/>
                  <a:gd name="connsiteY25" fmla="*/ 603287 h 653611"/>
                  <a:gd name="connsiteX26" fmla="*/ 118734 w 233899"/>
                  <a:gd name="connsiteY26" fmla="*/ 394550 h 653611"/>
                  <a:gd name="connsiteX27" fmla="*/ 43308 w 233899"/>
                  <a:gd name="connsiteY27" fmla="*/ 429813 h 653611"/>
                  <a:gd name="connsiteX28" fmla="*/ 118734 w 233899"/>
                  <a:gd name="connsiteY28" fmla="*/ 316221 h 653611"/>
                  <a:gd name="connsiteX29" fmla="*/ 194160 w 233899"/>
                  <a:gd name="connsiteY29" fmla="*/ 429813 h 653611"/>
                  <a:gd name="connsiteX30" fmla="*/ 118734 w 233899"/>
                  <a:gd name="connsiteY30" fmla="*/ 394550 h 653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33899" h="653611">
                    <a:moveTo>
                      <a:pt x="217266" y="603287"/>
                    </a:moveTo>
                    <a:lnTo>
                      <a:pt x="217266" y="493082"/>
                    </a:lnTo>
                    <a:cubicBezTo>
                      <a:pt x="217266" y="447596"/>
                      <a:pt x="180127" y="313741"/>
                      <a:pt x="124661" y="304607"/>
                    </a:cubicBezTo>
                    <a:cubicBezTo>
                      <a:pt x="123634" y="218838"/>
                      <a:pt x="99983" y="187990"/>
                      <a:pt x="80870" y="163191"/>
                    </a:cubicBezTo>
                    <a:cubicBezTo>
                      <a:pt x="68712" y="147404"/>
                      <a:pt x="59095" y="134944"/>
                      <a:pt x="56615" y="111778"/>
                    </a:cubicBezTo>
                    <a:cubicBezTo>
                      <a:pt x="53712" y="84559"/>
                      <a:pt x="59821" y="62422"/>
                      <a:pt x="74639" y="45848"/>
                    </a:cubicBezTo>
                    <a:cubicBezTo>
                      <a:pt x="104459" y="12581"/>
                      <a:pt x="160409" y="12097"/>
                      <a:pt x="160953" y="12097"/>
                    </a:cubicBezTo>
                    <a:lnTo>
                      <a:pt x="160953" y="0"/>
                    </a:lnTo>
                    <a:cubicBezTo>
                      <a:pt x="158413" y="0"/>
                      <a:pt x="99137" y="484"/>
                      <a:pt x="65627" y="37743"/>
                    </a:cubicBezTo>
                    <a:cubicBezTo>
                      <a:pt x="48389" y="56978"/>
                      <a:pt x="41252" y="82321"/>
                      <a:pt x="44518" y="113048"/>
                    </a:cubicBezTo>
                    <a:cubicBezTo>
                      <a:pt x="47360" y="139662"/>
                      <a:pt x="58913" y="154663"/>
                      <a:pt x="71192" y="170570"/>
                    </a:cubicBezTo>
                    <a:cubicBezTo>
                      <a:pt x="90124" y="195128"/>
                      <a:pt x="111536" y="223072"/>
                      <a:pt x="112443" y="304668"/>
                    </a:cubicBezTo>
                    <a:cubicBezTo>
                      <a:pt x="57099" y="314043"/>
                      <a:pt x="20021" y="447657"/>
                      <a:pt x="20021" y="493082"/>
                    </a:cubicBezTo>
                    <a:lnTo>
                      <a:pt x="20021" y="602259"/>
                    </a:lnTo>
                    <a:cubicBezTo>
                      <a:pt x="8589" y="604981"/>
                      <a:pt x="0" y="615263"/>
                      <a:pt x="0" y="627542"/>
                    </a:cubicBezTo>
                    <a:cubicBezTo>
                      <a:pt x="0" y="641938"/>
                      <a:pt x="11674" y="653611"/>
                      <a:pt x="26070" y="653611"/>
                    </a:cubicBezTo>
                    <a:cubicBezTo>
                      <a:pt x="40465" y="653611"/>
                      <a:pt x="52139" y="641938"/>
                      <a:pt x="52139" y="627542"/>
                    </a:cubicBezTo>
                    <a:cubicBezTo>
                      <a:pt x="52139" y="615263"/>
                      <a:pt x="43610" y="604981"/>
                      <a:pt x="32118" y="602259"/>
                    </a:cubicBezTo>
                    <a:lnTo>
                      <a:pt x="32118" y="493082"/>
                    </a:lnTo>
                    <a:cubicBezTo>
                      <a:pt x="32118" y="445419"/>
                      <a:pt x="70889" y="406647"/>
                      <a:pt x="118552" y="406647"/>
                    </a:cubicBezTo>
                    <a:cubicBezTo>
                      <a:pt x="166215" y="406647"/>
                      <a:pt x="204987" y="445419"/>
                      <a:pt x="204987" y="493082"/>
                    </a:cubicBezTo>
                    <a:lnTo>
                      <a:pt x="204987" y="601775"/>
                    </a:lnTo>
                    <a:cubicBezTo>
                      <a:pt x="191922" y="603166"/>
                      <a:pt x="181761" y="614114"/>
                      <a:pt x="181761" y="627542"/>
                    </a:cubicBezTo>
                    <a:cubicBezTo>
                      <a:pt x="181761" y="641938"/>
                      <a:pt x="193434" y="653611"/>
                      <a:pt x="207830" y="653611"/>
                    </a:cubicBezTo>
                    <a:cubicBezTo>
                      <a:pt x="222225" y="653611"/>
                      <a:pt x="233899" y="641938"/>
                      <a:pt x="233899" y="627542"/>
                    </a:cubicBezTo>
                    <a:cubicBezTo>
                      <a:pt x="233899" y="616412"/>
                      <a:pt x="226943" y="607037"/>
                      <a:pt x="217145" y="603287"/>
                    </a:cubicBezTo>
                    <a:close/>
                    <a:moveTo>
                      <a:pt x="118734" y="394550"/>
                    </a:moveTo>
                    <a:cubicBezTo>
                      <a:pt x="88491" y="394550"/>
                      <a:pt x="61393" y="408280"/>
                      <a:pt x="43308" y="429813"/>
                    </a:cubicBezTo>
                    <a:cubicBezTo>
                      <a:pt x="58490" y="376162"/>
                      <a:pt x="87644" y="316221"/>
                      <a:pt x="118734" y="316221"/>
                    </a:cubicBezTo>
                    <a:cubicBezTo>
                      <a:pt x="149824" y="316221"/>
                      <a:pt x="178978" y="376223"/>
                      <a:pt x="194160" y="429813"/>
                    </a:cubicBezTo>
                    <a:cubicBezTo>
                      <a:pt x="176075" y="408280"/>
                      <a:pt x="148977" y="394550"/>
                      <a:pt x="118734" y="394550"/>
                    </a:cubicBezTo>
                    <a:close/>
                  </a:path>
                </a:pathLst>
              </a:custGeom>
              <a:solidFill>
                <a:srgbClr val="F19E6A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6" name="Freihandform: Form 585">
                <a:extLst>
                  <a:ext uri="{FF2B5EF4-FFF2-40B4-BE49-F238E27FC236}">
                    <a16:creationId xmlns:a16="http://schemas.microsoft.com/office/drawing/2014/main" id="{61FF2A14-9705-3AC4-D459-B8B6A00564CE}"/>
                  </a:ext>
                </a:extLst>
              </p:cNvPr>
              <p:cNvSpPr/>
              <p:nvPr/>
            </p:nvSpPr>
            <p:spPr>
              <a:xfrm>
                <a:off x="11738570" y="2401947"/>
                <a:ext cx="135445" cy="330434"/>
              </a:xfrm>
              <a:custGeom>
                <a:avLst/>
                <a:gdLst>
                  <a:gd name="connsiteX0" fmla="*/ 135428 w 135445"/>
                  <a:gd name="connsiteY0" fmla="*/ 85830 h 330434"/>
                  <a:gd name="connsiteX1" fmla="*/ 113653 w 135445"/>
                  <a:gd name="connsiteY1" fmla="*/ 27158 h 330434"/>
                  <a:gd name="connsiteX2" fmla="*/ 38651 w 135445"/>
                  <a:gd name="connsiteY2" fmla="*/ 0 h 330434"/>
                  <a:gd name="connsiteX3" fmla="*/ 38651 w 135445"/>
                  <a:gd name="connsiteY3" fmla="*/ 12097 h 330434"/>
                  <a:gd name="connsiteX4" fmla="*/ 105004 w 135445"/>
                  <a:gd name="connsiteY4" fmla="*/ 35626 h 330434"/>
                  <a:gd name="connsiteX5" fmla="*/ 123270 w 135445"/>
                  <a:gd name="connsiteY5" fmla="*/ 85588 h 330434"/>
                  <a:gd name="connsiteX6" fmla="*/ 87463 w 135445"/>
                  <a:gd name="connsiteY6" fmla="*/ 150671 h 330434"/>
                  <a:gd name="connsiteX7" fmla="*/ 37623 w 135445"/>
                  <a:gd name="connsiteY7" fmla="*/ 252045 h 330434"/>
                  <a:gd name="connsiteX8" fmla="*/ 0 w 135445"/>
                  <a:gd name="connsiteY8" fmla="*/ 291179 h 330434"/>
                  <a:gd name="connsiteX9" fmla="*/ 39255 w 135445"/>
                  <a:gd name="connsiteY9" fmla="*/ 330435 h 330434"/>
                  <a:gd name="connsiteX10" fmla="*/ 78511 w 135445"/>
                  <a:gd name="connsiteY10" fmla="*/ 291179 h 330434"/>
                  <a:gd name="connsiteX11" fmla="*/ 49720 w 135445"/>
                  <a:gd name="connsiteY11" fmla="*/ 253376 h 330434"/>
                  <a:gd name="connsiteX12" fmla="*/ 96173 w 135445"/>
                  <a:gd name="connsiteY12" fmla="*/ 159078 h 330434"/>
                  <a:gd name="connsiteX13" fmla="*/ 135428 w 135445"/>
                  <a:gd name="connsiteY13" fmla="*/ 85769 h 330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5445" h="330434">
                    <a:moveTo>
                      <a:pt x="135428" y="85830"/>
                    </a:moveTo>
                    <a:cubicBezTo>
                      <a:pt x="135852" y="62422"/>
                      <a:pt x="128352" y="42098"/>
                      <a:pt x="113653" y="27158"/>
                    </a:cubicBezTo>
                    <a:cubicBezTo>
                      <a:pt x="96476" y="9617"/>
                      <a:pt x="69862" y="0"/>
                      <a:pt x="38651" y="0"/>
                    </a:cubicBezTo>
                    <a:lnTo>
                      <a:pt x="38651" y="12097"/>
                    </a:lnTo>
                    <a:cubicBezTo>
                      <a:pt x="66535" y="12097"/>
                      <a:pt x="90124" y="20444"/>
                      <a:pt x="105004" y="35626"/>
                    </a:cubicBezTo>
                    <a:cubicBezTo>
                      <a:pt x="117525" y="48389"/>
                      <a:pt x="123694" y="65204"/>
                      <a:pt x="123270" y="85588"/>
                    </a:cubicBezTo>
                    <a:cubicBezTo>
                      <a:pt x="122726" y="114500"/>
                      <a:pt x="106395" y="131255"/>
                      <a:pt x="87463" y="150671"/>
                    </a:cubicBezTo>
                    <a:cubicBezTo>
                      <a:pt x="64720" y="174079"/>
                      <a:pt x="39376" y="200209"/>
                      <a:pt x="37623" y="252045"/>
                    </a:cubicBezTo>
                    <a:cubicBezTo>
                      <a:pt x="16694" y="252892"/>
                      <a:pt x="0" y="270070"/>
                      <a:pt x="0" y="291179"/>
                    </a:cubicBezTo>
                    <a:cubicBezTo>
                      <a:pt x="0" y="312289"/>
                      <a:pt x="17541" y="330435"/>
                      <a:pt x="39255" y="330435"/>
                    </a:cubicBezTo>
                    <a:cubicBezTo>
                      <a:pt x="60970" y="330435"/>
                      <a:pt x="78511" y="312894"/>
                      <a:pt x="78511" y="291179"/>
                    </a:cubicBezTo>
                    <a:cubicBezTo>
                      <a:pt x="78511" y="273155"/>
                      <a:pt x="66293" y="257973"/>
                      <a:pt x="49720" y="253376"/>
                    </a:cubicBezTo>
                    <a:cubicBezTo>
                      <a:pt x="51051" y="205531"/>
                      <a:pt x="73914" y="181942"/>
                      <a:pt x="96173" y="159078"/>
                    </a:cubicBezTo>
                    <a:cubicBezTo>
                      <a:pt x="116012" y="138694"/>
                      <a:pt x="134763" y="119460"/>
                      <a:pt x="135428" y="85769"/>
                    </a:cubicBezTo>
                    <a:close/>
                  </a:path>
                </a:pathLst>
              </a:custGeom>
              <a:solidFill>
                <a:srgbClr val="F19E6A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587" name="Grafik 297">
                <a:extLst>
                  <a:ext uri="{FF2B5EF4-FFF2-40B4-BE49-F238E27FC236}">
                    <a16:creationId xmlns:a16="http://schemas.microsoft.com/office/drawing/2014/main" id="{7DF4A5A4-23AE-9334-964A-20CD9708697A}"/>
                  </a:ext>
                </a:extLst>
              </p:cNvPr>
              <p:cNvGrpSpPr/>
              <p:nvPr/>
            </p:nvGrpSpPr>
            <p:grpSpPr>
              <a:xfrm>
                <a:off x="11163281" y="3555052"/>
                <a:ext cx="144145" cy="337753"/>
                <a:chOff x="11163281" y="3555052"/>
                <a:chExt cx="144145" cy="337753"/>
              </a:xfrm>
              <a:solidFill>
                <a:srgbClr val="02787D"/>
              </a:solidFill>
            </p:grpSpPr>
            <p:grpSp>
              <p:nvGrpSpPr>
                <p:cNvPr id="589" name="Grafik 297">
                  <a:extLst>
                    <a:ext uri="{FF2B5EF4-FFF2-40B4-BE49-F238E27FC236}">
                      <a16:creationId xmlns:a16="http://schemas.microsoft.com/office/drawing/2014/main" id="{7F65CF36-D9F9-4028-8675-99D19638B8DE}"/>
                    </a:ext>
                  </a:extLst>
                </p:cNvPr>
                <p:cNvGrpSpPr/>
                <p:nvPr/>
              </p:nvGrpSpPr>
              <p:grpSpPr>
                <a:xfrm>
                  <a:off x="11183347" y="3766601"/>
                  <a:ext cx="67615" cy="68318"/>
                  <a:chOff x="11183347" y="3766601"/>
                  <a:chExt cx="67615" cy="68318"/>
                </a:xfrm>
                <a:solidFill>
                  <a:srgbClr val="02787D"/>
                </a:solidFill>
              </p:grpSpPr>
              <p:sp>
                <p:nvSpPr>
                  <p:cNvPr id="608" name="Freihandform: Form 607">
                    <a:extLst>
                      <a:ext uri="{FF2B5EF4-FFF2-40B4-BE49-F238E27FC236}">
                        <a16:creationId xmlns:a16="http://schemas.microsoft.com/office/drawing/2014/main" id="{342DB1D3-1FE3-1C4C-2F31-A924602E8684}"/>
                      </a:ext>
                    </a:extLst>
                  </p:cNvPr>
                  <p:cNvSpPr/>
                  <p:nvPr/>
                </p:nvSpPr>
                <p:spPr>
                  <a:xfrm>
                    <a:off x="11214392" y="3786015"/>
                    <a:ext cx="36570" cy="48905"/>
                  </a:xfrm>
                  <a:custGeom>
                    <a:avLst/>
                    <a:gdLst>
                      <a:gd name="connsiteX0" fmla="*/ 33515 w 36570"/>
                      <a:gd name="connsiteY0" fmla="*/ 48845 h 48905"/>
                      <a:gd name="connsiteX1" fmla="*/ 10652 w 36570"/>
                      <a:gd name="connsiteY1" fmla="*/ 34207 h 48905"/>
                      <a:gd name="connsiteX2" fmla="*/ 853 w 36570"/>
                      <a:gd name="connsiteY2" fmla="*/ 6262 h 48905"/>
                      <a:gd name="connsiteX3" fmla="*/ 3272 w 36570"/>
                      <a:gd name="connsiteY3" fmla="*/ 32 h 48905"/>
                      <a:gd name="connsiteX4" fmla="*/ 28193 w 36570"/>
                      <a:gd name="connsiteY4" fmla="*/ 22231 h 48905"/>
                      <a:gd name="connsiteX5" fmla="*/ 33515 w 36570"/>
                      <a:gd name="connsiteY5" fmla="*/ 48905 h 48905"/>
                      <a:gd name="connsiteX6" fmla="*/ 33515 w 36570"/>
                      <a:gd name="connsiteY6" fmla="*/ 48905 h 489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6570" h="48905">
                        <a:moveTo>
                          <a:pt x="33515" y="48845"/>
                        </a:moveTo>
                        <a:lnTo>
                          <a:pt x="10652" y="34207"/>
                        </a:lnTo>
                        <a:cubicBezTo>
                          <a:pt x="2063" y="28521"/>
                          <a:pt x="-1869" y="18299"/>
                          <a:pt x="853" y="6262"/>
                        </a:cubicBezTo>
                        <a:cubicBezTo>
                          <a:pt x="1700" y="2391"/>
                          <a:pt x="2607" y="-330"/>
                          <a:pt x="3272" y="32"/>
                        </a:cubicBezTo>
                        <a:cubicBezTo>
                          <a:pt x="4604" y="758"/>
                          <a:pt x="15249" y="10194"/>
                          <a:pt x="28193" y="22231"/>
                        </a:cubicBezTo>
                        <a:cubicBezTo>
                          <a:pt x="36359" y="29852"/>
                          <a:pt x="39383" y="36747"/>
                          <a:pt x="33515" y="48905"/>
                        </a:cubicBezTo>
                        <a:lnTo>
                          <a:pt x="33515" y="48905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09" name="Freihandform: Form 608">
                    <a:extLst>
                      <a:ext uri="{FF2B5EF4-FFF2-40B4-BE49-F238E27FC236}">
                        <a16:creationId xmlns:a16="http://schemas.microsoft.com/office/drawing/2014/main" id="{B0663542-36D4-8409-BA75-4C29F56C8E34}"/>
                      </a:ext>
                    </a:extLst>
                  </p:cNvPr>
                  <p:cNvSpPr/>
                  <p:nvPr/>
                </p:nvSpPr>
                <p:spPr>
                  <a:xfrm>
                    <a:off x="11183347" y="3766601"/>
                    <a:ext cx="47654" cy="53620"/>
                  </a:xfrm>
                  <a:custGeom>
                    <a:avLst/>
                    <a:gdLst>
                      <a:gd name="connsiteX0" fmla="*/ 41698 w 47654"/>
                      <a:gd name="connsiteY0" fmla="*/ 53621 h 53620"/>
                      <a:gd name="connsiteX1" fmla="*/ 6797 w 47654"/>
                      <a:gd name="connsiteY1" fmla="*/ 29426 h 53620"/>
                      <a:gd name="connsiteX2" fmla="*/ 23 w 47654"/>
                      <a:gd name="connsiteY2" fmla="*/ 22047 h 53620"/>
                      <a:gd name="connsiteX3" fmla="*/ 22946 w 47654"/>
                      <a:gd name="connsiteY3" fmla="*/ 91 h 53620"/>
                      <a:gd name="connsiteX4" fmla="*/ 42302 w 47654"/>
                      <a:gd name="connsiteY4" fmla="*/ 25797 h 53620"/>
                      <a:gd name="connsiteX5" fmla="*/ 41698 w 47654"/>
                      <a:gd name="connsiteY5" fmla="*/ 53621 h 53620"/>
                      <a:gd name="connsiteX6" fmla="*/ 41698 w 47654"/>
                      <a:gd name="connsiteY6" fmla="*/ 53621 h 536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7654" h="53620">
                        <a:moveTo>
                          <a:pt x="41698" y="53621"/>
                        </a:moveTo>
                        <a:lnTo>
                          <a:pt x="6797" y="29426"/>
                        </a:lnTo>
                        <a:cubicBezTo>
                          <a:pt x="2563" y="26221"/>
                          <a:pt x="1111" y="23741"/>
                          <a:pt x="23" y="22047"/>
                        </a:cubicBezTo>
                        <a:cubicBezTo>
                          <a:pt x="-643" y="9950"/>
                          <a:pt x="13511" y="-1119"/>
                          <a:pt x="22946" y="91"/>
                        </a:cubicBezTo>
                        <a:lnTo>
                          <a:pt x="42302" y="25797"/>
                        </a:lnTo>
                        <a:cubicBezTo>
                          <a:pt x="50286" y="32814"/>
                          <a:pt x="48713" y="42310"/>
                          <a:pt x="41698" y="53621"/>
                        </a:cubicBezTo>
                        <a:lnTo>
                          <a:pt x="41698" y="53621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590" name="Grafik 297">
                  <a:extLst>
                    <a:ext uri="{FF2B5EF4-FFF2-40B4-BE49-F238E27FC236}">
                      <a16:creationId xmlns:a16="http://schemas.microsoft.com/office/drawing/2014/main" id="{D992685E-ABAF-9159-C9CA-34DBBCDCF549}"/>
                    </a:ext>
                  </a:extLst>
                </p:cNvPr>
                <p:cNvGrpSpPr/>
                <p:nvPr/>
              </p:nvGrpSpPr>
              <p:grpSpPr>
                <a:xfrm>
                  <a:off x="11163288" y="3738619"/>
                  <a:ext cx="90846" cy="132471"/>
                  <a:chOff x="11163288" y="3738619"/>
                  <a:chExt cx="90846" cy="132471"/>
                </a:xfrm>
                <a:solidFill>
                  <a:srgbClr val="02787D"/>
                </a:solidFill>
              </p:grpSpPr>
              <p:sp>
                <p:nvSpPr>
                  <p:cNvPr id="605" name="Freihandform: Form 604">
                    <a:extLst>
                      <a:ext uri="{FF2B5EF4-FFF2-40B4-BE49-F238E27FC236}">
                        <a16:creationId xmlns:a16="http://schemas.microsoft.com/office/drawing/2014/main" id="{A843F90B-9590-F8F7-2120-690DD664711E}"/>
                      </a:ext>
                    </a:extLst>
                  </p:cNvPr>
                  <p:cNvSpPr/>
                  <p:nvPr/>
                </p:nvSpPr>
                <p:spPr>
                  <a:xfrm>
                    <a:off x="11210554" y="3808727"/>
                    <a:ext cx="43580" cy="62363"/>
                  </a:xfrm>
                  <a:custGeom>
                    <a:avLst/>
                    <a:gdLst>
                      <a:gd name="connsiteX0" fmla="*/ 39895 w 43580"/>
                      <a:gd name="connsiteY0" fmla="*/ 62364 h 62363"/>
                      <a:gd name="connsiteX1" fmla="*/ 12615 w 43580"/>
                      <a:gd name="connsiteY1" fmla="*/ 41194 h 62363"/>
                      <a:gd name="connsiteX2" fmla="*/ 1062 w 43580"/>
                      <a:gd name="connsiteY2" fmla="*/ 6898 h 62363"/>
                      <a:gd name="connsiteX3" fmla="*/ 3966 w 43580"/>
                      <a:gd name="connsiteY3" fmla="*/ 63 h 62363"/>
                      <a:gd name="connsiteX4" fmla="*/ 33664 w 43580"/>
                      <a:gd name="connsiteY4" fmla="*/ 30367 h 62363"/>
                      <a:gd name="connsiteX5" fmla="*/ 39895 w 43580"/>
                      <a:gd name="connsiteY5" fmla="*/ 62364 h 62363"/>
                      <a:gd name="connsiteX6" fmla="*/ 39895 w 43580"/>
                      <a:gd name="connsiteY6" fmla="*/ 62364 h 623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3580" h="62363">
                        <a:moveTo>
                          <a:pt x="39895" y="62364"/>
                        </a:moveTo>
                        <a:lnTo>
                          <a:pt x="12615" y="41194"/>
                        </a:lnTo>
                        <a:cubicBezTo>
                          <a:pt x="2394" y="32968"/>
                          <a:pt x="-2264" y="20447"/>
                          <a:pt x="1062" y="6898"/>
                        </a:cubicBezTo>
                        <a:cubicBezTo>
                          <a:pt x="2151" y="2543"/>
                          <a:pt x="3179" y="-481"/>
                          <a:pt x="3966" y="63"/>
                        </a:cubicBezTo>
                        <a:cubicBezTo>
                          <a:pt x="5538" y="1152"/>
                          <a:pt x="18241" y="14036"/>
                          <a:pt x="33664" y="30367"/>
                        </a:cubicBezTo>
                        <a:cubicBezTo>
                          <a:pt x="43403" y="40710"/>
                          <a:pt x="46911" y="49238"/>
                          <a:pt x="39895" y="62364"/>
                        </a:cubicBezTo>
                        <a:lnTo>
                          <a:pt x="39895" y="62364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06" name="Freihandform: Form 605">
                    <a:extLst>
                      <a:ext uri="{FF2B5EF4-FFF2-40B4-BE49-F238E27FC236}">
                        <a16:creationId xmlns:a16="http://schemas.microsoft.com/office/drawing/2014/main" id="{C863FB12-ADEC-CACA-70C9-065DE17499D0}"/>
                      </a:ext>
                    </a:extLst>
                  </p:cNvPr>
                  <p:cNvSpPr/>
                  <p:nvPr/>
                </p:nvSpPr>
                <p:spPr>
                  <a:xfrm>
                    <a:off x="11172474" y="3771894"/>
                    <a:ext cx="58537" cy="78389"/>
                  </a:xfrm>
                  <a:custGeom>
                    <a:avLst/>
                    <a:gdLst>
                      <a:gd name="connsiteX0" fmla="*/ 51360 w 58537"/>
                      <a:gd name="connsiteY0" fmla="*/ 78390 h 78389"/>
                      <a:gd name="connsiteX1" fmla="*/ 9807 w 58537"/>
                      <a:gd name="connsiteY1" fmla="*/ 45425 h 78389"/>
                      <a:gd name="connsiteX2" fmla="*/ 8415 w 58537"/>
                      <a:gd name="connsiteY2" fmla="*/ 3085 h 78389"/>
                      <a:gd name="connsiteX3" fmla="*/ 13557 w 58537"/>
                      <a:gd name="connsiteY3" fmla="*/ 0 h 78389"/>
                      <a:gd name="connsiteX4" fmla="*/ 52207 w 58537"/>
                      <a:gd name="connsiteY4" fmla="*/ 46030 h 78389"/>
                      <a:gd name="connsiteX5" fmla="*/ 51360 w 58537"/>
                      <a:gd name="connsiteY5" fmla="*/ 78329 h 78389"/>
                      <a:gd name="connsiteX6" fmla="*/ 51360 w 58537"/>
                      <a:gd name="connsiteY6" fmla="*/ 78329 h 783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8537" h="78389">
                        <a:moveTo>
                          <a:pt x="51360" y="78390"/>
                        </a:moveTo>
                        <a:lnTo>
                          <a:pt x="9807" y="45425"/>
                        </a:lnTo>
                        <a:cubicBezTo>
                          <a:pt x="-2714" y="35324"/>
                          <a:pt x="-3319" y="15968"/>
                          <a:pt x="8415" y="3085"/>
                        </a:cubicBezTo>
                        <a:lnTo>
                          <a:pt x="13557" y="0"/>
                        </a:lnTo>
                        <a:lnTo>
                          <a:pt x="52207" y="46030"/>
                        </a:lnTo>
                        <a:cubicBezTo>
                          <a:pt x="61703" y="55587"/>
                          <a:pt x="59768" y="66414"/>
                          <a:pt x="51360" y="78329"/>
                        </a:cubicBezTo>
                        <a:lnTo>
                          <a:pt x="51360" y="78329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07" name="Freihandform: Form 606">
                    <a:extLst>
                      <a:ext uri="{FF2B5EF4-FFF2-40B4-BE49-F238E27FC236}">
                        <a16:creationId xmlns:a16="http://schemas.microsoft.com/office/drawing/2014/main" id="{2011804D-5E2F-30D3-358D-7C50C3F57E3E}"/>
                      </a:ext>
                    </a:extLst>
                  </p:cNvPr>
                  <p:cNvSpPr/>
                  <p:nvPr/>
                </p:nvSpPr>
                <p:spPr>
                  <a:xfrm>
                    <a:off x="11163288" y="3738619"/>
                    <a:ext cx="39981" cy="70534"/>
                  </a:xfrm>
                  <a:custGeom>
                    <a:avLst/>
                    <a:gdLst>
                      <a:gd name="connsiteX0" fmla="*/ 61 w 39981"/>
                      <a:gd name="connsiteY0" fmla="*/ 7508 h 70534"/>
                      <a:gd name="connsiteX1" fmla="*/ 9133 w 39981"/>
                      <a:gd name="connsiteY1" fmla="*/ 63881 h 70534"/>
                      <a:gd name="connsiteX2" fmla="*/ 12400 w 39981"/>
                      <a:gd name="connsiteY2" fmla="*/ 70534 h 70534"/>
                      <a:gd name="connsiteX3" fmla="*/ 39679 w 39981"/>
                      <a:gd name="connsiteY3" fmla="*/ 39444 h 70534"/>
                      <a:gd name="connsiteX4" fmla="*/ 39981 w 39981"/>
                      <a:gd name="connsiteY4" fmla="*/ 8718 h 70534"/>
                      <a:gd name="connsiteX5" fmla="*/ 0 w 39981"/>
                      <a:gd name="connsiteY5" fmla="*/ 7447 h 70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9981" h="70534">
                        <a:moveTo>
                          <a:pt x="61" y="7508"/>
                        </a:moveTo>
                        <a:cubicBezTo>
                          <a:pt x="1633" y="19121"/>
                          <a:pt x="9133" y="63881"/>
                          <a:pt x="9133" y="63881"/>
                        </a:cubicBezTo>
                        <a:lnTo>
                          <a:pt x="12400" y="70534"/>
                        </a:lnTo>
                        <a:cubicBezTo>
                          <a:pt x="28912" y="68417"/>
                          <a:pt x="39860" y="54808"/>
                          <a:pt x="39679" y="39444"/>
                        </a:cubicBezTo>
                        <a:lnTo>
                          <a:pt x="39981" y="8718"/>
                        </a:lnTo>
                        <a:cubicBezTo>
                          <a:pt x="34175" y="-1142"/>
                          <a:pt x="3871" y="-4045"/>
                          <a:pt x="0" y="7447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591" name="Grafik 297">
                  <a:extLst>
                    <a:ext uri="{FF2B5EF4-FFF2-40B4-BE49-F238E27FC236}">
                      <a16:creationId xmlns:a16="http://schemas.microsoft.com/office/drawing/2014/main" id="{A7AFED0E-DA1E-F00D-587D-27897D749573}"/>
                    </a:ext>
                  </a:extLst>
                </p:cNvPr>
                <p:cNvGrpSpPr/>
                <p:nvPr/>
              </p:nvGrpSpPr>
              <p:grpSpPr>
                <a:xfrm>
                  <a:off x="11175204" y="3729413"/>
                  <a:ext cx="72144" cy="163391"/>
                  <a:chOff x="11175204" y="3729413"/>
                  <a:chExt cx="72144" cy="163391"/>
                </a:xfrm>
                <a:solidFill>
                  <a:srgbClr val="02787D"/>
                </a:solidFill>
              </p:grpSpPr>
              <p:sp>
                <p:nvSpPr>
                  <p:cNvPr id="602" name="Freihandform: Form 601">
                    <a:extLst>
                      <a:ext uri="{FF2B5EF4-FFF2-40B4-BE49-F238E27FC236}">
                        <a16:creationId xmlns:a16="http://schemas.microsoft.com/office/drawing/2014/main" id="{1561DE86-882B-629B-C87D-C1658BD07160}"/>
                      </a:ext>
                    </a:extLst>
                  </p:cNvPr>
                  <p:cNvSpPr/>
                  <p:nvPr/>
                </p:nvSpPr>
                <p:spPr>
                  <a:xfrm>
                    <a:off x="11212650" y="3814241"/>
                    <a:ext cx="34698" cy="78564"/>
                  </a:xfrm>
                  <a:custGeom>
                    <a:avLst/>
                    <a:gdLst>
                      <a:gd name="connsiteX0" fmla="*/ 24310 w 34698"/>
                      <a:gd name="connsiteY0" fmla="*/ 78504 h 78564"/>
                      <a:gd name="connsiteX1" fmla="*/ 5015 w 34698"/>
                      <a:gd name="connsiteY1" fmla="*/ 45781 h 78564"/>
                      <a:gd name="connsiteX2" fmla="*/ 7072 w 34698"/>
                      <a:gd name="connsiteY2" fmla="*/ 5982 h 78564"/>
                      <a:gd name="connsiteX3" fmla="*/ 12818 w 34698"/>
                      <a:gd name="connsiteY3" fmla="*/ 175 h 78564"/>
                      <a:gd name="connsiteX4" fmla="*/ 30903 w 34698"/>
                      <a:gd name="connsiteY4" fmla="*/ 43241 h 78564"/>
                      <a:gd name="connsiteX5" fmla="*/ 24310 w 34698"/>
                      <a:gd name="connsiteY5" fmla="*/ 78565 h 78564"/>
                      <a:gd name="connsiteX6" fmla="*/ 24310 w 34698"/>
                      <a:gd name="connsiteY6" fmla="*/ 78565 h 785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4698" h="78564">
                        <a:moveTo>
                          <a:pt x="24310" y="78504"/>
                        </a:moveTo>
                        <a:lnTo>
                          <a:pt x="5015" y="45781"/>
                        </a:lnTo>
                        <a:cubicBezTo>
                          <a:pt x="-2122" y="33261"/>
                          <a:pt x="-1820" y="18502"/>
                          <a:pt x="7072" y="5982"/>
                        </a:cubicBezTo>
                        <a:cubicBezTo>
                          <a:pt x="9915" y="1990"/>
                          <a:pt x="12213" y="-732"/>
                          <a:pt x="12818" y="175"/>
                        </a:cubicBezTo>
                        <a:cubicBezTo>
                          <a:pt x="13967" y="1929"/>
                          <a:pt x="21770" y="20256"/>
                          <a:pt x="30903" y="43241"/>
                        </a:cubicBezTo>
                        <a:cubicBezTo>
                          <a:pt x="36710" y="57758"/>
                          <a:pt x="36831" y="67919"/>
                          <a:pt x="24310" y="78565"/>
                        </a:cubicBezTo>
                        <a:lnTo>
                          <a:pt x="24310" y="78565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03" name="Freihandform: Form 602">
                    <a:extLst>
                      <a:ext uri="{FF2B5EF4-FFF2-40B4-BE49-F238E27FC236}">
                        <a16:creationId xmlns:a16="http://schemas.microsoft.com/office/drawing/2014/main" id="{382ED097-B838-59EF-5F11-518A980BC096}"/>
                      </a:ext>
                    </a:extLst>
                  </p:cNvPr>
                  <p:cNvSpPr/>
                  <p:nvPr/>
                </p:nvSpPr>
                <p:spPr>
                  <a:xfrm>
                    <a:off x="11186914" y="3784717"/>
                    <a:ext cx="48550" cy="77543"/>
                  </a:xfrm>
                  <a:custGeom>
                    <a:avLst/>
                    <a:gdLst>
                      <a:gd name="connsiteX0" fmla="*/ 32082 w 48550"/>
                      <a:gd name="connsiteY0" fmla="*/ 77543 h 77543"/>
                      <a:gd name="connsiteX1" fmla="*/ 3169 w 48550"/>
                      <a:gd name="connsiteY1" fmla="*/ 26614 h 77543"/>
                      <a:gd name="connsiteX2" fmla="*/ 24097 w 48550"/>
                      <a:gd name="connsiteY2" fmla="*/ 1573 h 77543"/>
                      <a:gd name="connsiteX3" fmla="*/ 26577 w 48550"/>
                      <a:gd name="connsiteY3" fmla="*/ 0 h 77543"/>
                      <a:gd name="connsiteX4" fmla="*/ 46296 w 48550"/>
                      <a:gd name="connsiteY4" fmla="*/ 44457 h 77543"/>
                      <a:gd name="connsiteX5" fmla="*/ 32928 w 48550"/>
                      <a:gd name="connsiteY5" fmla="*/ 76938 h 77543"/>
                      <a:gd name="connsiteX6" fmla="*/ 32021 w 48550"/>
                      <a:gd name="connsiteY6" fmla="*/ 77543 h 775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8550" h="77543">
                        <a:moveTo>
                          <a:pt x="32082" y="77543"/>
                        </a:moveTo>
                        <a:lnTo>
                          <a:pt x="3169" y="26614"/>
                        </a:lnTo>
                        <a:cubicBezTo>
                          <a:pt x="-5541" y="11190"/>
                          <a:pt x="4439" y="4476"/>
                          <a:pt x="24097" y="1573"/>
                        </a:cubicBezTo>
                        <a:lnTo>
                          <a:pt x="26577" y="0"/>
                        </a:lnTo>
                        <a:lnTo>
                          <a:pt x="46296" y="44457"/>
                        </a:lnTo>
                        <a:cubicBezTo>
                          <a:pt x="52102" y="58127"/>
                          <a:pt x="46356" y="68107"/>
                          <a:pt x="32928" y="76938"/>
                        </a:cubicBezTo>
                        <a:lnTo>
                          <a:pt x="32021" y="77543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04" name="Freihandform: Form 603">
                    <a:extLst>
                      <a:ext uri="{FF2B5EF4-FFF2-40B4-BE49-F238E27FC236}">
                        <a16:creationId xmlns:a16="http://schemas.microsoft.com/office/drawing/2014/main" id="{24D1442C-4C0C-2895-8C77-C36D74E60220}"/>
                      </a:ext>
                    </a:extLst>
                  </p:cNvPr>
                  <p:cNvSpPr/>
                  <p:nvPr/>
                </p:nvSpPr>
                <p:spPr>
                  <a:xfrm>
                    <a:off x="11175204" y="3729413"/>
                    <a:ext cx="39679" cy="76473"/>
                  </a:xfrm>
                  <a:custGeom>
                    <a:avLst/>
                    <a:gdLst>
                      <a:gd name="connsiteX0" fmla="*/ 0 w 39679"/>
                      <a:gd name="connsiteY0" fmla="*/ 10000 h 76473"/>
                      <a:gd name="connsiteX1" fmla="*/ 12642 w 39679"/>
                      <a:gd name="connsiteY1" fmla="*/ 76474 h 76473"/>
                      <a:gd name="connsiteX2" fmla="*/ 39376 w 39679"/>
                      <a:gd name="connsiteY2" fmla="*/ 55908 h 76473"/>
                      <a:gd name="connsiteX3" fmla="*/ 39679 w 39679"/>
                      <a:gd name="connsiteY3" fmla="*/ 7762 h 76473"/>
                      <a:gd name="connsiteX4" fmla="*/ 0 w 39679"/>
                      <a:gd name="connsiteY4" fmla="*/ 9939 h 764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679" h="76473">
                        <a:moveTo>
                          <a:pt x="0" y="10000"/>
                        </a:moveTo>
                        <a:cubicBezTo>
                          <a:pt x="0" y="11209"/>
                          <a:pt x="12642" y="76474"/>
                          <a:pt x="12642" y="76474"/>
                        </a:cubicBezTo>
                        <a:cubicBezTo>
                          <a:pt x="30848" y="74236"/>
                          <a:pt x="39376" y="72844"/>
                          <a:pt x="39376" y="55908"/>
                        </a:cubicBezTo>
                        <a:lnTo>
                          <a:pt x="39679" y="7762"/>
                        </a:lnTo>
                        <a:cubicBezTo>
                          <a:pt x="33388" y="-3126"/>
                          <a:pt x="4356" y="-2702"/>
                          <a:pt x="0" y="9939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592" name="Grafik 297">
                  <a:extLst>
                    <a:ext uri="{FF2B5EF4-FFF2-40B4-BE49-F238E27FC236}">
                      <a16:creationId xmlns:a16="http://schemas.microsoft.com/office/drawing/2014/main" id="{45E67078-D31C-94D2-79C4-EAFF9D52DE19}"/>
                    </a:ext>
                  </a:extLst>
                </p:cNvPr>
                <p:cNvGrpSpPr/>
                <p:nvPr/>
              </p:nvGrpSpPr>
              <p:grpSpPr>
                <a:xfrm>
                  <a:off x="11188390" y="3736015"/>
                  <a:ext cx="61520" cy="156366"/>
                  <a:chOff x="11188390" y="3736015"/>
                  <a:chExt cx="61520" cy="156366"/>
                </a:xfrm>
                <a:solidFill>
                  <a:srgbClr val="02787D"/>
                </a:solidFill>
              </p:grpSpPr>
              <p:sp>
                <p:nvSpPr>
                  <p:cNvPr id="599" name="Freihandform: Form 598">
                    <a:extLst>
                      <a:ext uri="{FF2B5EF4-FFF2-40B4-BE49-F238E27FC236}">
                        <a16:creationId xmlns:a16="http://schemas.microsoft.com/office/drawing/2014/main" id="{08E83DD9-172B-94C0-98C2-35B1CE29B162}"/>
                      </a:ext>
                    </a:extLst>
                  </p:cNvPr>
                  <p:cNvSpPr/>
                  <p:nvPr/>
                </p:nvSpPr>
                <p:spPr>
                  <a:xfrm>
                    <a:off x="11218103" y="3821286"/>
                    <a:ext cx="31807" cy="71096"/>
                  </a:xfrm>
                  <a:custGeom>
                    <a:avLst/>
                    <a:gdLst>
                      <a:gd name="connsiteX0" fmla="*/ 18917 w 31807"/>
                      <a:gd name="connsiteY0" fmla="*/ 71096 h 71096"/>
                      <a:gd name="connsiteX1" fmla="*/ 3554 w 31807"/>
                      <a:gd name="connsiteY1" fmla="*/ 39462 h 71096"/>
                      <a:gd name="connsiteX2" fmla="*/ 8877 w 31807"/>
                      <a:gd name="connsiteY2" fmla="*/ 4804 h 71096"/>
                      <a:gd name="connsiteX3" fmla="*/ 15288 w 31807"/>
                      <a:gd name="connsiteY3" fmla="*/ 207 h 71096"/>
                      <a:gd name="connsiteX4" fmla="*/ 29744 w 31807"/>
                      <a:gd name="connsiteY4" fmla="*/ 39946 h 71096"/>
                      <a:gd name="connsiteX5" fmla="*/ 18917 w 31807"/>
                      <a:gd name="connsiteY5" fmla="*/ 71096 h 71096"/>
                      <a:gd name="connsiteX6" fmla="*/ 18917 w 31807"/>
                      <a:gd name="connsiteY6" fmla="*/ 71096 h 710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1807" h="71096">
                        <a:moveTo>
                          <a:pt x="18917" y="71096"/>
                        </a:moveTo>
                        <a:lnTo>
                          <a:pt x="3554" y="39462"/>
                        </a:lnTo>
                        <a:cubicBezTo>
                          <a:pt x="-2072" y="27365"/>
                          <a:pt x="-1527" y="15147"/>
                          <a:pt x="8877" y="4804"/>
                        </a:cubicBezTo>
                        <a:cubicBezTo>
                          <a:pt x="12204" y="1477"/>
                          <a:pt x="14804" y="-701"/>
                          <a:pt x="15288" y="207"/>
                        </a:cubicBezTo>
                        <a:cubicBezTo>
                          <a:pt x="16195" y="1900"/>
                          <a:pt x="23333" y="18232"/>
                          <a:pt x="29744" y="39946"/>
                        </a:cubicBezTo>
                        <a:cubicBezTo>
                          <a:pt x="33797" y="53676"/>
                          <a:pt x="32708" y="62870"/>
                          <a:pt x="18917" y="71096"/>
                        </a:cubicBezTo>
                        <a:lnTo>
                          <a:pt x="18917" y="71096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00" name="Freihandform: Form 599">
                    <a:extLst>
                      <a:ext uri="{FF2B5EF4-FFF2-40B4-BE49-F238E27FC236}">
                        <a16:creationId xmlns:a16="http://schemas.microsoft.com/office/drawing/2014/main" id="{F6500D9F-3AAC-949E-C67C-B19B452AB00E}"/>
                      </a:ext>
                    </a:extLst>
                  </p:cNvPr>
                  <p:cNvSpPr/>
                  <p:nvPr/>
                </p:nvSpPr>
                <p:spPr>
                  <a:xfrm>
                    <a:off x="11196102" y="3785140"/>
                    <a:ext cx="43119" cy="75607"/>
                  </a:xfrm>
                  <a:custGeom>
                    <a:avLst/>
                    <a:gdLst>
                      <a:gd name="connsiteX0" fmla="*/ 25495 w 43119"/>
                      <a:gd name="connsiteY0" fmla="*/ 75607 h 75607"/>
                      <a:gd name="connsiteX1" fmla="*/ 2389 w 43119"/>
                      <a:gd name="connsiteY1" fmla="*/ 26856 h 75607"/>
                      <a:gd name="connsiteX2" fmla="*/ 21987 w 43119"/>
                      <a:gd name="connsiteY2" fmla="*/ 0 h 75607"/>
                      <a:gd name="connsiteX3" fmla="*/ 26099 w 43119"/>
                      <a:gd name="connsiteY3" fmla="*/ 5444 h 75607"/>
                      <a:gd name="connsiteX4" fmla="*/ 41826 w 43119"/>
                      <a:gd name="connsiteY4" fmla="*/ 48631 h 75607"/>
                      <a:gd name="connsiteX5" fmla="*/ 25495 w 43119"/>
                      <a:gd name="connsiteY5" fmla="*/ 75607 h 75607"/>
                      <a:gd name="connsiteX6" fmla="*/ 25495 w 43119"/>
                      <a:gd name="connsiteY6" fmla="*/ 75607 h 756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3119" h="75607">
                        <a:moveTo>
                          <a:pt x="25495" y="75607"/>
                        </a:moveTo>
                        <a:lnTo>
                          <a:pt x="2389" y="26856"/>
                        </a:lnTo>
                        <a:cubicBezTo>
                          <a:pt x="-4446" y="12037"/>
                          <a:pt x="3780" y="5746"/>
                          <a:pt x="21987" y="0"/>
                        </a:cubicBezTo>
                        <a:lnTo>
                          <a:pt x="26099" y="5444"/>
                        </a:lnTo>
                        <a:lnTo>
                          <a:pt x="41826" y="48631"/>
                        </a:lnTo>
                        <a:cubicBezTo>
                          <a:pt x="46000" y="61575"/>
                          <a:pt x="39951" y="69075"/>
                          <a:pt x="25495" y="75607"/>
                        </a:cubicBezTo>
                        <a:lnTo>
                          <a:pt x="25495" y="75607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01" name="Freihandform: Form 600">
                    <a:extLst>
                      <a:ext uri="{FF2B5EF4-FFF2-40B4-BE49-F238E27FC236}">
                        <a16:creationId xmlns:a16="http://schemas.microsoft.com/office/drawing/2014/main" id="{9117057D-8E93-0FC9-48E7-02A26F47AF9C}"/>
                      </a:ext>
                    </a:extLst>
                  </p:cNvPr>
                  <p:cNvSpPr/>
                  <p:nvPr/>
                </p:nvSpPr>
                <p:spPr>
                  <a:xfrm>
                    <a:off x="11188390" y="3736015"/>
                    <a:ext cx="34476" cy="69266"/>
                  </a:xfrm>
                  <a:custGeom>
                    <a:avLst/>
                    <a:gdLst>
                      <a:gd name="connsiteX0" fmla="*/ 0 w 34476"/>
                      <a:gd name="connsiteY0" fmla="*/ 5575 h 69266"/>
                      <a:gd name="connsiteX1" fmla="*/ 7924 w 34476"/>
                      <a:gd name="connsiteY1" fmla="*/ 69267 h 69266"/>
                      <a:gd name="connsiteX2" fmla="*/ 33872 w 34476"/>
                      <a:gd name="connsiteY2" fmla="*/ 56867 h 69266"/>
                      <a:gd name="connsiteX3" fmla="*/ 34477 w 34476"/>
                      <a:gd name="connsiteY3" fmla="*/ 12168 h 69266"/>
                      <a:gd name="connsiteX4" fmla="*/ 0 w 34476"/>
                      <a:gd name="connsiteY4" fmla="*/ 5575 h 692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4476" h="69266">
                        <a:moveTo>
                          <a:pt x="0" y="5575"/>
                        </a:moveTo>
                        <a:cubicBezTo>
                          <a:pt x="0" y="6724"/>
                          <a:pt x="7924" y="69267"/>
                          <a:pt x="7924" y="69267"/>
                        </a:cubicBezTo>
                        <a:cubicBezTo>
                          <a:pt x="26311" y="68420"/>
                          <a:pt x="32723" y="72170"/>
                          <a:pt x="33872" y="56867"/>
                        </a:cubicBezTo>
                        <a:lnTo>
                          <a:pt x="34477" y="12168"/>
                        </a:lnTo>
                        <a:cubicBezTo>
                          <a:pt x="28912" y="1946"/>
                          <a:pt x="5262" y="-5675"/>
                          <a:pt x="0" y="5575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593" name="Grafik 297">
                  <a:extLst>
                    <a:ext uri="{FF2B5EF4-FFF2-40B4-BE49-F238E27FC236}">
                      <a16:creationId xmlns:a16="http://schemas.microsoft.com/office/drawing/2014/main" id="{EC8DF272-44A0-5ACE-18F2-09225403A986}"/>
                    </a:ext>
                  </a:extLst>
                </p:cNvPr>
                <p:cNvGrpSpPr/>
                <p:nvPr/>
              </p:nvGrpSpPr>
              <p:grpSpPr>
                <a:xfrm>
                  <a:off x="11208616" y="3610134"/>
                  <a:ext cx="98810" cy="216076"/>
                  <a:chOff x="11208616" y="3610134"/>
                  <a:chExt cx="98810" cy="216076"/>
                </a:xfrm>
                <a:solidFill>
                  <a:srgbClr val="02787D"/>
                </a:solidFill>
              </p:grpSpPr>
              <p:sp>
                <p:nvSpPr>
                  <p:cNvPr id="596" name="Freihandform: Form 595">
                    <a:extLst>
                      <a:ext uri="{FF2B5EF4-FFF2-40B4-BE49-F238E27FC236}">
                        <a16:creationId xmlns:a16="http://schemas.microsoft.com/office/drawing/2014/main" id="{FF5FFA29-A20A-8050-E8AA-9D1E37E42AB3}"/>
                      </a:ext>
                    </a:extLst>
                  </p:cNvPr>
                  <p:cNvSpPr/>
                  <p:nvPr/>
                </p:nvSpPr>
                <p:spPr>
                  <a:xfrm>
                    <a:off x="11253713" y="3739314"/>
                    <a:ext cx="34296" cy="86896"/>
                  </a:xfrm>
                  <a:custGeom>
                    <a:avLst/>
                    <a:gdLst>
                      <a:gd name="connsiteX0" fmla="*/ 17724 w 34296"/>
                      <a:gd name="connsiteY0" fmla="*/ 86896 h 86896"/>
                      <a:gd name="connsiteX1" fmla="*/ 34297 w 34296"/>
                      <a:gd name="connsiteY1" fmla="*/ 45766 h 86896"/>
                      <a:gd name="connsiteX2" fmla="*/ 26918 w 34296"/>
                      <a:gd name="connsiteY2" fmla="*/ 2942 h 86896"/>
                      <a:gd name="connsiteX3" fmla="*/ 18571 w 34296"/>
                      <a:gd name="connsiteY3" fmla="*/ 825 h 86896"/>
                      <a:gd name="connsiteX4" fmla="*/ 1634 w 34296"/>
                      <a:gd name="connsiteY4" fmla="*/ 50968 h 86896"/>
                      <a:gd name="connsiteX5" fmla="*/ 17724 w 34296"/>
                      <a:gd name="connsiteY5" fmla="*/ 86896 h 86896"/>
                      <a:gd name="connsiteX6" fmla="*/ 17724 w 34296"/>
                      <a:gd name="connsiteY6" fmla="*/ 86896 h 868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4296" h="86896">
                        <a:moveTo>
                          <a:pt x="17724" y="86896"/>
                        </a:moveTo>
                        <a:lnTo>
                          <a:pt x="34297" y="45766"/>
                        </a:lnTo>
                        <a:cubicBezTo>
                          <a:pt x="34176" y="31794"/>
                          <a:pt x="34660" y="10140"/>
                          <a:pt x="26918" y="2942"/>
                        </a:cubicBezTo>
                        <a:cubicBezTo>
                          <a:pt x="22503" y="-1111"/>
                          <a:pt x="19115" y="-82"/>
                          <a:pt x="18571" y="825"/>
                        </a:cubicBezTo>
                        <a:cubicBezTo>
                          <a:pt x="14760" y="7599"/>
                          <a:pt x="7199" y="29616"/>
                          <a:pt x="1634" y="50968"/>
                        </a:cubicBezTo>
                        <a:cubicBezTo>
                          <a:pt x="-2236" y="65787"/>
                          <a:pt x="-119" y="76190"/>
                          <a:pt x="17724" y="86896"/>
                        </a:cubicBezTo>
                        <a:lnTo>
                          <a:pt x="17724" y="86896"/>
                        </a:ln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97" name="Freihandform: Form 596">
                    <a:extLst>
                      <a:ext uri="{FF2B5EF4-FFF2-40B4-BE49-F238E27FC236}">
                        <a16:creationId xmlns:a16="http://schemas.microsoft.com/office/drawing/2014/main" id="{515EE936-AF1C-71E4-930E-8820256F1F50}"/>
                      </a:ext>
                    </a:extLst>
                  </p:cNvPr>
                  <p:cNvSpPr/>
                  <p:nvPr/>
                </p:nvSpPr>
                <p:spPr>
                  <a:xfrm>
                    <a:off x="11257041" y="3712410"/>
                    <a:ext cx="50385" cy="74325"/>
                  </a:xfrm>
                  <a:custGeom>
                    <a:avLst/>
                    <a:gdLst>
                      <a:gd name="connsiteX0" fmla="*/ 50385 w 50385"/>
                      <a:gd name="connsiteY0" fmla="*/ 8615 h 74325"/>
                      <a:gd name="connsiteX1" fmla="*/ 0 w 50385"/>
                      <a:gd name="connsiteY1" fmla="*/ 10188 h 74325"/>
                      <a:gd name="connsiteX2" fmla="*/ 7682 w 50385"/>
                      <a:gd name="connsiteY2" fmla="*/ 46782 h 74325"/>
                      <a:gd name="connsiteX3" fmla="*/ 31029 w 50385"/>
                      <a:gd name="connsiteY3" fmla="*/ 72670 h 74325"/>
                      <a:gd name="connsiteX4" fmla="*/ 50385 w 50385"/>
                      <a:gd name="connsiteY4" fmla="*/ 8615 h 743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385" h="74325">
                        <a:moveTo>
                          <a:pt x="50385" y="8615"/>
                        </a:moveTo>
                        <a:cubicBezTo>
                          <a:pt x="36352" y="-11648"/>
                          <a:pt x="0" y="10188"/>
                          <a:pt x="0" y="10188"/>
                        </a:cubicBezTo>
                        <a:lnTo>
                          <a:pt x="7682" y="46782"/>
                        </a:lnTo>
                        <a:cubicBezTo>
                          <a:pt x="7924" y="62508"/>
                          <a:pt x="17602" y="79807"/>
                          <a:pt x="31029" y="72670"/>
                        </a:cubicBezTo>
                        <a:cubicBezTo>
                          <a:pt x="31029" y="72670"/>
                          <a:pt x="50385" y="7890"/>
                          <a:pt x="50385" y="8615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98" name="Freihandform: Form 597">
                    <a:extLst>
                      <a:ext uri="{FF2B5EF4-FFF2-40B4-BE49-F238E27FC236}">
                        <a16:creationId xmlns:a16="http://schemas.microsoft.com/office/drawing/2014/main" id="{94D77215-D0F1-CC59-86E7-D47E9EF5F286}"/>
                      </a:ext>
                    </a:extLst>
                  </p:cNvPr>
                  <p:cNvSpPr/>
                  <p:nvPr/>
                </p:nvSpPr>
                <p:spPr>
                  <a:xfrm>
                    <a:off x="11208616" y="3610134"/>
                    <a:ext cx="98810" cy="121421"/>
                  </a:xfrm>
                  <a:custGeom>
                    <a:avLst/>
                    <a:gdLst>
                      <a:gd name="connsiteX0" fmla="*/ 91190 w 98810"/>
                      <a:gd name="connsiteY0" fmla="*/ 57180 h 121421"/>
                      <a:gd name="connsiteX1" fmla="*/ 98811 w 98810"/>
                      <a:gd name="connsiteY1" fmla="*/ 110831 h 121421"/>
                      <a:gd name="connsiteX2" fmla="*/ 98811 w 98810"/>
                      <a:gd name="connsiteY2" fmla="*/ 110831 h 121421"/>
                      <a:gd name="connsiteX3" fmla="*/ 48728 w 98810"/>
                      <a:gd name="connsiteY3" fmla="*/ 113311 h 121421"/>
                      <a:gd name="connsiteX4" fmla="*/ 7719 w 98810"/>
                      <a:gd name="connsiteY4" fmla="*/ 53006 h 121421"/>
                      <a:gd name="connsiteX5" fmla="*/ 62035 w 98810"/>
                      <a:gd name="connsiteY5" fmla="*/ 4920 h 121421"/>
                      <a:gd name="connsiteX6" fmla="*/ 91250 w 98810"/>
                      <a:gd name="connsiteY6" fmla="*/ 57119 h 1214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8810" h="121421">
                        <a:moveTo>
                          <a:pt x="91190" y="57180"/>
                        </a:moveTo>
                        <a:cubicBezTo>
                          <a:pt x="95121" y="72241"/>
                          <a:pt x="98811" y="110831"/>
                          <a:pt x="98811" y="110831"/>
                        </a:cubicBezTo>
                        <a:lnTo>
                          <a:pt x="98811" y="110831"/>
                        </a:lnTo>
                        <a:cubicBezTo>
                          <a:pt x="75463" y="113311"/>
                          <a:pt x="78427" y="131759"/>
                          <a:pt x="48728" y="113311"/>
                        </a:cubicBezTo>
                        <a:cubicBezTo>
                          <a:pt x="48728" y="113311"/>
                          <a:pt x="37296" y="72906"/>
                          <a:pt x="7719" y="53006"/>
                        </a:cubicBezTo>
                        <a:cubicBezTo>
                          <a:pt x="-17806" y="35828"/>
                          <a:pt x="25078" y="-16069"/>
                          <a:pt x="62035" y="4920"/>
                        </a:cubicBezTo>
                        <a:cubicBezTo>
                          <a:pt x="79576" y="26755"/>
                          <a:pt x="91250" y="57119"/>
                          <a:pt x="91250" y="57119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594" name="Freihandform: Form 593">
                  <a:extLst>
                    <a:ext uri="{FF2B5EF4-FFF2-40B4-BE49-F238E27FC236}">
                      <a16:creationId xmlns:a16="http://schemas.microsoft.com/office/drawing/2014/main" id="{F42075FD-45DB-B13F-0C23-91552CE20A34}"/>
                    </a:ext>
                  </a:extLst>
                </p:cNvPr>
                <p:cNvSpPr/>
                <p:nvPr/>
              </p:nvSpPr>
              <p:spPr>
                <a:xfrm>
                  <a:off x="11163281" y="3594186"/>
                  <a:ext cx="140662" cy="175772"/>
                </a:xfrm>
                <a:custGeom>
                  <a:avLst/>
                  <a:gdLst>
                    <a:gd name="connsiteX0" fmla="*/ 128 w 140662"/>
                    <a:gd name="connsiteY0" fmla="*/ 127202 h 175772"/>
                    <a:gd name="connsiteX1" fmla="*/ 20995 w 140662"/>
                    <a:gd name="connsiteY1" fmla="*/ 2057 h 175772"/>
                    <a:gd name="connsiteX2" fmla="*/ 105978 w 140662"/>
                    <a:gd name="connsiteY2" fmla="*/ 0 h 175772"/>
                    <a:gd name="connsiteX3" fmla="*/ 112027 w 140662"/>
                    <a:gd name="connsiteY3" fmla="*/ 22077 h 175772"/>
                    <a:gd name="connsiteX4" fmla="*/ 140576 w 140662"/>
                    <a:gd name="connsiteY4" fmla="*/ 100770 h 175772"/>
                    <a:gd name="connsiteX5" fmla="*/ 92913 w 140662"/>
                    <a:gd name="connsiteY5" fmla="*/ 122968 h 175772"/>
                    <a:gd name="connsiteX6" fmla="*/ 58376 w 140662"/>
                    <a:gd name="connsiteY6" fmla="*/ 175772 h 175772"/>
                    <a:gd name="connsiteX7" fmla="*/ 67 w 140662"/>
                    <a:gd name="connsiteY7" fmla="*/ 152001 h 175772"/>
                    <a:gd name="connsiteX8" fmla="*/ 67 w 140662"/>
                    <a:gd name="connsiteY8" fmla="*/ 127263 h 1757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40662" h="175772">
                      <a:moveTo>
                        <a:pt x="128" y="127202"/>
                      </a:moveTo>
                      <a:cubicBezTo>
                        <a:pt x="7326" y="95144"/>
                        <a:pt x="15491" y="57341"/>
                        <a:pt x="20995" y="2057"/>
                      </a:cubicBezTo>
                      <a:lnTo>
                        <a:pt x="105978" y="0"/>
                      </a:lnTo>
                      <a:cubicBezTo>
                        <a:pt x="106160" y="16089"/>
                        <a:pt x="109910" y="20021"/>
                        <a:pt x="112027" y="22077"/>
                      </a:cubicBezTo>
                      <a:cubicBezTo>
                        <a:pt x="143721" y="52562"/>
                        <a:pt x="140576" y="100770"/>
                        <a:pt x="140576" y="100770"/>
                      </a:cubicBezTo>
                      <a:cubicBezTo>
                        <a:pt x="140032" y="105306"/>
                        <a:pt x="109366" y="98411"/>
                        <a:pt x="92913" y="122968"/>
                      </a:cubicBezTo>
                      <a:cubicBezTo>
                        <a:pt x="88255" y="129863"/>
                        <a:pt x="62791" y="137545"/>
                        <a:pt x="58376" y="175772"/>
                      </a:cubicBezTo>
                      <a:cubicBezTo>
                        <a:pt x="19786" y="137848"/>
                        <a:pt x="1943" y="151215"/>
                        <a:pt x="67" y="152001"/>
                      </a:cubicBezTo>
                      <a:cubicBezTo>
                        <a:pt x="611" y="142263"/>
                        <a:pt x="-235" y="133855"/>
                        <a:pt x="67" y="127263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95" name="Freihandform: Form 594">
                  <a:extLst>
                    <a:ext uri="{FF2B5EF4-FFF2-40B4-BE49-F238E27FC236}">
                      <a16:creationId xmlns:a16="http://schemas.microsoft.com/office/drawing/2014/main" id="{9CBE0284-4CA4-0335-D936-EE1C5620EDBD}"/>
                    </a:ext>
                  </a:extLst>
                </p:cNvPr>
                <p:cNvSpPr/>
                <p:nvPr/>
              </p:nvSpPr>
              <p:spPr>
                <a:xfrm>
                  <a:off x="11184216" y="3555052"/>
                  <a:ext cx="85164" cy="85164"/>
                </a:xfrm>
                <a:custGeom>
                  <a:avLst/>
                  <a:gdLst>
                    <a:gd name="connsiteX0" fmla="*/ 85164 w 85164"/>
                    <a:gd name="connsiteY0" fmla="*/ 42582 h 85164"/>
                    <a:gd name="connsiteX1" fmla="*/ 42582 w 85164"/>
                    <a:gd name="connsiteY1" fmla="*/ 85164 h 85164"/>
                    <a:gd name="connsiteX2" fmla="*/ 0 w 85164"/>
                    <a:gd name="connsiteY2" fmla="*/ 42582 h 85164"/>
                    <a:gd name="connsiteX3" fmla="*/ 42582 w 85164"/>
                    <a:gd name="connsiteY3" fmla="*/ 0 h 85164"/>
                    <a:gd name="connsiteX4" fmla="*/ 85164 w 85164"/>
                    <a:gd name="connsiteY4" fmla="*/ 42582 h 851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5164" h="85164">
                      <a:moveTo>
                        <a:pt x="85164" y="42582"/>
                      </a:moveTo>
                      <a:cubicBezTo>
                        <a:pt x="85164" y="66100"/>
                        <a:pt x="66100" y="85164"/>
                        <a:pt x="42582" y="85164"/>
                      </a:cubicBezTo>
                      <a:cubicBezTo>
                        <a:pt x="19065" y="85164"/>
                        <a:pt x="0" y="66100"/>
                        <a:pt x="0" y="42582"/>
                      </a:cubicBezTo>
                      <a:cubicBezTo>
                        <a:pt x="0" y="19065"/>
                        <a:pt x="19064" y="0"/>
                        <a:pt x="42582" y="0"/>
                      </a:cubicBezTo>
                      <a:cubicBezTo>
                        <a:pt x="66099" y="0"/>
                        <a:pt x="85164" y="19065"/>
                        <a:pt x="85164" y="42582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588" name="Freihandform: Form 587">
                <a:extLst>
                  <a:ext uri="{FF2B5EF4-FFF2-40B4-BE49-F238E27FC236}">
                    <a16:creationId xmlns:a16="http://schemas.microsoft.com/office/drawing/2014/main" id="{595E5AEE-D17E-8ACF-A01E-E6C645C9E8FD}"/>
                  </a:ext>
                </a:extLst>
              </p:cNvPr>
              <p:cNvSpPr/>
              <p:nvPr/>
            </p:nvSpPr>
            <p:spPr>
              <a:xfrm>
                <a:off x="11554269" y="2207424"/>
                <a:ext cx="268013" cy="182791"/>
              </a:xfrm>
              <a:custGeom>
                <a:avLst/>
                <a:gdLst>
                  <a:gd name="connsiteX0" fmla="*/ 0 w 268013"/>
                  <a:gd name="connsiteY0" fmla="*/ 0 h 182791"/>
                  <a:gd name="connsiteX1" fmla="*/ 9133 w 268013"/>
                  <a:gd name="connsiteY1" fmla="*/ 120125 h 182791"/>
                  <a:gd name="connsiteX2" fmla="*/ 135186 w 268013"/>
                  <a:gd name="connsiteY2" fmla="*/ 182789 h 182791"/>
                  <a:gd name="connsiteX3" fmla="*/ 259606 w 268013"/>
                  <a:gd name="connsiteY3" fmla="*/ 101374 h 182791"/>
                  <a:gd name="connsiteX4" fmla="*/ 268014 w 268013"/>
                  <a:gd name="connsiteY4" fmla="*/ 7440 h 182791"/>
                  <a:gd name="connsiteX5" fmla="*/ 0 w 268013"/>
                  <a:gd name="connsiteY5" fmla="*/ 121 h 182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8013" h="182791">
                    <a:moveTo>
                      <a:pt x="0" y="0"/>
                    </a:moveTo>
                    <a:cubicBezTo>
                      <a:pt x="1694" y="2903"/>
                      <a:pt x="9133" y="120125"/>
                      <a:pt x="9133" y="120125"/>
                    </a:cubicBezTo>
                    <a:cubicBezTo>
                      <a:pt x="9133" y="120125"/>
                      <a:pt x="13670" y="182244"/>
                      <a:pt x="135186" y="182789"/>
                    </a:cubicBezTo>
                    <a:cubicBezTo>
                      <a:pt x="268014" y="183333"/>
                      <a:pt x="259606" y="101374"/>
                      <a:pt x="259606" y="101374"/>
                    </a:cubicBezTo>
                    <a:lnTo>
                      <a:pt x="268014" y="7440"/>
                    </a:lnTo>
                    <a:cubicBezTo>
                      <a:pt x="182547" y="25646"/>
                      <a:pt x="96838" y="27219"/>
                      <a:pt x="0" y="121"/>
                    </a:cubicBezTo>
                    <a:close/>
                  </a:path>
                </a:pathLst>
              </a:custGeom>
              <a:solidFill>
                <a:srgbClr val="009999"/>
              </a:solidFill>
              <a:ln w="60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441" name="Grafik 297">
              <a:extLst>
                <a:ext uri="{FF2B5EF4-FFF2-40B4-BE49-F238E27FC236}">
                  <a16:creationId xmlns:a16="http://schemas.microsoft.com/office/drawing/2014/main" id="{80C2A2A8-CEAF-13BE-34B0-07FE3CD63B45}"/>
                </a:ext>
              </a:extLst>
            </p:cNvPr>
            <p:cNvGrpSpPr/>
            <p:nvPr/>
          </p:nvGrpSpPr>
          <p:grpSpPr>
            <a:xfrm>
              <a:off x="9590362" y="1659724"/>
              <a:ext cx="1540851" cy="3537443"/>
              <a:chOff x="48" y="1659724"/>
              <a:chExt cx="1540851" cy="3537443"/>
            </a:xfrm>
          </p:grpSpPr>
          <p:grpSp>
            <p:nvGrpSpPr>
              <p:cNvPr id="442" name="Grafik 297">
                <a:extLst>
                  <a:ext uri="{FF2B5EF4-FFF2-40B4-BE49-F238E27FC236}">
                    <a16:creationId xmlns:a16="http://schemas.microsoft.com/office/drawing/2014/main" id="{B3293201-DE22-D6D7-B4B2-654D94736982}"/>
                  </a:ext>
                </a:extLst>
              </p:cNvPr>
              <p:cNvGrpSpPr/>
              <p:nvPr/>
            </p:nvGrpSpPr>
            <p:grpSpPr>
              <a:xfrm>
                <a:off x="134278" y="3425249"/>
                <a:ext cx="206694" cy="389892"/>
                <a:chOff x="134278" y="3425249"/>
                <a:chExt cx="206694" cy="389892"/>
              </a:xfrm>
              <a:solidFill>
                <a:srgbClr val="02787D"/>
              </a:solidFill>
            </p:grpSpPr>
            <p:sp>
              <p:nvSpPr>
                <p:cNvPr id="518" name="Freihandform: Form 517">
                  <a:extLst>
                    <a:ext uri="{FF2B5EF4-FFF2-40B4-BE49-F238E27FC236}">
                      <a16:creationId xmlns:a16="http://schemas.microsoft.com/office/drawing/2014/main" id="{AC16FA09-35BC-70C5-7D07-D7D352F63C58}"/>
                    </a:ext>
                  </a:extLst>
                </p:cNvPr>
                <p:cNvSpPr/>
                <p:nvPr/>
              </p:nvSpPr>
              <p:spPr>
                <a:xfrm>
                  <a:off x="194341" y="3425249"/>
                  <a:ext cx="116254" cy="116254"/>
                </a:xfrm>
                <a:custGeom>
                  <a:avLst/>
                  <a:gdLst>
                    <a:gd name="connsiteX0" fmla="*/ 116254 w 116254"/>
                    <a:gd name="connsiteY0" fmla="*/ 58127 h 116254"/>
                    <a:gd name="connsiteX1" fmla="*/ 58127 w 116254"/>
                    <a:gd name="connsiteY1" fmla="*/ 116254 h 116254"/>
                    <a:gd name="connsiteX2" fmla="*/ 0 w 116254"/>
                    <a:gd name="connsiteY2" fmla="*/ 58127 h 116254"/>
                    <a:gd name="connsiteX3" fmla="*/ 58127 w 116254"/>
                    <a:gd name="connsiteY3" fmla="*/ 0 h 116254"/>
                    <a:gd name="connsiteX4" fmla="*/ 116254 w 116254"/>
                    <a:gd name="connsiteY4" fmla="*/ 58127 h 1162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6254" h="116254">
                      <a:moveTo>
                        <a:pt x="116254" y="58127"/>
                      </a:moveTo>
                      <a:cubicBezTo>
                        <a:pt x="116254" y="90230"/>
                        <a:pt x="90230" y="116254"/>
                        <a:pt x="58127" y="116254"/>
                      </a:cubicBezTo>
                      <a:cubicBezTo>
                        <a:pt x="26024" y="116254"/>
                        <a:pt x="0" y="90229"/>
                        <a:pt x="0" y="58127"/>
                      </a:cubicBezTo>
                      <a:cubicBezTo>
                        <a:pt x="0" y="26024"/>
                        <a:pt x="26024" y="0"/>
                        <a:pt x="58127" y="0"/>
                      </a:cubicBezTo>
                      <a:cubicBezTo>
                        <a:pt x="90230" y="0"/>
                        <a:pt x="116254" y="26024"/>
                        <a:pt x="116254" y="58127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519" name="Grafik 297">
                  <a:extLst>
                    <a:ext uri="{FF2B5EF4-FFF2-40B4-BE49-F238E27FC236}">
                      <a16:creationId xmlns:a16="http://schemas.microsoft.com/office/drawing/2014/main" id="{85B571F4-9406-18D4-900A-71577B0CBEB3}"/>
                    </a:ext>
                  </a:extLst>
                </p:cNvPr>
                <p:cNvGrpSpPr/>
                <p:nvPr/>
              </p:nvGrpSpPr>
              <p:grpSpPr>
                <a:xfrm>
                  <a:off x="134278" y="3462369"/>
                  <a:ext cx="206694" cy="352772"/>
                  <a:chOff x="134278" y="3462369"/>
                  <a:chExt cx="206694" cy="352772"/>
                </a:xfrm>
                <a:solidFill>
                  <a:srgbClr val="02787D"/>
                </a:solidFill>
              </p:grpSpPr>
              <p:grpSp>
                <p:nvGrpSpPr>
                  <p:cNvPr id="520" name="Grafik 297">
                    <a:extLst>
                      <a:ext uri="{FF2B5EF4-FFF2-40B4-BE49-F238E27FC236}">
                        <a16:creationId xmlns:a16="http://schemas.microsoft.com/office/drawing/2014/main" id="{D8A80A51-C8EE-480E-F44E-2795F23BA894}"/>
                      </a:ext>
                    </a:extLst>
                  </p:cNvPr>
                  <p:cNvGrpSpPr/>
                  <p:nvPr/>
                </p:nvGrpSpPr>
                <p:grpSpPr>
                  <a:xfrm>
                    <a:off x="217870" y="3649645"/>
                    <a:ext cx="45684" cy="153097"/>
                    <a:chOff x="217870" y="3649645"/>
                    <a:chExt cx="45684" cy="153097"/>
                  </a:xfrm>
                  <a:solidFill>
                    <a:srgbClr val="02787D"/>
                  </a:solidFill>
                </p:grpSpPr>
                <p:sp>
                  <p:nvSpPr>
                    <p:cNvPr id="537" name="Freihandform: Form 536">
                      <a:extLst>
                        <a:ext uri="{FF2B5EF4-FFF2-40B4-BE49-F238E27FC236}">
                          <a16:creationId xmlns:a16="http://schemas.microsoft.com/office/drawing/2014/main" id="{6BFAF220-15E3-F760-05E1-A6141BC4DFE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17870" y="3649645"/>
                      <a:ext cx="45684" cy="70664"/>
                    </a:xfrm>
                    <a:custGeom>
                      <a:avLst/>
                      <a:gdLst>
                        <a:gd name="connsiteX0" fmla="*/ 0 w 45684"/>
                        <a:gd name="connsiteY0" fmla="*/ 57227 h 70664"/>
                        <a:gd name="connsiteX1" fmla="*/ 18388 w 45684"/>
                        <a:gd name="connsiteY1" fmla="*/ 70655 h 70664"/>
                        <a:gd name="connsiteX2" fmla="*/ 36050 w 45684"/>
                        <a:gd name="connsiteY2" fmla="*/ 55594 h 70664"/>
                        <a:gd name="connsiteX3" fmla="*/ 45485 w 45684"/>
                        <a:gd name="connsiteY3" fmla="*/ 18818 h 70664"/>
                        <a:gd name="connsiteX4" fmla="*/ 32300 w 45684"/>
                        <a:gd name="connsiteY4" fmla="*/ 914 h 70664"/>
                        <a:gd name="connsiteX5" fmla="*/ 9073 w 45684"/>
                        <a:gd name="connsiteY5" fmla="*/ 13435 h 70664"/>
                        <a:gd name="connsiteX6" fmla="*/ 0 w 45684"/>
                        <a:gd name="connsiteY6" fmla="*/ 57227 h 706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5684" h="70664">
                          <a:moveTo>
                            <a:pt x="0" y="57227"/>
                          </a:moveTo>
                          <a:cubicBezTo>
                            <a:pt x="0" y="57227"/>
                            <a:pt x="5262" y="71078"/>
                            <a:pt x="18388" y="70655"/>
                          </a:cubicBezTo>
                          <a:cubicBezTo>
                            <a:pt x="32179" y="70231"/>
                            <a:pt x="36050" y="55594"/>
                            <a:pt x="36050" y="55594"/>
                          </a:cubicBezTo>
                          <a:lnTo>
                            <a:pt x="45485" y="18818"/>
                          </a:lnTo>
                          <a:cubicBezTo>
                            <a:pt x="46816" y="7568"/>
                            <a:pt x="41372" y="2971"/>
                            <a:pt x="32300" y="914"/>
                          </a:cubicBezTo>
                          <a:cubicBezTo>
                            <a:pt x="23287" y="-1566"/>
                            <a:pt x="12339" y="491"/>
                            <a:pt x="9073" y="13435"/>
                          </a:cubicBezTo>
                          <a:lnTo>
                            <a:pt x="0" y="57227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38" name="Freihandform: Form 537">
                      <a:extLst>
                        <a:ext uri="{FF2B5EF4-FFF2-40B4-BE49-F238E27FC236}">
                          <a16:creationId xmlns:a16="http://schemas.microsoft.com/office/drawing/2014/main" id="{3983D7B6-1652-78A7-6175-2F7C97109BC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17870" y="3693202"/>
                      <a:ext cx="36856" cy="56556"/>
                    </a:xfrm>
                    <a:custGeom>
                      <a:avLst/>
                      <a:gdLst>
                        <a:gd name="connsiteX0" fmla="*/ 7016 w 36856"/>
                        <a:gd name="connsiteY0" fmla="*/ 49175 h 56556"/>
                        <a:gd name="connsiteX1" fmla="*/ 22985 w 36856"/>
                        <a:gd name="connsiteY1" fmla="*/ 56554 h 56556"/>
                        <a:gd name="connsiteX2" fmla="*/ 36775 w 36856"/>
                        <a:gd name="connsiteY2" fmla="*/ 43187 h 56556"/>
                        <a:gd name="connsiteX3" fmla="*/ 36110 w 36856"/>
                        <a:gd name="connsiteY3" fmla="*/ 12037 h 56556"/>
                        <a:gd name="connsiteX4" fmla="*/ 19356 w 36856"/>
                        <a:gd name="connsiteY4" fmla="*/ 0 h 56556"/>
                        <a:gd name="connsiteX5" fmla="*/ 0 w 36856"/>
                        <a:gd name="connsiteY5" fmla="*/ 13670 h 56556"/>
                        <a:gd name="connsiteX6" fmla="*/ 6956 w 36856"/>
                        <a:gd name="connsiteY6" fmla="*/ 49175 h 5655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6856" h="56556">
                          <a:moveTo>
                            <a:pt x="7016" y="49175"/>
                          </a:moveTo>
                          <a:cubicBezTo>
                            <a:pt x="7016" y="49175"/>
                            <a:pt x="7198" y="56192"/>
                            <a:pt x="22985" y="56554"/>
                          </a:cubicBezTo>
                          <a:cubicBezTo>
                            <a:pt x="38772" y="56736"/>
                            <a:pt x="36775" y="43187"/>
                            <a:pt x="36775" y="43187"/>
                          </a:cubicBezTo>
                          <a:lnTo>
                            <a:pt x="36110" y="12037"/>
                          </a:lnTo>
                          <a:cubicBezTo>
                            <a:pt x="32179" y="4899"/>
                            <a:pt x="31392" y="0"/>
                            <a:pt x="19356" y="0"/>
                          </a:cubicBezTo>
                          <a:cubicBezTo>
                            <a:pt x="8649" y="665"/>
                            <a:pt x="4234" y="6653"/>
                            <a:pt x="0" y="13670"/>
                          </a:cubicBezTo>
                          <a:lnTo>
                            <a:pt x="6956" y="49175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39" name="Freihandform: Form 538">
                      <a:extLst>
                        <a:ext uri="{FF2B5EF4-FFF2-40B4-BE49-F238E27FC236}">
                          <a16:creationId xmlns:a16="http://schemas.microsoft.com/office/drawing/2014/main" id="{DAEBAB7B-D076-92B1-7243-09EFB3F8BBC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4826" y="3726462"/>
                      <a:ext cx="35970" cy="76279"/>
                    </a:xfrm>
                    <a:custGeom>
                      <a:avLst/>
                      <a:gdLst>
                        <a:gd name="connsiteX0" fmla="*/ 10404 w 35970"/>
                        <a:gd name="connsiteY0" fmla="*/ 52086 h 76279"/>
                        <a:gd name="connsiteX1" fmla="*/ 18146 w 35970"/>
                        <a:gd name="connsiteY1" fmla="*/ 76280 h 76279"/>
                        <a:gd name="connsiteX2" fmla="*/ 35747 w 35970"/>
                        <a:gd name="connsiteY2" fmla="*/ 41319 h 76279"/>
                        <a:gd name="connsiteX3" fmla="*/ 30062 w 35970"/>
                        <a:gd name="connsiteY3" fmla="*/ 10713 h 76279"/>
                        <a:gd name="connsiteX4" fmla="*/ 11795 w 35970"/>
                        <a:gd name="connsiteY4" fmla="*/ 854 h 76279"/>
                        <a:gd name="connsiteX5" fmla="*/ 0 w 35970"/>
                        <a:gd name="connsiteY5" fmla="*/ 15915 h 76279"/>
                        <a:gd name="connsiteX6" fmla="*/ 10343 w 35970"/>
                        <a:gd name="connsiteY6" fmla="*/ 52146 h 762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5970" h="76279">
                          <a:moveTo>
                            <a:pt x="10404" y="52086"/>
                          </a:moveTo>
                          <a:lnTo>
                            <a:pt x="18146" y="76280"/>
                          </a:lnTo>
                          <a:cubicBezTo>
                            <a:pt x="33993" y="72106"/>
                            <a:pt x="36896" y="53779"/>
                            <a:pt x="35747" y="41319"/>
                          </a:cubicBezTo>
                          <a:cubicBezTo>
                            <a:pt x="34598" y="28859"/>
                            <a:pt x="30062" y="10713"/>
                            <a:pt x="30062" y="10713"/>
                          </a:cubicBezTo>
                          <a:cubicBezTo>
                            <a:pt x="26372" y="-477"/>
                            <a:pt x="17420" y="-1082"/>
                            <a:pt x="11795" y="854"/>
                          </a:cubicBezTo>
                          <a:cubicBezTo>
                            <a:pt x="5625" y="2971"/>
                            <a:pt x="0" y="6963"/>
                            <a:pt x="0" y="15915"/>
                          </a:cubicBezTo>
                          <a:lnTo>
                            <a:pt x="10343" y="52146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521" name="Grafik 297">
                    <a:extLst>
                      <a:ext uri="{FF2B5EF4-FFF2-40B4-BE49-F238E27FC236}">
                        <a16:creationId xmlns:a16="http://schemas.microsoft.com/office/drawing/2014/main" id="{0461F231-FCCA-780D-DB87-4570EADFF7CA}"/>
                      </a:ext>
                    </a:extLst>
                  </p:cNvPr>
                  <p:cNvGrpSpPr/>
                  <p:nvPr/>
                </p:nvGrpSpPr>
                <p:grpSpPr>
                  <a:xfrm>
                    <a:off x="185994" y="3644681"/>
                    <a:ext cx="53203" cy="170460"/>
                    <a:chOff x="185994" y="3644681"/>
                    <a:chExt cx="53203" cy="170460"/>
                  </a:xfrm>
                  <a:solidFill>
                    <a:srgbClr val="02787D"/>
                  </a:solidFill>
                </p:grpSpPr>
                <p:sp>
                  <p:nvSpPr>
                    <p:cNvPr id="534" name="Freihandform: Form 533">
                      <a:extLst>
                        <a:ext uri="{FF2B5EF4-FFF2-40B4-BE49-F238E27FC236}">
                          <a16:creationId xmlns:a16="http://schemas.microsoft.com/office/drawing/2014/main" id="{9F2FDD35-DE86-5E41-2370-34D01AA8689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85994" y="3644681"/>
                      <a:ext cx="50168" cy="77084"/>
                    </a:xfrm>
                    <a:custGeom>
                      <a:avLst/>
                      <a:gdLst>
                        <a:gd name="connsiteX0" fmla="*/ 0 w 50168"/>
                        <a:gd name="connsiteY0" fmla="*/ 63098 h 77084"/>
                        <a:gd name="connsiteX1" fmla="*/ 18932 w 50168"/>
                        <a:gd name="connsiteY1" fmla="*/ 77070 h 77084"/>
                        <a:gd name="connsiteX2" fmla="*/ 38892 w 50168"/>
                        <a:gd name="connsiteY2" fmla="*/ 63702 h 77084"/>
                        <a:gd name="connsiteX3" fmla="*/ 49840 w 50168"/>
                        <a:gd name="connsiteY3" fmla="*/ 20999 h 77084"/>
                        <a:gd name="connsiteX4" fmla="*/ 38106 w 50168"/>
                        <a:gd name="connsiteY4" fmla="*/ 918 h 77084"/>
                        <a:gd name="connsiteX5" fmla="*/ 10041 w 50168"/>
                        <a:gd name="connsiteY5" fmla="*/ 15072 h 77084"/>
                        <a:gd name="connsiteX6" fmla="*/ 60 w 50168"/>
                        <a:gd name="connsiteY6" fmla="*/ 63037 h 770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50168" h="77084">
                          <a:moveTo>
                            <a:pt x="0" y="63098"/>
                          </a:moveTo>
                          <a:cubicBezTo>
                            <a:pt x="0" y="63098"/>
                            <a:pt x="3932" y="77614"/>
                            <a:pt x="18932" y="77070"/>
                          </a:cubicBezTo>
                          <a:cubicBezTo>
                            <a:pt x="34054" y="76525"/>
                            <a:pt x="38892" y="63702"/>
                            <a:pt x="38892" y="63702"/>
                          </a:cubicBezTo>
                          <a:lnTo>
                            <a:pt x="49840" y="20999"/>
                          </a:lnTo>
                          <a:cubicBezTo>
                            <a:pt x="51292" y="8721"/>
                            <a:pt x="48026" y="3156"/>
                            <a:pt x="38106" y="918"/>
                          </a:cubicBezTo>
                          <a:cubicBezTo>
                            <a:pt x="28247" y="-1743"/>
                            <a:pt x="13549" y="918"/>
                            <a:pt x="10041" y="15072"/>
                          </a:cubicBezTo>
                          <a:lnTo>
                            <a:pt x="60" y="63037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35" name="Freihandform: Form 534">
                      <a:extLst>
                        <a:ext uri="{FF2B5EF4-FFF2-40B4-BE49-F238E27FC236}">
                          <a16:creationId xmlns:a16="http://schemas.microsoft.com/office/drawing/2014/main" id="{950C41BC-BEB3-6909-ED89-80620BDCD47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86054" y="3694653"/>
                      <a:ext cx="41227" cy="66339"/>
                    </a:xfrm>
                    <a:custGeom>
                      <a:avLst/>
                      <a:gdLst>
                        <a:gd name="connsiteX0" fmla="*/ 6291 w 41227"/>
                        <a:gd name="connsiteY0" fmla="*/ 58248 h 66339"/>
                        <a:gd name="connsiteX1" fmla="*/ 29699 w 41227"/>
                        <a:gd name="connsiteY1" fmla="*/ 64478 h 66339"/>
                        <a:gd name="connsiteX2" fmla="*/ 40284 w 41227"/>
                        <a:gd name="connsiteY2" fmla="*/ 45485 h 66339"/>
                        <a:gd name="connsiteX3" fmla="*/ 38832 w 41227"/>
                        <a:gd name="connsiteY3" fmla="*/ 13730 h 66339"/>
                        <a:gd name="connsiteX4" fmla="*/ 21533 w 41227"/>
                        <a:gd name="connsiteY4" fmla="*/ 0 h 66339"/>
                        <a:gd name="connsiteX5" fmla="*/ 0 w 41227"/>
                        <a:gd name="connsiteY5" fmla="*/ 13065 h 66339"/>
                        <a:gd name="connsiteX6" fmla="*/ 6351 w 41227"/>
                        <a:gd name="connsiteY6" fmla="*/ 58187 h 6633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1227" h="66339">
                          <a:moveTo>
                            <a:pt x="6291" y="58248"/>
                          </a:moveTo>
                          <a:cubicBezTo>
                            <a:pt x="6291" y="58248"/>
                            <a:pt x="12279" y="71010"/>
                            <a:pt x="29699" y="64478"/>
                          </a:cubicBezTo>
                          <a:cubicBezTo>
                            <a:pt x="45909" y="58429"/>
                            <a:pt x="40284" y="45485"/>
                            <a:pt x="40284" y="45485"/>
                          </a:cubicBezTo>
                          <a:lnTo>
                            <a:pt x="38832" y="13730"/>
                          </a:lnTo>
                          <a:cubicBezTo>
                            <a:pt x="36957" y="5323"/>
                            <a:pt x="31392" y="0"/>
                            <a:pt x="21533" y="0"/>
                          </a:cubicBezTo>
                          <a:cubicBezTo>
                            <a:pt x="7258" y="0"/>
                            <a:pt x="2964" y="4657"/>
                            <a:pt x="0" y="13065"/>
                          </a:cubicBezTo>
                          <a:lnTo>
                            <a:pt x="6351" y="58187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36" name="Freihandform: Form 535">
                      <a:extLst>
                        <a:ext uri="{FF2B5EF4-FFF2-40B4-BE49-F238E27FC236}">
                          <a16:creationId xmlns:a16="http://schemas.microsoft.com/office/drawing/2014/main" id="{2F815B3C-D461-287F-B835-EFFEFBE0E3E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92405" y="3728005"/>
                      <a:ext cx="46792" cy="87136"/>
                    </a:xfrm>
                    <a:custGeom>
                      <a:avLst/>
                      <a:gdLst>
                        <a:gd name="connsiteX0" fmla="*/ 19356 w 46792"/>
                        <a:gd name="connsiteY0" fmla="*/ 61974 h 87136"/>
                        <a:gd name="connsiteX1" fmla="*/ 31271 w 46792"/>
                        <a:gd name="connsiteY1" fmla="*/ 87136 h 87136"/>
                        <a:gd name="connsiteX2" fmla="*/ 45364 w 46792"/>
                        <a:gd name="connsiteY2" fmla="*/ 46671 h 87136"/>
                        <a:gd name="connsiteX3" fmla="*/ 32783 w 46792"/>
                        <a:gd name="connsiteY3" fmla="*/ 9351 h 87136"/>
                        <a:gd name="connsiteX4" fmla="*/ 7682 w 46792"/>
                        <a:gd name="connsiteY4" fmla="*/ 702 h 87136"/>
                        <a:gd name="connsiteX5" fmla="*/ 0 w 46792"/>
                        <a:gd name="connsiteY5" fmla="*/ 25017 h 87136"/>
                        <a:gd name="connsiteX6" fmla="*/ 19416 w 46792"/>
                        <a:gd name="connsiteY6" fmla="*/ 62035 h 8713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6792" h="87136">
                          <a:moveTo>
                            <a:pt x="19356" y="61974"/>
                          </a:moveTo>
                          <a:lnTo>
                            <a:pt x="31271" y="87136"/>
                          </a:lnTo>
                          <a:cubicBezTo>
                            <a:pt x="47844" y="80362"/>
                            <a:pt x="48389" y="59978"/>
                            <a:pt x="45364" y="46671"/>
                          </a:cubicBezTo>
                          <a:cubicBezTo>
                            <a:pt x="42340" y="33304"/>
                            <a:pt x="32783" y="9351"/>
                            <a:pt x="32783" y="9351"/>
                          </a:cubicBezTo>
                          <a:cubicBezTo>
                            <a:pt x="26130" y="3666"/>
                            <a:pt x="14275" y="-2020"/>
                            <a:pt x="7682" y="702"/>
                          </a:cubicBezTo>
                          <a:cubicBezTo>
                            <a:pt x="1089" y="3363"/>
                            <a:pt x="726" y="16307"/>
                            <a:pt x="0" y="25017"/>
                          </a:cubicBezTo>
                          <a:lnTo>
                            <a:pt x="19416" y="62035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522" name="Grafik 297">
                    <a:extLst>
                      <a:ext uri="{FF2B5EF4-FFF2-40B4-BE49-F238E27FC236}">
                        <a16:creationId xmlns:a16="http://schemas.microsoft.com/office/drawing/2014/main" id="{CE6FFF64-B795-A00B-31E9-5F92E44BEBDB}"/>
                      </a:ext>
                    </a:extLst>
                  </p:cNvPr>
                  <p:cNvGrpSpPr/>
                  <p:nvPr/>
                </p:nvGrpSpPr>
                <p:grpSpPr>
                  <a:xfrm>
                    <a:off x="151880" y="3632666"/>
                    <a:ext cx="59919" cy="164209"/>
                    <a:chOff x="151880" y="3632666"/>
                    <a:chExt cx="59919" cy="164209"/>
                  </a:xfrm>
                  <a:solidFill>
                    <a:srgbClr val="02787D"/>
                  </a:solidFill>
                </p:grpSpPr>
                <p:sp>
                  <p:nvSpPr>
                    <p:cNvPr id="531" name="Freihandform: Form 530">
                      <a:extLst>
                        <a:ext uri="{FF2B5EF4-FFF2-40B4-BE49-F238E27FC236}">
                          <a16:creationId xmlns:a16="http://schemas.microsoft.com/office/drawing/2014/main" id="{D183F364-BFDB-EEEF-CEEA-767D731448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880" y="3632666"/>
                      <a:ext cx="47698" cy="76503"/>
                    </a:xfrm>
                    <a:custGeom>
                      <a:avLst/>
                      <a:gdLst>
                        <a:gd name="connsiteX0" fmla="*/ 0 w 47698"/>
                        <a:gd name="connsiteY0" fmla="*/ 67492 h 76503"/>
                        <a:gd name="connsiteX1" fmla="*/ 20505 w 47698"/>
                        <a:gd name="connsiteY1" fmla="*/ 76202 h 76503"/>
                        <a:gd name="connsiteX2" fmla="*/ 37562 w 47698"/>
                        <a:gd name="connsiteY2" fmla="*/ 60355 h 76503"/>
                        <a:gd name="connsiteX3" fmla="*/ 47542 w 47698"/>
                        <a:gd name="connsiteY3" fmla="*/ 21160 h 76503"/>
                        <a:gd name="connsiteX4" fmla="*/ 36231 w 47698"/>
                        <a:gd name="connsiteY4" fmla="*/ 897 h 76503"/>
                        <a:gd name="connsiteX5" fmla="*/ 8770 w 47698"/>
                        <a:gd name="connsiteY5" fmla="*/ 14748 h 76503"/>
                        <a:gd name="connsiteX6" fmla="*/ 0 w 47698"/>
                        <a:gd name="connsiteY6" fmla="*/ 67492 h 765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7698" h="76503">
                          <a:moveTo>
                            <a:pt x="0" y="67492"/>
                          </a:moveTo>
                          <a:cubicBezTo>
                            <a:pt x="0" y="67492"/>
                            <a:pt x="4960" y="78440"/>
                            <a:pt x="20505" y="76202"/>
                          </a:cubicBezTo>
                          <a:cubicBezTo>
                            <a:pt x="35142" y="74085"/>
                            <a:pt x="37562" y="60355"/>
                            <a:pt x="37562" y="60355"/>
                          </a:cubicBezTo>
                          <a:lnTo>
                            <a:pt x="47542" y="21160"/>
                          </a:lnTo>
                          <a:cubicBezTo>
                            <a:pt x="48389" y="11361"/>
                            <a:pt x="45969" y="3074"/>
                            <a:pt x="36231" y="897"/>
                          </a:cubicBezTo>
                          <a:cubicBezTo>
                            <a:pt x="26614" y="-1704"/>
                            <a:pt x="12218" y="897"/>
                            <a:pt x="8770" y="14748"/>
                          </a:cubicBezTo>
                          <a:lnTo>
                            <a:pt x="0" y="67492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32" name="Freihandform: Form 531">
                      <a:extLst>
                        <a:ext uri="{FF2B5EF4-FFF2-40B4-BE49-F238E27FC236}">
                          <a16:creationId xmlns:a16="http://schemas.microsoft.com/office/drawing/2014/main" id="{493DC99C-97AF-F6DB-5A67-79CE5E20CAB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880" y="3683991"/>
                      <a:ext cx="48902" cy="63864"/>
                    </a:xfrm>
                    <a:custGeom>
                      <a:avLst/>
                      <a:gdLst>
                        <a:gd name="connsiteX0" fmla="*/ 18267 w 48902"/>
                        <a:gd name="connsiteY0" fmla="*/ 55603 h 63864"/>
                        <a:gd name="connsiteX1" fmla="*/ 38772 w 48902"/>
                        <a:gd name="connsiteY1" fmla="*/ 62801 h 63864"/>
                        <a:gd name="connsiteX2" fmla="*/ 46877 w 48902"/>
                        <a:gd name="connsiteY2" fmla="*/ 37276 h 63864"/>
                        <a:gd name="connsiteX3" fmla="*/ 37562 w 48902"/>
                        <a:gd name="connsiteY3" fmla="*/ 9089 h 63864"/>
                        <a:gd name="connsiteX4" fmla="*/ 19295 w 48902"/>
                        <a:gd name="connsiteY4" fmla="*/ 319 h 63864"/>
                        <a:gd name="connsiteX5" fmla="*/ 0 w 48902"/>
                        <a:gd name="connsiteY5" fmla="*/ 16227 h 63864"/>
                        <a:gd name="connsiteX6" fmla="*/ 18267 w 48902"/>
                        <a:gd name="connsiteY6" fmla="*/ 55603 h 638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8902" h="63864">
                          <a:moveTo>
                            <a:pt x="18267" y="55603"/>
                          </a:moveTo>
                          <a:cubicBezTo>
                            <a:pt x="18267" y="55603"/>
                            <a:pt x="22561" y="67398"/>
                            <a:pt x="38772" y="62801"/>
                          </a:cubicBezTo>
                          <a:cubicBezTo>
                            <a:pt x="54982" y="58083"/>
                            <a:pt x="46877" y="37276"/>
                            <a:pt x="46877" y="37276"/>
                          </a:cubicBezTo>
                          <a:lnTo>
                            <a:pt x="37562" y="9089"/>
                          </a:lnTo>
                          <a:cubicBezTo>
                            <a:pt x="35324" y="137"/>
                            <a:pt x="28065" y="-649"/>
                            <a:pt x="19295" y="319"/>
                          </a:cubicBezTo>
                          <a:cubicBezTo>
                            <a:pt x="10525" y="1287"/>
                            <a:pt x="2117" y="7759"/>
                            <a:pt x="0" y="16227"/>
                          </a:cubicBezTo>
                          <a:lnTo>
                            <a:pt x="18267" y="55603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33" name="Freihandform: Form 532">
                      <a:extLst>
                        <a:ext uri="{FF2B5EF4-FFF2-40B4-BE49-F238E27FC236}">
                          <a16:creationId xmlns:a16="http://schemas.microsoft.com/office/drawing/2014/main" id="{8AD7B189-D355-513F-3AAF-8CAF623C417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68150" y="3716396"/>
                      <a:ext cx="43649" cy="80478"/>
                    </a:xfrm>
                    <a:custGeom>
                      <a:avLst/>
                      <a:gdLst>
                        <a:gd name="connsiteX0" fmla="*/ 16815 w 43649"/>
                        <a:gd name="connsiteY0" fmla="*/ 55800 h 80478"/>
                        <a:gd name="connsiteX1" fmla="*/ 28307 w 43649"/>
                        <a:gd name="connsiteY1" fmla="*/ 80479 h 80478"/>
                        <a:gd name="connsiteX2" fmla="*/ 42340 w 43649"/>
                        <a:gd name="connsiteY2" fmla="*/ 40981 h 80478"/>
                        <a:gd name="connsiteX3" fmla="*/ 30606 w 43649"/>
                        <a:gd name="connsiteY3" fmla="*/ 4871 h 80478"/>
                        <a:gd name="connsiteX4" fmla="*/ 10162 w 43649"/>
                        <a:gd name="connsiteY4" fmla="*/ 1605 h 80478"/>
                        <a:gd name="connsiteX5" fmla="*/ 0 w 43649"/>
                        <a:gd name="connsiteY5" fmla="*/ 18722 h 80478"/>
                        <a:gd name="connsiteX6" fmla="*/ 16876 w 43649"/>
                        <a:gd name="connsiteY6" fmla="*/ 55861 h 8047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3649" h="80478">
                          <a:moveTo>
                            <a:pt x="16815" y="55800"/>
                          </a:moveTo>
                          <a:lnTo>
                            <a:pt x="28307" y="80479"/>
                          </a:lnTo>
                          <a:cubicBezTo>
                            <a:pt x="44578" y="73946"/>
                            <a:pt x="45183" y="54046"/>
                            <a:pt x="42340" y="40981"/>
                          </a:cubicBezTo>
                          <a:cubicBezTo>
                            <a:pt x="39497" y="27916"/>
                            <a:pt x="30606" y="4871"/>
                            <a:pt x="30606" y="4871"/>
                          </a:cubicBezTo>
                          <a:cubicBezTo>
                            <a:pt x="24134" y="-694"/>
                            <a:pt x="16634" y="-1057"/>
                            <a:pt x="10162" y="1605"/>
                          </a:cubicBezTo>
                          <a:cubicBezTo>
                            <a:pt x="3690" y="4206"/>
                            <a:pt x="786" y="10194"/>
                            <a:pt x="0" y="18722"/>
                          </a:cubicBezTo>
                          <a:lnTo>
                            <a:pt x="16876" y="55861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523" name="Grafik 297">
                    <a:extLst>
                      <a:ext uri="{FF2B5EF4-FFF2-40B4-BE49-F238E27FC236}">
                        <a16:creationId xmlns:a16="http://schemas.microsoft.com/office/drawing/2014/main" id="{E62D5ACC-CFAD-3512-4E2D-D86B7F4FAF9F}"/>
                      </a:ext>
                    </a:extLst>
                  </p:cNvPr>
                  <p:cNvGrpSpPr/>
                  <p:nvPr/>
                </p:nvGrpSpPr>
                <p:grpSpPr>
                  <a:xfrm>
                    <a:off x="134278" y="3599477"/>
                    <a:ext cx="56322" cy="153424"/>
                    <a:chOff x="134278" y="3599477"/>
                    <a:chExt cx="56322" cy="153424"/>
                  </a:xfrm>
                  <a:solidFill>
                    <a:srgbClr val="02787D"/>
                  </a:solidFill>
                </p:grpSpPr>
                <p:sp>
                  <p:nvSpPr>
                    <p:cNvPr id="528" name="Freihandform: Form 527">
                      <a:extLst>
                        <a:ext uri="{FF2B5EF4-FFF2-40B4-BE49-F238E27FC236}">
                          <a16:creationId xmlns:a16="http://schemas.microsoft.com/office/drawing/2014/main" id="{B10380FD-62DA-FEC3-15FE-C9AD1672223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278" y="3599477"/>
                      <a:ext cx="44676" cy="72318"/>
                    </a:xfrm>
                    <a:custGeom>
                      <a:avLst/>
                      <a:gdLst>
                        <a:gd name="connsiteX0" fmla="*/ 0 w 44676"/>
                        <a:gd name="connsiteY0" fmla="*/ 63301 h 72318"/>
                        <a:gd name="connsiteX1" fmla="*/ 19537 w 44676"/>
                        <a:gd name="connsiteY1" fmla="*/ 72071 h 72318"/>
                        <a:gd name="connsiteX2" fmla="*/ 34719 w 44676"/>
                        <a:gd name="connsiteY2" fmla="*/ 55256 h 72318"/>
                        <a:gd name="connsiteX3" fmla="*/ 44397 w 44676"/>
                        <a:gd name="connsiteY3" fmla="*/ 19085 h 72318"/>
                        <a:gd name="connsiteX4" fmla="*/ 33570 w 44676"/>
                        <a:gd name="connsiteY4" fmla="*/ 819 h 72318"/>
                        <a:gd name="connsiteX5" fmla="*/ 7984 w 44676"/>
                        <a:gd name="connsiteY5" fmla="*/ 13884 h 72318"/>
                        <a:gd name="connsiteX6" fmla="*/ 60 w 44676"/>
                        <a:gd name="connsiteY6" fmla="*/ 63301 h 7231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4676" h="72318">
                          <a:moveTo>
                            <a:pt x="0" y="63301"/>
                          </a:moveTo>
                          <a:cubicBezTo>
                            <a:pt x="0" y="63301"/>
                            <a:pt x="5867" y="74067"/>
                            <a:pt x="19537" y="72071"/>
                          </a:cubicBezTo>
                          <a:cubicBezTo>
                            <a:pt x="32904" y="70075"/>
                            <a:pt x="34719" y="55256"/>
                            <a:pt x="34719" y="55256"/>
                          </a:cubicBezTo>
                          <a:lnTo>
                            <a:pt x="44397" y="19085"/>
                          </a:lnTo>
                          <a:cubicBezTo>
                            <a:pt x="45667" y="7835"/>
                            <a:pt x="42703" y="2815"/>
                            <a:pt x="33570" y="819"/>
                          </a:cubicBezTo>
                          <a:cubicBezTo>
                            <a:pt x="24557" y="-1601"/>
                            <a:pt x="11129" y="940"/>
                            <a:pt x="7984" y="13884"/>
                          </a:cubicBezTo>
                          <a:lnTo>
                            <a:pt x="60" y="63301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29" name="Freihandform: Form 528">
                      <a:extLst>
                        <a:ext uri="{FF2B5EF4-FFF2-40B4-BE49-F238E27FC236}">
                          <a16:creationId xmlns:a16="http://schemas.microsoft.com/office/drawing/2014/main" id="{30270DD9-F6DE-0BD9-EEA5-CAC037302C9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339" y="3644143"/>
                      <a:ext cx="45538" cy="61600"/>
                    </a:xfrm>
                    <a:custGeom>
                      <a:avLst/>
                      <a:gdLst>
                        <a:gd name="connsiteX0" fmla="*/ 17239 w 45538"/>
                        <a:gd name="connsiteY0" fmla="*/ 55349 h 61600"/>
                        <a:gd name="connsiteX1" fmla="*/ 35808 w 45538"/>
                        <a:gd name="connsiteY1" fmla="*/ 60430 h 61600"/>
                        <a:gd name="connsiteX2" fmla="*/ 43913 w 45538"/>
                        <a:gd name="connsiteY2" fmla="*/ 39562 h 61600"/>
                        <a:gd name="connsiteX3" fmla="*/ 34719 w 45538"/>
                        <a:gd name="connsiteY3" fmla="*/ 10590 h 61600"/>
                        <a:gd name="connsiteX4" fmla="*/ 13972 w 45538"/>
                        <a:gd name="connsiteY4" fmla="*/ 1033 h 61600"/>
                        <a:gd name="connsiteX5" fmla="*/ 0 w 45538"/>
                        <a:gd name="connsiteY5" fmla="*/ 18634 h 61600"/>
                        <a:gd name="connsiteX6" fmla="*/ 17239 w 45538"/>
                        <a:gd name="connsiteY6" fmla="*/ 55349 h 616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5538" h="61600">
                          <a:moveTo>
                            <a:pt x="17239" y="55349"/>
                          </a:moveTo>
                          <a:cubicBezTo>
                            <a:pt x="17239" y="55349"/>
                            <a:pt x="20686" y="64846"/>
                            <a:pt x="35808" y="60430"/>
                          </a:cubicBezTo>
                          <a:cubicBezTo>
                            <a:pt x="50929" y="55894"/>
                            <a:pt x="43913" y="39562"/>
                            <a:pt x="43913" y="39562"/>
                          </a:cubicBezTo>
                          <a:lnTo>
                            <a:pt x="34719" y="10590"/>
                          </a:lnTo>
                          <a:cubicBezTo>
                            <a:pt x="31029" y="3513"/>
                            <a:pt x="24920" y="-2475"/>
                            <a:pt x="13972" y="1033"/>
                          </a:cubicBezTo>
                          <a:cubicBezTo>
                            <a:pt x="3932" y="4843"/>
                            <a:pt x="1936" y="10711"/>
                            <a:pt x="0" y="18634"/>
                          </a:cubicBezTo>
                          <a:lnTo>
                            <a:pt x="17239" y="55349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30" name="Freihandform: Form 529">
                      <a:extLst>
                        <a:ext uri="{FF2B5EF4-FFF2-40B4-BE49-F238E27FC236}">
                          <a16:creationId xmlns:a16="http://schemas.microsoft.com/office/drawing/2014/main" id="{90DD7C28-D406-B2B8-C073-059380D9CBC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581" y="3678059"/>
                      <a:ext cx="41019" cy="74842"/>
                    </a:xfrm>
                    <a:custGeom>
                      <a:avLst/>
                      <a:gdLst>
                        <a:gd name="connsiteX0" fmla="*/ 15968 w 41019"/>
                        <a:gd name="connsiteY0" fmla="*/ 51858 h 74842"/>
                        <a:gd name="connsiteX1" fmla="*/ 26795 w 41019"/>
                        <a:gd name="connsiteY1" fmla="*/ 74842 h 74842"/>
                        <a:gd name="connsiteX2" fmla="*/ 39739 w 41019"/>
                        <a:gd name="connsiteY2" fmla="*/ 37825 h 74842"/>
                        <a:gd name="connsiteX3" fmla="*/ 28610 w 41019"/>
                        <a:gd name="connsiteY3" fmla="*/ 5586 h 74842"/>
                        <a:gd name="connsiteX4" fmla="*/ 9436 w 41019"/>
                        <a:gd name="connsiteY4" fmla="*/ 1110 h 74842"/>
                        <a:gd name="connsiteX5" fmla="*/ 0 w 41019"/>
                        <a:gd name="connsiteY5" fmla="*/ 17139 h 74842"/>
                        <a:gd name="connsiteX6" fmla="*/ 15968 w 41019"/>
                        <a:gd name="connsiteY6" fmla="*/ 51797 h 7484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41019" h="74842">
                          <a:moveTo>
                            <a:pt x="15968" y="51858"/>
                          </a:moveTo>
                          <a:lnTo>
                            <a:pt x="26795" y="74842"/>
                          </a:lnTo>
                          <a:cubicBezTo>
                            <a:pt x="41977" y="68673"/>
                            <a:pt x="42461" y="50043"/>
                            <a:pt x="39739" y="37825"/>
                          </a:cubicBezTo>
                          <a:cubicBezTo>
                            <a:pt x="37017" y="25607"/>
                            <a:pt x="28610" y="5586"/>
                            <a:pt x="28610" y="5586"/>
                          </a:cubicBezTo>
                          <a:cubicBezTo>
                            <a:pt x="22561" y="384"/>
                            <a:pt x="15484" y="-1370"/>
                            <a:pt x="9436" y="1110"/>
                          </a:cubicBezTo>
                          <a:cubicBezTo>
                            <a:pt x="3387" y="3530"/>
                            <a:pt x="726" y="9155"/>
                            <a:pt x="0" y="17139"/>
                          </a:cubicBezTo>
                          <a:lnTo>
                            <a:pt x="15968" y="51797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24" name="Freihandform: Form 523">
                    <a:extLst>
                      <a:ext uri="{FF2B5EF4-FFF2-40B4-BE49-F238E27FC236}">
                        <a16:creationId xmlns:a16="http://schemas.microsoft.com/office/drawing/2014/main" id="{D4353AAD-D133-025A-322D-4BD66700A269}"/>
                      </a:ext>
                    </a:extLst>
                  </p:cNvPr>
                  <p:cNvSpPr/>
                  <p:nvPr/>
                </p:nvSpPr>
                <p:spPr>
                  <a:xfrm>
                    <a:off x="141537" y="3462369"/>
                    <a:ext cx="174817" cy="206099"/>
                  </a:xfrm>
                  <a:custGeom>
                    <a:avLst/>
                    <a:gdLst>
                      <a:gd name="connsiteX0" fmla="*/ 52804 w 174817"/>
                      <a:gd name="connsiteY0" fmla="*/ 17257 h 206099"/>
                      <a:gd name="connsiteX1" fmla="*/ 23831 w 174817"/>
                      <a:gd name="connsiteY1" fmla="*/ 59174 h 206099"/>
                      <a:gd name="connsiteX2" fmla="*/ 0 w 174817"/>
                      <a:gd name="connsiteY2" fmla="*/ 154742 h 206099"/>
                      <a:gd name="connsiteX3" fmla="*/ 121879 w 174817"/>
                      <a:gd name="connsiteY3" fmla="*/ 206034 h 206099"/>
                      <a:gd name="connsiteX4" fmla="*/ 137787 w 174817"/>
                      <a:gd name="connsiteY4" fmla="*/ 181174 h 206099"/>
                      <a:gd name="connsiteX5" fmla="*/ 174623 w 174817"/>
                      <a:gd name="connsiteY5" fmla="*/ 68670 h 206099"/>
                      <a:gd name="connsiteX6" fmla="*/ 168332 w 174817"/>
                      <a:gd name="connsiteY6" fmla="*/ 27721 h 206099"/>
                      <a:gd name="connsiteX7" fmla="*/ 52804 w 174817"/>
                      <a:gd name="connsiteY7" fmla="*/ 17257 h 2060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74817" h="206099">
                        <a:moveTo>
                          <a:pt x="52804" y="17257"/>
                        </a:moveTo>
                        <a:cubicBezTo>
                          <a:pt x="38892" y="30201"/>
                          <a:pt x="35021" y="36068"/>
                          <a:pt x="23831" y="59174"/>
                        </a:cubicBezTo>
                        <a:cubicBezTo>
                          <a:pt x="3327" y="112462"/>
                          <a:pt x="302" y="153472"/>
                          <a:pt x="0" y="154742"/>
                        </a:cubicBezTo>
                        <a:cubicBezTo>
                          <a:pt x="1210" y="158129"/>
                          <a:pt x="24920" y="208151"/>
                          <a:pt x="121879" y="206034"/>
                        </a:cubicBezTo>
                        <a:cubicBezTo>
                          <a:pt x="127988" y="172585"/>
                          <a:pt x="137666" y="181235"/>
                          <a:pt x="137787" y="181174"/>
                        </a:cubicBezTo>
                        <a:cubicBezTo>
                          <a:pt x="137787" y="181174"/>
                          <a:pt x="167667" y="127886"/>
                          <a:pt x="174623" y="68670"/>
                        </a:cubicBezTo>
                        <a:cubicBezTo>
                          <a:pt x="176135" y="55847"/>
                          <a:pt x="168332" y="27721"/>
                          <a:pt x="168332" y="27721"/>
                        </a:cubicBezTo>
                        <a:cubicBezTo>
                          <a:pt x="164038" y="-5667"/>
                          <a:pt x="76152" y="-8570"/>
                          <a:pt x="52804" y="17257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25" name="Freihandform: Form 524">
                    <a:extLst>
                      <a:ext uri="{FF2B5EF4-FFF2-40B4-BE49-F238E27FC236}">
                        <a16:creationId xmlns:a16="http://schemas.microsoft.com/office/drawing/2014/main" id="{87E33AA4-145F-8B1E-6928-47E9E01920E3}"/>
                      </a:ext>
                    </a:extLst>
                  </p:cNvPr>
                  <p:cNvSpPr/>
                  <p:nvPr/>
                </p:nvSpPr>
                <p:spPr>
                  <a:xfrm>
                    <a:off x="253920" y="3485840"/>
                    <a:ext cx="87053" cy="155308"/>
                  </a:xfrm>
                  <a:custGeom>
                    <a:avLst/>
                    <a:gdLst>
                      <a:gd name="connsiteX0" fmla="*/ 55950 w 87053"/>
                      <a:gd name="connsiteY0" fmla="*/ 4250 h 155308"/>
                      <a:gd name="connsiteX1" fmla="*/ 85043 w 87053"/>
                      <a:gd name="connsiteY1" fmla="*/ 131331 h 155308"/>
                      <a:gd name="connsiteX2" fmla="*/ 21835 w 87053"/>
                      <a:gd name="connsiteY2" fmla="*/ 146150 h 155308"/>
                      <a:gd name="connsiteX3" fmla="*/ 0 w 87053"/>
                      <a:gd name="connsiteY3" fmla="*/ 76107 h 155308"/>
                      <a:gd name="connsiteX4" fmla="*/ 55950 w 87053"/>
                      <a:gd name="connsiteY4" fmla="*/ 4190 h 1553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7053" h="155308">
                        <a:moveTo>
                          <a:pt x="55950" y="4250"/>
                        </a:moveTo>
                        <a:cubicBezTo>
                          <a:pt x="77120" y="30682"/>
                          <a:pt x="92785" y="95644"/>
                          <a:pt x="85043" y="131331"/>
                        </a:cubicBezTo>
                        <a:cubicBezTo>
                          <a:pt x="80507" y="158368"/>
                          <a:pt x="26916" y="161392"/>
                          <a:pt x="21835" y="146150"/>
                        </a:cubicBezTo>
                        <a:cubicBezTo>
                          <a:pt x="21835" y="146150"/>
                          <a:pt x="0" y="101028"/>
                          <a:pt x="0" y="76107"/>
                        </a:cubicBezTo>
                        <a:cubicBezTo>
                          <a:pt x="0" y="30924"/>
                          <a:pt x="41312" y="-14138"/>
                          <a:pt x="55950" y="4190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26" name="Freihandform: Form 525">
                    <a:extLst>
                      <a:ext uri="{FF2B5EF4-FFF2-40B4-BE49-F238E27FC236}">
                        <a16:creationId xmlns:a16="http://schemas.microsoft.com/office/drawing/2014/main" id="{1B088C9A-973B-85B0-BE8B-339D17DA5C5A}"/>
                      </a:ext>
                    </a:extLst>
                  </p:cNvPr>
                  <p:cNvSpPr/>
                  <p:nvPr/>
                </p:nvSpPr>
                <p:spPr>
                  <a:xfrm>
                    <a:off x="267523" y="3590194"/>
                    <a:ext cx="71027" cy="149944"/>
                  </a:xfrm>
                  <a:custGeom>
                    <a:avLst/>
                    <a:gdLst>
                      <a:gd name="connsiteX0" fmla="*/ 70956 w 71027"/>
                      <a:gd name="connsiteY0" fmla="*/ 29336 h 149944"/>
                      <a:gd name="connsiteX1" fmla="*/ 51722 w 71027"/>
                      <a:gd name="connsiteY1" fmla="*/ 90910 h 149944"/>
                      <a:gd name="connsiteX2" fmla="*/ 14704 w 71027"/>
                      <a:gd name="connsiteY2" fmla="*/ 149945 h 149944"/>
                      <a:gd name="connsiteX3" fmla="*/ 6 w 71027"/>
                      <a:gd name="connsiteY3" fmla="*/ 123996 h 149944"/>
                      <a:gd name="connsiteX4" fmla="*/ 16035 w 71027"/>
                      <a:gd name="connsiteY4" fmla="*/ 85346 h 149944"/>
                      <a:gd name="connsiteX5" fmla="*/ 8293 w 71027"/>
                      <a:gd name="connsiteY5" fmla="*/ 41796 h 149944"/>
                      <a:gd name="connsiteX6" fmla="*/ 34725 w 71027"/>
                      <a:gd name="connsiteY6" fmla="*/ 423 h 149944"/>
                      <a:gd name="connsiteX7" fmla="*/ 71017 w 71027"/>
                      <a:gd name="connsiteY7" fmla="*/ 29275 h 1499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71027" h="149944">
                        <a:moveTo>
                          <a:pt x="70956" y="29336"/>
                        </a:moveTo>
                        <a:lnTo>
                          <a:pt x="51722" y="90910"/>
                        </a:lnTo>
                        <a:lnTo>
                          <a:pt x="14704" y="149945"/>
                        </a:lnTo>
                        <a:cubicBezTo>
                          <a:pt x="14704" y="149945"/>
                          <a:pt x="974" y="147646"/>
                          <a:pt x="6" y="123996"/>
                        </a:cubicBezTo>
                        <a:cubicBezTo>
                          <a:pt x="-296" y="117040"/>
                          <a:pt x="10349" y="98108"/>
                          <a:pt x="16035" y="85346"/>
                        </a:cubicBezTo>
                        <a:cubicBezTo>
                          <a:pt x="16398" y="62664"/>
                          <a:pt x="8293" y="41796"/>
                          <a:pt x="8293" y="41796"/>
                        </a:cubicBezTo>
                        <a:cubicBezTo>
                          <a:pt x="8293" y="41796"/>
                          <a:pt x="10652" y="4416"/>
                          <a:pt x="34725" y="423"/>
                        </a:cubicBezTo>
                        <a:cubicBezTo>
                          <a:pt x="55895" y="-3085"/>
                          <a:pt x="71501" y="15968"/>
                          <a:pt x="71017" y="29275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27" name="Freihandform: Form 526">
                    <a:extLst>
                      <a:ext uri="{FF2B5EF4-FFF2-40B4-BE49-F238E27FC236}">
                        <a16:creationId xmlns:a16="http://schemas.microsoft.com/office/drawing/2014/main" id="{30C5F3B6-6C0F-E4E7-0524-150BE3041E37}"/>
                      </a:ext>
                    </a:extLst>
                  </p:cNvPr>
                  <p:cNvSpPr/>
                  <p:nvPr/>
                </p:nvSpPr>
                <p:spPr>
                  <a:xfrm>
                    <a:off x="178856" y="3541362"/>
                    <a:ext cx="93208" cy="118390"/>
                  </a:xfrm>
                  <a:custGeom>
                    <a:avLst/>
                    <a:gdLst>
                      <a:gd name="connsiteX0" fmla="*/ 66837 w 93208"/>
                      <a:gd name="connsiteY0" fmla="*/ 23609 h 118390"/>
                      <a:gd name="connsiteX1" fmla="*/ 37078 w 93208"/>
                      <a:gd name="connsiteY1" fmla="*/ 17198 h 118390"/>
                      <a:gd name="connsiteX2" fmla="*/ 0 w 93208"/>
                      <a:gd name="connsiteY2" fmla="*/ 74478 h 118390"/>
                      <a:gd name="connsiteX3" fmla="*/ 86374 w 93208"/>
                      <a:gd name="connsiteY3" fmla="*/ 118391 h 118390"/>
                      <a:gd name="connsiteX4" fmla="*/ 93209 w 93208"/>
                      <a:gd name="connsiteY4" fmla="*/ 103390 h 118390"/>
                      <a:gd name="connsiteX5" fmla="*/ 66837 w 93208"/>
                      <a:gd name="connsiteY5" fmla="*/ 23609 h 1183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3208" h="118390">
                        <a:moveTo>
                          <a:pt x="66837" y="23609"/>
                        </a:moveTo>
                        <a:cubicBezTo>
                          <a:pt x="69861" y="-2400"/>
                          <a:pt x="47844" y="-10263"/>
                          <a:pt x="37078" y="17198"/>
                        </a:cubicBezTo>
                        <a:cubicBezTo>
                          <a:pt x="29941" y="35344"/>
                          <a:pt x="32904" y="48711"/>
                          <a:pt x="0" y="74478"/>
                        </a:cubicBezTo>
                        <a:cubicBezTo>
                          <a:pt x="35445" y="68792"/>
                          <a:pt x="57401" y="83490"/>
                          <a:pt x="86374" y="118391"/>
                        </a:cubicBezTo>
                        <a:cubicBezTo>
                          <a:pt x="90547" y="107080"/>
                          <a:pt x="93148" y="103390"/>
                          <a:pt x="93209" y="103390"/>
                        </a:cubicBezTo>
                        <a:cubicBezTo>
                          <a:pt x="79600" y="95345"/>
                          <a:pt x="62059" y="64619"/>
                          <a:pt x="66837" y="23609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443" name="Grafik 297">
                <a:extLst>
                  <a:ext uri="{FF2B5EF4-FFF2-40B4-BE49-F238E27FC236}">
                    <a16:creationId xmlns:a16="http://schemas.microsoft.com/office/drawing/2014/main" id="{D4461395-0ABE-2AEF-A023-D968D0044AEE}"/>
                  </a:ext>
                </a:extLst>
              </p:cNvPr>
              <p:cNvGrpSpPr/>
              <p:nvPr/>
            </p:nvGrpSpPr>
            <p:grpSpPr>
              <a:xfrm>
                <a:off x="194280" y="2857225"/>
                <a:ext cx="247629" cy="636603"/>
                <a:chOff x="194280" y="2857225"/>
                <a:chExt cx="247629" cy="636603"/>
              </a:xfrm>
            </p:grpSpPr>
            <p:sp>
              <p:nvSpPr>
                <p:cNvPr id="515" name="Freihandform: Form 514">
                  <a:extLst>
                    <a:ext uri="{FF2B5EF4-FFF2-40B4-BE49-F238E27FC236}">
                      <a16:creationId xmlns:a16="http://schemas.microsoft.com/office/drawing/2014/main" id="{637CA28D-1A4E-3B85-E38D-4756735FC76D}"/>
                    </a:ext>
                  </a:extLst>
                </p:cNvPr>
                <p:cNvSpPr/>
                <p:nvPr/>
              </p:nvSpPr>
              <p:spPr>
                <a:xfrm>
                  <a:off x="194280" y="2955333"/>
                  <a:ext cx="244484" cy="537175"/>
                </a:xfrm>
                <a:custGeom>
                  <a:avLst/>
                  <a:gdLst>
                    <a:gd name="connsiteX0" fmla="*/ 0 w 244484"/>
                    <a:gd name="connsiteY0" fmla="*/ 526712 h 537175"/>
                    <a:gd name="connsiteX1" fmla="*/ 115589 w 244484"/>
                    <a:gd name="connsiteY1" fmla="*/ 537176 h 537175"/>
                    <a:gd name="connsiteX2" fmla="*/ 244484 w 244484"/>
                    <a:gd name="connsiteY2" fmla="*/ 34356 h 537175"/>
                    <a:gd name="connsiteX3" fmla="*/ 34114 w 244484"/>
                    <a:gd name="connsiteY3" fmla="*/ 0 h 537175"/>
                    <a:gd name="connsiteX4" fmla="*/ 0 w 244484"/>
                    <a:gd name="connsiteY4" fmla="*/ 526712 h 5371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4484" h="537175">
                      <a:moveTo>
                        <a:pt x="0" y="526712"/>
                      </a:moveTo>
                      <a:lnTo>
                        <a:pt x="115589" y="537176"/>
                      </a:lnTo>
                      <a:lnTo>
                        <a:pt x="244484" y="34356"/>
                      </a:lnTo>
                      <a:lnTo>
                        <a:pt x="34114" y="0"/>
                      </a:lnTo>
                      <a:lnTo>
                        <a:pt x="0" y="526712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16" name="Freihandform: Form 515">
                  <a:extLst>
                    <a:ext uri="{FF2B5EF4-FFF2-40B4-BE49-F238E27FC236}">
                      <a16:creationId xmlns:a16="http://schemas.microsoft.com/office/drawing/2014/main" id="{08691BD8-D68C-023F-17A1-2D0F63E9B55D}"/>
                    </a:ext>
                  </a:extLst>
                </p:cNvPr>
                <p:cNvSpPr/>
                <p:nvPr/>
              </p:nvSpPr>
              <p:spPr>
                <a:xfrm>
                  <a:off x="228032" y="2857225"/>
                  <a:ext cx="213878" cy="213878"/>
                </a:xfrm>
                <a:custGeom>
                  <a:avLst/>
                  <a:gdLst>
                    <a:gd name="connsiteX0" fmla="*/ 213878 w 213878"/>
                    <a:gd name="connsiteY0" fmla="*/ 106939 h 213878"/>
                    <a:gd name="connsiteX1" fmla="*/ 106939 w 213878"/>
                    <a:gd name="connsiteY1" fmla="*/ 213878 h 213878"/>
                    <a:gd name="connsiteX2" fmla="*/ 0 w 213878"/>
                    <a:gd name="connsiteY2" fmla="*/ 106939 h 213878"/>
                    <a:gd name="connsiteX3" fmla="*/ 106939 w 213878"/>
                    <a:gd name="connsiteY3" fmla="*/ 0 h 213878"/>
                    <a:gd name="connsiteX4" fmla="*/ 213878 w 213878"/>
                    <a:gd name="connsiteY4" fmla="*/ 106939 h 2138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3878" h="213878">
                      <a:moveTo>
                        <a:pt x="213878" y="106939"/>
                      </a:moveTo>
                      <a:cubicBezTo>
                        <a:pt x="213878" y="166000"/>
                        <a:pt x="166000" y="213878"/>
                        <a:pt x="106939" y="213878"/>
                      </a:cubicBezTo>
                      <a:cubicBezTo>
                        <a:pt x="47878" y="213878"/>
                        <a:pt x="0" y="166000"/>
                        <a:pt x="0" y="106939"/>
                      </a:cubicBezTo>
                      <a:cubicBezTo>
                        <a:pt x="0" y="47878"/>
                        <a:pt x="47878" y="0"/>
                        <a:pt x="106939" y="0"/>
                      </a:cubicBezTo>
                      <a:cubicBezTo>
                        <a:pt x="166000" y="0"/>
                        <a:pt x="213878" y="47878"/>
                        <a:pt x="213878" y="106939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17" name="Freihandform: Form 516">
                  <a:extLst>
                    <a:ext uri="{FF2B5EF4-FFF2-40B4-BE49-F238E27FC236}">
                      <a16:creationId xmlns:a16="http://schemas.microsoft.com/office/drawing/2014/main" id="{ACCE64DE-1DD9-803B-FA2F-67AF79187855}"/>
                    </a:ext>
                  </a:extLst>
                </p:cNvPr>
                <p:cNvSpPr/>
                <p:nvPr/>
              </p:nvSpPr>
              <p:spPr>
                <a:xfrm>
                  <a:off x="194280" y="3406377"/>
                  <a:ext cx="134944" cy="87451"/>
                </a:xfrm>
                <a:custGeom>
                  <a:avLst/>
                  <a:gdLst>
                    <a:gd name="connsiteX0" fmla="*/ 4899 w 134944"/>
                    <a:gd name="connsiteY0" fmla="*/ 0 h 87451"/>
                    <a:gd name="connsiteX1" fmla="*/ 0 w 134944"/>
                    <a:gd name="connsiteY1" fmla="*/ 75607 h 87451"/>
                    <a:gd name="connsiteX2" fmla="*/ 115528 w 134944"/>
                    <a:gd name="connsiteY2" fmla="*/ 86071 h 87451"/>
                    <a:gd name="connsiteX3" fmla="*/ 134944 w 134944"/>
                    <a:gd name="connsiteY3" fmla="*/ 10283 h 87451"/>
                    <a:gd name="connsiteX4" fmla="*/ 4839 w 134944"/>
                    <a:gd name="connsiteY4" fmla="*/ 0 h 874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4944" h="87451">
                      <a:moveTo>
                        <a:pt x="4899" y="0"/>
                      </a:moveTo>
                      <a:lnTo>
                        <a:pt x="0" y="75607"/>
                      </a:lnTo>
                      <a:cubicBezTo>
                        <a:pt x="36655" y="86676"/>
                        <a:pt x="75305" y="89519"/>
                        <a:pt x="115528" y="86071"/>
                      </a:cubicBezTo>
                      <a:lnTo>
                        <a:pt x="134944" y="10283"/>
                      </a:lnTo>
                      <a:lnTo>
                        <a:pt x="4839" y="0"/>
                      </a:ln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44" name="Grafik 297">
                <a:extLst>
                  <a:ext uri="{FF2B5EF4-FFF2-40B4-BE49-F238E27FC236}">
                    <a16:creationId xmlns:a16="http://schemas.microsoft.com/office/drawing/2014/main" id="{6EE3CA8A-5D79-7190-B092-01E8A0980722}"/>
                  </a:ext>
                </a:extLst>
              </p:cNvPr>
              <p:cNvGrpSpPr/>
              <p:nvPr/>
            </p:nvGrpSpPr>
            <p:grpSpPr>
              <a:xfrm>
                <a:off x="228455" y="2290411"/>
                <a:ext cx="494351" cy="698612"/>
                <a:chOff x="228455" y="2290411"/>
                <a:chExt cx="494351" cy="698612"/>
              </a:xfrm>
            </p:grpSpPr>
            <p:sp>
              <p:nvSpPr>
                <p:cNvPr id="512" name="Freihandform: Form 511">
                  <a:extLst>
                    <a:ext uri="{FF2B5EF4-FFF2-40B4-BE49-F238E27FC236}">
                      <a16:creationId xmlns:a16="http://schemas.microsoft.com/office/drawing/2014/main" id="{02D2D830-4E8F-CACC-A723-484561E15C92}"/>
                    </a:ext>
                  </a:extLst>
                </p:cNvPr>
                <p:cNvSpPr/>
                <p:nvPr/>
              </p:nvSpPr>
              <p:spPr>
                <a:xfrm>
                  <a:off x="237467" y="2772000"/>
                  <a:ext cx="265472" cy="217023"/>
                </a:xfrm>
                <a:custGeom>
                  <a:avLst/>
                  <a:gdLst>
                    <a:gd name="connsiteX0" fmla="*/ 0 w 265472"/>
                    <a:gd name="connsiteY0" fmla="*/ 148191 h 217023"/>
                    <a:gd name="connsiteX1" fmla="*/ 201297 w 265472"/>
                    <a:gd name="connsiteY1" fmla="*/ 217024 h 217023"/>
                    <a:gd name="connsiteX2" fmla="*/ 265473 w 265472"/>
                    <a:gd name="connsiteY2" fmla="*/ 95084 h 217023"/>
                    <a:gd name="connsiteX3" fmla="*/ 65567 w 265472"/>
                    <a:gd name="connsiteY3" fmla="*/ 0 h 217023"/>
                    <a:gd name="connsiteX4" fmla="*/ 0 w 265472"/>
                    <a:gd name="connsiteY4" fmla="*/ 148191 h 2170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65472" h="217023">
                      <a:moveTo>
                        <a:pt x="0" y="148191"/>
                      </a:moveTo>
                      <a:lnTo>
                        <a:pt x="201297" y="217024"/>
                      </a:lnTo>
                      <a:lnTo>
                        <a:pt x="265473" y="95084"/>
                      </a:lnTo>
                      <a:lnTo>
                        <a:pt x="65567" y="0"/>
                      </a:lnTo>
                      <a:lnTo>
                        <a:pt x="0" y="148191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13" name="Freihandform: Form 512">
                  <a:extLst>
                    <a:ext uri="{FF2B5EF4-FFF2-40B4-BE49-F238E27FC236}">
                      <a16:creationId xmlns:a16="http://schemas.microsoft.com/office/drawing/2014/main" id="{FC53764D-7A5E-89F3-7D75-76620096DE38}"/>
                    </a:ext>
                  </a:extLst>
                </p:cNvPr>
                <p:cNvSpPr/>
                <p:nvPr/>
              </p:nvSpPr>
              <p:spPr>
                <a:xfrm>
                  <a:off x="228455" y="2356643"/>
                  <a:ext cx="479532" cy="616231"/>
                </a:xfrm>
                <a:custGeom>
                  <a:avLst/>
                  <a:gdLst>
                    <a:gd name="connsiteX0" fmla="*/ 213576 w 479532"/>
                    <a:gd name="connsiteY0" fmla="*/ 60 h 616231"/>
                    <a:gd name="connsiteX1" fmla="*/ 0 w 479532"/>
                    <a:gd name="connsiteY1" fmla="*/ 525321 h 616231"/>
                    <a:gd name="connsiteX2" fmla="*/ 252347 w 479532"/>
                    <a:gd name="connsiteY2" fmla="*/ 616231 h 616231"/>
                    <a:gd name="connsiteX3" fmla="*/ 479533 w 479532"/>
                    <a:gd name="connsiteY3" fmla="*/ 153574 h 616231"/>
                    <a:gd name="connsiteX4" fmla="*/ 213515 w 479532"/>
                    <a:gd name="connsiteY4" fmla="*/ 0 h 6162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9532" h="616231">
                      <a:moveTo>
                        <a:pt x="213576" y="60"/>
                      </a:moveTo>
                      <a:cubicBezTo>
                        <a:pt x="130650" y="109963"/>
                        <a:pt x="0" y="525321"/>
                        <a:pt x="0" y="525321"/>
                      </a:cubicBezTo>
                      <a:lnTo>
                        <a:pt x="252347" y="616231"/>
                      </a:lnTo>
                      <a:lnTo>
                        <a:pt x="479533" y="153574"/>
                      </a:lnTo>
                      <a:cubicBezTo>
                        <a:pt x="397272" y="103854"/>
                        <a:pt x="353359" y="77785"/>
                        <a:pt x="213515" y="0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14" name="Freihandform: Form 513">
                  <a:extLst>
                    <a:ext uri="{FF2B5EF4-FFF2-40B4-BE49-F238E27FC236}">
                      <a16:creationId xmlns:a16="http://schemas.microsoft.com/office/drawing/2014/main" id="{C1104507-52E8-2450-9023-4EF050DD8FCF}"/>
                    </a:ext>
                  </a:extLst>
                </p:cNvPr>
                <p:cNvSpPr/>
                <p:nvPr/>
              </p:nvSpPr>
              <p:spPr>
                <a:xfrm>
                  <a:off x="414570" y="2290411"/>
                  <a:ext cx="308236" cy="308236"/>
                </a:xfrm>
                <a:custGeom>
                  <a:avLst/>
                  <a:gdLst>
                    <a:gd name="connsiteX0" fmla="*/ 308236 w 308236"/>
                    <a:gd name="connsiteY0" fmla="*/ 154118 h 308236"/>
                    <a:gd name="connsiteX1" fmla="*/ 154118 w 308236"/>
                    <a:gd name="connsiteY1" fmla="*/ 308237 h 308236"/>
                    <a:gd name="connsiteX2" fmla="*/ 0 w 308236"/>
                    <a:gd name="connsiteY2" fmla="*/ 154118 h 308236"/>
                    <a:gd name="connsiteX3" fmla="*/ 154118 w 308236"/>
                    <a:gd name="connsiteY3" fmla="*/ 0 h 308236"/>
                    <a:gd name="connsiteX4" fmla="*/ 308236 w 308236"/>
                    <a:gd name="connsiteY4" fmla="*/ 154118 h 3082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8236" h="308236">
                      <a:moveTo>
                        <a:pt x="308236" y="154118"/>
                      </a:moveTo>
                      <a:cubicBezTo>
                        <a:pt x="308236" y="239235"/>
                        <a:pt x="239235" y="308237"/>
                        <a:pt x="154118" y="308237"/>
                      </a:cubicBezTo>
                      <a:cubicBezTo>
                        <a:pt x="69001" y="308237"/>
                        <a:pt x="0" y="239235"/>
                        <a:pt x="0" y="154118"/>
                      </a:cubicBezTo>
                      <a:cubicBezTo>
                        <a:pt x="0" y="69001"/>
                        <a:pt x="69001" y="0"/>
                        <a:pt x="154118" y="0"/>
                      </a:cubicBezTo>
                      <a:cubicBezTo>
                        <a:pt x="239235" y="0"/>
                        <a:pt x="308236" y="69001"/>
                        <a:pt x="308236" y="154118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45" name="Grafik 297">
                <a:extLst>
                  <a:ext uri="{FF2B5EF4-FFF2-40B4-BE49-F238E27FC236}">
                    <a16:creationId xmlns:a16="http://schemas.microsoft.com/office/drawing/2014/main" id="{BBC17421-AF19-A5BA-2BCE-2B36A318F1AC}"/>
                  </a:ext>
                </a:extLst>
              </p:cNvPr>
              <p:cNvGrpSpPr/>
              <p:nvPr/>
            </p:nvGrpSpPr>
            <p:grpSpPr>
              <a:xfrm>
                <a:off x="1011981" y="4899413"/>
                <a:ext cx="528917" cy="254497"/>
                <a:chOff x="1011981" y="4899413"/>
                <a:chExt cx="528917" cy="254497"/>
              </a:xfrm>
            </p:grpSpPr>
            <p:sp>
              <p:nvSpPr>
                <p:cNvPr id="510" name="Freihandform: Form 509">
                  <a:extLst>
                    <a:ext uri="{FF2B5EF4-FFF2-40B4-BE49-F238E27FC236}">
                      <a16:creationId xmlns:a16="http://schemas.microsoft.com/office/drawing/2014/main" id="{97967DA4-7FE6-8B27-3558-4A150E9C56BF}"/>
                    </a:ext>
                  </a:extLst>
                </p:cNvPr>
                <p:cNvSpPr/>
                <p:nvPr/>
              </p:nvSpPr>
              <p:spPr>
                <a:xfrm>
                  <a:off x="1011981" y="4899413"/>
                  <a:ext cx="527136" cy="243225"/>
                </a:xfrm>
                <a:custGeom>
                  <a:avLst/>
                  <a:gdLst>
                    <a:gd name="connsiteX0" fmla="*/ 14162 w 527136"/>
                    <a:gd name="connsiteY0" fmla="*/ 88430 h 243225"/>
                    <a:gd name="connsiteX1" fmla="*/ 5876 w 527136"/>
                    <a:gd name="connsiteY1" fmla="*/ 184845 h 243225"/>
                    <a:gd name="connsiteX2" fmla="*/ 25776 w 527136"/>
                    <a:gd name="connsiteY2" fmla="*/ 233778 h 243225"/>
                    <a:gd name="connsiteX3" fmla="*/ 45071 w 527136"/>
                    <a:gd name="connsiteY3" fmla="*/ 242609 h 243225"/>
                    <a:gd name="connsiteX4" fmla="*/ 505550 w 527136"/>
                    <a:gd name="connsiteY4" fmla="*/ 72281 h 243225"/>
                    <a:gd name="connsiteX5" fmla="*/ 490066 w 527136"/>
                    <a:gd name="connsiteY5" fmla="*/ 0 h 243225"/>
                    <a:gd name="connsiteX6" fmla="*/ 307822 w 527136"/>
                    <a:gd name="connsiteY6" fmla="*/ 27824 h 243225"/>
                    <a:gd name="connsiteX7" fmla="*/ 169309 w 527136"/>
                    <a:gd name="connsiteY7" fmla="*/ 18811 h 243225"/>
                    <a:gd name="connsiteX8" fmla="*/ 146506 w 527136"/>
                    <a:gd name="connsiteY8" fmla="*/ 63510 h 243225"/>
                    <a:gd name="connsiteX9" fmla="*/ 14223 w 527136"/>
                    <a:gd name="connsiteY9" fmla="*/ 88491 h 2432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27136" h="243225">
                      <a:moveTo>
                        <a:pt x="14162" y="88430"/>
                      </a:moveTo>
                      <a:cubicBezTo>
                        <a:pt x="14162" y="88430"/>
                        <a:pt x="-11121" y="138876"/>
                        <a:pt x="5876" y="184845"/>
                      </a:cubicBezTo>
                      <a:cubicBezTo>
                        <a:pt x="14646" y="208616"/>
                        <a:pt x="21360" y="224222"/>
                        <a:pt x="25776" y="233778"/>
                      </a:cubicBezTo>
                      <a:cubicBezTo>
                        <a:pt x="29163" y="241037"/>
                        <a:pt x="37329" y="244787"/>
                        <a:pt x="45071" y="242609"/>
                      </a:cubicBezTo>
                      <a:cubicBezTo>
                        <a:pt x="110819" y="223980"/>
                        <a:pt x="446516" y="134702"/>
                        <a:pt x="505550" y="72281"/>
                      </a:cubicBezTo>
                      <a:cubicBezTo>
                        <a:pt x="561923" y="12702"/>
                        <a:pt x="490066" y="0"/>
                        <a:pt x="490066" y="0"/>
                      </a:cubicBezTo>
                      <a:cubicBezTo>
                        <a:pt x="490066" y="0"/>
                        <a:pt x="389599" y="46454"/>
                        <a:pt x="307822" y="27824"/>
                      </a:cubicBezTo>
                      <a:cubicBezTo>
                        <a:pt x="234997" y="11251"/>
                        <a:pt x="178926" y="11614"/>
                        <a:pt x="169309" y="18811"/>
                      </a:cubicBezTo>
                      <a:cubicBezTo>
                        <a:pt x="159692" y="26009"/>
                        <a:pt x="161506" y="44336"/>
                        <a:pt x="146506" y="63510"/>
                      </a:cubicBezTo>
                      <a:cubicBezTo>
                        <a:pt x="131505" y="82685"/>
                        <a:pt x="23840" y="79963"/>
                        <a:pt x="14223" y="88491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11" name="Freihandform: Form 510">
                  <a:extLst>
                    <a:ext uri="{FF2B5EF4-FFF2-40B4-BE49-F238E27FC236}">
                      <a16:creationId xmlns:a16="http://schemas.microsoft.com/office/drawing/2014/main" id="{EC4D3F3F-20B1-CD3D-B525-013D4BD72365}"/>
                    </a:ext>
                  </a:extLst>
                </p:cNvPr>
                <p:cNvSpPr/>
                <p:nvPr/>
              </p:nvSpPr>
              <p:spPr>
                <a:xfrm>
                  <a:off x="1023059" y="4902195"/>
                  <a:ext cx="517840" cy="251715"/>
                </a:xfrm>
                <a:custGeom>
                  <a:avLst/>
                  <a:gdLst>
                    <a:gd name="connsiteX0" fmla="*/ 37380 w 517840"/>
                    <a:gd name="connsiteY0" fmla="*/ 251077 h 251715"/>
                    <a:gd name="connsiteX1" fmla="*/ 432596 w 517840"/>
                    <a:gd name="connsiteY1" fmla="*/ 120004 h 251715"/>
                    <a:gd name="connsiteX2" fmla="*/ 496469 w 517840"/>
                    <a:gd name="connsiteY2" fmla="*/ 74761 h 251715"/>
                    <a:gd name="connsiteX3" fmla="*/ 489694 w 517840"/>
                    <a:gd name="connsiteY3" fmla="*/ 0 h 251715"/>
                    <a:gd name="connsiteX4" fmla="*/ 474149 w 517840"/>
                    <a:gd name="connsiteY4" fmla="*/ 33146 h 251715"/>
                    <a:gd name="connsiteX5" fmla="*/ 0 w 517840"/>
                    <a:gd name="connsiteY5" fmla="*/ 196035 h 251715"/>
                    <a:gd name="connsiteX6" fmla="*/ 17964 w 517840"/>
                    <a:gd name="connsiteY6" fmla="*/ 242186 h 251715"/>
                    <a:gd name="connsiteX7" fmla="*/ 37320 w 517840"/>
                    <a:gd name="connsiteY7" fmla="*/ 251077 h 251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17840" h="251715">
                      <a:moveTo>
                        <a:pt x="37380" y="251077"/>
                      </a:moveTo>
                      <a:cubicBezTo>
                        <a:pt x="38832" y="250654"/>
                        <a:pt x="431386" y="120609"/>
                        <a:pt x="432596" y="120004"/>
                      </a:cubicBezTo>
                      <a:cubicBezTo>
                        <a:pt x="466407" y="105004"/>
                        <a:pt x="484734" y="87221"/>
                        <a:pt x="496469" y="74761"/>
                      </a:cubicBezTo>
                      <a:cubicBezTo>
                        <a:pt x="538688" y="30122"/>
                        <a:pt x="508506" y="4234"/>
                        <a:pt x="489694" y="0"/>
                      </a:cubicBezTo>
                      <a:cubicBezTo>
                        <a:pt x="486428" y="7319"/>
                        <a:pt x="483283" y="23469"/>
                        <a:pt x="474149" y="33146"/>
                      </a:cubicBezTo>
                      <a:cubicBezTo>
                        <a:pt x="411788" y="99076"/>
                        <a:pt x="41856" y="185631"/>
                        <a:pt x="0" y="196035"/>
                      </a:cubicBezTo>
                      <a:cubicBezTo>
                        <a:pt x="7621" y="216298"/>
                        <a:pt x="13972" y="233476"/>
                        <a:pt x="17964" y="242186"/>
                      </a:cubicBezTo>
                      <a:cubicBezTo>
                        <a:pt x="21352" y="249505"/>
                        <a:pt x="29517" y="253315"/>
                        <a:pt x="37320" y="251077"/>
                      </a:cubicBezTo>
                      <a:close/>
                    </a:path>
                  </a:pathLst>
                </a:custGeom>
                <a:solidFill>
                  <a:srgbClr val="404040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46" name="Grafik 297">
                <a:extLst>
                  <a:ext uri="{FF2B5EF4-FFF2-40B4-BE49-F238E27FC236}">
                    <a16:creationId xmlns:a16="http://schemas.microsoft.com/office/drawing/2014/main" id="{1CC421EF-ACF5-3C1C-0BE0-FADC0770E42E}"/>
                  </a:ext>
                </a:extLst>
              </p:cNvPr>
              <p:cNvGrpSpPr/>
              <p:nvPr/>
            </p:nvGrpSpPr>
            <p:grpSpPr>
              <a:xfrm>
                <a:off x="741194" y="4087994"/>
                <a:ext cx="551329" cy="969001"/>
                <a:chOff x="741194" y="4087994"/>
                <a:chExt cx="551329" cy="969001"/>
              </a:xfrm>
              <a:solidFill>
                <a:srgbClr val="02787D"/>
              </a:solidFill>
            </p:grpSpPr>
            <p:sp>
              <p:nvSpPr>
                <p:cNvPr id="508" name="Freihandform: Form 507">
                  <a:extLst>
                    <a:ext uri="{FF2B5EF4-FFF2-40B4-BE49-F238E27FC236}">
                      <a16:creationId xmlns:a16="http://schemas.microsoft.com/office/drawing/2014/main" id="{9611E547-5B3D-6A31-8CEC-A88AAAC29746}"/>
                    </a:ext>
                  </a:extLst>
                </p:cNvPr>
                <p:cNvSpPr/>
                <p:nvPr/>
              </p:nvSpPr>
              <p:spPr>
                <a:xfrm>
                  <a:off x="753352" y="4197221"/>
                  <a:ext cx="539171" cy="859774"/>
                </a:xfrm>
                <a:custGeom>
                  <a:avLst/>
                  <a:gdLst>
                    <a:gd name="connsiteX0" fmla="*/ 258638 w 539171"/>
                    <a:gd name="connsiteY0" fmla="*/ 859637 h 859774"/>
                    <a:gd name="connsiteX1" fmla="*/ 539172 w 539171"/>
                    <a:gd name="connsiteY1" fmla="*/ 728141 h 859774"/>
                    <a:gd name="connsiteX2" fmla="*/ 437253 w 539171"/>
                    <a:gd name="connsiteY2" fmla="*/ 484685 h 859774"/>
                    <a:gd name="connsiteX3" fmla="*/ 309930 w 539171"/>
                    <a:gd name="connsiteY3" fmla="*/ 10535 h 859774"/>
                    <a:gd name="connsiteX4" fmla="*/ 0 w 539171"/>
                    <a:gd name="connsiteY4" fmla="*/ 117172 h 859774"/>
                    <a:gd name="connsiteX5" fmla="*/ 169905 w 539171"/>
                    <a:gd name="connsiteY5" fmla="*/ 715257 h 859774"/>
                    <a:gd name="connsiteX6" fmla="*/ 258638 w 539171"/>
                    <a:gd name="connsiteY6" fmla="*/ 859637 h 859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9171" h="859774">
                      <a:moveTo>
                        <a:pt x="258638" y="859637"/>
                      </a:moveTo>
                      <a:lnTo>
                        <a:pt x="539172" y="728141"/>
                      </a:lnTo>
                      <a:cubicBezTo>
                        <a:pt x="539172" y="728141"/>
                        <a:pt x="448685" y="518133"/>
                        <a:pt x="437253" y="484685"/>
                      </a:cubicBezTo>
                      <a:cubicBezTo>
                        <a:pt x="425821" y="451236"/>
                        <a:pt x="309930" y="10535"/>
                        <a:pt x="309930" y="10535"/>
                      </a:cubicBezTo>
                      <a:cubicBezTo>
                        <a:pt x="194099" y="-20676"/>
                        <a:pt x="72160" y="18217"/>
                        <a:pt x="0" y="117172"/>
                      </a:cubicBezTo>
                      <a:cubicBezTo>
                        <a:pt x="26372" y="349740"/>
                        <a:pt x="140327" y="605535"/>
                        <a:pt x="169905" y="715257"/>
                      </a:cubicBezTo>
                      <a:cubicBezTo>
                        <a:pt x="187930" y="782276"/>
                        <a:pt x="222407" y="863569"/>
                        <a:pt x="258638" y="859637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09" name="Freihandform: Form 508">
                  <a:extLst>
                    <a:ext uri="{FF2B5EF4-FFF2-40B4-BE49-F238E27FC236}">
                      <a16:creationId xmlns:a16="http://schemas.microsoft.com/office/drawing/2014/main" id="{D36E5571-B87B-07E0-E159-205FD9E19A59}"/>
                    </a:ext>
                  </a:extLst>
                </p:cNvPr>
                <p:cNvSpPr/>
                <p:nvPr/>
              </p:nvSpPr>
              <p:spPr>
                <a:xfrm>
                  <a:off x="741194" y="4087994"/>
                  <a:ext cx="328196" cy="328196"/>
                </a:xfrm>
                <a:custGeom>
                  <a:avLst/>
                  <a:gdLst>
                    <a:gd name="connsiteX0" fmla="*/ 328197 w 328196"/>
                    <a:gd name="connsiteY0" fmla="*/ 164098 h 328196"/>
                    <a:gd name="connsiteX1" fmla="*/ 164098 w 328196"/>
                    <a:gd name="connsiteY1" fmla="*/ 328197 h 328196"/>
                    <a:gd name="connsiteX2" fmla="*/ 0 w 328196"/>
                    <a:gd name="connsiteY2" fmla="*/ 164098 h 328196"/>
                    <a:gd name="connsiteX3" fmla="*/ 164098 w 328196"/>
                    <a:gd name="connsiteY3" fmla="*/ 0 h 328196"/>
                    <a:gd name="connsiteX4" fmla="*/ 328197 w 328196"/>
                    <a:gd name="connsiteY4" fmla="*/ 164098 h 3281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8196" h="328196">
                      <a:moveTo>
                        <a:pt x="328197" y="164098"/>
                      </a:moveTo>
                      <a:cubicBezTo>
                        <a:pt x="328197" y="254727"/>
                        <a:pt x="254727" y="328197"/>
                        <a:pt x="164098" y="328197"/>
                      </a:cubicBezTo>
                      <a:cubicBezTo>
                        <a:pt x="73469" y="328197"/>
                        <a:pt x="0" y="254727"/>
                        <a:pt x="0" y="164098"/>
                      </a:cubicBezTo>
                      <a:cubicBezTo>
                        <a:pt x="0" y="73469"/>
                        <a:pt x="73469" y="0"/>
                        <a:pt x="164098" y="0"/>
                      </a:cubicBezTo>
                      <a:cubicBezTo>
                        <a:pt x="254727" y="0"/>
                        <a:pt x="328197" y="73469"/>
                        <a:pt x="328197" y="164098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47" name="Grafik 297">
                <a:extLst>
                  <a:ext uri="{FF2B5EF4-FFF2-40B4-BE49-F238E27FC236}">
                    <a16:creationId xmlns:a16="http://schemas.microsoft.com/office/drawing/2014/main" id="{85535C82-6A18-CD1C-1D6B-0CC834EB345E}"/>
                  </a:ext>
                </a:extLst>
              </p:cNvPr>
              <p:cNvGrpSpPr/>
              <p:nvPr/>
            </p:nvGrpSpPr>
            <p:grpSpPr>
              <a:xfrm>
                <a:off x="415417" y="3058220"/>
                <a:ext cx="647865" cy="1260991"/>
                <a:chOff x="415417" y="3058220"/>
                <a:chExt cx="647865" cy="1260991"/>
              </a:xfrm>
              <a:solidFill>
                <a:srgbClr val="02787D"/>
              </a:solidFill>
            </p:grpSpPr>
            <p:sp>
              <p:nvSpPr>
                <p:cNvPr id="506" name="Freihandform: Form 505">
                  <a:extLst>
                    <a:ext uri="{FF2B5EF4-FFF2-40B4-BE49-F238E27FC236}">
                      <a16:creationId xmlns:a16="http://schemas.microsoft.com/office/drawing/2014/main" id="{72B4AD12-A856-A4FD-7B92-6832651E2939}"/>
                    </a:ext>
                  </a:extLst>
                </p:cNvPr>
                <p:cNvSpPr/>
                <p:nvPr/>
              </p:nvSpPr>
              <p:spPr>
                <a:xfrm>
                  <a:off x="422857" y="3262239"/>
                  <a:ext cx="640425" cy="1056972"/>
                </a:xfrm>
                <a:custGeom>
                  <a:avLst/>
                  <a:gdLst>
                    <a:gd name="connsiteX0" fmla="*/ 60 w 640425"/>
                    <a:gd name="connsiteY0" fmla="*/ 100588 h 1056972"/>
                    <a:gd name="connsiteX1" fmla="*/ 478021 w 640425"/>
                    <a:gd name="connsiteY1" fmla="*/ 0 h 1056972"/>
                    <a:gd name="connsiteX2" fmla="*/ 559616 w 640425"/>
                    <a:gd name="connsiteY2" fmla="*/ 405861 h 1056972"/>
                    <a:gd name="connsiteX3" fmla="*/ 640425 w 640425"/>
                    <a:gd name="connsiteY3" fmla="*/ 945517 h 1056972"/>
                    <a:gd name="connsiteX4" fmla="*/ 330616 w 640425"/>
                    <a:gd name="connsiteY4" fmla="*/ 1052396 h 1056972"/>
                    <a:gd name="connsiteX5" fmla="*/ 0 w 640425"/>
                    <a:gd name="connsiteY5" fmla="*/ 100588 h 10569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40425" h="1056972">
                      <a:moveTo>
                        <a:pt x="60" y="100588"/>
                      </a:moveTo>
                      <a:cubicBezTo>
                        <a:pt x="6049" y="100588"/>
                        <a:pt x="478021" y="0"/>
                        <a:pt x="478021" y="0"/>
                      </a:cubicBezTo>
                      <a:cubicBezTo>
                        <a:pt x="478021" y="0"/>
                        <a:pt x="539837" y="303216"/>
                        <a:pt x="559616" y="405861"/>
                      </a:cubicBezTo>
                      <a:cubicBezTo>
                        <a:pt x="635466" y="799141"/>
                        <a:pt x="640425" y="945517"/>
                        <a:pt x="640425" y="945517"/>
                      </a:cubicBezTo>
                      <a:cubicBezTo>
                        <a:pt x="558043" y="1025600"/>
                        <a:pt x="438765" y="1072295"/>
                        <a:pt x="330616" y="1052396"/>
                      </a:cubicBezTo>
                      <a:cubicBezTo>
                        <a:pt x="265654" y="932149"/>
                        <a:pt x="64055" y="315555"/>
                        <a:pt x="0" y="100588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07" name="Freihandform: Form 506">
                  <a:extLst>
                    <a:ext uri="{FF2B5EF4-FFF2-40B4-BE49-F238E27FC236}">
                      <a16:creationId xmlns:a16="http://schemas.microsoft.com/office/drawing/2014/main" id="{4B99A835-138C-BC87-FFF0-0E3DED940A49}"/>
                    </a:ext>
                  </a:extLst>
                </p:cNvPr>
                <p:cNvSpPr/>
                <p:nvPr/>
              </p:nvSpPr>
              <p:spPr>
                <a:xfrm>
                  <a:off x="415417" y="3058220"/>
                  <a:ext cx="488847" cy="488847"/>
                </a:xfrm>
                <a:custGeom>
                  <a:avLst/>
                  <a:gdLst>
                    <a:gd name="connsiteX0" fmla="*/ 488848 w 488847"/>
                    <a:gd name="connsiteY0" fmla="*/ 244424 h 488847"/>
                    <a:gd name="connsiteX1" fmla="*/ 244424 w 488847"/>
                    <a:gd name="connsiteY1" fmla="*/ 488848 h 488847"/>
                    <a:gd name="connsiteX2" fmla="*/ 0 w 488847"/>
                    <a:gd name="connsiteY2" fmla="*/ 244424 h 488847"/>
                    <a:gd name="connsiteX3" fmla="*/ 244424 w 488847"/>
                    <a:gd name="connsiteY3" fmla="*/ 0 h 488847"/>
                    <a:gd name="connsiteX4" fmla="*/ 488848 w 488847"/>
                    <a:gd name="connsiteY4" fmla="*/ 244424 h 488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88847" h="488847">
                      <a:moveTo>
                        <a:pt x="488848" y="244424"/>
                      </a:moveTo>
                      <a:cubicBezTo>
                        <a:pt x="488848" y="379415"/>
                        <a:pt x="379415" y="488848"/>
                        <a:pt x="244424" y="488848"/>
                      </a:cubicBezTo>
                      <a:cubicBezTo>
                        <a:pt x="109432" y="488848"/>
                        <a:pt x="0" y="379415"/>
                        <a:pt x="0" y="244424"/>
                      </a:cubicBezTo>
                      <a:cubicBezTo>
                        <a:pt x="0" y="109432"/>
                        <a:pt x="109432" y="0"/>
                        <a:pt x="244424" y="0"/>
                      </a:cubicBezTo>
                      <a:cubicBezTo>
                        <a:pt x="379415" y="0"/>
                        <a:pt x="488848" y="109432"/>
                        <a:pt x="488848" y="244424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48" name="Grafik 297">
                <a:extLst>
                  <a:ext uri="{FF2B5EF4-FFF2-40B4-BE49-F238E27FC236}">
                    <a16:creationId xmlns:a16="http://schemas.microsoft.com/office/drawing/2014/main" id="{4B7284E3-EFC1-07A4-27EE-C32269180D4F}"/>
                  </a:ext>
                </a:extLst>
              </p:cNvPr>
              <p:cNvGrpSpPr/>
              <p:nvPr/>
            </p:nvGrpSpPr>
            <p:grpSpPr>
              <a:xfrm>
                <a:off x="48" y="4970823"/>
                <a:ext cx="543691" cy="226344"/>
                <a:chOff x="48" y="4970823"/>
                <a:chExt cx="543691" cy="226344"/>
              </a:xfrm>
            </p:grpSpPr>
            <p:sp>
              <p:nvSpPr>
                <p:cNvPr id="504" name="Freihandform: Form 503">
                  <a:extLst>
                    <a:ext uri="{FF2B5EF4-FFF2-40B4-BE49-F238E27FC236}">
                      <a16:creationId xmlns:a16="http://schemas.microsoft.com/office/drawing/2014/main" id="{7DBB9D57-810A-306C-501D-B0FD06E4FFAC}"/>
                    </a:ext>
                  </a:extLst>
                </p:cNvPr>
                <p:cNvSpPr/>
                <p:nvPr/>
              </p:nvSpPr>
              <p:spPr>
                <a:xfrm>
                  <a:off x="2105" y="4970823"/>
                  <a:ext cx="540897" cy="215866"/>
                </a:xfrm>
                <a:custGeom>
                  <a:avLst/>
                  <a:gdLst>
                    <a:gd name="connsiteX0" fmla="*/ 55780 w 540897"/>
                    <a:gd name="connsiteY0" fmla="*/ 23 h 215866"/>
                    <a:gd name="connsiteX1" fmla="*/ 4548 w 540897"/>
                    <a:gd name="connsiteY1" fmla="*/ 82163 h 215866"/>
                    <a:gd name="connsiteX2" fmla="*/ 12 w 540897"/>
                    <a:gd name="connsiteY2" fmla="*/ 134786 h 215866"/>
                    <a:gd name="connsiteX3" fmla="*/ 13198 w 540897"/>
                    <a:gd name="connsiteY3" fmla="*/ 151420 h 215866"/>
                    <a:gd name="connsiteX4" fmla="*/ 500775 w 540897"/>
                    <a:gd name="connsiteY4" fmla="*/ 209244 h 215866"/>
                    <a:gd name="connsiteX5" fmla="*/ 519889 w 540897"/>
                    <a:gd name="connsiteY5" fmla="*/ 137810 h 215866"/>
                    <a:gd name="connsiteX6" fmla="*/ 344903 w 540897"/>
                    <a:gd name="connsiteY6" fmla="*/ 79683 h 215866"/>
                    <a:gd name="connsiteX7" fmla="*/ 225685 w 540897"/>
                    <a:gd name="connsiteY7" fmla="*/ 8612 h 215866"/>
                    <a:gd name="connsiteX8" fmla="*/ 185038 w 540897"/>
                    <a:gd name="connsiteY8" fmla="*/ 38069 h 215866"/>
                    <a:gd name="connsiteX9" fmla="*/ 55901 w 540897"/>
                    <a:gd name="connsiteY9" fmla="*/ 144 h 215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40897" h="215866">
                      <a:moveTo>
                        <a:pt x="55780" y="23"/>
                      </a:moveTo>
                      <a:cubicBezTo>
                        <a:pt x="55780" y="23"/>
                        <a:pt x="10294" y="33472"/>
                        <a:pt x="4548" y="82163"/>
                      </a:cubicBezTo>
                      <a:cubicBezTo>
                        <a:pt x="1524" y="107386"/>
                        <a:pt x="435" y="124322"/>
                        <a:pt x="12" y="134786"/>
                      </a:cubicBezTo>
                      <a:cubicBezTo>
                        <a:pt x="-291" y="142831"/>
                        <a:pt x="5274" y="149847"/>
                        <a:pt x="13198" y="151420"/>
                      </a:cubicBezTo>
                      <a:cubicBezTo>
                        <a:pt x="80216" y="164727"/>
                        <a:pt x="419784" y="237975"/>
                        <a:pt x="500775" y="209244"/>
                      </a:cubicBezTo>
                      <a:cubicBezTo>
                        <a:pt x="578076" y="181844"/>
                        <a:pt x="519889" y="137810"/>
                        <a:pt x="519889" y="137810"/>
                      </a:cubicBezTo>
                      <a:cubicBezTo>
                        <a:pt x="519889" y="137810"/>
                        <a:pt x="409260" y="133455"/>
                        <a:pt x="344903" y="79683"/>
                      </a:cubicBezTo>
                      <a:cubicBezTo>
                        <a:pt x="287623" y="31778"/>
                        <a:pt x="237480" y="6616"/>
                        <a:pt x="225685" y="8612"/>
                      </a:cubicBezTo>
                      <a:cubicBezTo>
                        <a:pt x="213830" y="10608"/>
                        <a:pt x="207116" y="27786"/>
                        <a:pt x="185038" y="38069"/>
                      </a:cubicBezTo>
                      <a:cubicBezTo>
                        <a:pt x="162961" y="48352"/>
                        <a:pt x="68361" y="-3061"/>
                        <a:pt x="55901" y="144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05" name="Freihandform: Form 504">
                  <a:extLst>
                    <a:ext uri="{FF2B5EF4-FFF2-40B4-BE49-F238E27FC236}">
                      <a16:creationId xmlns:a16="http://schemas.microsoft.com/office/drawing/2014/main" id="{B68519FB-8957-5E7F-9E52-393A77D3B2BA}"/>
                    </a:ext>
                  </a:extLst>
                </p:cNvPr>
                <p:cNvSpPr/>
                <p:nvPr/>
              </p:nvSpPr>
              <p:spPr>
                <a:xfrm>
                  <a:off x="48" y="5067745"/>
                  <a:ext cx="543691" cy="129422"/>
                </a:xfrm>
                <a:custGeom>
                  <a:avLst/>
                  <a:gdLst>
                    <a:gd name="connsiteX0" fmla="*/ 13137 w 543691"/>
                    <a:gd name="connsiteY0" fmla="*/ 65990 h 129422"/>
                    <a:gd name="connsiteX1" fmla="*/ 424744 w 543691"/>
                    <a:gd name="connsiteY1" fmla="*/ 129077 h 129422"/>
                    <a:gd name="connsiteX2" fmla="*/ 502227 w 543691"/>
                    <a:gd name="connsiteY2" fmla="*/ 117887 h 129422"/>
                    <a:gd name="connsiteX3" fmla="*/ 530232 w 543691"/>
                    <a:gd name="connsiteY3" fmla="*/ 48208 h 129422"/>
                    <a:gd name="connsiteX4" fmla="*/ 501319 w 543691"/>
                    <a:gd name="connsiteY4" fmla="*/ 70648 h 129422"/>
                    <a:gd name="connsiteX5" fmla="*/ 4972 w 543691"/>
                    <a:gd name="connsiteY5" fmla="*/ 0 h 129422"/>
                    <a:gd name="connsiteX6" fmla="*/ 12 w 543691"/>
                    <a:gd name="connsiteY6" fmla="*/ 49236 h 129422"/>
                    <a:gd name="connsiteX7" fmla="*/ 13198 w 543691"/>
                    <a:gd name="connsiteY7" fmla="*/ 65930 h 1294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43691" h="129422">
                      <a:moveTo>
                        <a:pt x="13137" y="65990"/>
                      </a:moveTo>
                      <a:cubicBezTo>
                        <a:pt x="14649" y="66293"/>
                        <a:pt x="423353" y="129017"/>
                        <a:pt x="424744" y="129077"/>
                      </a:cubicBezTo>
                      <a:cubicBezTo>
                        <a:pt x="461701" y="131134"/>
                        <a:pt x="486077" y="123573"/>
                        <a:pt x="502227" y="117887"/>
                      </a:cubicBezTo>
                      <a:cubicBezTo>
                        <a:pt x="560112" y="97322"/>
                        <a:pt x="544990" y="60547"/>
                        <a:pt x="530232" y="48208"/>
                      </a:cubicBezTo>
                      <a:cubicBezTo>
                        <a:pt x="524002" y="53228"/>
                        <a:pt x="513840" y="66232"/>
                        <a:pt x="501319" y="70648"/>
                      </a:cubicBezTo>
                      <a:cubicBezTo>
                        <a:pt x="415792" y="101012"/>
                        <a:pt x="46949" y="9799"/>
                        <a:pt x="4972" y="0"/>
                      </a:cubicBezTo>
                      <a:cubicBezTo>
                        <a:pt x="2552" y="21533"/>
                        <a:pt x="375" y="39679"/>
                        <a:pt x="12" y="49236"/>
                      </a:cubicBezTo>
                      <a:cubicBezTo>
                        <a:pt x="-291" y="57280"/>
                        <a:pt x="5274" y="64357"/>
                        <a:pt x="13198" y="65930"/>
                      </a:cubicBezTo>
                      <a:close/>
                    </a:path>
                  </a:pathLst>
                </a:custGeom>
                <a:solidFill>
                  <a:srgbClr val="404040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49" name="Grafik 297">
                <a:extLst>
                  <a:ext uri="{FF2B5EF4-FFF2-40B4-BE49-F238E27FC236}">
                    <a16:creationId xmlns:a16="http://schemas.microsoft.com/office/drawing/2014/main" id="{3E2371E5-9841-29FD-1BE5-D75653BE075A}"/>
                  </a:ext>
                </a:extLst>
              </p:cNvPr>
              <p:cNvGrpSpPr/>
              <p:nvPr/>
            </p:nvGrpSpPr>
            <p:grpSpPr>
              <a:xfrm>
                <a:off x="16751" y="4091502"/>
                <a:ext cx="531069" cy="960275"/>
                <a:chOff x="16751" y="4091502"/>
                <a:chExt cx="531069" cy="960275"/>
              </a:xfrm>
              <a:solidFill>
                <a:srgbClr val="009999"/>
              </a:solidFill>
            </p:grpSpPr>
            <p:sp>
              <p:nvSpPr>
                <p:cNvPr id="502" name="Freihandform: Form 501">
                  <a:extLst>
                    <a:ext uri="{FF2B5EF4-FFF2-40B4-BE49-F238E27FC236}">
                      <a16:creationId xmlns:a16="http://schemas.microsoft.com/office/drawing/2014/main" id="{79D2DE6D-3175-B50E-D65B-213C1BF301D6}"/>
                    </a:ext>
                  </a:extLst>
                </p:cNvPr>
                <p:cNvSpPr/>
                <p:nvPr/>
              </p:nvSpPr>
              <p:spPr>
                <a:xfrm>
                  <a:off x="16751" y="4199963"/>
                  <a:ext cx="525868" cy="851813"/>
                </a:xfrm>
                <a:custGeom>
                  <a:avLst/>
                  <a:gdLst>
                    <a:gd name="connsiteX0" fmla="*/ 206926 w 525868"/>
                    <a:gd name="connsiteY0" fmla="*/ 20132 h 851813"/>
                    <a:gd name="connsiteX1" fmla="*/ 29944 w 525868"/>
                    <a:gd name="connsiteY1" fmla="*/ 616221 h 851813"/>
                    <a:gd name="connsiteX2" fmla="*/ 9802 w 525868"/>
                    <a:gd name="connsiteY2" fmla="*/ 803788 h 851813"/>
                    <a:gd name="connsiteX3" fmla="*/ 331406 w 525868"/>
                    <a:gd name="connsiteY3" fmla="*/ 851814 h 851813"/>
                    <a:gd name="connsiteX4" fmla="*/ 384634 w 525868"/>
                    <a:gd name="connsiteY4" fmla="*/ 568498 h 851813"/>
                    <a:gd name="connsiteX5" fmla="*/ 525868 w 525868"/>
                    <a:gd name="connsiteY5" fmla="*/ 96042 h 851813"/>
                    <a:gd name="connsiteX6" fmla="*/ 206926 w 525868"/>
                    <a:gd name="connsiteY6" fmla="*/ 20071 h 851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25868" h="851813">
                      <a:moveTo>
                        <a:pt x="206926" y="20132"/>
                      </a:moveTo>
                      <a:cubicBezTo>
                        <a:pt x="104463" y="230623"/>
                        <a:pt x="63816" y="507770"/>
                        <a:pt x="29944" y="616221"/>
                      </a:cubicBezTo>
                      <a:cubicBezTo>
                        <a:pt x="9258" y="682453"/>
                        <a:pt x="-13425" y="774271"/>
                        <a:pt x="9802" y="803788"/>
                      </a:cubicBezTo>
                      <a:lnTo>
                        <a:pt x="331406" y="851814"/>
                      </a:lnTo>
                      <a:cubicBezTo>
                        <a:pt x="331406" y="851814"/>
                        <a:pt x="365762" y="636605"/>
                        <a:pt x="384634" y="568498"/>
                      </a:cubicBezTo>
                      <a:cubicBezTo>
                        <a:pt x="394069" y="534383"/>
                        <a:pt x="525868" y="96042"/>
                        <a:pt x="525868" y="96042"/>
                      </a:cubicBezTo>
                      <a:cubicBezTo>
                        <a:pt x="444817" y="7611"/>
                        <a:pt x="320881" y="-24749"/>
                        <a:pt x="206926" y="20071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03" name="Freihandform: Form 502">
                  <a:extLst>
                    <a:ext uri="{FF2B5EF4-FFF2-40B4-BE49-F238E27FC236}">
                      <a16:creationId xmlns:a16="http://schemas.microsoft.com/office/drawing/2014/main" id="{5F088EB1-C9D2-6A00-A932-78B1D88B1DC7}"/>
                    </a:ext>
                  </a:extLst>
                </p:cNvPr>
                <p:cNvSpPr/>
                <p:nvPr/>
              </p:nvSpPr>
              <p:spPr>
                <a:xfrm>
                  <a:off x="220350" y="4091502"/>
                  <a:ext cx="327470" cy="327471"/>
                </a:xfrm>
                <a:custGeom>
                  <a:avLst/>
                  <a:gdLst>
                    <a:gd name="connsiteX0" fmla="*/ 327471 w 327470"/>
                    <a:gd name="connsiteY0" fmla="*/ 163736 h 327471"/>
                    <a:gd name="connsiteX1" fmla="*/ 163735 w 327470"/>
                    <a:gd name="connsiteY1" fmla="*/ 327471 h 327471"/>
                    <a:gd name="connsiteX2" fmla="*/ 0 w 327470"/>
                    <a:gd name="connsiteY2" fmla="*/ 163736 h 327471"/>
                    <a:gd name="connsiteX3" fmla="*/ 163735 w 327470"/>
                    <a:gd name="connsiteY3" fmla="*/ 0 h 327471"/>
                    <a:gd name="connsiteX4" fmla="*/ 327471 w 327470"/>
                    <a:gd name="connsiteY4" fmla="*/ 163736 h 3274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7470" h="327471">
                      <a:moveTo>
                        <a:pt x="327471" y="163736"/>
                      </a:moveTo>
                      <a:cubicBezTo>
                        <a:pt x="327471" y="254164"/>
                        <a:pt x="254164" y="327471"/>
                        <a:pt x="163735" y="327471"/>
                      </a:cubicBezTo>
                      <a:cubicBezTo>
                        <a:pt x="73307" y="327471"/>
                        <a:pt x="0" y="254164"/>
                        <a:pt x="0" y="163736"/>
                      </a:cubicBezTo>
                      <a:cubicBezTo>
                        <a:pt x="0" y="73307"/>
                        <a:pt x="73307" y="0"/>
                        <a:pt x="163735" y="0"/>
                      </a:cubicBezTo>
                      <a:cubicBezTo>
                        <a:pt x="254164" y="0"/>
                        <a:pt x="327471" y="73307"/>
                        <a:pt x="327471" y="163736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50" name="Grafik 297">
                <a:extLst>
                  <a:ext uri="{FF2B5EF4-FFF2-40B4-BE49-F238E27FC236}">
                    <a16:creationId xmlns:a16="http://schemas.microsoft.com/office/drawing/2014/main" id="{AE0D0F21-C209-E7FE-9CC2-5985508EEB17}"/>
                  </a:ext>
                </a:extLst>
              </p:cNvPr>
              <p:cNvGrpSpPr/>
              <p:nvPr/>
            </p:nvGrpSpPr>
            <p:grpSpPr>
              <a:xfrm>
                <a:off x="223798" y="3058220"/>
                <a:ext cx="680467" cy="1246379"/>
                <a:chOff x="223798" y="3058220"/>
                <a:chExt cx="680467" cy="1246379"/>
              </a:xfrm>
            </p:grpSpPr>
            <p:sp>
              <p:nvSpPr>
                <p:cNvPr id="499" name="Freihandform: Form 498">
                  <a:extLst>
                    <a:ext uri="{FF2B5EF4-FFF2-40B4-BE49-F238E27FC236}">
                      <a16:creationId xmlns:a16="http://schemas.microsoft.com/office/drawing/2014/main" id="{BB98583C-63F6-3459-0B2B-9AC436D78BAC}"/>
                    </a:ext>
                  </a:extLst>
                </p:cNvPr>
                <p:cNvSpPr/>
                <p:nvPr/>
              </p:nvSpPr>
              <p:spPr>
                <a:xfrm>
                  <a:off x="415417" y="3058220"/>
                  <a:ext cx="488847" cy="488847"/>
                </a:xfrm>
                <a:custGeom>
                  <a:avLst/>
                  <a:gdLst>
                    <a:gd name="connsiteX0" fmla="*/ 488848 w 488847"/>
                    <a:gd name="connsiteY0" fmla="*/ 244424 h 488847"/>
                    <a:gd name="connsiteX1" fmla="*/ 244424 w 488847"/>
                    <a:gd name="connsiteY1" fmla="*/ 488848 h 488847"/>
                    <a:gd name="connsiteX2" fmla="*/ 0 w 488847"/>
                    <a:gd name="connsiteY2" fmla="*/ 244424 h 488847"/>
                    <a:gd name="connsiteX3" fmla="*/ 244424 w 488847"/>
                    <a:gd name="connsiteY3" fmla="*/ 0 h 488847"/>
                    <a:gd name="connsiteX4" fmla="*/ 488848 w 488847"/>
                    <a:gd name="connsiteY4" fmla="*/ 244424 h 488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88847" h="488847">
                      <a:moveTo>
                        <a:pt x="488848" y="244424"/>
                      </a:moveTo>
                      <a:cubicBezTo>
                        <a:pt x="488848" y="379415"/>
                        <a:pt x="379415" y="488848"/>
                        <a:pt x="244424" y="488848"/>
                      </a:cubicBezTo>
                      <a:cubicBezTo>
                        <a:pt x="109432" y="488848"/>
                        <a:pt x="0" y="379415"/>
                        <a:pt x="0" y="244424"/>
                      </a:cubicBezTo>
                      <a:cubicBezTo>
                        <a:pt x="0" y="109432"/>
                        <a:pt x="109432" y="0"/>
                        <a:pt x="244424" y="0"/>
                      </a:cubicBezTo>
                      <a:cubicBezTo>
                        <a:pt x="379415" y="0"/>
                        <a:pt x="488848" y="109432"/>
                        <a:pt x="488848" y="244424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00" name="Freihandform: Form 499">
                  <a:extLst>
                    <a:ext uri="{FF2B5EF4-FFF2-40B4-BE49-F238E27FC236}">
                      <a16:creationId xmlns:a16="http://schemas.microsoft.com/office/drawing/2014/main" id="{436EA90A-1EB0-44B6-0C18-20EBE76D88D9}"/>
                    </a:ext>
                  </a:extLst>
                </p:cNvPr>
                <p:cNvSpPr/>
                <p:nvPr/>
              </p:nvSpPr>
              <p:spPr>
                <a:xfrm>
                  <a:off x="223798" y="3286434"/>
                  <a:ext cx="674539" cy="1018166"/>
                </a:xfrm>
                <a:custGeom>
                  <a:avLst/>
                  <a:gdLst>
                    <a:gd name="connsiteX0" fmla="*/ 192164 w 674539"/>
                    <a:gd name="connsiteY0" fmla="*/ 0 h 1018166"/>
                    <a:gd name="connsiteX1" fmla="*/ 674539 w 674539"/>
                    <a:gd name="connsiteY1" fmla="*/ 69740 h 1018166"/>
                    <a:gd name="connsiteX2" fmla="*/ 540321 w 674539"/>
                    <a:gd name="connsiteY2" fmla="*/ 510865 h 1018166"/>
                    <a:gd name="connsiteX3" fmla="*/ 318942 w 674539"/>
                    <a:gd name="connsiteY3" fmla="*/ 1009632 h 1018166"/>
                    <a:gd name="connsiteX4" fmla="*/ 0 w 674539"/>
                    <a:gd name="connsiteY4" fmla="*/ 933661 h 1018166"/>
                    <a:gd name="connsiteX5" fmla="*/ 192164 w 674539"/>
                    <a:gd name="connsiteY5" fmla="*/ 0 h 10181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74539" h="1018166">
                      <a:moveTo>
                        <a:pt x="192164" y="0"/>
                      </a:moveTo>
                      <a:cubicBezTo>
                        <a:pt x="197245" y="3206"/>
                        <a:pt x="674539" y="69740"/>
                        <a:pt x="674539" y="69740"/>
                      </a:cubicBezTo>
                      <a:cubicBezTo>
                        <a:pt x="674539" y="69740"/>
                        <a:pt x="578609" y="413603"/>
                        <a:pt x="540321" y="510865"/>
                      </a:cubicBezTo>
                      <a:cubicBezTo>
                        <a:pt x="393522" y="883519"/>
                        <a:pt x="318942" y="1009632"/>
                        <a:pt x="318942" y="1009632"/>
                      </a:cubicBezTo>
                      <a:cubicBezTo>
                        <a:pt x="206439" y="1033040"/>
                        <a:pt x="80567" y="1008483"/>
                        <a:pt x="0" y="933661"/>
                      </a:cubicBezTo>
                      <a:cubicBezTo>
                        <a:pt x="9617" y="797326"/>
                        <a:pt x="136577" y="272429"/>
                        <a:pt x="192164" y="0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01" name="Freihandform: Form 500">
                  <a:extLst>
                    <a:ext uri="{FF2B5EF4-FFF2-40B4-BE49-F238E27FC236}">
                      <a16:creationId xmlns:a16="http://schemas.microsoft.com/office/drawing/2014/main" id="{C72F0A03-FCA5-7497-0ED8-86927D56DB6E}"/>
                    </a:ext>
                  </a:extLst>
                </p:cNvPr>
                <p:cNvSpPr/>
                <p:nvPr/>
              </p:nvSpPr>
              <p:spPr>
                <a:xfrm>
                  <a:off x="378884" y="3286434"/>
                  <a:ext cx="519392" cy="173110"/>
                </a:xfrm>
                <a:custGeom>
                  <a:avLst/>
                  <a:gdLst>
                    <a:gd name="connsiteX0" fmla="*/ 490239 w 519392"/>
                    <a:gd name="connsiteY0" fmla="*/ 172566 h 173110"/>
                    <a:gd name="connsiteX1" fmla="*/ 519393 w 519392"/>
                    <a:gd name="connsiteY1" fmla="*/ 69740 h 173110"/>
                    <a:gd name="connsiteX2" fmla="*/ 37017 w 519392"/>
                    <a:gd name="connsiteY2" fmla="*/ 0 h 173110"/>
                    <a:gd name="connsiteX3" fmla="*/ 0 w 519392"/>
                    <a:gd name="connsiteY3" fmla="*/ 173111 h 173110"/>
                    <a:gd name="connsiteX4" fmla="*/ 490178 w 519392"/>
                    <a:gd name="connsiteY4" fmla="*/ 172566 h 173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9392" h="173110">
                      <a:moveTo>
                        <a:pt x="490239" y="172566"/>
                      </a:moveTo>
                      <a:cubicBezTo>
                        <a:pt x="507417" y="112685"/>
                        <a:pt x="519393" y="69740"/>
                        <a:pt x="519393" y="69740"/>
                      </a:cubicBezTo>
                      <a:cubicBezTo>
                        <a:pt x="519393" y="69740"/>
                        <a:pt x="42098" y="3206"/>
                        <a:pt x="37017" y="0"/>
                      </a:cubicBezTo>
                      <a:cubicBezTo>
                        <a:pt x="26735" y="50385"/>
                        <a:pt x="13972" y="109480"/>
                        <a:pt x="0" y="173111"/>
                      </a:cubicBezTo>
                      <a:cubicBezTo>
                        <a:pt x="109963" y="109782"/>
                        <a:pt x="360012" y="115468"/>
                        <a:pt x="490178" y="172566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51" name="Grafik 297">
                <a:extLst>
                  <a:ext uri="{FF2B5EF4-FFF2-40B4-BE49-F238E27FC236}">
                    <a16:creationId xmlns:a16="http://schemas.microsoft.com/office/drawing/2014/main" id="{B824F49C-E81B-CD8C-A43A-0F8BB843E070}"/>
                  </a:ext>
                </a:extLst>
              </p:cNvPr>
              <p:cNvGrpSpPr/>
              <p:nvPr/>
            </p:nvGrpSpPr>
            <p:grpSpPr>
              <a:xfrm>
                <a:off x="477899" y="1918236"/>
                <a:ext cx="322234" cy="429852"/>
                <a:chOff x="477899" y="1918236"/>
                <a:chExt cx="322234" cy="429852"/>
              </a:xfrm>
            </p:grpSpPr>
            <p:sp>
              <p:nvSpPr>
                <p:cNvPr id="497" name="Freihandform: Form 496">
                  <a:extLst>
                    <a:ext uri="{FF2B5EF4-FFF2-40B4-BE49-F238E27FC236}">
                      <a16:creationId xmlns:a16="http://schemas.microsoft.com/office/drawing/2014/main" id="{43A019C3-C3C7-1603-907B-1308C5C1A8B7}"/>
                    </a:ext>
                  </a:extLst>
                </p:cNvPr>
                <p:cNvSpPr/>
                <p:nvPr/>
              </p:nvSpPr>
              <p:spPr>
                <a:xfrm>
                  <a:off x="477899" y="1918236"/>
                  <a:ext cx="322234" cy="429852"/>
                </a:xfrm>
                <a:custGeom>
                  <a:avLst/>
                  <a:gdLst>
                    <a:gd name="connsiteX0" fmla="*/ 0 w 322234"/>
                    <a:gd name="connsiteY0" fmla="*/ 329049 h 429852"/>
                    <a:gd name="connsiteX1" fmla="*/ 227972 w 322234"/>
                    <a:gd name="connsiteY1" fmla="*/ 410342 h 429852"/>
                    <a:gd name="connsiteX2" fmla="*/ 314043 w 322234"/>
                    <a:gd name="connsiteY2" fmla="*/ 168943 h 429852"/>
                    <a:gd name="connsiteX3" fmla="*/ 86071 w 322234"/>
                    <a:gd name="connsiteY3" fmla="*/ 87649 h 429852"/>
                    <a:gd name="connsiteX4" fmla="*/ 0 w 322234"/>
                    <a:gd name="connsiteY4" fmla="*/ 329049 h 4298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2234" h="429852">
                      <a:moveTo>
                        <a:pt x="0" y="329049"/>
                      </a:moveTo>
                      <a:cubicBezTo>
                        <a:pt x="16331" y="408467"/>
                        <a:pt x="157687" y="459941"/>
                        <a:pt x="227972" y="410342"/>
                      </a:cubicBezTo>
                      <a:lnTo>
                        <a:pt x="314043" y="168943"/>
                      </a:lnTo>
                      <a:cubicBezTo>
                        <a:pt x="366968" y="-5076"/>
                        <a:pt x="148493" y="-65441"/>
                        <a:pt x="86071" y="87649"/>
                      </a:cubicBezTo>
                      <a:lnTo>
                        <a:pt x="0" y="329049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98" name="Freihandform: Form 497">
                  <a:extLst>
                    <a:ext uri="{FF2B5EF4-FFF2-40B4-BE49-F238E27FC236}">
                      <a16:creationId xmlns:a16="http://schemas.microsoft.com/office/drawing/2014/main" id="{CC56B803-39C9-0F96-A7BB-88B2FCA97E86}"/>
                    </a:ext>
                  </a:extLst>
                </p:cNvPr>
                <p:cNvSpPr/>
                <p:nvPr/>
              </p:nvSpPr>
              <p:spPr>
                <a:xfrm>
                  <a:off x="663707" y="2057624"/>
                  <a:ext cx="118237" cy="209535"/>
                </a:xfrm>
                <a:custGeom>
                  <a:avLst/>
                  <a:gdLst>
                    <a:gd name="connsiteX0" fmla="*/ 64060 w 118237"/>
                    <a:gd name="connsiteY0" fmla="*/ 209500 h 209535"/>
                    <a:gd name="connsiteX1" fmla="*/ 114505 w 118237"/>
                    <a:gd name="connsiteY1" fmla="*/ 68567 h 209535"/>
                    <a:gd name="connsiteX2" fmla="*/ 10772 w 118237"/>
                    <a:gd name="connsiteY2" fmla="*/ 97903 h 209535"/>
                    <a:gd name="connsiteX3" fmla="*/ 21599 w 118237"/>
                    <a:gd name="connsiteY3" fmla="*/ 160325 h 209535"/>
                    <a:gd name="connsiteX4" fmla="*/ 64060 w 118237"/>
                    <a:gd name="connsiteY4" fmla="*/ 209500 h 2095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8237" h="209535">
                      <a:moveTo>
                        <a:pt x="64060" y="209500"/>
                      </a:moveTo>
                      <a:lnTo>
                        <a:pt x="114505" y="68567"/>
                      </a:lnTo>
                      <a:cubicBezTo>
                        <a:pt x="147168" y="-43816"/>
                        <a:pt x="-46871" y="-6677"/>
                        <a:pt x="10772" y="97903"/>
                      </a:cubicBezTo>
                      <a:cubicBezTo>
                        <a:pt x="22990" y="118226"/>
                        <a:pt x="26256" y="127360"/>
                        <a:pt x="21599" y="160325"/>
                      </a:cubicBezTo>
                      <a:cubicBezTo>
                        <a:pt x="14159" y="212645"/>
                        <a:pt x="64060" y="209500"/>
                        <a:pt x="64060" y="209500"/>
                      </a:cubicBezTo>
                      <a:close/>
                    </a:path>
                  </a:pathLst>
                </a:custGeom>
                <a:solidFill>
                  <a:srgbClr val="4B2E1A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52" name="Grafik 297">
                <a:extLst>
                  <a:ext uri="{FF2B5EF4-FFF2-40B4-BE49-F238E27FC236}">
                    <a16:creationId xmlns:a16="http://schemas.microsoft.com/office/drawing/2014/main" id="{EC6829D8-3637-FAAE-CD33-E98B3495345F}"/>
                  </a:ext>
                </a:extLst>
              </p:cNvPr>
              <p:cNvGrpSpPr/>
              <p:nvPr/>
            </p:nvGrpSpPr>
            <p:grpSpPr>
              <a:xfrm>
                <a:off x="443945" y="1659724"/>
                <a:ext cx="481759" cy="506110"/>
                <a:chOff x="443945" y="1659724"/>
                <a:chExt cx="481759" cy="506110"/>
              </a:xfrm>
            </p:grpSpPr>
            <p:sp>
              <p:nvSpPr>
                <p:cNvPr id="487" name="Freihandform: Form 486">
                  <a:extLst>
                    <a:ext uri="{FF2B5EF4-FFF2-40B4-BE49-F238E27FC236}">
                      <a16:creationId xmlns:a16="http://schemas.microsoft.com/office/drawing/2014/main" id="{A97860D3-40A8-EDD3-64B6-3289C6C00248}"/>
                    </a:ext>
                  </a:extLst>
                </p:cNvPr>
                <p:cNvSpPr/>
                <p:nvPr/>
              </p:nvSpPr>
              <p:spPr>
                <a:xfrm rot="-274200">
                  <a:off x="468855" y="1719942"/>
                  <a:ext cx="390981" cy="349246"/>
                </a:xfrm>
                <a:custGeom>
                  <a:avLst/>
                  <a:gdLst>
                    <a:gd name="connsiteX0" fmla="*/ 390981 w 390981"/>
                    <a:gd name="connsiteY0" fmla="*/ 174623 h 349246"/>
                    <a:gd name="connsiteX1" fmla="*/ 195491 w 390981"/>
                    <a:gd name="connsiteY1" fmla="*/ 349246 h 349246"/>
                    <a:gd name="connsiteX2" fmla="*/ 0 w 390981"/>
                    <a:gd name="connsiteY2" fmla="*/ 174623 h 349246"/>
                    <a:gd name="connsiteX3" fmla="*/ 195491 w 390981"/>
                    <a:gd name="connsiteY3" fmla="*/ 0 h 349246"/>
                    <a:gd name="connsiteX4" fmla="*/ 390981 w 390981"/>
                    <a:gd name="connsiteY4" fmla="*/ 174623 h 3492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0981" h="349246">
                      <a:moveTo>
                        <a:pt x="390981" y="174623"/>
                      </a:moveTo>
                      <a:cubicBezTo>
                        <a:pt x="390981" y="271065"/>
                        <a:pt x="303457" y="349246"/>
                        <a:pt x="195491" y="349246"/>
                      </a:cubicBezTo>
                      <a:cubicBezTo>
                        <a:pt x="87524" y="349246"/>
                        <a:pt x="0" y="271065"/>
                        <a:pt x="0" y="174623"/>
                      </a:cubicBezTo>
                      <a:cubicBezTo>
                        <a:pt x="0" y="78181"/>
                        <a:pt x="87524" y="0"/>
                        <a:pt x="195491" y="0"/>
                      </a:cubicBezTo>
                      <a:cubicBezTo>
                        <a:pt x="303457" y="0"/>
                        <a:pt x="390981" y="78181"/>
                        <a:pt x="390981" y="174623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88" name="Freihandform: Form 487">
                  <a:extLst>
                    <a:ext uri="{FF2B5EF4-FFF2-40B4-BE49-F238E27FC236}">
                      <a16:creationId xmlns:a16="http://schemas.microsoft.com/office/drawing/2014/main" id="{67B026E1-AF54-C6A9-94E3-093F838C97A9}"/>
                    </a:ext>
                  </a:extLst>
                </p:cNvPr>
                <p:cNvSpPr/>
                <p:nvPr/>
              </p:nvSpPr>
              <p:spPr>
                <a:xfrm>
                  <a:off x="650224" y="1870436"/>
                  <a:ext cx="272366" cy="292635"/>
                </a:xfrm>
                <a:custGeom>
                  <a:avLst/>
                  <a:gdLst>
                    <a:gd name="connsiteX0" fmla="*/ 232448 w 272366"/>
                    <a:gd name="connsiteY0" fmla="*/ 139925 h 292635"/>
                    <a:gd name="connsiteX1" fmla="*/ 268255 w 272366"/>
                    <a:gd name="connsiteY1" fmla="*/ 105629 h 292635"/>
                    <a:gd name="connsiteX2" fmla="*/ 209221 w 272366"/>
                    <a:gd name="connsiteY2" fmla="*/ 13570 h 292635"/>
                    <a:gd name="connsiteX3" fmla="*/ 0 w 272366"/>
                    <a:gd name="connsiteY3" fmla="*/ 86153 h 292635"/>
                    <a:gd name="connsiteX4" fmla="*/ 24073 w 272366"/>
                    <a:gd name="connsiteY4" fmla="*/ 213899 h 292635"/>
                    <a:gd name="connsiteX5" fmla="*/ 114560 w 272366"/>
                    <a:gd name="connsiteY5" fmla="*/ 292531 h 292635"/>
                    <a:gd name="connsiteX6" fmla="*/ 204624 w 272366"/>
                    <a:gd name="connsiteY6" fmla="*/ 285878 h 292635"/>
                    <a:gd name="connsiteX7" fmla="*/ 232448 w 272366"/>
                    <a:gd name="connsiteY7" fmla="*/ 242509 h 292635"/>
                    <a:gd name="connsiteX8" fmla="*/ 230996 w 272366"/>
                    <a:gd name="connsiteY8" fmla="*/ 222004 h 292635"/>
                    <a:gd name="connsiteX9" fmla="*/ 230996 w 272366"/>
                    <a:gd name="connsiteY9" fmla="*/ 222186 h 292635"/>
                    <a:gd name="connsiteX10" fmla="*/ 234383 w 272366"/>
                    <a:gd name="connsiteY10" fmla="*/ 207125 h 292635"/>
                    <a:gd name="connsiteX11" fmla="*/ 227730 w 272366"/>
                    <a:gd name="connsiteY11" fmla="*/ 186681 h 292635"/>
                    <a:gd name="connsiteX12" fmla="*/ 227730 w 272366"/>
                    <a:gd name="connsiteY12" fmla="*/ 186681 h 292635"/>
                    <a:gd name="connsiteX13" fmla="*/ 235230 w 272366"/>
                    <a:gd name="connsiteY13" fmla="*/ 170107 h 292635"/>
                    <a:gd name="connsiteX14" fmla="*/ 232508 w 272366"/>
                    <a:gd name="connsiteY14" fmla="*/ 139925 h 2926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72366" h="292635">
                      <a:moveTo>
                        <a:pt x="232448" y="139925"/>
                      </a:moveTo>
                      <a:cubicBezTo>
                        <a:pt x="244545" y="136356"/>
                        <a:pt x="285312" y="122868"/>
                        <a:pt x="268255" y="105629"/>
                      </a:cubicBezTo>
                      <a:cubicBezTo>
                        <a:pt x="239282" y="76415"/>
                        <a:pt x="213697" y="23792"/>
                        <a:pt x="209221" y="13570"/>
                      </a:cubicBezTo>
                      <a:cubicBezTo>
                        <a:pt x="208072" y="2682"/>
                        <a:pt x="16815" y="-33125"/>
                        <a:pt x="0" y="86153"/>
                      </a:cubicBezTo>
                      <a:cubicBezTo>
                        <a:pt x="0" y="86153"/>
                        <a:pt x="0" y="150691"/>
                        <a:pt x="24073" y="213899"/>
                      </a:cubicBezTo>
                      <a:cubicBezTo>
                        <a:pt x="29820" y="229021"/>
                        <a:pt x="73128" y="291261"/>
                        <a:pt x="114560" y="292531"/>
                      </a:cubicBezTo>
                      <a:cubicBezTo>
                        <a:pt x="150005" y="293620"/>
                        <a:pt x="204624" y="285878"/>
                        <a:pt x="204624" y="285878"/>
                      </a:cubicBezTo>
                      <a:cubicBezTo>
                        <a:pt x="204624" y="285878"/>
                        <a:pt x="232690" y="278982"/>
                        <a:pt x="232448" y="242509"/>
                      </a:cubicBezTo>
                      <a:cubicBezTo>
                        <a:pt x="232448" y="239666"/>
                        <a:pt x="231903" y="232347"/>
                        <a:pt x="230996" y="222004"/>
                      </a:cubicBezTo>
                      <a:lnTo>
                        <a:pt x="230996" y="222186"/>
                      </a:lnTo>
                      <a:cubicBezTo>
                        <a:pt x="230996" y="222186"/>
                        <a:pt x="230996" y="216137"/>
                        <a:pt x="234383" y="207125"/>
                      </a:cubicBezTo>
                      <a:cubicBezTo>
                        <a:pt x="238496" y="196056"/>
                        <a:pt x="239403" y="186197"/>
                        <a:pt x="227730" y="186681"/>
                      </a:cubicBezTo>
                      <a:lnTo>
                        <a:pt x="227730" y="186681"/>
                      </a:lnTo>
                      <a:cubicBezTo>
                        <a:pt x="236077" y="184382"/>
                        <a:pt x="236923" y="173858"/>
                        <a:pt x="235230" y="170107"/>
                      </a:cubicBezTo>
                      <a:cubicBezTo>
                        <a:pt x="230331" y="159401"/>
                        <a:pt x="229423" y="140832"/>
                        <a:pt x="232508" y="139925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89" name="Freihandform: Form 488">
                  <a:extLst>
                    <a:ext uri="{FF2B5EF4-FFF2-40B4-BE49-F238E27FC236}">
                      <a16:creationId xmlns:a16="http://schemas.microsoft.com/office/drawing/2014/main" id="{93D2ED5C-94C6-67B4-3997-6B83323FCB06}"/>
                    </a:ext>
                  </a:extLst>
                </p:cNvPr>
                <p:cNvSpPr/>
                <p:nvPr/>
              </p:nvSpPr>
              <p:spPr>
                <a:xfrm>
                  <a:off x="837065" y="1919511"/>
                  <a:ext cx="21653" cy="31694"/>
                </a:xfrm>
                <a:custGeom>
                  <a:avLst/>
                  <a:gdLst>
                    <a:gd name="connsiteX0" fmla="*/ 21654 w 21653"/>
                    <a:gd name="connsiteY0" fmla="*/ 15847 h 31694"/>
                    <a:gd name="connsiteX1" fmla="*/ 10827 w 21653"/>
                    <a:gd name="connsiteY1" fmla="*/ 31695 h 31694"/>
                    <a:gd name="connsiteX2" fmla="*/ 0 w 21653"/>
                    <a:gd name="connsiteY2" fmla="*/ 15847 h 31694"/>
                    <a:gd name="connsiteX3" fmla="*/ 10827 w 21653"/>
                    <a:gd name="connsiteY3" fmla="*/ 0 h 31694"/>
                    <a:gd name="connsiteX4" fmla="*/ 21654 w 21653"/>
                    <a:gd name="connsiteY4" fmla="*/ 15847 h 316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653" h="31694">
                      <a:moveTo>
                        <a:pt x="21654" y="15847"/>
                      </a:moveTo>
                      <a:cubicBezTo>
                        <a:pt x="21654" y="24600"/>
                        <a:pt x="16807" y="31695"/>
                        <a:pt x="10827" y="31695"/>
                      </a:cubicBezTo>
                      <a:cubicBezTo>
                        <a:pt x="4847" y="31695"/>
                        <a:pt x="0" y="24600"/>
                        <a:pt x="0" y="15847"/>
                      </a:cubicBezTo>
                      <a:cubicBezTo>
                        <a:pt x="0" y="7095"/>
                        <a:pt x="4847" y="0"/>
                        <a:pt x="10827" y="0"/>
                      </a:cubicBezTo>
                      <a:cubicBezTo>
                        <a:pt x="16807" y="0"/>
                        <a:pt x="21654" y="7095"/>
                        <a:pt x="21654" y="15847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90" name="Freihandform: Form 489">
                  <a:extLst>
                    <a:ext uri="{FF2B5EF4-FFF2-40B4-BE49-F238E27FC236}">
                      <a16:creationId xmlns:a16="http://schemas.microsoft.com/office/drawing/2014/main" id="{7C664C25-F5A8-975E-BAA7-A1C1003B9ECF}"/>
                    </a:ext>
                  </a:extLst>
                </p:cNvPr>
                <p:cNvSpPr/>
                <p:nvPr/>
              </p:nvSpPr>
              <p:spPr>
                <a:xfrm>
                  <a:off x="767336" y="1853119"/>
                  <a:ext cx="83261" cy="40843"/>
                </a:xfrm>
                <a:custGeom>
                  <a:avLst/>
                  <a:gdLst>
                    <a:gd name="connsiteX0" fmla="*/ 16139 w 83261"/>
                    <a:gd name="connsiteY0" fmla="*/ 19455 h 40843"/>
                    <a:gd name="connsiteX1" fmla="*/ 47047 w 83261"/>
                    <a:gd name="connsiteY1" fmla="*/ 3245 h 40843"/>
                    <a:gd name="connsiteX2" fmla="*/ 47047 w 83261"/>
                    <a:gd name="connsiteY2" fmla="*/ 3245 h 40843"/>
                    <a:gd name="connsiteX3" fmla="*/ 77048 w 83261"/>
                    <a:gd name="connsiteY3" fmla="*/ 1249 h 40843"/>
                    <a:gd name="connsiteX4" fmla="*/ 79407 w 83261"/>
                    <a:gd name="connsiteY4" fmla="*/ 2519 h 40843"/>
                    <a:gd name="connsiteX5" fmla="*/ 76201 w 83261"/>
                    <a:gd name="connsiteY5" fmla="*/ 18427 h 40843"/>
                    <a:gd name="connsiteX6" fmla="*/ 59205 w 83261"/>
                    <a:gd name="connsiteY6" fmla="*/ 19939 h 40843"/>
                    <a:gd name="connsiteX7" fmla="*/ 20312 w 83261"/>
                    <a:gd name="connsiteY7" fmla="*/ 29254 h 40843"/>
                    <a:gd name="connsiteX8" fmla="*/ 533 w 83261"/>
                    <a:gd name="connsiteY8" fmla="*/ 40746 h 40843"/>
                    <a:gd name="connsiteX9" fmla="*/ 16139 w 83261"/>
                    <a:gd name="connsiteY9" fmla="*/ 19515 h 408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3261" h="40843">
                      <a:moveTo>
                        <a:pt x="16139" y="19455"/>
                      </a:moveTo>
                      <a:cubicBezTo>
                        <a:pt x="26179" y="10201"/>
                        <a:pt x="38034" y="5241"/>
                        <a:pt x="47047" y="3245"/>
                      </a:cubicBezTo>
                      <a:lnTo>
                        <a:pt x="47047" y="3245"/>
                      </a:lnTo>
                      <a:cubicBezTo>
                        <a:pt x="62410" y="-1110"/>
                        <a:pt x="73237" y="-324"/>
                        <a:pt x="77048" y="1249"/>
                      </a:cubicBezTo>
                      <a:cubicBezTo>
                        <a:pt x="77955" y="1612"/>
                        <a:pt x="78742" y="2035"/>
                        <a:pt x="79407" y="2519"/>
                      </a:cubicBezTo>
                      <a:cubicBezTo>
                        <a:pt x="85939" y="6813"/>
                        <a:pt x="83701" y="17277"/>
                        <a:pt x="76201" y="18427"/>
                      </a:cubicBezTo>
                      <a:cubicBezTo>
                        <a:pt x="72753" y="18971"/>
                        <a:pt x="64104" y="19576"/>
                        <a:pt x="59205" y="19939"/>
                      </a:cubicBezTo>
                      <a:cubicBezTo>
                        <a:pt x="50616" y="20604"/>
                        <a:pt x="26845" y="26169"/>
                        <a:pt x="20312" y="29254"/>
                      </a:cubicBezTo>
                      <a:cubicBezTo>
                        <a:pt x="7489" y="35302"/>
                        <a:pt x="2711" y="41714"/>
                        <a:pt x="533" y="40746"/>
                      </a:cubicBezTo>
                      <a:cubicBezTo>
                        <a:pt x="-1644" y="39778"/>
                        <a:pt x="2711" y="31854"/>
                        <a:pt x="16139" y="1951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91" name="Freihandform: Form 490">
                  <a:extLst>
                    <a:ext uri="{FF2B5EF4-FFF2-40B4-BE49-F238E27FC236}">
                      <a16:creationId xmlns:a16="http://schemas.microsoft.com/office/drawing/2014/main" id="{91BF3009-7D8E-4934-DDC6-24BA85BB7B47}"/>
                    </a:ext>
                  </a:extLst>
                </p:cNvPr>
                <p:cNvSpPr/>
                <p:nvPr/>
              </p:nvSpPr>
              <p:spPr>
                <a:xfrm>
                  <a:off x="806812" y="1909914"/>
                  <a:ext cx="51859" cy="18055"/>
                </a:xfrm>
                <a:custGeom>
                  <a:avLst/>
                  <a:gdLst>
                    <a:gd name="connsiteX0" fmla="*/ 312 w 51859"/>
                    <a:gd name="connsiteY0" fmla="*/ 14496 h 18055"/>
                    <a:gd name="connsiteX1" fmla="*/ 38176 w 51859"/>
                    <a:gd name="connsiteY1" fmla="*/ 40 h 18055"/>
                    <a:gd name="connsiteX2" fmla="*/ 45192 w 51859"/>
                    <a:gd name="connsiteY2" fmla="*/ 10625 h 18055"/>
                    <a:gd name="connsiteX3" fmla="*/ 8840 w 51859"/>
                    <a:gd name="connsiteY3" fmla="*/ 17520 h 18055"/>
                    <a:gd name="connsiteX4" fmla="*/ 312 w 51859"/>
                    <a:gd name="connsiteY4" fmla="*/ 14496 h 18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859" h="18055">
                      <a:moveTo>
                        <a:pt x="312" y="14496"/>
                      </a:moveTo>
                      <a:cubicBezTo>
                        <a:pt x="1824" y="12258"/>
                        <a:pt x="20454" y="887"/>
                        <a:pt x="38176" y="40"/>
                      </a:cubicBezTo>
                      <a:cubicBezTo>
                        <a:pt x="52935" y="-686"/>
                        <a:pt x="56503" y="8689"/>
                        <a:pt x="45192" y="10625"/>
                      </a:cubicBezTo>
                      <a:cubicBezTo>
                        <a:pt x="31281" y="12984"/>
                        <a:pt x="14707" y="15887"/>
                        <a:pt x="8840" y="17520"/>
                      </a:cubicBezTo>
                      <a:cubicBezTo>
                        <a:pt x="2973" y="19154"/>
                        <a:pt x="-1200" y="16734"/>
                        <a:pt x="312" y="1449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92" name="Freihandform: Form 491">
                  <a:extLst>
                    <a:ext uri="{FF2B5EF4-FFF2-40B4-BE49-F238E27FC236}">
                      <a16:creationId xmlns:a16="http://schemas.microsoft.com/office/drawing/2014/main" id="{65D6E0E6-4F79-83BD-9126-42BD7B42747C}"/>
                    </a:ext>
                  </a:extLst>
                </p:cNvPr>
                <p:cNvSpPr/>
                <p:nvPr/>
              </p:nvSpPr>
              <p:spPr>
                <a:xfrm>
                  <a:off x="701939" y="1951595"/>
                  <a:ext cx="223765" cy="214238"/>
                </a:xfrm>
                <a:custGeom>
                  <a:avLst/>
                  <a:gdLst>
                    <a:gd name="connsiteX0" fmla="*/ 15303 w 223765"/>
                    <a:gd name="connsiteY0" fmla="*/ 20962 h 214238"/>
                    <a:gd name="connsiteX1" fmla="*/ 0 w 223765"/>
                    <a:gd name="connsiteY1" fmla="*/ 121490 h 214238"/>
                    <a:gd name="connsiteX2" fmla="*/ 62784 w 223765"/>
                    <a:gd name="connsiteY2" fmla="*/ 211432 h 214238"/>
                    <a:gd name="connsiteX3" fmla="*/ 191378 w 223765"/>
                    <a:gd name="connsiteY3" fmla="*/ 203690 h 214238"/>
                    <a:gd name="connsiteX4" fmla="*/ 211459 w 223765"/>
                    <a:gd name="connsiteY4" fmla="*/ 3300 h 214238"/>
                    <a:gd name="connsiteX5" fmla="*/ 15242 w 223765"/>
                    <a:gd name="connsiteY5" fmla="*/ 20962 h 214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23765" h="214238">
                      <a:moveTo>
                        <a:pt x="15303" y="20962"/>
                      </a:moveTo>
                      <a:lnTo>
                        <a:pt x="0" y="121490"/>
                      </a:lnTo>
                      <a:cubicBezTo>
                        <a:pt x="0" y="121490"/>
                        <a:pt x="9617" y="172358"/>
                        <a:pt x="62784" y="211432"/>
                      </a:cubicBezTo>
                      <a:cubicBezTo>
                        <a:pt x="117403" y="220808"/>
                        <a:pt x="191378" y="203690"/>
                        <a:pt x="191378" y="203690"/>
                      </a:cubicBezTo>
                      <a:cubicBezTo>
                        <a:pt x="191378" y="203690"/>
                        <a:pt x="248053" y="74492"/>
                        <a:pt x="211459" y="3300"/>
                      </a:cubicBezTo>
                      <a:cubicBezTo>
                        <a:pt x="205713" y="-9946"/>
                        <a:pt x="15242" y="20962"/>
                        <a:pt x="15242" y="20962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93" name="Freihandform: Form 492">
                  <a:extLst>
                    <a:ext uri="{FF2B5EF4-FFF2-40B4-BE49-F238E27FC236}">
                      <a16:creationId xmlns:a16="http://schemas.microsoft.com/office/drawing/2014/main" id="{C674FB14-F996-3C0C-4487-50C8D493461A}"/>
                    </a:ext>
                  </a:extLst>
                </p:cNvPr>
                <p:cNvSpPr/>
                <p:nvPr/>
              </p:nvSpPr>
              <p:spPr>
                <a:xfrm>
                  <a:off x="601944" y="1942055"/>
                  <a:ext cx="146387" cy="143187"/>
                </a:xfrm>
                <a:custGeom>
                  <a:avLst/>
                  <a:gdLst>
                    <a:gd name="connsiteX0" fmla="*/ 108282 w 146387"/>
                    <a:gd name="connsiteY0" fmla="*/ 143127 h 143187"/>
                    <a:gd name="connsiteX1" fmla="*/ 28259 w 146387"/>
                    <a:gd name="connsiteY1" fmla="*/ 110586 h 143187"/>
                    <a:gd name="connsiteX2" fmla="*/ 133 w 146387"/>
                    <a:gd name="connsiteY2" fmla="*/ 68185 h 143187"/>
                    <a:gd name="connsiteX3" fmla="*/ 30134 w 146387"/>
                    <a:gd name="connsiteY3" fmla="*/ 8304 h 143187"/>
                    <a:gd name="connsiteX4" fmla="*/ 120500 w 146387"/>
                    <a:gd name="connsiteY4" fmla="*/ 31893 h 143187"/>
                    <a:gd name="connsiteX5" fmla="*/ 146388 w 146387"/>
                    <a:gd name="connsiteY5" fmla="*/ 49555 h 143187"/>
                    <a:gd name="connsiteX6" fmla="*/ 108282 w 146387"/>
                    <a:gd name="connsiteY6" fmla="*/ 143188 h 143187"/>
                    <a:gd name="connsiteX7" fmla="*/ 55417 w 146387"/>
                    <a:gd name="connsiteY7" fmla="*/ 12961 h 143187"/>
                    <a:gd name="connsiteX8" fmla="*/ 38118 w 146387"/>
                    <a:gd name="connsiteY8" fmla="*/ 18587 h 143187"/>
                    <a:gd name="connsiteX9" fmla="*/ 13137 w 146387"/>
                    <a:gd name="connsiteY9" fmla="*/ 67278 h 143187"/>
                    <a:gd name="connsiteX10" fmla="*/ 34731 w 146387"/>
                    <a:gd name="connsiteY10" fmla="*/ 99275 h 143187"/>
                    <a:gd name="connsiteX11" fmla="*/ 101084 w 146387"/>
                    <a:gd name="connsiteY11" fmla="*/ 128066 h 143187"/>
                    <a:gd name="connsiteX12" fmla="*/ 130057 w 146387"/>
                    <a:gd name="connsiteY12" fmla="*/ 53971 h 143187"/>
                    <a:gd name="connsiteX13" fmla="*/ 112092 w 146387"/>
                    <a:gd name="connsiteY13" fmla="*/ 41632 h 143187"/>
                    <a:gd name="connsiteX14" fmla="*/ 55477 w 146387"/>
                    <a:gd name="connsiteY14" fmla="*/ 12901 h 143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46387" h="143187">
                      <a:moveTo>
                        <a:pt x="108282" y="143127"/>
                      </a:moveTo>
                      <a:cubicBezTo>
                        <a:pt x="108282" y="143127"/>
                        <a:pt x="66546" y="132300"/>
                        <a:pt x="28259" y="110586"/>
                      </a:cubicBezTo>
                      <a:cubicBezTo>
                        <a:pt x="11383" y="100968"/>
                        <a:pt x="1403" y="85907"/>
                        <a:pt x="133" y="68185"/>
                      </a:cubicBezTo>
                      <a:cubicBezTo>
                        <a:pt x="-1379" y="46652"/>
                        <a:pt x="10113" y="23667"/>
                        <a:pt x="30134" y="8304"/>
                      </a:cubicBezTo>
                      <a:cubicBezTo>
                        <a:pt x="64671" y="-18249"/>
                        <a:pt x="115056" y="26934"/>
                        <a:pt x="120500" y="31893"/>
                      </a:cubicBezTo>
                      <a:lnTo>
                        <a:pt x="146388" y="49555"/>
                      </a:lnTo>
                      <a:lnTo>
                        <a:pt x="108282" y="143188"/>
                      </a:lnTo>
                      <a:close/>
                      <a:moveTo>
                        <a:pt x="55417" y="12961"/>
                      </a:moveTo>
                      <a:cubicBezTo>
                        <a:pt x="49247" y="12961"/>
                        <a:pt x="43320" y="14594"/>
                        <a:pt x="38118" y="18587"/>
                      </a:cubicBezTo>
                      <a:cubicBezTo>
                        <a:pt x="21484" y="31349"/>
                        <a:pt x="11928" y="50039"/>
                        <a:pt x="13137" y="67278"/>
                      </a:cubicBezTo>
                      <a:cubicBezTo>
                        <a:pt x="14045" y="80766"/>
                        <a:pt x="21545" y="91835"/>
                        <a:pt x="34731" y="99275"/>
                      </a:cubicBezTo>
                      <a:cubicBezTo>
                        <a:pt x="62494" y="115062"/>
                        <a:pt x="91043" y="125284"/>
                        <a:pt x="101084" y="128066"/>
                      </a:cubicBezTo>
                      <a:lnTo>
                        <a:pt x="130057" y="53971"/>
                      </a:lnTo>
                      <a:lnTo>
                        <a:pt x="112092" y="41632"/>
                      </a:lnTo>
                      <a:cubicBezTo>
                        <a:pt x="111729" y="41269"/>
                        <a:pt x="81365" y="12901"/>
                        <a:pt x="55477" y="12901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94" name="Freihandform: Form 493">
                  <a:extLst>
                    <a:ext uri="{FF2B5EF4-FFF2-40B4-BE49-F238E27FC236}">
                      <a16:creationId xmlns:a16="http://schemas.microsoft.com/office/drawing/2014/main" id="{FEC7FB12-5408-ABC9-D4C2-4170553CB66A}"/>
                    </a:ext>
                  </a:extLst>
                </p:cNvPr>
                <p:cNvSpPr/>
                <p:nvPr/>
              </p:nvSpPr>
              <p:spPr>
                <a:xfrm>
                  <a:off x="443945" y="1659724"/>
                  <a:ext cx="397535" cy="386565"/>
                </a:xfrm>
                <a:custGeom>
                  <a:avLst/>
                  <a:gdLst>
                    <a:gd name="connsiteX0" fmla="*/ 105690 w 397535"/>
                    <a:gd name="connsiteY0" fmla="*/ 386566 h 386565"/>
                    <a:gd name="connsiteX1" fmla="*/ 397535 w 397535"/>
                    <a:gd name="connsiteY1" fmla="*/ 158352 h 386565"/>
                    <a:gd name="connsiteX2" fmla="*/ 206279 w 397535"/>
                    <a:gd name="connsiteY2" fmla="*/ 0 h 386565"/>
                    <a:gd name="connsiteX3" fmla="*/ 263 w 397535"/>
                    <a:gd name="connsiteY3" fmla="*/ 246057 h 386565"/>
                    <a:gd name="connsiteX4" fmla="*/ 105690 w 397535"/>
                    <a:gd name="connsiteY4" fmla="*/ 386505 h 3865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7535" h="386565">
                      <a:moveTo>
                        <a:pt x="105690" y="386566"/>
                      </a:moveTo>
                      <a:cubicBezTo>
                        <a:pt x="207972" y="341504"/>
                        <a:pt x="277894" y="163917"/>
                        <a:pt x="397535" y="158352"/>
                      </a:cubicBezTo>
                      <a:cubicBezTo>
                        <a:pt x="393785" y="80688"/>
                        <a:pt x="324650" y="0"/>
                        <a:pt x="206279" y="0"/>
                      </a:cubicBezTo>
                      <a:cubicBezTo>
                        <a:pt x="155107" y="0"/>
                        <a:pt x="-7418" y="149945"/>
                        <a:pt x="263" y="246057"/>
                      </a:cubicBezTo>
                      <a:cubicBezTo>
                        <a:pt x="4195" y="295172"/>
                        <a:pt x="66495" y="357774"/>
                        <a:pt x="105690" y="386505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95" name="Freihandform: Form 494">
                  <a:extLst>
                    <a:ext uri="{FF2B5EF4-FFF2-40B4-BE49-F238E27FC236}">
                      <a16:creationId xmlns:a16="http://schemas.microsoft.com/office/drawing/2014/main" id="{10B6D744-8907-AE05-8DC8-633237664920}"/>
                    </a:ext>
                  </a:extLst>
                </p:cNvPr>
                <p:cNvSpPr/>
                <p:nvPr/>
              </p:nvSpPr>
              <p:spPr>
                <a:xfrm>
                  <a:off x="618710" y="1863562"/>
                  <a:ext cx="284700" cy="113350"/>
                </a:xfrm>
                <a:custGeom>
                  <a:avLst/>
                  <a:gdLst>
                    <a:gd name="connsiteX0" fmla="*/ 115589 w 284700"/>
                    <a:gd name="connsiteY0" fmla="*/ 113351 h 113350"/>
                    <a:gd name="connsiteX1" fmla="*/ 106032 w 284700"/>
                    <a:gd name="connsiteY1" fmla="*/ 59579 h 113350"/>
                    <a:gd name="connsiteX2" fmla="*/ 4415 w 284700"/>
                    <a:gd name="connsiteY2" fmla="*/ 86737 h 113350"/>
                    <a:gd name="connsiteX3" fmla="*/ 0 w 284700"/>
                    <a:gd name="connsiteY3" fmla="*/ 70224 h 113350"/>
                    <a:gd name="connsiteX4" fmla="*/ 262993 w 284700"/>
                    <a:gd name="connsiteY4" fmla="*/ 0 h 113350"/>
                    <a:gd name="connsiteX5" fmla="*/ 266320 w 284700"/>
                    <a:gd name="connsiteY5" fmla="*/ 5444 h 113350"/>
                    <a:gd name="connsiteX6" fmla="*/ 279748 w 284700"/>
                    <a:gd name="connsiteY6" fmla="*/ 97685 h 113350"/>
                    <a:gd name="connsiteX7" fmla="*/ 278114 w 284700"/>
                    <a:gd name="connsiteY7" fmla="*/ 103491 h 113350"/>
                    <a:gd name="connsiteX8" fmla="*/ 115649 w 284700"/>
                    <a:gd name="connsiteY8" fmla="*/ 113290 h 113350"/>
                    <a:gd name="connsiteX9" fmla="*/ 122545 w 284700"/>
                    <a:gd name="connsiteY9" fmla="*/ 55163 h 113350"/>
                    <a:gd name="connsiteX10" fmla="*/ 129742 w 284700"/>
                    <a:gd name="connsiteY10" fmla="*/ 95386 h 113350"/>
                    <a:gd name="connsiteX11" fmla="*/ 264808 w 284700"/>
                    <a:gd name="connsiteY11" fmla="*/ 87221 h 113350"/>
                    <a:gd name="connsiteX12" fmla="*/ 254888 w 284700"/>
                    <a:gd name="connsiteY12" fmla="*/ 19839 h 113350"/>
                    <a:gd name="connsiteX13" fmla="*/ 122545 w 284700"/>
                    <a:gd name="connsiteY13" fmla="*/ 55163 h 113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84700" h="113350">
                      <a:moveTo>
                        <a:pt x="115589" y="113351"/>
                      </a:moveTo>
                      <a:lnTo>
                        <a:pt x="106032" y="59579"/>
                      </a:lnTo>
                      <a:lnTo>
                        <a:pt x="4415" y="86737"/>
                      </a:lnTo>
                      <a:lnTo>
                        <a:pt x="0" y="70224"/>
                      </a:lnTo>
                      <a:lnTo>
                        <a:pt x="262993" y="0"/>
                      </a:lnTo>
                      <a:lnTo>
                        <a:pt x="266320" y="5444"/>
                      </a:lnTo>
                      <a:cubicBezTo>
                        <a:pt x="285252" y="36655"/>
                        <a:pt x="289244" y="64236"/>
                        <a:pt x="279748" y="97685"/>
                      </a:cubicBezTo>
                      <a:lnTo>
                        <a:pt x="278114" y="103491"/>
                      </a:lnTo>
                      <a:lnTo>
                        <a:pt x="115649" y="113290"/>
                      </a:lnTo>
                      <a:close/>
                      <a:moveTo>
                        <a:pt x="122545" y="55163"/>
                      </a:moveTo>
                      <a:lnTo>
                        <a:pt x="129742" y="95386"/>
                      </a:lnTo>
                      <a:lnTo>
                        <a:pt x="264808" y="87221"/>
                      </a:lnTo>
                      <a:cubicBezTo>
                        <a:pt x="270614" y="62724"/>
                        <a:pt x="267711" y="43006"/>
                        <a:pt x="254888" y="19839"/>
                      </a:cubicBezTo>
                      <a:lnTo>
                        <a:pt x="122545" y="55163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96" name="Freihandform: Form 495">
                  <a:extLst>
                    <a:ext uri="{FF2B5EF4-FFF2-40B4-BE49-F238E27FC236}">
                      <a16:creationId xmlns:a16="http://schemas.microsoft.com/office/drawing/2014/main" id="{5FF099C3-F980-C474-3084-624B00F155AB}"/>
                    </a:ext>
                  </a:extLst>
                </p:cNvPr>
                <p:cNvSpPr/>
                <p:nvPr/>
              </p:nvSpPr>
              <p:spPr>
                <a:xfrm rot="-1304998">
                  <a:off x="588752" y="1930189"/>
                  <a:ext cx="87099" cy="135004"/>
                </a:xfrm>
                <a:custGeom>
                  <a:avLst/>
                  <a:gdLst>
                    <a:gd name="connsiteX0" fmla="*/ 87100 w 87099"/>
                    <a:gd name="connsiteY0" fmla="*/ 67502 h 135004"/>
                    <a:gd name="connsiteX1" fmla="*/ 43550 w 87099"/>
                    <a:gd name="connsiteY1" fmla="*/ 135005 h 135004"/>
                    <a:gd name="connsiteX2" fmla="*/ 0 w 87099"/>
                    <a:gd name="connsiteY2" fmla="*/ 67502 h 135004"/>
                    <a:gd name="connsiteX3" fmla="*/ 43550 w 87099"/>
                    <a:gd name="connsiteY3" fmla="*/ 0 h 135004"/>
                    <a:gd name="connsiteX4" fmla="*/ 87100 w 87099"/>
                    <a:gd name="connsiteY4" fmla="*/ 67502 h 1350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7099" h="135004">
                      <a:moveTo>
                        <a:pt x="87100" y="67502"/>
                      </a:moveTo>
                      <a:cubicBezTo>
                        <a:pt x="87100" y="104783"/>
                        <a:pt x="67602" y="135005"/>
                        <a:pt x="43550" y="135005"/>
                      </a:cubicBezTo>
                      <a:cubicBezTo>
                        <a:pt x="19498" y="135005"/>
                        <a:pt x="0" y="104783"/>
                        <a:pt x="0" y="67502"/>
                      </a:cubicBezTo>
                      <a:cubicBezTo>
                        <a:pt x="0" y="30222"/>
                        <a:pt x="19498" y="0"/>
                        <a:pt x="43550" y="0"/>
                      </a:cubicBezTo>
                      <a:cubicBezTo>
                        <a:pt x="67602" y="0"/>
                        <a:pt x="87100" y="30222"/>
                        <a:pt x="87100" y="67502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53" name="Grafik 297">
                <a:extLst>
                  <a:ext uri="{FF2B5EF4-FFF2-40B4-BE49-F238E27FC236}">
                    <a16:creationId xmlns:a16="http://schemas.microsoft.com/office/drawing/2014/main" id="{5F7F3A57-8471-7465-6DAB-D693A82B5446}"/>
                  </a:ext>
                </a:extLst>
              </p:cNvPr>
              <p:cNvGrpSpPr/>
              <p:nvPr/>
            </p:nvGrpSpPr>
            <p:grpSpPr>
              <a:xfrm>
                <a:off x="372895" y="2175735"/>
                <a:ext cx="581693" cy="1213887"/>
                <a:chOff x="372895" y="2175735"/>
                <a:chExt cx="581693" cy="1213887"/>
              </a:xfrm>
            </p:grpSpPr>
            <p:sp>
              <p:nvSpPr>
                <p:cNvPr id="485" name="Freihandform: Form 484">
                  <a:extLst>
                    <a:ext uri="{FF2B5EF4-FFF2-40B4-BE49-F238E27FC236}">
                      <a16:creationId xmlns:a16="http://schemas.microsoft.com/office/drawing/2014/main" id="{D932316F-A3A0-DE96-C75A-2F5C86628E74}"/>
                    </a:ext>
                  </a:extLst>
                </p:cNvPr>
                <p:cNvSpPr/>
                <p:nvPr/>
              </p:nvSpPr>
              <p:spPr>
                <a:xfrm>
                  <a:off x="372895" y="2175735"/>
                  <a:ext cx="581693" cy="1213887"/>
                </a:xfrm>
                <a:custGeom>
                  <a:avLst/>
                  <a:gdLst>
                    <a:gd name="connsiteX0" fmla="*/ 0 w 581693"/>
                    <a:gd name="connsiteY0" fmla="*/ 1177656 h 1213887"/>
                    <a:gd name="connsiteX1" fmla="*/ 561189 w 581693"/>
                    <a:gd name="connsiteY1" fmla="*/ 1213888 h 1213887"/>
                    <a:gd name="connsiteX2" fmla="*/ 579637 w 581693"/>
                    <a:gd name="connsiteY2" fmla="*/ 480616 h 1213887"/>
                    <a:gd name="connsiteX3" fmla="*/ 434894 w 581693"/>
                    <a:gd name="connsiteY3" fmla="*/ 178610 h 1213887"/>
                    <a:gd name="connsiteX4" fmla="*/ 342230 w 581693"/>
                    <a:gd name="connsiteY4" fmla="*/ 70158 h 1213887"/>
                    <a:gd name="connsiteX5" fmla="*/ 125871 w 581693"/>
                    <a:gd name="connsiteY5" fmla="*/ 2535 h 1213887"/>
                    <a:gd name="connsiteX6" fmla="*/ 49296 w 581693"/>
                    <a:gd name="connsiteY6" fmla="*/ 803248 h 1213887"/>
                    <a:gd name="connsiteX7" fmla="*/ 0 w 581693"/>
                    <a:gd name="connsiteY7" fmla="*/ 1177596 h 12138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81693" h="1213887">
                      <a:moveTo>
                        <a:pt x="0" y="1177656"/>
                      </a:moveTo>
                      <a:lnTo>
                        <a:pt x="561189" y="1213888"/>
                      </a:lnTo>
                      <a:cubicBezTo>
                        <a:pt x="571229" y="1059769"/>
                        <a:pt x="587440" y="576063"/>
                        <a:pt x="579637" y="480616"/>
                      </a:cubicBezTo>
                      <a:cubicBezTo>
                        <a:pt x="567782" y="336055"/>
                        <a:pt x="434894" y="178610"/>
                        <a:pt x="434894" y="178610"/>
                      </a:cubicBezTo>
                      <a:cubicBezTo>
                        <a:pt x="434894" y="178610"/>
                        <a:pt x="368964" y="95502"/>
                        <a:pt x="342230" y="70158"/>
                      </a:cubicBezTo>
                      <a:cubicBezTo>
                        <a:pt x="338661" y="66771"/>
                        <a:pt x="237226" y="-15308"/>
                        <a:pt x="125871" y="2535"/>
                      </a:cubicBezTo>
                      <a:cubicBezTo>
                        <a:pt x="-63692" y="199477"/>
                        <a:pt x="37259" y="683668"/>
                        <a:pt x="49296" y="803248"/>
                      </a:cubicBezTo>
                      <a:cubicBezTo>
                        <a:pt x="60184" y="911397"/>
                        <a:pt x="8408" y="1132050"/>
                        <a:pt x="0" y="1177596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86" name="Freihandform: Form 485">
                  <a:extLst>
                    <a:ext uri="{FF2B5EF4-FFF2-40B4-BE49-F238E27FC236}">
                      <a16:creationId xmlns:a16="http://schemas.microsoft.com/office/drawing/2014/main" id="{B45DA83D-83AB-DA5C-D0F1-CF0EEA82770E}"/>
                    </a:ext>
                  </a:extLst>
                </p:cNvPr>
                <p:cNvSpPr/>
                <p:nvPr/>
              </p:nvSpPr>
              <p:spPr>
                <a:xfrm>
                  <a:off x="431918" y="2368973"/>
                  <a:ext cx="299871" cy="833700"/>
                </a:xfrm>
                <a:custGeom>
                  <a:avLst/>
                  <a:gdLst>
                    <a:gd name="connsiteX0" fmla="*/ 214737 w 299871"/>
                    <a:gd name="connsiteY0" fmla="*/ 243586 h 833700"/>
                    <a:gd name="connsiteX1" fmla="*/ 69934 w 299871"/>
                    <a:gd name="connsiteY1" fmla="*/ 12953 h 833700"/>
                    <a:gd name="connsiteX2" fmla="*/ 11625 w 299871"/>
                    <a:gd name="connsiteY2" fmla="*/ 413612 h 833700"/>
                    <a:gd name="connsiteX3" fmla="*/ 173062 w 299871"/>
                    <a:gd name="connsiteY3" fmla="*/ 832175 h 833700"/>
                    <a:gd name="connsiteX4" fmla="*/ 214737 w 299871"/>
                    <a:gd name="connsiteY4" fmla="*/ 243586 h 833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9871" h="833700">
                      <a:moveTo>
                        <a:pt x="214737" y="243586"/>
                      </a:moveTo>
                      <a:cubicBezTo>
                        <a:pt x="198890" y="90315"/>
                        <a:pt x="116205" y="-42815"/>
                        <a:pt x="69934" y="12953"/>
                      </a:cubicBezTo>
                      <a:cubicBezTo>
                        <a:pt x="-45111" y="208323"/>
                        <a:pt x="17976" y="260462"/>
                        <a:pt x="11625" y="413612"/>
                      </a:cubicBezTo>
                      <a:cubicBezTo>
                        <a:pt x="2915" y="624103"/>
                        <a:pt x="31404" y="854676"/>
                        <a:pt x="173062" y="832175"/>
                      </a:cubicBezTo>
                      <a:cubicBezTo>
                        <a:pt x="424200" y="792315"/>
                        <a:pt x="226895" y="361473"/>
                        <a:pt x="214737" y="243586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54" name="Grafik 297">
                <a:extLst>
                  <a:ext uri="{FF2B5EF4-FFF2-40B4-BE49-F238E27FC236}">
                    <a16:creationId xmlns:a16="http://schemas.microsoft.com/office/drawing/2014/main" id="{FCF4B7AF-4196-9A89-9D6C-358C7534F9DD}"/>
                  </a:ext>
                </a:extLst>
              </p:cNvPr>
              <p:cNvGrpSpPr/>
              <p:nvPr/>
            </p:nvGrpSpPr>
            <p:grpSpPr>
              <a:xfrm>
                <a:off x="1054754" y="3219161"/>
                <a:ext cx="382210" cy="209656"/>
                <a:chOff x="1054754" y="3219161"/>
                <a:chExt cx="382210" cy="209656"/>
              </a:xfrm>
              <a:solidFill>
                <a:srgbClr val="02787D"/>
              </a:solidFill>
            </p:grpSpPr>
            <p:sp>
              <p:nvSpPr>
                <p:cNvPr id="463" name="Freihandform: Form 462">
                  <a:extLst>
                    <a:ext uri="{FF2B5EF4-FFF2-40B4-BE49-F238E27FC236}">
                      <a16:creationId xmlns:a16="http://schemas.microsoft.com/office/drawing/2014/main" id="{C97375AC-0A76-5CE2-1C7E-F3C6159D2CF1}"/>
                    </a:ext>
                  </a:extLst>
                </p:cNvPr>
                <p:cNvSpPr/>
                <p:nvPr/>
              </p:nvSpPr>
              <p:spPr>
                <a:xfrm>
                  <a:off x="1054754" y="3240041"/>
                  <a:ext cx="118915" cy="118915"/>
                </a:xfrm>
                <a:custGeom>
                  <a:avLst/>
                  <a:gdLst>
                    <a:gd name="connsiteX0" fmla="*/ 118915 w 118915"/>
                    <a:gd name="connsiteY0" fmla="*/ 59458 h 118915"/>
                    <a:gd name="connsiteX1" fmla="*/ 59458 w 118915"/>
                    <a:gd name="connsiteY1" fmla="*/ 118915 h 118915"/>
                    <a:gd name="connsiteX2" fmla="*/ 0 w 118915"/>
                    <a:gd name="connsiteY2" fmla="*/ 59458 h 118915"/>
                    <a:gd name="connsiteX3" fmla="*/ 59458 w 118915"/>
                    <a:gd name="connsiteY3" fmla="*/ 0 h 118915"/>
                    <a:gd name="connsiteX4" fmla="*/ 118915 w 118915"/>
                    <a:gd name="connsiteY4" fmla="*/ 59458 h 118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8915" h="118915">
                      <a:moveTo>
                        <a:pt x="118915" y="59458"/>
                      </a:moveTo>
                      <a:cubicBezTo>
                        <a:pt x="118915" y="92295"/>
                        <a:pt x="92295" y="118915"/>
                        <a:pt x="59458" y="118915"/>
                      </a:cubicBezTo>
                      <a:cubicBezTo>
                        <a:pt x="26620" y="118915"/>
                        <a:pt x="0" y="92295"/>
                        <a:pt x="0" y="59458"/>
                      </a:cubicBezTo>
                      <a:cubicBezTo>
                        <a:pt x="0" y="26620"/>
                        <a:pt x="26620" y="0"/>
                        <a:pt x="59458" y="0"/>
                      </a:cubicBezTo>
                      <a:cubicBezTo>
                        <a:pt x="92295" y="0"/>
                        <a:pt x="118915" y="26620"/>
                        <a:pt x="118915" y="59458"/>
                      </a:cubicBez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464" name="Grafik 297">
                  <a:extLst>
                    <a:ext uri="{FF2B5EF4-FFF2-40B4-BE49-F238E27FC236}">
                      <a16:creationId xmlns:a16="http://schemas.microsoft.com/office/drawing/2014/main" id="{66CF25C7-B5AF-7935-E99A-61ACF3FC8DC6}"/>
                    </a:ext>
                  </a:extLst>
                </p:cNvPr>
                <p:cNvGrpSpPr/>
                <p:nvPr/>
              </p:nvGrpSpPr>
              <p:grpSpPr>
                <a:xfrm>
                  <a:off x="1069820" y="3219161"/>
                  <a:ext cx="367143" cy="209656"/>
                  <a:chOff x="1069820" y="3219161"/>
                  <a:chExt cx="367143" cy="209656"/>
                </a:xfrm>
                <a:solidFill>
                  <a:srgbClr val="02787D"/>
                </a:solidFill>
              </p:grpSpPr>
              <p:grpSp>
                <p:nvGrpSpPr>
                  <p:cNvPr id="465" name="Grafik 297">
                    <a:extLst>
                      <a:ext uri="{FF2B5EF4-FFF2-40B4-BE49-F238E27FC236}">
                        <a16:creationId xmlns:a16="http://schemas.microsoft.com/office/drawing/2014/main" id="{CE9678CB-19B6-A251-A880-8DF40BC77E6A}"/>
                      </a:ext>
                    </a:extLst>
                  </p:cNvPr>
                  <p:cNvGrpSpPr/>
                  <p:nvPr/>
                </p:nvGrpSpPr>
                <p:grpSpPr>
                  <a:xfrm>
                    <a:off x="1264829" y="3326989"/>
                    <a:ext cx="172135" cy="51322"/>
                    <a:chOff x="1264829" y="3326989"/>
                    <a:chExt cx="172135" cy="51322"/>
                  </a:xfrm>
                  <a:solidFill>
                    <a:srgbClr val="02787D"/>
                  </a:solidFill>
                </p:grpSpPr>
                <p:sp>
                  <p:nvSpPr>
                    <p:cNvPr id="481" name="Freihandform: Form 480">
                      <a:extLst>
                        <a:ext uri="{FF2B5EF4-FFF2-40B4-BE49-F238E27FC236}">
                          <a16:creationId xmlns:a16="http://schemas.microsoft.com/office/drawing/2014/main" id="{BFC2A5EA-C05B-4838-D5D4-6B3CC7FFED2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64829" y="3326989"/>
                      <a:ext cx="79232" cy="51322"/>
                    </a:xfrm>
                    <a:custGeom>
                      <a:avLst/>
                      <a:gdLst>
                        <a:gd name="connsiteX0" fmla="*/ 63865 w 79232"/>
                        <a:gd name="connsiteY0" fmla="*/ 51323 h 51322"/>
                        <a:gd name="connsiteX1" fmla="*/ 79229 w 79232"/>
                        <a:gd name="connsiteY1" fmla="*/ 30999 h 51322"/>
                        <a:gd name="connsiteX2" fmla="*/ 65559 w 79232"/>
                        <a:gd name="connsiteY2" fmla="*/ 12551 h 51322"/>
                        <a:gd name="connsiteX3" fmla="*/ 23158 w 79232"/>
                        <a:gd name="connsiteY3" fmla="*/ 514 h 51322"/>
                        <a:gd name="connsiteX4" fmla="*/ 900 w 79232"/>
                        <a:gd name="connsiteY4" fmla="*/ 14668 h 51322"/>
                        <a:gd name="connsiteX5" fmla="*/ 16202 w 79232"/>
                        <a:gd name="connsiteY5" fmla="*/ 40133 h 51322"/>
                        <a:gd name="connsiteX6" fmla="*/ 63865 w 79232"/>
                        <a:gd name="connsiteY6" fmla="*/ 51323 h 5132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79232" h="51322">
                          <a:moveTo>
                            <a:pt x="63865" y="51323"/>
                          </a:moveTo>
                          <a:cubicBezTo>
                            <a:pt x="63865" y="51323"/>
                            <a:pt x="78987" y="46544"/>
                            <a:pt x="79229" y="30999"/>
                          </a:cubicBezTo>
                          <a:cubicBezTo>
                            <a:pt x="79471" y="15878"/>
                            <a:pt x="65559" y="12551"/>
                            <a:pt x="65559" y="12551"/>
                          </a:cubicBezTo>
                          <a:lnTo>
                            <a:pt x="23158" y="514"/>
                          </a:lnTo>
                          <a:cubicBezTo>
                            <a:pt x="11243" y="-1966"/>
                            <a:pt x="3440" y="4809"/>
                            <a:pt x="900" y="14668"/>
                          </a:cubicBezTo>
                          <a:cubicBezTo>
                            <a:pt x="-2064" y="24467"/>
                            <a:pt x="2109" y="36262"/>
                            <a:pt x="16202" y="40133"/>
                          </a:cubicBezTo>
                          <a:lnTo>
                            <a:pt x="63865" y="51323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82" name="Freihandform: Form 481">
                      <a:extLst>
                        <a:ext uri="{FF2B5EF4-FFF2-40B4-BE49-F238E27FC236}">
                          <a16:creationId xmlns:a16="http://schemas.microsoft.com/office/drawing/2014/main" id="{B079A6D2-33BD-8271-27ED-D2D4C3E2DFE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16113" y="3336851"/>
                      <a:ext cx="66300" cy="41461"/>
                    </a:xfrm>
                    <a:custGeom>
                      <a:avLst/>
                      <a:gdLst>
                        <a:gd name="connsiteX0" fmla="*/ 57099 w 66300"/>
                        <a:gd name="connsiteY0" fmla="*/ 34384 h 41461"/>
                        <a:gd name="connsiteX1" fmla="*/ 65325 w 66300"/>
                        <a:gd name="connsiteY1" fmla="*/ 14424 h 41461"/>
                        <a:gd name="connsiteX2" fmla="*/ 51534 w 66300"/>
                        <a:gd name="connsiteY2" fmla="*/ 89 h 41461"/>
                        <a:gd name="connsiteX3" fmla="*/ 14275 w 66300"/>
                        <a:gd name="connsiteY3" fmla="*/ 2629 h 41461"/>
                        <a:gd name="connsiteX4" fmla="*/ 0 w 66300"/>
                        <a:gd name="connsiteY4" fmla="*/ 21319 h 41461"/>
                        <a:gd name="connsiteX5" fmla="*/ 12581 w 66300"/>
                        <a:gd name="connsiteY5" fmla="*/ 41461 h 41461"/>
                        <a:gd name="connsiteX6" fmla="*/ 57099 w 66300"/>
                        <a:gd name="connsiteY6" fmla="*/ 34384 h 4146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66300" h="41461">
                          <a:moveTo>
                            <a:pt x="57099" y="34384"/>
                          </a:moveTo>
                          <a:cubicBezTo>
                            <a:pt x="57099" y="34384"/>
                            <a:pt x="69861" y="28880"/>
                            <a:pt x="65325" y="14424"/>
                          </a:cubicBezTo>
                          <a:cubicBezTo>
                            <a:pt x="60184" y="-2028"/>
                            <a:pt x="51534" y="89"/>
                            <a:pt x="51534" y="89"/>
                          </a:cubicBezTo>
                          <a:lnTo>
                            <a:pt x="14275" y="2629"/>
                          </a:lnTo>
                          <a:cubicBezTo>
                            <a:pt x="5202" y="2629"/>
                            <a:pt x="61" y="13759"/>
                            <a:pt x="0" y="21319"/>
                          </a:cubicBezTo>
                          <a:cubicBezTo>
                            <a:pt x="423" y="33054"/>
                            <a:pt x="2057" y="38074"/>
                            <a:pt x="12581" y="41461"/>
                          </a:cubicBezTo>
                          <a:lnTo>
                            <a:pt x="57099" y="34384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83" name="Freihandform: Form 482">
                      <a:extLst>
                        <a:ext uri="{FF2B5EF4-FFF2-40B4-BE49-F238E27FC236}">
                          <a16:creationId xmlns:a16="http://schemas.microsoft.com/office/drawing/2014/main" id="{1FED9388-66A5-D7D5-0CBA-C6C4B989430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4780" y="3327234"/>
                      <a:ext cx="82184" cy="44013"/>
                    </a:xfrm>
                    <a:custGeom>
                      <a:avLst/>
                      <a:gdLst>
                        <a:gd name="connsiteX0" fmla="*/ 56720 w 82184"/>
                        <a:gd name="connsiteY0" fmla="*/ 27489 h 44013"/>
                        <a:gd name="connsiteX1" fmla="*/ 82185 w 82184"/>
                        <a:gd name="connsiteY1" fmla="*/ 16238 h 44013"/>
                        <a:gd name="connsiteX2" fmla="*/ 42082 w 82184"/>
                        <a:gd name="connsiteY2" fmla="*/ 1117 h 44013"/>
                        <a:gd name="connsiteX3" fmla="*/ 12868 w 82184"/>
                        <a:gd name="connsiteY3" fmla="*/ 9706 h 44013"/>
                        <a:gd name="connsiteX4" fmla="*/ 165 w 82184"/>
                        <a:gd name="connsiteY4" fmla="*/ 29484 h 44013"/>
                        <a:gd name="connsiteX5" fmla="*/ 18432 w 82184"/>
                        <a:gd name="connsiteY5" fmla="*/ 44001 h 44013"/>
                        <a:gd name="connsiteX6" fmla="*/ 56720 w 82184"/>
                        <a:gd name="connsiteY6" fmla="*/ 27489 h 4401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82184" h="44013">
                          <a:moveTo>
                            <a:pt x="56720" y="27489"/>
                          </a:moveTo>
                          <a:lnTo>
                            <a:pt x="82185" y="16238"/>
                          </a:lnTo>
                          <a:cubicBezTo>
                            <a:pt x="75833" y="-517"/>
                            <a:pt x="55510" y="-1545"/>
                            <a:pt x="42082" y="1117"/>
                          </a:cubicBezTo>
                          <a:cubicBezTo>
                            <a:pt x="28654" y="3778"/>
                            <a:pt x="12868" y="9706"/>
                            <a:pt x="12868" y="9706"/>
                          </a:cubicBezTo>
                          <a:cubicBezTo>
                            <a:pt x="3916" y="11460"/>
                            <a:pt x="-984" y="19988"/>
                            <a:pt x="165" y="29484"/>
                          </a:cubicBezTo>
                          <a:cubicBezTo>
                            <a:pt x="1315" y="38981"/>
                            <a:pt x="9299" y="44304"/>
                            <a:pt x="18432" y="44001"/>
                          </a:cubicBezTo>
                          <a:lnTo>
                            <a:pt x="56720" y="27489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84" name="Freihandform: Form 483">
                      <a:extLst>
                        <a:ext uri="{FF2B5EF4-FFF2-40B4-BE49-F238E27FC236}">
                          <a16:creationId xmlns:a16="http://schemas.microsoft.com/office/drawing/2014/main" id="{BBA519D3-3029-F0F2-7F79-132DB40B6DF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85508" y="3327201"/>
                      <a:ext cx="103672" cy="28807"/>
                    </a:xfrm>
                    <a:custGeom>
                      <a:avLst/>
                      <a:gdLst>
                        <a:gd name="connsiteX0" fmla="*/ 103673 w 103672"/>
                        <a:gd name="connsiteY0" fmla="*/ 2964 h 28807"/>
                        <a:gd name="connsiteX1" fmla="*/ 82140 w 103672"/>
                        <a:gd name="connsiteY1" fmla="*/ 9799 h 28807"/>
                        <a:gd name="connsiteX2" fmla="*/ 44881 w 103672"/>
                        <a:gd name="connsiteY2" fmla="*/ 12339 h 28807"/>
                        <a:gd name="connsiteX3" fmla="*/ 2480 w 103672"/>
                        <a:gd name="connsiteY3" fmla="*/ 302 h 28807"/>
                        <a:gd name="connsiteX4" fmla="*/ 0 w 103672"/>
                        <a:gd name="connsiteY4" fmla="*/ 0 h 28807"/>
                        <a:gd name="connsiteX5" fmla="*/ 16573 w 103672"/>
                        <a:gd name="connsiteY5" fmla="*/ 22864 h 28807"/>
                        <a:gd name="connsiteX6" fmla="*/ 63510 w 103672"/>
                        <a:gd name="connsiteY6" fmla="*/ 26916 h 28807"/>
                        <a:gd name="connsiteX7" fmla="*/ 103673 w 103672"/>
                        <a:gd name="connsiteY7" fmla="*/ 3024 h 28807"/>
                        <a:gd name="connsiteX8" fmla="*/ 103673 w 103672"/>
                        <a:gd name="connsiteY8" fmla="*/ 3024 h 288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03672" h="28807">
                          <a:moveTo>
                            <a:pt x="103673" y="2964"/>
                          </a:moveTo>
                          <a:cubicBezTo>
                            <a:pt x="92544" y="5867"/>
                            <a:pt x="82140" y="9799"/>
                            <a:pt x="82140" y="9799"/>
                          </a:cubicBezTo>
                          <a:lnTo>
                            <a:pt x="44881" y="12339"/>
                          </a:lnTo>
                          <a:lnTo>
                            <a:pt x="2480" y="302"/>
                          </a:lnTo>
                          <a:cubicBezTo>
                            <a:pt x="1633" y="121"/>
                            <a:pt x="847" y="121"/>
                            <a:pt x="0" y="0"/>
                          </a:cubicBezTo>
                          <a:cubicBezTo>
                            <a:pt x="0" y="0"/>
                            <a:pt x="7803" y="19718"/>
                            <a:pt x="16573" y="22864"/>
                          </a:cubicBezTo>
                          <a:cubicBezTo>
                            <a:pt x="25404" y="26009"/>
                            <a:pt x="32844" y="31815"/>
                            <a:pt x="63510" y="26916"/>
                          </a:cubicBezTo>
                          <a:cubicBezTo>
                            <a:pt x="84196" y="23589"/>
                            <a:pt x="103673" y="3024"/>
                            <a:pt x="103673" y="3024"/>
                          </a:cubicBezTo>
                          <a:lnTo>
                            <a:pt x="103673" y="3024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466" name="Grafik 297">
                    <a:extLst>
                      <a:ext uri="{FF2B5EF4-FFF2-40B4-BE49-F238E27FC236}">
                        <a16:creationId xmlns:a16="http://schemas.microsoft.com/office/drawing/2014/main" id="{32A39F59-EEBA-8A1F-3240-83C431BA3FC2}"/>
                      </a:ext>
                    </a:extLst>
                  </p:cNvPr>
                  <p:cNvGrpSpPr/>
                  <p:nvPr/>
                </p:nvGrpSpPr>
                <p:grpSpPr>
                  <a:xfrm>
                    <a:off x="1250636" y="3354113"/>
                    <a:ext cx="167214" cy="58191"/>
                    <a:chOff x="1250636" y="3354113"/>
                    <a:chExt cx="167214" cy="58191"/>
                  </a:xfrm>
                  <a:solidFill>
                    <a:srgbClr val="02787D"/>
                  </a:solidFill>
                </p:grpSpPr>
                <p:sp>
                  <p:nvSpPr>
                    <p:cNvPr id="478" name="Freihandform: Form 477">
                      <a:extLst>
                        <a:ext uri="{FF2B5EF4-FFF2-40B4-BE49-F238E27FC236}">
                          <a16:creationId xmlns:a16="http://schemas.microsoft.com/office/drawing/2014/main" id="{B11A67A0-4F77-BFAB-0945-0A310C901E1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50636" y="3363067"/>
                      <a:ext cx="81268" cy="49237"/>
                    </a:xfrm>
                    <a:custGeom>
                      <a:avLst/>
                      <a:gdLst>
                        <a:gd name="connsiteX0" fmla="*/ 69530 w 81268"/>
                        <a:gd name="connsiteY0" fmla="*/ 49177 h 49237"/>
                        <a:gd name="connsiteX1" fmla="*/ 81022 w 81268"/>
                        <a:gd name="connsiteY1" fmla="*/ 30426 h 49237"/>
                        <a:gd name="connsiteX2" fmla="*/ 64993 w 81268"/>
                        <a:gd name="connsiteY2" fmla="*/ 11131 h 49237"/>
                        <a:gd name="connsiteX3" fmla="*/ 23803 w 81268"/>
                        <a:gd name="connsiteY3" fmla="*/ 304 h 49237"/>
                        <a:gd name="connsiteX4" fmla="*/ 757 w 81268"/>
                        <a:gd name="connsiteY4" fmla="*/ 14216 h 49237"/>
                        <a:gd name="connsiteX5" fmla="*/ 17089 w 81268"/>
                        <a:gd name="connsiteY5" fmla="*/ 39076 h 49237"/>
                        <a:gd name="connsiteX6" fmla="*/ 69590 w 81268"/>
                        <a:gd name="connsiteY6" fmla="*/ 49237 h 4923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81268" h="49237">
                          <a:moveTo>
                            <a:pt x="69530" y="49177"/>
                          </a:moveTo>
                          <a:cubicBezTo>
                            <a:pt x="69530" y="49177"/>
                            <a:pt x="83260" y="45003"/>
                            <a:pt x="81022" y="30426"/>
                          </a:cubicBezTo>
                          <a:cubicBezTo>
                            <a:pt x="78361" y="12885"/>
                            <a:pt x="64993" y="11131"/>
                            <a:pt x="64993" y="11131"/>
                          </a:cubicBezTo>
                          <a:lnTo>
                            <a:pt x="23803" y="304"/>
                          </a:lnTo>
                          <a:cubicBezTo>
                            <a:pt x="11826" y="-1450"/>
                            <a:pt x="3177" y="4538"/>
                            <a:pt x="757" y="14216"/>
                          </a:cubicBezTo>
                          <a:cubicBezTo>
                            <a:pt x="-2146" y="23773"/>
                            <a:pt x="3298" y="35265"/>
                            <a:pt x="17089" y="39076"/>
                          </a:cubicBezTo>
                          <a:lnTo>
                            <a:pt x="69590" y="49237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79" name="Freihandform: Form 478">
                      <a:extLst>
                        <a:ext uri="{FF2B5EF4-FFF2-40B4-BE49-F238E27FC236}">
                          <a16:creationId xmlns:a16="http://schemas.microsoft.com/office/drawing/2014/main" id="{E918A61A-5CBF-1D8D-5162-ACD109BC1C0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03585" y="3362437"/>
                      <a:ext cx="66097" cy="49807"/>
                    </a:xfrm>
                    <a:custGeom>
                      <a:avLst/>
                      <a:gdLst>
                        <a:gd name="connsiteX0" fmla="*/ 56441 w 66097"/>
                        <a:gd name="connsiteY0" fmla="*/ 32569 h 49807"/>
                        <a:gd name="connsiteX1" fmla="*/ 65272 w 66097"/>
                        <a:gd name="connsiteY1" fmla="*/ 13093 h 49807"/>
                        <a:gd name="connsiteX2" fmla="*/ 48578 w 66097"/>
                        <a:gd name="connsiteY2" fmla="*/ 330 h 49807"/>
                        <a:gd name="connsiteX3" fmla="*/ 11621 w 66097"/>
                        <a:gd name="connsiteY3" fmla="*/ 11762 h 49807"/>
                        <a:gd name="connsiteX4" fmla="*/ 68 w 66097"/>
                        <a:gd name="connsiteY4" fmla="*/ 31057 h 49807"/>
                        <a:gd name="connsiteX5" fmla="*/ 16581 w 66097"/>
                        <a:gd name="connsiteY5" fmla="*/ 49808 h 49807"/>
                        <a:gd name="connsiteX6" fmla="*/ 56441 w 66097"/>
                        <a:gd name="connsiteY6" fmla="*/ 32569 h 498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66097" h="49807">
                          <a:moveTo>
                            <a:pt x="56441" y="32569"/>
                          </a:moveTo>
                          <a:cubicBezTo>
                            <a:pt x="56441" y="32569"/>
                            <a:pt x="69445" y="29424"/>
                            <a:pt x="65272" y="13093"/>
                          </a:cubicBezTo>
                          <a:cubicBezTo>
                            <a:pt x="60977" y="-3239"/>
                            <a:pt x="48578" y="330"/>
                            <a:pt x="48578" y="330"/>
                          </a:cubicBezTo>
                          <a:lnTo>
                            <a:pt x="11621" y="11762"/>
                          </a:lnTo>
                          <a:cubicBezTo>
                            <a:pt x="5391" y="17871"/>
                            <a:pt x="673" y="23194"/>
                            <a:pt x="68" y="31057"/>
                          </a:cubicBezTo>
                          <a:cubicBezTo>
                            <a:pt x="-537" y="38920"/>
                            <a:pt x="2729" y="47751"/>
                            <a:pt x="16581" y="49808"/>
                          </a:cubicBezTo>
                          <a:lnTo>
                            <a:pt x="56441" y="32569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80" name="Freihandform: Form 479">
                      <a:extLst>
                        <a:ext uri="{FF2B5EF4-FFF2-40B4-BE49-F238E27FC236}">
                          <a16:creationId xmlns:a16="http://schemas.microsoft.com/office/drawing/2014/main" id="{34D2D357-06D5-FBDA-9D45-2FE4EA8700B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3092" y="3354113"/>
                      <a:ext cx="74758" cy="40567"/>
                    </a:xfrm>
                    <a:custGeom>
                      <a:avLst/>
                      <a:gdLst>
                        <a:gd name="connsiteX0" fmla="*/ 49839 w 74758"/>
                        <a:gd name="connsiteY0" fmla="*/ 26920 h 40567"/>
                        <a:gd name="connsiteX1" fmla="*/ 74759 w 74758"/>
                        <a:gd name="connsiteY1" fmla="*/ 16093 h 40567"/>
                        <a:gd name="connsiteX2" fmla="*/ 35685 w 74758"/>
                        <a:gd name="connsiteY2" fmla="*/ 1032 h 40567"/>
                        <a:gd name="connsiteX3" fmla="*/ 7498 w 74758"/>
                        <a:gd name="connsiteY3" fmla="*/ 9137 h 40567"/>
                        <a:gd name="connsiteX4" fmla="*/ 845 w 74758"/>
                        <a:gd name="connsiteY4" fmla="*/ 28977 h 40567"/>
                        <a:gd name="connsiteX5" fmla="*/ 18507 w 74758"/>
                        <a:gd name="connsiteY5" fmla="*/ 40348 h 40567"/>
                        <a:gd name="connsiteX6" fmla="*/ 49899 w 74758"/>
                        <a:gd name="connsiteY6" fmla="*/ 26920 h 4056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74758" h="40567">
                          <a:moveTo>
                            <a:pt x="49839" y="26920"/>
                          </a:moveTo>
                          <a:lnTo>
                            <a:pt x="74759" y="16093"/>
                          </a:lnTo>
                          <a:cubicBezTo>
                            <a:pt x="68650" y="-359"/>
                            <a:pt x="48810" y="-1508"/>
                            <a:pt x="35685" y="1032"/>
                          </a:cubicBezTo>
                          <a:cubicBezTo>
                            <a:pt x="22559" y="3572"/>
                            <a:pt x="7498" y="9137"/>
                            <a:pt x="7498" y="9137"/>
                          </a:cubicBezTo>
                          <a:cubicBezTo>
                            <a:pt x="-1030" y="14400"/>
                            <a:pt x="-667" y="22202"/>
                            <a:pt x="845" y="28977"/>
                          </a:cubicBezTo>
                          <a:cubicBezTo>
                            <a:pt x="2599" y="36840"/>
                            <a:pt x="9676" y="41679"/>
                            <a:pt x="18507" y="40348"/>
                          </a:cubicBezTo>
                          <a:lnTo>
                            <a:pt x="49899" y="26920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467" name="Grafik 297">
                    <a:extLst>
                      <a:ext uri="{FF2B5EF4-FFF2-40B4-BE49-F238E27FC236}">
                        <a16:creationId xmlns:a16="http://schemas.microsoft.com/office/drawing/2014/main" id="{10931CAD-4D0D-6623-6BEC-A5438C76A79D}"/>
                      </a:ext>
                    </a:extLst>
                  </p:cNvPr>
                  <p:cNvGrpSpPr/>
                  <p:nvPr/>
                </p:nvGrpSpPr>
                <p:grpSpPr>
                  <a:xfrm>
                    <a:off x="1219789" y="3374219"/>
                    <a:ext cx="153786" cy="54598"/>
                    <a:chOff x="1219789" y="3374219"/>
                    <a:chExt cx="153786" cy="54598"/>
                  </a:xfrm>
                  <a:solidFill>
                    <a:srgbClr val="02787D"/>
                  </a:solidFill>
                </p:grpSpPr>
                <p:sp>
                  <p:nvSpPr>
                    <p:cNvPr id="475" name="Freihandform: Form 474">
                      <a:extLst>
                        <a:ext uri="{FF2B5EF4-FFF2-40B4-BE49-F238E27FC236}">
                          <a16:creationId xmlns:a16="http://schemas.microsoft.com/office/drawing/2014/main" id="{91F5CB28-687A-EFA0-0D2C-5921AB02263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19789" y="3382861"/>
                      <a:ext cx="71114" cy="45956"/>
                    </a:xfrm>
                    <a:custGeom>
                      <a:avLst/>
                      <a:gdLst>
                        <a:gd name="connsiteX0" fmla="*/ 62513 w 71114"/>
                        <a:gd name="connsiteY0" fmla="*/ 45956 h 45956"/>
                        <a:gd name="connsiteX1" fmla="*/ 70195 w 71114"/>
                        <a:gd name="connsiteY1" fmla="*/ 29746 h 45956"/>
                        <a:gd name="connsiteX2" fmla="*/ 65537 w 71114"/>
                        <a:gd name="connsiteY2" fmla="*/ 13233 h 45956"/>
                        <a:gd name="connsiteX3" fmla="*/ 19568 w 71114"/>
                        <a:gd name="connsiteY3" fmla="*/ 410 h 45956"/>
                        <a:gd name="connsiteX4" fmla="*/ 999 w 71114"/>
                        <a:gd name="connsiteY4" fmla="*/ 10753 h 45956"/>
                        <a:gd name="connsiteX5" fmla="*/ 13399 w 71114"/>
                        <a:gd name="connsiteY5" fmla="*/ 36702 h 45956"/>
                        <a:gd name="connsiteX6" fmla="*/ 62513 w 71114"/>
                        <a:gd name="connsiteY6" fmla="*/ 45956 h 4595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71114" h="45956">
                          <a:moveTo>
                            <a:pt x="62513" y="45956"/>
                          </a:moveTo>
                          <a:cubicBezTo>
                            <a:pt x="62513" y="45956"/>
                            <a:pt x="66566" y="43053"/>
                            <a:pt x="70195" y="29746"/>
                          </a:cubicBezTo>
                          <a:cubicBezTo>
                            <a:pt x="73824" y="16379"/>
                            <a:pt x="65537" y="13233"/>
                            <a:pt x="65537" y="13233"/>
                          </a:cubicBezTo>
                          <a:lnTo>
                            <a:pt x="19568" y="410"/>
                          </a:lnTo>
                          <a:cubicBezTo>
                            <a:pt x="8378" y="-1162"/>
                            <a:pt x="3237" y="1681"/>
                            <a:pt x="999" y="10753"/>
                          </a:cubicBezTo>
                          <a:cubicBezTo>
                            <a:pt x="-1662" y="19705"/>
                            <a:pt x="515" y="33194"/>
                            <a:pt x="13399" y="36702"/>
                          </a:cubicBezTo>
                          <a:lnTo>
                            <a:pt x="62513" y="45956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76" name="Freihandform: Form 475">
                      <a:extLst>
                        <a:ext uri="{FF2B5EF4-FFF2-40B4-BE49-F238E27FC236}">
                          <a16:creationId xmlns:a16="http://schemas.microsoft.com/office/drawing/2014/main" id="{C27F9953-FD10-C9CB-D491-019DBF31655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70181" y="3381975"/>
                      <a:ext cx="59305" cy="46842"/>
                    </a:xfrm>
                    <a:custGeom>
                      <a:avLst/>
                      <a:gdLst>
                        <a:gd name="connsiteX0" fmla="*/ 49320 w 59305"/>
                        <a:gd name="connsiteY0" fmla="*/ 30572 h 46842"/>
                        <a:gd name="connsiteX1" fmla="*/ 58574 w 59305"/>
                        <a:gd name="connsiteY1" fmla="*/ 11338 h 46842"/>
                        <a:gd name="connsiteX2" fmla="*/ 41154 w 59305"/>
                        <a:gd name="connsiteY2" fmla="*/ 632 h 46842"/>
                        <a:gd name="connsiteX3" fmla="*/ 13330 w 59305"/>
                        <a:gd name="connsiteY3" fmla="*/ 13636 h 46842"/>
                        <a:gd name="connsiteX4" fmla="*/ 23 w 59305"/>
                        <a:gd name="connsiteY4" fmla="*/ 28213 h 46842"/>
                        <a:gd name="connsiteX5" fmla="*/ 12121 w 59305"/>
                        <a:gd name="connsiteY5" fmla="*/ 46843 h 46842"/>
                        <a:gd name="connsiteX6" fmla="*/ 49320 w 59305"/>
                        <a:gd name="connsiteY6" fmla="*/ 30572 h 4684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59305" h="46842">
                          <a:moveTo>
                            <a:pt x="49320" y="30572"/>
                          </a:moveTo>
                          <a:cubicBezTo>
                            <a:pt x="49320" y="30572"/>
                            <a:pt x="62506" y="26641"/>
                            <a:pt x="58574" y="11338"/>
                          </a:cubicBezTo>
                          <a:cubicBezTo>
                            <a:pt x="54461" y="-3905"/>
                            <a:pt x="41154" y="632"/>
                            <a:pt x="41154" y="632"/>
                          </a:cubicBezTo>
                          <a:lnTo>
                            <a:pt x="13330" y="13636"/>
                          </a:lnTo>
                          <a:cubicBezTo>
                            <a:pt x="5467" y="14967"/>
                            <a:pt x="326" y="15511"/>
                            <a:pt x="23" y="28213"/>
                          </a:cubicBezTo>
                          <a:cubicBezTo>
                            <a:pt x="-279" y="40915"/>
                            <a:pt x="2261" y="44968"/>
                            <a:pt x="12121" y="46843"/>
                          </a:cubicBezTo>
                          <a:lnTo>
                            <a:pt x="49320" y="30572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77" name="Freihandform: Form 476">
                      <a:extLst>
                        <a:ext uri="{FF2B5EF4-FFF2-40B4-BE49-F238E27FC236}">
                          <a16:creationId xmlns:a16="http://schemas.microsoft.com/office/drawing/2014/main" id="{3736A1DC-453F-78E8-99CD-6DBC42497B7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04207" y="3374219"/>
                      <a:ext cx="69368" cy="38586"/>
                    </a:xfrm>
                    <a:custGeom>
                      <a:avLst/>
                      <a:gdLst>
                        <a:gd name="connsiteX0" fmla="*/ 46081 w 69368"/>
                        <a:gd name="connsiteY0" fmla="*/ 25142 h 38586"/>
                        <a:gd name="connsiteX1" fmla="*/ 69368 w 69368"/>
                        <a:gd name="connsiteY1" fmla="*/ 14920 h 38586"/>
                        <a:gd name="connsiteX2" fmla="*/ 32714 w 69368"/>
                        <a:gd name="connsiteY2" fmla="*/ 1008 h 38586"/>
                        <a:gd name="connsiteX3" fmla="*/ 7128 w 69368"/>
                        <a:gd name="connsiteY3" fmla="*/ 8447 h 38586"/>
                        <a:gd name="connsiteX4" fmla="*/ 656 w 69368"/>
                        <a:gd name="connsiteY4" fmla="*/ 23569 h 38586"/>
                        <a:gd name="connsiteX5" fmla="*/ 15294 w 69368"/>
                        <a:gd name="connsiteY5" fmla="*/ 38388 h 38586"/>
                        <a:gd name="connsiteX6" fmla="*/ 46081 w 69368"/>
                        <a:gd name="connsiteY6" fmla="*/ 25142 h 385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69368" h="38586">
                          <a:moveTo>
                            <a:pt x="46081" y="25142"/>
                          </a:moveTo>
                          <a:lnTo>
                            <a:pt x="69368" y="14920"/>
                          </a:lnTo>
                          <a:cubicBezTo>
                            <a:pt x="63562" y="-444"/>
                            <a:pt x="44992" y="-1412"/>
                            <a:pt x="32714" y="1008"/>
                          </a:cubicBezTo>
                          <a:cubicBezTo>
                            <a:pt x="20435" y="3427"/>
                            <a:pt x="7128" y="8447"/>
                            <a:pt x="7128" y="8447"/>
                          </a:cubicBezTo>
                          <a:cubicBezTo>
                            <a:pt x="-917" y="12863"/>
                            <a:pt x="-554" y="17157"/>
                            <a:pt x="656" y="23569"/>
                          </a:cubicBezTo>
                          <a:cubicBezTo>
                            <a:pt x="1926" y="30585"/>
                            <a:pt x="7128" y="40082"/>
                            <a:pt x="15294" y="38388"/>
                          </a:cubicBezTo>
                          <a:lnTo>
                            <a:pt x="46081" y="25142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468" name="Freihandform: Form 467">
                    <a:extLst>
                      <a:ext uri="{FF2B5EF4-FFF2-40B4-BE49-F238E27FC236}">
                        <a16:creationId xmlns:a16="http://schemas.microsoft.com/office/drawing/2014/main" id="{77622C79-F79F-3F22-AF33-BDFC94A7F131}"/>
                      </a:ext>
                    </a:extLst>
                  </p:cNvPr>
                  <p:cNvSpPr/>
                  <p:nvPr/>
                </p:nvSpPr>
                <p:spPr>
                  <a:xfrm>
                    <a:off x="1069820" y="3243005"/>
                    <a:ext cx="221554" cy="177405"/>
                  </a:xfrm>
                  <a:custGeom>
                    <a:avLst/>
                    <a:gdLst>
                      <a:gd name="connsiteX0" fmla="*/ 8644 w 221554"/>
                      <a:gd name="connsiteY0" fmla="*/ 104036 h 177405"/>
                      <a:gd name="connsiteX1" fmla="*/ 72154 w 221554"/>
                      <a:gd name="connsiteY1" fmla="*/ 151094 h 177405"/>
                      <a:gd name="connsiteX2" fmla="*/ 167056 w 221554"/>
                      <a:gd name="connsiteY2" fmla="*/ 177405 h 177405"/>
                      <a:gd name="connsiteX3" fmla="*/ 221554 w 221554"/>
                      <a:gd name="connsiteY3" fmla="*/ 56917 h 177405"/>
                      <a:gd name="connsiteX4" fmla="*/ 195001 w 221554"/>
                      <a:gd name="connsiteY4" fmla="*/ 39739 h 177405"/>
                      <a:gd name="connsiteX5" fmla="*/ 58968 w 221554"/>
                      <a:gd name="connsiteY5" fmla="*/ 0 h 177405"/>
                      <a:gd name="connsiteX6" fmla="*/ 8644 w 221554"/>
                      <a:gd name="connsiteY6" fmla="*/ 104096 h 1774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21554" h="177405">
                        <a:moveTo>
                          <a:pt x="8644" y="104036"/>
                        </a:moveTo>
                        <a:cubicBezTo>
                          <a:pt x="21890" y="119339"/>
                          <a:pt x="47415" y="136396"/>
                          <a:pt x="72154" y="151094"/>
                        </a:cubicBezTo>
                        <a:cubicBezTo>
                          <a:pt x="124898" y="172990"/>
                          <a:pt x="165786" y="177103"/>
                          <a:pt x="167056" y="177405"/>
                        </a:cubicBezTo>
                        <a:cubicBezTo>
                          <a:pt x="170504" y="176317"/>
                          <a:pt x="221131" y="153876"/>
                          <a:pt x="221554" y="56917"/>
                        </a:cubicBezTo>
                        <a:cubicBezTo>
                          <a:pt x="188287" y="49961"/>
                          <a:pt x="195061" y="39860"/>
                          <a:pt x="195001" y="39739"/>
                        </a:cubicBezTo>
                        <a:lnTo>
                          <a:pt x="58968" y="0"/>
                        </a:lnTo>
                        <a:cubicBezTo>
                          <a:pt x="22011" y="0"/>
                          <a:pt x="-17970" y="83229"/>
                          <a:pt x="8644" y="104096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9" name="Freihandform: Form 468">
                    <a:extLst>
                      <a:ext uri="{FF2B5EF4-FFF2-40B4-BE49-F238E27FC236}">
                        <a16:creationId xmlns:a16="http://schemas.microsoft.com/office/drawing/2014/main" id="{DAB6E0AB-91A7-1B93-40D4-46632299B0EE}"/>
                      </a:ext>
                    </a:extLst>
                  </p:cNvPr>
                  <p:cNvSpPr/>
                  <p:nvPr/>
                </p:nvSpPr>
                <p:spPr>
                  <a:xfrm>
                    <a:off x="1120941" y="3219161"/>
                    <a:ext cx="147269" cy="87642"/>
                  </a:xfrm>
                  <a:custGeom>
                    <a:avLst/>
                    <a:gdLst>
                      <a:gd name="connsiteX0" fmla="*/ 8271 w 147269"/>
                      <a:gd name="connsiteY0" fmla="*/ 22815 h 87642"/>
                      <a:gd name="connsiteX1" fmla="*/ 123497 w 147269"/>
                      <a:gd name="connsiteY1" fmla="*/ 4428 h 87642"/>
                      <a:gd name="connsiteX2" fmla="*/ 134384 w 147269"/>
                      <a:gd name="connsiteY2" fmla="*/ 67454 h 87642"/>
                      <a:gd name="connsiteX3" fmla="*/ 63797 w 147269"/>
                      <a:gd name="connsiteY3" fmla="*/ 87475 h 87642"/>
                      <a:gd name="connsiteX4" fmla="*/ 8271 w 147269"/>
                      <a:gd name="connsiteY4" fmla="*/ 22815 h 876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7269" h="87642">
                        <a:moveTo>
                          <a:pt x="8271" y="22815"/>
                        </a:moveTo>
                        <a:cubicBezTo>
                          <a:pt x="41720" y="-1258"/>
                          <a:pt x="87992" y="-4222"/>
                          <a:pt x="123497" y="4428"/>
                        </a:cubicBezTo>
                        <a:cubicBezTo>
                          <a:pt x="157006" y="18763"/>
                          <a:pt x="149687" y="62797"/>
                          <a:pt x="134384" y="67454"/>
                        </a:cubicBezTo>
                        <a:cubicBezTo>
                          <a:pt x="134384" y="67454"/>
                          <a:pt x="88717" y="86023"/>
                          <a:pt x="63797" y="87475"/>
                        </a:cubicBezTo>
                        <a:cubicBezTo>
                          <a:pt x="1073" y="91044"/>
                          <a:pt x="-10722" y="36546"/>
                          <a:pt x="8271" y="22815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0" name="Freihandform: Form 469">
                    <a:extLst>
                      <a:ext uri="{FF2B5EF4-FFF2-40B4-BE49-F238E27FC236}">
                        <a16:creationId xmlns:a16="http://schemas.microsoft.com/office/drawing/2014/main" id="{FB583D4E-DD44-6FDC-BF92-EE631CF7D5AB}"/>
                      </a:ext>
                    </a:extLst>
                  </p:cNvPr>
                  <p:cNvSpPr/>
                  <p:nvPr/>
                </p:nvSpPr>
                <p:spPr>
                  <a:xfrm>
                    <a:off x="1214311" y="3223039"/>
                    <a:ext cx="149283" cy="73980"/>
                  </a:xfrm>
                  <a:custGeom>
                    <a:avLst/>
                    <a:gdLst>
                      <a:gd name="connsiteX0" fmla="*/ 30126 w 149283"/>
                      <a:gd name="connsiteY0" fmla="*/ 550 h 73980"/>
                      <a:gd name="connsiteX1" fmla="*/ 91217 w 149283"/>
                      <a:gd name="connsiteY1" fmla="*/ 21417 h 73980"/>
                      <a:gd name="connsiteX2" fmla="*/ 149284 w 149283"/>
                      <a:gd name="connsiteY2" fmla="*/ 59947 h 73980"/>
                      <a:gd name="connsiteX3" fmla="*/ 122912 w 149283"/>
                      <a:gd name="connsiteY3" fmla="*/ 73979 h 73980"/>
                      <a:gd name="connsiteX4" fmla="*/ 84685 w 149283"/>
                      <a:gd name="connsiteY4" fmla="*/ 56983 h 73980"/>
                      <a:gd name="connsiteX5" fmla="*/ 50510 w 149283"/>
                      <a:gd name="connsiteY5" fmla="*/ 59705 h 73980"/>
                      <a:gd name="connsiteX6" fmla="*/ 4 w 149283"/>
                      <a:gd name="connsiteY6" fmla="*/ 27526 h 73980"/>
                      <a:gd name="connsiteX7" fmla="*/ 30126 w 149283"/>
                      <a:gd name="connsiteY7" fmla="*/ 550 h 739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49283" h="73980">
                        <a:moveTo>
                          <a:pt x="30126" y="550"/>
                        </a:moveTo>
                        <a:lnTo>
                          <a:pt x="91217" y="21417"/>
                        </a:lnTo>
                        <a:lnTo>
                          <a:pt x="149284" y="59947"/>
                        </a:lnTo>
                        <a:cubicBezTo>
                          <a:pt x="149284" y="59947"/>
                          <a:pt x="146622" y="73617"/>
                          <a:pt x="122912" y="73979"/>
                        </a:cubicBezTo>
                        <a:cubicBezTo>
                          <a:pt x="115956" y="74101"/>
                          <a:pt x="97266" y="62911"/>
                          <a:pt x="84685" y="56983"/>
                        </a:cubicBezTo>
                        <a:cubicBezTo>
                          <a:pt x="62002" y="56076"/>
                          <a:pt x="50510" y="59705"/>
                          <a:pt x="50510" y="59705"/>
                        </a:cubicBezTo>
                        <a:cubicBezTo>
                          <a:pt x="50510" y="59705"/>
                          <a:pt x="791" y="61398"/>
                          <a:pt x="4" y="27526"/>
                        </a:cubicBezTo>
                        <a:cubicBezTo>
                          <a:pt x="-359" y="12405"/>
                          <a:pt x="21900" y="-3140"/>
                          <a:pt x="30126" y="550"/>
                        </a:cubicBezTo>
                        <a:close/>
                      </a:path>
                    </a:pathLst>
                  </a:custGeom>
                  <a:solidFill>
                    <a:srgbClr val="02787D"/>
                  </a:solidFill>
                  <a:ln w="604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471" name="Grafik 297">
                    <a:extLst>
                      <a:ext uri="{FF2B5EF4-FFF2-40B4-BE49-F238E27FC236}">
                        <a16:creationId xmlns:a16="http://schemas.microsoft.com/office/drawing/2014/main" id="{72D6C6D0-CBB4-BD98-A429-79C467966F04}"/>
                      </a:ext>
                    </a:extLst>
                  </p:cNvPr>
                  <p:cNvGrpSpPr/>
                  <p:nvPr/>
                </p:nvGrpSpPr>
                <p:grpSpPr>
                  <a:xfrm>
                    <a:off x="1266882" y="3299490"/>
                    <a:ext cx="158227" cy="46280"/>
                    <a:chOff x="1266882" y="3299490"/>
                    <a:chExt cx="158227" cy="46280"/>
                  </a:xfrm>
                  <a:solidFill>
                    <a:srgbClr val="02787D"/>
                  </a:solidFill>
                </p:grpSpPr>
                <p:sp>
                  <p:nvSpPr>
                    <p:cNvPr id="472" name="Freihandform: Form 471">
                      <a:extLst>
                        <a:ext uri="{FF2B5EF4-FFF2-40B4-BE49-F238E27FC236}">
                          <a16:creationId xmlns:a16="http://schemas.microsoft.com/office/drawing/2014/main" id="{93ED8153-AC2B-4F9D-5B3B-5070BBEB71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66882" y="3299490"/>
                      <a:ext cx="75457" cy="46280"/>
                    </a:xfrm>
                    <a:custGeom>
                      <a:avLst/>
                      <a:gdLst>
                        <a:gd name="connsiteX0" fmla="*/ 58849 w 75457"/>
                        <a:gd name="connsiteY0" fmla="*/ 46280 h 46280"/>
                        <a:gd name="connsiteX1" fmla="*/ 74938 w 75457"/>
                        <a:gd name="connsiteY1" fmla="*/ 30009 h 46280"/>
                        <a:gd name="connsiteX2" fmla="*/ 61450 w 75457"/>
                        <a:gd name="connsiteY2" fmla="*/ 10956 h 46280"/>
                        <a:gd name="connsiteX3" fmla="*/ 24432 w 75457"/>
                        <a:gd name="connsiteY3" fmla="*/ 432 h 46280"/>
                        <a:gd name="connsiteX4" fmla="*/ 540 w 75457"/>
                        <a:gd name="connsiteY4" fmla="*/ 10775 h 46280"/>
                        <a:gd name="connsiteX5" fmla="*/ 18142 w 75457"/>
                        <a:gd name="connsiteY5" fmla="*/ 36663 h 46280"/>
                        <a:gd name="connsiteX6" fmla="*/ 58849 w 75457"/>
                        <a:gd name="connsiteY6" fmla="*/ 46220 h 4628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75457" h="46280">
                          <a:moveTo>
                            <a:pt x="58849" y="46280"/>
                          </a:moveTo>
                          <a:cubicBezTo>
                            <a:pt x="58849" y="46280"/>
                            <a:pt x="71248" y="43316"/>
                            <a:pt x="74938" y="30009"/>
                          </a:cubicBezTo>
                          <a:cubicBezTo>
                            <a:pt x="78628" y="16703"/>
                            <a:pt x="61450" y="10956"/>
                            <a:pt x="61450" y="10956"/>
                          </a:cubicBezTo>
                          <a:lnTo>
                            <a:pt x="24432" y="432"/>
                          </a:lnTo>
                          <a:cubicBezTo>
                            <a:pt x="13242" y="-1201"/>
                            <a:pt x="2778" y="1702"/>
                            <a:pt x="540" y="10775"/>
                          </a:cubicBezTo>
                          <a:cubicBezTo>
                            <a:pt x="-2121" y="19727"/>
                            <a:pt x="5258" y="33094"/>
                            <a:pt x="18142" y="36663"/>
                          </a:cubicBezTo>
                          <a:lnTo>
                            <a:pt x="58849" y="46220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73" name="Freihandform: Form 472">
                      <a:extLst>
                        <a:ext uri="{FF2B5EF4-FFF2-40B4-BE49-F238E27FC236}">
                          <a16:creationId xmlns:a16="http://schemas.microsoft.com/office/drawing/2014/main" id="{9AAE4974-3BDE-32B1-12E8-891E79981EA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10046" y="3310251"/>
                      <a:ext cx="65362" cy="35519"/>
                    </a:xfrm>
                    <a:custGeom>
                      <a:avLst/>
                      <a:gdLst>
                        <a:gd name="connsiteX0" fmla="*/ 54214 w 65362"/>
                        <a:gd name="connsiteY0" fmla="*/ 30137 h 35519"/>
                        <a:gd name="connsiteX1" fmla="*/ 65344 w 65362"/>
                        <a:gd name="connsiteY1" fmla="*/ 13926 h 35519"/>
                        <a:gd name="connsiteX2" fmla="*/ 51311 w 65362"/>
                        <a:gd name="connsiteY2" fmla="*/ 75 h 35519"/>
                        <a:gd name="connsiteX3" fmla="*/ 17741 w 65362"/>
                        <a:gd name="connsiteY3" fmla="*/ 75 h 35519"/>
                        <a:gd name="connsiteX4" fmla="*/ 382 w 65362"/>
                        <a:gd name="connsiteY4" fmla="*/ 16709 h 35519"/>
                        <a:gd name="connsiteX5" fmla="*/ 15685 w 65362"/>
                        <a:gd name="connsiteY5" fmla="*/ 35520 h 35519"/>
                        <a:gd name="connsiteX6" fmla="*/ 54214 w 65362"/>
                        <a:gd name="connsiteY6" fmla="*/ 30137 h 3551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65362" h="35519">
                          <a:moveTo>
                            <a:pt x="54214" y="30137"/>
                          </a:moveTo>
                          <a:cubicBezTo>
                            <a:pt x="54214" y="30137"/>
                            <a:pt x="64557" y="29653"/>
                            <a:pt x="65344" y="13926"/>
                          </a:cubicBezTo>
                          <a:cubicBezTo>
                            <a:pt x="65949" y="-1861"/>
                            <a:pt x="51311" y="75"/>
                            <a:pt x="51311" y="75"/>
                          </a:cubicBezTo>
                          <a:lnTo>
                            <a:pt x="17741" y="75"/>
                          </a:lnTo>
                          <a:cubicBezTo>
                            <a:pt x="6128" y="982"/>
                            <a:pt x="2680" y="4793"/>
                            <a:pt x="382" y="16709"/>
                          </a:cubicBezTo>
                          <a:cubicBezTo>
                            <a:pt x="-1856" y="28624"/>
                            <a:pt x="6068" y="33282"/>
                            <a:pt x="15685" y="35520"/>
                          </a:cubicBezTo>
                          <a:lnTo>
                            <a:pt x="54214" y="30137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74" name="Freihandform: Form 473">
                      <a:extLst>
                        <a:ext uri="{FF2B5EF4-FFF2-40B4-BE49-F238E27FC236}">
                          <a16:creationId xmlns:a16="http://schemas.microsoft.com/office/drawing/2014/main" id="{4A1D856A-AE87-4517-1E46-308D9E6B05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9145" y="3305185"/>
                      <a:ext cx="75964" cy="35201"/>
                    </a:xfrm>
                    <a:custGeom>
                      <a:avLst/>
                      <a:gdLst>
                        <a:gd name="connsiteX0" fmla="*/ 51588 w 75964"/>
                        <a:gd name="connsiteY0" fmla="*/ 25766 h 35201"/>
                        <a:gd name="connsiteX1" fmla="*/ 75964 w 75964"/>
                        <a:gd name="connsiteY1" fmla="*/ 18628 h 35201"/>
                        <a:gd name="connsiteX2" fmla="*/ 41427 w 75964"/>
                        <a:gd name="connsiteY2" fmla="*/ 120 h 35201"/>
                        <a:gd name="connsiteX3" fmla="*/ 12151 w 75964"/>
                        <a:gd name="connsiteY3" fmla="*/ 5080 h 35201"/>
                        <a:gd name="connsiteX4" fmla="*/ 54 w 75964"/>
                        <a:gd name="connsiteY4" fmla="*/ 20987 h 35201"/>
                        <a:gd name="connsiteX5" fmla="*/ 15055 w 75964"/>
                        <a:gd name="connsiteY5" fmla="*/ 35202 h 35201"/>
                        <a:gd name="connsiteX6" fmla="*/ 51528 w 75964"/>
                        <a:gd name="connsiteY6" fmla="*/ 25766 h 352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75964" h="35201">
                          <a:moveTo>
                            <a:pt x="51588" y="25766"/>
                          </a:moveTo>
                          <a:lnTo>
                            <a:pt x="75964" y="18628"/>
                          </a:lnTo>
                          <a:cubicBezTo>
                            <a:pt x="72214" y="2660"/>
                            <a:pt x="53947" y="-727"/>
                            <a:pt x="41427" y="120"/>
                          </a:cubicBezTo>
                          <a:cubicBezTo>
                            <a:pt x="28967" y="906"/>
                            <a:pt x="12151" y="5080"/>
                            <a:pt x="12151" y="5080"/>
                          </a:cubicBezTo>
                          <a:cubicBezTo>
                            <a:pt x="3925" y="8285"/>
                            <a:pt x="-551" y="12761"/>
                            <a:pt x="54" y="20987"/>
                          </a:cubicBezTo>
                          <a:cubicBezTo>
                            <a:pt x="538" y="27520"/>
                            <a:pt x="5559" y="34294"/>
                            <a:pt x="15055" y="35202"/>
                          </a:cubicBezTo>
                          <a:lnTo>
                            <a:pt x="51528" y="25766"/>
                          </a:lnTo>
                          <a:close/>
                        </a:path>
                      </a:pathLst>
                    </a:custGeom>
                    <a:solidFill>
                      <a:srgbClr val="02787D"/>
                    </a:solidFill>
                    <a:ln w="604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</p:grpSp>
          <p:grpSp>
            <p:nvGrpSpPr>
              <p:cNvPr id="455" name="Grafik 297">
                <a:extLst>
                  <a:ext uri="{FF2B5EF4-FFF2-40B4-BE49-F238E27FC236}">
                    <a16:creationId xmlns:a16="http://schemas.microsoft.com/office/drawing/2014/main" id="{4EF0731E-113B-CEF6-AAC3-A23E4A2E6AF8}"/>
                  </a:ext>
                </a:extLst>
              </p:cNvPr>
              <p:cNvGrpSpPr/>
              <p:nvPr/>
            </p:nvGrpSpPr>
            <p:grpSpPr>
              <a:xfrm>
                <a:off x="541712" y="2906158"/>
                <a:ext cx="587500" cy="440882"/>
                <a:chOff x="541712" y="2906158"/>
                <a:chExt cx="587500" cy="440882"/>
              </a:xfrm>
            </p:grpSpPr>
            <p:sp>
              <p:nvSpPr>
                <p:cNvPr id="460" name="Freihandform: Form 459">
                  <a:extLst>
                    <a:ext uri="{FF2B5EF4-FFF2-40B4-BE49-F238E27FC236}">
                      <a16:creationId xmlns:a16="http://schemas.microsoft.com/office/drawing/2014/main" id="{D9C66BDC-422E-2F90-B056-05626AC34830}"/>
                    </a:ext>
                  </a:extLst>
                </p:cNvPr>
                <p:cNvSpPr/>
                <p:nvPr/>
              </p:nvSpPr>
              <p:spPr>
                <a:xfrm>
                  <a:off x="598145" y="2926300"/>
                  <a:ext cx="531066" cy="420740"/>
                </a:xfrm>
                <a:custGeom>
                  <a:avLst/>
                  <a:gdLst>
                    <a:gd name="connsiteX0" fmla="*/ 480319 w 531066"/>
                    <a:gd name="connsiteY0" fmla="*/ 420740 h 420740"/>
                    <a:gd name="connsiteX1" fmla="*/ 531067 w 531066"/>
                    <a:gd name="connsiteY1" fmla="*/ 315676 h 420740"/>
                    <a:gd name="connsiteX2" fmla="*/ 112927 w 531066"/>
                    <a:gd name="connsiteY2" fmla="*/ 0 h 420740"/>
                    <a:gd name="connsiteX3" fmla="*/ 0 w 531066"/>
                    <a:gd name="connsiteY3" fmla="*/ 181035 h 420740"/>
                    <a:gd name="connsiteX4" fmla="*/ 480319 w 531066"/>
                    <a:gd name="connsiteY4" fmla="*/ 420740 h 420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1066" h="420740">
                      <a:moveTo>
                        <a:pt x="480319" y="420740"/>
                      </a:moveTo>
                      <a:lnTo>
                        <a:pt x="531067" y="315676"/>
                      </a:lnTo>
                      <a:lnTo>
                        <a:pt x="112927" y="0"/>
                      </a:lnTo>
                      <a:lnTo>
                        <a:pt x="0" y="181035"/>
                      </a:lnTo>
                      <a:lnTo>
                        <a:pt x="480319" y="420740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1" name="Freihandform: Form 460">
                  <a:extLst>
                    <a:ext uri="{FF2B5EF4-FFF2-40B4-BE49-F238E27FC236}">
                      <a16:creationId xmlns:a16="http://schemas.microsoft.com/office/drawing/2014/main" id="{8A3DC3D3-CFDC-2924-6A35-677F5EC26320}"/>
                    </a:ext>
                  </a:extLst>
                </p:cNvPr>
                <p:cNvSpPr/>
                <p:nvPr/>
              </p:nvSpPr>
              <p:spPr>
                <a:xfrm>
                  <a:off x="541712" y="2906158"/>
                  <a:ext cx="213878" cy="213878"/>
                </a:xfrm>
                <a:custGeom>
                  <a:avLst/>
                  <a:gdLst>
                    <a:gd name="connsiteX0" fmla="*/ 213878 w 213878"/>
                    <a:gd name="connsiteY0" fmla="*/ 106939 h 213878"/>
                    <a:gd name="connsiteX1" fmla="*/ 106939 w 213878"/>
                    <a:gd name="connsiteY1" fmla="*/ 213878 h 213878"/>
                    <a:gd name="connsiteX2" fmla="*/ 0 w 213878"/>
                    <a:gd name="connsiteY2" fmla="*/ 106939 h 213878"/>
                    <a:gd name="connsiteX3" fmla="*/ 106939 w 213878"/>
                    <a:gd name="connsiteY3" fmla="*/ 0 h 213878"/>
                    <a:gd name="connsiteX4" fmla="*/ 213878 w 213878"/>
                    <a:gd name="connsiteY4" fmla="*/ 106939 h 2138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3878" h="213878">
                      <a:moveTo>
                        <a:pt x="213878" y="106939"/>
                      </a:moveTo>
                      <a:cubicBezTo>
                        <a:pt x="213878" y="166000"/>
                        <a:pt x="166000" y="213878"/>
                        <a:pt x="106939" y="213878"/>
                      </a:cubicBezTo>
                      <a:cubicBezTo>
                        <a:pt x="47878" y="213878"/>
                        <a:pt x="0" y="166000"/>
                        <a:pt x="0" y="106939"/>
                      </a:cubicBezTo>
                      <a:cubicBezTo>
                        <a:pt x="0" y="47878"/>
                        <a:pt x="47878" y="0"/>
                        <a:pt x="106939" y="0"/>
                      </a:cubicBezTo>
                      <a:cubicBezTo>
                        <a:pt x="166000" y="0"/>
                        <a:pt x="213878" y="47878"/>
                        <a:pt x="213878" y="106939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2" name="Freihandform: Form 461">
                  <a:extLst>
                    <a:ext uri="{FF2B5EF4-FFF2-40B4-BE49-F238E27FC236}">
                      <a16:creationId xmlns:a16="http://schemas.microsoft.com/office/drawing/2014/main" id="{60510228-B0EA-01F7-78DD-29C26A011E0F}"/>
                    </a:ext>
                  </a:extLst>
                </p:cNvPr>
                <p:cNvSpPr/>
                <p:nvPr/>
              </p:nvSpPr>
              <p:spPr>
                <a:xfrm>
                  <a:off x="1001586" y="3186390"/>
                  <a:ext cx="127625" cy="160650"/>
                </a:xfrm>
                <a:custGeom>
                  <a:avLst/>
                  <a:gdLst>
                    <a:gd name="connsiteX0" fmla="*/ 53953 w 127625"/>
                    <a:gd name="connsiteY0" fmla="*/ 0 h 160650"/>
                    <a:gd name="connsiteX1" fmla="*/ 0 w 127625"/>
                    <a:gd name="connsiteY1" fmla="*/ 122121 h 160650"/>
                    <a:gd name="connsiteX2" fmla="*/ 76878 w 127625"/>
                    <a:gd name="connsiteY2" fmla="*/ 160651 h 160650"/>
                    <a:gd name="connsiteX3" fmla="*/ 127625 w 127625"/>
                    <a:gd name="connsiteY3" fmla="*/ 55587 h 160650"/>
                    <a:gd name="connsiteX4" fmla="*/ 53953 w 127625"/>
                    <a:gd name="connsiteY4" fmla="*/ 60 h 1606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7625" h="160650">
                      <a:moveTo>
                        <a:pt x="53953" y="0"/>
                      </a:moveTo>
                      <a:cubicBezTo>
                        <a:pt x="35505" y="41493"/>
                        <a:pt x="15182" y="87523"/>
                        <a:pt x="0" y="122121"/>
                      </a:cubicBezTo>
                      <a:lnTo>
                        <a:pt x="76878" y="160651"/>
                      </a:lnTo>
                      <a:cubicBezTo>
                        <a:pt x="102403" y="136094"/>
                        <a:pt x="118250" y="99802"/>
                        <a:pt x="127625" y="55587"/>
                      </a:cubicBezTo>
                      <a:lnTo>
                        <a:pt x="53953" y="60"/>
                      </a:lnTo>
                      <a:close/>
                    </a:path>
                  </a:pathLst>
                </a:custGeom>
                <a:solidFill>
                  <a:srgbClr val="02787D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56" name="Grafik 297">
                <a:extLst>
                  <a:ext uri="{FF2B5EF4-FFF2-40B4-BE49-F238E27FC236}">
                    <a16:creationId xmlns:a16="http://schemas.microsoft.com/office/drawing/2014/main" id="{7050B881-8EB8-481D-4881-778EDC13DCEC}"/>
                  </a:ext>
                </a:extLst>
              </p:cNvPr>
              <p:cNvGrpSpPr/>
              <p:nvPr/>
            </p:nvGrpSpPr>
            <p:grpSpPr>
              <a:xfrm>
                <a:off x="469794" y="2286298"/>
                <a:ext cx="311744" cy="732303"/>
                <a:chOff x="469794" y="2286298"/>
                <a:chExt cx="311744" cy="732303"/>
              </a:xfrm>
            </p:grpSpPr>
            <p:sp>
              <p:nvSpPr>
                <p:cNvPr id="457" name="Freihandform: Form 456">
                  <a:extLst>
                    <a:ext uri="{FF2B5EF4-FFF2-40B4-BE49-F238E27FC236}">
                      <a16:creationId xmlns:a16="http://schemas.microsoft.com/office/drawing/2014/main" id="{7258EFF4-F902-AE10-9546-3948501EAB5A}"/>
                    </a:ext>
                  </a:extLst>
                </p:cNvPr>
                <p:cNvSpPr/>
                <p:nvPr/>
              </p:nvSpPr>
              <p:spPr>
                <a:xfrm>
                  <a:off x="469794" y="2286298"/>
                  <a:ext cx="308236" cy="308236"/>
                </a:xfrm>
                <a:custGeom>
                  <a:avLst/>
                  <a:gdLst>
                    <a:gd name="connsiteX0" fmla="*/ 308236 w 308236"/>
                    <a:gd name="connsiteY0" fmla="*/ 154118 h 308236"/>
                    <a:gd name="connsiteX1" fmla="*/ 154118 w 308236"/>
                    <a:gd name="connsiteY1" fmla="*/ 308236 h 308236"/>
                    <a:gd name="connsiteX2" fmla="*/ 0 w 308236"/>
                    <a:gd name="connsiteY2" fmla="*/ 154118 h 308236"/>
                    <a:gd name="connsiteX3" fmla="*/ 154118 w 308236"/>
                    <a:gd name="connsiteY3" fmla="*/ 0 h 308236"/>
                    <a:gd name="connsiteX4" fmla="*/ 308236 w 308236"/>
                    <a:gd name="connsiteY4" fmla="*/ 154118 h 3082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8236" h="308236">
                      <a:moveTo>
                        <a:pt x="308236" y="154118"/>
                      </a:moveTo>
                      <a:cubicBezTo>
                        <a:pt x="308236" y="239235"/>
                        <a:pt x="239235" y="308236"/>
                        <a:pt x="154118" y="308236"/>
                      </a:cubicBezTo>
                      <a:cubicBezTo>
                        <a:pt x="69001" y="308236"/>
                        <a:pt x="0" y="239235"/>
                        <a:pt x="0" y="154118"/>
                      </a:cubicBezTo>
                      <a:cubicBezTo>
                        <a:pt x="0" y="69001"/>
                        <a:pt x="69001" y="0"/>
                        <a:pt x="154118" y="0"/>
                      </a:cubicBezTo>
                      <a:cubicBezTo>
                        <a:pt x="239235" y="0"/>
                        <a:pt x="308236" y="69001"/>
                        <a:pt x="308236" y="154118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8" name="Freihandform: Form 457">
                  <a:extLst>
                    <a:ext uri="{FF2B5EF4-FFF2-40B4-BE49-F238E27FC236}">
                      <a16:creationId xmlns:a16="http://schemas.microsoft.com/office/drawing/2014/main" id="{7CA51B04-C0EC-777B-70A0-7480BCFA5D6E}"/>
                    </a:ext>
                  </a:extLst>
                </p:cNvPr>
                <p:cNvSpPr/>
                <p:nvPr/>
              </p:nvSpPr>
              <p:spPr>
                <a:xfrm>
                  <a:off x="519030" y="2805268"/>
                  <a:ext cx="245331" cy="213333"/>
                </a:xfrm>
                <a:custGeom>
                  <a:avLst/>
                  <a:gdLst>
                    <a:gd name="connsiteX0" fmla="*/ 22864 w 245331"/>
                    <a:gd name="connsiteY0" fmla="*/ 213334 h 213333"/>
                    <a:gd name="connsiteX1" fmla="*/ 236319 w 245331"/>
                    <a:gd name="connsiteY1" fmla="*/ 203354 h 213333"/>
                    <a:gd name="connsiteX2" fmla="*/ 245331 w 245331"/>
                    <a:gd name="connsiteY2" fmla="*/ 0 h 213333"/>
                    <a:gd name="connsiteX3" fmla="*/ 0 w 245331"/>
                    <a:gd name="connsiteY3" fmla="*/ 5807 h 213333"/>
                    <a:gd name="connsiteX4" fmla="*/ 22864 w 245331"/>
                    <a:gd name="connsiteY4" fmla="*/ 213334 h 2133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5331" h="213333">
                      <a:moveTo>
                        <a:pt x="22864" y="213334"/>
                      </a:moveTo>
                      <a:lnTo>
                        <a:pt x="236319" y="203354"/>
                      </a:lnTo>
                      <a:lnTo>
                        <a:pt x="245331" y="0"/>
                      </a:lnTo>
                      <a:lnTo>
                        <a:pt x="0" y="5807"/>
                      </a:lnTo>
                      <a:lnTo>
                        <a:pt x="22864" y="213334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9" name="Freihandform: Form 458">
                  <a:extLst>
                    <a:ext uri="{FF2B5EF4-FFF2-40B4-BE49-F238E27FC236}">
                      <a16:creationId xmlns:a16="http://schemas.microsoft.com/office/drawing/2014/main" id="{815A73A4-9DB3-E3C1-A40D-1741F96D13A8}"/>
                    </a:ext>
                  </a:extLst>
                </p:cNvPr>
                <p:cNvSpPr/>
                <p:nvPr/>
              </p:nvSpPr>
              <p:spPr>
                <a:xfrm>
                  <a:off x="470096" y="2439751"/>
                  <a:ext cx="311442" cy="552236"/>
                </a:xfrm>
                <a:custGeom>
                  <a:avLst/>
                  <a:gdLst>
                    <a:gd name="connsiteX0" fmla="*/ 0 w 311442"/>
                    <a:gd name="connsiteY0" fmla="*/ 10041 h 552236"/>
                    <a:gd name="connsiteX1" fmla="*/ 46211 w 311442"/>
                    <a:gd name="connsiteY1" fmla="*/ 552237 h 552236"/>
                    <a:gd name="connsiteX2" fmla="*/ 311442 w 311442"/>
                    <a:gd name="connsiteY2" fmla="*/ 512195 h 552236"/>
                    <a:gd name="connsiteX3" fmla="*/ 307995 w 311442"/>
                    <a:gd name="connsiteY3" fmla="*/ 0 h 552236"/>
                    <a:gd name="connsiteX4" fmla="*/ 0 w 311442"/>
                    <a:gd name="connsiteY4" fmla="*/ 10041 h 5522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1442" h="552236">
                      <a:moveTo>
                        <a:pt x="0" y="10041"/>
                      </a:moveTo>
                      <a:cubicBezTo>
                        <a:pt x="4899" y="166881"/>
                        <a:pt x="46211" y="552237"/>
                        <a:pt x="46211" y="552237"/>
                      </a:cubicBezTo>
                      <a:lnTo>
                        <a:pt x="311442" y="512195"/>
                      </a:lnTo>
                      <a:lnTo>
                        <a:pt x="307995" y="0"/>
                      </a:lnTo>
                      <a:cubicBezTo>
                        <a:pt x="195551" y="3024"/>
                        <a:pt x="153876" y="4718"/>
                        <a:pt x="0" y="10041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60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693" name="Gruppieren 692">
            <a:extLst>
              <a:ext uri="{FF2B5EF4-FFF2-40B4-BE49-F238E27FC236}">
                <a16:creationId xmlns:a16="http://schemas.microsoft.com/office/drawing/2014/main" id="{0C3D3947-14F2-881C-A194-5FCFE0049B65}"/>
              </a:ext>
            </a:extLst>
          </p:cNvPr>
          <p:cNvGrpSpPr>
            <a:grpSpLocks/>
          </p:cNvGrpSpPr>
          <p:nvPr/>
        </p:nvGrpSpPr>
        <p:grpSpPr>
          <a:xfrm rot="16200000">
            <a:off x="2231575" y="3632237"/>
            <a:ext cx="1386469" cy="1101916"/>
            <a:chOff x="1714888" y="2531340"/>
            <a:chExt cx="1779843" cy="1190830"/>
          </a:xfrm>
        </p:grpSpPr>
        <p:sp>
          <p:nvSpPr>
            <p:cNvPr id="694" name="Freihandform: Form 693">
              <a:extLst>
                <a:ext uri="{FF2B5EF4-FFF2-40B4-BE49-F238E27FC236}">
                  <a16:creationId xmlns:a16="http://schemas.microsoft.com/office/drawing/2014/main" id="{73F36F83-E51B-9302-E96D-3FC586381DEA}"/>
                </a:ext>
              </a:extLst>
            </p:cNvPr>
            <p:cNvSpPr>
              <a:spLocks/>
            </p:cNvSpPr>
            <p:nvPr/>
          </p:nvSpPr>
          <p:spPr>
            <a:xfrm>
              <a:off x="1714888" y="2531340"/>
              <a:ext cx="381000" cy="602843"/>
            </a:xfrm>
            <a:custGeom>
              <a:avLst/>
              <a:gdLst>
                <a:gd name="connsiteX0" fmla="*/ 0 w 381000"/>
                <a:gd name="connsiteY0" fmla="*/ 0 h 533400"/>
                <a:gd name="connsiteX1" fmla="*/ 381000 w 381000"/>
                <a:gd name="connsiteY1" fmla="*/ 0 h 533400"/>
                <a:gd name="connsiteX2" fmla="*/ 381000 w 381000"/>
                <a:gd name="connsiteY2" fmla="*/ 53340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1000" h="533400">
                  <a:moveTo>
                    <a:pt x="0" y="0"/>
                  </a:moveTo>
                  <a:lnTo>
                    <a:pt x="381000" y="0"/>
                  </a:lnTo>
                  <a:lnTo>
                    <a:pt x="381000" y="533400"/>
                  </a:lnTo>
                </a:path>
              </a:pathLst>
            </a:custGeom>
            <a:ln w="19050" cap="rnd">
              <a:solidFill>
                <a:schemeClr val="accent3"/>
              </a:solidFill>
              <a:prstDash val="solid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5" name="Freihandform: Form 694">
              <a:extLst>
                <a:ext uri="{FF2B5EF4-FFF2-40B4-BE49-F238E27FC236}">
                  <a16:creationId xmlns:a16="http://schemas.microsoft.com/office/drawing/2014/main" id="{31250060-C3CA-CB60-B96A-8B76DB66CAF7}"/>
                </a:ext>
              </a:extLst>
            </p:cNvPr>
            <p:cNvSpPr>
              <a:spLocks/>
            </p:cNvSpPr>
            <p:nvPr/>
          </p:nvSpPr>
          <p:spPr>
            <a:xfrm flipH="1" flipV="1">
              <a:off x="2095886" y="3134186"/>
              <a:ext cx="1398845" cy="587984"/>
            </a:xfrm>
            <a:custGeom>
              <a:avLst/>
              <a:gdLst>
                <a:gd name="connsiteX0" fmla="*/ 0 w 381000"/>
                <a:gd name="connsiteY0" fmla="*/ 0 h 533400"/>
                <a:gd name="connsiteX1" fmla="*/ 381000 w 381000"/>
                <a:gd name="connsiteY1" fmla="*/ 0 h 533400"/>
                <a:gd name="connsiteX2" fmla="*/ 381000 w 381000"/>
                <a:gd name="connsiteY2" fmla="*/ 53340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1000" h="533400">
                  <a:moveTo>
                    <a:pt x="0" y="0"/>
                  </a:moveTo>
                  <a:lnTo>
                    <a:pt x="381000" y="0"/>
                  </a:lnTo>
                  <a:lnTo>
                    <a:pt x="381000" y="533400"/>
                  </a:lnTo>
                </a:path>
              </a:pathLst>
            </a:custGeom>
            <a:ln w="19050" cap="rnd">
              <a:solidFill>
                <a:schemeClr val="accent3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56" name="Rechteck: abgerundete Ecken 155">
            <a:extLst>
              <a:ext uri="{FF2B5EF4-FFF2-40B4-BE49-F238E27FC236}">
                <a16:creationId xmlns:a16="http://schemas.microsoft.com/office/drawing/2014/main" id="{393A37A7-E0F0-3602-0E4E-548AC0BBCA9C}"/>
              </a:ext>
            </a:extLst>
          </p:cNvPr>
          <p:cNvSpPr/>
          <p:nvPr/>
        </p:nvSpPr>
        <p:spPr>
          <a:xfrm>
            <a:off x="689784" y="2399748"/>
            <a:ext cx="1055196" cy="298282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/>
              <a:t>KIS</a:t>
            </a:r>
          </a:p>
        </p:txBody>
      </p:sp>
      <p:sp>
        <p:nvSpPr>
          <p:cNvPr id="157" name="Rechteck: abgerundete Ecken 156">
            <a:extLst>
              <a:ext uri="{FF2B5EF4-FFF2-40B4-BE49-F238E27FC236}">
                <a16:creationId xmlns:a16="http://schemas.microsoft.com/office/drawing/2014/main" id="{3CE6FDA0-DE3D-0889-72AA-BC0D9D66645D}"/>
              </a:ext>
            </a:extLst>
          </p:cNvPr>
          <p:cNvSpPr/>
          <p:nvPr/>
        </p:nvSpPr>
        <p:spPr>
          <a:xfrm>
            <a:off x="689784" y="2793168"/>
            <a:ext cx="1055196" cy="298282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/>
              <a:t>RIS</a:t>
            </a:r>
          </a:p>
        </p:txBody>
      </p:sp>
      <p:sp>
        <p:nvSpPr>
          <p:cNvPr id="158" name="Rechteck: abgerundete Ecken 157">
            <a:extLst>
              <a:ext uri="{FF2B5EF4-FFF2-40B4-BE49-F238E27FC236}">
                <a16:creationId xmlns:a16="http://schemas.microsoft.com/office/drawing/2014/main" id="{124D1EBF-DCFB-1A6E-0259-2305C34548C8}"/>
              </a:ext>
            </a:extLst>
          </p:cNvPr>
          <p:cNvSpPr/>
          <p:nvPr/>
        </p:nvSpPr>
        <p:spPr>
          <a:xfrm>
            <a:off x="689784" y="3186588"/>
            <a:ext cx="1055196" cy="298282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/>
              <a:t>LIS</a:t>
            </a:r>
          </a:p>
        </p:txBody>
      </p:sp>
      <p:sp>
        <p:nvSpPr>
          <p:cNvPr id="159" name="Rechteck: abgerundete Ecken 158">
            <a:extLst>
              <a:ext uri="{FF2B5EF4-FFF2-40B4-BE49-F238E27FC236}">
                <a16:creationId xmlns:a16="http://schemas.microsoft.com/office/drawing/2014/main" id="{86BB457C-53C5-1082-ECA9-40859C20068D}"/>
              </a:ext>
            </a:extLst>
          </p:cNvPr>
          <p:cNvSpPr/>
          <p:nvPr/>
        </p:nvSpPr>
        <p:spPr>
          <a:xfrm>
            <a:off x="689784" y="3580008"/>
            <a:ext cx="1055196" cy="298282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/>
              <a:t>Archiv</a:t>
            </a:r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F0F6D63B-0E1B-8791-22B6-5D5E636F3CB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166452" y="1744149"/>
            <a:ext cx="323737" cy="362693"/>
            <a:chOff x="3591" y="1890"/>
            <a:chExt cx="482" cy="540"/>
          </a:xfrm>
          <a:solidFill>
            <a:schemeClr val="bg1"/>
          </a:solidFill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E365220E-752F-5AF2-F958-C7FCA0EC26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1" y="2138"/>
              <a:ext cx="335" cy="292"/>
            </a:xfrm>
            <a:custGeom>
              <a:avLst/>
              <a:gdLst>
                <a:gd name="T0" fmla="*/ 3156 w 3173"/>
                <a:gd name="T1" fmla="*/ 752 h 2769"/>
                <a:gd name="T2" fmla="*/ 2877 w 3173"/>
                <a:gd name="T3" fmla="*/ 314 h 2769"/>
                <a:gd name="T4" fmla="*/ 2013 w 3173"/>
                <a:gd name="T5" fmla="*/ 0 h 2769"/>
                <a:gd name="T6" fmla="*/ 1587 w 3173"/>
                <a:gd name="T7" fmla="*/ 426 h 2769"/>
                <a:gd name="T8" fmla="*/ 1161 w 3173"/>
                <a:gd name="T9" fmla="*/ 0 h 2769"/>
                <a:gd name="T10" fmla="*/ 296 w 3173"/>
                <a:gd name="T11" fmla="*/ 314 h 2769"/>
                <a:gd name="T12" fmla="*/ 17 w 3173"/>
                <a:gd name="T13" fmla="*/ 752 h 2769"/>
                <a:gd name="T14" fmla="*/ 194 w 3173"/>
                <a:gd name="T15" fmla="*/ 2769 h 2769"/>
                <a:gd name="T16" fmla="*/ 2979 w 3173"/>
                <a:gd name="T17" fmla="*/ 2769 h 2769"/>
                <a:gd name="T18" fmla="*/ 3156 w 3173"/>
                <a:gd name="T19" fmla="*/ 752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73" h="2769">
                  <a:moveTo>
                    <a:pt x="3156" y="752"/>
                  </a:moveTo>
                  <a:cubicBezTo>
                    <a:pt x="3173" y="560"/>
                    <a:pt x="3058" y="380"/>
                    <a:pt x="2877" y="314"/>
                  </a:cubicBezTo>
                  <a:cubicBezTo>
                    <a:pt x="2013" y="0"/>
                    <a:pt x="2013" y="0"/>
                    <a:pt x="2013" y="0"/>
                  </a:cubicBezTo>
                  <a:cubicBezTo>
                    <a:pt x="1587" y="426"/>
                    <a:pt x="1587" y="426"/>
                    <a:pt x="1587" y="426"/>
                  </a:cubicBezTo>
                  <a:cubicBezTo>
                    <a:pt x="1161" y="0"/>
                    <a:pt x="1161" y="0"/>
                    <a:pt x="1161" y="0"/>
                  </a:cubicBezTo>
                  <a:cubicBezTo>
                    <a:pt x="296" y="314"/>
                    <a:pt x="296" y="314"/>
                    <a:pt x="296" y="314"/>
                  </a:cubicBezTo>
                  <a:cubicBezTo>
                    <a:pt x="115" y="380"/>
                    <a:pt x="0" y="560"/>
                    <a:pt x="17" y="752"/>
                  </a:cubicBezTo>
                  <a:cubicBezTo>
                    <a:pt x="194" y="2769"/>
                    <a:pt x="194" y="2769"/>
                    <a:pt x="194" y="2769"/>
                  </a:cubicBezTo>
                  <a:cubicBezTo>
                    <a:pt x="2979" y="2769"/>
                    <a:pt x="2979" y="2769"/>
                    <a:pt x="2979" y="2769"/>
                  </a:cubicBezTo>
                  <a:lnTo>
                    <a:pt x="3156" y="7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D41E1DF-8D83-C195-E452-E48C4A4E9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1" y="1977"/>
              <a:ext cx="135" cy="138"/>
            </a:xfrm>
            <a:custGeom>
              <a:avLst/>
              <a:gdLst>
                <a:gd name="T0" fmla="*/ 877 w 1278"/>
                <a:gd name="T1" fmla="*/ 0 h 1313"/>
                <a:gd name="T2" fmla="*/ 568 w 1278"/>
                <a:gd name="T3" fmla="*/ 135 h 1313"/>
                <a:gd name="T4" fmla="*/ 433 w 1278"/>
                <a:gd name="T5" fmla="*/ 178 h 1313"/>
                <a:gd name="T6" fmla="*/ 252 w 1278"/>
                <a:gd name="T7" fmla="*/ 240 h 1313"/>
                <a:gd name="T8" fmla="*/ 0 w 1278"/>
                <a:gd name="T9" fmla="*/ 461 h 1313"/>
                <a:gd name="T10" fmla="*/ 0 w 1278"/>
                <a:gd name="T11" fmla="*/ 461 h 1313"/>
                <a:gd name="T12" fmla="*/ 639 w 1278"/>
                <a:gd name="T13" fmla="*/ 1313 h 1313"/>
                <a:gd name="T14" fmla="*/ 1278 w 1278"/>
                <a:gd name="T15" fmla="*/ 461 h 1313"/>
                <a:gd name="T16" fmla="*/ 1275 w 1278"/>
                <a:gd name="T17" fmla="*/ 423 h 1313"/>
                <a:gd name="T18" fmla="*/ 877 w 1278"/>
                <a:gd name="T19" fmla="*/ 0 h 1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8" h="1313">
                  <a:moveTo>
                    <a:pt x="877" y="0"/>
                  </a:moveTo>
                  <a:cubicBezTo>
                    <a:pt x="787" y="53"/>
                    <a:pt x="681" y="94"/>
                    <a:pt x="568" y="135"/>
                  </a:cubicBezTo>
                  <a:cubicBezTo>
                    <a:pt x="516" y="153"/>
                    <a:pt x="474" y="166"/>
                    <a:pt x="433" y="178"/>
                  </a:cubicBezTo>
                  <a:cubicBezTo>
                    <a:pt x="378" y="195"/>
                    <a:pt x="325" y="211"/>
                    <a:pt x="252" y="240"/>
                  </a:cubicBezTo>
                  <a:cubicBezTo>
                    <a:pt x="63" y="315"/>
                    <a:pt x="0" y="371"/>
                    <a:pt x="0" y="461"/>
                  </a:cubicBezTo>
                  <a:cubicBezTo>
                    <a:pt x="0" y="461"/>
                    <a:pt x="0" y="461"/>
                    <a:pt x="0" y="461"/>
                  </a:cubicBezTo>
                  <a:cubicBezTo>
                    <a:pt x="0" y="931"/>
                    <a:pt x="286" y="1313"/>
                    <a:pt x="639" y="1313"/>
                  </a:cubicBezTo>
                  <a:cubicBezTo>
                    <a:pt x="992" y="1313"/>
                    <a:pt x="1278" y="931"/>
                    <a:pt x="1278" y="461"/>
                  </a:cubicBezTo>
                  <a:cubicBezTo>
                    <a:pt x="1278" y="447"/>
                    <a:pt x="1276" y="435"/>
                    <a:pt x="1275" y="423"/>
                  </a:cubicBezTo>
                  <a:cubicBezTo>
                    <a:pt x="1083" y="354"/>
                    <a:pt x="935" y="196"/>
                    <a:pt x="8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CC074B70-1758-6E7D-85FA-B2E5F0C863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9" y="1890"/>
              <a:ext cx="123" cy="117"/>
            </a:xfrm>
            <a:custGeom>
              <a:avLst/>
              <a:gdLst>
                <a:gd name="T0" fmla="*/ 387 w 1172"/>
                <a:gd name="T1" fmla="*/ 860 h 1111"/>
                <a:gd name="T2" fmla="*/ 585 w 1172"/>
                <a:gd name="T3" fmla="*/ 792 h 1111"/>
                <a:gd name="T4" fmla="*/ 710 w 1172"/>
                <a:gd name="T5" fmla="*/ 752 h 1111"/>
                <a:gd name="T6" fmla="*/ 1172 w 1172"/>
                <a:gd name="T7" fmla="*/ 320 h 1111"/>
                <a:gd name="T8" fmla="*/ 1052 w 1172"/>
                <a:gd name="T9" fmla="*/ 24 h 1111"/>
                <a:gd name="T10" fmla="*/ 853 w 1172"/>
                <a:gd name="T11" fmla="*/ 0 h 1111"/>
                <a:gd name="T12" fmla="*/ 0 w 1172"/>
                <a:gd name="T13" fmla="*/ 853 h 1111"/>
                <a:gd name="T14" fmla="*/ 41 w 1172"/>
                <a:gd name="T15" fmla="*/ 1111 h 1111"/>
                <a:gd name="T16" fmla="*/ 387 w 1172"/>
                <a:gd name="T17" fmla="*/ 860 h 1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2" h="1111">
                  <a:moveTo>
                    <a:pt x="387" y="860"/>
                  </a:moveTo>
                  <a:cubicBezTo>
                    <a:pt x="469" y="827"/>
                    <a:pt x="528" y="810"/>
                    <a:pt x="585" y="792"/>
                  </a:cubicBezTo>
                  <a:cubicBezTo>
                    <a:pt x="626" y="780"/>
                    <a:pt x="664" y="769"/>
                    <a:pt x="710" y="752"/>
                  </a:cubicBezTo>
                  <a:cubicBezTo>
                    <a:pt x="1077" y="621"/>
                    <a:pt x="1172" y="532"/>
                    <a:pt x="1172" y="320"/>
                  </a:cubicBezTo>
                  <a:cubicBezTo>
                    <a:pt x="1172" y="205"/>
                    <a:pt x="1126" y="101"/>
                    <a:pt x="1052" y="24"/>
                  </a:cubicBezTo>
                  <a:cubicBezTo>
                    <a:pt x="988" y="9"/>
                    <a:pt x="921" y="0"/>
                    <a:pt x="853" y="0"/>
                  </a:cubicBezTo>
                  <a:cubicBezTo>
                    <a:pt x="382" y="0"/>
                    <a:pt x="0" y="382"/>
                    <a:pt x="0" y="853"/>
                  </a:cubicBezTo>
                  <a:cubicBezTo>
                    <a:pt x="0" y="943"/>
                    <a:pt x="15" y="1030"/>
                    <a:pt x="41" y="1111"/>
                  </a:cubicBezTo>
                  <a:cubicBezTo>
                    <a:pt x="117" y="968"/>
                    <a:pt x="285" y="901"/>
                    <a:pt x="387" y="8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20D53F62-4DD6-B9FE-2164-A63DF16795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4" y="1909"/>
              <a:ext cx="45" cy="94"/>
            </a:xfrm>
            <a:custGeom>
              <a:avLst/>
              <a:gdLst>
                <a:gd name="T0" fmla="*/ 0 w 426"/>
                <a:gd name="T1" fmla="*/ 487 h 891"/>
                <a:gd name="T2" fmla="*/ 399 w 426"/>
                <a:gd name="T3" fmla="*/ 891 h 891"/>
                <a:gd name="T4" fmla="*/ 426 w 426"/>
                <a:gd name="T5" fmla="*/ 679 h 891"/>
                <a:gd name="T6" fmla="*/ 89 w 426"/>
                <a:gd name="T7" fmla="*/ 0 h 891"/>
                <a:gd name="T8" fmla="*/ 106 w 426"/>
                <a:gd name="T9" fmla="*/ 146 h 891"/>
                <a:gd name="T10" fmla="*/ 0 w 426"/>
                <a:gd name="T11" fmla="*/ 487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6" h="891">
                  <a:moveTo>
                    <a:pt x="0" y="487"/>
                  </a:moveTo>
                  <a:cubicBezTo>
                    <a:pt x="11" y="703"/>
                    <a:pt x="184" y="877"/>
                    <a:pt x="399" y="891"/>
                  </a:cubicBezTo>
                  <a:cubicBezTo>
                    <a:pt x="416" y="823"/>
                    <a:pt x="426" y="752"/>
                    <a:pt x="426" y="679"/>
                  </a:cubicBezTo>
                  <a:cubicBezTo>
                    <a:pt x="426" y="402"/>
                    <a:pt x="294" y="156"/>
                    <a:pt x="89" y="0"/>
                  </a:cubicBezTo>
                  <a:cubicBezTo>
                    <a:pt x="100" y="47"/>
                    <a:pt x="106" y="96"/>
                    <a:pt x="106" y="146"/>
                  </a:cubicBezTo>
                  <a:cubicBezTo>
                    <a:pt x="106" y="292"/>
                    <a:pt x="67" y="401"/>
                    <a:pt x="0" y="4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11B2C969-4216-0025-B6A2-4C45C88DC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2" y="2003"/>
              <a:ext cx="281" cy="382"/>
            </a:xfrm>
            <a:custGeom>
              <a:avLst/>
              <a:gdLst>
                <a:gd name="T0" fmla="*/ 2663 w 2663"/>
                <a:gd name="T1" fmla="*/ 0 h 3621"/>
                <a:gd name="T2" fmla="*/ 2450 w 2663"/>
                <a:gd name="T3" fmla="*/ 0 h 3621"/>
                <a:gd name="T4" fmla="*/ 2237 w 2663"/>
                <a:gd name="T5" fmla="*/ 213 h 3621"/>
                <a:gd name="T6" fmla="*/ 2237 w 2663"/>
                <a:gd name="T7" fmla="*/ 213 h 3621"/>
                <a:gd name="T8" fmla="*/ 2450 w 2663"/>
                <a:gd name="T9" fmla="*/ 426 h 3621"/>
                <a:gd name="T10" fmla="*/ 2450 w 2663"/>
                <a:gd name="T11" fmla="*/ 426 h 3621"/>
                <a:gd name="T12" fmla="*/ 2450 w 2663"/>
                <a:gd name="T13" fmla="*/ 958 h 3621"/>
                <a:gd name="T14" fmla="*/ 1917 w 2663"/>
                <a:gd name="T15" fmla="*/ 1491 h 3621"/>
                <a:gd name="T16" fmla="*/ 1385 w 2663"/>
                <a:gd name="T17" fmla="*/ 958 h 3621"/>
                <a:gd name="T18" fmla="*/ 1385 w 2663"/>
                <a:gd name="T19" fmla="*/ 426 h 3621"/>
                <a:gd name="T20" fmla="*/ 1598 w 2663"/>
                <a:gd name="T21" fmla="*/ 213 h 3621"/>
                <a:gd name="T22" fmla="*/ 1385 w 2663"/>
                <a:gd name="T23" fmla="*/ 0 h 3621"/>
                <a:gd name="T24" fmla="*/ 1172 w 2663"/>
                <a:gd name="T25" fmla="*/ 0 h 3621"/>
                <a:gd name="T26" fmla="*/ 1172 w 2663"/>
                <a:gd name="T27" fmla="*/ 958 h 3621"/>
                <a:gd name="T28" fmla="*/ 1811 w 2663"/>
                <a:gd name="T29" fmla="*/ 1696 h 3621"/>
                <a:gd name="T30" fmla="*/ 1811 w 2663"/>
                <a:gd name="T31" fmla="*/ 2769 h 3621"/>
                <a:gd name="T32" fmla="*/ 1172 w 2663"/>
                <a:gd name="T33" fmla="*/ 3408 h 3621"/>
                <a:gd name="T34" fmla="*/ 533 w 2663"/>
                <a:gd name="T35" fmla="*/ 2769 h 3621"/>
                <a:gd name="T36" fmla="*/ 533 w 2663"/>
                <a:gd name="T37" fmla="*/ 2756 h 3621"/>
                <a:gd name="T38" fmla="*/ 852 w 2663"/>
                <a:gd name="T39" fmla="*/ 2343 h 3621"/>
                <a:gd name="T40" fmla="*/ 426 w 2663"/>
                <a:gd name="T41" fmla="*/ 1917 h 3621"/>
                <a:gd name="T42" fmla="*/ 0 w 2663"/>
                <a:gd name="T43" fmla="*/ 2343 h 3621"/>
                <a:gd name="T44" fmla="*/ 320 w 2663"/>
                <a:gd name="T45" fmla="*/ 2756 h 3621"/>
                <a:gd name="T46" fmla="*/ 320 w 2663"/>
                <a:gd name="T47" fmla="*/ 2769 h 3621"/>
                <a:gd name="T48" fmla="*/ 1172 w 2663"/>
                <a:gd name="T49" fmla="*/ 3621 h 3621"/>
                <a:gd name="T50" fmla="*/ 2024 w 2663"/>
                <a:gd name="T51" fmla="*/ 2769 h 3621"/>
                <a:gd name="T52" fmla="*/ 2024 w 2663"/>
                <a:gd name="T53" fmla="*/ 1696 h 3621"/>
                <a:gd name="T54" fmla="*/ 2663 w 2663"/>
                <a:gd name="T55" fmla="*/ 958 h 3621"/>
                <a:gd name="T56" fmla="*/ 2663 w 2663"/>
                <a:gd name="T57" fmla="*/ 0 h 3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63" h="3621">
                  <a:moveTo>
                    <a:pt x="2663" y="0"/>
                  </a:moveTo>
                  <a:cubicBezTo>
                    <a:pt x="2450" y="0"/>
                    <a:pt x="2450" y="0"/>
                    <a:pt x="2450" y="0"/>
                  </a:cubicBezTo>
                  <a:cubicBezTo>
                    <a:pt x="2332" y="0"/>
                    <a:pt x="2237" y="95"/>
                    <a:pt x="2237" y="213"/>
                  </a:cubicBezTo>
                  <a:cubicBezTo>
                    <a:pt x="2237" y="213"/>
                    <a:pt x="2237" y="213"/>
                    <a:pt x="2237" y="213"/>
                  </a:cubicBezTo>
                  <a:cubicBezTo>
                    <a:pt x="2237" y="330"/>
                    <a:pt x="2332" y="426"/>
                    <a:pt x="2450" y="426"/>
                  </a:cubicBezTo>
                  <a:cubicBezTo>
                    <a:pt x="2450" y="426"/>
                    <a:pt x="2450" y="426"/>
                    <a:pt x="2450" y="426"/>
                  </a:cubicBezTo>
                  <a:cubicBezTo>
                    <a:pt x="2450" y="958"/>
                    <a:pt x="2450" y="958"/>
                    <a:pt x="2450" y="958"/>
                  </a:cubicBezTo>
                  <a:cubicBezTo>
                    <a:pt x="2450" y="1252"/>
                    <a:pt x="2211" y="1491"/>
                    <a:pt x="1917" y="1491"/>
                  </a:cubicBezTo>
                  <a:cubicBezTo>
                    <a:pt x="1624" y="1491"/>
                    <a:pt x="1385" y="1252"/>
                    <a:pt x="1385" y="958"/>
                  </a:cubicBezTo>
                  <a:cubicBezTo>
                    <a:pt x="1385" y="426"/>
                    <a:pt x="1385" y="426"/>
                    <a:pt x="1385" y="426"/>
                  </a:cubicBezTo>
                  <a:cubicBezTo>
                    <a:pt x="1503" y="426"/>
                    <a:pt x="1598" y="330"/>
                    <a:pt x="1598" y="213"/>
                  </a:cubicBezTo>
                  <a:cubicBezTo>
                    <a:pt x="1598" y="95"/>
                    <a:pt x="1502" y="0"/>
                    <a:pt x="1385" y="0"/>
                  </a:cubicBezTo>
                  <a:cubicBezTo>
                    <a:pt x="1172" y="0"/>
                    <a:pt x="1172" y="0"/>
                    <a:pt x="1172" y="0"/>
                  </a:cubicBezTo>
                  <a:cubicBezTo>
                    <a:pt x="1172" y="958"/>
                    <a:pt x="1172" y="958"/>
                    <a:pt x="1172" y="958"/>
                  </a:cubicBezTo>
                  <a:cubicBezTo>
                    <a:pt x="1172" y="1333"/>
                    <a:pt x="1450" y="1644"/>
                    <a:pt x="1811" y="1696"/>
                  </a:cubicBezTo>
                  <a:cubicBezTo>
                    <a:pt x="1811" y="2769"/>
                    <a:pt x="1811" y="2769"/>
                    <a:pt x="1811" y="2769"/>
                  </a:cubicBezTo>
                  <a:cubicBezTo>
                    <a:pt x="1811" y="3121"/>
                    <a:pt x="1524" y="3408"/>
                    <a:pt x="1172" y="3408"/>
                  </a:cubicBezTo>
                  <a:cubicBezTo>
                    <a:pt x="819" y="3408"/>
                    <a:pt x="533" y="3121"/>
                    <a:pt x="533" y="2769"/>
                  </a:cubicBezTo>
                  <a:cubicBezTo>
                    <a:pt x="533" y="2756"/>
                    <a:pt x="533" y="2756"/>
                    <a:pt x="533" y="2756"/>
                  </a:cubicBezTo>
                  <a:cubicBezTo>
                    <a:pt x="716" y="2708"/>
                    <a:pt x="852" y="2541"/>
                    <a:pt x="852" y="2343"/>
                  </a:cubicBezTo>
                  <a:cubicBezTo>
                    <a:pt x="852" y="2108"/>
                    <a:pt x="661" y="1917"/>
                    <a:pt x="426" y="1917"/>
                  </a:cubicBezTo>
                  <a:cubicBezTo>
                    <a:pt x="191" y="1917"/>
                    <a:pt x="0" y="2108"/>
                    <a:pt x="0" y="2343"/>
                  </a:cubicBezTo>
                  <a:cubicBezTo>
                    <a:pt x="0" y="2542"/>
                    <a:pt x="136" y="2708"/>
                    <a:pt x="320" y="2756"/>
                  </a:cubicBezTo>
                  <a:cubicBezTo>
                    <a:pt x="320" y="2769"/>
                    <a:pt x="320" y="2769"/>
                    <a:pt x="320" y="2769"/>
                  </a:cubicBezTo>
                  <a:cubicBezTo>
                    <a:pt x="320" y="3239"/>
                    <a:pt x="702" y="3621"/>
                    <a:pt x="1172" y="3621"/>
                  </a:cubicBezTo>
                  <a:cubicBezTo>
                    <a:pt x="1642" y="3621"/>
                    <a:pt x="2024" y="3239"/>
                    <a:pt x="2024" y="2769"/>
                  </a:cubicBezTo>
                  <a:cubicBezTo>
                    <a:pt x="2024" y="1696"/>
                    <a:pt x="2024" y="1696"/>
                    <a:pt x="2024" y="1696"/>
                  </a:cubicBezTo>
                  <a:cubicBezTo>
                    <a:pt x="2385" y="1644"/>
                    <a:pt x="2663" y="1333"/>
                    <a:pt x="2663" y="958"/>
                  </a:cubicBezTo>
                  <a:lnTo>
                    <a:pt x="2663" y="0"/>
                  </a:lnTo>
                  <a:close/>
                </a:path>
              </a:pathLst>
            </a:custGeom>
            <a:solidFill>
              <a:srgbClr val="F9B5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FFBA0E2A-0453-52CB-0FA3-500EA54287F0}"/>
              </a:ext>
            </a:extLst>
          </p:cNvPr>
          <p:cNvGrpSpPr>
            <a:grpSpLocks/>
          </p:cNvGrpSpPr>
          <p:nvPr/>
        </p:nvGrpSpPr>
        <p:grpSpPr>
          <a:xfrm>
            <a:off x="9907586" y="2189674"/>
            <a:ext cx="685275" cy="575032"/>
            <a:chOff x="7300485" y="3281874"/>
            <a:chExt cx="685275" cy="575032"/>
          </a:xfrm>
        </p:grpSpPr>
        <p:sp>
          <p:nvSpPr>
            <p:cNvPr id="70" name="Freeform 107">
              <a:extLst>
                <a:ext uri="{FF2B5EF4-FFF2-40B4-BE49-F238E27FC236}">
                  <a16:creationId xmlns:a16="http://schemas.microsoft.com/office/drawing/2014/main" id="{1037DF06-4042-E8C9-1B16-3448FA9772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5221" y="3281874"/>
              <a:ext cx="380768" cy="482539"/>
            </a:xfrm>
            <a:custGeom>
              <a:avLst/>
              <a:gdLst>
                <a:gd name="T0" fmla="*/ 40 w 217"/>
                <a:gd name="T1" fmla="*/ 0 h 275"/>
                <a:gd name="T2" fmla="*/ 40 w 217"/>
                <a:gd name="T3" fmla="*/ 236 h 275"/>
                <a:gd name="T4" fmla="*/ 217 w 217"/>
                <a:gd name="T5" fmla="*/ 236 h 275"/>
                <a:gd name="T6" fmla="*/ 217 w 217"/>
                <a:gd name="T7" fmla="*/ 78 h 275"/>
                <a:gd name="T8" fmla="*/ 138 w 217"/>
                <a:gd name="T9" fmla="*/ 78 h 275"/>
                <a:gd name="T10" fmla="*/ 138 w 217"/>
                <a:gd name="T11" fmla="*/ 0 h 275"/>
                <a:gd name="T12" fmla="*/ 40 w 217"/>
                <a:gd name="T13" fmla="*/ 0 h 275"/>
                <a:gd name="T14" fmla="*/ 217 w 217"/>
                <a:gd name="T15" fmla="*/ 59 h 275"/>
                <a:gd name="T16" fmla="*/ 158 w 217"/>
                <a:gd name="T17" fmla="*/ 0 h 275"/>
                <a:gd name="T18" fmla="*/ 158 w 217"/>
                <a:gd name="T19" fmla="*/ 59 h 275"/>
                <a:gd name="T20" fmla="*/ 217 w 217"/>
                <a:gd name="T21" fmla="*/ 59 h 275"/>
                <a:gd name="T22" fmla="*/ 0 w 217"/>
                <a:gd name="T23" fmla="*/ 39 h 275"/>
                <a:gd name="T24" fmla="*/ 0 w 217"/>
                <a:gd name="T25" fmla="*/ 275 h 275"/>
                <a:gd name="T26" fmla="*/ 178 w 217"/>
                <a:gd name="T27" fmla="*/ 275 h 275"/>
                <a:gd name="T28" fmla="*/ 178 w 217"/>
                <a:gd name="T29" fmla="*/ 255 h 275"/>
                <a:gd name="T30" fmla="*/ 20 w 217"/>
                <a:gd name="T31" fmla="*/ 255 h 275"/>
                <a:gd name="T32" fmla="*/ 20 w 217"/>
                <a:gd name="T33" fmla="*/ 39 h 275"/>
                <a:gd name="T34" fmla="*/ 0 w 217"/>
                <a:gd name="T35" fmla="*/ 3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75">
                  <a:moveTo>
                    <a:pt x="40" y="0"/>
                  </a:moveTo>
                  <a:lnTo>
                    <a:pt x="40" y="236"/>
                  </a:lnTo>
                  <a:lnTo>
                    <a:pt x="217" y="236"/>
                  </a:lnTo>
                  <a:lnTo>
                    <a:pt x="217" y="78"/>
                  </a:lnTo>
                  <a:lnTo>
                    <a:pt x="138" y="78"/>
                  </a:lnTo>
                  <a:lnTo>
                    <a:pt x="138" y="0"/>
                  </a:lnTo>
                  <a:lnTo>
                    <a:pt x="40" y="0"/>
                  </a:lnTo>
                  <a:close/>
                  <a:moveTo>
                    <a:pt x="217" y="59"/>
                  </a:moveTo>
                  <a:lnTo>
                    <a:pt x="158" y="0"/>
                  </a:lnTo>
                  <a:lnTo>
                    <a:pt x="158" y="59"/>
                  </a:lnTo>
                  <a:lnTo>
                    <a:pt x="217" y="59"/>
                  </a:lnTo>
                  <a:close/>
                  <a:moveTo>
                    <a:pt x="0" y="39"/>
                  </a:moveTo>
                  <a:lnTo>
                    <a:pt x="0" y="275"/>
                  </a:lnTo>
                  <a:lnTo>
                    <a:pt x="178" y="275"/>
                  </a:lnTo>
                  <a:lnTo>
                    <a:pt x="178" y="255"/>
                  </a:lnTo>
                  <a:lnTo>
                    <a:pt x="20" y="255"/>
                  </a:lnTo>
                  <a:lnTo>
                    <a:pt x="20" y="39"/>
                  </a:lnTo>
                  <a:lnTo>
                    <a:pt x="0" y="39"/>
                  </a:lnTo>
                  <a:close/>
                </a:path>
              </a:pathLst>
            </a:custGeom>
            <a:solidFill>
              <a:srgbClr val="F9B59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1" name="Gruppieren 70">
              <a:extLst>
                <a:ext uri="{FF2B5EF4-FFF2-40B4-BE49-F238E27FC236}">
                  <a16:creationId xmlns:a16="http://schemas.microsoft.com/office/drawing/2014/main" id="{AF21EF8F-0CDF-9034-1A61-CDFA878C56A2}"/>
                </a:ext>
              </a:extLst>
            </p:cNvPr>
            <p:cNvGrpSpPr>
              <a:grpSpLocks/>
            </p:cNvGrpSpPr>
            <p:nvPr/>
          </p:nvGrpSpPr>
          <p:grpSpPr>
            <a:xfrm>
              <a:off x="7721316" y="3511889"/>
              <a:ext cx="264444" cy="345017"/>
              <a:chOff x="7463023" y="3053758"/>
              <a:chExt cx="406400" cy="530225"/>
            </a:xfrm>
          </p:grpSpPr>
          <p:sp>
            <p:nvSpPr>
              <p:cNvPr id="75" name="Rechteck 74">
                <a:extLst>
                  <a:ext uri="{FF2B5EF4-FFF2-40B4-BE49-F238E27FC236}">
                    <a16:creationId xmlns:a16="http://schemas.microsoft.com/office/drawing/2014/main" id="{8EF93B65-CDAC-F293-1656-80AA8752410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556304" y="3192590"/>
                <a:ext cx="219837" cy="252560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Freeform 86">
                <a:extLst>
                  <a:ext uri="{FF2B5EF4-FFF2-40B4-BE49-F238E27FC236}">
                    <a16:creationId xmlns:a16="http://schemas.microsoft.com/office/drawing/2014/main" id="{44CE943F-42B7-F100-19CA-4B72CCE161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63023" y="3053758"/>
                <a:ext cx="406400" cy="530225"/>
              </a:xfrm>
              <a:custGeom>
                <a:avLst/>
                <a:gdLst>
                  <a:gd name="T0" fmla="*/ 225 w 333"/>
                  <a:gd name="T1" fmla="*/ 183 h 433"/>
                  <a:gd name="T2" fmla="*/ 200 w 333"/>
                  <a:gd name="T3" fmla="*/ 183 h 433"/>
                  <a:gd name="T4" fmla="*/ 200 w 333"/>
                  <a:gd name="T5" fmla="*/ 167 h 433"/>
                  <a:gd name="T6" fmla="*/ 167 w 333"/>
                  <a:gd name="T7" fmla="*/ 133 h 433"/>
                  <a:gd name="T8" fmla="*/ 133 w 333"/>
                  <a:gd name="T9" fmla="*/ 167 h 433"/>
                  <a:gd name="T10" fmla="*/ 133 w 333"/>
                  <a:gd name="T11" fmla="*/ 183 h 433"/>
                  <a:gd name="T12" fmla="*/ 108 w 333"/>
                  <a:gd name="T13" fmla="*/ 183 h 433"/>
                  <a:gd name="T14" fmla="*/ 108 w 333"/>
                  <a:gd name="T15" fmla="*/ 300 h 433"/>
                  <a:gd name="T16" fmla="*/ 225 w 333"/>
                  <a:gd name="T17" fmla="*/ 300 h 433"/>
                  <a:gd name="T18" fmla="*/ 225 w 333"/>
                  <a:gd name="T19" fmla="*/ 183 h 433"/>
                  <a:gd name="T20" fmla="*/ 333 w 333"/>
                  <a:gd name="T21" fmla="*/ 67 h 433"/>
                  <a:gd name="T22" fmla="*/ 333 w 333"/>
                  <a:gd name="T23" fmla="*/ 244 h 433"/>
                  <a:gd name="T24" fmla="*/ 290 w 333"/>
                  <a:gd name="T25" fmla="*/ 335 h 433"/>
                  <a:gd name="T26" fmla="*/ 167 w 333"/>
                  <a:gd name="T27" fmla="*/ 433 h 433"/>
                  <a:gd name="T28" fmla="*/ 44 w 333"/>
                  <a:gd name="T29" fmla="*/ 335 h 433"/>
                  <a:gd name="T30" fmla="*/ 0 w 333"/>
                  <a:gd name="T31" fmla="*/ 244 h 433"/>
                  <a:gd name="T32" fmla="*/ 0 w 333"/>
                  <a:gd name="T33" fmla="*/ 67 h 433"/>
                  <a:gd name="T34" fmla="*/ 167 w 333"/>
                  <a:gd name="T35" fmla="*/ 0 h 433"/>
                  <a:gd name="T36" fmla="*/ 333 w 333"/>
                  <a:gd name="T37" fmla="*/ 67 h 433"/>
                  <a:gd name="T38" fmla="*/ 167 w 333"/>
                  <a:gd name="T39" fmla="*/ 150 h 433"/>
                  <a:gd name="T40" fmla="*/ 150 w 333"/>
                  <a:gd name="T41" fmla="*/ 167 h 433"/>
                  <a:gd name="T42" fmla="*/ 150 w 333"/>
                  <a:gd name="T43" fmla="*/ 183 h 433"/>
                  <a:gd name="T44" fmla="*/ 183 w 333"/>
                  <a:gd name="T45" fmla="*/ 183 h 433"/>
                  <a:gd name="T46" fmla="*/ 183 w 333"/>
                  <a:gd name="T47" fmla="*/ 167 h 433"/>
                  <a:gd name="T48" fmla="*/ 167 w 333"/>
                  <a:gd name="T49" fmla="*/ 150 h 433"/>
                  <a:gd name="T50" fmla="*/ 175 w 333"/>
                  <a:gd name="T51" fmla="*/ 250 h 433"/>
                  <a:gd name="T52" fmla="*/ 175 w 333"/>
                  <a:gd name="T53" fmla="*/ 267 h 433"/>
                  <a:gd name="T54" fmla="*/ 167 w 333"/>
                  <a:gd name="T55" fmla="*/ 275 h 433"/>
                  <a:gd name="T56" fmla="*/ 158 w 333"/>
                  <a:gd name="T57" fmla="*/ 267 h 433"/>
                  <a:gd name="T58" fmla="*/ 158 w 333"/>
                  <a:gd name="T59" fmla="*/ 250 h 433"/>
                  <a:gd name="T60" fmla="*/ 167 w 333"/>
                  <a:gd name="T61" fmla="*/ 242 h 433"/>
                  <a:gd name="T62" fmla="*/ 175 w 333"/>
                  <a:gd name="T63" fmla="*/ 250 h 4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33" h="433">
                    <a:moveTo>
                      <a:pt x="225" y="183"/>
                    </a:moveTo>
                    <a:lnTo>
                      <a:pt x="200" y="183"/>
                    </a:lnTo>
                    <a:lnTo>
                      <a:pt x="200" y="167"/>
                    </a:lnTo>
                    <a:cubicBezTo>
                      <a:pt x="200" y="148"/>
                      <a:pt x="185" y="133"/>
                      <a:pt x="167" y="133"/>
                    </a:cubicBezTo>
                    <a:cubicBezTo>
                      <a:pt x="148" y="133"/>
                      <a:pt x="133" y="148"/>
                      <a:pt x="133" y="167"/>
                    </a:cubicBezTo>
                    <a:lnTo>
                      <a:pt x="133" y="183"/>
                    </a:lnTo>
                    <a:lnTo>
                      <a:pt x="108" y="183"/>
                    </a:lnTo>
                    <a:lnTo>
                      <a:pt x="108" y="300"/>
                    </a:lnTo>
                    <a:lnTo>
                      <a:pt x="225" y="300"/>
                    </a:lnTo>
                    <a:lnTo>
                      <a:pt x="225" y="183"/>
                    </a:lnTo>
                    <a:close/>
                    <a:moveTo>
                      <a:pt x="333" y="67"/>
                    </a:moveTo>
                    <a:lnTo>
                      <a:pt x="333" y="244"/>
                    </a:lnTo>
                    <a:cubicBezTo>
                      <a:pt x="333" y="279"/>
                      <a:pt x="317" y="313"/>
                      <a:pt x="290" y="335"/>
                    </a:cubicBezTo>
                    <a:lnTo>
                      <a:pt x="167" y="433"/>
                    </a:lnTo>
                    <a:lnTo>
                      <a:pt x="44" y="335"/>
                    </a:lnTo>
                    <a:cubicBezTo>
                      <a:pt x="16" y="313"/>
                      <a:pt x="0" y="279"/>
                      <a:pt x="0" y="244"/>
                    </a:cubicBezTo>
                    <a:lnTo>
                      <a:pt x="0" y="67"/>
                    </a:lnTo>
                    <a:cubicBezTo>
                      <a:pt x="0" y="67"/>
                      <a:pt x="103" y="74"/>
                      <a:pt x="167" y="0"/>
                    </a:cubicBezTo>
                    <a:cubicBezTo>
                      <a:pt x="230" y="74"/>
                      <a:pt x="333" y="67"/>
                      <a:pt x="333" y="67"/>
                    </a:cubicBezTo>
                    <a:close/>
                    <a:moveTo>
                      <a:pt x="167" y="150"/>
                    </a:moveTo>
                    <a:cubicBezTo>
                      <a:pt x="157" y="150"/>
                      <a:pt x="150" y="157"/>
                      <a:pt x="150" y="167"/>
                    </a:cubicBezTo>
                    <a:lnTo>
                      <a:pt x="150" y="183"/>
                    </a:lnTo>
                    <a:lnTo>
                      <a:pt x="183" y="183"/>
                    </a:lnTo>
                    <a:lnTo>
                      <a:pt x="183" y="167"/>
                    </a:lnTo>
                    <a:cubicBezTo>
                      <a:pt x="183" y="157"/>
                      <a:pt x="176" y="150"/>
                      <a:pt x="167" y="150"/>
                    </a:cubicBezTo>
                    <a:close/>
                    <a:moveTo>
                      <a:pt x="175" y="250"/>
                    </a:moveTo>
                    <a:lnTo>
                      <a:pt x="175" y="267"/>
                    </a:lnTo>
                    <a:cubicBezTo>
                      <a:pt x="175" y="271"/>
                      <a:pt x="171" y="275"/>
                      <a:pt x="167" y="275"/>
                    </a:cubicBezTo>
                    <a:cubicBezTo>
                      <a:pt x="162" y="275"/>
                      <a:pt x="158" y="271"/>
                      <a:pt x="158" y="267"/>
                    </a:cubicBezTo>
                    <a:lnTo>
                      <a:pt x="158" y="250"/>
                    </a:lnTo>
                    <a:cubicBezTo>
                      <a:pt x="158" y="245"/>
                      <a:pt x="162" y="242"/>
                      <a:pt x="167" y="242"/>
                    </a:cubicBezTo>
                    <a:cubicBezTo>
                      <a:pt x="171" y="242"/>
                      <a:pt x="175" y="245"/>
                      <a:pt x="175" y="25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2" name="Gruppieren 71">
              <a:extLst>
                <a:ext uri="{FF2B5EF4-FFF2-40B4-BE49-F238E27FC236}">
                  <a16:creationId xmlns:a16="http://schemas.microsoft.com/office/drawing/2014/main" id="{51061C32-A549-0569-DEDD-169F7A0933BA}"/>
                </a:ext>
              </a:extLst>
            </p:cNvPr>
            <p:cNvGrpSpPr/>
            <p:nvPr/>
          </p:nvGrpSpPr>
          <p:grpSpPr>
            <a:xfrm>
              <a:off x="7300485" y="3388961"/>
              <a:ext cx="321121" cy="230540"/>
              <a:chOff x="6904691" y="4036660"/>
              <a:chExt cx="648335" cy="465455"/>
            </a:xfrm>
            <a:solidFill>
              <a:schemeClr val="accent4"/>
            </a:solidFill>
          </p:grpSpPr>
          <p:sp>
            <p:nvSpPr>
              <p:cNvPr id="73" name="Freeform 57">
                <a:extLst>
                  <a:ext uri="{FF2B5EF4-FFF2-40B4-BE49-F238E27FC236}">
                    <a16:creationId xmlns:a16="http://schemas.microsoft.com/office/drawing/2014/main" id="{6671C1A6-2BF1-A577-656B-0F7FB64201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94251" y="4181440"/>
                <a:ext cx="358775" cy="320675"/>
              </a:xfrm>
              <a:custGeom>
                <a:avLst/>
                <a:gdLst>
                  <a:gd name="T0" fmla="*/ 92 w 92"/>
                  <a:gd name="T1" fmla="*/ 41 h 82"/>
                  <a:gd name="T2" fmla="*/ 54 w 92"/>
                  <a:gd name="T3" fmla="*/ 79 h 82"/>
                  <a:gd name="T4" fmla="*/ 43 w 92"/>
                  <a:gd name="T5" fmla="*/ 79 h 82"/>
                  <a:gd name="T6" fmla="*/ 43 w 92"/>
                  <a:gd name="T7" fmla="*/ 67 h 82"/>
                  <a:gd name="T8" fmla="*/ 61 w 92"/>
                  <a:gd name="T9" fmla="*/ 49 h 82"/>
                  <a:gd name="T10" fmla="*/ 0 w 92"/>
                  <a:gd name="T11" fmla="*/ 49 h 82"/>
                  <a:gd name="T12" fmla="*/ 0 w 92"/>
                  <a:gd name="T13" fmla="*/ 33 h 82"/>
                  <a:gd name="T14" fmla="*/ 61 w 92"/>
                  <a:gd name="T15" fmla="*/ 33 h 82"/>
                  <a:gd name="T16" fmla="*/ 43 w 92"/>
                  <a:gd name="T17" fmla="*/ 15 h 82"/>
                  <a:gd name="T18" fmla="*/ 43 w 92"/>
                  <a:gd name="T19" fmla="*/ 3 h 82"/>
                  <a:gd name="T20" fmla="*/ 54 w 92"/>
                  <a:gd name="T21" fmla="*/ 3 h 82"/>
                  <a:gd name="T22" fmla="*/ 92 w 92"/>
                  <a:gd name="T23" fmla="*/ 4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2" h="82">
                    <a:moveTo>
                      <a:pt x="92" y="41"/>
                    </a:moveTo>
                    <a:cubicBezTo>
                      <a:pt x="54" y="79"/>
                      <a:pt x="54" y="79"/>
                      <a:pt x="54" y="79"/>
                    </a:cubicBezTo>
                    <a:cubicBezTo>
                      <a:pt x="51" y="82"/>
                      <a:pt x="46" y="82"/>
                      <a:pt x="43" y="79"/>
                    </a:cubicBezTo>
                    <a:cubicBezTo>
                      <a:pt x="40" y="76"/>
                      <a:pt x="40" y="70"/>
                      <a:pt x="43" y="67"/>
                    </a:cubicBezTo>
                    <a:cubicBezTo>
                      <a:pt x="61" y="49"/>
                      <a:pt x="61" y="49"/>
                      <a:pt x="61" y="4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40" y="12"/>
                      <a:pt x="40" y="6"/>
                      <a:pt x="43" y="3"/>
                    </a:cubicBezTo>
                    <a:cubicBezTo>
                      <a:pt x="46" y="0"/>
                      <a:pt x="51" y="0"/>
                      <a:pt x="54" y="3"/>
                    </a:cubicBezTo>
                    <a:lnTo>
                      <a:pt x="92" y="4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57">
                <a:extLst>
                  <a:ext uri="{FF2B5EF4-FFF2-40B4-BE49-F238E27FC236}">
                    <a16:creationId xmlns:a16="http://schemas.microsoft.com/office/drawing/2014/main" id="{9421ED19-063E-072A-DE32-E0C36CE726BF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>
                <a:off x="6904691" y="4036660"/>
                <a:ext cx="358775" cy="320675"/>
              </a:xfrm>
              <a:custGeom>
                <a:avLst/>
                <a:gdLst>
                  <a:gd name="T0" fmla="*/ 92 w 92"/>
                  <a:gd name="T1" fmla="*/ 41 h 82"/>
                  <a:gd name="T2" fmla="*/ 54 w 92"/>
                  <a:gd name="T3" fmla="*/ 79 h 82"/>
                  <a:gd name="T4" fmla="*/ 43 w 92"/>
                  <a:gd name="T5" fmla="*/ 79 h 82"/>
                  <a:gd name="T6" fmla="*/ 43 w 92"/>
                  <a:gd name="T7" fmla="*/ 67 h 82"/>
                  <a:gd name="T8" fmla="*/ 61 w 92"/>
                  <a:gd name="T9" fmla="*/ 49 h 82"/>
                  <a:gd name="T10" fmla="*/ 0 w 92"/>
                  <a:gd name="T11" fmla="*/ 49 h 82"/>
                  <a:gd name="T12" fmla="*/ 0 w 92"/>
                  <a:gd name="T13" fmla="*/ 33 h 82"/>
                  <a:gd name="T14" fmla="*/ 61 w 92"/>
                  <a:gd name="T15" fmla="*/ 33 h 82"/>
                  <a:gd name="T16" fmla="*/ 43 w 92"/>
                  <a:gd name="T17" fmla="*/ 15 h 82"/>
                  <a:gd name="T18" fmla="*/ 43 w 92"/>
                  <a:gd name="T19" fmla="*/ 3 h 82"/>
                  <a:gd name="T20" fmla="*/ 54 w 92"/>
                  <a:gd name="T21" fmla="*/ 3 h 82"/>
                  <a:gd name="T22" fmla="*/ 92 w 92"/>
                  <a:gd name="T23" fmla="*/ 4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2" h="82">
                    <a:moveTo>
                      <a:pt x="92" y="41"/>
                    </a:moveTo>
                    <a:cubicBezTo>
                      <a:pt x="54" y="79"/>
                      <a:pt x="54" y="79"/>
                      <a:pt x="54" y="79"/>
                    </a:cubicBezTo>
                    <a:cubicBezTo>
                      <a:pt x="51" y="82"/>
                      <a:pt x="46" y="82"/>
                      <a:pt x="43" y="79"/>
                    </a:cubicBezTo>
                    <a:cubicBezTo>
                      <a:pt x="40" y="76"/>
                      <a:pt x="40" y="70"/>
                      <a:pt x="43" y="67"/>
                    </a:cubicBezTo>
                    <a:cubicBezTo>
                      <a:pt x="61" y="49"/>
                      <a:pt x="61" y="49"/>
                      <a:pt x="61" y="4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40" y="12"/>
                      <a:pt x="40" y="6"/>
                      <a:pt x="43" y="3"/>
                    </a:cubicBezTo>
                    <a:cubicBezTo>
                      <a:pt x="46" y="0"/>
                      <a:pt x="51" y="0"/>
                      <a:pt x="54" y="3"/>
                    </a:cubicBezTo>
                    <a:lnTo>
                      <a:pt x="92" y="4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6" name="Freeform 29">
            <a:extLst>
              <a:ext uri="{FF2B5EF4-FFF2-40B4-BE49-F238E27FC236}">
                <a16:creationId xmlns:a16="http://schemas.microsoft.com/office/drawing/2014/main" id="{E87CC5E4-CF78-ECF1-A172-DA75C5E4561C}"/>
              </a:ext>
            </a:extLst>
          </p:cNvPr>
          <p:cNvSpPr>
            <a:spLocks noEditPoints="1"/>
          </p:cNvSpPr>
          <p:nvPr/>
        </p:nvSpPr>
        <p:spPr bwMode="auto">
          <a:xfrm>
            <a:off x="9573268" y="2298650"/>
            <a:ext cx="256532" cy="282586"/>
          </a:xfrm>
          <a:custGeom>
            <a:avLst/>
            <a:gdLst>
              <a:gd name="T0" fmla="*/ 183 w 333"/>
              <a:gd name="T1" fmla="*/ 334 h 367"/>
              <a:gd name="T2" fmla="*/ 333 w 333"/>
              <a:gd name="T3" fmla="*/ 334 h 367"/>
              <a:gd name="T4" fmla="*/ 333 w 333"/>
              <a:gd name="T5" fmla="*/ 367 h 367"/>
              <a:gd name="T6" fmla="*/ 0 w 333"/>
              <a:gd name="T7" fmla="*/ 367 h 367"/>
              <a:gd name="T8" fmla="*/ 0 w 333"/>
              <a:gd name="T9" fmla="*/ 334 h 367"/>
              <a:gd name="T10" fmla="*/ 150 w 333"/>
              <a:gd name="T11" fmla="*/ 334 h 367"/>
              <a:gd name="T12" fmla="*/ 150 w 333"/>
              <a:gd name="T13" fmla="*/ 300 h 367"/>
              <a:gd name="T14" fmla="*/ 183 w 333"/>
              <a:gd name="T15" fmla="*/ 300 h 367"/>
              <a:gd name="T16" fmla="*/ 183 w 333"/>
              <a:gd name="T17" fmla="*/ 334 h 367"/>
              <a:gd name="T18" fmla="*/ 17 w 333"/>
              <a:gd name="T19" fmla="*/ 217 h 367"/>
              <a:gd name="T20" fmla="*/ 67 w 333"/>
              <a:gd name="T21" fmla="*/ 217 h 367"/>
              <a:gd name="T22" fmla="*/ 67 w 333"/>
              <a:gd name="T23" fmla="*/ 250 h 367"/>
              <a:gd name="T24" fmla="*/ 17 w 333"/>
              <a:gd name="T25" fmla="*/ 250 h 367"/>
              <a:gd name="T26" fmla="*/ 17 w 333"/>
              <a:gd name="T27" fmla="*/ 217 h 367"/>
              <a:gd name="T28" fmla="*/ 0 w 333"/>
              <a:gd name="T29" fmla="*/ 267 h 367"/>
              <a:gd name="T30" fmla="*/ 333 w 333"/>
              <a:gd name="T31" fmla="*/ 267 h 367"/>
              <a:gd name="T32" fmla="*/ 333 w 333"/>
              <a:gd name="T33" fmla="*/ 200 h 367"/>
              <a:gd name="T34" fmla="*/ 0 w 333"/>
              <a:gd name="T35" fmla="*/ 200 h 367"/>
              <a:gd name="T36" fmla="*/ 0 w 333"/>
              <a:gd name="T37" fmla="*/ 267 h 367"/>
              <a:gd name="T38" fmla="*/ 17 w 333"/>
              <a:gd name="T39" fmla="*/ 117 h 367"/>
              <a:gd name="T40" fmla="*/ 67 w 333"/>
              <a:gd name="T41" fmla="*/ 117 h 367"/>
              <a:gd name="T42" fmla="*/ 67 w 333"/>
              <a:gd name="T43" fmla="*/ 150 h 367"/>
              <a:gd name="T44" fmla="*/ 17 w 333"/>
              <a:gd name="T45" fmla="*/ 150 h 367"/>
              <a:gd name="T46" fmla="*/ 17 w 333"/>
              <a:gd name="T47" fmla="*/ 117 h 367"/>
              <a:gd name="T48" fmla="*/ 0 w 333"/>
              <a:gd name="T49" fmla="*/ 167 h 367"/>
              <a:gd name="T50" fmla="*/ 333 w 333"/>
              <a:gd name="T51" fmla="*/ 167 h 367"/>
              <a:gd name="T52" fmla="*/ 333 w 333"/>
              <a:gd name="T53" fmla="*/ 100 h 367"/>
              <a:gd name="T54" fmla="*/ 0 w 333"/>
              <a:gd name="T55" fmla="*/ 100 h 367"/>
              <a:gd name="T56" fmla="*/ 0 w 333"/>
              <a:gd name="T57" fmla="*/ 167 h 367"/>
              <a:gd name="T58" fmla="*/ 67 w 333"/>
              <a:gd name="T59" fmla="*/ 50 h 367"/>
              <a:gd name="T60" fmla="*/ 17 w 333"/>
              <a:gd name="T61" fmla="*/ 50 h 367"/>
              <a:gd name="T62" fmla="*/ 17 w 333"/>
              <a:gd name="T63" fmla="*/ 17 h 367"/>
              <a:gd name="T64" fmla="*/ 67 w 333"/>
              <a:gd name="T65" fmla="*/ 17 h 367"/>
              <a:gd name="T66" fmla="*/ 67 w 333"/>
              <a:gd name="T67" fmla="*/ 50 h 367"/>
              <a:gd name="T68" fmla="*/ 0 w 333"/>
              <a:gd name="T69" fmla="*/ 67 h 367"/>
              <a:gd name="T70" fmla="*/ 333 w 333"/>
              <a:gd name="T71" fmla="*/ 67 h 367"/>
              <a:gd name="T72" fmla="*/ 333 w 333"/>
              <a:gd name="T73" fmla="*/ 0 h 367"/>
              <a:gd name="T74" fmla="*/ 0 w 333"/>
              <a:gd name="T75" fmla="*/ 0 h 367"/>
              <a:gd name="T76" fmla="*/ 0 w 333"/>
              <a:gd name="T77" fmla="*/ 67 h 3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33" h="367">
                <a:moveTo>
                  <a:pt x="183" y="334"/>
                </a:moveTo>
                <a:lnTo>
                  <a:pt x="333" y="334"/>
                </a:lnTo>
                <a:lnTo>
                  <a:pt x="333" y="367"/>
                </a:lnTo>
                <a:lnTo>
                  <a:pt x="0" y="367"/>
                </a:lnTo>
                <a:lnTo>
                  <a:pt x="0" y="334"/>
                </a:lnTo>
                <a:lnTo>
                  <a:pt x="150" y="334"/>
                </a:lnTo>
                <a:lnTo>
                  <a:pt x="150" y="300"/>
                </a:lnTo>
                <a:lnTo>
                  <a:pt x="183" y="300"/>
                </a:lnTo>
                <a:lnTo>
                  <a:pt x="183" y="334"/>
                </a:lnTo>
                <a:close/>
                <a:moveTo>
                  <a:pt x="17" y="217"/>
                </a:moveTo>
                <a:lnTo>
                  <a:pt x="67" y="217"/>
                </a:lnTo>
                <a:lnTo>
                  <a:pt x="67" y="250"/>
                </a:lnTo>
                <a:lnTo>
                  <a:pt x="17" y="250"/>
                </a:lnTo>
                <a:lnTo>
                  <a:pt x="17" y="217"/>
                </a:lnTo>
                <a:close/>
                <a:moveTo>
                  <a:pt x="0" y="267"/>
                </a:moveTo>
                <a:lnTo>
                  <a:pt x="333" y="267"/>
                </a:lnTo>
                <a:lnTo>
                  <a:pt x="333" y="200"/>
                </a:lnTo>
                <a:lnTo>
                  <a:pt x="0" y="200"/>
                </a:lnTo>
                <a:lnTo>
                  <a:pt x="0" y="267"/>
                </a:lnTo>
                <a:close/>
                <a:moveTo>
                  <a:pt x="17" y="117"/>
                </a:moveTo>
                <a:lnTo>
                  <a:pt x="67" y="117"/>
                </a:lnTo>
                <a:lnTo>
                  <a:pt x="67" y="150"/>
                </a:lnTo>
                <a:lnTo>
                  <a:pt x="17" y="150"/>
                </a:lnTo>
                <a:lnTo>
                  <a:pt x="17" y="117"/>
                </a:lnTo>
                <a:close/>
                <a:moveTo>
                  <a:pt x="0" y="167"/>
                </a:moveTo>
                <a:lnTo>
                  <a:pt x="333" y="167"/>
                </a:lnTo>
                <a:lnTo>
                  <a:pt x="333" y="100"/>
                </a:lnTo>
                <a:lnTo>
                  <a:pt x="0" y="100"/>
                </a:lnTo>
                <a:lnTo>
                  <a:pt x="0" y="167"/>
                </a:lnTo>
                <a:close/>
                <a:moveTo>
                  <a:pt x="67" y="50"/>
                </a:moveTo>
                <a:lnTo>
                  <a:pt x="17" y="50"/>
                </a:lnTo>
                <a:lnTo>
                  <a:pt x="17" y="17"/>
                </a:lnTo>
                <a:lnTo>
                  <a:pt x="67" y="17"/>
                </a:lnTo>
                <a:lnTo>
                  <a:pt x="67" y="50"/>
                </a:lnTo>
                <a:close/>
                <a:moveTo>
                  <a:pt x="0" y="67"/>
                </a:moveTo>
                <a:lnTo>
                  <a:pt x="333" y="67"/>
                </a:lnTo>
                <a:lnTo>
                  <a:pt x="333" y="0"/>
                </a:lnTo>
                <a:lnTo>
                  <a:pt x="0" y="0"/>
                </a:lnTo>
                <a:lnTo>
                  <a:pt x="0" y="67"/>
                </a:lnTo>
                <a:close/>
              </a:path>
            </a:pathLst>
          </a:custGeom>
          <a:solidFill>
            <a:srgbClr val="F9B59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" name="Textfeld 101">
            <a:extLst>
              <a:ext uri="{FF2B5EF4-FFF2-40B4-BE49-F238E27FC236}">
                <a16:creationId xmlns:a16="http://schemas.microsoft.com/office/drawing/2014/main" id="{7F48CDBB-44FB-CB48-5822-293A77D9991F}"/>
              </a:ext>
            </a:extLst>
          </p:cNvPr>
          <p:cNvSpPr txBox="1">
            <a:spLocks/>
          </p:cNvSpPr>
          <p:nvPr/>
        </p:nvSpPr>
        <p:spPr>
          <a:xfrm>
            <a:off x="9920023" y="3411150"/>
            <a:ext cx="787400" cy="153888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TI-Konnektor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03" name="Textfeld 102">
            <a:extLst>
              <a:ext uri="{FF2B5EF4-FFF2-40B4-BE49-F238E27FC236}">
                <a16:creationId xmlns:a16="http://schemas.microsoft.com/office/drawing/2014/main" id="{EC6A8ABD-3698-098B-DDB2-F4D79EB600CD}"/>
              </a:ext>
            </a:extLst>
          </p:cNvPr>
          <p:cNvSpPr txBox="1">
            <a:spLocks/>
          </p:cNvSpPr>
          <p:nvPr/>
        </p:nvSpPr>
        <p:spPr>
          <a:xfrm>
            <a:off x="9920023" y="2757100"/>
            <a:ext cx="787400" cy="153888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</a:rPr>
              <a:t>KIM-Client</a:t>
            </a:r>
            <a:endParaRPr lang="en-US" sz="1000">
              <a:solidFill>
                <a:schemeClr val="bg1"/>
              </a:solidFill>
            </a:endParaRPr>
          </a:p>
        </p:txBody>
      </p: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EB5C40F3-EF64-9942-530E-2865CF3CCF59}"/>
              </a:ext>
            </a:extLst>
          </p:cNvPr>
          <p:cNvCxnSpPr>
            <a:cxnSpLocks/>
          </p:cNvCxnSpPr>
          <p:nvPr/>
        </p:nvCxnSpPr>
        <p:spPr>
          <a:xfrm>
            <a:off x="7969250" y="3201176"/>
            <a:ext cx="1025524" cy="0"/>
          </a:xfrm>
          <a:prstGeom prst="line">
            <a:avLst/>
          </a:prstGeom>
          <a:ln w="19050" cap="flat">
            <a:solidFill>
              <a:schemeClr val="bg2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62E3E547-F382-5A56-EF98-70B04B4023D1}"/>
              </a:ext>
            </a:extLst>
          </p:cNvPr>
          <p:cNvCxnSpPr>
            <a:cxnSpLocks/>
          </p:cNvCxnSpPr>
          <p:nvPr/>
        </p:nvCxnSpPr>
        <p:spPr>
          <a:xfrm>
            <a:off x="8999007" y="3201176"/>
            <a:ext cx="1160993" cy="0"/>
          </a:xfrm>
          <a:prstGeom prst="line">
            <a:avLst/>
          </a:prstGeom>
          <a:ln w="19050" cap="flat">
            <a:solidFill>
              <a:schemeClr val="bg1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Freeform 141">
            <a:extLst>
              <a:ext uri="{FF2B5EF4-FFF2-40B4-BE49-F238E27FC236}">
                <a16:creationId xmlns:a16="http://schemas.microsoft.com/office/drawing/2014/main" id="{240936AB-BC88-C6C8-BC27-6395762D0841}"/>
              </a:ext>
            </a:extLst>
          </p:cNvPr>
          <p:cNvSpPr>
            <a:spLocks/>
          </p:cNvSpPr>
          <p:nvPr/>
        </p:nvSpPr>
        <p:spPr bwMode="auto">
          <a:xfrm>
            <a:off x="10147847" y="3035300"/>
            <a:ext cx="331752" cy="331751"/>
          </a:xfrm>
          <a:custGeom>
            <a:avLst/>
            <a:gdLst>
              <a:gd name="T0" fmla="*/ 467 w 467"/>
              <a:gd name="T1" fmla="*/ 384 h 467"/>
              <a:gd name="T2" fmla="*/ 384 w 467"/>
              <a:gd name="T3" fmla="*/ 467 h 467"/>
              <a:gd name="T4" fmla="*/ 300 w 467"/>
              <a:gd name="T5" fmla="*/ 384 h 467"/>
              <a:gd name="T6" fmla="*/ 303 w 467"/>
              <a:gd name="T7" fmla="*/ 362 h 467"/>
              <a:gd name="T8" fmla="*/ 149 w 467"/>
              <a:gd name="T9" fmla="*/ 285 h 467"/>
              <a:gd name="T10" fmla="*/ 84 w 467"/>
              <a:gd name="T11" fmla="*/ 317 h 467"/>
              <a:gd name="T12" fmla="*/ 0 w 467"/>
              <a:gd name="T13" fmla="*/ 234 h 467"/>
              <a:gd name="T14" fmla="*/ 84 w 467"/>
              <a:gd name="T15" fmla="*/ 150 h 467"/>
              <a:gd name="T16" fmla="*/ 149 w 467"/>
              <a:gd name="T17" fmla="*/ 182 h 467"/>
              <a:gd name="T18" fmla="*/ 303 w 467"/>
              <a:gd name="T19" fmla="*/ 105 h 467"/>
              <a:gd name="T20" fmla="*/ 300 w 467"/>
              <a:gd name="T21" fmla="*/ 84 h 467"/>
              <a:gd name="T22" fmla="*/ 384 w 467"/>
              <a:gd name="T23" fmla="*/ 0 h 467"/>
              <a:gd name="T24" fmla="*/ 467 w 467"/>
              <a:gd name="T25" fmla="*/ 84 h 467"/>
              <a:gd name="T26" fmla="*/ 384 w 467"/>
              <a:gd name="T27" fmla="*/ 167 h 467"/>
              <a:gd name="T28" fmla="*/ 318 w 467"/>
              <a:gd name="T29" fmla="*/ 135 h 467"/>
              <a:gd name="T30" fmla="*/ 164 w 467"/>
              <a:gd name="T31" fmla="*/ 212 h 467"/>
              <a:gd name="T32" fmla="*/ 167 w 467"/>
              <a:gd name="T33" fmla="*/ 234 h 467"/>
              <a:gd name="T34" fmla="*/ 164 w 467"/>
              <a:gd name="T35" fmla="*/ 255 h 467"/>
              <a:gd name="T36" fmla="*/ 318 w 467"/>
              <a:gd name="T37" fmla="*/ 332 h 467"/>
              <a:gd name="T38" fmla="*/ 384 w 467"/>
              <a:gd name="T39" fmla="*/ 300 h 467"/>
              <a:gd name="T40" fmla="*/ 467 w 467"/>
              <a:gd name="T41" fmla="*/ 384 h 4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67" h="467">
                <a:moveTo>
                  <a:pt x="467" y="384"/>
                </a:moveTo>
                <a:cubicBezTo>
                  <a:pt x="467" y="430"/>
                  <a:pt x="430" y="467"/>
                  <a:pt x="384" y="467"/>
                </a:cubicBezTo>
                <a:cubicBezTo>
                  <a:pt x="338" y="467"/>
                  <a:pt x="300" y="430"/>
                  <a:pt x="300" y="384"/>
                </a:cubicBezTo>
                <a:cubicBezTo>
                  <a:pt x="300" y="376"/>
                  <a:pt x="302" y="369"/>
                  <a:pt x="303" y="362"/>
                </a:cubicBezTo>
                <a:lnTo>
                  <a:pt x="149" y="285"/>
                </a:lnTo>
                <a:cubicBezTo>
                  <a:pt x="134" y="304"/>
                  <a:pt x="110" y="317"/>
                  <a:pt x="84" y="317"/>
                </a:cubicBezTo>
                <a:cubicBezTo>
                  <a:pt x="38" y="317"/>
                  <a:pt x="0" y="280"/>
                  <a:pt x="0" y="234"/>
                </a:cubicBezTo>
                <a:cubicBezTo>
                  <a:pt x="0" y="188"/>
                  <a:pt x="38" y="150"/>
                  <a:pt x="84" y="150"/>
                </a:cubicBezTo>
                <a:cubicBezTo>
                  <a:pt x="110" y="150"/>
                  <a:pt x="134" y="163"/>
                  <a:pt x="149" y="182"/>
                </a:cubicBezTo>
                <a:lnTo>
                  <a:pt x="303" y="105"/>
                </a:lnTo>
                <a:cubicBezTo>
                  <a:pt x="302" y="98"/>
                  <a:pt x="300" y="91"/>
                  <a:pt x="300" y="84"/>
                </a:cubicBezTo>
                <a:cubicBezTo>
                  <a:pt x="300" y="38"/>
                  <a:pt x="338" y="0"/>
                  <a:pt x="384" y="0"/>
                </a:cubicBezTo>
                <a:cubicBezTo>
                  <a:pt x="430" y="0"/>
                  <a:pt x="467" y="38"/>
                  <a:pt x="467" y="84"/>
                </a:cubicBezTo>
                <a:cubicBezTo>
                  <a:pt x="467" y="130"/>
                  <a:pt x="430" y="167"/>
                  <a:pt x="384" y="167"/>
                </a:cubicBezTo>
                <a:cubicBezTo>
                  <a:pt x="357" y="167"/>
                  <a:pt x="334" y="154"/>
                  <a:pt x="318" y="135"/>
                </a:cubicBezTo>
                <a:lnTo>
                  <a:pt x="164" y="212"/>
                </a:lnTo>
                <a:cubicBezTo>
                  <a:pt x="166" y="219"/>
                  <a:pt x="167" y="226"/>
                  <a:pt x="167" y="234"/>
                </a:cubicBezTo>
                <a:cubicBezTo>
                  <a:pt x="167" y="241"/>
                  <a:pt x="166" y="248"/>
                  <a:pt x="164" y="255"/>
                </a:cubicBezTo>
                <a:lnTo>
                  <a:pt x="318" y="332"/>
                </a:lnTo>
                <a:cubicBezTo>
                  <a:pt x="334" y="313"/>
                  <a:pt x="357" y="300"/>
                  <a:pt x="384" y="300"/>
                </a:cubicBezTo>
                <a:cubicBezTo>
                  <a:pt x="430" y="300"/>
                  <a:pt x="467" y="338"/>
                  <a:pt x="467" y="384"/>
                </a:cubicBezTo>
                <a:close/>
              </a:path>
            </a:pathLst>
          </a:custGeom>
          <a:solidFill>
            <a:srgbClr val="F9B59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BA7AA86-C551-4A42-9DC8-E821C560BADB}"/>
              </a:ext>
            </a:extLst>
          </p:cNvPr>
          <p:cNvGrpSpPr/>
          <p:nvPr/>
        </p:nvGrpSpPr>
        <p:grpSpPr>
          <a:xfrm>
            <a:off x="7300485" y="2818324"/>
            <a:ext cx="685275" cy="575032"/>
            <a:chOff x="7300485" y="3281874"/>
            <a:chExt cx="685275" cy="575032"/>
          </a:xfrm>
        </p:grpSpPr>
        <p:sp>
          <p:nvSpPr>
            <p:cNvPr id="30" name="Freeform 107">
              <a:extLst>
                <a:ext uri="{FF2B5EF4-FFF2-40B4-BE49-F238E27FC236}">
                  <a16:creationId xmlns:a16="http://schemas.microsoft.com/office/drawing/2014/main" id="{5D62C461-9D6D-7E23-59FC-1F55D0467D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5221" y="3281874"/>
              <a:ext cx="380768" cy="482539"/>
            </a:xfrm>
            <a:custGeom>
              <a:avLst/>
              <a:gdLst>
                <a:gd name="T0" fmla="*/ 40 w 217"/>
                <a:gd name="T1" fmla="*/ 0 h 275"/>
                <a:gd name="T2" fmla="*/ 40 w 217"/>
                <a:gd name="T3" fmla="*/ 236 h 275"/>
                <a:gd name="T4" fmla="*/ 217 w 217"/>
                <a:gd name="T5" fmla="*/ 236 h 275"/>
                <a:gd name="T6" fmla="*/ 217 w 217"/>
                <a:gd name="T7" fmla="*/ 78 h 275"/>
                <a:gd name="T8" fmla="*/ 138 w 217"/>
                <a:gd name="T9" fmla="*/ 78 h 275"/>
                <a:gd name="T10" fmla="*/ 138 w 217"/>
                <a:gd name="T11" fmla="*/ 0 h 275"/>
                <a:gd name="T12" fmla="*/ 40 w 217"/>
                <a:gd name="T13" fmla="*/ 0 h 275"/>
                <a:gd name="T14" fmla="*/ 217 w 217"/>
                <a:gd name="T15" fmla="*/ 59 h 275"/>
                <a:gd name="T16" fmla="*/ 158 w 217"/>
                <a:gd name="T17" fmla="*/ 0 h 275"/>
                <a:gd name="T18" fmla="*/ 158 w 217"/>
                <a:gd name="T19" fmla="*/ 59 h 275"/>
                <a:gd name="T20" fmla="*/ 217 w 217"/>
                <a:gd name="T21" fmla="*/ 59 h 275"/>
                <a:gd name="T22" fmla="*/ 0 w 217"/>
                <a:gd name="T23" fmla="*/ 39 h 275"/>
                <a:gd name="T24" fmla="*/ 0 w 217"/>
                <a:gd name="T25" fmla="*/ 275 h 275"/>
                <a:gd name="T26" fmla="*/ 178 w 217"/>
                <a:gd name="T27" fmla="*/ 275 h 275"/>
                <a:gd name="T28" fmla="*/ 178 w 217"/>
                <a:gd name="T29" fmla="*/ 255 h 275"/>
                <a:gd name="T30" fmla="*/ 20 w 217"/>
                <a:gd name="T31" fmla="*/ 255 h 275"/>
                <a:gd name="T32" fmla="*/ 20 w 217"/>
                <a:gd name="T33" fmla="*/ 39 h 275"/>
                <a:gd name="T34" fmla="*/ 0 w 217"/>
                <a:gd name="T35" fmla="*/ 3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75">
                  <a:moveTo>
                    <a:pt x="40" y="0"/>
                  </a:moveTo>
                  <a:lnTo>
                    <a:pt x="40" y="236"/>
                  </a:lnTo>
                  <a:lnTo>
                    <a:pt x="217" y="236"/>
                  </a:lnTo>
                  <a:lnTo>
                    <a:pt x="217" y="78"/>
                  </a:lnTo>
                  <a:lnTo>
                    <a:pt x="138" y="78"/>
                  </a:lnTo>
                  <a:lnTo>
                    <a:pt x="138" y="0"/>
                  </a:lnTo>
                  <a:lnTo>
                    <a:pt x="40" y="0"/>
                  </a:lnTo>
                  <a:close/>
                  <a:moveTo>
                    <a:pt x="217" y="59"/>
                  </a:moveTo>
                  <a:lnTo>
                    <a:pt x="158" y="0"/>
                  </a:lnTo>
                  <a:lnTo>
                    <a:pt x="158" y="59"/>
                  </a:lnTo>
                  <a:lnTo>
                    <a:pt x="217" y="59"/>
                  </a:lnTo>
                  <a:close/>
                  <a:moveTo>
                    <a:pt x="0" y="39"/>
                  </a:moveTo>
                  <a:lnTo>
                    <a:pt x="0" y="275"/>
                  </a:lnTo>
                  <a:lnTo>
                    <a:pt x="178" y="275"/>
                  </a:lnTo>
                  <a:lnTo>
                    <a:pt x="178" y="255"/>
                  </a:lnTo>
                  <a:lnTo>
                    <a:pt x="20" y="255"/>
                  </a:lnTo>
                  <a:lnTo>
                    <a:pt x="20" y="39"/>
                  </a:lnTo>
                  <a:lnTo>
                    <a:pt x="0" y="39"/>
                  </a:lnTo>
                  <a:close/>
                </a:path>
              </a:pathLst>
            </a:custGeom>
            <a:solidFill>
              <a:srgbClr val="87D2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7EA34C8A-FDCE-274F-0025-9E67A7D8CC7F}"/>
                </a:ext>
              </a:extLst>
            </p:cNvPr>
            <p:cNvGrpSpPr>
              <a:grpSpLocks/>
            </p:cNvGrpSpPr>
            <p:nvPr/>
          </p:nvGrpSpPr>
          <p:grpSpPr>
            <a:xfrm>
              <a:off x="7721316" y="3511889"/>
              <a:ext cx="264444" cy="345017"/>
              <a:chOff x="7463023" y="3053758"/>
              <a:chExt cx="406400" cy="530225"/>
            </a:xfrm>
          </p:grpSpPr>
          <p:sp>
            <p:nvSpPr>
              <p:cNvPr id="27" name="Rechteck 26">
                <a:extLst>
                  <a:ext uri="{FF2B5EF4-FFF2-40B4-BE49-F238E27FC236}">
                    <a16:creationId xmlns:a16="http://schemas.microsoft.com/office/drawing/2014/main" id="{0327C5B8-BC10-DD5F-A53D-3A6D5D1BA25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556304" y="3192590"/>
                <a:ext cx="219837" cy="25256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Freeform 86">
                <a:extLst>
                  <a:ext uri="{FF2B5EF4-FFF2-40B4-BE49-F238E27FC236}">
                    <a16:creationId xmlns:a16="http://schemas.microsoft.com/office/drawing/2014/main" id="{8F4B60F1-1C8B-7F35-3B00-5D0DFF75C3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63023" y="3053758"/>
                <a:ext cx="406400" cy="530225"/>
              </a:xfrm>
              <a:custGeom>
                <a:avLst/>
                <a:gdLst>
                  <a:gd name="T0" fmla="*/ 225 w 333"/>
                  <a:gd name="T1" fmla="*/ 183 h 433"/>
                  <a:gd name="T2" fmla="*/ 200 w 333"/>
                  <a:gd name="T3" fmla="*/ 183 h 433"/>
                  <a:gd name="T4" fmla="*/ 200 w 333"/>
                  <a:gd name="T5" fmla="*/ 167 h 433"/>
                  <a:gd name="T6" fmla="*/ 167 w 333"/>
                  <a:gd name="T7" fmla="*/ 133 h 433"/>
                  <a:gd name="T8" fmla="*/ 133 w 333"/>
                  <a:gd name="T9" fmla="*/ 167 h 433"/>
                  <a:gd name="T10" fmla="*/ 133 w 333"/>
                  <a:gd name="T11" fmla="*/ 183 h 433"/>
                  <a:gd name="T12" fmla="*/ 108 w 333"/>
                  <a:gd name="T13" fmla="*/ 183 h 433"/>
                  <a:gd name="T14" fmla="*/ 108 w 333"/>
                  <a:gd name="T15" fmla="*/ 300 h 433"/>
                  <a:gd name="T16" fmla="*/ 225 w 333"/>
                  <a:gd name="T17" fmla="*/ 300 h 433"/>
                  <a:gd name="T18" fmla="*/ 225 w 333"/>
                  <a:gd name="T19" fmla="*/ 183 h 433"/>
                  <a:gd name="T20" fmla="*/ 333 w 333"/>
                  <a:gd name="T21" fmla="*/ 67 h 433"/>
                  <a:gd name="T22" fmla="*/ 333 w 333"/>
                  <a:gd name="T23" fmla="*/ 244 h 433"/>
                  <a:gd name="T24" fmla="*/ 290 w 333"/>
                  <a:gd name="T25" fmla="*/ 335 h 433"/>
                  <a:gd name="T26" fmla="*/ 167 w 333"/>
                  <a:gd name="T27" fmla="*/ 433 h 433"/>
                  <a:gd name="T28" fmla="*/ 44 w 333"/>
                  <a:gd name="T29" fmla="*/ 335 h 433"/>
                  <a:gd name="T30" fmla="*/ 0 w 333"/>
                  <a:gd name="T31" fmla="*/ 244 h 433"/>
                  <a:gd name="T32" fmla="*/ 0 w 333"/>
                  <a:gd name="T33" fmla="*/ 67 h 433"/>
                  <a:gd name="T34" fmla="*/ 167 w 333"/>
                  <a:gd name="T35" fmla="*/ 0 h 433"/>
                  <a:gd name="T36" fmla="*/ 333 w 333"/>
                  <a:gd name="T37" fmla="*/ 67 h 433"/>
                  <a:gd name="T38" fmla="*/ 167 w 333"/>
                  <a:gd name="T39" fmla="*/ 150 h 433"/>
                  <a:gd name="T40" fmla="*/ 150 w 333"/>
                  <a:gd name="T41" fmla="*/ 167 h 433"/>
                  <a:gd name="T42" fmla="*/ 150 w 333"/>
                  <a:gd name="T43" fmla="*/ 183 h 433"/>
                  <a:gd name="T44" fmla="*/ 183 w 333"/>
                  <a:gd name="T45" fmla="*/ 183 h 433"/>
                  <a:gd name="T46" fmla="*/ 183 w 333"/>
                  <a:gd name="T47" fmla="*/ 167 h 433"/>
                  <a:gd name="T48" fmla="*/ 167 w 333"/>
                  <a:gd name="T49" fmla="*/ 150 h 433"/>
                  <a:gd name="T50" fmla="*/ 175 w 333"/>
                  <a:gd name="T51" fmla="*/ 250 h 433"/>
                  <a:gd name="T52" fmla="*/ 175 w 333"/>
                  <a:gd name="T53" fmla="*/ 267 h 433"/>
                  <a:gd name="T54" fmla="*/ 167 w 333"/>
                  <a:gd name="T55" fmla="*/ 275 h 433"/>
                  <a:gd name="T56" fmla="*/ 158 w 333"/>
                  <a:gd name="T57" fmla="*/ 267 h 433"/>
                  <a:gd name="T58" fmla="*/ 158 w 333"/>
                  <a:gd name="T59" fmla="*/ 250 h 433"/>
                  <a:gd name="T60" fmla="*/ 167 w 333"/>
                  <a:gd name="T61" fmla="*/ 242 h 433"/>
                  <a:gd name="T62" fmla="*/ 175 w 333"/>
                  <a:gd name="T63" fmla="*/ 250 h 4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33" h="433">
                    <a:moveTo>
                      <a:pt x="225" y="183"/>
                    </a:moveTo>
                    <a:lnTo>
                      <a:pt x="200" y="183"/>
                    </a:lnTo>
                    <a:lnTo>
                      <a:pt x="200" y="167"/>
                    </a:lnTo>
                    <a:cubicBezTo>
                      <a:pt x="200" y="148"/>
                      <a:pt x="185" y="133"/>
                      <a:pt x="167" y="133"/>
                    </a:cubicBezTo>
                    <a:cubicBezTo>
                      <a:pt x="148" y="133"/>
                      <a:pt x="133" y="148"/>
                      <a:pt x="133" y="167"/>
                    </a:cubicBezTo>
                    <a:lnTo>
                      <a:pt x="133" y="183"/>
                    </a:lnTo>
                    <a:lnTo>
                      <a:pt x="108" y="183"/>
                    </a:lnTo>
                    <a:lnTo>
                      <a:pt x="108" y="300"/>
                    </a:lnTo>
                    <a:lnTo>
                      <a:pt x="225" y="300"/>
                    </a:lnTo>
                    <a:lnTo>
                      <a:pt x="225" y="183"/>
                    </a:lnTo>
                    <a:close/>
                    <a:moveTo>
                      <a:pt x="333" y="67"/>
                    </a:moveTo>
                    <a:lnTo>
                      <a:pt x="333" y="244"/>
                    </a:lnTo>
                    <a:cubicBezTo>
                      <a:pt x="333" y="279"/>
                      <a:pt x="317" y="313"/>
                      <a:pt x="290" y="335"/>
                    </a:cubicBezTo>
                    <a:lnTo>
                      <a:pt x="167" y="433"/>
                    </a:lnTo>
                    <a:lnTo>
                      <a:pt x="44" y="335"/>
                    </a:lnTo>
                    <a:cubicBezTo>
                      <a:pt x="16" y="313"/>
                      <a:pt x="0" y="279"/>
                      <a:pt x="0" y="244"/>
                    </a:cubicBezTo>
                    <a:lnTo>
                      <a:pt x="0" y="67"/>
                    </a:lnTo>
                    <a:cubicBezTo>
                      <a:pt x="0" y="67"/>
                      <a:pt x="103" y="74"/>
                      <a:pt x="167" y="0"/>
                    </a:cubicBezTo>
                    <a:cubicBezTo>
                      <a:pt x="230" y="74"/>
                      <a:pt x="333" y="67"/>
                      <a:pt x="333" y="67"/>
                    </a:cubicBezTo>
                    <a:close/>
                    <a:moveTo>
                      <a:pt x="167" y="150"/>
                    </a:moveTo>
                    <a:cubicBezTo>
                      <a:pt x="157" y="150"/>
                      <a:pt x="150" y="157"/>
                      <a:pt x="150" y="167"/>
                    </a:cubicBezTo>
                    <a:lnTo>
                      <a:pt x="150" y="183"/>
                    </a:lnTo>
                    <a:lnTo>
                      <a:pt x="183" y="183"/>
                    </a:lnTo>
                    <a:lnTo>
                      <a:pt x="183" y="167"/>
                    </a:lnTo>
                    <a:cubicBezTo>
                      <a:pt x="183" y="157"/>
                      <a:pt x="176" y="150"/>
                      <a:pt x="167" y="150"/>
                    </a:cubicBezTo>
                    <a:close/>
                    <a:moveTo>
                      <a:pt x="175" y="250"/>
                    </a:moveTo>
                    <a:lnTo>
                      <a:pt x="175" y="267"/>
                    </a:lnTo>
                    <a:cubicBezTo>
                      <a:pt x="175" y="271"/>
                      <a:pt x="171" y="275"/>
                      <a:pt x="167" y="275"/>
                    </a:cubicBezTo>
                    <a:cubicBezTo>
                      <a:pt x="162" y="275"/>
                      <a:pt x="158" y="271"/>
                      <a:pt x="158" y="267"/>
                    </a:cubicBezTo>
                    <a:lnTo>
                      <a:pt x="158" y="250"/>
                    </a:lnTo>
                    <a:cubicBezTo>
                      <a:pt x="158" y="245"/>
                      <a:pt x="162" y="242"/>
                      <a:pt x="167" y="242"/>
                    </a:cubicBezTo>
                    <a:cubicBezTo>
                      <a:pt x="171" y="242"/>
                      <a:pt x="175" y="245"/>
                      <a:pt x="175" y="25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7" name="Gruppieren 66">
              <a:extLst>
                <a:ext uri="{FF2B5EF4-FFF2-40B4-BE49-F238E27FC236}">
                  <a16:creationId xmlns:a16="http://schemas.microsoft.com/office/drawing/2014/main" id="{6364A5BC-A3E2-2743-7EFE-81BBFBAECB71}"/>
                </a:ext>
              </a:extLst>
            </p:cNvPr>
            <p:cNvGrpSpPr/>
            <p:nvPr/>
          </p:nvGrpSpPr>
          <p:grpSpPr>
            <a:xfrm>
              <a:off x="7300485" y="3388961"/>
              <a:ext cx="321121" cy="230540"/>
              <a:chOff x="6904691" y="4036660"/>
              <a:chExt cx="648335" cy="465455"/>
            </a:xfrm>
            <a:solidFill>
              <a:schemeClr val="accent4"/>
            </a:solidFill>
          </p:grpSpPr>
          <p:sp>
            <p:nvSpPr>
              <p:cNvPr id="65" name="Freeform 57">
                <a:extLst>
                  <a:ext uri="{FF2B5EF4-FFF2-40B4-BE49-F238E27FC236}">
                    <a16:creationId xmlns:a16="http://schemas.microsoft.com/office/drawing/2014/main" id="{45509242-8141-3600-E13A-39CE104A80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94251" y="4181440"/>
                <a:ext cx="358775" cy="320675"/>
              </a:xfrm>
              <a:custGeom>
                <a:avLst/>
                <a:gdLst>
                  <a:gd name="T0" fmla="*/ 92 w 92"/>
                  <a:gd name="T1" fmla="*/ 41 h 82"/>
                  <a:gd name="T2" fmla="*/ 54 w 92"/>
                  <a:gd name="T3" fmla="*/ 79 h 82"/>
                  <a:gd name="T4" fmla="*/ 43 w 92"/>
                  <a:gd name="T5" fmla="*/ 79 h 82"/>
                  <a:gd name="T6" fmla="*/ 43 w 92"/>
                  <a:gd name="T7" fmla="*/ 67 h 82"/>
                  <a:gd name="T8" fmla="*/ 61 w 92"/>
                  <a:gd name="T9" fmla="*/ 49 h 82"/>
                  <a:gd name="T10" fmla="*/ 0 w 92"/>
                  <a:gd name="T11" fmla="*/ 49 h 82"/>
                  <a:gd name="T12" fmla="*/ 0 w 92"/>
                  <a:gd name="T13" fmla="*/ 33 h 82"/>
                  <a:gd name="T14" fmla="*/ 61 w 92"/>
                  <a:gd name="T15" fmla="*/ 33 h 82"/>
                  <a:gd name="T16" fmla="*/ 43 w 92"/>
                  <a:gd name="T17" fmla="*/ 15 h 82"/>
                  <a:gd name="T18" fmla="*/ 43 w 92"/>
                  <a:gd name="T19" fmla="*/ 3 h 82"/>
                  <a:gd name="T20" fmla="*/ 54 w 92"/>
                  <a:gd name="T21" fmla="*/ 3 h 82"/>
                  <a:gd name="T22" fmla="*/ 92 w 92"/>
                  <a:gd name="T23" fmla="*/ 4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2" h="82">
                    <a:moveTo>
                      <a:pt x="92" y="41"/>
                    </a:moveTo>
                    <a:cubicBezTo>
                      <a:pt x="54" y="79"/>
                      <a:pt x="54" y="79"/>
                      <a:pt x="54" y="79"/>
                    </a:cubicBezTo>
                    <a:cubicBezTo>
                      <a:pt x="51" y="82"/>
                      <a:pt x="46" y="82"/>
                      <a:pt x="43" y="79"/>
                    </a:cubicBezTo>
                    <a:cubicBezTo>
                      <a:pt x="40" y="76"/>
                      <a:pt x="40" y="70"/>
                      <a:pt x="43" y="67"/>
                    </a:cubicBezTo>
                    <a:cubicBezTo>
                      <a:pt x="61" y="49"/>
                      <a:pt x="61" y="49"/>
                      <a:pt x="61" y="4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40" y="12"/>
                      <a:pt x="40" y="6"/>
                      <a:pt x="43" y="3"/>
                    </a:cubicBezTo>
                    <a:cubicBezTo>
                      <a:pt x="46" y="0"/>
                      <a:pt x="51" y="0"/>
                      <a:pt x="54" y="3"/>
                    </a:cubicBezTo>
                    <a:lnTo>
                      <a:pt x="92" y="4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57">
                <a:extLst>
                  <a:ext uri="{FF2B5EF4-FFF2-40B4-BE49-F238E27FC236}">
                    <a16:creationId xmlns:a16="http://schemas.microsoft.com/office/drawing/2014/main" id="{EB2EE057-083B-315C-17E3-278D6408754C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>
                <a:off x="6904691" y="4036660"/>
                <a:ext cx="358775" cy="320675"/>
              </a:xfrm>
              <a:custGeom>
                <a:avLst/>
                <a:gdLst>
                  <a:gd name="T0" fmla="*/ 92 w 92"/>
                  <a:gd name="T1" fmla="*/ 41 h 82"/>
                  <a:gd name="T2" fmla="*/ 54 w 92"/>
                  <a:gd name="T3" fmla="*/ 79 h 82"/>
                  <a:gd name="T4" fmla="*/ 43 w 92"/>
                  <a:gd name="T5" fmla="*/ 79 h 82"/>
                  <a:gd name="T6" fmla="*/ 43 w 92"/>
                  <a:gd name="T7" fmla="*/ 67 h 82"/>
                  <a:gd name="T8" fmla="*/ 61 w 92"/>
                  <a:gd name="T9" fmla="*/ 49 h 82"/>
                  <a:gd name="T10" fmla="*/ 0 w 92"/>
                  <a:gd name="T11" fmla="*/ 49 h 82"/>
                  <a:gd name="T12" fmla="*/ 0 w 92"/>
                  <a:gd name="T13" fmla="*/ 33 h 82"/>
                  <a:gd name="T14" fmla="*/ 61 w 92"/>
                  <a:gd name="T15" fmla="*/ 33 h 82"/>
                  <a:gd name="T16" fmla="*/ 43 w 92"/>
                  <a:gd name="T17" fmla="*/ 15 h 82"/>
                  <a:gd name="T18" fmla="*/ 43 w 92"/>
                  <a:gd name="T19" fmla="*/ 3 h 82"/>
                  <a:gd name="T20" fmla="*/ 54 w 92"/>
                  <a:gd name="T21" fmla="*/ 3 h 82"/>
                  <a:gd name="T22" fmla="*/ 92 w 92"/>
                  <a:gd name="T23" fmla="*/ 4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2" h="82">
                    <a:moveTo>
                      <a:pt x="92" y="41"/>
                    </a:moveTo>
                    <a:cubicBezTo>
                      <a:pt x="54" y="79"/>
                      <a:pt x="54" y="79"/>
                      <a:pt x="54" y="79"/>
                    </a:cubicBezTo>
                    <a:cubicBezTo>
                      <a:pt x="51" y="82"/>
                      <a:pt x="46" y="82"/>
                      <a:pt x="43" y="79"/>
                    </a:cubicBezTo>
                    <a:cubicBezTo>
                      <a:pt x="40" y="76"/>
                      <a:pt x="40" y="70"/>
                      <a:pt x="43" y="67"/>
                    </a:cubicBezTo>
                    <a:cubicBezTo>
                      <a:pt x="61" y="49"/>
                      <a:pt x="61" y="49"/>
                      <a:pt x="61" y="4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40" y="12"/>
                      <a:pt x="40" y="6"/>
                      <a:pt x="43" y="3"/>
                    </a:cubicBezTo>
                    <a:cubicBezTo>
                      <a:pt x="46" y="0"/>
                      <a:pt x="51" y="0"/>
                      <a:pt x="54" y="3"/>
                    </a:cubicBezTo>
                    <a:lnTo>
                      <a:pt x="92" y="4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11" name="Gruppieren 110">
            <a:extLst>
              <a:ext uri="{FF2B5EF4-FFF2-40B4-BE49-F238E27FC236}">
                <a16:creationId xmlns:a16="http://schemas.microsoft.com/office/drawing/2014/main" id="{C9F38293-562C-9EB1-3A92-670FA59AE1ED}"/>
              </a:ext>
            </a:extLst>
          </p:cNvPr>
          <p:cNvGrpSpPr/>
          <p:nvPr/>
        </p:nvGrpSpPr>
        <p:grpSpPr>
          <a:xfrm>
            <a:off x="10553700" y="2557075"/>
            <a:ext cx="520699" cy="643690"/>
            <a:chOff x="10553700" y="2557075"/>
            <a:chExt cx="520699" cy="643690"/>
          </a:xfrm>
        </p:grpSpPr>
        <p:sp>
          <p:nvSpPr>
            <p:cNvPr id="108" name="Freihandform: Form 107">
              <a:extLst>
                <a:ext uri="{FF2B5EF4-FFF2-40B4-BE49-F238E27FC236}">
                  <a16:creationId xmlns:a16="http://schemas.microsoft.com/office/drawing/2014/main" id="{7A9D2F3A-E3AC-9644-7D18-672782F86E86}"/>
                </a:ext>
              </a:extLst>
            </p:cNvPr>
            <p:cNvSpPr/>
            <p:nvPr/>
          </p:nvSpPr>
          <p:spPr>
            <a:xfrm>
              <a:off x="10579100" y="2557075"/>
              <a:ext cx="495299" cy="298450"/>
            </a:xfrm>
            <a:custGeom>
              <a:avLst/>
              <a:gdLst>
                <a:gd name="connsiteX0" fmla="*/ 0 w 342900"/>
                <a:gd name="connsiteY0" fmla="*/ 0 h 298450"/>
                <a:gd name="connsiteX1" fmla="*/ 342900 w 342900"/>
                <a:gd name="connsiteY1" fmla="*/ 0 h 298450"/>
                <a:gd name="connsiteX2" fmla="*/ 342900 w 342900"/>
                <a:gd name="connsiteY2" fmla="*/ 298450 h 298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2900" h="298450">
                  <a:moveTo>
                    <a:pt x="0" y="0"/>
                  </a:moveTo>
                  <a:lnTo>
                    <a:pt x="342900" y="0"/>
                  </a:lnTo>
                  <a:lnTo>
                    <a:pt x="342900" y="298450"/>
                  </a:lnTo>
                </a:path>
              </a:pathLst>
            </a:custGeom>
            <a:ln w="19050" cap="flat">
              <a:solidFill>
                <a:schemeClr val="bg1"/>
              </a:solidFill>
              <a:prstDash val="solid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0" name="Freihandform: Form 109">
              <a:extLst>
                <a:ext uri="{FF2B5EF4-FFF2-40B4-BE49-F238E27FC236}">
                  <a16:creationId xmlns:a16="http://schemas.microsoft.com/office/drawing/2014/main" id="{999472D4-3F58-3876-3F4B-9EBCAED75349}"/>
                </a:ext>
              </a:extLst>
            </p:cNvPr>
            <p:cNvSpPr/>
            <p:nvPr/>
          </p:nvSpPr>
          <p:spPr>
            <a:xfrm flipV="1">
              <a:off x="10553700" y="2792025"/>
              <a:ext cx="520699" cy="408740"/>
            </a:xfrm>
            <a:custGeom>
              <a:avLst/>
              <a:gdLst>
                <a:gd name="connsiteX0" fmla="*/ 0 w 342900"/>
                <a:gd name="connsiteY0" fmla="*/ 0 h 298450"/>
                <a:gd name="connsiteX1" fmla="*/ 342900 w 342900"/>
                <a:gd name="connsiteY1" fmla="*/ 0 h 298450"/>
                <a:gd name="connsiteX2" fmla="*/ 342900 w 342900"/>
                <a:gd name="connsiteY2" fmla="*/ 298450 h 298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2900" h="298450">
                  <a:moveTo>
                    <a:pt x="0" y="0"/>
                  </a:moveTo>
                  <a:lnTo>
                    <a:pt x="342900" y="0"/>
                  </a:lnTo>
                  <a:lnTo>
                    <a:pt x="342900" y="298450"/>
                  </a:lnTo>
                </a:path>
              </a:pathLst>
            </a:custGeom>
            <a:ln w="19050" cap="flat">
              <a:solidFill>
                <a:schemeClr val="bg1"/>
              </a:solidFill>
              <a:prstDash val="solid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52" name="Gruppieren 151">
            <a:extLst>
              <a:ext uri="{FF2B5EF4-FFF2-40B4-BE49-F238E27FC236}">
                <a16:creationId xmlns:a16="http://schemas.microsoft.com/office/drawing/2014/main" id="{EFE6676F-0E30-5A9D-81E0-49365994F7D7}"/>
              </a:ext>
            </a:extLst>
          </p:cNvPr>
          <p:cNvGrpSpPr/>
          <p:nvPr/>
        </p:nvGrpSpPr>
        <p:grpSpPr>
          <a:xfrm>
            <a:off x="7141962" y="4998055"/>
            <a:ext cx="620913" cy="786191"/>
            <a:chOff x="7141962" y="4998055"/>
            <a:chExt cx="620913" cy="786191"/>
          </a:xfrm>
        </p:grpSpPr>
        <p:sp>
          <p:nvSpPr>
            <p:cNvPr id="150" name="Freeform 107">
              <a:extLst>
                <a:ext uri="{FF2B5EF4-FFF2-40B4-BE49-F238E27FC236}">
                  <a16:creationId xmlns:a16="http://schemas.microsoft.com/office/drawing/2014/main" id="{2DBA2B6C-04A9-10B9-4EFF-231FC2B9D8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41962" y="4998055"/>
              <a:ext cx="620378" cy="786191"/>
            </a:xfrm>
            <a:custGeom>
              <a:avLst/>
              <a:gdLst>
                <a:gd name="T0" fmla="*/ 40 w 217"/>
                <a:gd name="T1" fmla="*/ 0 h 275"/>
                <a:gd name="T2" fmla="*/ 40 w 217"/>
                <a:gd name="T3" fmla="*/ 236 h 275"/>
                <a:gd name="T4" fmla="*/ 217 w 217"/>
                <a:gd name="T5" fmla="*/ 236 h 275"/>
                <a:gd name="T6" fmla="*/ 217 w 217"/>
                <a:gd name="T7" fmla="*/ 78 h 275"/>
                <a:gd name="T8" fmla="*/ 138 w 217"/>
                <a:gd name="T9" fmla="*/ 78 h 275"/>
                <a:gd name="T10" fmla="*/ 138 w 217"/>
                <a:gd name="T11" fmla="*/ 0 h 275"/>
                <a:gd name="T12" fmla="*/ 40 w 217"/>
                <a:gd name="T13" fmla="*/ 0 h 275"/>
                <a:gd name="T14" fmla="*/ 217 w 217"/>
                <a:gd name="T15" fmla="*/ 59 h 275"/>
                <a:gd name="T16" fmla="*/ 158 w 217"/>
                <a:gd name="T17" fmla="*/ 0 h 275"/>
                <a:gd name="T18" fmla="*/ 158 w 217"/>
                <a:gd name="T19" fmla="*/ 59 h 275"/>
                <a:gd name="T20" fmla="*/ 217 w 217"/>
                <a:gd name="T21" fmla="*/ 59 h 275"/>
                <a:gd name="T22" fmla="*/ 0 w 217"/>
                <a:gd name="T23" fmla="*/ 39 h 275"/>
                <a:gd name="T24" fmla="*/ 0 w 217"/>
                <a:gd name="T25" fmla="*/ 275 h 275"/>
                <a:gd name="T26" fmla="*/ 178 w 217"/>
                <a:gd name="T27" fmla="*/ 275 h 275"/>
                <a:gd name="T28" fmla="*/ 178 w 217"/>
                <a:gd name="T29" fmla="*/ 255 h 275"/>
                <a:gd name="T30" fmla="*/ 20 w 217"/>
                <a:gd name="T31" fmla="*/ 255 h 275"/>
                <a:gd name="T32" fmla="*/ 20 w 217"/>
                <a:gd name="T33" fmla="*/ 39 h 275"/>
                <a:gd name="T34" fmla="*/ 0 w 217"/>
                <a:gd name="T35" fmla="*/ 3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75">
                  <a:moveTo>
                    <a:pt x="40" y="0"/>
                  </a:moveTo>
                  <a:lnTo>
                    <a:pt x="40" y="236"/>
                  </a:lnTo>
                  <a:lnTo>
                    <a:pt x="217" y="236"/>
                  </a:lnTo>
                  <a:lnTo>
                    <a:pt x="217" y="78"/>
                  </a:lnTo>
                  <a:lnTo>
                    <a:pt x="138" y="78"/>
                  </a:lnTo>
                  <a:lnTo>
                    <a:pt x="138" y="0"/>
                  </a:lnTo>
                  <a:lnTo>
                    <a:pt x="40" y="0"/>
                  </a:lnTo>
                  <a:close/>
                  <a:moveTo>
                    <a:pt x="217" y="59"/>
                  </a:moveTo>
                  <a:lnTo>
                    <a:pt x="158" y="0"/>
                  </a:lnTo>
                  <a:lnTo>
                    <a:pt x="158" y="59"/>
                  </a:lnTo>
                  <a:lnTo>
                    <a:pt x="217" y="59"/>
                  </a:lnTo>
                  <a:close/>
                  <a:moveTo>
                    <a:pt x="0" y="39"/>
                  </a:moveTo>
                  <a:lnTo>
                    <a:pt x="0" y="275"/>
                  </a:lnTo>
                  <a:lnTo>
                    <a:pt x="178" y="275"/>
                  </a:lnTo>
                  <a:lnTo>
                    <a:pt x="178" y="255"/>
                  </a:lnTo>
                  <a:lnTo>
                    <a:pt x="20" y="255"/>
                  </a:lnTo>
                  <a:lnTo>
                    <a:pt x="20" y="39"/>
                  </a:lnTo>
                  <a:lnTo>
                    <a:pt x="0" y="39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Textfeld 150">
              <a:extLst>
                <a:ext uri="{FF2B5EF4-FFF2-40B4-BE49-F238E27FC236}">
                  <a16:creationId xmlns:a16="http://schemas.microsoft.com/office/drawing/2014/main" id="{33FE8BAD-000A-73A3-4A1A-77396EB754DE}"/>
                </a:ext>
              </a:extLst>
            </p:cNvPr>
            <p:cNvSpPr txBox="1">
              <a:spLocks/>
            </p:cNvSpPr>
            <p:nvPr/>
          </p:nvSpPr>
          <p:spPr>
            <a:xfrm>
              <a:off x="7263871" y="5384285"/>
              <a:ext cx="499004" cy="246221"/>
            </a:xfrm>
            <a:prstGeom prst="rect">
              <a:avLst/>
            </a:prstGeom>
            <a:noFill/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de-DE" sz="1600" b="1" err="1">
                  <a:solidFill>
                    <a:schemeClr val="bg1"/>
                  </a:solidFill>
                </a:rPr>
                <a:t>ePA</a:t>
              </a:r>
              <a:endParaRPr lang="en-US" sz="1600" b="1">
                <a:solidFill>
                  <a:schemeClr val="bg1"/>
                </a:solidFill>
              </a:endParaRPr>
            </a:p>
          </p:txBody>
        </p:sp>
      </p:grpSp>
      <p:sp>
        <p:nvSpPr>
          <p:cNvPr id="699" name="Freihandform: Form 698">
            <a:extLst>
              <a:ext uri="{FF2B5EF4-FFF2-40B4-BE49-F238E27FC236}">
                <a16:creationId xmlns:a16="http://schemas.microsoft.com/office/drawing/2014/main" id="{88F6A0A5-A902-E25C-9304-03FC0A998422}"/>
              </a:ext>
            </a:extLst>
          </p:cNvPr>
          <p:cNvSpPr>
            <a:spLocks/>
          </p:cNvSpPr>
          <p:nvPr/>
        </p:nvSpPr>
        <p:spPr>
          <a:xfrm rot="16200000" flipH="1">
            <a:off x="4856465" y="3035094"/>
            <a:ext cx="1681024" cy="2880315"/>
          </a:xfrm>
          <a:custGeom>
            <a:avLst/>
            <a:gdLst>
              <a:gd name="connsiteX0" fmla="*/ 0 w 381000"/>
              <a:gd name="connsiteY0" fmla="*/ 0 h 533400"/>
              <a:gd name="connsiteX1" fmla="*/ 381000 w 381000"/>
              <a:gd name="connsiteY1" fmla="*/ 0 h 533400"/>
              <a:gd name="connsiteX2" fmla="*/ 381000 w 381000"/>
              <a:gd name="connsiteY2" fmla="*/ 533400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1000" h="533400">
                <a:moveTo>
                  <a:pt x="0" y="0"/>
                </a:moveTo>
                <a:lnTo>
                  <a:pt x="381000" y="0"/>
                </a:lnTo>
                <a:lnTo>
                  <a:pt x="381000" y="533400"/>
                </a:lnTo>
              </a:path>
            </a:pathLst>
          </a:custGeom>
          <a:ln w="19050" cap="rnd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3" name="Freihandform: Form 152">
            <a:extLst>
              <a:ext uri="{FF2B5EF4-FFF2-40B4-BE49-F238E27FC236}">
                <a16:creationId xmlns:a16="http://schemas.microsoft.com/office/drawing/2014/main" id="{93280572-9A29-B12B-3CD5-43893D420F42}"/>
              </a:ext>
            </a:extLst>
          </p:cNvPr>
          <p:cNvSpPr>
            <a:spLocks/>
          </p:cNvSpPr>
          <p:nvPr/>
        </p:nvSpPr>
        <p:spPr>
          <a:xfrm rot="16200000" flipH="1">
            <a:off x="4117325" y="2962705"/>
            <a:ext cx="1825804" cy="2880315"/>
          </a:xfrm>
          <a:custGeom>
            <a:avLst/>
            <a:gdLst>
              <a:gd name="connsiteX0" fmla="*/ 0 w 381000"/>
              <a:gd name="connsiteY0" fmla="*/ 0 h 533400"/>
              <a:gd name="connsiteX1" fmla="*/ 381000 w 381000"/>
              <a:gd name="connsiteY1" fmla="*/ 0 h 533400"/>
              <a:gd name="connsiteX2" fmla="*/ 381000 w 381000"/>
              <a:gd name="connsiteY2" fmla="*/ 533400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1000" h="533400">
                <a:moveTo>
                  <a:pt x="0" y="0"/>
                </a:moveTo>
                <a:lnTo>
                  <a:pt x="381000" y="0"/>
                </a:lnTo>
                <a:lnTo>
                  <a:pt x="381000" y="533400"/>
                </a:lnTo>
              </a:path>
            </a:pathLst>
          </a:custGeom>
          <a:ln w="19050" cap="rnd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7ED8F992-4260-57F3-7E07-C1B38C7856BE}"/>
              </a:ext>
            </a:extLst>
          </p:cNvPr>
          <p:cNvSpPr/>
          <p:nvPr/>
        </p:nvSpPr>
        <p:spPr>
          <a:xfrm>
            <a:off x="2603500" y="3949699"/>
            <a:ext cx="822325" cy="1710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B6867D86-7595-60B7-3883-EB6AEC947DB4}"/>
              </a:ext>
            </a:extLst>
          </p:cNvPr>
          <p:cNvGrpSpPr/>
          <p:nvPr/>
        </p:nvGrpSpPr>
        <p:grpSpPr>
          <a:xfrm>
            <a:off x="2671335" y="3904174"/>
            <a:ext cx="685275" cy="575032"/>
            <a:chOff x="7300485" y="3281874"/>
            <a:chExt cx="685275" cy="575032"/>
          </a:xfrm>
        </p:grpSpPr>
        <p:sp>
          <p:nvSpPr>
            <p:cNvPr id="143" name="Freeform 107">
              <a:extLst>
                <a:ext uri="{FF2B5EF4-FFF2-40B4-BE49-F238E27FC236}">
                  <a16:creationId xmlns:a16="http://schemas.microsoft.com/office/drawing/2014/main" id="{435E35B9-58B1-0495-C84E-071A2101B4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5221" y="3281874"/>
              <a:ext cx="380768" cy="482539"/>
            </a:xfrm>
            <a:custGeom>
              <a:avLst/>
              <a:gdLst>
                <a:gd name="T0" fmla="*/ 40 w 217"/>
                <a:gd name="T1" fmla="*/ 0 h 275"/>
                <a:gd name="T2" fmla="*/ 40 w 217"/>
                <a:gd name="T3" fmla="*/ 236 h 275"/>
                <a:gd name="T4" fmla="*/ 217 w 217"/>
                <a:gd name="T5" fmla="*/ 236 h 275"/>
                <a:gd name="T6" fmla="*/ 217 w 217"/>
                <a:gd name="T7" fmla="*/ 78 h 275"/>
                <a:gd name="T8" fmla="*/ 138 w 217"/>
                <a:gd name="T9" fmla="*/ 78 h 275"/>
                <a:gd name="T10" fmla="*/ 138 w 217"/>
                <a:gd name="T11" fmla="*/ 0 h 275"/>
                <a:gd name="T12" fmla="*/ 40 w 217"/>
                <a:gd name="T13" fmla="*/ 0 h 275"/>
                <a:gd name="T14" fmla="*/ 217 w 217"/>
                <a:gd name="T15" fmla="*/ 59 h 275"/>
                <a:gd name="T16" fmla="*/ 158 w 217"/>
                <a:gd name="T17" fmla="*/ 0 h 275"/>
                <a:gd name="T18" fmla="*/ 158 w 217"/>
                <a:gd name="T19" fmla="*/ 59 h 275"/>
                <a:gd name="T20" fmla="*/ 217 w 217"/>
                <a:gd name="T21" fmla="*/ 59 h 275"/>
                <a:gd name="T22" fmla="*/ 0 w 217"/>
                <a:gd name="T23" fmla="*/ 39 h 275"/>
                <a:gd name="T24" fmla="*/ 0 w 217"/>
                <a:gd name="T25" fmla="*/ 275 h 275"/>
                <a:gd name="T26" fmla="*/ 178 w 217"/>
                <a:gd name="T27" fmla="*/ 275 h 275"/>
                <a:gd name="T28" fmla="*/ 178 w 217"/>
                <a:gd name="T29" fmla="*/ 255 h 275"/>
                <a:gd name="T30" fmla="*/ 20 w 217"/>
                <a:gd name="T31" fmla="*/ 255 h 275"/>
                <a:gd name="T32" fmla="*/ 20 w 217"/>
                <a:gd name="T33" fmla="*/ 39 h 275"/>
                <a:gd name="T34" fmla="*/ 0 w 217"/>
                <a:gd name="T35" fmla="*/ 3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75">
                  <a:moveTo>
                    <a:pt x="40" y="0"/>
                  </a:moveTo>
                  <a:lnTo>
                    <a:pt x="40" y="236"/>
                  </a:lnTo>
                  <a:lnTo>
                    <a:pt x="217" y="236"/>
                  </a:lnTo>
                  <a:lnTo>
                    <a:pt x="217" y="78"/>
                  </a:lnTo>
                  <a:lnTo>
                    <a:pt x="138" y="78"/>
                  </a:lnTo>
                  <a:lnTo>
                    <a:pt x="138" y="0"/>
                  </a:lnTo>
                  <a:lnTo>
                    <a:pt x="40" y="0"/>
                  </a:lnTo>
                  <a:close/>
                  <a:moveTo>
                    <a:pt x="217" y="59"/>
                  </a:moveTo>
                  <a:lnTo>
                    <a:pt x="158" y="0"/>
                  </a:lnTo>
                  <a:lnTo>
                    <a:pt x="158" y="59"/>
                  </a:lnTo>
                  <a:lnTo>
                    <a:pt x="217" y="59"/>
                  </a:lnTo>
                  <a:close/>
                  <a:moveTo>
                    <a:pt x="0" y="39"/>
                  </a:moveTo>
                  <a:lnTo>
                    <a:pt x="0" y="275"/>
                  </a:lnTo>
                  <a:lnTo>
                    <a:pt x="178" y="275"/>
                  </a:lnTo>
                  <a:lnTo>
                    <a:pt x="178" y="255"/>
                  </a:lnTo>
                  <a:lnTo>
                    <a:pt x="20" y="255"/>
                  </a:lnTo>
                  <a:lnTo>
                    <a:pt x="20" y="39"/>
                  </a:lnTo>
                  <a:lnTo>
                    <a:pt x="0" y="39"/>
                  </a:lnTo>
                  <a:close/>
                </a:path>
              </a:pathLst>
            </a:custGeom>
            <a:solidFill>
              <a:srgbClr val="87D2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44" name="Gruppieren 143">
              <a:extLst>
                <a:ext uri="{FF2B5EF4-FFF2-40B4-BE49-F238E27FC236}">
                  <a16:creationId xmlns:a16="http://schemas.microsoft.com/office/drawing/2014/main" id="{8A9A1D00-5651-4D89-5784-DCB2423B8F60}"/>
                </a:ext>
              </a:extLst>
            </p:cNvPr>
            <p:cNvGrpSpPr>
              <a:grpSpLocks/>
            </p:cNvGrpSpPr>
            <p:nvPr/>
          </p:nvGrpSpPr>
          <p:grpSpPr>
            <a:xfrm>
              <a:off x="7721316" y="3511889"/>
              <a:ext cx="264444" cy="345017"/>
              <a:chOff x="7463023" y="3053758"/>
              <a:chExt cx="406400" cy="530225"/>
            </a:xfrm>
          </p:grpSpPr>
          <p:sp>
            <p:nvSpPr>
              <p:cNvPr id="148" name="Rechteck 147">
                <a:extLst>
                  <a:ext uri="{FF2B5EF4-FFF2-40B4-BE49-F238E27FC236}">
                    <a16:creationId xmlns:a16="http://schemas.microsoft.com/office/drawing/2014/main" id="{8B976597-EEC6-1575-A177-418EEB583F1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556304" y="3192590"/>
                <a:ext cx="219837" cy="25256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9" name="Freeform 86">
                <a:extLst>
                  <a:ext uri="{FF2B5EF4-FFF2-40B4-BE49-F238E27FC236}">
                    <a16:creationId xmlns:a16="http://schemas.microsoft.com/office/drawing/2014/main" id="{BECAA90E-F3F0-5467-09D3-08AC8FAFAC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63023" y="3053758"/>
                <a:ext cx="406400" cy="530225"/>
              </a:xfrm>
              <a:custGeom>
                <a:avLst/>
                <a:gdLst>
                  <a:gd name="T0" fmla="*/ 225 w 333"/>
                  <a:gd name="T1" fmla="*/ 183 h 433"/>
                  <a:gd name="T2" fmla="*/ 200 w 333"/>
                  <a:gd name="T3" fmla="*/ 183 h 433"/>
                  <a:gd name="T4" fmla="*/ 200 w 333"/>
                  <a:gd name="T5" fmla="*/ 167 h 433"/>
                  <a:gd name="T6" fmla="*/ 167 w 333"/>
                  <a:gd name="T7" fmla="*/ 133 h 433"/>
                  <a:gd name="T8" fmla="*/ 133 w 333"/>
                  <a:gd name="T9" fmla="*/ 167 h 433"/>
                  <a:gd name="T10" fmla="*/ 133 w 333"/>
                  <a:gd name="T11" fmla="*/ 183 h 433"/>
                  <a:gd name="T12" fmla="*/ 108 w 333"/>
                  <a:gd name="T13" fmla="*/ 183 h 433"/>
                  <a:gd name="T14" fmla="*/ 108 w 333"/>
                  <a:gd name="T15" fmla="*/ 300 h 433"/>
                  <a:gd name="T16" fmla="*/ 225 w 333"/>
                  <a:gd name="T17" fmla="*/ 300 h 433"/>
                  <a:gd name="T18" fmla="*/ 225 w 333"/>
                  <a:gd name="T19" fmla="*/ 183 h 433"/>
                  <a:gd name="T20" fmla="*/ 333 w 333"/>
                  <a:gd name="T21" fmla="*/ 67 h 433"/>
                  <a:gd name="T22" fmla="*/ 333 w 333"/>
                  <a:gd name="T23" fmla="*/ 244 h 433"/>
                  <a:gd name="T24" fmla="*/ 290 w 333"/>
                  <a:gd name="T25" fmla="*/ 335 h 433"/>
                  <a:gd name="T26" fmla="*/ 167 w 333"/>
                  <a:gd name="T27" fmla="*/ 433 h 433"/>
                  <a:gd name="T28" fmla="*/ 44 w 333"/>
                  <a:gd name="T29" fmla="*/ 335 h 433"/>
                  <a:gd name="T30" fmla="*/ 0 w 333"/>
                  <a:gd name="T31" fmla="*/ 244 h 433"/>
                  <a:gd name="T32" fmla="*/ 0 w 333"/>
                  <a:gd name="T33" fmla="*/ 67 h 433"/>
                  <a:gd name="T34" fmla="*/ 167 w 333"/>
                  <a:gd name="T35" fmla="*/ 0 h 433"/>
                  <a:gd name="T36" fmla="*/ 333 w 333"/>
                  <a:gd name="T37" fmla="*/ 67 h 433"/>
                  <a:gd name="T38" fmla="*/ 167 w 333"/>
                  <a:gd name="T39" fmla="*/ 150 h 433"/>
                  <a:gd name="T40" fmla="*/ 150 w 333"/>
                  <a:gd name="T41" fmla="*/ 167 h 433"/>
                  <a:gd name="T42" fmla="*/ 150 w 333"/>
                  <a:gd name="T43" fmla="*/ 183 h 433"/>
                  <a:gd name="T44" fmla="*/ 183 w 333"/>
                  <a:gd name="T45" fmla="*/ 183 h 433"/>
                  <a:gd name="T46" fmla="*/ 183 w 333"/>
                  <a:gd name="T47" fmla="*/ 167 h 433"/>
                  <a:gd name="T48" fmla="*/ 167 w 333"/>
                  <a:gd name="T49" fmla="*/ 150 h 433"/>
                  <a:gd name="T50" fmla="*/ 175 w 333"/>
                  <a:gd name="T51" fmla="*/ 250 h 433"/>
                  <a:gd name="T52" fmla="*/ 175 w 333"/>
                  <a:gd name="T53" fmla="*/ 267 h 433"/>
                  <a:gd name="T54" fmla="*/ 167 w 333"/>
                  <a:gd name="T55" fmla="*/ 275 h 433"/>
                  <a:gd name="T56" fmla="*/ 158 w 333"/>
                  <a:gd name="T57" fmla="*/ 267 h 433"/>
                  <a:gd name="T58" fmla="*/ 158 w 333"/>
                  <a:gd name="T59" fmla="*/ 250 h 433"/>
                  <a:gd name="T60" fmla="*/ 167 w 333"/>
                  <a:gd name="T61" fmla="*/ 242 h 433"/>
                  <a:gd name="T62" fmla="*/ 175 w 333"/>
                  <a:gd name="T63" fmla="*/ 250 h 4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33" h="433">
                    <a:moveTo>
                      <a:pt x="225" y="183"/>
                    </a:moveTo>
                    <a:lnTo>
                      <a:pt x="200" y="183"/>
                    </a:lnTo>
                    <a:lnTo>
                      <a:pt x="200" y="167"/>
                    </a:lnTo>
                    <a:cubicBezTo>
                      <a:pt x="200" y="148"/>
                      <a:pt x="185" y="133"/>
                      <a:pt x="167" y="133"/>
                    </a:cubicBezTo>
                    <a:cubicBezTo>
                      <a:pt x="148" y="133"/>
                      <a:pt x="133" y="148"/>
                      <a:pt x="133" y="167"/>
                    </a:cubicBezTo>
                    <a:lnTo>
                      <a:pt x="133" y="183"/>
                    </a:lnTo>
                    <a:lnTo>
                      <a:pt x="108" y="183"/>
                    </a:lnTo>
                    <a:lnTo>
                      <a:pt x="108" y="300"/>
                    </a:lnTo>
                    <a:lnTo>
                      <a:pt x="225" y="300"/>
                    </a:lnTo>
                    <a:lnTo>
                      <a:pt x="225" y="183"/>
                    </a:lnTo>
                    <a:close/>
                    <a:moveTo>
                      <a:pt x="333" y="67"/>
                    </a:moveTo>
                    <a:lnTo>
                      <a:pt x="333" y="244"/>
                    </a:lnTo>
                    <a:cubicBezTo>
                      <a:pt x="333" y="279"/>
                      <a:pt x="317" y="313"/>
                      <a:pt x="290" y="335"/>
                    </a:cubicBezTo>
                    <a:lnTo>
                      <a:pt x="167" y="433"/>
                    </a:lnTo>
                    <a:lnTo>
                      <a:pt x="44" y="335"/>
                    </a:lnTo>
                    <a:cubicBezTo>
                      <a:pt x="16" y="313"/>
                      <a:pt x="0" y="279"/>
                      <a:pt x="0" y="244"/>
                    </a:cubicBezTo>
                    <a:lnTo>
                      <a:pt x="0" y="67"/>
                    </a:lnTo>
                    <a:cubicBezTo>
                      <a:pt x="0" y="67"/>
                      <a:pt x="103" y="74"/>
                      <a:pt x="167" y="0"/>
                    </a:cubicBezTo>
                    <a:cubicBezTo>
                      <a:pt x="230" y="74"/>
                      <a:pt x="333" y="67"/>
                      <a:pt x="333" y="67"/>
                    </a:cubicBezTo>
                    <a:close/>
                    <a:moveTo>
                      <a:pt x="167" y="150"/>
                    </a:moveTo>
                    <a:cubicBezTo>
                      <a:pt x="157" y="150"/>
                      <a:pt x="150" y="157"/>
                      <a:pt x="150" y="167"/>
                    </a:cubicBezTo>
                    <a:lnTo>
                      <a:pt x="150" y="183"/>
                    </a:lnTo>
                    <a:lnTo>
                      <a:pt x="183" y="183"/>
                    </a:lnTo>
                    <a:lnTo>
                      <a:pt x="183" y="167"/>
                    </a:lnTo>
                    <a:cubicBezTo>
                      <a:pt x="183" y="157"/>
                      <a:pt x="176" y="150"/>
                      <a:pt x="167" y="150"/>
                    </a:cubicBezTo>
                    <a:close/>
                    <a:moveTo>
                      <a:pt x="175" y="250"/>
                    </a:moveTo>
                    <a:lnTo>
                      <a:pt x="175" y="267"/>
                    </a:lnTo>
                    <a:cubicBezTo>
                      <a:pt x="175" y="271"/>
                      <a:pt x="171" y="275"/>
                      <a:pt x="167" y="275"/>
                    </a:cubicBezTo>
                    <a:cubicBezTo>
                      <a:pt x="162" y="275"/>
                      <a:pt x="158" y="271"/>
                      <a:pt x="158" y="267"/>
                    </a:cubicBezTo>
                    <a:lnTo>
                      <a:pt x="158" y="250"/>
                    </a:lnTo>
                    <a:cubicBezTo>
                      <a:pt x="158" y="245"/>
                      <a:pt x="162" y="242"/>
                      <a:pt x="167" y="242"/>
                    </a:cubicBezTo>
                    <a:cubicBezTo>
                      <a:pt x="171" y="242"/>
                      <a:pt x="175" y="245"/>
                      <a:pt x="175" y="25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45" name="Gruppieren 144">
              <a:extLst>
                <a:ext uri="{FF2B5EF4-FFF2-40B4-BE49-F238E27FC236}">
                  <a16:creationId xmlns:a16="http://schemas.microsoft.com/office/drawing/2014/main" id="{685458C5-3501-1C9C-7FD2-853A4B7924CB}"/>
                </a:ext>
              </a:extLst>
            </p:cNvPr>
            <p:cNvGrpSpPr/>
            <p:nvPr/>
          </p:nvGrpSpPr>
          <p:grpSpPr>
            <a:xfrm>
              <a:off x="7300485" y="3388961"/>
              <a:ext cx="321121" cy="230540"/>
              <a:chOff x="6904691" y="4036660"/>
              <a:chExt cx="648335" cy="465455"/>
            </a:xfrm>
            <a:solidFill>
              <a:schemeClr val="accent4"/>
            </a:solidFill>
          </p:grpSpPr>
          <p:sp>
            <p:nvSpPr>
              <p:cNvPr id="146" name="Freeform 57">
                <a:extLst>
                  <a:ext uri="{FF2B5EF4-FFF2-40B4-BE49-F238E27FC236}">
                    <a16:creationId xmlns:a16="http://schemas.microsoft.com/office/drawing/2014/main" id="{32A4878A-64B3-D4C6-767E-8BCD8121EB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94251" y="4181440"/>
                <a:ext cx="358775" cy="320675"/>
              </a:xfrm>
              <a:custGeom>
                <a:avLst/>
                <a:gdLst>
                  <a:gd name="T0" fmla="*/ 92 w 92"/>
                  <a:gd name="T1" fmla="*/ 41 h 82"/>
                  <a:gd name="T2" fmla="*/ 54 w 92"/>
                  <a:gd name="T3" fmla="*/ 79 h 82"/>
                  <a:gd name="T4" fmla="*/ 43 w 92"/>
                  <a:gd name="T5" fmla="*/ 79 h 82"/>
                  <a:gd name="T6" fmla="*/ 43 w 92"/>
                  <a:gd name="T7" fmla="*/ 67 h 82"/>
                  <a:gd name="T8" fmla="*/ 61 w 92"/>
                  <a:gd name="T9" fmla="*/ 49 h 82"/>
                  <a:gd name="T10" fmla="*/ 0 w 92"/>
                  <a:gd name="T11" fmla="*/ 49 h 82"/>
                  <a:gd name="T12" fmla="*/ 0 w 92"/>
                  <a:gd name="T13" fmla="*/ 33 h 82"/>
                  <a:gd name="T14" fmla="*/ 61 w 92"/>
                  <a:gd name="T15" fmla="*/ 33 h 82"/>
                  <a:gd name="T16" fmla="*/ 43 w 92"/>
                  <a:gd name="T17" fmla="*/ 15 h 82"/>
                  <a:gd name="T18" fmla="*/ 43 w 92"/>
                  <a:gd name="T19" fmla="*/ 3 h 82"/>
                  <a:gd name="T20" fmla="*/ 54 w 92"/>
                  <a:gd name="T21" fmla="*/ 3 h 82"/>
                  <a:gd name="T22" fmla="*/ 92 w 92"/>
                  <a:gd name="T23" fmla="*/ 4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2" h="82">
                    <a:moveTo>
                      <a:pt x="92" y="41"/>
                    </a:moveTo>
                    <a:cubicBezTo>
                      <a:pt x="54" y="79"/>
                      <a:pt x="54" y="79"/>
                      <a:pt x="54" y="79"/>
                    </a:cubicBezTo>
                    <a:cubicBezTo>
                      <a:pt x="51" y="82"/>
                      <a:pt x="46" y="82"/>
                      <a:pt x="43" y="79"/>
                    </a:cubicBezTo>
                    <a:cubicBezTo>
                      <a:pt x="40" y="76"/>
                      <a:pt x="40" y="70"/>
                      <a:pt x="43" y="67"/>
                    </a:cubicBezTo>
                    <a:cubicBezTo>
                      <a:pt x="61" y="49"/>
                      <a:pt x="61" y="49"/>
                      <a:pt x="61" y="4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40" y="12"/>
                      <a:pt x="40" y="6"/>
                      <a:pt x="43" y="3"/>
                    </a:cubicBezTo>
                    <a:cubicBezTo>
                      <a:pt x="46" y="0"/>
                      <a:pt x="51" y="0"/>
                      <a:pt x="54" y="3"/>
                    </a:cubicBezTo>
                    <a:lnTo>
                      <a:pt x="92" y="4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Freeform 57">
                <a:extLst>
                  <a:ext uri="{FF2B5EF4-FFF2-40B4-BE49-F238E27FC236}">
                    <a16:creationId xmlns:a16="http://schemas.microsoft.com/office/drawing/2014/main" id="{257F1332-03C8-67BA-B7C3-E71806A821C6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>
                <a:off x="6904691" y="4036660"/>
                <a:ext cx="358775" cy="320675"/>
              </a:xfrm>
              <a:custGeom>
                <a:avLst/>
                <a:gdLst>
                  <a:gd name="T0" fmla="*/ 92 w 92"/>
                  <a:gd name="T1" fmla="*/ 41 h 82"/>
                  <a:gd name="T2" fmla="*/ 54 w 92"/>
                  <a:gd name="T3" fmla="*/ 79 h 82"/>
                  <a:gd name="T4" fmla="*/ 43 w 92"/>
                  <a:gd name="T5" fmla="*/ 79 h 82"/>
                  <a:gd name="T6" fmla="*/ 43 w 92"/>
                  <a:gd name="T7" fmla="*/ 67 h 82"/>
                  <a:gd name="T8" fmla="*/ 61 w 92"/>
                  <a:gd name="T9" fmla="*/ 49 h 82"/>
                  <a:gd name="T10" fmla="*/ 0 w 92"/>
                  <a:gd name="T11" fmla="*/ 49 h 82"/>
                  <a:gd name="T12" fmla="*/ 0 w 92"/>
                  <a:gd name="T13" fmla="*/ 33 h 82"/>
                  <a:gd name="T14" fmla="*/ 61 w 92"/>
                  <a:gd name="T15" fmla="*/ 33 h 82"/>
                  <a:gd name="T16" fmla="*/ 43 w 92"/>
                  <a:gd name="T17" fmla="*/ 15 h 82"/>
                  <a:gd name="T18" fmla="*/ 43 w 92"/>
                  <a:gd name="T19" fmla="*/ 3 h 82"/>
                  <a:gd name="T20" fmla="*/ 54 w 92"/>
                  <a:gd name="T21" fmla="*/ 3 h 82"/>
                  <a:gd name="T22" fmla="*/ 92 w 92"/>
                  <a:gd name="T23" fmla="*/ 4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2" h="82">
                    <a:moveTo>
                      <a:pt x="92" y="41"/>
                    </a:moveTo>
                    <a:cubicBezTo>
                      <a:pt x="54" y="79"/>
                      <a:pt x="54" y="79"/>
                      <a:pt x="54" y="79"/>
                    </a:cubicBezTo>
                    <a:cubicBezTo>
                      <a:pt x="51" y="82"/>
                      <a:pt x="46" y="82"/>
                      <a:pt x="43" y="79"/>
                    </a:cubicBezTo>
                    <a:cubicBezTo>
                      <a:pt x="40" y="76"/>
                      <a:pt x="40" y="70"/>
                      <a:pt x="43" y="67"/>
                    </a:cubicBezTo>
                    <a:cubicBezTo>
                      <a:pt x="61" y="49"/>
                      <a:pt x="61" y="49"/>
                      <a:pt x="61" y="4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40" y="12"/>
                      <a:pt x="40" y="6"/>
                      <a:pt x="43" y="3"/>
                    </a:cubicBezTo>
                    <a:cubicBezTo>
                      <a:pt x="46" y="0"/>
                      <a:pt x="51" y="0"/>
                      <a:pt x="54" y="3"/>
                    </a:cubicBezTo>
                    <a:lnTo>
                      <a:pt x="92" y="4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37" name="Rechteck 436">
            <a:extLst>
              <a:ext uri="{FF2B5EF4-FFF2-40B4-BE49-F238E27FC236}">
                <a16:creationId xmlns:a16="http://schemas.microsoft.com/office/drawing/2014/main" id="{C0EDE648-7491-DDC9-6AAC-05ED54520A46}"/>
              </a:ext>
            </a:extLst>
          </p:cNvPr>
          <p:cNvSpPr/>
          <p:nvPr/>
        </p:nvSpPr>
        <p:spPr>
          <a:xfrm>
            <a:off x="4190720" y="4227071"/>
            <a:ext cx="132192" cy="1342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9" name="Rechteck 438">
            <a:extLst>
              <a:ext uri="{FF2B5EF4-FFF2-40B4-BE49-F238E27FC236}">
                <a16:creationId xmlns:a16="http://schemas.microsoft.com/office/drawing/2014/main" id="{D1106253-8B03-3CFF-C2CD-E3AE992D5127}"/>
              </a:ext>
            </a:extLst>
          </p:cNvPr>
          <p:cNvSpPr/>
          <p:nvPr/>
        </p:nvSpPr>
        <p:spPr>
          <a:xfrm>
            <a:off x="3443288" y="4227071"/>
            <a:ext cx="207553" cy="1342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4" name="Rechteck 643">
            <a:extLst>
              <a:ext uri="{FF2B5EF4-FFF2-40B4-BE49-F238E27FC236}">
                <a16:creationId xmlns:a16="http://schemas.microsoft.com/office/drawing/2014/main" id="{3575BAA7-771E-3855-6187-2991346E343B}"/>
              </a:ext>
            </a:extLst>
          </p:cNvPr>
          <p:cNvSpPr/>
          <p:nvPr/>
        </p:nvSpPr>
        <p:spPr>
          <a:xfrm>
            <a:off x="6671196" y="3132348"/>
            <a:ext cx="132192" cy="1342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36" name="Gruppieren 435">
            <a:extLst>
              <a:ext uri="{FF2B5EF4-FFF2-40B4-BE49-F238E27FC236}">
                <a16:creationId xmlns:a16="http://schemas.microsoft.com/office/drawing/2014/main" id="{44D738DE-C934-A41A-0CA3-D358F7D80D63}"/>
              </a:ext>
            </a:extLst>
          </p:cNvPr>
          <p:cNvGrpSpPr/>
          <p:nvPr/>
        </p:nvGrpSpPr>
        <p:grpSpPr>
          <a:xfrm>
            <a:off x="3356611" y="3200765"/>
            <a:ext cx="4110986" cy="1092801"/>
            <a:chOff x="3356611" y="3200765"/>
            <a:chExt cx="4110986" cy="1092801"/>
          </a:xfrm>
        </p:grpSpPr>
        <p:sp>
          <p:nvSpPr>
            <p:cNvPr id="169" name="Freihandform: Form 168">
              <a:extLst>
                <a:ext uri="{FF2B5EF4-FFF2-40B4-BE49-F238E27FC236}">
                  <a16:creationId xmlns:a16="http://schemas.microsoft.com/office/drawing/2014/main" id="{71F9C4C0-BA60-DC6C-02A0-3C6E1F419942}"/>
                </a:ext>
              </a:extLst>
            </p:cNvPr>
            <p:cNvSpPr>
              <a:spLocks/>
            </p:cNvSpPr>
            <p:nvPr/>
          </p:nvSpPr>
          <p:spPr>
            <a:xfrm rot="10800000" flipV="1">
              <a:off x="6553196" y="3200765"/>
              <a:ext cx="914401" cy="997855"/>
            </a:xfrm>
            <a:custGeom>
              <a:avLst/>
              <a:gdLst>
                <a:gd name="connsiteX0" fmla="*/ 0 w 381000"/>
                <a:gd name="connsiteY0" fmla="*/ 0 h 533400"/>
                <a:gd name="connsiteX1" fmla="*/ 381000 w 381000"/>
                <a:gd name="connsiteY1" fmla="*/ 0 h 533400"/>
                <a:gd name="connsiteX2" fmla="*/ 381000 w 381000"/>
                <a:gd name="connsiteY2" fmla="*/ 53340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1000" h="533400">
                  <a:moveTo>
                    <a:pt x="0" y="0"/>
                  </a:moveTo>
                  <a:lnTo>
                    <a:pt x="381000" y="0"/>
                  </a:lnTo>
                  <a:lnTo>
                    <a:pt x="381000" y="533400"/>
                  </a:lnTo>
                </a:path>
              </a:pathLst>
            </a:custGeom>
            <a:ln w="19050" cap="rnd">
              <a:solidFill>
                <a:schemeClr val="accent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1" name="Freihandform: Form 170">
              <a:extLst>
                <a:ext uri="{FF2B5EF4-FFF2-40B4-BE49-F238E27FC236}">
                  <a16:creationId xmlns:a16="http://schemas.microsoft.com/office/drawing/2014/main" id="{31B93B6E-E959-5342-D016-8891D5A6762D}"/>
                </a:ext>
              </a:extLst>
            </p:cNvPr>
            <p:cNvSpPr>
              <a:spLocks/>
            </p:cNvSpPr>
            <p:nvPr/>
          </p:nvSpPr>
          <p:spPr>
            <a:xfrm flipV="1">
              <a:off x="3356611" y="4053840"/>
              <a:ext cx="3196586" cy="239726"/>
            </a:xfrm>
            <a:custGeom>
              <a:avLst/>
              <a:gdLst>
                <a:gd name="connsiteX0" fmla="*/ 0 w 381000"/>
                <a:gd name="connsiteY0" fmla="*/ 0 h 533400"/>
                <a:gd name="connsiteX1" fmla="*/ 381000 w 381000"/>
                <a:gd name="connsiteY1" fmla="*/ 0 h 533400"/>
                <a:gd name="connsiteX2" fmla="*/ 381000 w 381000"/>
                <a:gd name="connsiteY2" fmla="*/ 53340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1000" h="533400">
                  <a:moveTo>
                    <a:pt x="0" y="0"/>
                  </a:moveTo>
                  <a:lnTo>
                    <a:pt x="381000" y="0"/>
                  </a:lnTo>
                  <a:lnTo>
                    <a:pt x="381000" y="533400"/>
                  </a:lnTo>
                </a:path>
              </a:pathLst>
            </a:custGeom>
            <a:ln w="19050" cap="rnd">
              <a:solidFill>
                <a:schemeClr val="accent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" name="Grafik 2">
            <a:extLst>
              <a:ext uri="{FF2B5EF4-FFF2-40B4-BE49-F238E27FC236}">
                <a16:creationId xmlns:a16="http://schemas.microsoft.com/office/drawing/2014/main" id="{A47345C7-0DB4-2D68-5FEC-9F415016FEE2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64286" y="1809086"/>
            <a:ext cx="534332" cy="130324"/>
          </a:xfrm>
          <a:prstGeom prst="rect">
            <a:avLst/>
          </a:prstGeom>
          <a:noFill/>
        </p:spPr>
      </p:pic>
      <p:sp>
        <p:nvSpPr>
          <p:cNvPr id="9" name="TextBox 5">
            <a:extLst>
              <a:ext uri="{FF2B5EF4-FFF2-40B4-BE49-F238E27FC236}">
                <a16:creationId xmlns:a16="http://schemas.microsoft.com/office/drawing/2014/main" id="{C692E20A-8F9E-148A-4D0E-AFB772D5DD6A}"/>
              </a:ext>
            </a:extLst>
          </p:cNvPr>
          <p:cNvSpPr txBox="1"/>
          <p:nvPr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26</a:t>
            </a:fld>
            <a:endParaRPr lang="de-DE" sz="1000" b="1" i="0" u="none" kern="1200" spc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0" name="Restricted">
            <a:extLst>
              <a:ext uri="{FF2B5EF4-FFF2-40B4-BE49-F238E27FC236}">
                <a16:creationId xmlns:a16="http://schemas.microsoft.com/office/drawing/2014/main" id="{C0007B79-BE34-481E-3CA9-C2BEF4CAF0AF}"/>
              </a:ext>
            </a:extLst>
          </p:cNvPr>
          <p:cNvSpPr txBox="1"/>
          <p:nvPr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de-DE" sz="1000">
                <a:solidFill>
                  <a:schemeClr val="tx1"/>
                </a:solidFill>
              </a:rPr>
              <a:t>Frei verwendbar © Siemens Healthineers, 2023</a:t>
            </a:r>
          </a:p>
        </p:txBody>
      </p:sp>
      <p:sp>
        <p:nvSpPr>
          <p:cNvPr id="14" name="TextBox 26">
            <a:extLst>
              <a:ext uri="{FF2B5EF4-FFF2-40B4-BE49-F238E27FC236}">
                <a16:creationId xmlns:a16="http://schemas.microsoft.com/office/drawing/2014/main" id="{0FAA21DE-5930-60BB-0720-3D6EE1B55700}"/>
              </a:ext>
            </a:extLst>
          </p:cNvPr>
          <p:cNvSpPr txBox="1">
            <a:spLocks/>
          </p:cNvSpPr>
          <p:nvPr/>
        </p:nvSpPr>
        <p:spPr>
          <a:xfrm>
            <a:off x="1578187" y="4228447"/>
            <a:ext cx="1151328" cy="1896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AT" sz="1050"/>
              <a:t>KIM-Client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4A963D36-FA9A-7115-A645-31219F517B0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36466" y="3851882"/>
            <a:ext cx="829128" cy="695004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01CA8EAD-C763-E602-C9D0-8930B1A0A1BC}"/>
              </a:ext>
            </a:extLst>
          </p:cNvPr>
          <p:cNvSpPr/>
          <p:nvPr/>
        </p:nvSpPr>
        <p:spPr>
          <a:xfrm>
            <a:off x="7203672" y="1998785"/>
            <a:ext cx="880615" cy="4489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="1" err="1">
                <a:solidFill>
                  <a:srgbClr val="002060"/>
                </a:solidFill>
              </a:rPr>
              <a:t>kim</a:t>
            </a:r>
            <a:endParaRPr lang="de-DE" sz="3200" b="1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831766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2A072ED-C4A8-7009-D02C-8EE1FA205F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2817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2A072ED-C4A8-7009-D02C-8EE1FA205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480AE819-068A-DCFA-4309-9D74D3EF3D0D}"/>
              </a:ext>
            </a:extLst>
          </p:cNvPr>
          <p:cNvSpPr/>
          <p:nvPr/>
        </p:nvSpPr>
        <p:spPr>
          <a:xfrm>
            <a:off x="8994773" y="1619250"/>
            <a:ext cx="3175003" cy="5238751"/>
          </a:xfrm>
          <a:custGeom>
            <a:avLst/>
            <a:gdLst>
              <a:gd name="connsiteX0" fmla="*/ 2641103 w 3175003"/>
              <a:gd name="connsiteY0" fmla="*/ 0 h 5238751"/>
              <a:gd name="connsiteX1" fmla="*/ 3175003 w 3175003"/>
              <a:gd name="connsiteY1" fmla="*/ 1401789 h 5238751"/>
              <a:gd name="connsiteX2" fmla="*/ 3175003 w 3175003"/>
              <a:gd name="connsiteY2" fmla="*/ 5238751 h 5238751"/>
              <a:gd name="connsiteX3" fmla="*/ 252737 w 3175003"/>
              <a:gd name="connsiteY3" fmla="*/ 5238751 h 5238751"/>
              <a:gd name="connsiteX4" fmla="*/ 0 w 3175003"/>
              <a:gd name="connsiteY4" fmla="*/ 4575174 h 5238751"/>
              <a:gd name="connsiteX5" fmla="*/ 2641103 w 3175003"/>
              <a:gd name="connsiteY5" fmla="*/ 4575174 h 5238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5003" h="5238751">
                <a:moveTo>
                  <a:pt x="2641103" y="0"/>
                </a:moveTo>
                <a:lnTo>
                  <a:pt x="3175003" y="1401789"/>
                </a:lnTo>
                <a:lnTo>
                  <a:pt x="3175003" y="5238751"/>
                </a:lnTo>
                <a:lnTo>
                  <a:pt x="252737" y="5238751"/>
                </a:lnTo>
                <a:lnTo>
                  <a:pt x="0" y="4575174"/>
                </a:lnTo>
                <a:lnTo>
                  <a:pt x="2641103" y="4575174"/>
                </a:lnTo>
                <a:close/>
              </a:path>
            </a:pathLst>
          </a:custGeom>
          <a:pattFill prst="wdDnDiag">
            <a:fgClr>
              <a:srgbClr val="ECECEC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0FD32995-7BBB-D22E-C615-0140D6813C9B}"/>
              </a:ext>
            </a:extLst>
          </p:cNvPr>
          <p:cNvSpPr txBox="1">
            <a:spLocks/>
          </p:cNvSpPr>
          <p:nvPr/>
        </p:nvSpPr>
        <p:spPr>
          <a:xfrm>
            <a:off x="8994774" y="1619250"/>
            <a:ext cx="2633663" cy="4575175"/>
          </a:xfrm>
          <a:prstGeom prst="rect">
            <a:avLst/>
          </a:prstGeom>
          <a:solidFill>
            <a:srgbClr val="ECECEC"/>
          </a:solidFill>
          <a:effectLst>
            <a:outerShdw blurRad="50800" dist="38100" dir="2700000" algn="tl" rotWithShape="0">
              <a:prstClr val="black">
                <a:alpha val="8000"/>
              </a:prstClr>
            </a:outerShdw>
          </a:effectLst>
        </p:spPr>
        <p:txBody>
          <a:bodyPr wrap="square" lIns="180000" tIns="144000" rIns="108000" bIns="0" rtlCol="0" anchor="t">
            <a:noAutofit/>
          </a:bodyPr>
          <a:lstStyle/>
          <a:p>
            <a:pPr>
              <a:spcAft>
                <a:spcPts val="300"/>
              </a:spcAft>
            </a:pPr>
            <a:r>
              <a:rPr lang="de-DE" b="1"/>
              <a:t>Siemens Healthineers</a:t>
            </a:r>
          </a:p>
          <a:p>
            <a:pPr>
              <a:spcAft>
                <a:spcPts val="300"/>
              </a:spcAft>
              <a:buClr>
                <a:schemeClr val="tx1"/>
              </a:buClr>
            </a:pPr>
            <a:r>
              <a:rPr lang="de-DE" sz="1400" b="1">
                <a:solidFill>
                  <a:schemeClr val="bg2"/>
                </a:solidFill>
              </a:rPr>
              <a:t>Siemens </a:t>
            </a:r>
            <a:r>
              <a:rPr lang="de-DE" sz="1400" b="1" err="1">
                <a:solidFill>
                  <a:schemeClr val="bg2"/>
                </a:solidFill>
              </a:rPr>
              <a:t>Healthcare</a:t>
            </a:r>
            <a:r>
              <a:rPr lang="de-DE" sz="1400" b="1">
                <a:solidFill>
                  <a:schemeClr val="bg2"/>
                </a:solidFill>
              </a:rPr>
              <a:t> GmbH</a:t>
            </a:r>
          </a:p>
          <a:p>
            <a:pPr>
              <a:spcAft>
                <a:spcPts val="300"/>
              </a:spcAft>
              <a:buClr>
                <a:schemeClr val="tx1"/>
              </a:buClr>
            </a:pPr>
            <a:r>
              <a:rPr lang="de-DE" sz="1400"/>
              <a:t>Erlangen, Germany</a:t>
            </a:r>
          </a:p>
          <a:p>
            <a:pPr>
              <a:spcAft>
                <a:spcPts val="300"/>
              </a:spcAft>
              <a:buClr>
                <a:schemeClr val="tx1"/>
              </a:buClr>
            </a:pPr>
            <a:endParaRPr lang="de-DE" sz="1400"/>
          </a:p>
          <a:p>
            <a:pPr>
              <a:spcAft>
                <a:spcPts val="300"/>
              </a:spcAft>
              <a:buClr>
                <a:schemeClr val="tx1"/>
              </a:buClr>
            </a:pPr>
            <a:r>
              <a:rPr lang="de-DE" sz="1400"/>
              <a:t>Phone: +49 9131 84-0</a:t>
            </a:r>
          </a:p>
          <a:p>
            <a:pPr>
              <a:spcAft>
                <a:spcPts val="300"/>
              </a:spcAft>
              <a:buClr>
                <a:schemeClr val="tx1"/>
              </a:buClr>
            </a:pPr>
            <a:r>
              <a:rPr lang="de-DE" sz="1400">
                <a:solidFill>
                  <a:schemeClr val="bg2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siemens-healthineers.com</a:t>
            </a:r>
            <a:endParaRPr lang="de-DE" sz="1400">
              <a:solidFill>
                <a:schemeClr val="bg2"/>
              </a:solidFill>
            </a:endParaRPr>
          </a:p>
        </p:txBody>
      </p:sp>
      <p:pic>
        <p:nvPicPr>
          <p:cNvPr id="22" name="Grafik 21">
            <a:hlinkClick r:id="rId6"/>
            <a:extLst>
              <a:ext uri="{FF2B5EF4-FFF2-40B4-BE49-F238E27FC236}">
                <a16:creationId xmlns:a16="http://schemas.microsoft.com/office/drawing/2014/main" id="{175DED2B-FB68-E9C4-021F-B0ED9864800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9046" y="4479070"/>
            <a:ext cx="1480912" cy="148091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1B72274-DCFB-0F8C-BF6C-EBD446674A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Danke für die Aufmerksamkeit!</a:t>
            </a: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E720F38-B5BF-A0D9-6E8D-5DA3F76C08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7C6EB4-94C6-4A46-97B4-3D306E97970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pt-BR"/>
              <a:t>A91GER-H-001672-E4</a:t>
            </a:r>
            <a:endParaRPr lang="de-DE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A9857260-4C25-FC74-3626-3A8F9EE1B114}"/>
              </a:ext>
            </a:extLst>
          </p:cNvPr>
          <p:cNvGrpSpPr>
            <a:grpSpLocks/>
          </p:cNvGrpSpPr>
          <p:nvPr/>
        </p:nvGrpSpPr>
        <p:grpSpPr>
          <a:xfrm>
            <a:off x="2141662" y="3045309"/>
            <a:ext cx="4618366" cy="2730156"/>
            <a:chOff x="1180882" y="2481659"/>
            <a:chExt cx="3579012" cy="2115741"/>
          </a:xfrm>
        </p:grpSpPr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AB1E0117-B3A9-37ED-3BDA-86C460007B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b="30378"/>
            <a:stretch/>
          </p:blipFill>
          <p:spPr>
            <a:xfrm>
              <a:off x="1250157" y="2481659"/>
              <a:ext cx="3440462" cy="1620442"/>
            </a:xfrm>
            <a:prstGeom prst="rect">
              <a:avLst/>
            </a:prstGeom>
          </p:spPr>
        </p:pic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0F90A663-70E6-35C9-1DD0-55681249549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180882" y="4114800"/>
              <a:ext cx="3579012" cy="482600"/>
            </a:xfrm>
            <a:prstGeom prst="rect">
              <a:avLst/>
            </a:prstGeom>
          </p:spPr>
        </p:pic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088F47BD-356D-CB89-C509-33CC39022EF9}"/>
              </a:ext>
            </a:extLst>
          </p:cNvPr>
          <p:cNvGrpSpPr/>
          <p:nvPr/>
        </p:nvGrpSpPr>
        <p:grpSpPr>
          <a:xfrm>
            <a:off x="9209841" y="4479070"/>
            <a:ext cx="391359" cy="390272"/>
            <a:chOff x="9209841" y="4479070"/>
            <a:chExt cx="391359" cy="390272"/>
          </a:xfrm>
        </p:grpSpPr>
        <p:sp>
          <p:nvSpPr>
            <p:cNvPr id="25" name="Textfeld 24">
              <a:hlinkClick r:id="rId6"/>
              <a:extLst>
                <a:ext uri="{FF2B5EF4-FFF2-40B4-BE49-F238E27FC236}">
                  <a16:creationId xmlns:a16="http://schemas.microsoft.com/office/drawing/2014/main" id="{1EF4C0EC-3E0E-4CEE-916B-5B2774467E8E}"/>
                </a:ext>
              </a:extLst>
            </p:cNvPr>
            <p:cNvSpPr txBox="1">
              <a:spLocks/>
            </p:cNvSpPr>
            <p:nvPr/>
          </p:nvSpPr>
          <p:spPr>
            <a:xfrm>
              <a:off x="9209841" y="4479070"/>
              <a:ext cx="391359" cy="390272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</p:spPr>
          <p:txBody>
            <a:bodyPr wrap="square" lIns="144000" tIns="108000" rIns="144000" bIns="108000" rtlCol="0">
              <a:noAutofit/>
            </a:bodyPr>
            <a:lstStyle/>
            <a:p>
              <a:pPr marL="0" marR="0" lvl="0" indent="0" defTabSz="914400" eaLnBrk="1" fontAlgn="auto" latinLnBrk="0" hangingPunct="1"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45">
              <a:hlinkClick r:id="rId6"/>
              <a:extLst>
                <a:ext uri="{FF2B5EF4-FFF2-40B4-BE49-F238E27FC236}">
                  <a16:creationId xmlns:a16="http://schemas.microsoft.com/office/drawing/2014/main" id="{579540DB-240E-9EFB-0B7D-31BFD47F4E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5827" y="4575074"/>
              <a:ext cx="199385" cy="198266"/>
            </a:xfrm>
            <a:custGeom>
              <a:avLst/>
              <a:gdLst>
                <a:gd name="T0" fmla="*/ 72 w 72"/>
                <a:gd name="T1" fmla="*/ 0 h 72"/>
                <a:gd name="T2" fmla="*/ 72 w 72"/>
                <a:gd name="T3" fmla="*/ 53 h 72"/>
                <a:gd name="T4" fmla="*/ 64 w 72"/>
                <a:gd name="T5" fmla="*/ 61 h 72"/>
                <a:gd name="T6" fmla="*/ 56 w 72"/>
                <a:gd name="T7" fmla="*/ 53 h 72"/>
                <a:gd name="T8" fmla="*/ 56 w 72"/>
                <a:gd name="T9" fmla="*/ 27 h 72"/>
                <a:gd name="T10" fmla="*/ 11 w 72"/>
                <a:gd name="T11" fmla="*/ 72 h 72"/>
                <a:gd name="T12" fmla="*/ 0 w 72"/>
                <a:gd name="T13" fmla="*/ 61 h 72"/>
                <a:gd name="T14" fmla="*/ 45 w 72"/>
                <a:gd name="T15" fmla="*/ 16 h 72"/>
                <a:gd name="T16" fmla="*/ 19 w 72"/>
                <a:gd name="T17" fmla="*/ 16 h 72"/>
                <a:gd name="T18" fmla="*/ 11 w 72"/>
                <a:gd name="T19" fmla="*/ 8 h 72"/>
                <a:gd name="T20" fmla="*/ 19 w 72"/>
                <a:gd name="T21" fmla="*/ 0 h 72"/>
                <a:gd name="T22" fmla="*/ 72 w 72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72">
                  <a:moveTo>
                    <a:pt x="72" y="0"/>
                  </a:moveTo>
                  <a:cubicBezTo>
                    <a:pt x="72" y="53"/>
                    <a:pt x="72" y="53"/>
                    <a:pt x="72" y="53"/>
                  </a:cubicBezTo>
                  <a:cubicBezTo>
                    <a:pt x="72" y="58"/>
                    <a:pt x="68" y="61"/>
                    <a:pt x="64" y="61"/>
                  </a:cubicBezTo>
                  <a:cubicBezTo>
                    <a:pt x="60" y="61"/>
                    <a:pt x="56" y="58"/>
                    <a:pt x="56" y="53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4" y="16"/>
                    <a:pt x="11" y="12"/>
                    <a:pt x="11" y="8"/>
                  </a:cubicBezTo>
                  <a:cubicBezTo>
                    <a:pt x="11" y="4"/>
                    <a:pt x="14" y="0"/>
                    <a:pt x="19" y="0"/>
                  </a:cubicBezTo>
                  <a:lnTo>
                    <a:pt x="7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9" name="Freeform 13">
            <a:hlinkClick r:id="rId6"/>
            <a:extLst>
              <a:ext uri="{FF2B5EF4-FFF2-40B4-BE49-F238E27FC236}">
                <a16:creationId xmlns:a16="http://schemas.microsoft.com/office/drawing/2014/main" id="{72AEB650-F8F1-CACA-05EA-40B938E03C75}"/>
              </a:ext>
            </a:extLst>
          </p:cNvPr>
          <p:cNvSpPr>
            <a:spLocks/>
          </p:cNvSpPr>
          <p:nvPr/>
        </p:nvSpPr>
        <p:spPr bwMode="auto">
          <a:xfrm>
            <a:off x="9473475" y="4818812"/>
            <a:ext cx="222975" cy="343382"/>
          </a:xfrm>
          <a:custGeom>
            <a:avLst/>
            <a:gdLst>
              <a:gd name="T0" fmla="*/ 259 w 259"/>
              <a:gd name="T1" fmla="*/ 209 h 400"/>
              <a:gd name="T2" fmla="*/ 0 w 259"/>
              <a:gd name="T3" fmla="*/ 0 h 400"/>
              <a:gd name="T4" fmla="*/ 0 w 259"/>
              <a:gd name="T5" fmla="*/ 333 h 400"/>
              <a:gd name="T6" fmla="*/ 85 w 259"/>
              <a:gd name="T7" fmla="*/ 255 h 400"/>
              <a:gd name="T8" fmla="*/ 154 w 259"/>
              <a:gd name="T9" fmla="*/ 400 h 400"/>
              <a:gd name="T10" fmla="*/ 215 w 259"/>
              <a:gd name="T11" fmla="*/ 371 h 400"/>
              <a:gd name="T12" fmla="*/ 146 w 259"/>
              <a:gd name="T13" fmla="*/ 227 h 400"/>
              <a:gd name="T14" fmla="*/ 259 w 259"/>
              <a:gd name="T15" fmla="*/ 209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59" h="400">
                <a:moveTo>
                  <a:pt x="259" y="209"/>
                </a:moveTo>
                <a:lnTo>
                  <a:pt x="0" y="0"/>
                </a:lnTo>
                <a:lnTo>
                  <a:pt x="0" y="333"/>
                </a:lnTo>
                <a:lnTo>
                  <a:pt x="85" y="255"/>
                </a:lnTo>
                <a:lnTo>
                  <a:pt x="154" y="400"/>
                </a:lnTo>
                <a:lnTo>
                  <a:pt x="215" y="371"/>
                </a:lnTo>
                <a:lnTo>
                  <a:pt x="146" y="227"/>
                </a:lnTo>
                <a:lnTo>
                  <a:pt x="259" y="209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TextBox 5">
            <a:extLst>
              <a:ext uri="{FF2B5EF4-FFF2-40B4-BE49-F238E27FC236}">
                <a16:creationId xmlns:a16="http://schemas.microsoft.com/office/drawing/2014/main" id="{E43F15F4-83AC-363B-3050-9F95565A0BDE}"/>
              </a:ext>
            </a:extLst>
          </p:cNvPr>
          <p:cNvSpPr txBox="1"/>
          <p:nvPr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27</a:t>
            </a:fld>
            <a:endParaRPr lang="de-DE" sz="1000" b="1" i="0" u="none" kern="1200" spc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36" name="Restricted">
            <a:extLst>
              <a:ext uri="{FF2B5EF4-FFF2-40B4-BE49-F238E27FC236}">
                <a16:creationId xmlns:a16="http://schemas.microsoft.com/office/drawing/2014/main" id="{7DE0CE9A-2AD5-B830-9361-A940B1D2DA06}"/>
              </a:ext>
            </a:extLst>
          </p:cNvPr>
          <p:cNvSpPr txBox="1"/>
          <p:nvPr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de-DE" sz="1000">
                <a:solidFill>
                  <a:schemeClr val="tx1"/>
                </a:solidFill>
              </a:rPr>
              <a:t>Frei verwendbar © Siemens Healthineers, 2023</a:t>
            </a:r>
          </a:p>
        </p:txBody>
      </p:sp>
    </p:spTree>
    <p:extLst>
      <p:ext uri="{BB962C8B-B14F-4D97-AF65-F5344CB8AC3E}">
        <p14:creationId xmlns:p14="http://schemas.microsoft.com/office/powerpoint/2010/main" val="17487470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070653D-8BC9-5827-487F-D7A344C9D4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3231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070653D-8BC9-5827-487F-D7A344C9D4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62443C99-3F93-5197-1CE0-CB3543594B9A}"/>
              </a:ext>
            </a:extLst>
          </p:cNvPr>
          <p:cNvSpPr/>
          <p:nvPr/>
        </p:nvSpPr>
        <p:spPr>
          <a:xfrm>
            <a:off x="8994773" y="1619250"/>
            <a:ext cx="3175003" cy="5238751"/>
          </a:xfrm>
          <a:custGeom>
            <a:avLst/>
            <a:gdLst>
              <a:gd name="connsiteX0" fmla="*/ 2641103 w 3175003"/>
              <a:gd name="connsiteY0" fmla="*/ 0 h 5238751"/>
              <a:gd name="connsiteX1" fmla="*/ 3175003 w 3175003"/>
              <a:gd name="connsiteY1" fmla="*/ 1401789 h 5238751"/>
              <a:gd name="connsiteX2" fmla="*/ 3175003 w 3175003"/>
              <a:gd name="connsiteY2" fmla="*/ 5238751 h 5238751"/>
              <a:gd name="connsiteX3" fmla="*/ 252737 w 3175003"/>
              <a:gd name="connsiteY3" fmla="*/ 5238751 h 5238751"/>
              <a:gd name="connsiteX4" fmla="*/ 0 w 3175003"/>
              <a:gd name="connsiteY4" fmla="*/ 4575174 h 5238751"/>
              <a:gd name="connsiteX5" fmla="*/ 2641103 w 3175003"/>
              <a:gd name="connsiteY5" fmla="*/ 4575174 h 5238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5003" h="5238751">
                <a:moveTo>
                  <a:pt x="2641103" y="0"/>
                </a:moveTo>
                <a:lnTo>
                  <a:pt x="3175003" y="1401789"/>
                </a:lnTo>
                <a:lnTo>
                  <a:pt x="3175003" y="5238751"/>
                </a:lnTo>
                <a:lnTo>
                  <a:pt x="252737" y="5238751"/>
                </a:lnTo>
                <a:lnTo>
                  <a:pt x="0" y="4575174"/>
                </a:lnTo>
                <a:lnTo>
                  <a:pt x="2641103" y="4575174"/>
                </a:lnTo>
                <a:close/>
              </a:path>
            </a:pathLst>
          </a:custGeom>
          <a:pattFill prst="wdDnDiag">
            <a:fgClr>
              <a:srgbClr val="ECECEC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85EFAD16-138D-7DB1-04F7-9EABC72D5AA2}"/>
              </a:ext>
            </a:extLst>
          </p:cNvPr>
          <p:cNvSpPr txBox="1">
            <a:spLocks/>
          </p:cNvSpPr>
          <p:nvPr/>
        </p:nvSpPr>
        <p:spPr>
          <a:xfrm>
            <a:off x="8994774" y="1619250"/>
            <a:ext cx="2633663" cy="4575175"/>
          </a:xfrm>
          <a:prstGeom prst="rect">
            <a:avLst/>
          </a:prstGeom>
          <a:solidFill>
            <a:srgbClr val="ECECEC"/>
          </a:solidFill>
          <a:effectLst>
            <a:outerShdw blurRad="50800" dist="38100" dir="2700000" algn="tl" rotWithShape="0">
              <a:prstClr val="black">
                <a:alpha val="8000"/>
              </a:prstClr>
            </a:outerShdw>
          </a:effectLst>
        </p:spPr>
        <p:txBody>
          <a:bodyPr wrap="square" lIns="180000" tIns="144000" rIns="180000" bIns="0" rtlCol="0" anchor="t">
            <a:noAutofit/>
          </a:bodyPr>
          <a:lstStyle/>
          <a:p>
            <a:pPr>
              <a:spcAft>
                <a:spcPts val="300"/>
              </a:spcAft>
            </a:pPr>
            <a:r>
              <a:rPr lang="de-DE" b="1"/>
              <a:t>Einbindung von digitalen Services &amp; Mehrwertdiensten</a:t>
            </a:r>
          </a:p>
          <a:p>
            <a:pPr marL="174625" indent="-17462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400" err="1"/>
              <a:t>Telekonsil</a:t>
            </a:r>
            <a:endParaRPr lang="de-DE" sz="1400"/>
          </a:p>
          <a:p>
            <a:pPr marL="174625" indent="-17462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400"/>
              <a:t>Befundversand</a:t>
            </a:r>
          </a:p>
          <a:p>
            <a:pPr marL="174625" indent="-17462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400"/>
              <a:t>Videosprechstunde</a:t>
            </a:r>
          </a:p>
          <a:p>
            <a:pPr marL="174625" indent="-17462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400"/>
              <a:t>Telekonferenzen</a:t>
            </a:r>
          </a:p>
          <a:p>
            <a:pPr marL="174625" indent="-17462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400"/>
              <a:t>Wundmanagement</a:t>
            </a:r>
          </a:p>
          <a:p>
            <a:pPr marL="174625" indent="-17462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400"/>
              <a:t>Terminvergabe</a:t>
            </a:r>
          </a:p>
          <a:p>
            <a:pPr marL="174625" indent="-17462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400"/>
              <a:t>TI Anbindung (</a:t>
            </a:r>
            <a:r>
              <a:rPr lang="de-DE" sz="1400" err="1"/>
              <a:t>ePA</a:t>
            </a:r>
            <a:r>
              <a:rPr lang="de-DE" sz="1400"/>
              <a:t>/KIM)</a:t>
            </a:r>
          </a:p>
          <a:p>
            <a:pPr marL="174625" indent="-17462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400"/>
              <a:t>…</a:t>
            </a:r>
          </a:p>
          <a:p>
            <a:pPr>
              <a:spcAft>
                <a:spcPts val="300"/>
              </a:spcAft>
            </a:pPr>
            <a:endParaRPr lang="de-DE" sz="4800"/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F5A69FDF-CE72-476D-C701-BF2FAFDC09A0}"/>
              </a:ext>
            </a:extLst>
          </p:cNvPr>
          <p:cNvSpPr>
            <a:spLocks/>
          </p:cNvSpPr>
          <p:nvPr/>
        </p:nvSpPr>
        <p:spPr>
          <a:xfrm>
            <a:off x="5614219" y="4188846"/>
            <a:ext cx="1303896" cy="1494971"/>
          </a:xfrm>
          <a:prstGeom prst="rect">
            <a:avLst/>
          </a:prstGeom>
          <a:solidFill>
            <a:srgbClr val="ECECE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30736EE-EB18-C185-78E1-71305FDAF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Herausforderungen für die Leistungserbringer*inn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A702A8B-C99F-C0B7-F176-2A54C8B5D8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E905EC3-E531-D8DC-04A0-4868F881F69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pt-BR"/>
              <a:t>A91GER-H-001672-E4</a:t>
            </a:r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B36A6264-9AE8-CACE-A1DE-5174EF824EA6}"/>
              </a:ext>
            </a:extLst>
          </p:cNvPr>
          <p:cNvSpPr txBox="1">
            <a:spLocks/>
          </p:cNvSpPr>
          <p:nvPr/>
        </p:nvSpPr>
        <p:spPr>
          <a:xfrm>
            <a:off x="857781" y="3668811"/>
            <a:ext cx="2915396" cy="360850"/>
          </a:xfrm>
          <a:prstGeom prst="rect">
            <a:avLst/>
          </a:prstGeom>
          <a:noFill/>
        </p:spPr>
        <p:txBody>
          <a:bodyPr wrap="square" lIns="180000" tIns="144000" rIns="180000" bIns="0" rtlCol="0" anchor="t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400" b="1">
                <a:solidFill>
                  <a:schemeClr val="accent3"/>
                </a:solidFill>
              </a:rPr>
              <a:t>Spezielle Versorgung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35A2C79A-F827-3F7B-5EA1-937A43104866}"/>
              </a:ext>
            </a:extLst>
          </p:cNvPr>
          <p:cNvSpPr txBox="1">
            <a:spLocks/>
          </p:cNvSpPr>
          <p:nvPr/>
        </p:nvSpPr>
        <p:spPr>
          <a:xfrm>
            <a:off x="4808470" y="1619250"/>
            <a:ext cx="2915396" cy="360850"/>
          </a:xfrm>
          <a:prstGeom prst="rect">
            <a:avLst/>
          </a:prstGeom>
          <a:noFill/>
        </p:spPr>
        <p:txBody>
          <a:bodyPr wrap="square" lIns="180000" tIns="144000" rIns="180000" bIns="0" rtlCol="0" anchor="t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400" b="1">
                <a:solidFill>
                  <a:schemeClr val="accent5"/>
                </a:solidFill>
              </a:rPr>
              <a:t>Regionale Vernetzungclus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B313AEA-C8A1-0445-6FFF-8883C70026BF}"/>
              </a:ext>
            </a:extLst>
          </p:cNvPr>
          <p:cNvGrpSpPr/>
          <p:nvPr/>
        </p:nvGrpSpPr>
        <p:grpSpPr>
          <a:xfrm flipH="1">
            <a:off x="8401825" y="1619250"/>
            <a:ext cx="267966" cy="4575175"/>
            <a:chOff x="7447917" y="1619250"/>
            <a:chExt cx="267966" cy="4575175"/>
          </a:xfrm>
        </p:grpSpPr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2D1E901A-1608-E588-1D40-7EB29AC393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581900" y="1619250"/>
              <a:ext cx="0" cy="4575175"/>
            </a:xfrm>
            <a:prstGeom prst="line">
              <a:avLst/>
            </a:prstGeom>
            <a:ln w="12700" cap="rnd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53587BD0-9DF3-BF1D-3CF6-DA741DC3A20B}"/>
                </a:ext>
              </a:extLst>
            </p:cNvPr>
            <p:cNvSpPr>
              <a:spLocks/>
            </p:cNvSpPr>
            <p:nvPr/>
          </p:nvSpPr>
          <p:spPr>
            <a:xfrm>
              <a:off x="7503319" y="3647282"/>
              <a:ext cx="157162" cy="5191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reeform 49">
              <a:extLst>
                <a:ext uri="{FF2B5EF4-FFF2-40B4-BE49-F238E27FC236}">
                  <a16:creationId xmlns:a16="http://schemas.microsoft.com/office/drawing/2014/main" id="{35B47928-E702-DACA-EFFB-9D961234538C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370457" y="3772855"/>
              <a:ext cx="422886" cy="267966"/>
            </a:xfrm>
            <a:custGeom>
              <a:avLst/>
              <a:gdLst>
                <a:gd name="T0" fmla="*/ 79 w 82"/>
                <a:gd name="T1" fmla="*/ 3 h 52"/>
                <a:gd name="T2" fmla="*/ 67 w 82"/>
                <a:gd name="T3" fmla="*/ 3 h 52"/>
                <a:gd name="T4" fmla="*/ 41 w 82"/>
                <a:gd name="T5" fmla="*/ 29 h 52"/>
                <a:gd name="T6" fmla="*/ 15 w 82"/>
                <a:gd name="T7" fmla="*/ 3 h 52"/>
                <a:gd name="T8" fmla="*/ 3 w 82"/>
                <a:gd name="T9" fmla="*/ 3 h 52"/>
                <a:gd name="T10" fmla="*/ 3 w 82"/>
                <a:gd name="T11" fmla="*/ 14 h 52"/>
                <a:gd name="T12" fmla="*/ 41 w 82"/>
                <a:gd name="T13" fmla="*/ 52 h 52"/>
                <a:gd name="T14" fmla="*/ 79 w 82"/>
                <a:gd name="T15" fmla="*/ 14 h 52"/>
                <a:gd name="T16" fmla="*/ 79 w 82"/>
                <a:gd name="T17" fmla="*/ 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52">
                  <a:moveTo>
                    <a:pt x="79" y="3"/>
                  </a:moveTo>
                  <a:cubicBezTo>
                    <a:pt x="76" y="0"/>
                    <a:pt x="70" y="0"/>
                    <a:pt x="67" y="3"/>
                  </a:cubicBezTo>
                  <a:cubicBezTo>
                    <a:pt x="41" y="29"/>
                    <a:pt x="41" y="29"/>
                    <a:pt x="41" y="29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2" y="0"/>
                    <a:pt x="6" y="0"/>
                    <a:pt x="3" y="3"/>
                  </a:cubicBezTo>
                  <a:cubicBezTo>
                    <a:pt x="0" y="6"/>
                    <a:pt x="0" y="11"/>
                    <a:pt x="3" y="14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82" y="11"/>
                    <a:pt x="82" y="6"/>
                    <a:pt x="79" y="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9" name="Rechteck 18">
            <a:extLst>
              <a:ext uri="{FF2B5EF4-FFF2-40B4-BE49-F238E27FC236}">
                <a16:creationId xmlns:a16="http://schemas.microsoft.com/office/drawing/2014/main" id="{3E3F506A-E1E2-2097-5327-3D6F2C2A5410}"/>
              </a:ext>
            </a:extLst>
          </p:cNvPr>
          <p:cNvSpPr>
            <a:spLocks/>
          </p:cNvSpPr>
          <p:nvPr/>
        </p:nvSpPr>
        <p:spPr>
          <a:xfrm>
            <a:off x="870857" y="2146210"/>
            <a:ext cx="2915394" cy="1494971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759B48C-705B-24C6-2D89-81135E68967B}"/>
              </a:ext>
            </a:extLst>
          </p:cNvPr>
          <p:cNvSpPr>
            <a:spLocks/>
          </p:cNvSpPr>
          <p:nvPr/>
        </p:nvSpPr>
        <p:spPr>
          <a:xfrm>
            <a:off x="870857" y="4188846"/>
            <a:ext cx="2915394" cy="1494971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CC1A14B5-EDE5-5A86-E966-5942047AA355}"/>
              </a:ext>
            </a:extLst>
          </p:cNvPr>
          <p:cNvSpPr>
            <a:spLocks/>
          </p:cNvSpPr>
          <p:nvPr/>
        </p:nvSpPr>
        <p:spPr>
          <a:xfrm>
            <a:off x="4808470" y="2146210"/>
            <a:ext cx="2915394" cy="1494971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CACC3F0D-EBA0-0227-F245-365E1897CE2B}"/>
              </a:ext>
            </a:extLst>
          </p:cNvPr>
          <p:cNvSpPr txBox="1">
            <a:spLocks/>
          </p:cNvSpPr>
          <p:nvPr/>
        </p:nvSpPr>
        <p:spPr>
          <a:xfrm>
            <a:off x="872752" y="1676721"/>
            <a:ext cx="291539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400" b="1">
                <a:solidFill>
                  <a:schemeClr val="accent3"/>
                </a:solidFill>
              </a:rPr>
              <a:t>Überregionale Vernetzung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FFE5F099-2326-01BD-6F82-399F22CAE9C9}"/>
              </a:ext>
            </a:extLst>
          </p:cNvPr>
          <p:cNvSpPr txBox="1">
            <a:spLocks/>
          </p:cNvSpPr>
          <p:nvPr/>
        </p:nvSpPr>
        <p:spPr>
          <a:xfrm>
            <a:off x="870857" y="5849928"/>
            <a:ext cx="291539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400" b="1">
                <a:solidFill>
                  <a:schemeClr val="accent3"/>
                </a:solidFill>
              </a:rPr>
              <a:t>Wissenschaft</a:t>
            </a:r>
          </a:p>
        </p:txBody>
      </p:sp>
      <p:grpSp>
        <p:nvGrpSpPr>
          <p:cNvPr id="25" name="Gruppieren 1296">
            <a:extLst>
              <a:ext uri="{FF2B5EF4-FFF2-40B4-BE49-F238E27FC236}">
                <a16:creationId xmlns:a16="http://schemas.microsoft.com/office/drawing/2014/main" id="{A4F6B3B0-81AD-88C9-878D-7DDB19B73A7C}"/>
              </a:ext>
            </a:extLst>
          </p:cNvPr>
          <p:cNvGrpSpPr/>
          <p:nvPr/>
        </p:nvGrpSpPr>
        <p:grpSpPr>
          <a:xfrm>
            <a:off x="5724856" y="4839083"/>
            <a:ext cx="1082622" cy="739033"/>
            <a:chOff x="5875340" y="6508749"/>
            <a:chExt cx="265113" cy="180975"/>
          </a:xfrm>
        </p:grpSpPr>
        <p:sp>
          <p:nvSpPr>
            <p:cNvPr id="26" name="Freeform 103">
              <a:extLst>
                <a:ext uri="{FF2B5EF4-FFF2-40B4-BE49-F238E27FC236}">
                  <a16:creationId xmlns:a16="http://schemas.microsoft.com/office/drawing/2014/main" id="{299F74EC-733E-7547-6214-48AA803E87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5340" y="6508749"/>
              <a:ext cx="265113" cy="180975"/>
            </a:xfrm>
            <a:custGeom>
              <a:avLst/>
              <a:gdLst>
                <a:gd name="T0" fmla="*/ 116 w 167"/>
                <a:gd name="T1" fmla="*/ 0 h 114"/>
                <a:gd name="T2" fmla="*/ 116 w 167"/>
                <a:gd name="T3" fmla="*/ 52 h 114"/>
                <a:gd name="T4" fmla="*/ 51 w 167"/>
                <a:gd name="T5" fmla="*/ 52 h 114"/>
                <a:gd name="T6" fmla="*/ 51 w 167"/>
                <a:gd name="T7" fmla="*/ 0 h 114"/>
                <a:gd name="T8" fmla="*/ 0 w 167"/>
                <a:gd name="T9" fmla="*/ 0 h 114"/>
                <a:gd name="T10" fmla="*/ 0 w 167"/>
                <a:gd name="T11" fmla="*/ 114 h 114"/>
                <a:gd name="T12" fmla="*/ 25 w 167"/>
                <a:gd name="T13" fmla="*/ 114 h 114"/>
                <a:gd name="T14" fmla="*/ 51 w 167"/>
                <a:gd name="T15" fmla="*/ 114 h 114"/>
                <a:gd name="T16" fmla="*/ 116 w 167"/>
                <a:gd name="T17" fmla="*/ 114 h 114"/>
                <a:gd name="T18" fmla="*/ 167 w 167"/>
                <a:gd name="T19" fmla="*/ 114 h 114"/>
                <a:gd name="T20" fmla="*/ 167 w 167"/>
                <a:gd name="T21" fmla="*/ 52 h 114"/>
                <a:gd name="T22" fmla="*/ 167 w 167"/>
                <a:gd name="T23" fmla="*/ 0 h 114"/>
                <a:gd name="T24" fmla="*/ 116 w 167"/>
                <a:gd name="T25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7" h="114">
                  <a:moveTo>
                    <a:pt x="116" y="0"/>
                  </a:moveTo>
                  <a:lnTo>
                    <a:pt x="116" y="52"/>
                  </a:lnTo>
                  <a:lnTo>
                    <a:pt x="51" y="52"/>
                  </a:lnTo>
                  <a:lnTo>
                    <a:pt x="51" y="0"/>
                  </a:lnTo>
                  <a:lnTo>
                    <a:pt x="0" y="0"/>
                  </a:lnTo>
                  <a:lnTo>
                    <a:pt x="0" y="114"/>
                  </a:lnTo>
                  <a:lnTo>
                    <a:pt x="25" y="114"/>
                  </a:lnTo>
                  <a:lnTo>
                    <a:pt x="51" y="114"/>
                  </a:lnTo>
                  <a:lnTo>
                    <a:pt x="116" y="114"/>
                  </a:lnTo>
                  <a:lnTo>
                    <a:pt x="167" y="114"/>
                  </a:lnTo>
                  <a:lnTo>
                    <a:pt x="167" y="52"/>
                  </a:lnTo>
                  <a:lnTo>
                    <a:pt x="167" y="0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89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04">
              <a:extLst>
                <a:ext uri="{FF2B5EF4-FFF2-40B4-BE49-F238E27FC236}">
                  <a16:creationId xmlns:a16="http://schemas.microsoft.com/office/drawing/2014/main" id="{B33AE36A-3748-453A-F9FA-EA6F345A42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1688" y="6521450"/>
              <a:ext cx="250825" cy="153988"/>
            </a:xfrm>
            <a:custGeom>
              <a:avLst/>
              <a:gdLst>
                <a:gd name="T0" fmla="*/ 536 w 1539"/>
                <a:gd name="T1" fmla="*/ 479 h 948"/>
                <a:gd name="T2" fmla="*/ 536 w 1539"/>
                <a:gd name="T3" fmla="*/ 613 h 948"/>
                <a:gd name="T4" fmla="*/ 670 w 1539"/>
                <a:gd name="T5" fmla="*/ 613 h 948"/>
                <a:gd name="T6" fmla="*/ 1499 w 1539"/>
                <a:gd name="T7" fmla="*/ 778 h 948"/>
                <a:gd name="T8" fmla="*/ 1131 w 1539"/>
                <a:gd name="T9" fmla="*/ 739 h 948"/>
                <a:gd name="T10" fmla="*/ 1539 w 1539"/>
                <a:gd name="T11" fmla="*/ 646 h 948"/>
                <a:gd name="T12" fmla="*/ 1539 w 1539"/>
                <a:gd name="T13" fmla="*/ 646 h 948"/>
                <a:gd name="T14" fmla="*/ 1459 w 1539"/>
                <a:gd name="T15" fmla="*/ 686 h 948"/>
                <a:gd name="T16" fmla="*/ 1499 w 1539"/>
                <a:gd name="T17" fmla="*/ 593 h 948"/>
                <a:gd name="T18" fmla="*/ 1131 w 1539"/>
                <a:gd name="T19" fmla="*/ 554 h 948"/>
                <a:gd name="T20" fmla="*/ 1539 w 1539"/>
                <a:gd name="T21" fmla="*/ 461 h 948"/>
                <a:gd name="T22" fmla="*/ 1539 w 1539"/>
                <a:gd name="T23" fmla="*/ 461 h 948"/>
                <a:gd name="T24" fmla="*/ 1459 w 1539"/>
                <a:gd name="T25" fmla="*/ 501 h 948"/>
                <a:gd name="T26" fmla="*/ 1499 w 1539"/>
                <a:gd name="T27" fmla="*/ 409 h 948"/>
                <a:gd name="T28" fmla="*/ 1131 w 1539"/>
                <a:gd name="T29" fmla="*/ 369 h 948"/>
                <a:gd name="T30" fmla="*/ 1539 w 1539"/>
                <a:gd name="T31" fmla="*/ 277 h 948"/>
                <a:gd name="T32" fmla="*/ 1539 w 1539"/>
                <a:gd name="T33" fmla="*/ 277 h 948"/>
                <a:gd name="T34" fmla="*/ 1459 w 1539"/>
                <a:gd name="T35" fmla="*/ 316 h 948"/>
                <a:gd name="T36" fmla="*/ 1499 w 1539"/>
                <a:gd name="T37" fmla="*/ 224 h 948"/>
                <a:gd name="T38" fmla="*/ 1131 w 1539"/>
                <a:gd name="T39" fmla="*/ 184 h 948"/>
                <a:gd name="T40" fmla="*/ 1539 w 1539"/>
                <a:gd name="T41" fmla="*/ 92 h 948"/>
                <a:gd name="T42" fmla="*/ 1539 w 1539"/>
                <a:gd name="T43" fmla="*/ 92 h 948"/>
                <a:gd name="T44" fmla="*/ 1459 w 1539"/>
                <a:gd name="T45" fmla="*/ 132 h 948"/>
                <a:gd name="T46" fmla="*/ 1499 w 1539"/>
                <a:gd name="T47" fmla="*/ 39 h 948"/>
                <a:gd name="T48" fmla="*/ 1131 w 1539"/>
                <a:gd name="T49" fmla="*/ 0 h 948"/>
                <a:gd name="T50" fmla="*/ 408 w 1539"/>
                <a:gd name="T51" fmla="*/ 739 h 948"/>
                <a:gd name="T52" fmla="*/ 408 w 1539"/>
                <a:gd name="T53" fmla="*/ 739 h 948"/>
                <a:gd name="T54" fmla="*/ 328 w 1539"/>
                <a:gd name="T55" fmla="*/ 779 h 948"/>
                <a:gd name="T56" fmla="*/ 368 w 1539"/>
                <a:gd name="T57" fmla="*/ 687 h 948"/>
                <a:gd name="T58" fmla="*/ 0 w 1539"/>
                <a:gd name="T59" fmla="*/ 647 h 948"/>
                <a:gd name="T60" fmla="*/ 408 w 1539"/>
                <a:gd name="T61" fmla="*/ 555 h 948"/>
                <a:gd name="T62" fmla="*/ 408 w 1539"/>
                <a:gd name="T63" fmla="*/ 555 h 948"/>
                <a:gd name="T64" fmla="*/ 328 w 1539"/>
                <a:gd name="T65" fmla="*/ 594 h 948"/>
                <a:gd name="T66" fmla="*/ 368 w 1539"/>
                <a:gd name="T67" fmla="*/ 502 h 948"/>
                <a:gd name="T68" fmla="*/ 0 w 1539"/>
                <a:gd name="T69" fmla="*/ 462 h 948"/>
                <a:gd name="T70" fmla="*/ 408 w 1539"/>
                <a:gd name="T71" fmla="*/ 370 h 948"/>
                <a:gd name="T72" fmla="*/ 408 w 1539"/>
                <a:gd name="T73" fmla="*/ 370 h 948"/>
                <a:gd name="T74" fmla="*/ 328 w 1539"/>
                <a:gd name="T75" fmla="*/ 409 h 948"/>
                <a:gd name="T76" fmla="*/ 368 w 1539"/>
                <a:gd name="T77" fmla="*/ 317 h 948"/>
                <a:gd name="T78" fmla="*/ 0 w 1539"/>
                <a:gd name="T79" fmla="*/ 278 h 948"/>
                <a:gd name="T80" fmla="*/ 408 w 1539"/>
                <a:gd name="T81" fmla="*/ 185 h 948"/>
                <a:gd name="T82" fmla="*/ 408 w 1539"/>
                <a:gd name="T83" fmla="*/ 185 h 948"/>
                <a:gd name="T84" fmla="*/ 328 w 1539"/>
                <a:gd name="T85" fmla="*/ 225 h 948"/>
                <a:gd name="T86" fmla="*/ 368 w 1539"/>
                <a:gd name="T87" fmla="*/ 132 h 948"/>
                <a:gd name="T88" fmla="*/ 0 w 1539"/>
                <a:gd name="T89" fmla="*/ 93 h 948"/>
                <a:gd name="T90" fmla="*/ 408 w 1539"/>
                <a:gd name="T91" fmla="*/ 0 h 948"/>
                <a:gd name="T92" fmla="*/ 408 w 1539"/>
                <a:gd name="T93" fmla="*/ 0 h 948"/>
                <a:gd name="T94" fmla="*/ 328 w 1539"/>
                <a:gd name="T95" fmla="*/ 40 h 948"/>
                <a:gd name="T96" fmla="*/ 1539 w 1539"/>
                <a:gd name="T97" fmla="*/ 948 h 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39" h="948">
                  <a:moveTo>
                    <a:pt x="670" y="546"/>
                  </a:moveTo>
                  <a:lnTo>
                    <a:pt x="603" y="546"/>
                  </a:lnTo>
                  <a:lnTo>
                    <a:pt x="603" y="479"/>
                  </a:lnTo>
                  <a:lnTo>
                    <a:pt x="536" y="479"/>
                  </a:lnTo>
                  <a:lnTo>
                    <a:pt x="536" y="546"/>
                  </a:lnTo>
                  <a:lnTo>
                    <a:pt x="469" y="546"/>
                  </a:lnTo>
                  <a:lnTo>
                    <a:pt x="469" y="613"/>
                  </a:lnTo>
                  <a:lnTo>
                    <a:pt x="536" y="613"/>
                  </a:lnTo>
                  <a:lnTo>
                    <a:pt x="536" y="680"/>
                  </a:lnTo>
                  <a:lnTo>
                    <a:pt x="603" y="680"/>
                  </a:lnTo>
                  <a:lnTo>
                    <a:pt x="603" y="613"/>
                  </a:lnTo>
                  <a:lnTo>
                    <a:pt x="670" y="613"/>
                  </a:lnTo>
                  <a:lnTo>
                    <a:pt x="670" y="546"/>
                  </a:lnTo>
                  <a:close/>
                  <a:moveTo>
                    <a:pt x="1539" y="739"/>
                  </a:moveTo>
                  <a:lnTo>
                    <a:pt x="1499" y="739"/>
                  </a:lnTo>
                  <a:lnTo>
                    <a:pt x="1499" y="778"/>
                  </a:lnTo>
                  <a:lnTo>
                    <a:pt x="1539" y="778"/>
                  </a:lnTo>
                  <a:lnTo>
                    <a:pt x="1539" y="739"/>
                  </a:lnTo>
                  <a:close/>
                  <a:moveTo>
                    <a:pt x="1459" y="739"/>
                  </a:moveTo>
                  <a:lnTo>
                    <a:pt x="1131" y="739"/>
                  </a:lnTo>
                  <a:lnTo>
                    <a:pt x="1131" y="778"/>
                  </a:lnTo>
                  <a:lnTo>
                    <a:pt x="1459" y="778"/>
                  </a:lnTo>
                  <a:lnTo>
                    <a:pt x="1459" y="739"/>
                  </a:lnTo>
                  <a:close/>
                  <a:moveTo>
                    <a:pt x="1539" y="646"/>
                  </a:moveTo>
                  <a:lnTo>
                    <a:pt x="1499" y="646"/>
                  </a:lnTo>
                  <a:lnTo>
                    <a:pt x="1499" y="686"/>
                  </a:lnTo>
                  <a:lnTo>
                    <a:pt x="1539" y="686"/>
                  </a:lnTo>
                  <a:lnTo>
                    <a:pt x="1539" y="646"/>
                  </a:lnTo>
                  <a:close/>
                  <a:moveTo>
                    <a:pt x="1459" y="646"/>
                  </a:moveTo>
                  <a:lnTo>
                    <a:pt x="1131" y="646"/>
                  </a:lnTo>
                  <a:lnTo>
                    <a:pt x="1131" y="686"/>
                  </a:lnTo>
                  <a:lnTo>
                    <a:pt x="1459" y="686"/>
                  </a:lnTo>
                  <a:lnTo>
                    <a:pt x="1459" y="646"/>
                  </a:lnTo>
                  <a:close/>
                  <a:moveTo>
                    <a:pt x="1539" y="554"/>
                  </a:moveTo>
                  <a:lnTo>
                    <a:pt x="1499" y="554"/>
                  </a:lnTo>
                  <a:lnTo>
                    <a:pt x="1499" y="593"/>
                  </a:lnTo>
                  <a:lnTo>
                    <a:pt x="1539" y="593"/>
                  </a:lnTo>
                  <a:lnTo>
                    <a:pt x="1539" y="554"/>
                  </a:lnTo>
                  <a:close/>
                  <a:moveTo>
                    <a:pt x="1459" y="554"/>
                  </a:moveTo>
                  <a:lnTo>
                    <a:pt x="1131" y="554"/>
                  </a:lnTo>
                  <a:lnTo>
                    <a:pt x="1131" y="593"/>
                  </a:lnTo>
                  <a:lnTo>
                    <a:pt x="1459" y="593"/>
                  </a:lnTo>
                  <a:lnTo>
                    <a:pt x="1459" y="554"/>
                  </a:lnTo>
                  <a:close/>
                  <a:moveTo>
                    <a:pt x="1539" y="461"/>
                  </a:moveTo>
                  <a:lnTo>
                    <a:pt x="1499" y="461"/>
                  </a:lnTo>
                  <a:lnTo>
                    <a:pt x="1499" y="501"/>
                  </a:lnTo>
                  <a:lnTo>
                    <a:pt x="1539" y="501"/>
                  </a:lnTo>
                  <a:lnTo>
                    <a:pt x="1539" y="461"/>
                  </a:lnTo>
                  <a:close/>
                  <a:moveTo>
                    <a:pt x="1459" y="461"/>
                  </a:moveTo>
                  <a:lnTo>
                    <a:pt x="1131" y="461"/>
                  </a:lnTo>
                  <a:lnTo>
                    <a:pt x="1131" y="501"/>
                  </a:lnTo>
                  <a:lnTo>
                    <a:pt x="1459" y="501"/>
                  </a:lnTo>
                  <a:lnTo>
                    <a:pt x="1459" y="461"/>
                  </a:lnTo>
                  <a:close/>
                  <a:moveTo>
                    <a:pt x="1539" y="369"/>
                  </a:moveTo>
                  <a:lnTo>
                    <a:pt x="1499" y="369"/>
                  </a:lnTo>
                  <a:lnTo>
                    <a:pt x="1499" y="409"/>
                  </a:lnTo>
                  <a:lnTo>
                    <a:pt x="1539" y="409"/>
                  </a:lnTo>
                  <a:lnTo>
                    <a:pt x="1539" y="369"/>
                  </a:lnTo>
                  <a:close/>
                  <a:moveTo>
                    <a:pt x="1459" y="369"/>
                  </a:moveTo>
                  <a:lnTo>
                    <a:pt x="1131" y="369"/>
                  </a:lnTo>
                  <a:lnTo>
                    <a:pt x="1131" y="409"/>
                  </a:lnTo>
                  <a:lnTo>
                    <a:pt x="1459" y="409"/>
                  </a:lnTo>
                  <a:lnTo>
                    <a:pt x="1459" y="369"/>
                  </a:lnTo>
                  <a:close/>
                  <a:moveTo>
                    <a:pt x="1539" y="277"/>
                  </a:moveTo>
                  <a:lnTo>
                    <a:pt x="1499" y="277"/>
                  </a:lnTo>
                  <a:lnTo>
                    <a:pt x="1499" y="316"/>
                  </a:lnTo>
                  <a:lnTo>
                    <a:pt x="1539" y="316"/>
                  </a:lnTo>
                  <a:lnTo>
                    <a:pt x="1539" y="277"/>
                  </a:lnTo>
                  <a:close/>
                  <a:moveTo>
                    <a:pt x="1459" y="277"/>
                  </a:moveTo>
                  <a:lnTo>
                    <a:pt x="1131" y="277"/>
                  </a:lnTo>
                  <a:lnTo>
                    <a:pt x="1131" y="316"/>
                  </a:lnTo>
                  <a:lnTo>
                    <a:pt x="1459" y="316"/>
                  </a:lnTo>
                  <a:lnTo>
                    <a:pt x="1459" y="277"/>
                  </a:lnTo>
                  <a:close/>
                  <a:moveTo>
                    <a:pt x="1539" y="184"/>
                  </a:moveTo>
                  <a:lnTo>
                    <a:pt x="1499" y="184"/>
                  </a:lnTo>
                  <a:lnTo>
                    <a:pt x="1499" y="224"/>
                  </a:lnTo>
                  <a:lnTo>
                    <a:pt x="1539" y="224"/>
                  </a:lnTo>
                  <a:lnTo>
                    <a:pt x="1539" y="184"/>
                  </a:lnTo>
                  <a:close/>
                  <a:moveTo>
                    <a:pt x="1459" y="184"/>
                  </a:moveTo>
                  <a:lnTo>
                    <a:pt x="1131" y="184"/>
                  </a:lnTo>
                  <a:lnTo>
                    <a:pt x="1131" y="224"/>
                  </a:lnTo>
                  <a:lnTo>
                    <a:pt x="1459" y="224"/>
                  </a:lnTo>
                  <a:lnTo>
                    <a:pt x="1459" y="184"/>
                  </a:lnTo>
                  <a:close/>
                  <a:moveTo>
                    <a:pt x="1539" y="92"/>
                  </a:moveTo>
                  <a:lnTo>
                    <a:pt x="1499" y="92"/>
                  </a:lnTo>
                  <a:lnTo>
                    <a:pt x="1499" y="132"/>
                  </a:lnTo>
                  <a:lnTo>
                    <a:pt x="1539" y="132"/>
                  </a:lnTo>
                  <a:lnTo>
                    <a:pt x="1539" y="92"/>
                  </a:lnTo>
                  <a:close/>
                  <a:moveTo>
                    <a:pt x="1459" y="92"/>
                  </a:moveTo>
                  <a:lnTo>
                    <a:pt x="1131" y="92"/>
                  </a:lnTo>
                  <a:lnTo>
                    <a:pt x="1131" y="132"/>
                  </a:lnTo>
                  <a:lnTo>
                    <a:pt x="1459" y="132"/>
                  </a:lnTo>
                  <a:lnTo>
                    <a:pt x="1459" y="92"/>
                  </a:lnTo>
                  <a:close/>
                  <a:moveTo>
                    <a:pt x="1539" y="0"/>
                  </a:moveTo>
                  <a:lnTo>
                    <a:pt x="1499" y="0"/>
                  </a:lnTo>
                  <a:lnTo>
                    <a:pt x="1499" y="39"/>
                  </a:lnTo>
                  <a:lnTo>
                    <a:pt x="1539" y="39"/>
                  </a:lnTo>
                  <a:lnTo>
                    <a:pt x="1539" y="0"/>
                  </a:lnTo>
                  <a:close/>
                  <a:moveTo>
                    <a:pt x="1459" y="0"/>
                  </a:moveTo>
                  <a:lnTo>
                    <a:pt x="1131" y="0"/>
                  </a:lnTo>
                  <a:lnTo>
                    <a:pt x="1131" y="39"/>
                  </a:lnTo>
                  <a:lnTo>
                    <a:pt x="1459" y="39"/>
                  </a:lnTo>
                  <a:lnTo>
                    <a:pt x="1459" y="0"/>
                  </a:lnTo>
                  <a:close/>
                  <a:moveTo>
                    <a:pt x="408" y="739"/>
                  </a:moveTo>
                  <a:lnTo>
                    <a:pt x="368" y="739"/>
                  </a:lnTo>
                  <a:lnTo>
                    <a:pt x="368" y="779"/>
                  </a:lnTo>
                  <a:lnTo>
                    <a:pt x="408" y="779"/>
                  </a:lnTo>
                  <a:lnTo>
                    <a:pt x="408" y="739"/>
                  </a:lnTo>
                  <a:close/>
                  <a:moveTo>
                    <a:pt x="328" y="739"/>
                  </a:moveTo>
                  <a:lnTo>
                    <a:pt x="0" y="739"/>
                  </a:lnTo>
                  <a:lnTo>
                    <a:pt x="0" y="779"/>
                  </a:lnTo>
                  <a:lnTo>
                    <a:pt x="328" y="779"/>
                  </a:lnTo>
                  <a:lnTo>
                    <a:pt x="328" y="739"/>
                  </a:lnTo>
                  <a:close/>
                  <a:moveTo>
                    <a:pt x="408" y="647"/>
                  </a:moveTo>
                  <a:lnTo>
                    <a:pt x="368" y="647"/>
                  </a:lnTo>
                  <a:lnTo>
                    <a:pt x="368" y="687"/>
                  </a:lnTo>
                  <a:lnTo>
                    <a:pt x="408" y="687"/>
                  </a:lnTo>
                  <a:lnTo>
                    <a:pt x="408" y="647"/>
                  </a:lnTo>
                  <a:close/>
                  <a:moveTo>
                    <a:pt x="328" y="647"/>
                  </a:moveTo>
                  <a:lnTo>
                    <a:pt x="0" y="647"/>
                  </a:lnTo>
                  <a:lnTo>
                    <a:pt x="0" y="687"/>
                  </a:lnTo>
                  <a:lnTo>
                    <a:pt x="328" y="687"/>
                  </a:lnTo>
                  <a:lnTo>
                    <a:pt x="328" y="647"/>
                  </a:lnTo>
                  <a:close/>
                  <a:moveTo>
                    <a:pt x="408" y="555"/>
                  </a:moveTo>
                  <a:lnTo>
                    <a:pt x="368" y="555"/>
                  </a:lnTo>
                  <a:lnTo>
                    <a:pt x="368" y="594"/>
                  </a:lnTo>
                  <a:lnTo>
                    <a:pt x="408" y="594"/>
                  </a:lnTo>
                  <a:lnTo>
                    <a:pt x="408" y="555"/>
                  </a:lnTo>
                  <a:close/>
                  <a:moveTo>
                    <a:pt x="328" y="555"/>
                  </a:moveTo>
                  <a:lnTo>
                    <a:pt x="0" y="555"/>
                  </a:lnTo>
                  <a:lnTo>
                    <a:pt x="0" y="594"/>
                  </a:lnTo>
                  <a:lnTo>
                    <a:pt x="328" y="594"/>
                  </a:lnTo>
                  <a:lnTo>
                    <a:pt x="328" y="555"/>
                  </a:lnTo>
                  <a:close/>
                  <a:moveTo>
                    <a:pt x="408" y="462"/>
                  </a:moveTo>
                  <a:lnTo>
                    <a:pt x="368" y="462"/>
                  </a:lnTo>
                  <a:lnTo>
                    <a:pt x="368" y="502"/>
                  </a:lnTo>
                  <a:lnTo>
                    <a:pt x="408" y="502"/>
                  </a:lnTo>
                  <a:lnTo>
                    <a:pt x="408" y="462"/>
                  </a:lnTo>
                  <a:close/>
                  <a:moveTo>
                    <a:pt x="328" y="462"/>
                  </a:moveTo>
                  <a:lnTo>
                    <a:pt x="0" y="462"/>
                  </a:lnTo>
                  <a:lnTo>
                    <a:pt x="0" y="502"/>
                  </a:lnTo>
                  <a:lnTo>
                    <a:pt x="328" y="502"/>
                  </a:lnTo>
                  <a:lnTo>
                    <a:pt x="328" y="462"/>
                  </a:lnTo>
                  <a:close/>
                  <a:moveTo>
                    <a:pt x="408" y="370"/>
                  </a:moveTo>
                  <a:lnTo>
                    <a:pt x="368" y="370"/>
                  </a:lnTo>
                  <a:lnTo>
                    <a:pt x="368" y="409"/>
                  </a:lnTo>
                  <a:lnTo>
                    <a:pt x="408" y="409"/>
                  </a:lnTo>
                  <a:lnTo>
                    <a:pt x="408" y="370"/>
                  </a:lnTo>
                  <a:close/>
                  <a:moveTo>
                    <a:pt x="328" y="370"/>
                  </a:moveTo>
                  <a:lnTo>
                    <a:pt x="0" y="370"/>
                  </a:lnTo>
                  <a:lnTo>
                    <a:pt x="0" y="409"/>
                  </a:lnTo>
                  <a:lnTo>
                    <a:pt x="328" y="409"/>
                  </a:lnTo>
                  <a:lnTo>
                    <a:pt x="328" y="370"/>
                  </a:lnTo>
                  <a:close/>
                  <a:moveTo>
                    <a:pt x="408" y="278"/>
                  </a:moveTo>
                  <a:lnTo>
                    <a:pt x="368" y="278"/>
                  </a:lnTo>
                  <a:lnTo>
                    <a:pt x="368" y="317"/>
                  </a:lnTo>
                  <a:lnTo>
                    <a:pt x="408" y="317"/>
                  </a:lnTo>
                  <a:lnTo>
                    <a:pt x="408" y="278"/>
                  </a:lnTo>
                  <a:close/>
                  <a:moveTo>
                    <a:pt x="328" y="278"/>
                  </a:moveTo>
                  <a:lnTo>
                    <a:pt x="0" y="278"/>
                  </a:lnTo>
                  <a:lnTo>
                    <a:pt x="0" y="317"/>
                  </a:lnTo>
                  <a:lnTo>
                    <a:pt x="328" y="317"/>
                  </a:lnTo>
                  <a:lnTo>
                    <a:pt x="328" y="278"/>
                  </a:lnTo>
                  <a:close/>
                  <a:moveTo>
                    <a:pt x="408" y="185"/>
                  </a:moveTo>
                  <a:lnTo>
                    <a:pt x="368" y="185"/>
                  </a:lnTo>
                  <a:lnTo>
                    <a:pt x="368" y="225"/>
                  </a:lnTo>
                  <a:lnTo>
                    <a:pt x="408" y="225"/>
                  </a:lnTo>
                  <a:lnTo>
                    <a:pt x="408" y="185"/>
                  </a:lnTo>
                  <a:close/>
                  <a:moveTo>
                    <a:pt x="328" y="185"/>
                  </a:moveTo>
                  <a:lnTo>
                    <a:pt x="0" y="185"/>
                  </a:lnTo>
                  <a:lnTo>
                    <a:pt x="0" y="225"/>
                  </a:lnTo>
                  <a:lnTo>
                    <a:pt x="328" y="225"/>
                  </a:lnTo>
                  <a:lnTo>
                    <a:pt x="328" y="185"/>
                  </a:lnTo>
                  <a:close/>
                  <a:moveTo>
                    <a:pt x="408" y="93"/>
                  </a:moveTo>
                  <a:lnTo>
                    <a:pt x="368" y="93"/>
                  </a:lnTo>
                  <a:lnTo>
                    <a:pt x="368" y="132"/>
                  </a:lnTo>
                  <a:lnTo>
                    <a:pt x="408" y="132"/>
                  </a:lnTo>
                  <a:lnTo>
                    <a:pt x="408" y="93"/>
                  </a:lnTo>
                  <a:close/>
                  <a:moveTo>
                    <a:pt x="328" y="93"/>
                  </a:moveTo>
                  <a:lnTo>
                    <a:pt x="0" y="93"/>
                  </a:lnTo>
                  <a:lnTo>
                    <a:pt x="0" y="132"/>
                  </a:lnTo>
                  <a:lnTo>
                    <a:pt x="328" y="132"/>
                  </a:lnTo>
                  <a:lnTo>
                    <a:pt x="328" y="93"/>
                  </a:lnTo>
                  <a:close/>
                  <a:moveTo>
                    <a:pt x="408" y="0"/>
                  </a:moveTo>
                  <a:lnTo>
                    <a:pt x="368" y="0"/>
                  </a:lnTo>
                  <a:lnTo>
                    <a:pt x="368" y="40"/>
                  </a:lnTo>
                  <a:lnTo>
                    <a:pt x="408" y="40"/>
                  </a:lnTo>
                  <a:lnTo>
                    <a:pt x="408" y="0"/>
                  </a:lnTo>
                  <a:close/>
                  <a:moveTo>
                    <a:pt x="328" y="0"/>
                  </a:moveTo>
                  <a:lnTo>
                    <a:pt x="0" y="0"/>
                  </a:lnTo>
                  <a:lnTo>
                    <a:pt x="0" y="40"/>
                  </a:lnTo>
                  <a:lnTo>
                    <a:pt x="328" y="40"/>
                  </a:lnTo>
                  <a:lnTo>
                    <a:pt x="328" y="0"/>
                  </a:lnTo>
                  <a:close/>
                  <a:moveTo>
                    <a:pt x="0" y="881"/>
                  </a:moveTo>
                  <a:lnTo>
                    <a:pt x="1539" y="881"/>
                  </a:lnTo>
                  <a:lnTo>
                    <a:pt x="1539" y="948"/>
                  </a:lnTo>
                  <a:lnTo>
                    <a:pt x="0" y="948"/>
                  </a:lnTo>
                  <a:lnTo>
                    <a:pt x="0" y="8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89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8" name="Group 4">
            <a:extLst>
              <a:ext uri="{FF2B5EF4-FFF2-40B4-BE49-F238E27FC236}">
                <a16:creationId xmlns:a16="http://schemas.microsoft.com/office/drawing/2014/main" id="{C0857FFE-0F71-1F93-7224-AEFAAD936AB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38967" y="4294546"/>
            <a:ext cx="377901" cy="423375"/>
            <a:chOff x="3591" y="1890"/>
            <a:chExt cx="482" cy="540"/>
          </a:xfrm>
          <a:solidFill>
            <a:schemeClr val="bg2"/>
          </a:solidFill>
        </p:grpSpPr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3D85ECF1-71AC-12E8-0315-798165E66D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1" y="2138"/>
              <a:ext cx="335" cy="292"/>
            </a:xfrm>
            <a:custGeom>
              <a:avLst/>
              <a:gdLst>
                <a:gd name="T0" fmla="*/ 3156 w 3173"/>
                <a:gd name="T1" fmla="*/ 752 h 2769"/>
                <a:gd name="T2" fmla="*/ 2877 w 3173"/>
                <a:gd name="T3" fmla="*/ 314 h 2769"/>
                <a:gd name="T4" fmla="*/ 2013 w 3173"/>
                <a:gd name="T5" fmla="*/ 0 h 2769"/>
                <a:gd name="T6" fmla="*/ 1587 w 3173"/>
                <a:gd name="T7" fmla="*/ 426 h 2769"/>
                <a:gd name="T8" fmla="*/ 1161 w 3173"/>
                <a:gd name="T9" fmla="*/ 0 h 2769"/>
                <a:gd name="T10" fmla="*/ 296 w 3173"/>
                <a:gd name="T11" fmla="*/ 314 h 2769"/>
                <a:gd name="T12" fmla="*/ 17 w 3173"/>
                <a:gd name="T13" fmla="*/ 752 h 2769"/>
                <a:gd name="T14" fmla="*/ 194 w 3173"/>
                <a:gd name="T15" fmla="*/ 2769 h 2769"/>
                <a:gd name="T16" fmla="*/ 2979 w 3173"/>
                <a:gd name="T17" fmla="*/ 2769 h 2769"/>
                <a:gd name="T18" fmla="*/ 3156 w 3173"/>
                <a:gd name="T19" fmla="*/ 752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73" h="2769">
                  <a:moveTo>
                    <a:pt x="3156" y="752"/>
                  </a:moveTo>
                  <a:cubicBezTo>
                    <a:pt x="3173" y="560"/>
                    <a:pt x="3058" y="380"/>
                    <a:pt x="2877" y="314"/>
                  </a:cubicBezTo>
                  <a:cubicBezTo>
                    <a:pt x="2013" y="0"/>
                    <a:pt x="2013" y="0"/>
                    <a:pt x="2013" y="0"/>
                  </a:cubicBezTo>
                  <a:cubicBezTo>
                    <a:pt x="1587" y="426"/>
                    <a:pt x="1587" y="426"/>
                    <a:pt x="1587" y="426"/>
                  </a:cubicBezTo>
                  <a:cubicBezTo>
                    <a:pt x="1161" y="0"/>
                    <a:pt x="1161" y="0"/>
                    <a:pt x="1161" y="0"/>
                  </a:cubicBezTo>
                  <a:cubicBezTo>
                    <a:pt x="296" y="314"/>
                    <a:pt x="296" y="314"/>
                    <a:pt x="296" y="314"/>
                  </a:cubicBezTo>
                  <a:cubicBezTo>
                    <a:pt x="115" y="380"/>
                    <a:pt x="0" y="560"/>
                    <a:pt x="17" y="752"/>
                  </a:cubicBezTo>
                  <a:cubicBezTo>
                    <a:pt x="194" y="2769"/>
                    <a:pt x="194" y="2769"/>
                    <a:pt x="194" y="2769"/>
                  </a:cubicBezTo>
                  <a:cubicBezTo>
                    <a:pt x="2979" y="2769"/>
                    <a:pt x="2979" y="2769"/>
                    <a:pt x="2979" y="2769"/>
                  </a:cubicBezTo>
                  <a:lnTo>
                    <a:pt x="3156" y="7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71534E7A-C2C8-98C7-26AE-D63CA954DD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1" y="1977"/>
              <a:ext cx="135" cy="138"/>
            </a:xfrm>
            <a:custGeom>
              <a:avLst/>
              <a:gdLst>
                <a:gd name="T0" fmla="*/ 877 w 1278"/>
                <a:gd name="T1" fmla="*/ 0 h 1313"/>
                <a:gd name="T2" fmla="*/ 568 w 1278"/>
                <a:gd name="T3" fmla="*/ 135 h 1313"/>
                <a:gd name="T4" fmla="*/ 433 w 1278"/>
                <a:gd name="T5" fmla="*/ 178 h 1313"/>
                <a:gd name="T6" fmla="*/ 252 w 1278"/>
                <a:gd name="T7" fmla="*/ 240 h 1313"/>
                <a:gd name="T8" fmla="*/ 0 w 1278"/>
                <a:gd name="T9" fmla="*/ 461 h 1313"/>
                <a:gd name="T10" fmla="*/ 0 w 1278"/>
                <a:gd name="T11" fmla="*/ 461 h 1313"/>
                <a:gd name="T12" fmla="*/ 639 w 1278"/>
                <a:gd name="T13" fmla="*/ 1313 h 1313"/>
                <a:gd name="T14" fmla="*/ 1278 w 1278"/>
                <a:gd name="T15" fmla="*/ 461 h 1313"/>
                <a:gd name="T16" fmla="*/ 1275 w 1278"/>
                <a:gd name="T17" fmla="*/ 423 h 1313"/>
                <a:gd name="T18" fmla="*/ 877 w 1278"/>
                <a:gd name="T19" fmla="*/ 0 h 1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8" h="1313">
                  <a:moveTo>
                    <a:pt x="877" y="0"/>
                  </a:moveTo>
                  <a:cubicBezTo>
                    <a:pt x="787" y="53"/>
                    <a:pt x="681" y="94"/>
                    <a:pt x="568" y="135"/>
                  </a:cubicBezTo>
                  <a:cubicBezTo>
                    <a:pt x="516" y="153"/>
                    <a:pt x="474" y="166"/>
                    <a:pt x="433" y="178"/>
                  </a:cubicBezTo>
                  <a:cubicBezTo>
                    <a:pt x="378" y="195"/>
                    <a:pt x="325" y="211"/>
                    <a:pt x="252" y="240"/>
                  </a:cubicBezTo>
                  <a:cubicBezTo>
                    <a:pt x="63" y="315"/>
                    <a:pt x="0" y="371"/>
                    <a:pt x="0" y="461"/>
                  </a:cubicBezTo>
                  <a:cubicBezTo>
                    <a:pt x="0" y="461"/>
                    <a:pt x="0" y="461"/>
                    <a:pt x="0" y="461"/>
                  </a:cubicBezTo>
                  <a:cubicBezTo>
                    <a:pt x="0" y="931"/>
                    <a:pt x="286" y="1313"/>
                    <a:pt x="639" y="1313"/>
                  </a:cubicBezTo>
                  <a:cubicBezTo>
                    <a:pt x="992" y="1313"/>
                    <a:pt x="1278" y="931"/>
                    <a:pt x="1278" y="461"/>
                  </a:cubicBezTo>
                  <a:cubicBezTo>
                    <a:pt x="1278" y="447"/>
                    <a:pt x="1276" y="435"/>
                    <a:pt x="1275" y="423"/>
                  </a:cubicBezTo>
                  <a:cubicBezTo>
                    <a:pt x="1083" y="354"/>
                    <a:pt x="935" y="196"/>
                    <a:pt x="8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CBC93CB9-9D0B-397C-DBC2-06D83909CE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9" y="1890"/>
              <a:ext cx="123" cy="117"/>
            </a:xfrm>
            <a:custGeom>
              <a:avLst/>
              <a:gdLst>
                <a:gd name="T0" fmla="*/ 387 w 1172"/>
                <a:gd name="T1" fmla="*/ 860 h 1111"/>
                <a:gd name="T2" fmla="*/ 585 w 1172"/>
                <a:gd name="T3" fmla="*/ 792 h 1111"/>
                <a:gd name="T4" fmla="*/ 710 w 1172"/>
                <a:gd name="T5" fmla="*/ 752 h 1111"/>
                <a:gd name="T6" fmla="*/ 1172 w 1172"/>
                <a:gd name="T7" fmla="*/ 320 h 1111"/>
                <a:gd name="T8" fmla="*/ 1052 w 1172"/>
                <a:gd name="T9" fmla="*/ 24 h 1111"/>
                <a:gd name="T10" fmla="*/ 853 w 1172"/>
                <a:gd name="T11" fmla="*/ 0 h 1111"/>
                <a:gd name="T12" fmla="*/ 0 w 1172"/>
                <a:gd name="T13" fmla="*/ 853 h 1111"/>
                <a:gd name="T14" fmla="*/ 41 w 1172"/>
                <a:gd name="T15" fmla="*/ 1111 h 1111"/>
                <a:gd name="T16" fmla="*/ 387 w 1172"/>
                <a:gd name="T17" fmla="*/ 860 h 1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2" h="1111">
                  <a:moveTo>
                    <a:pt x="387" y="860"/>
                  </a:moveTo>
                  <a:cubicBezTo>
                    <a:pt x="469" y="827"/>
                    <a:pt x="528" y="810"/>
                    <a:pt x="585" y="792"/>
                  </a:cubicBezTo>
                  <a:cubicBezTo>
                    <a:pt x="626" y="780"/>
                    <a:pt x="664" y="769"/>
                    <a:pt x="710" y="752"/>
                  </a:cubicBezTo>
                  <a:cubicBezTo>
                    <a:pt x="1077" y="621"/>
                    <a:pt x="1172" y="532"/>
                    <a:pt x="1172" y="320"/>
                  </a:cubicBezTo>
                  <a:cubicBezTo>
                    <a:pt x="1172" y="205"/>
                    <a:pt x="1126" y="101"/>
                    <a:pt x="1052" y="24"/>
                  </a:cubicBezTo>
                  <a:cubicBezTo>
                    <a:pt x="988" y="9"/>
                    <a:pt x="921" y="0"/>
                    <a:pt x="853" y="0"/>
                  </a:cubicBezTo>
                  <a:cubicBezTo>
                    <a:pt x="382" y="0"/>
                    <a:pt x="0" y="382"/>
                    <a:pt x="0" y="853"/>
                  </a:cubicBezTo>
                  <a:cubicBezTo>
                    <a:pt x="0" y="943"/>
                    <a:pt x="15" y="1030"/>
                    <a:pt x="41" y="1111"/>
                  </a:cubicBezTo>
                  <a:cubicBezTo>
                    <a:pt x="117" y="968"/>
                    <a:pt x="285" y="901"/>
                    <a:pt x="387" y="8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63E84154-4FC2-9417-B1C7-18DEA44AAB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4" y="1909"/>
              <a:ext cx="45" cy="94"/>
            </a:xfrm>
            <a:custGeom>
              <a:avLst/>
              <a:gdLst>
                <a:gd name="T0" fmla="*/ 0 w 426"/>
                <a:gd name="T1" fmla="*/ 487 h 891"/>
                <a:gd name="T2" fmla="*/ 399 w 426"/>
                <a:gd name="T3" fmla="*/ 891 h 891"/>
                <a:gd name="T4" fmla="*/ 426 w 426"/>
                <a:gd name="T5" fmla="*/ 679 h 891"/>
                <a:gd name="T6" fmla="*/ 89 w 426"/>
                <a:gd name="T7" fmla="*/ 0 h 891"/>
                <a:gd name="T8" fmla="*/ 106 w 426"/>
                <a:gd name="T9" fmla="*/ 146 h 891"/>
                <a:gd name="T10" fmla="*/ 0 w 426"/>
                <a:gd name="T11" fmla="*/ 487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6" h="891">
                  <a:moveTo>
                    <a:pt x="0" y="487"/>
                  </a:moveTo>
                  <a:cubicBezTo>
                    <a:pt x="11" y="703"/>
                    <a:pt x="184" y="877"/>
                    <a:pt x="399" y="891"/>
                  </a:cubicBezTo>
                  <a:cubicBezTo>
                    <a:pt x="416" y="823"/>
                    <a:pt x="426" y="752"/>
                    <a:pt x="426" y="679"/>
                  </a:cubicBezTo>
                  <a:cubicBezTo>
                    <a:pt x="426" y="402"/>
                    <a:pt x="294" y="156"/>
                    <a:pt x="89" y="0"/>
                  </a:cubicBezTo>
                  <a:cubicBezTo>
                    <a:pt x="100" y="47"/>
                    <a:pt x="106" y="96"/>
                    <a:pt x="106" y="146"/>
                  </a:cubicBezTo>
                  <a:cubicBezTo>
                    <a:pt x="106" y="292"/>
                    <a:pt x="67" y="401"/>
                    <a:pt x="0" y="4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E18E0AE3-8ECB-97EE-525E-CB8DF93F8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2" y="2003"/>
              <a:ext cx="281" cy="382"/>
            </a:xfrm>
            <a:custGeom>
              <a:avLst/>
              <a:gdLst>
                <a:gd name="T0" fmla="*/ 2663 w 2663"/>
                <a:gd name="T1" fmla="*/ 0 h 3621"/>
                <a:gd name="T2" fmla="*/ 2450 w 2663"/>
                <a:gd name="T3" fmla="*/ 0 h 3621"/>
                <a:gd name="T4" fmla="*/ 2237 w 2663"/>
                <a:gd name="T5" fmla="*/ 213 h 3621"/>
                <a:gd name="T6" fmla="*/ 2237 w 2663"/>
                <a:gd name="T7" fmla="*/ 213 h 3621"/>
                <a:gd name="T8" fmla="*/ 2450 w 2663"/>
                <a:gd name="T9" fmla="*/ 426 h 3621"/>
                <a:gd name="T10" fmla="*/ 2450 w 2663"/>
                <a:gd name="T11" fmla="*/ 426 h 3621"/>
                <a:gd name="T12" fmla="*/ 2450 w 2663"/>
                <a:gd name="T13" fmla="*/ 958 h 3621"/>
                <a:gd name="T14" fmla="*/ 1917 w 2663"/>
                <a:gd name="T15" fmla="*/ 1491 h 3621"/>
                <a:gd name="T16" fmla="*/ 1385 w 2663"/>
                <a:gd name="T17" fmla="*/ 958 h 3621"/>
                <a:gd name="T18" fmla="*/ 1385 w 2663"/>
                <a:gd name="T19" fmla="*/ 426 h 3621"/>
                <a:gd name="T20" fmla="*/ 1598 w 2663"/>
                <a:gd name="T21" fmla="*/ 213 h 3621"/>
                <a:gd name="T22" fmla="*/ 1385 w 2663"/>
                <a:gd name="T23" fmla="*/ 0 h 3621"/>
                <a:gd name="T24" fmla="*/ 1172 w 2663"/>
                <a:gd name="T25" fmla="*/ 0 h 3621"/>
                <a:gd name="T26" fmla="*/ 1172 w 2663"/>
                <a:gd name="T27" fmla="*/ 958 h 3621"/>
                <a:gd name="T28" fmla="*/ 1811 w 2663"/>
                <a:gd name="T29" fmla="*/ 1696 h 3621"/>
                <a:gd name="T30" fmla="*/ 1811 w 2663"/>
                <a:gd name="T31" fmla="*/ 2769 h 3621"/>
                <a:gd name="T32" fmla="*/ 1172 w 2663"/>
                <a:gd name="T33" fmla="*/ 3408 h 3621"/>
                <a:gd name="T34" fmla="*/ 533 w 2663"/>
                <a:gd name="T35" fmla="*/ 2769 h 3621"/>
                <a:gd name="T36" fmla="*/ 533 w 2663"/>
                <a:gd name="T37" fmla="*/ 2756 h 3621"/>
                <a:gd name="T38" fmla="*/ 852 w 2663"/>
                <a:gd name="T39" fmla="*/ 2343 h 3621"/>
                <a:gd name="T40" fmla="*/ 426 w 2663"/>
                <a:gd name="T41" fmla="*/ 1917 h 3621"/>
                <a:gd name="T42" fmla="*/ 0 w 2663"/>
                <a:gd name="T43" fmla="*/ 2343 h 3621"/>
                <a:gd name="T44" fmla="*/ 320 w 2663"/>
                <a:gd name="T45" fmla="*/ 2756 h 3621"/>
                <a:gd name="T46" fmla="*/ 320 w 2663"/>
                <a:gd name="T47" fmla="*/ 2769 h 3621"/>
                <a:gd name="T48" fmla="*/ 1172 w 2663"/>
                <a:gd name="T49" fmla="*/ 3621 h 3621"/>
                <a:gd name="T50" fmla="*/ 2024 w 2663"/>
                <a:gd name="T51" fmla="*/ 2769 h 3621"/>
                <a:gd name="T52" fmla="*/ 2024 w 2663"/>
                <a:gd name="T53" fmla="*/ 1696 h 3621"/>
                <a:gd name="T54" fmla="*/ 2663 w 2663"/>
                <a:gd name="T55" fmla="*/ 958 h 3621"/>
                <a:gd name="T56" fmla="*/ 2663 w 2663"/>
                <a:gd name="T57" fmla="*/ 0 h 3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63" h="3621">
                  <a:moveTo>
                    <a:pt x="2663" y="0"/>
                  </a:moveTo>
                  <a:cubicBezTo>
                    <a:pt x="2450" y="0"/>
                    <a:pt x="2450" y="0"/>
                    <a:pt x="2450" y="0"/>
                  </a:cubicBezTo>
                  <a:cubicBezTo>
                    <a:pt x="2332" y="0"/>
                    <a:pt x="2237" y="95"/>
                    <a:pt x="2237" y="213"/>
                  </a:cubicBezTo>
                  <a:cubicBezTo>
                    <a:pt x="2237" y="213"/>
                    <a:pt x="2237" y="213"/>
                    <a:pt x="2237" y="213"/>
                  </a:cubicBezTo>
                  <a:cubicBezTo>
                    <a:pt x="2237" y="330"/>
                    <a:pt x="2332" y="426"/>
                    <a:pt x="2450" y="426"/>
                  </a:cubicBezTo>
                  <a:cubicBezTo>
                    <a:pt x="2450" y="426"/>
                    <a:pt x="2450" y="426"/>
                    <a:pt x="2450" y="426"/>
                  </a:cubicBezTo>
                  <a:cubicBezTo>
                    <a:pt x="2450" y="958"/>
                    <a:pt x="2450" y="958"/>
                    <a:pt x="2450" y="958"/>
                  </a:cubicBezTo>
                  <a:cubicBezTo>
                    <a:pt x="2450" y="1252"/>
                    <a:pt x="2211" y="1491"/>
                    <a:pt x="1917" y="1491"/>
                  </a:cubicBezTo>
                  <a:cubicBezTo>
                    <a:pt x="1624" y="1491"/>
                    <a:pt x="1385" y="1252"/>
                    <a:pt x="1385" y="958"/>
                  </a:cubicBezTo>
                  <a:cubicBezTo>
                    <a:pt x="1385" y="426"/>
                    <a:pt x="1385" y="426"/>
                    <a:pt x="1385" y="426"/>
                  </a:cubicBezTo>
                  <a:cubicBezTo>
                    <a:pt x="1503" y="426"/>
                    <a:pt x="1598" y="330"/>
                    <a:pt x="1598" y="213"/>
                  </a:cubicBezTo>
                  <a:cubicBezTo>
                    <a:pt x="1598" y="95"/>
                    <a:pt x="1502" y="0"/>
                    <a:pt x="1385" y="0"/>
                  </a:cubicBezTo>
                  <a:cubicBezTo>
                    <a:pt x="1172" y="0"/>
                    <a:pt x="1172" y="0"/>
                    <a:pt x="1172" y="0"/>
                  </a:cubicBezTo>
                  <a:cubicBezTo>
                    <a:pt x="1172" y="958"/>
                    <a:pt x="1172" y="958"/>
                    <a:pt x="1172" y="958"/>
                  </a:cubicBezTo>
                  <a:cubicBezTo>
                    <a:pt x="1172" y="1333"/>
                    <a:pt x="1450" y="1644"/>
                    <a:pt x="1811" y="1696"/>
                  </a:cubicBezTo>
                  <a:cubicBezTo>
                    <a:pt x="1811" y="2769"/>
                    <a:pt x="1811" y="2769"/>
                    <a:pt x="1811" y="2769"/>
                  </a:cubicBezTo>
                  <a:cubicBezTo>
                    <a:pt x="1811" y="3121"/>
                    <a:pt x="1524" y="3408"/>
                    <a:pt x="1172" y="3408"/>
                  </a:cubicBezTo>
                  <a:cubicBezTo>
                    <a:pt x="819" y="3408"/>
                    <a:pt x="533" y="3121"/>
                    <a:pt x="533" y="2769"/>
                  </a:cubicBezTo>
                  <a:cubicBezTo>
                    <a:pt x="533" y="2756"/>
                    <a:pt x="533" y="2756"/>
                    <a:pt x="533" y="2756"/>
                  </a:cubicBezTo>
                  <a:cubicBezTo>
                    <a:pt x="716" y="2708"/>
                    <a:pt x="852" y="2541"/>
                    <a:pt x="852" y="2343"/>
                  </a:cubicBezTo>
                  <a:cubicBezTo>
                    <a:pt x="852" y="2108"/>
                    <a:pt x="661" y="1917"/>
                    <a:pt x="426" y="1917"/>
                  </a:cubicBezTo>
                  <a:cubicBezTo>
                    <a:pt x="191" y="1917"/>
                    <a:pt x="0" y="2108"/>
                    <a:pt x="0" y="2343"/>
                  </a:cubicBezTo>
                  <a:cubicBezTo>
                    <a:pt x="0" y="2542"/>
                    <a:pt x="136" y="2708"/>
                    <a:pt x="320" y="2756"/>
                  </a:cubicBezTo>
                  <a:cubicBezTo>
                    <a:pt x="320" y="2769"/>
                    <a:pt x="320" y="2769"/>
                    <a:pt x="320" y="2769"/>
                  </a:cubicBezTo>
                  <a:cubicBezTo>
                    <a:pt x="320" y="3239"/>
                    <a:pt x="702" y="3621"/>
                    <a:pt x="1172" y="3621"/>
                  </a:cubicBezTo>
                  <a:cubicBezTo>
                    <a:pt x="1642" y="3621"/>
                    <a:pt x="2024" y="3239"/>
                    <a:pt x="2024" y="2769"/>
                  </a:cubicBezTo>
                  <a:cubicBezTo>
                    <a:pt x="2024" y="1696"/>
                    <a:pt x="2024" y="1696"/>
                    <a:pt x="2024" y="1696"/>
                  </a:cubicBezTo>
                  <a:cubicBezTo>
                    <a:pt x="2385" y="1644"/>
                    <a:pt x="2663" y="1333"/>
                    <a:pt x="2663" y="958"/>
                  </a:cubicBezTo>
                  <a:lnTo>
                    <a:pt x="2663" y="0"/>
                  </a:lnTo>
                  <a:close/>
                </a:path>
              </a:pathLst>
            </a:custGeom>
            <a:solidFill>
              <a:srgbClr val="F9B5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5E87EA04-8D1C-80CA-C63D-A2F478304610}"/>
              </a:ext>
            </a:extLst>
          </p:cNvPr>
          <p:cNvGrpSpPr>
            <a:grpSpLocks noChangeAspect="1"/>
          </p:cNvGrpSpPr>
          <p:nvPr/>
        </p:nvGrpSpPr>
        <p:grpSpPr>
          <a:xfrm>
            <a:off x="6197209" y="4294870"/>
            <a:ext cx="610269" cy="423051"/>
            <a:chOff x="8510257" y="4209861"/>
            <a:chExt cx="540000" cy="407406"/>
          </a:xfrm>
        </p:grpSpPr>
        <p:sp>
          <p:nvSpPr>
            <p:cNvPr id="35" name="Rechteck: obere Ecken abgerundet 34">
              <a:extLst>
                <a:ext uri="{FF2B5EF4-FFF2-40B4-BE49-F238E27FC236}">
                  <a16:creationId xmlns:a16="http://schemas.microsoft.com/office/drawing/2014/main" id="{3762EE19-4749-7397-45EF-0CB796EB8592}"/>
                </a:ext>
              </a:extLst>
            </p:cNvPr>
            <p:cNvSpPr/>
            <p:nvPr/>
          </p:nvSpPr>
          <p:spPr>
            <a:xfrm>
              <a:off x="8510257" y="4209861"/>
              <a:ext cx="540000" cy="407406"/>
            </a:xfrm>
            <a:prstGeom prst="round2Same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5D989B5A-FAFD-66F0-8653-202A20BF02C8}"/>
                </a:ext>
              </a:extLst>
            </p:cNvPr>
            <p:cNvSpPr/>
            <p:nvPr/>
          </p:nvSpPr>
          <p:spPr>
            <a:xfrm>
              <a:off x="8590077" y="4308421"/>
              <a:ext cx="84169" cy="841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BF2D05FB-FDFD-EC5B-5CB8-E165A779358B}"/>
                </a:ext>
              </a:extLst>
            </p:cNvPr>
            <p:cNvSpPr/>
            <p:nvPr/>
          </p:nvSpPr>
          <p:spPr>
            <a:xfrm>
              <a:off x="8742869" y="4308421"/>
              <a:ext cx="84169" cy="841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7A7748EF-AA0B-7B3A-7EE4-867B0A0CAC21}"/>
                </a:ext>
              </a:extLst>
            </p:cNvPr>
            <p:cNvSpPr/>
            <p:nvPr/>
          </p:nvSpPr>
          <p:spPr>
            <a:xfrm>
              <a:off x="8895659" y="4308421"/>
              <a:ext cx="84169" cy="841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4E4EB070-4076-CFF3-7CF9-1E9A303E8E13}"/>
                </a:ext>
              </a:extLst>
            </p:cNvPr>
            <p:cNvSpPr/>
            <p:nvPr/>
          </p:nvSpPr>
          <p:spPr>
            <a:xfrm>
              <a:off x="8590077" y="4460822"/>
              <a:ext cx="84169" cy="841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4C02560C-B2A7-B880-CC50-FD08F770B39B}"/>
                </a:ext>
              </a:extLst>
            </p:cNvPr>
            <p:cNvSpPr/>
            <p:nvPr/>
          </p:nvSpPr>
          <p:spPr>
            <a:xfrm>
              <a:off x="8742869" y="4460822"/>
              <a:ext cx="84169" cy="841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433F97ED-5210-00BE-39AC-73AFA7689505}"/>
                </a:ext>
              </a:extLst>
            </p:cNvPr>
            <p:cNvSpPr/>
            <p:nvPr/>
          </p:nvSpPr>
          <p:spPr>
            <a:xfrm>
              <a:off x="8895659" y="4460822"/>
              <a:ext cx="84169" cy="841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7C826788-1B8C-3C67-3BBF-C2BA511CB75D}"/>
              </a:ext>
            </a:extLst>
          </p:cNvPr>
          <p:cNvCxnSpPr>
            <a:cxnSpLocks/>
          </p:cNvCxnSpPr>
          <p:nvPr/>
        </p:nvCxnSpPr>
        <p:spPr>
          <a:xfrm>
            <a:off x="3786253" y="4936331"/>
            <a:ext cx="1827966" cy="0"/>
          </a:xfrm>
          <a:prstGeom prst="line">
            <a:avLst/>
          </a:prstGeom>
          <a:ln w="25400" cap="flat">
            <a:solidFill>
              <a:schemeClr val="accent3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6F92239E-9284-9354-0C1F-4E1C2ED05EC3}"/>
              </a:ext>
            </a:extLst>
          </p:cNvPr>
          <p:cNvGrpSpPr/>
          <p:nvPr/>
        </p:nvGrpSpPr>
        <p:grpSpPr>
          <a:xfrm>
            <a:off x="3786256" y="2710140"/>
            <a:ext cx="1827963" cy="1924047"/>
            <a:chOff x="3786256" y="2889253"/>
            <a:chExt cx="1827963" cy="1924047"/>
          </a:xfrm>
        </p:grpSpPr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D5FBBEF6-DCA2-64EF-B43F-8092A5F97EF2}"/>
                </a:ext>
              </a:extLst>
            </p:cNvPr>
            <p:cNvSpPr/>
            <p:nvPr/>
          </p:nvSpPr>
          <p:spPr>
            <a:xfrm>
              <a:off x="4294188" y="2889253"/>
              <a:ext cx="1320031" cy="1924047"/>
            </a:xfrm>
            <a:custGeom>
              <a:avLst/>
              <a:gdLst>
                <a:gd name="connsiteX0" fmla="*/ 993058 w 993058"/>
                <a:gd name="connsiteY0" fmla="*/ 737420 h 737420"/>
                <a:gd name="connsiteX1" fmla="*/ 0 w 993058"/>
                <a:gd name="connsiteY1" fmla="*/ 737420 h 737420"/>
                <a:gd name="connsiteX2" fmla="*/ 0 w 993058"/>
                <a:gd name="connsiteY2" fmla="*/ 0 h 737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3058" h="737420">
                  <a:moveTo>
                    <a:pt x="993058" y="737420"/>
                  </a:moveTo>
                  <a:lnTo>
                    <a:pt x="0" y="737420"/>
                  </a:lnTo>
                  <a:lnTo>
                    <a:pt x="0" y="0"/>
                  </a:lnTo>
                </a:path>
              </a:pathLst>
            </a:custGeom>
            <a:ln w="25400" cap="flat">
              <a:solidFill>
                <a:schemeClr val="accent3"/>
              </a:solidFill>
              <a:prstDash val="solid"/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43D34E8E-D4BB-A028-38DA-D54053BC2647}"/>
                </a:ext>
              </a:extLst>
            </p:cNvPr>
            <p:cNvSpPr/>
            <p:nvPr/>
          </p:nvSpPr>
          <p:spPr>
            <a:xfrm rot="16200000" flipH="1">
              <a:off x="3413401" y="3262109"/>
              <a:ext cx="1253642" cy="507932"/>
            </a:xfrm>
            <a:custGeom>
              <a:avLst/>
              <a:gdLst>
                <a:gd name="connsiteX0" fmla="*/ 993058 w 993058"/>
                <a:gd name="connsiteY0" fmla="*/ 737420 h 737420"/>
                <a:gd name="connsiteX1" fmla="*/ 0 w 993058"/>
                <a:gd name="connsiteY1" fmla="*/ 737420 h 737420"/>
                <a:gd name="connsiteX2" fmla="*/ 0 w 993058"/>
                <a:gd name="connsiteY2" fmla="*/ 0 h 737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3058" h="737420">
                  <a:moveTo>
                    <a:pt x="993058" y="737420"/>
                  </a:moveTo>
                  <a:lnTo>
                    <a:pt x="0" y="737420"/>
                  </a:lnTo>
                  <a:lnTo>
                    <a:pt x="0" y="0"/>
                  </a:lnTo>
                </a:path>
              </a:pathLst>
            </a:custGeom>
            <a:ln w="25400" cap="flat">
              <a:solidFill>
                <a:schemeClr val="accent3"/>
              </a:solidFill>
              <a:prstDash val="solid"/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239798B8-C8A2-BB4C-3C7C-1EA5192D98C9}"/>
              </a:ext>
            </a:extLst>
          </p:cNvPr>
          <p:cNvCxnSpPr>
            <a:cxnSpLocks/>
          </p:cNvCxnSpPr>
          <p:nvPr/>
        </p:nvCxnSpPr>
        <p:spPr>
          <a:xfrm>
            <a:off x="6266167" y="3641181"/>
            <a:ext cx="0" cy="547665"/>
          </a:xfrm>
          <a:prstGeom prst="line">
            <a:avLst/>
          </a:prstGeom>
          <a:ln w="25400" cap="flat">
            <a:solidFill>
              <a:schemeClr val="accent5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Freeform 143">
            <a:extLst>
              <a:ext uri="{FF2B5EF4-FFF2-40B4-BE49-F238E27FC236}">
                <a16:creationId xmlns:a16="http://schemas.microsoft.com/office/drawing/2014/main" id="{54788523-5436-7E48-4AE3-0B0C61D9F0EA}"/>
              </a:ext>
            </a:extLst>
          </p:cNvPr>
          <p:cNvSpPr>
            <a:spLocks noEditPoints="1"/>
          </p:cNvSpPr>
          <p:nvPr/>
        </p:nvSpPr>
        <p:spPr bwMode="auto">
          <a:xfrm>
            <a:off x="6101430" y="2439876"/>
            <a:ext cx="329475" cy="336322"/>
          </a:xfrm>
          <a:custGeom>
            <a:avLst/>
            <a:gdLst>
              <a:gd name="T0" fmla="*/ 84 w 104"/>
              <a:gd name="T1" fmla="*/ 44 h 108"/>
              <a:gd name="T2" fmla="*/ 76 w 104"/>
              <a:gd name="T3" fmla="*/ 0 h 108"/>
              <a:gd name="T4" fmla="*/ 24 w 104"/>
              <a:gd name="T5" fmla="*/ 8 h 108"/>
              <a:gd name="T6" fmla="*/ 8 w 104"/>
              <a:gd name="T7" fmla="*/ 24 h 108"/>
              <a:gd name="T8" fmla="*/ 0 w 104"/>
              <a:gd name="T9" fmla="*/ 108 h 108"/>
              <a:gd name="T10" fmla="*/ 104 w 104"/>
              <a:gd name="T11" fmla="*/ 52 h 108"/>
              <a:gd name="T12" fmla="*/ 28 w 104"/>
              <a:gd name="T13" fmla="*/ 96 h 108"/>
              <a:gd name="T14" fmla="*/ 16 w 104"/>
              <a:gd name="T15" fmla="*/ 84 h 108"/>
              <a:gd name="T16" fmla="*/ 28 w 104"/>
              <a:gd name="T17" fmla="*/ 96 h 108"/>
              <a:gd name="T18" fmla="*/ 16 w 104"/>
              <a:gd name="T19" fmla="*/ 76 h 108"/>
              <a:gd name="T20" fmla="*/ 28 w 104"/>
              <a:gd name="T21" fmla="*/ 64 h 108"/>
              <a:gd name="T22" fmla="*/ 28 w 104"/>
              <a:gd name="T23" fmla="*/ 56 h 108"/>
              <a:gd name="T24" fmla="*/ 16 w 104"/>
              <a:gd name="T25" fmla="*/ 44 h 108"/>
              <a:gd name="T26" fmla="*/ 28 w 104"/>
              <a:gd name="T27" fmla="*/ 56 h 108"/>
              <a:gd name="T28" fmla="*/ 36 w 104"/>
              <a:gd name="T29" fmla="*/ 96 h 108"/>
              <a:gd name="T30" fmla="*/ 48 w 104"/>
              <a:gd name="T31" fmla="*/ 84 h 108"/>
              <a:gd name="T32" fmla="*/ 48 w 104"/>
              <a:gd name="T33" fmla="*/ 76 h 108"/>
              <a:gd name="T34" fmla="*/ 36 w 104"/>
              <a:gd name="T35" fmla="*/ 64 h 108"/>
              <a:gd name="T36" fmla="*/ 48 w 104"/>
              <a:gd name="T37" fmla="*/ 76 h 108"/>
              <a:gd name="T38" fmla="*/ 56 w 104"/>
              <a:gd name="T39" fmla="*/ 96 h 108"/>
              <a:gd name="T40" fmla="*/ 68 w 104"/>
              <a:gd name="T41" fmla="*/ 84 h 108"/>
              <a:gd name="T42" fmla="*/ 68 w 104"/>
              <a:gd name="T43" fmla="*/ 76 h 108"/>
              <a:gd name="T44" fmla="*/ 56 w 104"/>
              <a:gd name="T45" fmla="*/ 64 h 108"/>
              <a:gd name="T46" fmla="*/ 68 w 104"/>
              <a:gd name="T47" fmla="*/ 76 h 108"/>
              <a:gd name="T48" fmla="*/ 60 w 104"/>
              <a:gd name="T49" fmla="*/ 44 h 108"/>
              <a:gd name="T50" fmla="*/ 48 w 104"/>
              <a:gd name="T51" fmla="*/ 32 h 108"/>
              <a:gd name="T52" fmla="*/ 40 w 104"/>
              <a:gd name="T53" fmla="*/ 44 h 108"/>
              <a:gd name="T54" fmla="*/ 48 w 104"/>
              <a:gd name="T55" fmla="*/ 12 h 108"/>
              <a:gd name="T56" fmla="*/ 60 w 104"/>
              <a:gd name="T57" fmla="*/ 24 h 108"/>
              <a:gd name="T58" fmla="*/ 68 w 104"/>
              <a:gd name="T59" fmla="*/ 12 h 108"/>
              <a:gd name="T60" fmla="*/ 88 w 104"/>
              <a:gd name="T61" fmla="*/ 96 h 108"/>
              <a:gd name="T62" fmla="*/ 76 w 104"/>
              <a:gd name="T63" fmla="*/ 84 h 108"/>
              <a:gd name="T64" fmla="*/ 88 w 104"/>
              <a:gd name="T65" fmla="*/ 96 h 108"/>
              <a:gd name="T66" fmla="*/ 76 w 104"/>
              <a:gd name="T67" fmla="*/ 76 h 108"/>
              <a:gd name="T68" fmla="*/ 88 w 104"/>
              <a:gd name="T69" fmla="*/ 64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04" h="108">
                <a:moveTo>
                  <a:pt x="96" y="44"/>
                </a:moveTo>
                <a:cubicBezTo>
                  <a:pt x="84" y="44"/>
                  <a:pt x="84" y="44"/>
                  <a:pt x="84" y="44"/>
                </a:cubicBezTo>
                <a:cubicBezTo>
                  <a:pt x="84" y="8"/>
                  <a:pt x="84" y="8"/>
                  <a:pt x="84" y="8"/>
                </a:cubicBezTo>
                <a:cubicBezTo>
                  <a:pt x="84" y="4"/>
                  <a:pt x="80" y="0"/>
                  <a:pt x="76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28" y="0"/>
                  <a:pt x="24" y="4"/>
                  <a:pt x="24" y="8"/>
                </a:cubicBezTo>
                <a:cubicBezTo>
                  <a:pt x="24" y="24"/>
                  <a:pt x="24" y="24"/>
                  <a:pt x="24" y="24"/>
                </a:cubicBezTo>
                <a:cubicBezTo>
                  <a:pt x="8" y="24"/>
                  <a:pt x="8" y="24"/>
                  <a:pt x="8" y="24"/>
                </a:cubicBezTo>
                <a:cubicBezTo>
                  <a:pt x="4" y="24"/>
                  <a:pt x="0" y="28"/>
                  <a:pt x="0" y="32"/>
                </a:cubicBezTo>
                <a:cubicBezTo>
                  <a:pt x="0" y="108"/>
                  <a:pt x="0" y="108"/>
                  <a:pt x="0" y="108"/>
                </a:cubicBezTo>
                <a:cubicBezTo>
                  <a:pt x="104" y="108"/>
                  <a:pt x="104" y="108"/>
                  <a:pt x="104" y="108"/>
                </a:cubicBezTo>
                <a:cubicBezTo>
                  <a:pt x="104" y="52"/>
                  <a:pt x="104" y="52"/>
                  <a:pt x="104" y="52"/>
                </a:cubicBezTo>
                <a:cubicBezTo>
                  <a:pt x="104" y="48"/>
                  <a:pt x="100" y="44"/>
                  <a:pt x="96" y="44"/>
                </a:cubicBezTo>
                <a:close/>
                <a:moveTo>
                  <a:pt x="28" y="96"/>
                </a:moveTo>
                <a:cubicBezTo>
                  <a:pt x="16" y="96"/>
                  <a:pt x="16" y="96"/>
                  <a:pt x="16" y="96"/>
                </a:cubicBezTo>
                <a:cubicBezTo>
                  <a:pt x="16" y="84"/>
                  <a:pt x="16" y="84"/>
                  <a:pt x="16" y="84"/>
                </a:cubicBezTo>
                <a:cubicBezTo>
                  <a:pt x="28" y="84"/>
                  <a:pt x="28" y="84"/>
                  <a:pt x="28" y="84"/>
                </a:cubicBezTo>
                <a:lnTo>
                  <a:pt x="28" y="96"/>
                </a:lnTo>
                <a:close/>
                <a:moveTo>
                  <a:pt x="28" y="76"/>
                </a:moveTo>
                <a:cubicBezTo>
                  <a:pt x="16" y="76"/>
                  <a:pt x="16" y="76"/>
                  <a:pt x="16" y="76"/>
                </a:cubicBezTo>
                <a:cubicBezTo>
                  <a:pt x="16" y="64"/>
                  <a:pt x="16" y="64"/>
                  <a:pt x="16" y="64"/>
                </a:cubicBezTo>
                <a:cubicBezTo>
                  <a:pt x="28" y="64"/>
                  <a:pt x="28" y="64"/>
                  <a:pt x="28" y="64"/>
                </a:cubicBezTo>
                <a:lnTo>
                  <a:pt x="28" y="76"/>
                </a:lnTo>
                <a:close/>
                <a:moveTo>
                  <a:pt x="28" y="56"/>
                </a:moveTo>
                <a:cubicBezTo>
                  <a:pt x="16" y="56"/>
                  <a:pt x="16" y="56"/>
                  <a:pt x="16" y="56"/>
                </a:cubicBezTo>
                <a:cubicBezTo>
                  <a:pt x="16" y="44"/>
                  <a:pt x="16" y="44"/>
                  <a:pt x="16" y="44"/>
                </a:cubicBezTo>
                <a:cubicBezTo>
                  <a:pt x="28" y="44"/>
                  <a:pt x="28" y="44"/>
                  <a:pt x="28" y="44"/>
                </a:cubicBezTo>
                <a:lnTo>
                  <a:pt x="28" y="56"/>
                </a:lnTo>
                <a:close/>
                <a:moveTo>
                  <a:pt x="48" y="96"/>
                </a:moveTo>
                <a:cubicBezTo>
                  <a:pt x="36" y="96"/>
                  <a:pt x="36" y="96"/>
                  <a:pt x="36" y="96"/>
                </a:cubicBezTo>
                <a:cubicBezTo>
                  <a:pt x="36" y="84"/>
                  <a:pt x="36" y="84"/>
                  <a:pt x="36" y="84"/>
                </a:cubicBezTo>
                <a:cubicBezTo>
                  <a:pt x="48" y="84"/>
                  <a:pt x="48" y="84"/>
                  <a:pt x="48" y="84"/>
                </a:cubicBezTo>
                <a:lnTo>
                  <a:pt x="48" y="96"/>
                </a:lnTo>
                <a:close/>
                <a:moveTo>
                  <a:pt x="48" y="76"/>
                </a:moveTo>
                <a:cubicBezTo>
                  <a:pt x="36" y="76"/>
                  <a:pt x="36" y="76"/>
                  <a:pt x="36" y="76"/>
                </a:cubicBezTo>
                <a:cubicBezTo>
                  <a:pt x="36" y="64"/>
                  <a:pt x="36" y="64"/>
                  <a:pt x="36" y="64"/>
                </a:cubicBezTo>
                <a:cubicBezTo>
                  <a:pt x="48" y="64"/>
                  <a:pt x="48" y="64"/>
                  <a:pt x="48" y="64"/>
                </a:cubicBezTo>
                <a:lnTo>
                  <a:pt x="48" y="76"/>
                </a:lnTo>
                <a:close/>
                <a:moveTo>
                  <a:pt x="68" y="96"/>
                </a:moveTo>
                <a:cubicBezTo>
                  <a:pt x="56" y="96"/>
                  <a:pt x="56" y="96"/>
                  <a:pt x="56" y="96"/>
                </a:cubicBezTo>
                <a:cubicBezTo>
                  <a:pt x="56" y="84"/>
                  <a:pt x="56" y="84"/>
                  <a:pt x="56" y="84"/>
                </a:cubicBezTo>
                <a:cubicBezTo>
                  <a:pt x="68" y="84"/>
                  <a:pt x="68" y="84"/>
                  <a:pt x="68" y="84"/>
                </a:cubicBezTo>
                <a:lnTo>
                  <a:pt x="68" y="96"/>
                </a:lnTo>
                <a:close/>
                <a:moveTo>
                  <a:pt x="68" y="76"/>
                </a:moveTo>
                <a:cubicBezTo>
                  <a:pt x="56" y="76"/>
                  <a:pt x="56" y="76"/>
                  <a:pt x="56" y="76"/>
                </a:cubicBezTo>
                <a:cubicBezTo>
                  <a:pt x="56" y="64"/>
                  <a:pt x="56" y="64"/>
                  <a:pt x="56" y="64"/>
                </a:cubicBezTo>
                <a:cubicBezTo>
                  <a:pt x="68" y="64"/>
                  <a:pt x="68" y="64"/>
                  <a:pt x="68" y="64"/>
                </a:cubicBezTo>
                <a:lnTo>
                  <a:pt x="68" y="76"/>
                </a:lnTo>
                <a:close/>
                <a:moveTo>
                  <a:pt x="68" y="44"/>
                </a:moveTo>
                <a:cubicBezTo>
                  <a:pt x="60" y="44"/>
                  <a:pt x="60" y="44"/>
                  <a:pt x="60" y="44"/>
                </a:cubicBezTo>
                <a:cubicBezTo>
                  <a:pt x="60" y="32"/>
                  <a:pt x="60" y="32"/>
                  <a:pt x="60" y="32"/>
                </a:cubicBezTo>
                <a:cubicBezTo>
                  <a:pt x="48" y="32"/>
                  <a:pt x="48" y="32"/>
                  <a:pt x="48" y="32"/>
                </a:cubicBezTo>
                <a:cubicBezTo>
                  <a:pt x="48" y="44"/>
                  <a:pt x="48" y="44"/>
                  <a:pt x="48" y="44"/>
                </a:cubicBezTo>
                <a:cubicBezTo>
                  <a:pt x="40" y="44"/>
                  <a:pt x="40" y="44"/>
                  <a:pt x="40" y="44"/>
                </a:cubicBezTo>
                <a:cubicBezTo>
                  <a:pt x="40" y="12"/>
                  <a:pt x="40" y="12"/>
                  <a:pt x="40" y="12"/>
                </a:cubicBezTo>
                <a:cubicBezTo>
                  <a:pt x="48" y="12"/>
                  <a:pt x="48" y="12"/>
                  <a:pt x="48" y="12"/>
                </a:cubicBezTo>
                <a:cubicBezTo>
                  <a:pt x="48" y="24"/>
                  <a:pt x="48" y="24"/>
                  <a:pt x="48" y="24"/>
                </a:cubicBezTo>
                <a:cubicBezTo>
                  <a:pt x="60" y="24"/>
                  <a:pt x="60" y="24"/>
                  <a:pt x="60" y="24"/>
                </a:cubicBezTo>
                <a:cubicBezTo>
                  <a:pt x="60" y="12"/>
                  <a:pt x="60" y="12"/>
                  <a:pt x="60" y="12"/>
                </a:cubicBezTo>
                <a:cubicBezTo>
                  <a:pt x="68" y="12"/>
                  <a:pt x="68" y="12"/>
                  <a:pt x="68" y="12"/>
                </a:cubicBezTo>
                <a:lnTo>
                  <a:pt x="68" y="44"/>
                </a:lnTo>
                <a:close/>
                <a:moveTo>
                  <a:pt x="88" y="96"/>
                </a:moveTo>
                <a:cubicBezTo>
                  <a:pt x="76" y="96"/>
                  <a:pt x="76" y="96"/>
                  <a:pt x="76" y="96"/>
                </a:cubicBezTo>
                <a:cubicBezTo>
                  <a:pt x="76" y="84"/>
                  <a:pt x="76" y="84"/>
                  <a:pt x="76" y="84"/>
                </a:cubicBezTo>
                <a:cubicBezTo>
                  <a:pt x="88" y="84"/>
                  <a:pt x="88" y="84"/>
                  <a:pt x="88" y="84"/>
                </a:cubicBezTo>
                <a:lnTo>
                  <a:pt x="88" y="96"/>
                </a:lnTo>
                <a:close/>
                <a:moveTo>
                  <a:pt x="88" y="76"/>
                </a:moveTo>
                <a:cubicBezTo>
                  <a:pt x="76" y="76"/>
                  <a:pt x="76" y="76"/>
                  <a:pt x="76" y="76"/>
                </a:cubicBezTo>
                <a:cubicBezTo>
                  <a:pt x="76" y="64"/>
                  <a:pt x="76" y="64"/>
                  <a:pt x="76" y="64"/>
                </a:cubicBezTo>
                <a:cubicBezTo>
                  <a:pt x="88" y="64"/>
                  <a:pt x="88" y="64"/>
                  <a:pt x="88" y="64"/>
                </a:cubicBezTo>
                <a:lnTo>
                  <a:pt x="88" y="7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4" name="Group 4">
            <a:extLst>
              <a:ext uri="{FF2B5EF4-FFF2-40B4-BE49-F238E27FC236}">
                <a16:creationId xmlns:a16="http://schemas.microsoft.com/office/drawing/2014/main" id="{F8AE1253-BC08-8129-AC0C-C1EEB19843F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372100" y="2404227"/>
            <a:ext cx="332018" cy="371971"/>
            <a:chOff x="3591" y="1890"/>
            <a:chExt cx="482" cy="540"/>
          </a:xfrm>
          <a:solidFill>
            <a:schemeClr val="bg2"/>
          </a:solidFill>
        </p:grpSpPr>
        <p:sp>
          <p:nvSpPr>
            <p:cNvPr id="55" name="Freeform 5">
              <a:extLst>
                <a:ext uri="{FF2B5EF4-FFF2-40B4-BE49-F238E27FC236}">
                  <a16:creationId xmlns:a16="http://schemas.microsoft.com/office/drawing/2014/main" id="{3583CD3B-01A9-C1E8-277B-90D19E915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1" y="2138"/>
              <a:ext cx="335" cy="292"/>
            </a:xfrm>
            <a:custGeom>
              <a:avLst/>
              <a:gdLst>
                <a:gd name="T0" fmla="*/ 3156 w 3173"/>
                <a:gd name="T1" fmla="*/ 752 h 2769"/>
                <a:gd name="T2" fmla="*/ 2877 w 3173"/>
                <a:gd name="T3" fmla="*/ 314 h 2769"/>
                <a:gd name="T4" fmla="*/ 2013 w 3173"/>
                <a:gd name="T5" fmla="*/ 0 h 2769"/>
                <a:gd name="T6" fmla="*/ 1587 w 3173"/>
                <a:gd name="T7" fmla="*/ 426 h 2769"/>
                <a:gd name="T8" fmla="*/ 1161 w 3173"/>
                <a:gd name="T9" fmla="*/ 0 h 2769"/>
                <a:gd name="T10" fmla="*/ 296 w 3173"/>
                <a:gd name="T11" fmla="*/ 314 h 2769"/>
                <a:gd name="T12" fmla="*/ 17 w 3173"/>
                <a:gd name="T13" fmla="*/ 752 h 2769"/>
                <a:gd name="T14" fmla="*/ 194 w 3173"/>
                <a:gd name="T15" fmla="*/ 2769 h 2769"/>
                <a:gd name="T16" fmla="*/ 2979 w 3173"/>
                <a:gd name="T17" fmla="*/ 2769 h 2769"/>
                <a:gd name="T18" fmla="*/ 3156 w 3173"/>
                <a:gd name="T19" fmla="*/ 752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73" h="2769">
                  <a:moveTo>
                    <a:pt x="3156" y="752"/>
                  </a:moveTo>
                  <a:cubicBezTo>
                    <a:pt x="3173" y="560"/>
                    <a:pt x="3058" y="380"/>
                    <a:pt x="2877" y="314"/>
                  </a:cubicBezTo>
                  <a:cubicBezTo>
                    <a:pt x="2013" y="0"/>
                    <a:pt x="2013" y="0"/>
                    <a:pt x="2013" y="0"/>
                  </a:cubicBezTo>
                  <a:cubicBezTo>
                    <a:pt x="1587" y="426"/>
                    <a:pt x="1587" y="426"/>
                    <a:pt x="1587" y="426"/>
                  </a:cubicBezTo>
                  <a:cubicBezTo>
                    <a:pt x="1161" y="0"/>
                    <a:pt x="1161" y="0"/>
                    <a:pt x="1161" y="0"/>
                  </a:cubicBezTo>
                  <a:cubicBezTo>
                    <a:pt x="296" y="314"/>
                    <a:pt x="296" y="314"/>
                    <a:pt x="296" y="314"/>
                  </a:cubicBezTo>
                  <a:cubicBezTo>
                    <a:pt x="115" y="380"/>
                    <a:pt x="0" y="560"/>
                    <a:pt x="17" y="752"/>
                  </a:cubicBezTo>
                  <a:cubicBezTo>
                    <a:pt x="194" y="2769"/>
                    <a:pt x="194" y="2769"/>
                    <a:pt x="194" y="2769"/>
                  </a:cubicBezTo>
                  <a:cubicBezTo>
                    <a:pt x="2979" y="2769"/>
                    <a:pt x="2979" y="2769"/>
                    <a:pt x="2979" y="2769"/>
                  </a:cubicBezTo>
                  <a:lnTo>
                    <a:pt x="3156" y="752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0676DEF1-B08D-7231-A256-ADB3188E91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1" y="1977"/>
              <a:ext cx="135" cy="138"/>
            </a:xfrm>
            <a:custGeom>
              <a:avLst/>
              <a:gdLst>
                <a:gd name="T0" fmla="*/ 877 w 1278"/>
                <a:gd name="T1" fmla="*/ 0 h 1313"/>
                <a:gd name="T2" fmla="*/ 568 w 1278"/>
                <a:gd name="T3" fmla="*/ 135 h 1313"/>
                <a:gd name="T4" fmla="*/ 433 w 1278"/>
                <a:gd name="T5" fmla="*/ 178 h 1313"/>
                <a:gd name="T6" fmla="*/ 252 w 1278"/>
                <a:gd name="T7" fmla="*/ 240 h 1313"/>
                <a:gd name="T8" fmla="*/ 0 w 1278"/>
                <a:gd name="T9" fmla="*/ 461 h 1313"/>
                <a:gd name="T10" fmla="*/ 0 w 1278"/>
                <a:gd name="T11" fmla="*/ 461 h 1313"/>
                <a:gd name="T12" fmla="*/ 639 w 1278"/>
                <a:gd name="T13" fmla="*/ 1313 h 1313"/>
                <a:gd name="T14" fmla="*/ 1278 w 1278"/>
                <a:gd name="T15" fmla="*/ 461 h 1313"/>
                <a:gd name="T16" fmla="*/ 1275 w 1278"/>
                <a:gd name="T17" fmla="*/ 423 h 1313"/>
                <a:gd name="T18" fmla="*/ 877 w 1278"/>
                <a:gd name="T19" fmla="*/ 0 h 1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8" h="1313">
                  <a:moveTo>
                    <a:pt x="877" y="0"/>
                  </a:moveTo>
                  <a:cubicBezTo>
                    <a:pt x="787" y="53"/>
                    <a:pt x="681" y="94"/>
                    <a:pt x="568" y="135"/>
                  </a:cubicBezTo>
                  <a:cubicBezTo>
                    <a:pt x="516" y="153"/>
                    <a:pt x="474" y="166"/>
                    <a:pt x="433" y="178"/>
                  </a:cubicBezTo>
                  <a:cubicBezTo>
                    <a:pt x="378" y="195"/>
                    <a:pt x="325" y="211"/>
                    <a:pt x="252" y="240"/>
                  </a:cubicBezTo>
                  <a:cubicBezTo>
                    <a:pt x="63" y="315"/>
                    <a:pt x="0" y="371"/>
                    <a:pt x="0" y="461"/>
                  </a:cubicBezTo>
                  <a:cubicBezTo>
                    <a:pt x="0" y="461"/>
                    <a:pt x="0" y="461"/>
                    <a:pt x="0" y="461"/>
                  </a:cubicBezTo>
                  <a:cubicBezTo>
                    <a:pt x="0" y="931"/>
                    <a:pt x="286" y="1313"/>
                    <a:pt x="639" y="1313"/>
                  </a:cubicBezTo>
                  <a:cubicBezTo>
                    <a:pt x="992" y="1313"/>
                    <a:pt x="1278" y="931"/>
                    <a:pt x="1278" y="461"/>
                  </a:cubicBezTo>
                  <a:cubicBezTo>
                    <a:pt x="1278" y="447"/>
                    <a:pt x="1276" y="435"/>
                    <a:pt x="1275" y="423"/>
                  </a:cubicBezTo>
                  <a:cubicBezTo>
                    <a:pt x="1083" y="354"/>
                    <a:pt x="935" y="196"/>
                    <a:pt x="877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7">
              <a:extLst>
                <a:ext uri="{FF2B5EF4-FFF2-40B4-BE49-F238E27FC236}">
                  <a16:creationId xmlns:a16="http://schemas.microsoft.com/office/drawing/2014/main" id="{C345E16C-749A-A8F2-85DD-51F51D5D66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9" y="1890"/>
              <a:ext cx="123" cy="117"/>
            </a:xfrm>
            <a:custGeom>
              <a:avLst/>
              <a:gdLst>
                <a:gd name="T0" fmla="*/ 387 w 1172"/>
                <a:gd name="T1" fmla="*/ 860 h 1111"/>
                <a:gd name="T2" fmla="*/ 585 w 1172"/>
                <a:gd name="T3" fmla="*/ 792 h 1111"/>
                <a:gd name="T4" fmla="*/ 710 w 1172"/>
                <a:gd name="T5" fmla="*/ 752 h 1111"/>
                <a:gd name="T6" fmla="*/ 1172 w 1172"/>
                <a:gd name="T7" fmla="*/ 320 h 1111"/>
                <a:gd name="T8" fmla="*/ 1052 w 1172"/>
                <a:gd name="T9" fmla="*/ 24 h 1111"/>
                <a:gd name="T10" fmla="*/ 853 w 1172"/>
                <a:gd name="T11" fmla="*/ 0 h 1111"/>
                <a:gd name="T12" fmla="*/ 0 w 1172"/>
                <a:gd name="T13" fmla="*/ 853 h 1111"/>
                <a:gd name="T14" fmla="*/ 41 w 1172"/>
                <a:gd name="T15" fmla="*/ 1111 h 1111"/>
                <a:gd name="T16" fmla="*/ 387 w 1172"/>
                <a:gd name="T17" fmla="*/ 860 h 1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2" h="1111">
                  <a:moveTo>
                    <a:pt x="387" y="860"/>
                  </a:moveTo>
                  <a:cubicBezTo>
                    <a:pt x="469" y="827"/>
                    <a:pt x="528" y="810"/>
                    <a:pt x="585" y="792"/>
                  </a:cubicBezTo>
                  <a:cubicBezTo>
                    <a:pt x="626" y="780"/>
                    <a:pt x="664" y="769"/>
                    <a:pt x="710" y="752"/>
                  </a:cubicBezTo>
                  <a:cubicBezTo>
                    <a:pt x="1077" y="621"/>
                    <a:pt x="1172" y="532"/>
                    <a:pt x="1172" y="320"/>
                  </a:cubicBezTo>
                  <a:cubicBezTo>
                    <a:pt x="1172" y="205"/>
                    <a:pt x="1126" y="101"/>
                    <a:pt x="1052" y="24"/>
                  </a:cubicBezTo>
                  <a:cubicBezTo>
                    <a:pt x="988" y="9"/>
                    <a:pt x="921" y="0"/>
                    <a:pt x="853" y="0"/>
                  </a:cubicBezTo>
                  <a:cubicBezTo>
                    <a:pt x="382" y="0"/>
                    <a:pt x="0" y="382"/>
                    <a:pt x="0" y="853"/>
                  </a:cubicBezTo>
                  <a:cubicBezTo>
                    <a:pt x="0" y="943"/>
                    <a:pt x="15" y="1030"/>
                    <a:pt x="41" y="1111"/>
                  </a:cubicBezTo>
                  <a:cubicBezTo>
                    <a:pt x="117" y="968"/>
                    <a:pt x="285" y="901"/>
                    <a:pt x="387" y="86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8E40C65C-61DD-B6BD-5767-E8D7C7EBBF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4" y="1909"/>
              <a:ext cx="45" cy="94"/>
            </a:xfrm>
            <a:custGeom>
              <a:avLst/>
              <a:gdLst>
                <a:gd name="T0" fmla="*/ 0 w 426"/>
                <a:gd name="T1" fmla="*/ 487 h 891"/>
                <a:gd name="T2" fmla="*/ 399 w 426"/>
                <a:gd name="T3" fmla="*/ 891 h 891"/>
                <a:gd name="T4" fmla="*/ 426 w 426"/>
                <a:gd name="T5" fmla="*/ 679 h 891"/>
                <a:gd name="T6" fmla="*/ 89 w 426"/>
                <a:gd name="T7" fmla="*/ 0 h 891"/>
                <a:gd name="T8" fmla="*/ 106 w 426"/>
                <a:gd name="T9" fmla="*/ 146 h 891"/>
                <a:gd name="T10" fmla="*/ 0 w 426"/>
                <a:gd name="T11" fmla="*/ 487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6" h="891">
                  <a:moveTo>
                    <a:pt x="0" y="487"/>
                  </a:moveTo>
                  <a:cubicBezTo>
                    <a:pt x="11" y="703"/>
                    <a:pt x="184" y="877"/>
                    <a:pt x="399" y="891"/>
                  </a:cubicBezTo>
                  <a:cubicBezTo>
                    <a:pt x="416" y="823"/>
                    <a:pt x="426" y="752"/>
                    <a:pt x="426" y="679"/>
                  </a:cubicBezTo>
                  <a:cubicBezTo>
                    <a:pt x="426" y="402"/>
                    <a:pt x="294" y="156"/>
                    <a:pt x="89" y="0"/>
                  </a:cubicBezTo>
                  <a:cubicBezTo>
                    <a:pt x="100" y="47"/>
                    <a:pt x="106" y="96"/>
                    <a:pt x="106" y="146"/>
                  </a:cubicBezTo>
                  <a:cubicBezTo>
                    <a:pt x="106" y="292"/>
                    <a:pt x="67" y="401"/>
                    <a:pt x="0" y="48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9">
              <a:extLst>
                <a:ext uri="{FF2B5EF4-FFF2-40B4-BE49-F238E27FC236}">
                  <a16:creationId xmlns:a16="http://schemas.microsoft.com/office/drawing/2014/main" id="{2F8DD306-CA3E-7895-2881-1F882D83AC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2" y="2003"/>
              <a:ext cx="281" cy="382"/>
            </a:xfrm>
            <a:custGeom>
              <a:avLst/>
              <a:gdLst>
                <a:gd name="T0" fmla="*/ 2663 w 2663"/>
                <a:gd name="T1" fmla="*/ 0 h 3621"/>
                <a:gd name="T2" fmla="*/ 2450 w 2663"/>
                <a:gd name="T3" fmla="*/ 0 h 3621"/>
                <a:gd name="T4" fmla="*/ 2237 w 2663"/>
                <a:gd name="T5" fmla="*/ 213 h 3621"/>
                <a:gd name="T6" fmla="*/ 2237 w 2663"/>
                <a:gd name="T7" fmla="*/ 213 h 3621"/>
                <a:gd name="T8" fmla="*/ 2450 w 2663"/>
                <a:gd name="T9" fmla="*/ 426 h 3621"/>
                <a:gd name="T10" fmla="*/ 2450 w 2663"/>
                <a:gd name="T11" fmla="*/ 426 h 3621"/>
                <a:gd name="T12" fmla="*/ 2450 w 2663"/>
                <a:gd name="T13" fmla="*/ 958 h 3621"/>
                <a:gd name="T14" fmla="*/ 1917 w 2663"/>
                <a:gd name="T15" fmla="*/ 1491 h 3621"/>
                <a:gd name="T16" fmla="*/ 1385 w 2663"/>
                <a:gd name="T17" fmla="*/ 958 h 3621"/>
                <a:gd name="T18" fmla="*/ 1385 w 2663"/>
                <a:gd name="T19" fmla="*/ 426 h 3621"/>
                <a:gd name="T20" fmla="*/ 1598 w 2663"/>
                <a:gd name="T21" fmla="*/ 213 h 3621"/>
                <a:gd name="T22" fmla="*/ 1385 w 2663"/>
                <a:gd name="T23" fmla="*/ 0 h 3621"/>
                <a:gd name="T24" fmla="*/ 1172 w 2663"/>
                <a:gd name="T25" fmla="*/ 0 h 3621"/>
                <a:gd name="T26" fmla="*/ 1172 w 2663"/>
                <a:gd name="T27" fmla="*/ 958 h 3621"/>
                <a:gd name="T28" fmla="*/ 1811 w 2663"/>
                <a:gd name="T29" fmla="*/ 1696 h 3621"/>
                <a:gd name="T30" fmla="*/ 1811 w 2663"/>
                <a:gd name="T31" fmla="*/ 2769 h 3621"/>
                <a:gd name="T32" fmla="*/ 1172 w 2663"/>
                <a:gd name="T33" fmla="*/ 3408 h 3621"/>
                <a:gd name="T34" fmla="*/ 533 w 2663"/>
                <a:gd name="T35" fmla="*/ 2769 h 3621"/>
                <a:gd name="T36" fmla="*/ 533 w 2663"/>
                <a:gd name="T37" fmla="*/ 2756 h 3621"/>
                <a:gd name="T38" fmla="*/ 852 w 2663"/>
                <a:gd name="T39" fmla="*/ 2343 h 3621"/>
                <a:gd name="T40" fmla="*/ 426 w 2663"/>
                <a:gd name="T41" fmla="*/ 1917 h 3621"/>
                <a:gd name="T42" fmla="*/ 0 w 2663"/>
                <a:gd name="T43" fmla="*/ 2343 h 3621"/>
                <a:gd name="T44" fmla="*/ 320 w 2663"/>
                <a:gd name="T45" fmla="*/ 2756 h 3621"/>
                <a:gd name="T46" fmla="*/ 320 w 2663"/>
                <a:gd name="T47" fmla="*/ 2769 h 3621"/>
                <a:gd name="T48" fmla="*/ 1172 w 2663"/>
                <a:gd name="T49" fmla="*/ 3621 h 3621"/>
                <a:gd name="T50" fmla="*/ 2024 w 2663"/>
                <a:gd name="T51" fmla="*/ 2769 h 3621"/>
                <a:gd name="T52" fmla="*/ 2024 w 2663"/>
                <a:gd name="T53" fmla="*/ 1696 h 3621"/>
                <a:gd name="T54" fmla="*/ 2663 w 2663"/>
                <a:gd name="T55" fmla="*/ 958 h 3621"/>
                <a:gd name="T56" fmla="*/ 2663 w 2663"/>
                <a:gd name="T57" fmla="*/ 0 h 3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63" h="3621">
                  <a:moveTo>
                    <a:pt x="2663" y="0"/>
                  </a:moveTo>
                  <a:cubicBezTo>
                    <a:pt x="2450" y="0"/>
                    <a:pt x="2450" y="0"/>
                    <a:pt x="2450" y="0"/>
                  </a:cubicBezTo>
                  <a:cubicBezTo>
                    <a:pt x="2332" y="0"/>
                    <a:pt x="2237" y="95"/>
                    <a:pt x="2237" y="213"/>
                  </a:cubicBezTo>
                  <a:cubicBezTo>
                    <a:pt x="2237" y="213"/>
                    <a:pt x="2237" y="213"/>
                    <a:pt x="2237" y="213"/>
                  </a:cubicBezTo>
                  <a:cubicBezTo>
                    <a:pt x="2237" y="330"/>
                    <a:pt x="2332" y="426"/>
                    <a:pt x="2450" y="426"/>
                  </a:cubicBezTo>
                  <a:cubicBezTo>
                    <a:pt x="2450" y="426"/>
                    <a:pt x="2450" y="426"/>
                    <a:pt x="2450" y="426"/>
                  </a:cubicBezTo>
                  <a:cubicBezTo>
                    <a:pt x="2450" y="958"/>
                    <a:pt x="2450" y="958"/>
                    <a:pt x="2450" y="958"/>
                  </a:cubicBezTo>
                  <a:cubicBezTo>
                    <a:pt x="2450" y="1252"/>
                    <a:pt x="2211" y="1491"/>
                    <a:pt x="1917" y="1491"/>
                  </a:cubicBezTo>
                  <a:cubicBezTo>
                    <a:pt x="1624" y="1491"/>
                    <a:pt x="1385" y="1252"/>
                    <a:pt x="1385" y="958"/>
                  </a:cubicBezTo>
                  <a:cubicBezTo>
                    <a:pt x="1385" y="426"/>
                    <a:pt x="1385" y="426"/>
                    <a:pt x="1385" y="426"/>
                  </a:cubicBezTo>
                  <a:cubicBezTo>
                    <a:pt x="1503" y="426"/>
                    <a:pt x="1598" y="330"/>
                    <a:pt x="1598" y="213"/>
                  </a:cubicBezTo>
                  <a:cubicBezTo>
                    <a:pt x="1598" y="95"/>
                    <a:pt x="1502" y="0"/>
                    <a:pt x="1385" y="0"/>
                  </a:cubicBezTo>
                  <a:cubicBezTo>
                    <a:pt x="1172" y="0"/>
                    <a:pt x="1172" y="0"/>
                    <a:pt x="1172" y="0"/>
                  </a:cubicBezTo>
                  <a:cubicBezTo>
                    <a:pt x="1172" y="958"/>
                    <a:pt x="1172" y="958"/>
                    <a:pt x="1172" y="958"/>
                  </a:cubicBezTo>
                  <a:cubicBezTo>
                    <a:pt x="1172" y="1333"/>
                    <a:pt x="1450" y="1644"/>
                    <a:pt x="1811" y="1696"/>
                  </a:cubicBezTo>
                  <a:cubicBezTo>
                    <a:pt x="1811" y="2769"/>
                    <a:pt x="1811" y="2769"/>
                    <a:pt x="1811" y="2769"/>
                  </a:cubicBezTo>
                  <a:cubicBezTo>
                    <a:pt x="1811" y="3121"/>
                    <a:pt x="1524" y="3408"/>
                    <a:pt x="1172" y="3408"/>
                  </a:cubicBezTo>
                  <a:cubicBezTo>
                    <a:pt x="819" y="3408"/>
                    <a:pt x="533" y="3121"/>
                    <a:pt x="533" y="2769"/>
                  </a:cubicBezTo>
                  <a:cubicBezTo>
                    <a:pt x="533" y="2756"/>
                    <a:pt x="533" y="2756"/>
                    <a:pt x="533" y="2756"/>
                  </a:cubicBezTo>
                  <a:cubicBezTo>
                    <a:pt x="716" y="2708"/>
                    <a:pt x="852" y="2541"/>
                    <a:pt x="852" y="2343"/>
                  </a:cubicBezTo>
                  <a:cubicBezTo>
                    <a:pt x="852" y="2108"/>
                    <a:pt x="661" y="1917"/>
                    <a:pt x="426" y="1917"/>
                  </a:cubicBezTo>
                  <a:cubicBezTo>
                    <a:pt x="191" y="1917"/>
                    <a:pt x="0" y="2108"/>
                    <a:pt x="0" y="2343"/>
                  </a:cubicBezTo>
                  <a:cubicBezTo>
                    <a:pt x="0" y="2542"/>
                    <a:pt x="136" y="2708"/>
                    <a:pt x="320" y="2756"/>
                  </a:cubicBezTo>
                  <a:cubicBezTo>
                    <a:pt x="320" y="2769"/>
                    <a:pt x="320" y="2769"/>
                    <a:pt x="320" y="2769"/>
                  </a:cubicBezTo>
                  <a:cubicBezTo>
                    <a:pt x="320" y="3239"/>
                    <a:pt x="702" y="3621"/>
                    <a:pt x="1172" y="3621"/>
                  </a:cubicBezTo>
                  <a:cubicBezTo>
                    <a:pt x="1642" y="3621"/>
                    <a:pt x="2024" y="3239"/>
                    <a:pt x="2024" y="2769"/>
                  </a:cubicBezTo>
                  <a:cubicBezTo>
                    <a:pt x="2024" y="1696"/>
                    <a:pt x="2024" y="1696"/>
                    <a:pt x="2024" y="1696"/>
                  </a:cubicBezTo>
                  <a:cubicBezTo>
                    <a:pt x="2385" y="1644"/>
                    <a:pt x="2663" y="1333"/>
                    <a:pt x="2663" y="958"/>
                  </a:cubicBezTo>
                  <a:lnTo>
                    <a:pt x="266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1484260C-F8F4-D6A6-38D3-9198AEF4AA6B}"/>
              </a:ext>
            </a:extLst>
          </p:cNvPr>
          <p:cNvGrpSpPr>
            <a:grpSpLocks noChangeAspect="1"/>
          </p:cNvGrpSpPr>
          <p:nvPr/>
        </p:nvGrpSpPr>
        <p:grpSpPr>
          <a:xfrm>
            <a:off x="6838559" y="2573437"/>
            <a:ext cx="292491" cy="202761"/>
            <a:chOff x="8510257" y="4209861"/>
            <a:chExt cx="540000" cy="407406"/>
          </a:xfrm>
        </p:grpSpPr>
        <p:sp>
          <p:nvSpPr>
            <p:cNvPr id="61" name="Rechteck: obere Ecken abgerundet 60">
              <a:extLst>
                <a:ext uri="{FF2B5EF4-FFF2-40B4-BE49-F238E27FC236}">
                  <a16:creationId xmlns:a16="http://schemas.microsoft.com/office/drawing/2014/main" id="{913E49AD-C719-65D9-73C1-11A587AC1D9C}"/>
                </a:ext>
              </a:extLst>
            </p:cNvPr>
            <p:cNvSpPr/>
            <p:nvPr/>
          </p:nvSpPr>
          <p:spPr>
            <a:xfrm>
              <a:off x="8510257" y="4209861"/>
              <a:ext cx="540000" cy="407406"/>
            </a:xfrm>
            <a:prstGeom prst="round2Same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91297D3E-BC7B-6571-7466-5F2E80B868A4}"/>
                </a:ext>
              </a:extLst>
            </p:cNvPr>
            <p:cNvSpPr/>
            <p:nvPr/>
          </p:nvSpPr>
          <p:spPr>
            <a:xfrm>
              <a:off x="8590077" y="4308421"/>
              <a:ext cx="84169" cy="841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F72E0071-A0F2-91E8-193E-682880019650}"/>
                </a:ext>
              </a:extLst>
            </p:cNvPr>
            <p:cNvSpPr/>
            <p:nvPr/>
          </p:nvSpPr>
          <p:spPr>
            <a:xfrm>
              <a:off x="8742869" y="4308421"/>
              <a:ext cx="84169" cy="841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Rechteck 63">
              <a:extLst>
                <a:ext uri="{FF2B5EF4-FFF2-40B4-BE49-F238E27FC236}">
                  <a16:creationId xmlns:a16="http://schemas.microsoft.com/office/drawing/2014/main" id="{C6678FC9-AD81-F4BE-78CA-4C54A940776D}"/>
                </a:ext>
              </a:extLst>
            </p:cNvPr>
            <p:cNvSpPr/>
            <p:nvPr/>
          </p:nvSpPr>
          <p:spPr>
            <a:xfrm>
              <a:off x="8895659" y="4308421"/>
              <a:ext cx="84169" cy="841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9F33A16D-EB5A-B005-8C63-6B8EEE75C3D1}"/>
                </a:ext>
              </a:extLst>
            </p:cNvPr>
            <p:cNvSpPr/>
            <p:nvPr/>
          </p:nvSpPr>
          <p:spPr>
            <a:xfrm>
              <a:off x="8590077" y="4460822"/>
              <a:ext cx="84169" cy="841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DE89AE55-4E53-1678-CEAB-ECE0F284C77A}"/>
                </a:ext>
              </a:extLst>
            </p:cNvPr>
            <p:cNvSpPr/>
            <p:nvPr/>
          </p:nvSpPr>
          <p:spPr>
            <a:xfrm>
              <a:off x="8742869" y="4460822"/>
              <a:ext cx="84169" cy="841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Rechteck 66">
              <a:extLst>
                <a:ext uri="{FF2B5EF4-FFF2-40B4-BE49-F238E27FC236}">
                  <a16:creationId xmlns:a16="http://schemas.microsoft.com/office/drawing/2014/main" id="{63586217-F1DB-CFC9-C1D5-1AB2055C7916}"/>
                </a:ext>
              </a:extLst>
            </p:cNvPr>
            <p:cNvSpPr/>
            <p:nvPr/>
          </p:nvSpPr>
          <p:spPr>
            <a:xfrm>
              <a:off x="8895659" y="4460822"/>
              <a:ext cx="84169" cy="841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91C35E1E-2A9F-0B1F-B9AD-ABD1E3CDB6E0}"/>
              </a:ext>
            </a:extLst>
          </p:cNvPr>
          <p:cNvGrpSpPr>
            <a:grpSpLocks noChangeAspect="1"/>
          </p:cNvGrpSpPr>
          <p:nvPr/>
        </p:nvGrpSpPr>
        <p:grpSpPr>
          <a:xfrm>
            <a:off x="6121205" y="3162610"/>
            <a:ext cx="292491" cy="202761"/>
            <a:chOff x="8510257" y="4209861"/>
            <a:chExt cx="540000" cy="407406"/>
          </a:xfrm>
        </p:grpSpPr>
        <p:sp>
          <p:nvSpPr>
            <p:cNvPr id="69" name="Rechteck: obere Ecken abgerundet 68">
              <a:extLst>
                <a:ext uri="{FF2B5EF4-FFF2-40B4-BE49-F238E27FC236}">
                  <a16:creationId xmlns:a16="http://schemas.microsoft.com/office/drawing/2014/main" id="{93A64081-FA15-F6C5-4412-5259C8E327D1}"/>
                </a:ext>
              </a:extLst>
            </p:cNvPr>
            <p:cNvSpPr/>
            <p:nvPr/>
          </p:nvSpPr>
          <p:spPr>
            <a:xfrm>
              <a:off x="8510257" y="4209861"/>
              <a:ext cx="540000" cy="407406"/>
            </a:xfrm>
            <a:prstGeom prst="round2Same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Rechteck 69">
              <a:extLst>
                <a:ext uri="{FF2B5EF4-FFF2-40B4-BE49-F238E27FC236}">
                  <a16:creationId xmlns:a16="http://schemas.microsoft.com/office/drawing/2014/main" id="{8C4D23A4-70D8-0340-E806-CF5E70072987}"/>
                </a:ext>
              </a:extLst>
            </p:cNvPr>
            <p:cNvSpPr/>
            <p:nvPr/>
          </p:nvSpPr>
          <p:spPr>
            <a:xfrm>
              <a:off x="8590077" y="4308421"/>
              <a:ext cx="84169" cy="841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EDAFAE5E-392E-0522-FD06-0C8814C69916}"/>
                </a:ext>
              </a:extLst>
            </p:cNvPr>
            <p:cNvSpPr/>
            <p:nvPr/>
          </p:nvSpPr>
          <p:spPr>
            <a:xfrm>
              <a:off x="8742869" y="4308421"/>
              <a:ext cx="84169" cy="841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F5A68B67-AB27-2534-1265-C541A67A4EE3}"/>
                </a:ext>
              </a:extLst>
            </p:cNvPr>
            <p:cNvSpPr/>
            <p:nvPr/>
          </p:nvSpPr>
          <p:spPr>
            <a:xfrm>
              <a:off x="8895659" y="4308421"/>
              <a:ext cx="84169" cy="841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A15274C5-6158-6C66-598D-FF8F94ADE54A}"/>
                </a:ext>
              </a:extLst>
            </p:cNvPr>
            <p:cNvSpPr/>
            <p:nvPr/>
          </p:nvSpPr>
          <p:spPr>
            <a:xfrm>
              <a:off x="8590077" y="4460822"/>
              <a:ext cx="84169" cy="841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Rechteck 73">
              <a:extLst>
                <a:ext uri="{FF2B5EF4-FFF2-40B4-BE49-F238E27FC236}">
                  <a16:creationId xmlns:a16="http://schemas.microsoft.com/office/drawing/2014/main" id="{EF826C96-DE8C-6AEE-50EF-6C17D40DC96F}"/>
                </a:ext>
              </a:extLst>
            </p:cNvPr>
            <p:cNvSpPr/>
            <p:nvPr/>
          </p:nvSpPr>
          <p:spPr>
            <a:xfrm>
              <a:off x="8742869" y="4460822"/>
              <a:ext cx="84169" cy="841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3EBC781C-988B-3B67-D26A-A5B6CC1A26E5}"/>
                </a:ext>
              </a:extLst>
            </p:cNvPr>
            <p:cNvSpPr/>
            <p:nvPr/>
          </p:nvSpPr>
          <p:spPr>
            <a:xfrm>
              <a:off x="8895659" y="4460822"/>
              <a:ext cx="84169" cy="841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179E7490-6282-787B-1E67-DA71AE0B3CCF}"/>
              </a:ext>
            </a:extLst>
          </p:cNvPr>
          <p:cNvCxnSpPr>
            <a:cxnSpLocks/>
          </p:cNvCxnSpPr>
          <p:nvPr/>
        </p:nvCxnSpPr>
        <p:spPr>
          <a:xfrm flipH="1">
            <a:off x="5746750" y="2654300"/>
            <a:ext cx="304800" cy="0"/>
          </a:xfrm>
          <a:prstGeom prst="line">
            <a:avLst/>
          </a:prstGeom>
          <a:ln w="12700" cap="rnd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5BBAC72A-E5F6-8806-B030-101E22F8828B}"/>
              </a:ext>
            </a:extLst>
          </p:cNvPr>
          <p:cNvCxnSpPr>
            <a:cxnSpLocks/>
          </p:cNvCxnSpPr>
          <p:nvPr/>
        </p:nvCxnSpPr>
        <p:spPr>
          <a:xfrm flipH="1">
            <a:off x="6477000" y="2654300"/>
            <a:ext cx="304800" cy="0"/>
          </a:xfrm>
          <a:prstGeom prst="line">
            <a:avLst/>
          </a:prstGeom>
          <a:ln w="12700" cap="rnd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964C81AE-7780-55AD-CDE7-43B30814F4CE}"/>
              </a:ext>
            </a:extLst>
          </p:cNvPr>
          <p:cNvCxnSpPr>
            <a:cxnSpLocks/>
          </p:cNvCxnSpPr>
          <p:nvPr/>
        </p:nvCxnSpPr>
        <p:spPr>
          <a:xfrm rot="5400000" flipH="1">
            <a:off x="6115050" y="2971800"/>
            <a:ext cx="304800" cy="0"/>
          </a:xfrm>
          <a:prstGeom prst="line">
            <a:avLst/>
          </a:prstGeom>
          <a:ln w="12700" cap="rnd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Freeform 143">
            <a:extLst>
              <a:ext uri="{FF2B5EF4-FFF2-40B4-BE49-F238E27FC236}">
                <a16:creationId xmlns:a16="http://schemas.microsoft.com/office/drawing/2014/main" id="{62B35836-0CC8-8E23-DC83-0DFE43D59FD1}"/>
              </a:ext>
            </a:extLst>
          </p:cNvPr>
          <p:cNvSpPr>
            <a:spLocks noEditPoints="1"/>
          </p:cNvSpPr>
          <p:nvPr/>
        </p:nvSpPr>
        <p:spPr bwMode="auto">
          <a:xfrm>
            <a:off x="2164430" y="2439876"/>
            <a:ext cx="329475" cy="336322"/>
          </a:xfrm>
          <a:custGeom>
            <a:avLst/>
            <a:gdLst>
              <a:gd name="T0" fmla="*/ 84 w 104"/>
              <a:gd name="T1" fmla="*/ 44 h 108"/>
              <a:gd name="T2" fmla="*/ 76 w 104"/>
              <a:gd name="T3" fmla="*/ 0 h 108"/>
              <a:gd name="T4" fmla="*/ 24 w 104"/>
              <a:gd name="T5" fmla="*/ 8 h 108"/>
              <a:gd name="T6" fmla="*/ 8 w 104"/>
              <a:gd name="T7" fmla="*/ 24 h 108"/>
              <a:gd name="T8" fmla="*/ 0 w 104"/>
              <a:gd name="T9" fmla="*/ 108 h 108"/>
              <a:gd name="T10" fmla="*/ 104 w 104"/>
              <a:gd name="T11" fmla="*/ 52 h 108"/>
              <a:gd name="T12" fmla="*/ 28 w 104"/>
              <a:gd name="T13" fmla="*/ 96 h 108"/>
              <a:gd name="T14" fmla="*/ 16 w 104"/>
              <a:gd name="T15" fmla="*/ 84 h 108"/>
              <a:gd name="T16" fmla="*/ 28 w 104"/>
              <a:gd name="T17" fmla="*/ 96 h 108"/>
              <a:gd name="T18" fmla="*/ 16 w 104"/>
              <a:gd name="T19" fmla="*/ 76 h 108"/>
              <a:gd name="T20" fmla="*/ 28 w 104"/>
              <a:gd name="T21" fmla="*/ 64 h 108"/>
              <a:gd name="T22" fmla="*/ 28 w 104"/>
              <a:gd name="T23" fmla="*/ 56 h 108"/>
              <a:gd name="T24" fmla="*/ 16 w 104"/>
              <a:gd name="T25" fmla="*/ 44 h 108"/>
              <a:gd name="T26" fmla="*/ 28 w 104"/>
              <a:gd name="T27" fmla="*/ 56 h 108"/>
              <a:gd name="T28" fmla="*/ 36 w 104"/>
              <a:gd name="T29" fmla="*/ 96 h 108"/>
              <a:gd name="T30" fmla="*/ 48 w 104"/>
              <a:gd name="T31" fmla="*/ 84 h 108"/>
              <a:gd name="T32" fmla="*/ 48 w 104"/>
              <a:gd name="T33" fmla="*/ 76 h 108"/>
              <a:gd name="T34" fmla="*/ 36 w 104"/>
              <a:gd name="T35" fmla="*/ 64 h 108"/>
              <a:gd name="T36" fmla="*/ 48 w 104"/>
              <a:gd name="T37" fmla="*/ 76 h 108"/>
              <a:gd name="T38" fmla="*/ 56 w 104"/>
              <a:gd name="T39" fmla="*/ 96 h 108"/>
              <a:gd name="T40" fmla="*/ 68 w 104"/>
              <a:gd name="T41" fmla="*/ 84 h 108"/>
              <a:gd name="T42" fmla="*/ 68 w 104"/>
              <a:gd name="T43" fmla="*/ 76 h 108"/>
              <a:gd name="T44" fmla="*/ 56 w 104"/>
              <a:gd name="T45" fmla="*/ 64 h 108"/>
              <a:gd name="T46" fmla="*/ 68 w 104"/>
              <a:gd name="T47" fmla="*/ 76 h 108"/>
              <a:gd name="T48" fmla="*/ 60 w 104"/>
              <a:gd name="T49" fmla="*/ 44 h 108"/>
              <a:gd name="T50" fmla="*/ 48 w 104"/>
              <a:gd name="T51" fmla="*/ 32 h 108"/>
              <a:gd name="T52" fmla="*/ 40 w 104"/>
              <a:gd name="T53" fmla="*/ 44 h 108"/>
              <a:gd name="T54" fmla="*/ 48 w 104"/>
              <a:gd name="T55" fmla="*/ 12 h 108"/>
              <a:gd name="T56" fmla="*/ 60 w 104"/>
              <a:gd name="T57" fmla="*/ 24 h 108"/>
              <a:gd name="T58" fmla="*/ 68 w 104"/>
              <a:gd name="T59" fmla="*/ 12 h 108"/>
              <a:gd name="T60" fmla="*/ 88 w 104"/>
              <a:gd name="T61" fmla="*/ 96 h 108"/>
              <a:gd name="T62" fmla="*/ 76 w 104"/>
              <a:gd name="T63" fmla="*/ 84 h 108"/>
              <a:gd name="T64" fmla="*/ 88 w 104"/>
              <a:gd name="T65" fmla="*/ 96 h 108"/>
              <a:gd name="T66" fmla="*/ 76 w 104"/>
              <a:gd name="T67" fmla="*/ 76 h 108"/>
              <a:gd name="T68" fmla="*/ 88 w 104"/>
              <a:gd name="T69" fmla="*/ 64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04" h="108">
                <a:moveTo>
                  <a:pt x="96" y="44"/>
                </a:moveTo>
                <a:cubicBezTo>
                  <a:pt x="84" y="44"/>
                  <a:pt x="84" y="44"/>
                  <a:pt x="84" y="44"/>
                </a:cubicBezTo>
                <a:cubicBezTo>
                  <a:pt x="84" y="8"/>
                  <a:pt x="84" y="8"/>
                  <a:pt x="84" y="8"/>
                </a:cubicBezTo>
                <a:cubicBezTo>
                  <a:pt x="84" y="4"/>
                  <a:pt x="80" y="0"/>
                  <a:pt x="76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28" y="0"/>
                  <a:pt x="24" y="4"/>
                  <a:pt x="24" y="8"/>
                </a:cubicBezTo>
                <a:cubicBezTo>
                  <a:pt x="24" y="24"/>
                  <a:pt x="24" y="24"/>
                  <a:pt x="24" y="24"/>
                </a:cubicBezTo>
                <a:cubicBezTo>
                  <a:pt x="8" y="24"/>
                  <a:pt x="8" y="24"/>
                  <a:pt x="8" y="24"/>
                </a:cubicBezTo>
                <a:cubicBezTo>
                  <a:pt x="4" y="24"/>
                  <a:pt x="0" y="28"/>
                  <a:pt x="0" y="32"/>
                </a:cubicBezTo>
                <a:cubicBezTo>
                  <a:pt x="0" y="108"/>
                  <a:pt x="0" y="108"/>
                  <a:pt x="0" y="108"/>
                </a:cubicBezTo>
                <a:cubicBezTo>
                  <a:pt x="104" y="108"/>
                  <a:pt x="104" y="108"/>
                  <a:pt x="104" y="108"/>
                </a:cubicBezTo>
                <a:cubicBezTo>
                  <a:pt x="104" y="52"/>
                  <a:pt x="104" y="52"/>
                  <a:pt x="104" y="52"/>
                </a:cubicBezTo>
                <a:cubicBezTo>
                  <a:pt x="104" y="48"/>
                  <a:pt x="100" y="44"/>
                  <a:pt x="96" y="44"/>
                </a:cubicBezTo>
                <a:close/>
                <a:moveTo>
                  <a:pt x="28" y="96"/>
                </a:moveTo>
                <a:cubicBezTo>
                  <a:pt x="16" y="96"/>
                  <a:pt x="16" y="96"/>
                  <a:pt x="16" y="96"/>
                </a:cubicBezTo>
                <a:cubicBezTo>
                  <a:pt x="16" y="84"/>
                  <a:pt x="16" y="84"/>
                  <a:pt x="16" y="84"/>
                </a:cubicBezTo>
                <a:cubicBezTo>
                  <a:pt x="28" y="84"/>
                  <a:pt x="28" y="84"/>
                  <a:pt x="28" y="84"/>
                </a:cubicBezTo>
                <a:lnTo>
                  <a:pt x="28" y="96"/>
                </a:lnTo>
                <a:close/>
                <a:moveTo>
                  <a:pt x="28" y="76"/>
                </a:moveTo>
                <a:cubicBezTo>
                  <a:pt x="16" y="76"/>
                  <a:pt x="16" y="76"/>
                  <a:pt x="16" y="76"/>
                </a:cubicBezTo>
                <a:cubicBezTo>
                  <a:pt x="16" y="64"/>
                  <a:pt x="16" y="64"/>
                  <a:pt x="16" y="64"/>
                </a:cubicBezTo>
                <a:cubicBezTo>
                  <a:pt x="28" y="64"/>
                  <a:pt x="28" y="64"/>
                  <a:pt x="28" y="64"/>
                </a:cubicBezTo>
                <a:lnTo>
                  <a:pt x="28" y="76"/>
                </a:lnTo>
                <a:close/>
                <a:moveTo>
                  <a:pt x="28" y="56"/>
                </a:moveTo>
                <a:cubicBezTo>
                  <a:pt x="16" y="56"/>
                  <a:pt x="16" y="56"/>
                  <a:pt x="16" y="56"/>
                </a:cubicBezTo>
                <a:cubicBezTo>
                  <a:pt x="16" y="44"/>
                  <a:pt x="16" y="44"/>
                  <a:pt x="16" y="44"/>
                </a:cubicBezTo>
                <a:cubicBezTo>
                  <a:pt x="28" y="44"/>
                  <a:pt x="28" y="44"/>
                  <a:pt x="28" y="44"/>
                </a:cubicBezTo>
                <a:lnTo>
                  <a:pt x="28" y="56"/>
                </a:lnTo>
                <a:close/>
                <a:moveTo>
                  <a:pt x="48" y="96"/>
                </a:moveTo>
                <a:cubicBezTo>
                  <a:pt x="36" y="96"/>
                  <a:pt x="36" y="96"/>
                  <a:pt x="36" y="96"/>
                </a:cubicBezTo>
                <a:cubicBezTo>
                  <a:pt x="36" y="84"/>
                  <a:pt x="36" y="84"/>
                  <a:pt x="36" y="84"/>
                </a:cubicBezTo>
                <a:cubicBezTo>
                  <a:pt x="48" y="84"/>
                  <a:pt x="48" y="84"/>
                  <a:pt x="48" y="84"/>
                </a:cubicBezTo>
                <a:lnTo>
                  <a:pt x="48" y="96"/>
                </a:lnTo>
                <a:close/>
                <a:moveTo>
                  <a:pt x="48" y="76"/>
                </a:moveTo>
                <a:cubicBezTo>
                  <a:pt x="36" y="76"/>
                  <a:pt x="36" y="76"/>
                  <a:pt x="36" y="76"/>
                </a:cubicBezTo>
                <a:cubicBezTo>
                  <a:pt x="36" y="64"/>
                  <a:pt x="36" y="64"/>
                  <a:pt x="36" y="64"/>
                </a:cubicBezTo>
                <a:cubicBezTo>
                  <a:pt x="48" y="64"/>
                  <a:pt x="48" y="64"/>
                  <a:pt x="48" y="64"/>
                </a:cubicBezTo>
                <a:lnTo>
                  <a:pt x="48" y="76"/>
                </a:lnTo>
                <a:close/>
                <a:moveTo>
                  <a:pt x="68" y="96"/>
                </a:moveTo>
                <a:cubicBezTo>
                  <a:pt x="56" y="96"/>
                  <a:pt x="56" y="96"/>
                  <a:pt x="56" y="96"/>
                </a:cubicBezTo>
                <a:cubicBezTo>
                  <a:pt x="56" y="84"/>
                  <a:pt x="56" y="84"/>
                  <a:pt x="56" y="84"/>
                </a:cubicBezTo>
                <a:cubicBezTo>
                  <a:pt x="68" y="84"/>
                  <a:pt x="68" y="84"/>
                  <a:pt x="68" y="84"/>
                </a:cubicBezTo>
                <a:lnTo>
                  <a:pt x="68" y="96"/>
                </a:lnTo>
                <a:close/>
                <a:moveTo>
                  <a:pt x="68" y="76"/>
                </a:moveTo>
                <a:cubicBezTo>
                  <a:pt x="56" y="76"/>
                  <a:pt x="56" y="76"/>
                  <a:pt x="56" y="76"/>
                </a:cubicBezTo>
                <a:cubicBezTo>
                  <a:pt x="56" y="64"/>
                  <a:pt x="56" y="64"/>
                  <a:pt x="56" y="64"/>
                </a:cubicBezTo>
                <a:cubicBezTo>
                  <a:pt x="68" y="64"/>
                  <a:pt x="68" y="64"/>
                  <a:pt x="68" y="64"/>
                </a:cubicBezTo>
                <a:lnTo>
                  <a:pt x="68" y="76"/>
                </a:lnTo>
                <a:close/>
                <a:moveTo>
                  <a:pt x="68" y="44"/>
                </a:moveTo>
                <a:cubicBezTo>
                  <a:pt x="60" y="44"/>
                  <a:pt x="60" y="44"/>
                  <a:pt x="60" y="44"/>
                </a:cubicBezTo>
                <a:cubicBezTo>
                  <a:pt x="60" y="32"/>
                  <a:pt x="60" y="32"/>
                  <a:pt x="60" y="32"/>
                </a:cubicBezTo>
                <a:cubicBezTo>
                  <a:pt x="48" y="32"/>
                  <a:pt x="48" y="32"/>
                  <a:pt x="48" y="32"/>
                </a:cubicBezTo>
                <a:cubicBezTo>
                  <a:pt x="48" y="44"/>
                  <a:pt x="48" y="44"/>
                  <a:pt x="48" y="44"/>
                </a:cubicBezTo>
                <a:cubicBezTo>
                  <a:pt x="40" y="44"/>
                  <a:pt x="40" y="44"/>
                  <a:pt x="40" y="44"/>
                </a:cubicBezTo>
                <a:cubicBezTo>
                  <a:pt x="40" y="12"/>
                  <a:pt x="40" y="12"/>
                  <a:pt x="40" y="12"/>
                </a:cubicBezTo>
                <a:cubicBezTo>
                  <a:pt x="48" y="12"/>
                  <a:pt x="48" y="12"/>
                  <a:pt x="48" y="12"/>
                </a:cubicBezTo>
                <a:cubicBezTo>
                  <a:pt x="48" y="24"/>
                  <a:pt x="48" y="24"/>
                  <a:pt x="48" y="24"/>
                </a:cubicBezTo>
                <a:cubicBezTo>
                  <a:pt x="60" y="24"/>
                  <a:pt x="60" y="24"/>
                  <a:pt x="60" y="24"/>
                </a:cubicBezTo>
                <a:cubicBezTo>
                  <a:pt x="60" y="12"/>
                  <a:pt x="60" y="12"/>
                  <a:pt x="60" y="12"/>
                </a:cubicBezTo>
                <a:cubicBezTo>
                  <a:pt x="68" y="12"/>
                  <a:pt x="68" y="12"/>
                  <a:pt x="68" y="12"/>
                </a:cubicBezTo>
                <a:lnTo>
                  <a:pt x="68" y="44"/>
                </a:lnTo>
                <a:close/>
                <a:moveTo>
                  <a:pt x="88" y="96"/>
                </a:moveTo>
                <a:cubicBezTo>
                  <a:pt x="76" y="96"/>
                  <a:pt x="76" y="96"/>
                  <a:pt x="76" y="96"/>
                </a:cubicBezTo>
                <a:cubicBezTo>
                  <a:pt x="76" y="84"/>
                  <a:pt x="76" y="84"/>
                  <a:pt x="76" y="84"/>
                </a:cubicBezTo>
                <a:cubicBezTo>
                  <a:pt x="88" y="84"/>
                  <a:pt x="88" y="84"/>
                  <a:pt x="88" y="84"/>
                </a:cubicBezTo>
                <a:lnTo>
                  <a:pt x="88" y="96"/>
                </a:lnTo>
                <a:close/>
                <a:moveTo>
                  <a:pt x="88" y="76"/>
                </a:moveTo>
                <a:cubicBezTo>
                  <a:pt x="76" y="76"/>
                  <a:pt x="76" y="76"/>
                  <a:pt x="76" y="76"/>
                </a:cubicBezTo>
                <a:cubicBezTo>
                  <a:pt x="76" y="64"/>
                  <a:pt x="76" y="64"/>
                  <a:pt x="76" y="64"/>
                </a:cubicBezTo>
                <a:cubicBezTo>
                  <a:pt x="88" y="64"/>
                  <a:pt x="88" y="64"/>
                  <a:pt x="88" y="64"/>
                </a:cubicBezTo>
                <a:lnTo>
                  <a:pt x="88" y="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7C44EA74-B5E6-F79D-89AC-575F1556C3CF}"/>
              </a:ext>
            </a:extLst>
          </p:cNvPr>
          <p:cNvCxnSpPr>
            <a:cxnSpLocks/>
          </p:cNvCxnSpPr>
          <p:nvPr/>
        </p:nvCxnSpPr>
        <p:spPr>
          <a:xfrm flipH="1">
            <a:off x="1809750" y="2654300"/>
            <a:ext cx="304800" cy="0"/>
          </a:xfrm>
          <a:prstGeom prst="line">
            <a:avLst/>
          </a:prstGeom>
          <a:ln w="12700" cap="rnd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r Verbinder 106">
            <a:extLst>
              <a:ext uri="{FF2B5EF4-FFF2-40B4-BE49-F238E27FC236}">
                <a16:creationId xmlns:a16="http://schemas.microsoft.com/office/drawing/2014/main" id="{E0A5805E-AC16-A95C-243B-1806C713BABB}"/>
              </a:ext>
            </a:extLst>
          </p:cNvPr>
          <p:cNvCxnSpPr>
            <a:cxnSpLocks/>
          </p:cNvCxnSpPr>
          <p:nvPr/>
        </p:nvCxnSpPr>
        <p:spPr>
          <a:xfrm flipH="1">
            <a:off x="2540000" y="2654300"/>
            <a:ext cx="304800" cy="0"/>
          </a:xfrm>
          <a:prstGeom prst="line">
            <a:avLst/>
          </a:prstGeom>
          <a:ln w="12700" cap="rnd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11461C8F-C927-E03A-B1E4-9E283ECE8B44}"/>
              </a:ext>
            </a:extLst>
          </p:cNvPr>
          <p:cNvCxnSpPr>
            <a:cxnSpLocks/>
          </p:cNvCxnSpPr>
          <p:nvPr/>
        </p:nvCxnSpPr>
        <p:spPr>
          <a:xfrm rot="5400000" flipH="1">
            <a:off x="2178050" y="2971800"/>
            <a:ext cx="304800" cy="0"/>
          </a:xfrm>
          <a:prstGeom prst="line">
            <a:avLst/>
          </a:prstGeom>
          <a:ln w="12700" cap="rnd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0" name="Group 4">
            <a:extLst>
              <a:ext uri="{FF2B5EF4-FFF2-40B4-BE49-F238E27FC236}">
                <a16:creationId xmlns:a16="http://schemas.microsoft.com/office/drawing/2014/main" id="{EB02B773-DAB1-6328-8C9D-B510D164E5F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216150" y="5096627"/>
            <a:ext cx="332018" cy="371971"/>
            <a:chOff x="3591" y="1890"/>
            <a:chExt cx="482" cy="540"/>
          </a:xfrm>
          <a:solidFill>
            <a:schemeClr val="accent3"/>
          </a:solidFill>
        </p:grpSpPr>
        <p:sp>
          <p:nvSpPr>
            <p:cNvPr id="111" name="Freeform 5">
              <a:extLst>
                <a:ext uri="{FF2B5EF4-FFF2-40B4-BE49-F238E27FC236}">
                  <a16:creationId xmlns:a16="http://schemas.microsoft.com/office/drawing/2014/main" id="{0AA9C30C-5FD4-F2D9-A9F3-4944A6BFE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1" y="2138"/>
              <a:ext cx="335" cy="292"/>
            </a:xfrm>
            <a:custGeom>
              <a:avLst/>
              <a:gdLst>
                <a:gd name="T0" fmla="*/ 3156 w 3173"/>
                <a:gd name="T1" fmla="*/ 752 h 2769"/>
                <a:gd name="T2" fmla="*/ 2877 w 3173"/>
                <a:gd name="T3" fmla="*/ 314 h 2769"/>
                <a:gd name="T4" fmla="*/ 2013 w 3173"/>
                <a:gd name="T5" fmla="*/ 0 h 2769"/>
                <a:gd name="T6" fmla="*/ 1587 w 3173"/>
                <a:gd name="T7" fmla="*/ 426 h 2769"/>
                <a:gd name="T8" fmla="*/ 1161 w 3173"/>
                <a:gd name="T9" fmla="*/ 0 h 2769"/>
                <a:gd name="T10" fmla="*/ 296 w 3173"/>
                <a:gd name="T11" fmla="*/ 314 h 2769"/>
                <a:gd name="T12" fmla="*/ 17 w 3173"/>
                <a:gd name="T13" fmla="*/ 752 h 2769"/>
                <a:gd name="T14" fmla="*/ 194 w 3173"/>
                <a:gd name="T15" fmla="*/ 2769 h 2769"/>
                <a:gd name="T16" fmla="*/ 2979 w 3173"/>
                <a:gd name="T17" fmla="*/ 2769 h 2769"/>
                <a:gd name="T18" fmla="*/ 3156 w 3173"/>
                <a:gd name="T19" fmla="*/ 752 h 2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73" h="2769">
                  <a:moveTo>
                    <a:pt x="3156" y="752"/>
                  </a:moveTo>
                  <a:cubicBezTo>
                    <a:pt x="3173" y="560"/>
                    <a:pt x="3058" y="380"/>
                    <a:pt x="2877" y="314"/>
                  </a:cubicBezTo>
                  <a:cubicBezTo>
                    <a:pt x="2013" y="0"/>
                    <a:pt x="2013" y="0"/>
                    <a:pt x="2013" y="0"/>
                  </a:cubicBezTo>
                  <a:cubicBezTo>
                    <a:pt x="1587" y="426"/>
                    <a:pt x="1587" y="426"/>
                    <a:pt x="1587" y="426"/>
                  </a:cubicBezTo>
                  <a:cubicBezTo>
                    <a:pt x="1161" y="0"/>
                    <a:pt x="1161" y="0"/>
                    <a:pt x="1161" y="0"/>
                  </a:cubicBezTo>
                  <a:cubicBezTo>
                    <a:pt x="296" y="314"/>
                    <a:pt x="296" y="314"/>
                    <a:pt x="296" y="314"/>
                  </a:cubicBezTo>
                  <a:cubicBezTo>
                    <a:pt x="115" y="380"/>
                    <a:pt x="0" y="560"/>
                    <a:pt x="17" y="752"/>
                  </a:cubicBezTo>
                  <a:cubicBezTo>
                    <a:pt x="194" y="2769"/>
                    <a:pt x="194" y="2769"/>
                    <a:pt x="194" y="2769"/>
                  </a:cubicBezTo>
                  <a:cubicBezTo>
                    <a:pt x="2979" y="2769"/>
                    <a:pt x="2979" y="2769"/>
                    <a:pt x="2979" y="2769"/>
                  </a:cubicBezTo>
                  <a:lnTo>
                    <a:pt x="3156" y="7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2" name="Freeform 6">
              <a:extLst>
                <a:ext uri="{FF2B5EF4-FFF2-40B4-BE49-F238E27FC236}">
                  <a16:creationId xmlns:a16="http://schemas.microsoft.com/office/drawing/2014/main" id="{D29F20E5-DEC0-14D4-A3AC-858F6EBA64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1" y="1977"/>
              <a:ext cx="135" cy="138"/>
            </a:xfrm>
            <a:custGeom>
              <a:avLst/>
              <a:gdLst>
                <a:gd name="T0" fmla="*/ 877 w 1278"/>
                <a:gd name="T1" fmla="*/ 0 h 1313"/>
                <a:gd name="T2" fmla="*/ 568 w 1278"/>
                <a:gd name="T3" fmla="*/ 135 h 1313"/>
                <a:gd name="T4" fmla="*/ 433 w 1278"/>
                <a:gd name="T5" fmla="*/ 178 h 1313"/>
                <a:gd name="T6" fmla="*/ 252 w 1278"/>
                <a:gd name="T7" fmla="*/ 240 h 1313"/>
                <a:gd name="T8" fmla="*/ 0 w 1278"/>
                <a:gd name="T9" fmla="*/ 461 h 1313"/>
                <a:gd name="T10" fmla="*/ 0 w 1278"/>
                <a:gd name="T11" fmla="*/ 461 h 1313"/>
                <a:gd name="T12" fmla="*/ 639 w 1278"/>
                <a:gd name="T13" fmla="*/ 1313 h 1313"/>
                <a:gd name="T14" fmla="*/ 1278 w 1278"/>
                <a:gd name="T15" fmla="*/ 461 h 1313"/>
                <a:gd name="T16" fmla="*/ 1275 w 1278"/>
                <a:gd name="T17" fmla="*/ 423 h 1313"/>
                <a:gd name="T18" fmla="*/ 877 w 1278"/>
                <a:gd name="T19" fmla="*/ 0 h 1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8" h="1313">
                  <a:moveTo>
                    <a:pt x="877" y="0"/>
                  </a:moveTo>
                  <a:cubicBezTo>
                    <a:pt x="787" y="53"/>
                    <a:pt x="681" y="94"/>
                    <a:pt x="568" y="135"/>
                  </a:cubicBezTo>
                  <a:cubicBezTo>
                    <a:pt x="516" y="153"/>
                    <a:pt x="474" y="166"/>
                    <a:pt x="433" y="178"/>
                  </a:cubicBezTo>
                  <a:cubicBezTo>
                    <a:pt x="378" y="195"/>
                    <a:pt x="325" y="211"/>
                    <a:pt x="252" y="240"/>
                  </a:cubicBezTo>
                  <a:cubicBezTo>
                    <a:pt x="63" y="315"/>
                    <a:pt x="0" y="371"/>
                    <a:pt x="0" y="461"/>
                  </a:cubicBezTo>
                  <a:cubicBezTo>
                    <a:pt x="0" y="461"/>
                    <a:pt x="0" y="461"/>
                    <a:pt x="0" y="461"/>
                  </a:cubicBezTo>
                  <a:cubicBezTo>
                    <a:pt x="0" y="931"/>
                    <a:pt x="286" y="1313"/>
                    <a:pt x="639" y="1313"/>
                  </a:cubicBezTo>
                  <a:cubicBezTo>
                    <a:pt x="992" y="1313"/>
                    <a:pt x="1278" y="931"/>
                    <a:pt x="1278" y="461"/>
                  </a:cubicBezTo>
                  <a:cubicBezTo>
                    <a:pt x="1278" y="447"/>
                    <a:pt x="1276" y="435"/>
                    <a:pt x="1275" y="423"/>
                  </a:cubicBezTo>
                  <a:cubicBezTo>
                    <a:pt x="1083" y="354"/>
                    <a:pt x="935" y="196"/>
                    <a:pt x="8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" name="Freeform 7">
              <a:extLst>
                <a:ext uri="{FF2B5EF4-FFF2-40B4-BE49-F238E27FC236}">
                  <a16:creationId xmlns:a16="http://schemas.microsoft.com/office/drawing/2014/main" id="{2F1F8330-97C7-DAC1-4E29-48E26AAB96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9" y="1890"/>
              <a:ext cx="123" cy="117"/>
            </a:xfrm>
            <a:custGeom>
              <a:avLst/>
              <a:gdLst>
                <a:gd name="T0" fmla="*/ 387 w 1172"/>
                <a:gd name="T1" fmla="*/ 860 h 1111"/>
                <a:gd name="T2" fmla="*/ 585 w 1172"/>
                <a:gd name="T3" fmla="*/ 792 h 1111"/>
                <a:gd name="T4" fmla="*/ 710 w 1172"/>
                <a:gd name="T5" fmla="*/ 752 h 1111"/>
                <a:gd name="T6" fmla="*/ 1172 w 1172"/>
                <a:gd name="T7" fmla="*/ 320 h 1111"/>
                <a:gd name="T8" fmla="*/ 1052 w 1172"/>
                <a:gd name="T9" fmla="*/ 24 h 1111"/>
                <a:gd name="T10" fmla="*/ 853 w 1172"/>
                <a:gd name="T11" fmla="*/ 0 h 1111"/>
                <a:gd name="T12" fmla="*/ 0 w 1172"/>
                <a:gd name="T13" fmla="*/ 853 h 1111"/>
                <a:gd name="T14" fmla="*/ 41 w 1172"/>
                <a:gd name="T15" fmla="*/ 1111 h 1111"/>
                <a:gd name="T16" fmla="*/ 387 w 1172"/>
                <a:gd name="T17" fmla="*/ 860 h 1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2" h="1111">
                  <a:moveTo>
                    <a:pt x="387" y="860"/>
                  </a:moveTo>
                  <a:cubicBezTo>
                    <a:pt x="469" y="827"/>
                    <a:pt x="528" y="810"/>
                    <a:pt x="585" y="792"/>
                  </a:cubicBezTo>
                  <a:cubicBezTo>
                    <a:pt x="626" y="780"/>
                    <a:pt x="664" y="769"/>
                    <a:pt x="710" y="752"/>
                  </a:cubicBezTo>
                  <a:cubicBezTo>
                    <a:pt x="1077" y="621"/>
                    <a:pt x="1172" y="532"/>
                    <a:pt x="1172" y="320"/>
                  </a:cubicBezTo>
                  <a:cubicBezTo>
                    <a:pt x="1172" y="205"/>
                    <a:pt x="1126" y="101"/>
                    <a:pt x="1052" y="24"/>
                  </a:cubicBezTo>
                  <a:cubicBezTo>
                    <a:pt x="988" y="9"/>
                    <a:pt x="921" y="0"/>
                    <a:pt x="853" y="0"/>
                  </a:cubicBezTo>
                  <a:cubicBezTo>
                    <a:pt x="382" y="0"/>
                    <a:pt x="0" y="382"/>
                    <a:pt x="0" y="853"/>
                  </a:cubicBezTo>
                  <a:cubicBezTo>
                    <a:pt x="0" y="943"/>
                    <a:pt x="15" y="1030"/>
                    <a:pt x="41" y="1111"/>
                  </a:cubicBezTo>
                  <a:cubicBezTo>
                    <a:pt x="117" y="968"/>
                    <a:pt x="285" y="901"/>
                    <a:pt x="387" y="8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4" name="Freeform 8">
              <a:extLst>
                <a:ext uri="{FF2B5EF4-FFF2-40B4-BE49-F238E27FC236}">
                  <a16:creationId xmlns:a16="http://schemas.microsoft.com/office/drawing/2014/main" id="{B363C534-FE15-3337-9A70-5A0601149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4" y="1909"/>
              <a:ext cx="45" cy="94"/>
            </a:xfrm>
            <a:custGeom>
              <a:avLst/>
              <a:gdLst>
                <a:gd name="T0" fmla="*/ 0 w 426"/>
                <a:gd name="T1" fmla="*/ 487 h 891"/>
                <a:gd name="T2" fmla="*/ 399 w 426"/>
                <a:gd name="T3" fmla="*/ 891 h 891"/>
                <a:gd name="T4" fmla="*/ 426 w 426"/>
                <a:gd name="T5" fmla="*/ 679 h 891"/>
                <a:gd name="T6" fmla="*/ 89 w 426"/>
                <a:gd name="T7" fmla="*/ 0 h 891"/>
                <a:gd name="T8" fmla="*/ 106 w 426"/>
                <a:gd name="T9" fmla="*/ 146 h 891"/>
                <a:gd name="T10" fmla="*/ 0 w 426"/>
                <a:gd name="T11" fmla="*/ 487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6" h="891">
                  <a:moveTo>
                    <a:pt x="0" y="487"/>
                  </a:moveTo>
                  <a:cubicBezTo>
                    <a:pt x="11" y="703"/>
                    <a:pt x="184" y="877"/>
                    <a:pt x="399" y="891"/>
                  </a:cubicBezTo>
                  <a:cubicBezTo>
                    <a:pt x="416" y="823"/>
                    <a:pt x="426" y="752"/>
                    <a:pt x="426" y="679"/>
                  </a:cubicBezTo>
                  <a:cubicBezTo>
                    <a:pt x="426" y="402"/>
                    <a:pt x="294" y="156"/>
                    <a:pt x="89" y="0"/>
                  </a:cubicBezTo>
                  <a:cubicBezTo>
                    <a:pt x="100" y="47"/>
                    <a:pt x="106" y="96"/>
                    <a:pt x="106" y="146"/>
                  </a:cubicBezTo>
                  <a:cubicBezTo>
                    <a:pt x="106" y="292"/>
                    <a:pt x="67" y="401"/>
                    <a:pt x="0" y="4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5" name="Freeform 9">
              <a:extLst>
                <a:ext uri="{FF2B5EF4-FFF2-40B4-BE49-F238E27FC236}">
                  <a16:creationId xmlns:a16="http://schemas.microsoft.com/office/drawing/2014/main" id="{A91D813D-3185-5750-364F-E468A66704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2" y="2003"/>
              <a:ext cx="281" cy="382"/>
            </a:xfrm>
            <a:custGeom>
              <a:avLst/>
              <a:gdLst>
                <a:gd name="T0" fmla="*/ 2663 w 2663"/>
                <a:gd name="T1" fmla="*/ 0 h 3621"/>
                <a:gd name="T2" fmla="*/ 2450 w 2663"/>
                <a:gd name="T3" fmla="*/ 0 h 3621"/>
                <a:gd name="T4" fmla="*/ 2237 w 2663"/>
                <a:gd name="T5" fmla="*/ 213 h 3621"/>
                <a:gd name="T6" fmla="*/ 2237 w 2663"/>
                <a:gd name="T7" fmla="*/ 213 h 3621"/>
                <a:gd name="T8" fmla="*/ 2450 w 2663"/>
                <a:gd name="T9" fmla="*/ 426 h 3621"/>
                <a:gd name="T10" fmla="*/ 2450 w 2663"/>
                <a:gd name="T11" fmla="*/ 426 h 3621"/>
                <a:gd name="T12" fmla="*/ 2450 w 2663"/>
                <a:gd name="T13" fmla="*/ 958 h 3621"/>
                <a:gd name="T14" fmla="*/ 1917 w 2663"/>
                <a:gd name="T15" fmla="*/ 1491 h 3621"/>
                <a:gd name="T16" fmla="*/ 1385 w 2663"/>
                <a:gd name="T17" fmla="*/ 958 h 3621"/>
                <a:gd name="T18" fmla="*/ 1385 w 2663"/>
                <a:gd name="T19" fmla="*/ 426 h 3621"/>
                <a:gd name="T20" fmla="*/ 1598 w 2663"/>
                <a:gd name="T21" fmla="*/ 213 h 3621"/>
                <a:gd name="T22" fmla="*/ 1385 w 2663"/>
                <a:gd name="T23" fmla="*/ 0 h 3621"/>
                <a:gd name="T24" fmla="*/ 1172 w 2663"/>
                <a:gd name="T25" fmla="*/ 0 h 3621"/>
                <a:gd name="T26" fmla="*/ 1172 w 2663"/>
                <a:gd name="T27" fmla="*/ 958 h 3621"/>
                <a:gd name="T28" fmla="*/ 1811 w 2663"/>
                <a:gd name="T29" fmla="*/ 1696 h 3621"/>
                <a:gd name="T30" fmla="*/ 1811 w 2663"/>
                <a:gd name="T31" fmla="*/ 2769 h 3621"/>
                <a:gd name="T32" fmla="*/ 1172 w 2663"/>
                <a:gd name="T33" fmla="*/ 3408 h 3621"/>
                <a:gd name="T34" fmla="*/ 533 w 2663"/>
                <a:gd name="T35" fmla="*/ 2769 h 3621"/>
                <a:gd name="T36" fmla="*/ 533 w 2663"/>
                <a:gd name="T37" fmla="*/ 2756 h 3621"/>
                <a:gd name="T38" fmla="*/ 852 w 2663"/>
                <a:gd name="T39" fmla="*/ 2343 h 3621"/>
                <a:gd name="T40" fmla="*/ 426 w 2663"/>
                <a:gd name="T41" fmla="*/ 1917 h 3621"/>
                <a:gd name="T42" fmla="*/ 0 w 2663"/>
                <a:gd name="T43" fmla="*/ 2343 h 3621"/>
                <a:gd name="T44" fmla="*/ 320 w 2663"/>
                <a:gd name="T45" fmla="*/ 2756 h 3621"/>
                <a:gd name="T46" fmla="*/ 320 w 2663"/>
                <a:gd name="T47" fmla="*/ 2769 h 3621"/>
                <a:gd name="T48" fmla="*/ 1172 w 2663"/>
                <a:gd name="T49" fmla="*/ 3621 h 3621"/>
                <a:gd name="T50" fmla="*/ 2024 w 2663"/>
                <a:gd name="T51" fmla="*/ 2769 h 3621"/>
                <a:gd name="T52" fmla="*/ 2024 w 2663"/>
                <a:gd name="T53" fmla="*/ 1696 h 3621"/>
                <a:gd name="T54" fmla="*/ 2663 w 2663"/>
                <a:gd name="T55" fmla="*/ 958 h 3621"/>
                <a:gd name="T56" fmla="*/ 2663 w 2663"/>
                <a:gd name="T57" fmla="*/ 0 h 3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63" h="3621">
                  <a:moveTo>
                    <a:pt x="2663" y="0"/>
                  </a:moveTo>
                  <a:cubicBezTo>
                    <a:pt x="2450" y="0"/>
                    <a:pt x="2450" y="0"/>
                    <a:pt x="2450" y="0"/>
                  </a:cubicBezTo>
                  <a:cubicBezTo>
                    <a:pt x="2332" y="0"/>
                    <a:pt x="2237" y="95"/>
                    <a:pt x="2237" y="213"/>
                  </a:cubicBezTo>
                  <a:cubicBezTo>
                    <a:pt x="2237" y="213"/>
                    <a:pt x="2237" y="213"/>
                    <a:pt x="2237" y="213"/>
                  </a:cubicBezTo>
                  <a:cubicBezTo>
                    <a:pt x="2237" y="330"/>
                    <a:pt x="2332" y="426"/>
                    <a:pt x="2450" y="426"/>
                  </a:cubicBezTo>
                  <a:cubicBezTo>
                    <a:pt x="2450" y="426"/>
                    <a:pt x="2450" y="426"/>
                    <a:pt x="2450" y="426"/>
                  </a:cubicBezTo>
                  <a:cubicBezTo>
                    <a:pt x="2450" y="958"/>
                    <a:pt x="2450" y="958"/>
                    <a:pt x="2450" y="958"/>
                  </a:cubicBezTo>
                  <a:cubicBezTo>
                    <a:pt x="2450" y="1252"/>
                    <a:pt x="2211" y="1491"/>
                    <a:pt x="1917" y="1491"/>
                  </a:cubicBezTo>
                  <a:cubicBezTo>
                    <a:pt x="1624" y="1491"/>
                    <a:pt x="1385" y="1252"/>
                    <a:pt x="1385" y="958"/>
                  </a:cubicBezTo>
                  <a:cubicBezTo>
                    <a:pt x="1385" y="426"/>
                    <a:pt x="1385" y="426"/>
                    <a:pt x="1385" y="426"/>
                  </a:cubicBezTo>
                  <a:cubicBezTo>
                    <a:pt x="1503" y="426"/>
                    <a:pt x="1598" y="330"/>
                    <a:pt x="1598" y="213"/>
                  </a:cubicBezTo>
                  <a:cubicBezTo>
                    <a:pt x="1598" y="95"/>
                    <a:pt x="1502" y="0"/>
                    <a:pt x="1385" y="0"/>
                  </a:cubicBezTo>
                  <a:cubicBezTo>
                    <a:pt x="1172" y="0"/>
                    <a:pt x="1172" y="0"/>
                    <a:pt x="1172" y="0"/>
                  </a:cubicBezTo>
                  <a:cubicBezTo>
                    <a:pt x="1172" y="958"/>
                    <a:pt x="1172" y="958"/>
                    <a:pt x="1172" y="958"/>
                  </a:cubicBezTo>
                  <a:cubicBezTo>
                    <a:pt x="1172" y="1333"/>
                    <a:pt x="1450" y="1644"/>
                    <a:pt x="1811" y="1696"/>
                  </a:cubicBezTo>
                  <a:cubicBezTo>
                    <a:pt x="1811" y="2769"/>
                    <a:pt x="1811" y="2769"/>
                    <a:pt x="1811" y="2769"/>
                  </a:cubicBezTo>
                  <a:cubicBezTo>
                    <a:pt x="1811" y="3121"/>
                    <a:pt x="1524" y="3408"/>
                    <a:pt x="1172" y="3408"/>
                  </a:cubicBezTo>
                  <a:cubicBezTo>
                    <a:pt x="819" y="3408"/>
                    <a:pt x="533" y="3121"/>
                    <a:pt x="533" y="2769"/>
                  </a:cubicBezTo>
                  <a:cubicBezTo>
                    <a:pt x="533" y="2756"/>
                    <a:pt x="533" y="2756"/>
                    <a:pt x="533" y="2756"/>
                  </a:cubicBezTo>
                  <a:cubicBezTo>
                    <a:pt x="716" y="2708"/>
                    <a:pt x="852" y="2541"/>
                    <a:pt x="852" y="2343"/>
                  </a:cubicBezTo>
                  <a:cubicBezTo>
                    <a:pt x="852" y="2108"/>
                    <a:pt x="661" y="1917"/>
                    <a:pt x="426" y="1917"/>
                  </a:cubicBezTo>
                  <a:cubicBezTo>
                    <a:pt x="191" y="1917"/>
                    <a:pt x="0" y="2108"/>
                    <a:pt x="0" y="2343"/>
                  </a:cubicBezTo>
                  <a:cubicBezTo>
                    <a:pt x="0" y="2542"/>
                    <a:pt x="136" y="2708"/>
                    <a:pt x="320" y="2756"/>
                  </a:cubicBezTo>
                  <a:cubicBezTo>
                    <a:pt x="320" y="2769"/>
                    <a:pt x="320" y="2769"/>
                    <a:pt x="320" y="2769"/>
                  </a:cubicBezTo>
                  <a:cubicBezTo>
                    <a:pt x="320" y="3239"/>
                    <a:pt x="702" y="3621"/>
                    <a:pt x="1172" y="3621"/>
                  </a:cubicBezTo>
                  <a:cubicBezTo>
                    <a:pt x="1642" y="3621"/>
                    <a:pt x="2024" y="3239"/>
                    <a:pt x="2024" y="2769"/>
                  </a:cubicBezTo>
                  <a:cubicBezTo>
                    <a:pt x="2024" y="1696"/>
                    <a:pt x="2024" y="1696"/>
                    <a:pt x="2024" y="1696"/>
                  </a:cubicBezTo>
                  <a:cubicBezTo>
                    <a:pt x="2385" y="1644"/>
                    <a:pt x="2663" y="1333"/>
                    <a:pt x="2663" y="958"/>
                  </a:cubicBezTo>
                  <a:lnTo>
                    <a:pt x="2663" y="0"/>
                  </a:lnTo>
                  <a:close/>
                </a:path>
              </a:pathLst>
            </a:custGeom>
            <a:solidFill>
              <a:srgbClr val="87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132" name="Gerader Verbinder 131">
            <a:extLst>
              <a:ext uri="{FF2B5EF4-FFF2-40B4-BE49-F238E27FC236}">
                <a16:creationId xmlns:a16="http://schemas.microsoft.com/office/drawing/2014/main" id="{5682EA8C-20B5-7A37-9709-3D6BDD97C8C0}"/>
              </a:ext>
            </a:extLst>
          </p:cNvPr>
          <p:cNvCxnSpPr>
            <a:cxnSpLocks/>
          </p:cNvCxnSpPr>
          <p:nvPr/>
        </p:nvCxnSpPr>
        <p:spPr>
          <a:xfrm flipH="1">
            <a:off x="1809750" y="4679950"/>
            <a:ext cx="304800" cy="0"/>
          </a:xfrm>
          <a:prstGeom prst="line">
            <a:avLst/>
          </a:prstGeom>
          <a:ln w="12700" cap="rnd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r Verbinder 132">
            <a:extLst>
              <a:ext uri="{FF2B5EF4-FFF2-40B4-BE49-F238E27FC236}">
                <a16:creationId xmlns:a16="http://schemas.microsoft.com/office/drawing/2014/main" id="{41EA8585-065E-5211-6C96-810AC91ED354}"/>
              </a:ext>
            </a:extLst>
          </p:cNvPr>
          <p:cNvCxnSpPr>
            <a:cxnSpLocks/>
          </p:cNvCxnSpPr>
          <p:nvPr/>
        </p:nvCxnSpPr>
        <p:spPr>
          <a:xfrm flipH="1">
            <a:off x="2540000" y="4679950"/>
            <a:ext cx="304800" cy="0"/>
          </a:xfrm>
          <a:prstGeom prst="line">
            <a:avLst/>
          </a:prstGeom>
          <a:ln w="12700" cap="rnd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r Verbinder 133">
            <a:extLst>
              <a:ext uri="{FF2B5EF4-FFF2-40B4-BE49-F238E27FC236}">
                <a16:creationId xmlns:a16="http://schemas.microsoft.com/office/drawing/2014/main" id="{9E94165C-69A1-1EDF-5A00-70E9C04F65DF}"/>
              </a:ext>
            </a:extLst>
          </p:cNvPr>
          <p:cNvCxnSpPr>
            <a:cxnSpLocks/>
          </p:cNvCxnSpPr>
          <p:nvPr/>
        </p:nvCxnSpPr>
        <p:spPr>
          <a:xfrm flipV="1">
            <a:off x="2330450" y="4845050"/>
            <a:ext cx="0" cy="209550"/>
          </a:xfrm>
          <a:prstGeom prst="line">
            <a:avLst/>
          </a:prstGeom>
          <a:ln w="12700" cap="rnd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5" name="Gruppieren 134">
            <a:extLst>
              <a:ext uri="{FF2B5EF4-FFF2-40B4-BE49-F238E27FC236}">
                <a16:creationId xmlns:a16="http://schemas.microsoft.com/office/drawing/2014/main" id="{125F1447-5A88-217F-241F-E87BC2BC5D2B}"/>
              </a:ext>
            </a:extLst>
          </p:cNvPr>
          <p:cNvGrpSpPr>
            <a:grpSpLocks noChangeAspect="1"/>
          </p:cNvGrpSpPr>
          <p:nvPr/>
        </p:nvGrpSpPr>
        <p:grpSpPr>
          <a:xfrm>
            <a:off x="1473312" y="2573437"/>
            <a:ext cx="292491" cy="202761"/>
            <a:chOff x="8510257" y="4209861"/>
            <a:chExt cx="540000" cy="407406"/>
          </a:xfrm>
        </p:grpSpPr>
        <p:sp>
          <p:nvSpPr>
            <p:cNvPr id="136" name="Rechteck: obere Ecken abgerundet 135">
              <a:extLst>
                <a:ext uri="{FF2B5EF4-FFF2-40B4-BE49-F238E27FC236}">
                  <a16:creationId xmlns:a16="http://schemas.microsoft.com/office/drawing/2014/main" id="{AFE343DE-BF53-06A1-9226-16C64375165F}"/>
                </a:ext>
              </a:extLst>
            </p:cNvPr>
            <p:cNvSpPr/>
            <p:nvPr/>
          </p:nvSpPr>
          <p:spPr>
            <a:xfrm>
              <a:off x="8510257" y="4209861"/>
              <a:ext cx="540000" cy="407406"/>
            </a:xfrm>
            <a:prstGeom prst="round2Same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7" name="Rechteck 136">
              <a:extLst>
                <a:ext uri="{FF2B5EF4-FFF2-40B4-BE49-F238E27FC236}">
                  <a16:creationId xmlns:a16="http://schemas.microsoft.com/office/drawing/2014/main" id="{C0E614C8-BCA0-4356-5D40-EF15281BE5F2}"/>
                </a:ext>
              </a:extLst>
            </p:cNvPr>
            <p:cNvSpPr/>
            <p:nvPr/>
          </p:nvSpPr>
          <p:spPr>
            <a:xfrm>
              <a:off x="8590077" y="4308421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8" name="Rechteck 137">
              <a:extLst>
                <a:ext uri="{FF2B5EF4-FFF2-40B4-BE49-F238E27FC236}">
                  <a16:creationId xmlns:a16="http://schemas.microsoft.com/office/drawing/2014/main" id="{9674DA1E-DF39-1425-54C6-32716C6DF3BA}"/>
                </a:ext>
              </a:extLst>
            </p:cNvPr>
            <p:cNvSpPr/>
            <p:nvPr/>
          </p:nvSpPr>
          <p:spPr>
            <a:xfrm>
              <a:off x="8742869" y="4308421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9" name="Rechteck 138">
              <a:extLst>
                <a:ext uri="{FF2B5EF4-FFF2-40B4-BE49-F238E27FC236}">
                  <a16:creationId xmlns:a16="http://schemas.microsoft.com/office/drawing/2014/main" id="{F4D33757-7CFE-0815-5303-C2A53E8CCD11}"/>
                </a:ext>
              </a:extLst>
            </p:cNvPr>
            <p:cNvSpPr/>
            <p:nvPr/>
          </p:nvSpPr>
          <p:spPr>
            <a:xfrm>
              <a:off x="8895659" y="4308421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0" name="Rechteck 139">
              <a:extLst>
                <a:ext uri="{FF2B5EF4-FFF2-40B4-BE49-F238E27FC236}">
                  <a16:creationId xmlns:a16="http://schemas.microsoft.com/office/drawing/2014/main" id="{AEECD9CE-5575-DC4F-7EC8-9C6F48C12078}"/>
                </a:ext>
              </a:extLst>
            </p:cNvPr>
            <p:cNvSpPr/>
            <p:nvPr/>
          </p:nvSpPr>
          <p:spPr>
            <a:xfrm>
              <a:off x="8590077" y="4460822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1" name="Rechteck 140">
              <a:extLst>
                <a:ext uri="{FF2B5EF4-FFF2-40B4-BE49-F238E27FC236}">
                  <a16:creationId xmlns:a16="http://schemas.microsoft.com/office/drawing/2014/main" id="{5613B4E9-6F85-CF79-B33E-C378E0E64E20}"/>
                </a:ext>
              </a:extLst>
            </p:cNvPr>
            <p:cNvSpPr/>
            <p:nvPr/>
          </p:nvSpPr>
          <p:spPr>
            <a:xfrm>
              <a:off x="8742869" y="4460822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2369EC18-2B0B-13C1-FBC3-166E305FA0E8}"/>
                </a:ext>
              </a:extLst>
            </p:cNvPr>
            <p:cNvSpPr/>
            <p:nvPr/>
          </p:nvSpPr>
          <p:spPr>
            <a:xfrm>
              <a:off x="8895659" y="4460822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44" name="Gruppieren 143">
            <a:extLst>
              <a:ext uri="{FF2B5EF4-FFF2-40B4-BE49-F238E27FC236}">
                <a16:creationId xmlns:a16="http://schemas.microsoft.com/office/drawing/2014/main" id="{57F49D7D-17AA-3023-ACC1-86A88C47B5F0}"/>
              </a:ext>
            </a:extLst>
          </p:cNvPr>
          <p:cNvGrpSpPr>
            <a:grpSpLocks noChangeAspect="1"/>
          </p:cNvGrpSpPr>
          <p:nvPr/>
        </p:nvGrpSpPr>
        <p:grpSpPr>
          <a:xfrm>
            <a:off x="2184205" y="3162610"/>
            <a:ext cx="292491" cy="202761"/>
            <a:chOff x="8510257" y="4209861"/>
            <a:chExt cx="540000" cy="407406"/>
          </a:xfrm>
        </p:grpSpPr>
        <p:sp>
          <p:nvSpPr>
            <p:cNvPr id="145" name="Rechteck: obere Ecken abgerundet 144">
              <a:extLst>
                <a:ext uri="{FF2B5EF4-FFF2-40B4-BE49-F238E27FC236}">
                  <a16:creationId xmlns:a16="http://schemas.microsoft.com/office/drawing/2014/main" id="{C736F454-EBC8-5DB9-754E-DEB2AD18EC5A}"/>
                </a:ext>
              </a:extLst>
            </p:cNvPr>
            <p:cNvSpPr/>
            <p:nvPr/>
          </p:nvSpPr>
          <p:spPr>
            <a:xfrm>
              <a:off x="8510257" y="4209861"/>
              <a:ext cx="540000" cy="407406"/>
            </a:xfrm>
            <a:prstGeom prst="round2Same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6" name="Rechteck 145">
              <a:extLst>
                <a:ext uri="{FF2B5EF4-FFF2-40B4-BE49-F238E27FC236}">
                  <a16:creationId xmlns:a16="http://schemas.microsoft.com/office/drawing/2014/main" id="{4179DD2E-8CA8-6742-D15E-61E3F21F074E}"/>
                </a:ext>
              </a:extLst>
            </p:cNvPr>
            <p:cNvSpPr/>
            <p:nvPr/>
          </p:nvSpPr>
          <p:spPr>
            <a:xfrm>
              <a:off x="8590077" y="4308421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" name="Rechteck 146">
              <a:extLst>
                <a:ext uri="{FF2B5EF4-FFF2-40B4-BE49-F238E27FC236}">
                  <a16:creationId xmlns:a16="http://schemas.microsoft.com/office/drawing/2014/main" id="{92DCF839-9A69-8D5E-6F37-ACD0F750E49F}"/>
                </a:ext>
              </a:extLst>
            </p:cNvPr>
            <p:cNvSpPr/>
            <p:nvPr/>
          </p:nvSpPr>
          <p:spPr>
            <a:xfrm>
              <a:off x="8742869" y="4308421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8" name="Rechteck 147">
              <a:extLst>
                <a:ext uri="{FF2B5EF4-FFF2-40B4-BE49-F238E27FC236}">
                  <a16:creationId xmlns:a16="http://schemas.microsoft.com/office/drawing/2014/main" id="{2F28E3B2-C0B7-6942-9591-8D9D2D492053}"/>
                </a:ext>
              </a:extLst>
            </p:cNvPr>
            <p:cNvSpPr/>
            <p:nvPr/>
          </p:nvSpPr>
          <p:spPr>
            <a:xfrm>
              <a:off x="8895659" y="4308421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9" name="Rechteck 148">
              <a:extLst>
                <a:ext uri="{FF2B5EF4-FFF2-40B4-BE49-F238E27FC236}">
                  <a16:creationId xmlns:a16="http://schemas.microsoft.com/office/drawing/2014/main" id="{0F70A75E-89CB-B25E-BF80-12358A5CD586}"/>
                </a:ext>
              </a:extLst>
            </p:cNvPr>
            <p:cNvSpPr/>
            <p:nvPr/>
          </p:nvSpPr>
          <p:spPr>
            <a:xfrm>
              <a:off x="8590077" y="4460822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0" name="Rechteck 149">
              <a:extLst>
                <a:ext uri="{FF2B5EF4-FFF2-40B4-BE49-F238E27FC236}">
                  <a16:creationId xmlns:a16="http://schemas.microsoft.com/office/drawing/2014/main" id="{7350C492-02AE-6793-AF55-DCCC4C17C4E8}"/>
                </a:ext>
              </a:extLst>
            </p:cNvPr>
            <p:cNvSpPr/>
            <p:nvPr/>
          </p:nvSpPr>
          <p:spPr>
            <a:xfrm>
              <a:off x="8742869" y="4460822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1" name="Rechteck 150">
              <a:extLst>
                <a:ext uri="{FF2B5EF4-FFF2-40B4-BE49-F238E27FC236}">
                  <a16:creationId xmlns:a16="http://schemas.microsoft.com/office/drawing/2014/main" id="{647FC34A-B600-9965-C972-D0D1235099A4}"/>
                </a:ext>
              </a:extLst>
            </p:cNvPr>
            <p:cNvSpPr/>
            <p:nvPr/>
          </p:nvSpPr>
          <p:spPr>
            <a:xfrm>
              <a:off x="8895659" y="4460822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52" name="Gruppieren 151">
            <a:extLst>
              <a:ext uri="{FF2B5EF4-FFF2-40B4-BE49-F238E27FC236}">
                <a16:creationId xmlns:a16="http://schemas.microsoft.com/office/drawing/2014/main" id="{0F84C987-8947-AA44-B3BD-99022A5DA0FE}"/>
              </a:ext>
            </a:extLst>
          </p:cNvPr>
          <p:cNvGrpSpPr>
            <a:grpSpLocks noChangeAspect="1"/>
          </p:cNvGrpSpPr>
          <p:nvPr/>
        </p:nvGrpSpPr>
        <p:grpSpPr>
          <a:xfrm>
            <a:off x="2901559" y="2573437"/>
            <a:ext cx="292491" cy="202761"/>
            <a:chOff x="8510257" y="4209861"/>
            <a:chExt cx="540000" cy="407406"/>
          </a:xfrm>
        </p:grpSpPr>
        <p:sp>
          <p:nvSpPr>
            <p:cNvPr id="153" name="Rechteck: obere Ecken abgerundet 152">
              <a:extLst>
                <a:ext uri="{FF2B5EF4-FFF2-40B4-BE49-F238E27FC236}">
                  <a16:creationId xmlns:a16="http://schemas.microsoft.com/office/drawing/2014/main" id="{EEBE5D55-A7B4-D0FD-1332-56BA316CEF21}"/>
                </a:ext>
              </a:extLst>
            </p:cNvPr>
            <p:cNvSpPr/>
            <p:nvPr/>
          </p:nvSpPr>
          <p:spPr>
            <a:xfrm>
              <a:off x="8510257" y="4209861"/>
              <a:ext cx="540000" cy="407406"/>
            </a:xfrm>
            <a:prstGeom prst="round2Same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4" name="Rechteck 153">
              <a:extLst>
                <a:ext uri="{FF2B5EF4-FFF2-40B4-BE49-F238E27FC236}">
                  <a16:creationId xmlns:a16="http://schemas.microsoft.com/office/drawing/2014/main" id="{B8FA8A3C-0767-668D-92B0-C1D3513716F7}"/>
                </a:ext>
              </a:extLst>
            </p:cNvPr>
            <p:cNvSpPr/>
            <p:nvPr/>
          </p:nvSpPr>
          <p:spPr>
            <a:xfrm>
              <a:off x="8590077" y="4308421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5" name="Rechteck 154">
              <a:extLst>
                <a:ext uri="{FF2B5EF4-FFF2-40B4-BE49-F238E27FC236}">
                  <a16:creationId xmlns:a16="http://schemas.microsoft.com/office/drawing/2014/main" id="{87869F38-F51B-D31B-ADA0-A9CD0F5996F4}"/>
                </a:ext>
              </a:extLst>
            </p:cNvPr>
            <p:cNvSpPr/>
            <p:nvPr/>
          </p:nvSpPr>
          <p:spPr>
            <a:xfrm>
              <a:off x="8742869" y="4308421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6" name="Rechteck 155">
              <a:extLst>
                <a:ext uri="{FF2B5EF4-FFF2-40B4-BE49-F238E27FC236}">
                  <a16:creationId xmlns:a16="http://schemas.microsoft.com/office/drawing/2014/main" id="{037186AD-73C3-BB0A-838A-F90BEE67F065}"/>
                </a:ext>
              </a:extLst>
            </p:cNvPr>
            <p:cNvSpPr/>
            <p:nvPr/>
          </p:nvSpPr>
          <p:spPr>
            <a:xfrm>
              <a:off x="8895659" y="4308421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7" name="Rechteck 156">
              <a:extLst>
                <a:ext uri="{FF2B5EF4-FFF2-40B4-BE49-F238E27FC236}">
                  <a16:creationId xmlns:a16="http://schemas.microsoft.com/office/drawing/2014/main" id="{A5F179F2-C814-D629-7DD3-DB7230307724}"/>
                </a:ext>
              </a:extLst>
            </p:cNvPr>
            <p:cNvSpPr/>
            <p:nvPr/>
          </p:nvSpPr>
          <p:spPr>
            <a:xfrm>
              <a:off x="8590077" y="4460822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8" name="Rechteck 157">
              <a:extLst>
                <a:ext uri="{FF2B5EF4-FFF2-40B4-BE49-F238E27FC236}">
                  <a16:creationId xmlns:a16="http://schemas.microsoft.com/office/drawing/2014/main" id="{0D9C505F-11AC-5A47-5EA1-D195CCF96F1B}"/>
                </a:ext>
              </a:extLst>
            </p:cNvPr>
            <p:cNvSpPr/>
            <p:nvPr/>
          </p:nvSpPr>
          <p:spPr>
            <a:xfrm>
              <a:off x="8742869" y="4460822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9" name="Rechteck 158">
              <a:extLst>
                <a:ext uri="{FF2B5EF4-FFF2-40B4-BE49-F238E27FC236}">
                  <a16:creationId xmlns:a16="http://schemas.microsoft.com/office/drawing/2014/main" id="{78DFE3EE-6370-FCB6-4EE2-07E190611139}"/>
                </a:ext>
              </a:extLst>
            </p:cNvPr>
            <p:cNvSpPr/>
            <p:nvPr/>
          </p:nvSpPr>
          <p:spPr>
            <a:xfrm>
              <a:off x="8895659" y="4460822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60" name="Freeform 143">
            <a:extLst>
              <a:ext uri="{FF2B5EF4-FFF2-40B4-BE49-F238E27FC236}">
                <a16:creationId xmlns:a16="http://schemas.microsoft.com/office/drawing/2014/main" id="{2BDD11D9-9126-213F-56C6-9BF2BBC1DBDF}"/>
              </a:ext>
            </a:extLst>
          </p:cNvPr>
          <p:cNvSpPr>
            <a:spLocks noEditPoints="1"/>
          </p:cNvSpPr>
          <p:nvPr/>
        </p:nvSpPr>
        <p:spPr bwMode="auto">
          <a:xfrm>
            <a:off x="2164430" y="4465526"/>
            <a:ext cx="329475" cy="336322"/>
          </a:xfrm>
          <a:custGeom>
            <a:avLst/>
            <a:gdLst>
              <a:gd name="T0" fmla="*/ 84 w 104"/>
              <a:gd name="T1" fmla="*/ 44 h 108"/>
              <a:gd name="T2" fmla="*/ 76 w 104"/>
              <a:gd name="T3" fmla="*/ 0 h 108"/>
              <a:gd name="T4" fmla="*/ 24 w 104"/>
              <a:gd name="T5" fmla="*/ 8 h 108"/>
              <a:gd name="T6" fmla="*/ 8 w 104"/>
              <a:gd name="T7" fmla="*/ 24 h 108"/>
              <a:gd name="T8" fmla="*/ 0 w 104"/>
              <a:gd name="T9" fmla="*/ 108 h 108"/>
              <a:gd name="T10" fmla="*/ 104 w 104"/>
              <a:gd name="T11" fmla="*/ 52 h 108"/>
              <a:gd name="T12" fmla="*/ 28 w 104"/>
              <a:gd name="T13" fmla="*/ 96 h 108"/>
              <a:gd name="T14" fmla="*/ 16 w 104"/>
              <a:gd name="T15" fmla="*/ 84 h 108"/>
              <a:gd name="T16" fmla="*/ 28 w 104"/>
              <a:gd name="T17" fmla="*/ 96 h 108"/>
              <a:gd name="T18" fmla="*/ 16 w 104"/>
              <a:gd name="T19" fmla="*/ 76 h 108"/>
              <a:gd name="T20" fmla="*/ 28 w 104"/>
              <a:gd name="T21" fmla="*/ 64 h 108"/>
              <a:gd name="T22" fmla="*/ 28 w 104"/>
              <a:gd name="T23" fmla="*/ 56 h 108"/>
              <a:gd name="T24" fmla="*/ 16 w 104"/>
              <a:gd name="T25" fmla="*/ 44 h 108"/>
              <a:gd name="T26" fmla="*/ 28 w 104"/>
              <a:gd name="T27" fmla="*/ 56 h 108"/>
              <a:gd name="T28" fmla="*/ 36 w 104"/>
              <a:gd name="T29" fmla="*/ 96 h 108"/>
              <a:gd name="T30" fmla="*/ 48 w 104"/>
              <a:gd name="T31" fmla="*/ 84 h 108"/>
              <a:gd name="T32" fmla="*/ 48 w 104"/>
              <a:gd name="T33" fmla="*/ 76 h 108"/>
              <a:gd name="T34" fmla="*/ 36 w 104"/>
              <a:gd name="T35" fmla="*/ 64 h 108"/>
              <a:gd name="T36" fmla="*/ 48 w 104"/>
              <a:gd name="T37" fmla="*/ 76 h 108"/>
              <a:gd name="T38" fmla="*/ 56 w 104"/>
              <a:gd name="T39" fmla="*/ 96 h 108"/>
              <a:gd name="T40" fmla="*/ 68 w 104"/>
              <a:gd name="T41" fmla="*/ 84 h 108"/>
              <a:gd name="T42" fmla="*/ 68 w 104"/>
              <a:gd name="T43" fmla="*/ 76 h 108"/>
              <a:gd name="T44" fmla="*/ 56 w 104"/>
              <a:gd name="T45" fmla="*/ 64 h 108"/>
              <a:gd name="T46" fmla="*/ 68 w 104"/>
              <a:gd name="T47" fmla="*/ 76 h 108"/>
              <a:gd name="T48" fmla="*/ 60 w 104"/>
              <a:gd name="T49" fmla="*/ 44 h 108"/>
              <a:gd name="T50" fmla="*/ 48 w 104"/>
              <a:gd name="T51" fmla="*/ 32 h 108"/>
              <a:gd name="T52" fmla="*/ 40 w 104"/>
              <a:gd name="T53" fmla="*/ 44 h 108"/>
              <a:gd name="T54" fmla="*/ 48 w 104"/>
              <a:gd name="T55" fmla="*/ 12 h 108"/>
              <a:gd name="T56" fmla="*/ 60 w 104"/>
              <a:gd name="T57" fmla="*/ 24 h 108"/>
              <a:gd name="T58" fmla="*/ 68 w 104"/>
              <a:gd name="T59" fmla="*/ 12 h 108"/>
              <a:gd name="T60" fmla="*/ 88 w 104"/>
              <a:gd name="T61" fmla="*/ 96 h 108"/>
              <a:gd name="T62" fmla="*/ 76 w 104"/>
              <a:gd name="T63" fmla="*/ 84 h 108"/>
              <a:gd name="T64" fmla="*/ 88 w 104"/>
              <a:gd name="T65" fmla="*/ 96 h 108"/>
              <a:gd name="T66" fmla="*/ 76 w 104"/>
              <a:gd name="T67" fmla="*/ 76 h 108"/>
              <a:gd name="T68" fmla="*/ 88 w 104"/>
              <a:gd name="T69" fmla="*/ 64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04" h="108">
                <a:moveTo>
                  <a:pt x="96" y="44"/>
                </a:moveTo>
                <a:cubicBezTo>
                  <a:pt x="84" y="44"/>
                  <a:pt x="84" y="44"/>
                  <a:pt x="84" y="44"/>
                </a:cubicBezTo>
                <a:cubicBezTo>
                  <a:pt x="84" y="8"/>
                  <a:pt x="84" y="8"/>
                  <a:pt x="84" y="8"/>
                </a:cubicBezTo>
                <a:cubicBezTo>
                  <a:pt x="84" y="4"/>
                  <a:pt x="80" y="0"/>
                  <a:pt x="76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28" y="0"/>
                  <a:pt x="24" y="4"/>
                  <a:pt x="24" y="8"/>
                </a:cubicBezTo>
                <a:cubicBezTo>
                  <a:pt x="24" y="24"/>
                  <a:pt x="24" y="24"/>
                  <a:pt x="24" y="24"/>
                </a:cubicBezTo>
                <a:cubicBezTo>
                  <a:pt x="8" y="24"/>
                  <a:pt x="8" y="24"/>
                  <a:pt x="8" y="24"/>
                </a:cubicBezTo>
                <a:cubicBezTo>
                  <a:pt x="4" y="24"/>
                  <a:pt x="0" y="28"/>
                  <a:pt x="0" y="32"/>
                </a:cubicBezTo>
                <a:cubicBezTo>
                  <a:pt x="0" y="108"/>
                  <a:pt x="0" y="108"/>
                  <a:pt x="0" y="108"/>
                </a:cubicBezTo>
                <a:cubicBezTo>
                  <a:pt x="104" y="108"/>
                  <a:pt x="104" y="108"/>
                  <a:pt x="104" y="108"/>
                </a:cubicBezTo>
                <a:cubicBezTo>
                  <a:pt x="104" y="52"/>
                  <a:pt x="104" y="52"/>
                  <a:pt x="104" y="52"/>
                </a:cubicBezTo>
                <a:cubicBezTo>
                  <a:pt x="104" y="48"/>
                  <a:pt x="100" y="44"/>
                  <a:pt x="96" y="44"/>
                </a:cubicBezTo>
                <a:close/>
                <a:moveTo>
                  <a:pt x="28" y="96"/>
                </a:moveTo>
                <a:cubicBezTo>
                  <a:pt x="16" y="96"/>
                  <a:pt x="16" y="96"/>
                  <a:pt x="16" y="96"/>
                </a:cubicBezTo>
                <a:cubicBezTo>
                  <a:pt x="16" y="84"/>
                  <a:pt x="16" y="84"/>
                  <a:pt x="16" y="84"/>
                </a:cubicBezTo>
                <a:cubicBezTo>
                  <a:pt x="28" y="84"/>
                  <a:pt x="28" y="84"/>
                  <a:pt x="28" y="84"/>
                </a:cubicBezTo>
                <a:lnTo>
                  <a:pt x="28" y="96"/>
                </a:lnTo>
                <a:close/>
                <a:moveTo>
                  <a:pt x="28" y="76"/>
                </a:moveTo>
                <a:cubicBezTo>
                  <a:pt x="16" y="76"/>
                  <a:pt x="16" y="76"/>
                  <a:pt x="16" y="76"/>
                </a:cubicBezTo>
                <a:cubicBezTo>
                  <a:pt x="16" y="64"/>
                  <a:pt x="16" y="64"/>
                  <a:pt x="16" y="64"/>
                </a:cubicBezTo>
                <a:cubicBezTo>
                  <a:pt x="28" y="64"/>
                  <a:pt x="28" y="64"/>
                  <a:pt x="28" y="64"/>
                </a:cubicBezTo>
                <a:lnTo>
                  <a:pt x="28" y="76"/>
                </a:lnTo>
                <a:close/>
                <a:moveTo>
                  <a:pt x="28" y="56"/>
                </a:moveTo>
                <a:cubicBezTo>
                  <a:pt x="16" y="56"/>
                  <a:pt x="16" y="56"/>
                  <a:pt x="16" y="56"/>
                </a:cubicBezTo>
                <a:cubicBezTo>
                  <a:pt x="16" y="44"/>
                  <a:pt x="16" y="44"/>
                  <a:pt x="16" y="44"/>
                </a:cubicBezTo>
                <a:cubicBezTo>
                  <a:pt x="28" y="44"/>
                  <a:pt x="28" y="44"/>
                  <a:pt x="28" y="44"/>
                </a:cubicBezTo>
                <a:lnTo>
                  <a:pt x="28" y="56"/>
                </a:lnTo>
                <a:close/>
                <a:moveTo>
                  <a:pt x="48" y="96"/>
                </a:moveTo>
                <a:cubicBezTo>
                  <a:pt x="36" y="96"/>
                  <a:pt x="36" y="96"/>
                  <a:pt x="36" y="96"/>
                </a:cubicBezTo>
                <a:cubicBezTo>
                  <a:pt x="36" y="84"/>
                  <a:pt x="36" y="84"/>
                  <a:pt x="36" y="84"/>
                </a:cubicBezTo>
                <a:cubicBezTo>
                  <a:pt x="48" y="84"/>
                  <a:pt x="48" y="84"/>
                  <a:pt x="48" y="84"/>
                </a:cubicBezTo>
                <a:lnTo>
                  <a:pt x="48" y="96"/>
                </a:lnTo>
                <a:close/>
                <a:moveTo>
                  <a:pt x="48" y="76"/>
                </a:moveTo>
                <a:cubicBezTo>
                  <a:pt x="36" y="76"/>
                  <a:pt x="36" y="76"/>
                  <a:pt x="36" y="76"/>
                </a:cubicBezTo>
                <a:cubicBezTo>
                  <a:pt x="36" y="64"/>
                  <a:pt x="36" y="64"/>
                  <a:pt x="36" y="64"/>
                </a:cubicBezTo>
                <a:cubicBezTo>
                  <a:pt x="48" y="64"/>
                  <a:pt x="48" y="64"/>
                  <a:pt x="48" y="64"/>
                </a:cubicBezTo>
                <a:lnTo>
                  <a:pt x="48" y="76"/>
                </a:lnTo>
                <a:close/>
                <a:moveTo>
                  <a:pt x="68" y="96"/>
                </a:moveTo>
                <a:cubicBezTo>
                  <a:pt x="56" y="96"/>
                  <a:pt x="56" y="96"/>
                  <a:pt x="56" y="96"/>
                </a:cubicBezTo>
                <a:cubicBezTo>
                  <a:pt x="56" y="84"/>
                  <a:pt x="56" y="84"/>
                  <a:pt x="56" y="84"/>
                </a:cubicBezTo>
                <a:cubicBezTo>
                  <a:pt x="68" y="84"/>
                  <a:pt x="68" y="84"/>
                  <a:pt x="68" y="84"/>
                </a:cubicBezTo>
                <a:lnTo>
                  <a:pt x="68" y="96"/>
                </a:lnTo>
                <a:close/>
                <a:moveTo>
                  <a:pt x="68" y="76"/>
                </a:moveTo>
                <a:cubicBezTo>
                  <a:pt x="56" y="76"/>
                  <a:pt x="56" y="76"/>
                  <a:pt x="56" y="76"/>
                </a:cubicBezTo>
                <a:cubicBezTo>
                  <a:pt x="56" y="64"/>
                  <a:pt x="56" y="64"/>
                  <a:pt x="56" y="64"/>
                </a:cubicBezTo>
                <a:cubicBezTo>
                  <a:pt x="68" y="64"/>
                  <a:pt x="68" y="64"/>
                  <a:pt x="68" y="64"/>
                </a:cubicBezTo>
                <a:lnTo>
                  <a:pt x="68" y="76"/>
                </a:lnTo>
                <a:close/>
                <a:moveTo>
                  <a:pt x="68" y="44"/>
                </a:moveTo>
                <a:cubicBezTo>
                  <a:pt x="60" y="44"/>
                  <a:pt x="60" y="44"/>
                  <a:pt x="60" y="44"/>
                </a:cubicBezTo>
                <a:cubicBezTo>
                  <a:pt x="60" y="32"/>
                  <a:pt x="60" y="32"/>
                  <a:pt x="60" y="32"/>
                </a:cubicBezTo>
                <a:cubicBezTo>
                  <a:pt x="48" y="32"/>
                  <a:pt x="48" y="32"/>
                  <a:pt x="48" y="32"/>
                </a:cubicBezTo>
                <a:cubicBezTo>
                  <a:pt x="48" y="44"/>
                  <a:pt x="48" y="44"/>
                  <a:pt x="48" y="44"/>
                </a:cubicBezTo>
                <a:cubicBezTo>
                  <a:pt x="40" y="44"/>
                  <a:pt x="40" y="44"/>
                  <a:pt x="40" y="44"/>
                </a:cubicBezTo>
                <a:cubicBezTo>
                  <a:pt x="40" y="12"/>
                  <a:pt x="40" y="12"/>
                  <a:pt x="40" y="12"/>
                </a:cubicBezTo>
                <a:cubicBezTo>
                  <a:pt x="48" y="12"/>
                  <a:pt x="48" y="12"/>
                  <a:pt x="48" y="12"/>
                </a:cubicBezTo>
                <a:cubicBezTo>
                  <a:pt x="48" y="24"/>
                  <a:pt x="48" y="24"/>
                  <a:pt x="48" y="24"/>
                </a:cubicBezTo>
                <a:cubicBezTo>
                  <a:pt x="60" y="24"/>
                  <a:pt x="60" y="24"/>
                  <a:pt x="60" y="24"/>
                </a:cubicBezTo>
                <a:cubicBezTo>
                  <a:pt x="60" y="12"/>
                  <a:pt x="60" y="12"/>
                  <a:pt x="60" y="12"/>
                </a:cubicBezTo>
                <a:cubicBezTo>
                  <a:pt x="68" y="12"/>
                  <a:pt x="68" y="12"/>
                  <a:pt x="68" y="12"/>
                </a:cubicBezTo>
                <a:lnTo>
                  <a:pt x="68" y="44"/>
                </a:lnTo>
                <a:close/>
                <a:moveTo>
                  <a:pt x="88" y="96"/>
                </a:moveTo>
                <a:cubicBezTo>
                  <a:pt x="76" y="96"/>
                  <a:pt x="76" y="96"/>
                  <a:pt x="76" y="96"/>
                </a:cubicBezTo>
                <a:cubicBezTo>
                  <a:pt x="76" y="84"/>
                  <a:pt x="76" y="84"/>
                  <a:pt x="76" y="84"/>
                </a:cubicBezTo>
                <a:cubicBezTo>
                  <a:pt x="88" y="84"/>
                  <a:pt x="88" y="84"/>
                  <a:pt x="88" y="84"/>
                </a:cubicBezTo>
                <a:lnTo>
                  <a:pt x="88" y="96"/>
                </a:lnTo>
                <a:close/>
                <a:moveTo>
                  <a:pt x="88" y="76"/>
                </a:moveTo>
                <a:cubicBezTo>
                  <a:pt x="76" y="76"/>
                  <a:pt x="76" y="76"/>
                  <a:pt x="76" y="76"/>
                </a:cubicBezTo>
                <a:cubicBezTo>
                  <a:pt x="76" y="64"/>
                  <a:pt x="76" y="64"/>
                  <a:pt x="76" y="64"/>
                </a:cubicBezTo>
                <a:cubicBezTo>
                  <a:pt x="88" y="64"/>
                  <a:pt x="88" y="64"/>
                  <a:pt x="88" y="64"/>
                </a:cubicBezTo>
                <a:lnTo>
                  <a:pt x="88" y="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61" name="Gruppieren 160">
            <a:extLst>
              <a:ext uri="{FF2B5EF4-FFF2-40B4-BE49-F238E27FC236}">
                <a16:creationId xmlns:a16="http://schemas.microsoft.com/office/drawing/2014/main" id="{A757474E-BF1F-A5AB-11B6-7DB85F96EF5B}"/>
              </a:ext>
            </a:extLst>
          </p:cNvPr>
          <p:cNvGrpSpPr>
            <a:grpSpLocks noChangeAspect="1"/>
          </p:cNvGrpSpPr>
          <p:nvPr/>
        </p:nvGrpSpPr>
        <p:grpSpPr>
          <a:xfrm>
            <a:off x="2901559" y="4599087"/>
            <a:ext cx="292491" cy="202761"/>
            <a:chOff x="8510257" y="4209861"/>
            <a:chExt cx="540000" cy="407406"/>
          </a:xfrm>
        </p:grpSpPr>
        <p:sp>
          <p:nvSpPr>
            <p:cNvPr id="162" name="Rechteck: obere Ecken abgerundet 161">
              <a:extLst>
                <a:ext uri="{FF2B5EF4-FFF2-40B4-BE49-F238E27FC236}">
                  <a16:creationId xmlns:a16="http://schemas.microsoft.com/office/drawing/2014/main" id="{A0D6A459-F5CB-C80D-C21F-9AA714A4E912}"/>
                </a:ext>
              </a:extLst>
            </p:cNvPr>
            <p:cNvSpPr/>
            <p:nvPr/>
          </p:nvSpPr>
          <p:spPr>
            <a:xfrm>
              <a:off x="8510257" y="4209861"/>
              <a:ext cx="540000" cy="407406"/>
            </a:xfrm>
            <a:prstGeom prst="round2Same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3" name="Rechteck 162">
              <a:extLst>
                <a:ext uri="{FF2B5EF4-FFF2-40B4-BE49-F238E27FC236}">
                  <a16:creationId xmlns:a16="http://schemas.microsoft.com/office/drawing/2014/main" id="{7C7A0BEE-5839-5A9B-BEA3-063B2ABE95A3}"/>
                </a:ext>
              </a:extLst>
            </p:cNvPr>
            <p:cNvSpPr/>
            <p:nvPr/>
          </p:nvSpPr>
          <p:spPr>
            <a:xfrm>
              <a:off x="8590077" y="4308421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4" name="Rechteck 163">
              <a:extLst>
                <a:ext uri="{FF2B5EF4-FFF2-40B4-BE49-F238E27FC236}">
                  <a16:creationId xmlns:a16="http://schemas.microsoft.com/office/drawing/2014/main" id="{AA46BDB5-B19B-0535-57E0-29589D209957}"/>
                </a:ext>
              </a:extLst>
            </p:cNvPr>
            <p:cNvSpPr/>
            <p:nvPr/>
          </p:nvSpPr>
          <p:spPr>
            <a:xfrm>
              <a:off x="8742869" y="4308421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5" name="Rechteck 164">
              <a:extLst>
                <a:ext uri="{FF2B5EF4-FFF2-40B4-BE49-F238E27FC236}">
                  <a16:creationId xmlns:a16="http://schemas.microsoft.com/office/drawing/2014/main" id="{5462CE98-CFA3-1751-4803-222862E43D13}"/>
                </a:ext>
              </a:extLst>
            </p:cNvPr>
            <p:cNvSpPr/>
            <p:nvPr/>
          </p:nvSpPr>
          <p:spPr>
            <a:xfrm>
              <a:off x="8895659" y="4308421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6" name="Rechteck 165">
              <a:extLst>
                <a:ext uri="{FF2B5EF4-FFF2-40B4-BE49-F238E27FC236}">
                  <a16:creationId xmlns:a16="http://schemas.microsoft.com/office/drawing/2014/main" id="{0FE158CF-AFA5-3884-5A4D-036190B91201}"/>
                </a:ext>
              </a:extLst>
            </p:cNvPr>
            <p:cNvSpPr/>
            <p:nvPr/>
          </p:nvSpPr>
          <p:spPr>
            <a:xfrm>
              <a:off x="8590077" y="4460822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7" name="Rechteck 166">
              <a:extLst>
                <a:ext uri="{FF2B5EF4-FFF2-40B4-BE49-F238E27FC236}">
                  <a16:creationId xmlns:a16="http://schemas.microsoft.com/office/drawing/2014/main" id="{519F3465-52B1-5807-CC55-6E4751142332}"/>
                </a:ext>
              </a:extLst>
            </p:cNvPr>
            <p:cNvSpPr/>
            <p:nvPr/>
          </p:nvSpPr>
          <p:spPr>
            <a:xfrm>
              <a:off x="8742869" y="4460822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8" name="Rechteck 167">
              <a:extLst>
                <a:ext uri="{FF2B5EF4-FFF2-40B4-BE49-F238E27FC236}">
                  <a16:creationId xmlns:a16="http://schemas.microsoft.com/office/drawing/2014/main" id="{CD713073-546A-57DF-A7DD-2D45659BAA65}"/>
                </a:ext>
              </a:extLst>
            </p:cNvPr>
            <p:cNvSpPr/>
            <p:nvPr/>
          </p:nvSpPr>
          <p:spPr>
            <a:xfrm>
              <a:off x="8895659" y="4460822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69" name="Gruppieren 168">
            <a:extLst>
              <a:ext uri="{FF2B5EF4-FFF2-40B4-BE49-F238E27FC236}">
                <a16:creationId xmlns:a16="http://schemas.microsoft.com/office/drawing/2014/main" id="{0D8AC047-7130-2E8F-E7F0-3C73ED43FB2B}"/>
              </a:ext>
            </a:extLst>
          </p:cNvPr>
          <p:cNvGrpSpPr>
            <a:grpSpLocks noChangeAspect="1"/>
          </p:cNvGrpSpPr>
          <p:nvPr/>
        </p:nvGrpSpPr>
        <p:grpSpPr>
          <a:xfrm>
            <a:off x="1472761" y="4596721"/>
            <a:ext cx="292491" cy="202761"/>
            <a:chOff x="8510257" y="4209861"/>
            <a:chExt cx="540000" cy="407406"/>
          </a:xfrm>
        </p:grpSpPr>
        <p:sp>
          <p:nvSpPr>
            <p:cNvPr id="170" name="Rechteck: obere Ecken abgerundet 169">
              <a:extLst>
                <a:ext uri="{FF2B5EF4-FFF2-40B4-BE49-F238E27FC236}">
                  <a16:creationId xmlns:a16="http://schemas.microsoft.com/office/drawing/2014/main" id="{5C342641-CFE5-965F-A5D0-6DF8FE866FCD}"/>
                </a:ext>
              </a:extLst>
            </p:cNvPr>
            <p:cNvSpPr/>
            <p:nvPr/>
          </p:nvSpPr>
          <p:spPr>
            <a:xfrm>
              <a:off x="8510257" y="4209861"/>
              <a:ext cx="540000" cy="407406"/>
            </a:xfrm>
            <a:prstGeom prst="round2Same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1" name="Rechteck 170">
              <a:extLst>
                <a:ext uri="{FF2B5EF4-FFF2-40B4-BE49-F238E27FC236}">
                  <a16:creationId xmlns:a16="http://schemas.microsoft.com/office/drawing/2014/main" id="{D87A4A6B-1DB1-7A07-A578-1D23895401EB}"/>
                </a:ext>
              </a:extLst>
            </p:cNvPr>
            <p:cNvSpPr/>
            <p:nvPr/>
          </p:nvSpPr>
          <p:spPr>
            <a:xfrm>
              <a:off x="8590077" y="4308421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2" name="Rechteck 171">
              <a:extLst>
                <a:ext uri="{FF2B5EF4-FFF2-40B4-BE49-F238E27FC236}">
                  <a16:creationId xmlns:a16="http://schemas.microsoft.com/office/drawing/2014/main" id="{C2836EA4-5C0D-AAB6-9D16-B3AE9CA9C024}"/>
                </a:ext>
              </a:extLst>
            </p:cNvPr>
            <p:cNvSpPr/>
            <p:nvPr/>
          </p:nvSpPr>
          <p:spPr>
            <a:xfrm>
              <a:off x="8742869" y="4308421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3" name="Rechteck 172">
              <a:extLst>
                <a:ext uri="{FF2B5EF4-FFF2-40B4-BE49-F238E27FC236}">
                  <a16:creationId xmlns:a16="http://schemas.microsoft.com/office/drawing/2014/main" id="{3D3EF2DB-28B0-FC09-75EF-49E5FAFD73CB}"/>
                </a:ext>
              </a:extLst>
            </p:cNvPr>
            <p:cNvSpPr/>
            <p:nvPr/>
          </p:nvSpPr>
          <p:spPr>
            <a:xfrm>
              <a:off x="8895659" y="4308421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4" name="Rechteck 173">
              <a:extLst>
                <a:ext uri="{FF2B5EF4-FFF2-40B4-BE49-F238E27FC236}">
                  <a16:creationId xmlns:a16="http://schemas.microsoft.com/office/drawing/2014/main" id="{741623AF-EF29-6E3F-F504-2E7EE10DAA4E}"/>
                </a:ext>
              </a:extLst>
            </p:cNvPr>
            <p:cNvSpPr/>
            <p:nvPr/>
          </p:nvSpPr>
          <p:spPr>
            <a:xfrm>
              <a:off x="8590077" y="4460822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5" name="Rechteck 174">
              <a:extLst>
                <a:ext uri="{FF2B5EF4-FFF2-40B4-BE49-F238E27FC236}">
                  <a16:creationId xmlns:a16="http://schemas.microsoft.com/office/drawing/2014/main" id="{7FBC85EE-7B58-98AA-A642-922E5C0E2CC7}"/>
                </a:ext>
              </a:extLst>
            </p:cNvPr>
            <p:cNvSpPr/>
            <p:nvPr/>
          </p:nvSpPr>
          <p:spPr>
            <a:xfrm>
              <a:off x="8742869" y="4460822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6" name="Rechteck 175">
              <a:extLst>
                <a:ext uri="{FF2B5EF4-FFF2-40B4-BE49-F238E27FC236}">
                  <a16:creationId xmlns:a16="http://schemas.microsoft.com/office/drawing/2014/main" id="{18C52DFB-CA09-93BA-2653-F679FE61807C}"/>
                </a:ext>
              </a:extLst>
            </p:cNvPr>
            <p:cNvSpPr/>
            <p:nvPr/>
          </p:nvSpPr>
          <p:spPr>
            <a:xfrm>
              <a:off x="8895659" y="4460822"/>
              <a:ext cx="84169" cy="84168"/>
            </a:xfrm>
            <a:prstGeom prst="rect">
              <a:avLst/>
            </a:prstGeom>
            <a:solidFill>
              <a:srgbClr val="87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688F58BE-E4C4-0BF5-F3F2-29B5C1321397}"/>
              </a:ext>
            </a:extLst>
          </p:cNvPr>
          <p:cNvGrpSpPr/>
          <p:nvPr/>
        </p:nvGrpSpPr>
        <p:grpSpPr>
          <a:xfrm>
            <a:off x="10690751" y="5252746"/>
            <a:ext cx="709206" cy="707236"/>
            <a:chOff x="10690751" y="5252746"/>
            <a:chExt cx="709206" cy="707236"/>
          </a:xfrm>
        </p:grpSpPr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8CBAEC37-3F40-F769-B1B3-3FDB348037D4}"/>
                </a:ext>
              </a:extLst>
            </p:cNvPr>
            <p:cNvSpPr txBox="1">
              <a:spLocks/>
            </p:cNvSpPr>
            <p:nvPr/>
          </p:nvSpPr>
          <p:spPr>
            <a:xfrm>
              <a:off x="10690751" y="5252746"/>
              <a:ext cx="709206" cy="707236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</p:spPr>
          <p:txBody>
            <a:bodyPr wrap="square" lIns="144000" tIns="108000" rIns="144000" bIns="108000" rtlCol="0">
              <a:noAutofit/>
            </a:bodyPr>
            <a:lstStyle/>
            <a:p>
              <a:pPr marL="0" marR="0" lvl="0" indent="0" defTabSz="914400" eaLnBrk="1" fontAlgn="auto" latinLnBrk="0" hangingPunct="1"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45" name="Grafik 44">
              <a:extLst>
                <a:ext uri="{FF2B5EF4-FFF2-40B4-BE49-F238E27FC236}">
                  <a16:creationId xmlns:a16="http://schemas.microsoft.com/office/drawing/2014/main" id="{FCD84638-5481-671F-3C55-4CF1C7D3494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828348" y="5389358"/>
              <a:ext cx="434012" cy="434012"/>
            </a:xfrm>
            <a:prstGeom prst="rect">
              <a:avLst/>
            </a:prstGeom>
          </p:spPr>
        </p:pic>
      </p:grpSp>
      <p:sp>
        <p:nvSpPr>
          <p:cNvPr id="3" name="TextBox 5">
            <a:extLst>
              <a:ext uri="{FF2B5EF4-FFF2-40B4-BE49-F238E27FC236}">
                <a16:creationId xmlns:a16="http://schemas.microsoft.com/office/drawing/2014/main" id="{3FACF822-237D-484B-7B4C-D0CDDB08392C}"/>
              </a:ext>
            </a:extLst>
          </p:cNvPr>
          <p:cNvSpPr txBox="1"/>
          <p:nvPr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3</a:t>
            </a:fld>
            <a:endParaRPr lang="de-DE" sz="1000" b="1" i="0" u="none" kern="1200" spc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8" name="Restricted">
            <a:extLst>
              <a:ext uri="{FF2B5EF4-FFF2-40B4-BE49-F238E27FC236}">
                <a16:creationId xmlns:a16="http://schemas.microsoft.com/office/drawing/2014/main" id="{CC020425-1219-9A51-BC9C-B988FF0EA2D9}"/>
              </a:ext>
            </a:extLst>
          </p:cNvPr>
          <p:cNvSpPr txBox="1"/>
          <p:nvPr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de-DE" sz="1000">
                <a:solidFill>
                  <a:schemeClr val="tx1"/>
                </a:solidFill>
              </a:rPr>
              <a:t>Frei verwendbar © Siemens Healthineers, 2023</a:t>
            </a:r>
          </a:p>
        </p:txBody>
      </p:sp>
    </p:spTree>
    <p:extLst>
      <p:ext uri="{BB962C8B-B14F-4D97-AF65-F5344CB8AC3E}">
        <p14:creationId xmlns:p14="http://schemas.microsoft.com/office/powerpoint/2010/main" val="10889805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1C1B975-B31F-D736-30A4-03742B1A8C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4567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1C1B975-B31F-D736-30A4-03742B1A8C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5">
            <a:extLst>
              <a:ext uri="{FF2B5EF4-FFF2-40B4-BE49-F238E27FC236}">
                <a16:creationId xmlns:a16="http://schemas.microsoft.com/office/drawing/2014/main" id="{E2151F0C-8AC2-7693-2F0F-FB7B857B43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35963" y="1620000"/>
            <a:ext cx="3292475" cy="247650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93B688D-731D-3496-9AF0-A1A98CC5F6EC}"/>
              </a:ext>
            </a:extLst>
          </p:cNvPr>
          <p:cNvCxnSpPr>
            <a:cxnSpLocks/>
          </p:cNvCxnSpPr>
          <p:nvPr/>
        </p:nvCxnSpPr>
        <p:spPr>
          <a:xfrm>
            <a:off x="540000" y="5334750"/>
            <a:ext cx="11107351" cy="0"/>
          </a:xfrm>
          <a:prstGeom prst="line">
            <a:avLst/>
          </a:prstGeom>
          <a:ln w="31750" cap="rnd">
            <a:solidFill>
              <a:schemeClr val="accent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C8880C51-CCD5-8F08-CB86-DA713EAD79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Zusammenarbeit in der Versorgung und Einbindung </a:t>
            </a:r>
            <a:br>
              <a:rPr lang="de-DE"/>
            </a:br>
            <a:r>
              <a:rPr lang="de-DE"/>
              <a:t>der Patientinnen &amp; Patienten durch eHealth Solutions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2C6D13C-A050-5A5C-6F29-CBC38DF10A5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C3FC0AA-D9C0-A350-2F89-9978587A7EE3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pt-BR"/>
              <a:t>A91GER-H-001672-E4</a:t>
            </a:r>
            <a:endParaRPr lang="de-DE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571225CE-C435-BB33-1B68-0FB617F573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32850" y="1620000"/>
            <a:ext cx="6076951" cy="247650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tangle 7">
            <a:extLst>
              <a:ext uri="{FF2B5EF4-FFF2-40B4-BE49-F238E27FC236}">
                <a16:creationId xmlns:a16="http://schemas.microsoft.com/office/drawing/2014/main" id="{4B30E88B-E66B-5595-59D7-30E3BBBD79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32850" y="4287000"/>
            <a:ext cx="9595588" cy="95250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Rectangle 8">
            <a:extLst>
              <a:ext uri="{FF2B5EF4-FFF2-40B4-BE49-F238E27FC236}">
                <a16:creationId xmlns:a16="http://schemas.microsoft.com/office/drawing/2014/main" id="{BFE2994F-4993-56DC-4B91-7099923F97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32850" y="5430000"/>
            <a:ext cx="9595588" cy="76200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Rectangle 9">
            <a:extLst>
              <a:ext uri="{FF2B5EF4-FFF2-40B4-BE49-F238E27FC236}">
                <a16:creationId xmlns:a16="http://schemas.microsoft.com/office/drawing/2014/main" id="{671674F6-BBBB-DEE9-A646-94A1DE2222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40712" y="1715250"/>
            <a:ext cx="3297238" cy="285750"/>
          </a:xfrm>
          <a:prstGeom prst="rect">
            <a:avLst/>
          </a:prstGeom>
          <a:solidFill>
            <a:srgbClr val="EC66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eform 10">
            <a:extLst>
              <a:ext uri="{FF2B5EF4-FFF2-40B4-BE49-F238E27FC236}">
                <a16:creationId xmlns:a16="http://schemas.microsoft.com/office/drawing/2014/main" id="{636B159B-1862-EEA7-19B1-6E3F0D743A68}"/>
              </a:ext>
            </a:extLst>
          </p:cNvPr>
          <p:cNvSpPr>
            <a:spLocks/>
          </p:cNvSpPr>
          <p:nvPr/>
        </p:nvSpPr>
        <p:spPr bwMode="auto">
          <a:xfrm>
            <a:off x="8240713" y="1667625"/>
            <a:ext cx="95250" cy="47625"/>
          </a:xfrm>
          <a:custGeom>
            <a:avLst/>
            <a:gdLst>
              <a:gd name="T0" fmla="*/ 0 w 181"/>
              <a:gd name="T1" fmla="*/ 90 h 90"/>
              <a:gd name="T2" fmla="*/ 181 w 181"/>
              <a:gd name="T3" fmla="*/ 0 h 90"/>
              <a:gd name="T4" fmla="*/ 181 w 181"/>
              <a:gd name="T5" fmla="*/ 90 h 90"/>
              <a:gd name="T6" fmla="*/ 0 w 181"/>
              <a:gd name="T7" fmla="*/ 9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1" h="90">
                <a:moveTo>
                  <a:pt x="0" y="90"/>
                </a:moveTo>
                <a:lnTo>
                  <a:pt x="181" y="0"/>
                </a:lnTo>
                <a:lnTo>
                  <a:pt x="181" y="90"/>
                </a:lnTo>
                <a:lnTo>
                  <a:pt x="0" y="90"/>
                </a:lnTo>
                <a:close/>
              </a:path>
            </a:pathLst>
          </a:custGeom>
          <a:solidFill>
            <a:srgbClr val="F19E6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Rectangle 11">
            <a:extLst>
              <a:ext uri="{FF2B5EF4-FFF2-40B4-BE49-F238E27FC236}">
                <a16:creationId xmlns:a16="http://schemas.microsoft.com/office/drawing/2014/main" id="{6B26D834-8A2E-89D0-74B8-9E0E58F275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38336" y="1715250"/>
            <a:ext cx="3297238" cy="285750"/>
          </a:xfrm>
          <a:prstGeom prst="rect">
            <a:avLst/>
          </a:prstGeom>
          <a:solidFill>
            <a:srgbClr val="00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eform 12">
            <a:extLst>
              <a:ext uri="{FF2B5EF4-FFF2-40B4-BE49-F238E27FC236}">
                <a16:creationId xmlns:a16="http://schemas.microsoft.com/office/drawing/2014/main" id="{54B56CB2-C758-A0BA-E76B-0312B65DC7EC}"/>
              </a:ext>
            </a:extLst>
          </p:cNvPr>
          <p:cNvSpPr>
            <a:spLocks/>
          </p:cNvSpPr>
          <p:nvPr/>
        </p:nvSpPr>
        <p:spPr bwMode="auto">
          <a:xfrm>
            <a:off x="1938338" y="1667625"/>
            <a:ext cx="95250" cy="47625"/>
          </a:xfrm>
          <a:custGeom>
            <a:avLst/>
            <a:gdLst>
              <a:gd name="T0" fmla="*/ 0 w 181"/>
              <a:gd name="T1" fmla="*/ 90 h 90"/>
              <a:gd name="T2" fmla="*/ 181 w 181"/>
              <a:gd name="T3" fmla="*/ 90 h 90"/>
              <a:gd name="T4" fmla="*/ 181 w 181"/>
              <a:gd name="T5" fmla="*/ 0 h 90"/>
              <a:gd name="T6" fmla="*/ 0 w 181"/>
              <a:gd name="T7" fmla="*/ 9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1" h="90">
                <a:moveTo>
                  <a:pt x="0" y="90"/>
                </a:moveTo>
                <a:lnTo>
                  <a:pt x="181" y="90"/>
                </a:lnTo>
                <a:lnTo>
                  <a:pt x="181" y="0"/>
                </a:lnTo>
                <a:lnTo>
                  <a:pt x="0" y="90"/>
                </a:lnTo>
                <a:close/>
              </a:path>
            </a:pathLst>
          </a:custGeom>
          <a:solidFill>
            <a:srgbClr val="3DC3B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8612FBC-EA0E-931F-B6B7-99BD222175FC}"/>
              </a:ext>
            </a:extLst>
          </p:cNvPr>
          <p:cNvGrpSpPr>
            <a:grpSpLocks/>
          </p:cNvGrpSpPr>
          <p:nvPr/>
        </p:nvGrpSpPr>
        <p:grpSpPr>
          <a:xfrm>
            <a:off x="3002015" y="4579620"/>
            <a:ext cx="368076" cy="367260"/>
            <a:chOff x="2390245" y="4477500"/>
            <a:chExt cx="477308" cy="476250"/>
          </a:xfrm>
          <a:solidFill>
            <a:schemeClr val="bg2"/>
          </a:solidFill>
        </p:grpSpPr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77E677A1-8D29-A354-9039-39B1B0AB5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0245" y="4886017"/>
              <a:ext cx="477308" cy="67733"/>
            </a:xfrm>
            <a:custGeom>
              <a:avLst/>
              <a:gdLst>
                <a:gd name="T0" fmla="*/ 0 w 903"/>
                <a:gd name="T1" fmla="*/ 0 h 128"/>
                <a:gd name="T2" fmla="*/ 0 w 903"/>
                <a:gd name="T3" fmla="*/ 63 h 128"/>
                <a:gd name="T4" fmla="*/ 0 w 903"/>
                <a:gd name="T5" fmla="*/ 63 h 128"/>
                <a:gd name="T6" fmla="*/ 1 w 903"/>
                <a:gd name="T7" fmla="*/ 76 h 128"/>
                <a:gd name="T8" fmla="*/ 5 w 903"/>
                <a:gd name="T9" fmla="*/ 88 h 128"/>
                <a:gd name="T10" fmla="*/ 11 w 903"/>
                <a:gd name="T11" fmla="*/ 99 h 128"/>
                <a:gd name="T12" fmla="*/ 20 w 903"/>
                <a:gd name="T13" fmla="*/ 109 h 128"/>
                <a:gd name="T14" fmla="*/ 29 w 903"/>
                <a:gd name="T15" fmla="*/ 117 h 128"/>
                <a:gd name="T16" fmla="*/ 40 w 903"/>
                <a:gd name="T17" fmla="*/ 123 h 128"/>
                <a:gd name="T18" fmla="*/ 52 w 903"/>
                <a:gd name="T19" fmla="*/ 127 h 128"/>
                <a:gd name="T20" fmla="*/ 65 w 903"/>
                <a:gd name="T21" fmla="*/ 128 h 128"/>
                <a:gd name="T22" fmla="*/ 838 w 903"/>
                <a:gd name="T23" fmla="*/ 128 h 128"/>
                <a:gd name="T24" fmla="*/ 838 w 903"/>
                <a:gd name="T25" fmla="*/ 128 h 128"/>
                <a:gd name="T26" fmla="*/ 852 w 903"/>
                <a:gd name="T27" fmla="*/ 127 h 128"/>
                <a:gd name="T28" fmla="*/ 864 w 903"/>
                <a:gd name="T29" fmla="*/ 123 h 128"/>
                <a:gd name="T30" fmla="*/ 875 w 903"/>
                <a:gd name="T31" fmla="*/ 117 h 128"/>
                <a:gd name="T32" fmla="*/ 884 w 903"/>
                <a:gd name="T33" fmla="*/ 109 h 128"/>
                <a:gd name="T34" fmla="*/ 893 w 903"/>
                <a:gd name="T35" fmla="*/ 99 h 128"/>
                <a:gd name="T36" fmla="*/ 899 w 903"/>
                <a:gd name="T37" fmla="*/ 88 h 128"/>
                <a:gd name="T38" fmla="*/ 902 w 903"/>
                <a:gd name="T39" fmla="*/ 76 h 128"/>
                <a:gd name="T40" fmla="*/ 903 w 903"/>
                <a:gd name="T41" fmla="*/ 63 h 128"/>
                <a:gd name="T42" fmla="*/ 903 w 903"/>
                <a:gd name="T43" fmla="*/ 0 h 128"/>
                <a:gd name="T44" fmla="*/ 0 w 903"/>
                <a:gd name="T45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3" h="128">
                  <a:moveTo>
                    <a:pt x="0" y="0"/>
                  </a:moveTo>
                  <a:lnTo>
                    <a:pt x="0" y="63"/>
                  </a:lnTo>
                  <a:lnTo>
                    <a:pt x="0" y="63"/>
                  </a:lnTo>
                  <a:lnTo>
                    <a:pt x="1" y="76"/>
                  </a:lnTo>
                  <a:lnTo>
                    <a:pt x="5" y="88"/>
                  </a:lnTo>
                  <a:lnTo>
                    <a:pt x="11" y="99"/>
                  </a:lnTo>
                  <a:lnTo>
                    <a:pt x="20" y="109"/>
                  </a:lnTo>
                  <a:lnTo>
                    <a:pt x="29" y="117"/>
                  </a:lnTo>
                  <a:lnTo>
                    <a:pt x="40" y="123"/>
                  </a:lnTo>
                  <a:lnTo>
                    <a:pt x="52" y="127"/>
                  </a:lnTo>
                  <a:lnTo>
                    <a:pt x="65" y="128"/>
                  </a:lnTo>
                  <a:lnTo>
                    <a:pt x="838" y="128"/>
                  </a:lnTo>
                  <a:lnTo>
                    <a:pt x="838" y="128"/>
                  </a:lnTo>
                  <a:lnTo>
                    <a:pt x="852" y="127"/>
                  </a:lnTo>
                  <a:lnTo>
                    <a:pt x="864" y="123"/>
                  </a:lnTo>
                  <a:lnTo>
                    <a:pt x="875" y="117"/>
                  </a:lnTo>
                  <a:lnTo>
                    <a:pt x="884" y="109"/>
                  </a:lnTo>
                  <a:lnTo>
                    <a:pt x="893" y="99"/>
                  </a:lnTo>
                  <a:lnTo>
                    <a:pt x="899" y="88"/>
                  </a:lnTo>
                  <a:lnTo>
                    <a:pt x="902" y="76"/>
                  </a:lnTo>
                  <a:lnTo>
                    <a:pt x="903" y="63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4">
              <a:extLst>
                <a:ext uri="{FF2B5EF4-FFF2-40B4-BE49-F238E27FC236}">
                  <a16:creationId xmlns:a16="http://schemas.microsoft.com/office/drawing/2014/main" id="{2959D82E-7934-769F-148B-7D148F958B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1045" y="4477500"/>
              <a:ext cx="375708" cy="373592"/>
            </a:xfrm>
            <a:custGeom>
              <a:avLst/>
              <a:gdLst>
                <a:gd name="T0" fmla="*/ 65 w 710"/>
                <a:gd name="T1" fmla="*/ 289 h 707"/>
                <a:gd name="T2" fmla="*/ 710 w 710"/>
                <a:gd name="T3" fmla="*/ 289 h 707"/>
                <a:gd name="T4" fmla="*/ 704 w 710"/>
                <a:gd name="T5" fmla="*/ 264 h 707"/>
                <a:gd name="T6" fmla="*/ 681 w 710"/>
                <a:gd name="T7" fmla="*/ 235 h 707"/>
                <a:gd name="T8" fmla="*/ 645 w 710"/>
                <a:gd name="T9" fmla="*/ 224 h 707"/>
                <a:gd name="T10" fmla="*/ 516 w 710"/>
                <a:gd name="T11" fmla="*/ 143 h 707"/>
                <a:gd name="T12" fmla="*/ 523 w 710"/>
                <a:gd name="T13" fmla="*/ 90 h 707"/>
                <a:gd name="T14" fmla="*/ 539 w 710"/>
                <a:gd name="T15" fmla="*/ 76 h 707"/>
                <a:gd name="T16" fmla="*/ 548 w 710"/>
                <a:gd name="T17" fmla="*/ 55 h 707"/>
                <a:gd name="T18" fmla="*/ 548 w 710"/>
                <a:gd name="T19" fmla="*/ 38 h 707"/>
                <a:gd name="T20" fmla="*/ 534 w 710"/>
                <a:gd name="T21" fmla="*/ 14 h 707"/>
                <a:gd name="T22" fmla="*/ 510 w 710"/>
                <a:gd name="T23" fmla="*/ 1 h 707"/>
                <a:gd name="T24" fmla="*/ 490 w 710"/>
                <a:gd name="T25" fmla="*/ 1 h 707"/>
                <a:gd name="T26" fmla="*/ 466 w 710"/>
                <a:gd name="T27" fmla="*/ 14 h 707"/>
                <a:gd name="T28" fmla="*/ 452 w 710"/>
                <a:gd name="T29" fmla="*/ 38 h 707"/>
                <a:gd name="T30" fmla="*/ 452 w 710"/>
                <a:gd name="T31" fmla="*/ 55 h 707"/>
                <a:gd name="T32" fmla="*/ 461 w 710"/>
                <a:gd name="T33" fmla="*/ 76 h 707"/>
                <a:gd name="T34" fmla="*/ 478 w 710"/>
                <a:gd name="T35" fmla="*/ 90 h 707"/>
                <a:gd name="T36" fmla="*/ 436 w 710"/>
                <a:gd name="T37" fmla="*/ 178 h 707"/>
                <a:gd name="T38" fmla="*/ 371 w 710"/>
                <a:gd name="T39" fmla="*/ 94 h 707"/>
                <a:gd name="T40" fmla="*/ 384 w 710"/>
                <a:gd name="T41" fmla="*/ 86 h 707"/>
                <a:gd name="T42" fmla="*/ 398 w 710"/>
                <a:gd name="T43" fmla="*/ 70 h 707"/>
                <a:gd name="T44" fmla="*/ 403 w 710"/>
                <a:gd name="T45" fmla="*/ 48 h 707"/>
                <a:gd name="T46" fmla="*/ 399 w 710"/>
                <a:gd name="T47" fmla="*/ 29 h 707"/>
                <a:gd name="T48" fmla="*/ 381 w 710"/>
                <a:gd name="T49" fmla="*/ 8 h 707"/>
                <a:gd name="T50" fmla="*/ 355 w 710"/>
                <a:gd name="T51" fmla="*/ 0 h 707"/>
                <a:gd name="T52" fmla="*/ 336 w 710"/>
                <a:gd name="T53" fmla="*/ 4 h 707"/>
                <a:gd name="T54" fmla="*/ 315 w 710"/>
                <a:gd name="T55" fmla="*/ 22 h 707"/>
                <a:gd name="T56" fmla="*/ 307 w 710"/>
                <a:gd name="T57" fmla="*/ 48 h 707"/>
                <a:gd name="T58" fmla="*/ 309 w 710"/>
                <a:gd name="T59" fmla="*/ 62 h 707"/>
                <a:gd name="T60" fmla="*/ 320 w 710"/>
                <a:gd name="T61" fmla="*/ 82 h 707"/>
                <a:gd name="T62" fmla="*/ 339 w 710"/>
                <a:gd name="T63" fmla="*/ 94 h 707"/>
                <a:gd name="T64" fmla="*/ 274 w 710"/>
                <a:gd name="T65" fmla="*/ 178 h 707"/>
                <a:gd name="T66" fmla="*/ 226 w 710"/>
                <a:gd name="T67" fmla="*/ 94 h 707"/>
                <a:gd name="T68" fmla="*/ 244 w 710"/>
                <a:gd name="T69" fmla="*/ 82 h 707"/>
                <a:gd name="T70" fmla="*/ 256 w 710"/>
                <a:gd name="T71" fmla="*/ 62 h 707"/>
                <a:gd name="T72" fmla="*/ 259 w 710"/>
                <a:gd name="T73" fmla="*/ 48 h 707"/>
                <a:gd name="T74" fmla="*/ 250 w 710"/>
                <a:gd name="T75" fmla="*/ 22 h 707"/>
                <a:gd name="T76" fmla="*/ 228 w 710"/>
                <a:gd name="T77" fmla="*/ 4 h 707"/>
                <a:gd name="T78" fmla="*/ 209 w 710"/>
                <a:gd name="T79" fmla="*/ 0 h 707"/>
                <a:gd name="T80" fmla="*/ 183 w 710"/>
                <a:gd name="T81" fmla="*/ 8 h 707"/>
                <a:gd name="T82" fmla="*/ 165 w 710"/>
                <a:gd name="T83" fmla="*/ 29 h 707"/>
                <a:gd name="T84" fmla="*/ 161 w 710"/>
                <a:gd name="T85" fmla="*/ 48 h 707"/>
                <a:gd name="T86" fmla="*/ 167 w 710"/>
                <a:gd name="T87" fmla="*/ 70 h 707"/>
                <a:gd name="T88" fmla="*/ 180 w 710"/>
                <a:gd name="T89" fmla="*/ 86 h 707"/>
                <a:gd name="T90" fmla="*/ 193 w 710"/>
                <a:gd name="T91" fmla="*/ 143 h 707"/>
                <a:gd name="T92" fmla="*/ 65 w 710"/>
                <a:gd name="T93" fmla="*/ 224 h 707"/>
                <a:gd name="T94" fmla="*/ 39 w 710"/>
                <a:gd name="T95" fmla="*/ 230 h 707"/>
                <a:gd name="T96" fmla="*/ 12 w 710"/>
                <a:gd name="T97" fmla="*/ 253 h 707"/>
                <a:gd name="T98" fmla="*/ 0 w 710"/>
                <a:gd name="T99" fmla="*/ 289 h 707"/>
                <a:gd name="T100" fmla="*/ 710 w 710"/>
                <a:gd name="T101" fmla="*/ 289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10" h="707">
                  <a:moveTo>
                    <a:pt x="645" y="643"/>
                  </a:moveTo>
                  <a:lnTo>
                    <a:pt x="65" y="643"/>
                  </a:lnTo>
                  <a:lnTo>
                    <a:pt x="65" y="289"/>
                  </a:lnTo>
                  <a:lnTo>
                    <a:pt x="645" y="289"/>
                  </a:lnTo>
                  <a:lnTo>
                    <a:pt x="645" y="643"/>
                  </a:lnTo>
                  <a:close/>
                  <a:moveTo>
                    <a:pt x="710" y="289"/>
                  </a:moveTo>
                  <a:lnTo>
                    <a:pt x="710" y="289"/>
                  </a:lnTo>
                  <a:lnTo>
                    <a:pt x="709" y="276"/>
                  </a:lnTo>
                  <a:lnTo>
                    <a:pt x="704" y="264"/>
                  </a:lnTo>
                  <a:lnTo>
                    <a:pt x="699" y="253"/>
                  </a:lnTo>
                  <a:lnTo>
                    <a:pt x="691" y="244"/>
                  </a:lnTo>
                  <a:lnTo>
                    <a:pt x="681" y="235"/>
                  </a:lnTo>
                  <a:lnTo>
                    <a:pt x="670" y="230"/>
                  </a:lnTo>
                  <a:lnTo>
                    <a:pt x="658" y="226"/>
                  </a:lnTo>
                  <a:lnTo>
                    <a:pt x="645" y="224"/>
                  </a:lnTo>
                  <a:lnTo>
                    <a:pt x="468" y="224"/>
                  </a:lnTo>
                  <a:lnTo>
                    <a:pt x="468" y="191"/>
                  </a:lnTo>
                  <a:lnTo>
                    <a:pt x="516" y="143"/>
                  </a:lnTo>
                  <a:lnTo>
                    <a:pt x="516" y="94"/>
                  </a:lnTo>
                  <a:lnTo>
                    <a:pt x="516" y="94"/>
                  </a:lnTo>
                  <a:lnTo>
                    <a:pt x="523" y="90"/>
                  </a:lnTo>
                  <a:lnTo>
                    <a:pt x="529" y="86"/>
                  </a:lnTo>
                  <a:lnTo>
                    <a:pt x="534" y="82"/>
                  </a:lnTo>
                  <a:lnTo>
                    <a:pt x="539" y="76"/>
                  </a:lnTo>
                  <a:lnTo>
                    <a:pt x="543" y="70"/>
                  </a:lnTo>
                  <a:lnTo>
                    <a:pt x="546" y="62"/>
                  </a:lnTo>
                  <a:lnTo>
                    <a:pt x="548" y="55"/>
                  </a:lnTo>
                  <a:lnTo>
                    <a:pt x="549" y="48"/>
                  </a:lnTo>
                  <a:lnTo>
                    <a:pt x="549" y="48"/>
                  </a:lnTo>
                  <a:lnTo>
                    <a:pt x="548" y="38"/>
                  </a:lnTo>
                  <a:lnTo>
                    <a:pt x="545" y="29"/>
                  </a:lnTo>
                  <a:lnTo>
                    <a:pt x="540" y="22"/>
                  </a:lnTo>
                  <a:lnTo>
                    <a:pt x="534" y="14"/>
                  </a:lnTo>
                  <a:lnTo>
                    <a:pt x="527" y="8"/>
                  </a:lnTo>
                  <a:lnTo>
                    <a:pt x="519" y="4"/>
                  </a:lnTo>
                  <a:lnTo>
                    <a:pt x="510" y="1"/>
                  </a:lnTo>
                  <a:lnTo>
                    <a:pt x="501" y="0"/>
                  </a:lnTo>
                  <a:lnTo>
                    <a:pt x="501" y="0"/>
                  </a:lnTo>
                  <a:lnTo>
                    <a:pt x="490" y="1"/>
                  </a:lnTo>
                  <a:lnTo>
                    <a:pt x="481" y="4"/>
                  </a:lnTo>
                  <a:lnTo>
                    <a:pt x="473" y="8"/>
                  </a:lnTo>
                  <a:lnTo>
                    <a:pt x="466" y="14"/>
                  </a:lnTo>
                  <a:lnTo>
                    <a:pt x="460" y="22"/>
                  </a:lnTo>
                  <a:lnTo>
                    <a:pt x="456" y="29"/>
                  </a:lnTo>
                  <a:lnTo>
                    <a:pt x="452" y="38"/>
                  </a:lnTo>
                  <a:lnTo>
                    <a:pt x="451" y="48"/>
                  </a:lnTo>
                  <a:lnTo>
                    <a:pt x="451" y="48"/>
                  </a:lnTo>
                  <a:lnTo>
                    <a:pt x="452" y="55"/>
                  </a:lnTo>
                  <a:lnTo>
                    <a:pt x="454" y="62"/>
                  </a:lnTo>
                  <a:lnTo>
                    <a:pt x="457" y="70"/>
                  </a:lnTo>
                  <a:lnTo>
                    <a:pt x="461" y="76"/>
                  </a:lnTo>
                  <a:lnTo>
                    <a:pt x="466" y="82"/>
                  </a:lnTo>
                  <a:lnTo>
                    <a:pt x="470" y="86"/>
                  </a:lnTo>
                  <a:lnTo>
                    <a:pt x="478" y="90"/>
                  </a:lnTo>
                  <a:lnTo>
                    <a:pt x="484" y="94"/>
                  </a:lnTo>
                  <a:lnTo>
                    <a:pt x="484" y="130"/>
                  </a:lnTo>
                  <a:lnTo>
                    <a:pt x="436" y="178"/>
                  </a:lnTo>
                  <a:lnTo>
                    <a:pt x="436" y="224"/>
                  </a:lnTo>
                  <a:lnTo>
                    <a:pt x="371" y="224"/>
                  </a:lnTo>
                  <a:lnTo>
                    <a:pt x="371" y="94"/>
                  </a:lnTo>
                  <a:lnTo>
                    <a:pt x="371" y="94"/>
                  </a:lnTo>
                  <a:lnTo>
                    <a:pt x="378" y="90"/>
                  </a:lnTo>
                  <a:lnTo>
                    <a:pt x="384" y="86"/>
                  </a:lnTo>
                  <a:lnTo>
                    <a:pt x="390" y="82"/>
                  </a:lnTo>
                  <a:lnTo>
                    <a:pt x="395" y="76"/>
                  </a:lnTo>
                  <a:lnTo>
                    <a:pt x="398" y="70"/>
                  </a:lnTo>
                  <a:lnTo>
                    <a:pt x="401" y="62"/>
                  </a:lnTo>
                  <a:lnTo>
                    <a:pt x="403" y="55"/>
                  </a:lnTo>
                  <a:lnTo>
                    <a:pt x="403" y="48"/>
                  </a:lnTo>
                  <a:lnTo>
                    <a:pt x="403" y="48"/>
                  </a:lnTo>
                  <a:lnTo>
                    <a:pt x="402" y="38"/>
                  </a:lnTo>
                  <a:lnTo>
                    <a:pt x="399" y="29"/>
                  </a:lnTo>
                  <a:lnTo>
                    <a:pt x="395" y="22"/>
                  </a:lnTo>
                  <a:lnTo>
                    <a:pt x="389" y="14"/>
                  </a:lnTo>
                  <a:lnTo>
                    <a:pt x="381" y="8"/>
                  </a:lnTo>
                  <a:lnTo>
                    <a:pt x="374" y="4"/>
                  </a:lnTo>
                  <a:lnTo>
                    <a:pt x="364" y="1"/>
                  </a:lnTo>
                  <a:lnTo>
                    <a:pt x="355" y="0"/>
                  </a:lnTo>
                  <a:lnTo>
                    <a:pt x="355" y="0"/>
                  </a:lnTo>
                  <a:lnTo>
                    <a:pt x="345" y="1"/>
                  </a:lnTo>
                  <a:lnTo>
                    <a:pt x="336" y="4"/>
                  </a:lnTo>
                  <a:lnTo>
                    <a:pt x="328" y="8"/>
                  </a:lnTo>
                  <a:lnTo>
                    <a:pt x="321" y="14"/>
                  </a:lnTo>
                  <a:lnTo>
                    <a:pt x="315" y="22"/>
                  </a:lnTo>
                  <a:lnTo>
                    <a:pt x="310" y="29"/>
                  </a:lnTo>
                  <a:lnTo>
                    <a:pt x="308" y="38"/>
                  </a:lnTo>
                  <a:lnTo>
                    <a:pt x="307" y="48"/>
                  </a:lnTo>
                  <a:lnTo>
                    <a:pt x="307" y="48"/>
                  </a:lnTo>
                  <a:lnTo>
                    <a:pt x="307" y="55"/>
                  </a:lnTo>
                  <a:lnTo>
                    <a:pt x="309" y="62"/>
                  </a:lnTo>
                  <a:lnTo>
                    <a:pt x="312" y="70"/>
                  </a:lnTo>
                  <a:lnTo>
                    <a:pt x="315" y="76"/>
                  </a:lnTo>
                  <a:lnTo>
                    <a:pt x="320" y="82"/>
                  </a:lnTo>
                  <a:lnTo>
                    <a:pt x="326" y="86"/>
                  </a:lnTo>
                  <a:lnTo>
                    <a:pt x="332" y="90"/>
                  </a:lnTo>
                  <a:lnTo>
                    <a:pt x="339" y="94"/>
                  </a:lnTo>
                  <a:lnTo>
                    <a:pt x="339" y="224"/>
                  </a:lnTo>
                  <a:lnTo>
                    <a:pt x="274" y="224"/>
                  </a:lnTo>
                  <a:lnTo>
                    <a:pt x="274" y="178"/>
                  </a:lnTo>
                  <a:lnTo>
                    <a:pt x="226" y="130"/>
                  </a:lnTo>
                  <a:lnTo>
                    <a:pt x="226" y="94"/>
                  </a:lnTo>
                  <a:lnTo>
                    <a:pt x="226" y="94"/>
                  </a:lnTo>
                  <a:lnTo>
                    <a:pt x="232" y="90"/>
                  </a:lnTo>
                  <a:lnTo>
                    <a:pt x="239" y="86"/>
                  </a:lnTo>
                  <a:lnTo>
                    <a:pt x="244" y="82"/>
                  </a:lnTo>
                  <a:lnTo>
                    <a:pt x="249" y="76"/>
                  </a:lnTo>
                  <a:lnTo>
                    <a:pt x="252" y="70"/>
                  </a:lnTo>
                  <a:lnTo>
                    <a:pt x="256" y="62"/>
                  </a:lnTo>
                  <a:lnTo>
                    <a:pt x="257" y="55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7" y="38"/>
                  </a:lnTo>
                  <a:lnTo>
                    <a:pt x="254" y="29"/>
                  </a:lnTo>
                  <a:lnTo>
                    <a:pt x="250" y="22"/>
                  </a:lnTo>
                  <a:lnTo>
                    <a:pt x="244" y="14"/>
                  </a:lnTo>
                  <a:lnTo>
                    <a:pt x="237" y="8"/>
                  </a:lnTo>
                  <a:lnTo>
                    <a:pt x="228" y="4"/>
                  </a:lnTo>
                  <a:lnTo>
                    <a:pt x="220" y="1"/>
                  </a:lnTo>
                  <a:lnTo>
                    <a:pt x="209" y="0"/>
                  </a:lnTo>
                  <a:lnTo>
                    <a:pt x="209" y="0"/>
                  </a:lnTo>
                  <a:lnTo>
                    <a:pt x="200" y="1"/>
                  </a:lnTo>
                  <a:lnTo>
                    <a:pt x="191" y="4"/>
                  </a:lnTo>
                  <a:lnTo>
                    <a:pt x="183" y="8"/>
                  </a:lnTo>
                  <a:lnTo>
                    <a:pt x="175" y="14"/>
                  </a:lnTo>
                  <a:lnTo>
                    <a:pt x="169" y="22"/>
                  </a:lnTo>
                  <a:lnTo>
                    <a:pt x="165" y="29"/>
                  </a:lnTo>
                  <a:lnTo>
                    <a:pt x="162" y="38"/>
                  </a:lnTo>
                  <a:lnTo>
                    <a:pt x="161" y="48"/>
                  </a:lnTo>
                  <a:lnTo>
                    <a:pt x="161" y="48"/>
                  </a:lnTo>
                  <a:lnTo>
                    <a:pt x="162" y="55"/>
                  </a:lnTo>
                  <a:lnTo>
                    <a:pt x="163" y="62"/>
                  </a:lnTo>
                  <a:lnTo>
                    <a:pt x="167" y="70"/>
                  </a:lnTo>
                  <a:lnTo>
                    <a:pt x="171" y="76"/>
                  </a:lnTo>
                  <a:lnTo>
                    <a:pt x="175" y="82"/>
                  </a:lnTo>
                  <a:lnTo>
                    <a:pt x="180" y="86"/>
                  </a:lnTo>
                  <a:lnTo>
                    <a:pt x="186" y="90"/>
                  </a:lnTo>
                  <a:lnTo>
                    <a:pt x="193" y="94"/>
                  </a:lnTo>
                  <a:lnTo>
                    <a:pt x="193" y="143"/>
                  </a:lnTo>
                  <a:lnTo>
                    <a:pt x="242" y="191"/>
                  </a:lnTo>
                  <a:lnTo>
                    <a:pt x="242" y="224"/>
                  </a:lnTo>
                  <a:lnTo>
                    <a:pt x="65" y="224"/>
                  </a:lnTo>
                  <a:lnTo>
                    <a:pt x="65" y="224"/>
                  </a:lnTo>
                  <a:lnTo>
                    <a:pt x="51" y="226"/>
                  </a:lnTo>
                  <a:lnTo>
                    <a:pt x="39" y="230"/>
                  </a:lnTo>
                  <a:lnTo>
                    <a:pt x="29" y="235"/>
                  </a:lnTo>
                  <a:lnTo>
                    <a:pt x="19" y="244"/>
                  </a:lnTo>
                  <a:lnTo>
                    <a:pt x="12" y="253"/>
                  </a:lnTo>
                  <a:lnTo>
                    <a:pt x="6" y="264"/>
                  </a:lnTo>
                  <a:lnTo>
                    <a:pt x="1" y="276"/>
                  </a:lnTo>
                  <a:lnTo>
                    <a:pt x="0" y="289"/>
                  </a:lnTo>
                  <a:lnTo>
                    <a:pt x="0" y="707"/>
                  </a:lnTo>
                  <a:lnTo>
                    <a:pt x="710" y="707"/>
                  </a:lnTo>
                  <a:lnTo>
                    <a:pt x="710" y="2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8154F5A3-BEF3-F634-FC5F-2ABD1F84A2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9104" y="4663767"/>
              <a:ext cx="119592" cy="119592"/>
            </a:xfrm>
            <a:custGeom>
              <a:avLst/>
              <a:gdLst>
                <a:gd name="T0" fmla="*/ 80 w 226"/>
                <a:gd name="T1" fmla="*/ 225 h 225"/>
                <a:gd name="T2" fmla="*/ 145 w 226"/>
                <a:gd name="T3" fmla="*/ 225 h 225"/>
                <a:gd name="T4" fmla="*/ 145 w 226"/>
                <a:gd name="T5" fmla="*/ 145 h 225"/>
                <a:gd name="T6" fmla="*/ 226 w 226"/>
                <a:gd name="T7" fmla="*/ 145 h 225"/>
                <a:gd name="T8" fmla="*/ 226 w 226"/>
                <a:gd name="T9" fmla="*/ 80 h 225"/>
                <a:gd name="T10" fmla="*/ 145 w 226"/>
                <a:gd name="T11" fmla="*/ 80 h 225"/>
                <a:gd name="T12" fmla="*/ 145 w 226"/>
                <a:gd name="T13" fmla="*/ 0 h 225"/>
                <a:gd name="T14" fmla="*/ 80 w 226"/>
                <a:gd name="T15" fmla="*/ 0 h 225"/>
                <a:gd name="T16" fmla="*/ 80 w 226"/>
                <a:gd name="T17" fmla="*/ 80 h 225"/>
                <a:gd name="T18" fmla="*/ 0 w 226"/>
                <a:gd name="T19" fmla="*/ 80 h 225"/>
                <a:gd name="T20" fmla="*/ 0 w 226"/>
                <a:gd name="T21" fmla="*/ 145 h 225"/>
                <a:gd name="T22" fmla="*/ 80 w 226"/>
                <a:gd name="T23" fmla="*/ 145 h 225"/>
                <a:gd name="T24" fmla="*/ 80 w 226"/>
                <a:gd name="T25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" h="225">
                  <a:moveTo>
                    <a:pt x="80" y="225"/>
                  </a:moveTo>
                  <a:lnTo>
                    <a:pt x="145" y="225"/>
                  </a:lnTo>
                  <a:lnTo>
                    <a:pt x="145" y="145"/>
                  </a:lnTo>
                  <a:lnTo>
                    <a:pt x="226" y="145"/>
                  </a:lnTo>
                  <a:lnTo>
                    <a:pt x="226" y="80"/>
                  </a:lnTo>
                  <a:lnTo>
                    <a:pt x="145" y="80"/>
                  </a:lnTo>
                  <a:lnTo>
                    <a:pt x="145" y="0"/>
                  </a:lnTo>
                  <a:lnTo>
                    <a:pt x="80" y="0"/>
                  </a:lnTo>
                  <a:lnTo>
                    <a:pt x="80" y="80"/>
                  </a:lnTo>
                  <a:lnTo>
                    <a:pt x="0" y="80"/>
                  </a:lnTo>
                  <a:lnTo>
                    <a:pt x="0" y="145"/>
                  </a:lnTo>
                  <a:lnTo>
                    <a:pt x="80" y="145"/>
                  </a:lnTo>
                  <a:lnTo>
                    <a:pt x="80" y="2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4" name="Freeform 16">
            <a:extLst>
              <a:ext uri="{FF2B5EF4-FFF2-40B4-BE49-F238E27FC236}">
                <a16:creationId xmlns:a16="http://schemas.microsoft.com/office/drawing/2014/main" id="{30B8CEDE-D802-2A84-53C8-B5CAAAC95D74}"/>
              </a:ext>
            </a:extLst>
          </p:cNvPr>
          <p:cNvSpPr>
            <a:spLocks noEditPoints="1"/>
          </p:cNvSpPr>
          <p:nvPr/>
        </p:nvSpPr>
        <p:spPr bwMode="auto">
          <a:xfrm>
            <a:off x="3002015" y="5674995"/>
            <a:ext cx="368076" cy="367260"/>
          </a:xfrm>
          <a:custGeom>
            <a:avLst/>
            <a:gdLst>
              <a:gd name="T0" fmla="*/ 806 w 903"/>
              <a:gd name="T1" fmla="*/ 467 h 900"/>
              <a:gd name="T2" fmla="*/ 853 w 903"/>
              <a:gd name="T3" fmla="*/ 500 h 900"/>
              <a:gd name="T4" fmla="*/ 902 w 903"/>
              <a:gd name="T5" fmla="*/ 460 h 900"/>
              <a:gd name="T6" fmla="*/ 873 w 903"/>
              <a:gd name="T7" fmla="*/ 403 h 900"/>
              <a:gd name="T8" fmla="*/ 818 w 903"/>
              <a:gd name="T9" fmla="*/ 414 h 900"/>
              <a:gd name="T10" fmla="*/ 810 w 903"/>
              <a:gd name="T11" fmla="*/ 307 h 900"/>
              <a:gd name="T12" fmla="*/ 853 w 903"/>
              <a:gd name="T13" fmla="*/ 334 h 900"/>
              <a:gd name="T14" fmla="*/ 903 w 903"/>
              <a:gd name="T15" fmla="*/ 283 h 900"/>
              <a:gd name="T16" fmla="*/ 864 w 903"/>
              <a:gd name="T17" fmla="*/ 234 h 900"/>
              <a:gd name="T18" fmla="*/ 813 w 903"/>
              <a:gd name="T19" fmla="*/ 253 h 900"/>
              <a:gd name="T20" fmla="*/ 643 w 903"/>
              <a:gd name="T21" fmla="*/ 94 h 900"/>
              <a:gd name="T22" fmla="*/ 670 w 903"/>
              <a:gd name="T23" fmla="*/ 50 h 900"/>
              <a:gd name="T24" fmla="*/ 619 w 903"/>
              <a:gd name="T25" fmla="*/ 0 h 900"/>
              <a:gd name="T26" fmla="*/ 570 w 903"/>
              <a:gd name="T27" fmla="*/ 40 h 900"/>
              <a:gd name="T28" fmla="*/ 589 w 903"/>
              <a:gd name="T29" fmla="*/ 90 h 900"/>
              <a:gd name="T30" fmla="*/ 482 w 903"/>
              <a:gd name="T31" fmla="*/ 90 h 900"/>
              <a:gd name="T32" fmla="*/ 501 w 903"/>
              <a:gd name="T33" fmla="*/ 40 h 900"/>
              <a:gd name="T34" fmla="*/ 452 w 903"/>
              <a:gd name="T35" fmla="*/ 0 h 900"/>
              <a:gd name="T36" fmla="*/ 401 w 903"/>
              <a:gd name="T37" fmla="*/ 50 h 900"/>
              <a:gd name="T38" fmla="*/ 428 w 903"/>
              <a:gd name="T39" fmla="*/ 94 h 900"/>
              <a:gd name="T40" fmla="*/ 321 w 903"/>
              <a:gd name="T41" fmla="*/ 84 h 900"/>
              <a:gd name="T42" fmla="*/ 331 w 903"/>
              <a:gd name="T43" fmla="*/ 30 h 900"/>
              <a:gd name="T44" fmla="*/ 275 w 903"/>
              <a:gd name="T45" fmla="*/ 1 h 900"/>
              <a:gd name="T46" fmla="*/ 234 w 903"/>
              <a:gd name="T47" fmla="*/ 50 h 900"/>
              <a:gd name="T48" fmla="*/ 268 w 903"/>
              <a:gd name="T49" fmla="*/ 97 h 900"/>
              <a:gd name="T50" fmla="*/ 86 w 903"/>
              <a:gd name="T51" fmla="*/ 247 h 900"/>
              <a:gd name="T52" fmla="*/ 30 w 903"/>
              <a:gd name="T53" fmla="*/ 238 h 900"/>
              <a:gd name="T54" fmla="*/ 1 w 903"/>
              <a:gd name="T55" fmla="*/ 293 h 900"/>
              <a:gd name="T56" fmla="*/ 51 w 903"/>
              <a:gd name="T57" fmla="*/ 334 h 900"/>
              <a:gd name="T58" fmla="*/ 98 w 903"/>
              <a:gd name="T59" fmla="*/ 300 h 900"/>
              <a:gd name="T60" fmla="*/ 80 w 903"/>
              <a:gd name="T61" fmla="*/ 409 h 900"/>
              <a:gd name="T62" fmla="*/ 22 w 903"/>
              <a:gd name="T63" fmla="*/ 408 h 900"/>
              <a:gd name="T64" fmla="*/ 4 w 903"/>
              <a:gd name="T65" fmla="*/ 469 h 900"/>
              <a:gd name="T66" fmla="*/ 58 w 903"/>
              <a:gd name="T67" fmla="*/ 499 h 900"/>
              <a:gd name="T68" fmla="*/ 151 w 903"/>
              <a:gd name="T69" fmla="*/ 467 h 900"/>
              <a:gd name="T70" fmla="*/ 74 w 903"/>
              <a:gd name="T71" fmla="*/ 572 h 900"/>
              <a:gd name="T72" fmla="*/ 15 w 903"/>
              <a:gd name="T73" fmla="*/ 581 h 900"/>
              <a:gd name="T74" fmla="*/ 9 w 903"/>
              <a:gd name="T75" fmla="*/ 644 h 900"/>
              <a:gd name="T76" fmla="*/ 67 w 903"/>
              <a:gd name="T77" fmla="*/ 664 h 900"/>
              <a:gd name="T78" fmla="*/ 151 w 903"/>
              <a:gd name="T79" fmla="*/ 750 h 900"/>
              <a:gd name="T80" fmla="*/ 240 w 903"/>
              <a:gd name="T81" fmla="*/ 827 h 900"/>
              <a:gd name="T82" fmla="*/ 250 w 903"/>
              <a:gd name="T83" fmla="*/ 886 h 900"/>
              <a:gd name="T84" fmla="*/ 312 w 903"/>
              <a:gd name="T85" fmla="*/ 892 h 900"/>
              <a:gd name="T86" fmla="*/ 333 w 903"/>
              <a:gd name="T87" fmla="*/ 834 h 900"/>
              <a:gd name="T88" fmla="*/ 435 w 903"/>
              <a:gd name="T89" fmla="*/ 750 h 900"/>
              <a:gd name="T90" fmla="*/ 404 w 903"/>
              <a:gd name="T91" fmla="*/ 834 h 900"/>
              <a:gd name="T92" fmla="*/ 424 w 903"/>
              <a:gd name="T93" fmla="*/ 892 h 900"/>
              <a:gd name="T94" fmla="*/ 487 w 903"/>
              <a:gd name="T95" fmla="*/ 886 h 900"/>
              <a:gd name="T96" fmla="*/ 496 w 903"/>
              <a:gd name="T97" fmla="*/ 827 h 900"/>
              <a:gd name="T98" fmla="*/ 602 w 903"/>
              <a:gd name="T99" fmla="*/ 803 h 900"/>
              <a:gd name="T100" fmla="*/ 570 w 903"/>
              <a:gd name="T101" fmla="*/ 842 h 900"/>
              <a:gd name="T102" fmla="*/ 600 w 903"/>
              <a:gd name="T103" fmla="*/ 896 h 900"/>
              <a:gd name="T104" fmla="*/ 660 w 903"/>
              <a:gd name="T105" fmla="*/ 877 h 900"/>
              <a:gd name="T106" fmla="*/ 660 w 903"/>
              <a:gd name="T107" fmla="*/ 821 h 900"/>
              <a:gd name="T108" fmla="*/ 806 w 903"/>
              <a:gd name="T109" fmla="*/ 634 h 900"/>
              <a:gd name="T110" fmla="*/ 846 w 903"/>
              <a:gd name="T111" fmla="*/ 666 h 900"/>
              <a:gd name="T112" fmla="*/ 900 w 903"/>
              <a:gd name="T113" fmla="*/ 636 h 900"/>
              <a:gd name="T114" fmla="*/ 882 w 903"/>
              <a:gd name="T115" fmla="*/ 575 h 900"/>
              <a:gd name="T116" fmla="*/ 824 w 903"/>
              <a:gd name="T117" fmla="*/ 576 h 9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03" h="900">
                <a:moveTo>
                  <a:pt x="552" y="550"/>
                </a:moveTo>
                <a:lnTo>
                  <a:pt x="352" y="550"/>
                </a:lnTo>
                <a:lnTo>
                  <a:pt x="352" y="350"/>
                </a:lnTo>
                <a:lnTo>
                  <a:pt x="552" y="350"/>
                </a:lnTo>
                <a:lnTo>
                  <a:pt x="552" y="550"/>
                </a:lnTo>
                <a:close/>
                <a:moveTo>
                  <a:pt x="753" y="467"/>
                </a:moveTo>
                <a:lnTo>
                  <a:pt x="806" y="467"/>
                </a:lnTo>
                <a:lnTo>
                  <a:pt x="806" y="467"/>
                </a:lnTo>
                <a:lnTo>
                  <a:pt x="810" y="474"/>
                </a:lnTo>
                <a:lnTo>
                  <a:pt x="813" y="480"/>
                </a:lnTo>
                <a:lnTo>
                  <a:pt x="818" y="486"/>
                </a:lnTo>
                <a:lnTo>
                  <a:pt x="824" y="491"/>
                </a:lnTo>
                <a:lnTo>
                  <a:pt x="831" y="494"/>
                </a:lnTo>
                <a:lnTo>
                  <a:pt x="837" y="497"/>
                </a:lnTo>
                <a:lnTo>
                  <a:pt x="846" y="499"/>
                </a:lnTo>
                <a:lnTo>
                  <a:pt x="853" y="500"/>
                </a:lnTo>
                <a:lnTo>
                  <a:pt x="853" y="500"/>
                </a:lnTo>
                <a:lnTo>
                  <a:pt x="864" y="499"/>
                </a:lnTo>
                <a:lnTo>
                  <a:pt x="873" y="496"/>
                </a:lnTo>
                <a:lnTo>
                  <a:pt x="882" y="491"/>
                </a:lnTo>
                <a:lnTo>
                  <a:pt x="889" y="485"/>
                </a:lnTo>
                <a:lnTo>
                  <a:pt x="895" y="478"/>
                </a:lnTo>
                <a:lnTo>
                  <a:pt x="900" y="469"/>
                </a:lnTo>
                <a:lnTo>
                  <a:pt x="902" y="460"/>
                </a:lnTo>
                <a:lnTo>
                  <a:pt x="903" y="450"/>
                </a:lnTo>
                <a:lnTo>
                  <a:pt x="903" y="450"/>
                </a:lnTo>
                <a:lnTo>
                  <a:pt x="902" y="439"/>
                </a:lnTo>
                <a:lnTo>
                  <a:pt x="900" y="431"/>
                </a:lnTo>
                <a:lnTo>
                  <a:pt x="895" y="422"/>
                </a:lnTo>
                <a:lnTo>
                  <a:pt x="889" y="414"/>
                </a:lnTo>
                <a:lnTo>
                  <a:pt x="882" y="408"/>
                </a:lnTo>
                <a:lnTo>
                  <a:pt x="873" y="403"/>
                </a:lnTo>
                <a:lnTo>
                  <a:pt x="864" y="401"/>
                </a:lnTo>
                <a:lnTo>
                  <a:pt x="853" y="400"/>
                </a:lnTo>
                <a:lnTo>
                  <a:pt x="853" y="400"/>
                </a:lnTo>
                <a:lnTo>
                  <a:pt x="846" y="401"/>
                </a:lnTo>
                <a:lnTo>
                  <a:pt x="837" y="402"/>
                </a:lnTo>
                <a:lnTo>
                  <a:pt x="831" y="406"/>
                </a:lnTo>
                <a:lnTo>
                  <a:pt x="824" y="409"/>
                </a:lnTo>
                <a:lnTo>
                  <a:pt x="818" y="414"/>
                </a:lnTo>
                <a:lnTo>
                  <a:pt x="813" y="420"/>
                </a:lnTo>
                <a:lnTo>
                  <a:pt x="810" y="426"/>
                </a:lnTo>
                <a:lnTo>
                  <a:pt x="806" y="433"/>
                </a:lnTo>
                <a:lnTo>
                  <a:pt x="753" y="433"/>
                </a:lnTo>
                <a:lnTo>
                  <a:pt x="753" y="300"/>
                </a:lnTo>
                <a:lnTo>
                  <a:pt x="806" y="300"/>
                </a:lnTo>
                <a:lnTo>
                  <a:pt x="806" y="300"/>
                </a:lnTo>
                <a:lnTo>
                  <a:pt x="810" y="307"/>
                </a:lnTo>
                <a:lnTo>
                  <a:pt x="813" y="313"/>
                </a:lnTo>
                <a:lnTo>
                  <a:pt x="818" y="319"/>
                </a:lnTo>
                <a:lnTo>
                  <a:pt x="824" y="324"/>
                </a:lnTo>
                <a:lnTo>
                  <a:pt x="831" y="328"/>
                </a:lnTo>
                <a:lnTo>
                  <a:pt x="837" y="331"/>
                </a:lnTo>
                <a:lnTo>
                  <a:pt x="846" y="332"/>
                </a:lnTo>
                <a:lnTo>
                  <a:pt x="853" y="334"/>
                </a:lnTo>
                <a:lnTo>
                  <a:pt x="853" y="334"/>
                </a:lnTo>
                <a:lnTo>
                  <a:pt x="864" y="332"/>
                </a:lnTo>
                <a:lnTo>
                  <a:pt x="873" y="329"/>
                </a:lnTo>
                <a:lnTo>
                  <a:pt x="882" y="325"/>
                </a:lnTo>
                <a:lnTo>
                  <a:pt x="889" y="318"/>
                </a:lnTo>
                <a:lnTo>
                  <a:pt x="895" y="311"/>
                </a:lnTo>
                <a:lnTo>
                  <a:pt x="900" y="302"/>
                </a:lnTo>
                <a:lnTo>
                  <a:pt x="902" y="293"/>
                </a:lnTo>
                <a:lnTo>
                  <a:pt x="903" y="283"/>
                </a:lnTo>
                <a:lnTo>
                  <a:pt x="903" y="283"/>
                </a:lnTo>
                <a:lnTo>
                  <a:pt x="902" y="274"/>
                </a:lnTo>
                <a:lnTo>
                  <a:pt x="900" y="264"/>
                </a:lnTo>
                <a:lnTo>
                  <a:pt x="895" y="256"/>
                </a:lnTo>
                <a:lnTo>
                  <a:pt x="889" y="247"/>
                </a:lnTo>
                <a:lnTo>
                  <a:pt x="882" y="241"/>
                </a:lnTo>
                <a:lnTo>
                  <a:pt x="873" y="238"/>
                </a:lnTo>
                <a:lnTo>
                  <a:pt x="864" y="234"/>
                </a:lnTo>
                <a:lnTo>
                  <a:pt x="853" y="233"/>
                </a:lnTo>
                <a:lnTo>
                  <a:pt x="853" y="233"/>
                </a:lnTo>
                <a:lnTo>
                  <a:pt x="846" y="234"/>
                </a:lnTo>
                <a:lnTo>
                  <a:pt x="837" y="235"/>
                </a:lnTo>
                <a:lnTo>
                  <a:pt x="831" y="239"/>
                </a:lnTo>
                <a:lnTo>
                  <a:pt x="824" y="242"/>
                </a:lnTo>
                <a:lnTo>
                  <a:pt x="818" y="247"/>
                </a:lnTo>
                <a:lnTo>
                  <a:pt x="813" y="253"/>
                </a:lnTo>
                <a:lnTo>
                  <a:pt x="810" y="259"/>
                </a:lnTo>
                <a:lnTo>
                  <a:pt x="806" y="266"/>
                </a:lnTo>
                <a:lnTo>
                  <a:pt x="753" y="266"/>
                </a:lnTo>
                <a:lnTo>
                  <a:pt x="753" y="150"/>
                </a:lnTo>
                <a:lnTo>
                  <a:pt x="636" y="150"/>
                </a:lnTo>
                <a:lnTo>
                  <a:pt x="636" y="97"/>
                </a:lnTo>
                <a:lnTo>
                  <a:pt x="636" y="97"/>
                </a:lnTo>
                <a:lnTo>
                  <a:pt x="643" y="94"/>
                </a:lnTo>
                <a:lnTo>
                  <a:pt x="649" y="90"/>
                </a:lnTo>
                <a:lnTo>
                  <a:pt x="655" y="84"/>
                </a:lnTo>
                <a:lnTo>
                  <a:pt x="660" y="79"/>
                </a:lnTo>
                <a:lnTo>
                  <a:pt x="664" y="72"/>
                </a:lnTo>
                <a:lnTo>
                  <a:pt x="666" y="65"/>
                </a:lnTo>
                <a:lnTo>
                  <a:pt x="669" y="58"/>
                </a:lnTo>
                <a:lnTo>
                  <a:pt x="670" y="50"/>
                </a:lnTo>
                <a:lnTo>
                  <a:pt x="670" y="50"/>
                </a:lnTo>
                <a:lnTo>
                  <a:pt x="669" y="40"/>
                </a:lnTo>
                <a:lnTo>
                  <a:pt x="665" y="30"/>
                </a:lnTo>
                <a:lnTo>
                  <a:pt x="660" y="22"/>
                </a:lnTo>
                <a:lnTo>
                  <a:pt x="654" y="14"/>
                </a:lnTo>
                <a:lnTo>
                  <a:pt x="647" y="8"/>
                </a:lnTo>
                <a:lnTo>
                  <a:pt x="639" y="4"/>
                </a:lnTo>
                <a:lnTo>
                  <a:pt x="629" y="1"/>
                </a:lnTo>
                <a:lnTo>
                  <a:pt x="619" y="0"/>
                </a:lnTo>
                <a:lnTo>
                  <a:pt x="619" y="0"/>
                </a:lnTo>
                <a:lnTo>
                  <a:pt x="610" y="1"/>
                </a:lnTo>
                <a:lnTo>
                  <a:pt x="600" y="4"/>
                </a:lnTo>
                <a:lnTo>
                  <a:pt x="592" y="8"/>
                </a:lnTo>
                <a:lnTo>
                  <a:pt x="583" y="14"/>
                </a:lnTo>
                <a:lnTo>
                  <a:pt x="577" y="22"/>
                </a:lnTo>
                <a:lnTo>
                  <a:pt x="573" y="30"/>
                </a:lnTo>
                <a:lnTo>
                  <a:pt x="570" y="40"/>
                </a:lnTo>
                <a:lnTo>
                  <a:pt x="569" y="50"/>
                </a:lnTo>
                <a:lnTo>
                  <a:pt x="569" y="50"/>
                </a:lnTo>
                <a:lnTo>
                  <a:pt x="570" y="58"/>
                </a:lnTo>
                <a:lnTo>
                  <a:pt x="571" y="65"/>
                </a:lnTo>
                <a:lnTo>
                  <a:pt x="575" y="72"/>
                </a:lnTo>
                <a:lnTo>
                  <a:pt x="578" y="79"/>
                </a:lnTo>
                <a:lnTo>
                  <a:pt x="583" y="84"/>
                </a:lnTo>
                <a:lnTo>
                  <a:pt x="589" y="90"/>
                </a:lnTo>
                <a:lnTo>
                  <a:pt x="595" y="94"/>
                </a:lnTo>
                <a:lnTo>
                  <a:pt x="602" y="97"/>
                </a:lnTo>
                <a:lnTo>
                  <a:pt x="602" y="150"/>
                </a:lnTo>
                <a:lnTo>
                  <a:pt x="469" y="150"/>
                </a:lnTo>
                <a:lnTo>
                  <a:pt x="469" y="97"/>
                </a:lnTo>
                <a:lnTo>
                  <a:pt x="469" y="97"/>
                </a:lnTo>
                <a:lnTo>
                  <a:pt x="476" y="94"/>
                </a:lnTo>
                <a:lnTo>
                  <a:pt x="482" y="90"/>
                </a:lnTo>
                <a:lnTo>
                  <a:pt x="488" y="84"/>
                </a:lnTo>
                <a:lnTo>
                  <a:pt x="493" y="79"/>
                </a:lnTo>
                <a:lnTo>
                  <a:pt x="496" y="72"/>
                </a:lnTo>
                <a:lnTo>
                  <a:pt x="500" y="65"/>
                </a:lnTo>
                <a:lnTo>
                  <a:pt x="501" y="58"/>
                </a:lnTo>
                <a:lnTo>
                  <a:pt x="502" y="50"/>
                </a:lnTo>
                <a:lnTo>
                  <a:pt x="502" y="50"/>
                </a:lnTo>
                <a:lnTo>
                  <a:pt x="501" y="40"/>
                </a:lnTo>
                <a:lnTo>
                  <a:pt x="498" y="30"/>
                </a:lnTo>
                <a:lnTo>
                  <a:pt x="494" y="22"/>
                </a:lnTo>
                <a:lnTo>
                  <a:pt x="487" y="14"/>
                </a:lnTo>
                <a:lnTo>
                  <a:pt x="480" y="8"/>
                </a:lnTo>
                <a:lnTo>
                  <a:pt x="471" y="4"/>
                </a:lnTo>
                <a:lnTo>
                  <a:pt x="461" y="1"/>
                </a:lnTo>
                <a:lnTo>
                  <a:pt x="452" y="0"/>
                </a:lnTo>
                <a:lnTo>
                  <a:pt x="452" y="0"/>
                </a:lnTo>
                <a:lnTo>
                  <a:pt x="442" y="1"/>
                </a:lnTo>
                <a:lnTo>
                  <a:pt x="433" y="4"/>
                </a:lnTo>
                <a:lnTo>
                  <a:pt x="424" y="8"/>
                </a:lnTo>
                <a:lnTo>
                  <a:pt x="417" y="14"/>
                </a:lnTo>
                <a:lnTo>
                  <a:pt x="410" y="22"/>
                </a:lnTo>
                <a:lnTo>
                  <a:pt x="406" y="30"/>
                </a:lnTo>
                <a:lnTo>
                  <a:pt x="402" y="40"/>
                </a:lnTo>
                <a:lnTo>
                  <a:pt x="401" y="50"/>
                </a:lnTo>
                <a:lnTo>
                  <a:pt x="401" y="50"/>
                </a:lnTo>
                <a:lnTo>
                  <a:pt x="402" y="58"/>
                </a:lnTo>
                <a:lnTo>
                  <a:pt x="404" y="65"/>
                </a:lnTo>
                <a:lnTo>
                  <a:pt x="407" y="72"/>
                </a:lnTo>
                <a:lnTo>
                  <a:pt x="411" y="79"/>
                </a:lnTo>
                <a:lnTo>
                  <a:pt x="416" y="84"/>
                </a:lnTo>
                <a:lnTo>
                  <a:pt x="422" y="90"/>
                </a:lnTo>
                <a:lnTo>
                  <a:pt x="428" y="94"/>
                </a:lnTo>
                <a:lnTo>
                  <a:pt x="435" y="97"/>
                </a:lnTo>
                <a:lnTo>
                  <a:pt x="435" y="150"/>
                </a:lnTo>
                <a:lnTo>
                  <a:pt x="301" y="150"/>
                </a:lnTo>
                <a:lnTo>
                  <a:pt x="301" y="97"/>
                </a:lnTo>
                <a:lnTo>
                  <a:pt x="301" y="97"/>
                </a:lnTo>
                <a:lnTo>
                  <a:pt x="309" y="94"/>
                </a:lnTo>
                <a:lnTo>
                  <a:pt x="315" y="90"/>
                </a:lnTo>
                <a:lnTo>
                  <a:pt x="321" y="84"/>
                </a:lnTo>
                <a:lnTo>
                  <a:pt x="325" y="79"/>
                </a:lnTo>
                <a:lnTo>
                  <a:pt x="329" y="72"/>
                </a:lnTo>
                <a:lnTo>
                  <a:pt x="333" y="65"/>
                </a:lnTo>
                <a:lnTo>
                  <a:pt x="334" y="58"/>
                </a:lnTo>
                <a:lnTo>
                  <a:pt x="335" y="50"/>
                </a:lnTo>
                <a:lnTo>
                  <a:pt x="335" y="50"/>
                </a:lnTo>
                <a:lnTo>
                  <a:pt x="334" y="40"/>
                </a:lnTo>
                <a:lnTo>
                  <a:pt x="331" y="30"/>
                </a:lnTo>
                <a:lnTo>
                  <a:pt x="327" y="22"/>
                </a:lnTo>
                <a:lnTo>
                  <a:pt x="321" y="14"/>
                </a:lnTo>
                <a:lnTo>
                  <a:pt x="312" y="8"/>
                </a:lnTo>
                <a:lnTo>
                  <a:pt x="304" y="4"/>
                </a:lnTo>
                <a:lnTo>
                  <a:pt x="295" y="1"/>
                </a:lnTo>
                <a:lnTo>
                  <a:pt x="284" y="0"/>
                </a:lnTo>
                <a:lnTo>
                  <a:pt x="284" y="0"/>
                </a:lnTo>
                <a:lnTo>
                  <a:pt x="275" y="1"/>
                </a:lnTo>
                <a:lnTo>
                  <a:pt x="265" y="4"/>
                </a:lnTo>
                <a:lnTo>
                  <a:pt x="257" y="8"/>
                </a:lnTo>
                <a:lnTo>
                  <a:pt x="250" y="14"/>
                </a:lnTo>
                <a:lnTo>
                  <a:pt x="244" y="22"/>
                </a:lnTo>
                <a:lnTo>
                  <a:pt x="239" y="30"/>
                </a:lnTo>
                <a:lnTo>
                  <a:pt x="235" y="40"/>
                </a:lnTo>
                <a:lnTo>
                  <a:pt x="234" y="50"/>
                </a:lnTo>
                <a:lnTo>
                  <a:pt x="234" y="50"/>
                </a:lnTo>
                <a:lnTo>
                  <a:pt x="235" y="58"/>
                </a:lnTo>
                <a:lnTo>
                  <a:pt x="238" y="65"/>
                </a:lnTo>
                <a:lnTo>
                  <a:pt x="240" y="72"/>
                </a:lnTo>
                <a:lnTo>
                  <a:pt x="244" y="79"/>
                </a:lnTo>
                <a:lnTo>
                  <a:pt x="248" y="84"/>
                </a:lnTo>
                <a:lnTo>
                  <a:pt x="254" y="90"/>
                </a:lnTo>
                <a:lnTo>
                  <a:pt x="260" y="94"/>
                </a:lnTo>
                <a:lnTo>
                  <a:pt x="268" y="97"/>
                </a:lnTo>
                <a:lnTo>
                  <a:pt x="268" y="150"/>
                </a:lnTo>
                <a:lnTo>
                  <a:pt x="151" y="150"/>
                </a:lnTo>
                <a:lnTo>
                  <a:pt x="151" y="266"/>
                </a:lnTo>
                <a:lnTo>
                  <a:pt x="98" y="266"/>
                </a:lnTo>
                <a:lnTo>
                  <a:pt x="98" y="266"/>
                </a:lnTo>
                <a:lnTo>
                  <a:pt x="94" y="259"/>
                </a:lnTo>
                <a:lnTo>
                  <a:pt x="91" y="253"/>
                </a:lnTo>
                <a:lnTo>
                  <a:pt x="86" y="247"/>
                </a:lnTo>
                <a:lnTo>
                  <a:pt x="80" y="242"/>
                </a:lnTo>
                <a:lnTo>
                  <a:pt x="74" y="239"/>
                </a:lnTo>
                <a:lnTo>
                  <a:pt x="67" y="235"/>
                </a:lnTo>
                <a:lnTo>
                  <a:pt x="58" y="234"/>
                </a:lnTo>
                <a:lnTo>
                  <a:pt x="51" y="233"/>
                </a:lnTo>
                <a:lnTo>
                  <a:pt x="51" y="233"/>
                </a:lnTo>
                <a:lnTo>
                  <a:pt x="40" y="234"/>
                </a:lnTo>
                <a:lnTo>
                  <a:pt x="30" y="238"/>
                </a:lnTo>
                <a:lnTo>
                  <a:pt x="22" y="241"/>
                </a:lnTo>
                <a:lnTo>
                  <a:pt x="15" y="247"/>
                </a:lnTo>
                <a:lnTo>
                  <a:pt x="9" y="256"/>
                </a:lnTo>
                <a:lnTo>
                  <a:pt x="4" y="264"/>
                </a:lnTo>
                <a:lnTo>
                  <a:pt x="1" y="274"/>
                </a:lnTo>
                <a:lnTo>
                  <a:pt x="0" y="283"/>
                </a:lnTo>
                <a:lnTo>
                  <a:pt x="0" y="283"/>
                </a:lnTo>
                <a:lnTo>
                  <a:pt x="1" y="293"/>
                </a:lnTo>
                <a:lnTo>
                  <a:pt x="4" y="302"/>
                </a:lnTo>
                <a:lnTo>
                  <a:pt x="9" y="311"/>
                </a:lnTo>
                <a:lnTo>
                  <a:pt x="15" y="318"/>
                </a:lnTo>
                <a:lnTo>
                  <a:pt x="22" y="325"/>
                </a:lnTo>
                <a:lnTo>
                  <a:pt x="30" y="329"/>
                </a:lnTo>
                <a:lnTo>
                  <a:pt x="40" y="332"/>
                </a:lnTo>
                <a:lnTo>
                  <a:pt x="51" y="334"/>
                </a:lnTo>
                <a:lnTo>
                  <a:pt x="51" y="334"/>
                </a:lnTo>
                <a:lnTo>
                  <a:pt x="58" y="332"/>
                </a:lnTo>
                <a:lnTo>
                  <a:pt x="67" y="331"/>
                </a:lnTo>
                <a:lnTo>
                  <a:pt x="74" y="328"/>
                </a:lnTo>
                <a:lnTo>
                  <a:pt x="80" y="324"/>
                </a:lnTo>
                <a:lnTo>
                  <a:pt x="86" y="319"/>
                </a:lnTo>
                <a:lnTo>
                  <a:pt x="91" y="313"/>
                </a:lnTo>
                <a:lnTo>
                  <a:pt x="94" y="307"/>
                </a:lnTo>
                <a:lnTo>
                  <a:pt x="98" y="300"/>
                </a:lnTo>
                <a:lnTo>
                  <a:pt x="151" y="300"/>
                </a:lnTo>
                <a:lnTo>
                  <a:pt x="151" y="433"/>
                </a:lnTo>
                <a:lnTo>
                  <a:pt x="98" y="433"/>
                </a:lnTo>
                <a:lnTo>
                  <a:pt x="98" y="433"/>
                </a:lnTo>
                <a:lnTo>
                  <a:pt x="94" y="426"/>
                </a:lnTo>
                <a:lnTo>
                  <a:pt x="91" y="420"/>
                </a:lnTo>
                <a:lnTo>
                  <a:pt x="86" y="414"/>
                </a:lnTo>
                <a:lnTo>
                  <a:pt x="80" y="409"/>
                </a:lnTo>
                <a:lnTo>
                  <a:pt x="74" y="406"/>
                </a:lnTo>
                <a:lnTo>
                  <a:pt x="67" y="402"/>
                </a:lnTo>
                <a:lnTo>
                  <a:pt x="58" y="401"/>
                </a:lnTo>
                <a:lnTo>
                  <a:pt x="51" y="400"/>
                </a:lnTo>
                <a:lnTo>
                  <a:pt x="51" y="400"/>
                </a:lnTo>
                <a:lnTo>
                  <a:pt x="40" y="401"/>
                </a:lnTo>
                <a:lnTo>
                  <a:pt x="30" y="403"/>
                </a:lnTo>
                <a:lnTo>
                  <a:pt x="22" y="408"/>
                </a:lnTo>
                <a:lnTo>
                  <a:pt x="15" y="414"/>
                </a:lnTo>
                <a:lnTo>
                  <a:pt x="9" y="422"/>
                </a:lnTo>
                <a:lnTo>
                  <a:pt x="4" y="431"/>
                </a:lnTo>
                <a:lnTo>
                  <a:pt x="1" y="439"/>
                </a:lnTo>
                <a:lnTo>
                  <a:pt x="0" y="450"/>
                </a:lnTo>
                <a:lnTo>
                  <a:pt x="0" y="450"/>
                </a:lnTo>
                <a:lnTo>
                  <a:pt x="1" y="460"/>
                </a:lnTo>
                <a:lnTo>
                  <a:pt x="4" y="469"/>
                </a:lnTo>
                <a:lnTo>
                  <a:pt x="9" y="478"/>
                </a:lnTo>
                <a:lnTo>
                  <a:pt x="15" y="485"/>
                </a:lnTo>
                <a:lnTo>
                  <a:pt x="22" y="491"/>
                </a:lnTo>
                <a:lnTo>
                  <a:pt x="30" y="496"/>
                </a:lnTo>
                <a:lnTo>
                  <a:pt x="40" y="499"/>
                </a:lnTo>
                <a:lnTo>
                  <a:pt x="51" y="500"/>
                </a:lnTo>
                <a:lnTo>
                  <a:pt x="51" y="500"/>
                </a:lnTo>
                <a:lnTo>
                  <a:pt x="58" y="499"/>
                </a:lnTo>
                <a:lnTo>
                  <a:pt x="67" y="497"/>
                </a:lnTo>
                <a:lnTo>
                  <a:pt x="74" y="494"/>
                </a:lnTo>
                <a:lnTo>
                  <a:pt x="80" y="491"/>
                </a:lnTo>
                <a:lnTo>
                  <a:pt x="86" y="486"/>
                </a:lnTo>
                <a:lnTo>
                  <a:pt x="91" y="480"/>
                </a:lnTo>
                <a:lnTo>
                  <a:pt x="94" y="474"/>
                </a:lnTo>
                <a:lnTo>
                  <a:pt x="98" y="467"/>
                </a:lnTo>
                <a:lnTo>
                  <a:pt x="151" y="467"/>
                </a:lnTo>
                <a:lnTo>
                  <a:pt x="151" y="600"/>
                </a:lnTo>
                <a:lnTo>
                  <a:pt x="98" y="600"/>
                </a:lnTo>
                <a:lnTo>
                  <a:pt x="98" y="600"/>
                </a:lnTo>
                <a:lnTo>
                  <a:pt x="94" y="593"/>
                </a:lnTo>
                <a:lnTo>
                  <a:pt x="91" y="587"/>
                </a:lnTo>
                <a:lnTo>
                  <a:pt x="86" y="581"/>
                </a:lnTo>
                <a:lnTo>
                  <a:pt x="80" y="576"/>
                </a:lnTo>
                <a:lnTo>
                  <a:pt x="74" y="572"/>
                </a:lnTo>
                <a:lnTo>
                  <a:pt x="67" y="569"/>
                </a:lnTo>
                <a:lnTo>
                  <a:pt x="58" y="568"/>
                </a:lnTo>
                <a:lnTo>
                  <a:pt x="51" y="566"/>
                </a:lnTo>
                <a:lnTo>
                  <a:pt x="51" y="566"/>
                </a:lnTo>
                <a:lnTo>
                  <a:pt x="40" y="568"/>
                </a:lnTo>
                <a:lnTo>
                  <a:pt x="30" y="570"/>
                </a:lnTo>
                <a:lnTo>
                  <a:pt x="22" y="575"/>
                </a:lnTo>
                <a:lnTo>
                  <a:pt x="15" y="581"/>
                </a:lnTo>
                <a:lnTo>
                  <a:pt x="9" y="588"/>
                </a:lnTo>
                <a:lnTo>
                  <a:pt x="4" y="598"/>
                </a:lnTo>
                <a:lnTo>
                  <a:pt x="1" y="606"/>
                </a:lnTo>
                <a:lnTo>
                  <a:pt x="0" y="617"/>
                </a:lnTo>
                <a:lnTo>
                  <a:pt x="0" y="617"/>
                </a:lnTo>
                <a:lnTo>
                  <a:pt x="1" y="626"/>
                </a:lnTo>
                <a:lnTo>
                  <a:pt x="4" y="636"/>
                </a:lnTo>
                <a:lnTo>
                  <a:pt x="9" y="644"/>
                </a:lnTo>
                <a:lnTo>
                  <a:pt x="15" y="652"/>
                </a:lnTo>
                <a:lnTo>
                  <a:pt x="22" y="658"/>
                </a:lnTo>
                <a:lnTo>
                  <a:pt x="30" y="662"/>
                </a:lnTo>
                <a:lnTo>
                  <a:pt x="40" y="666"/>
                </a:lnTo>
                <a:lnTo>
                  <a:pt x="51" y="666"/>
                </a:lnTo>
                <a:lnTo>
                  <a:pt x="51" y="666"/>
                </a:lnTo>
                <a:lnTo>
                  <a:pt x="58" y="666"/>
                </a:lnTo>
                <a:lnTo>
                  <a:pt x="67" y="664"/>
                </a:lnTo>
                <a:lnTo>
                  <a:pt x="74" y="661"/>
                </a:lnTo>
                <a:lnTo>
                  <a:pt x="80" y="658"/>
                </a:lnTo>
                <a:lnTo>
                  <a:pt x="86" y="652"/>
                </a:lnTo>
                <a:lnTo>
                  <a:pt x="91" y="647"/>
                </a:lnTo>
                <a:lnTo>
                  <a:pt x="94" y="640"/>
                </a:lnTo>
                <a:lnTo>
                  <a:pt x="98" y="634"/>
                </a:lnTo>
                <a:lnTo>
                  <a:pt x="151" y="634"/>
                </a:lnTo>
                <a:lnTo>
                  <a:pt x="151" y="750"/>
                </a:lnTo>
                <a:lnTo>
                  <a:pt x="268" y="750"/>
                </a:lnTo>
                <a:lnTo>
                  <a:pt x="268" y="803"/>
                </a:lnTo>
                <a:lnTo>
                  <a:pt x="268" y="803"/>
                </a:lnTo>
                <a:lnTo>
                  <a:pt x="260" y="806"/>
                </a:lnTo>
                <a:lnTo>
                  <a:pt x="254" y="810"/>
                </a:lnTo>
                <a:lnTo>
                  <a:pt x="248" y="815"/>
                </a:lnTo>
                <a:lnTo>
                  <a:pt x="244" y="821"/>
                </a:lnTo>
                <a:lnTo>
                  <a:pt x="240" y="827"/>
                </a:lnTo>
                <a:lnTo>
                  <a:pt x="238" y="834"/>
                </a:lnTo>
                <a:lnTo>
                  <a:pt x="235" y="842"/>
                </a:lnTo>
                <a:lnTo>
                  <a:pt x="234" y="850"/>
                </a:lnTo>
                <a:lnTo>
                  <a:pt x="234" y="850"/>
                </a:lnTo>
                <a:lnTo>
                  <a:pt x="235" y="860"/>
                </a:lnTo>
                <a:lnTo>
                  <a:pt x="239" y="869"/>
                </a:lnTo>
                <a:lnTo>
                  <a:pt x="244" y="877"/>
                </a:lnTo>
                <a:lnTo>
                  <a:pt x="250" y="886"/>
                </a:lnTo>
                <a:lnTo>
                  <a:pt x="257" y="892"/>
                </a:lnTo>
                <a:lnTo>
                  <a:pt x="265" y="896"/>
                </a:lnTo>
                <a:lnTo>
                  <a:pt x="275" y="899"/>
                </a:lnTo>
                <a:lnTo>
                  <a:pt x="284" y="900"/>
                </a:lnTo>
                <a:lnTo>
                  <a:pt x="284" y="900"/>
                </a:lnTo>
                <a:lnTo>
                  <a:pt x="295" y="899"/>
                </a:lnTo>
                <a:lnTo>
                  <a:pt x="304" y="896"/>
                </a:lnTo>
                <a:lnTo>
                  <a:pt x="312" y="892"/>
                </a:lnTo>
                <a:lnTo>
                  <a:pt x="321" y="886"/>
                </a:lnTo>
                <a:lnTo>
                  <a:pt x="327" y="877"/>
                </a:lnTo>
                <a:lnTo>
                  <a:pt x="331" y="869"/>
                </a:lnTo>
                <a:lnTo>
                  <a:pt x="334" y="860"/>
                </a:lnTo>
                <a:lnTo>
                  <a:pt x="335" y="850"/>
                </a:lnTo>
                <a:lnTo>
                  <a:pt x="335" y="850"/>
                </a:lnTo>
                <a:lnTo>
                  <a:pt x="334" y="842"/>
                </a:lnTo>
                <a:lnTo>
                  <a:pt x="333" y="834"/>
                </a:lnTo>
                <a:lnTo>
                  <a:pt x="329" y="827"/>
                </a:lnTo>
                <a:lnTo>
                  <a:pt x="325" y="821"/>
                </a:lnTo>
                <a:lnTo>
                  <a:pt x="321" y="815"/>
                </a:lnTo>
                <a:lnTo>
                  <a:pt x="315" y="810"/>
                </a:lnTo>
                <a:lnTo>
                  <a:pt x="309" y="806"/>
                </a:lnTo>
                <a:lnTo>
                  <a:pt x="301" y="803"/>
                </a:lnTo>
                <a:lnTo>
                  <a:pt x="301" y="750"/>
                </a:lnTo>
                <a:lnTo>
                  <a:pt x="435" y="750"/>
                </a:lnTo>
                <a:lnTo>
                  <a:pt x="435" y="803"/>
                </a:lnTo>
                <a:lnTo>
                  <a:pt x="435" y="803"/>
                </a:lnTo>
                <a:lnTo>
                  <a:pt x="428" y="806"/>
                </a:lnTo>
                <a:lnTo>
                  <a:pt x="422" y="810"/>
                </a:lnTo>
                <a:lnTo>
                  <a:pt x="416" y="815"/>
                </a:lnTo>
                <a:lnTo>
                  <a:pt x="411" y="821"/>
                </a:lnTo>
                <a:lnTo>
                  <a:pt x="407" y="827"/>
                </a:lnTo>
                <a:lnTo>
                  <a:pt x="404" y="834"/>
                </a:lnTo>
                <a:lnTo>
                  <a:pt x="402" y="842"/>
                </a:lnTo>
                <a:lnTo>
                  <a:pt x="401" y="850"/>
                </a:lnTo>
                <a:lnTo>
                  <a:pt x="401" y="850"/>
                </a:lnTo>
                <a:lnTo>
                  <a:pt x="402" y="860"/>
                </a:lnTo>
                <a:lnTo>
                  <a:pt x="406" y="869"/>
                </a:lnTo>
                <a:lnTo>
                  <a:pt x="410" y="877"/>
                </a:lnTo>
                <a:lnTo>
                  <a:pt x="417" y="886"/>
                </a:lnTo>
                <a:lnTo>
                  <a:pt x="424" y="892"/>
                </a:lnTo>
                <a:lnTo>
                  <a:pt x="433" y="896"/>
                </a:lnTo>
                <a:lnTo>
                  <a:pt x="442" y="899"/>
                </a:lnTo>
                <a:lnTo>
                  <a:pt x="452" y="900"/>
                </a:lnTo>
                <a:lnTo>
                  <a:pt x="452" y="900"/>
                </a:lnTo>
                <a:lnTo>
                  <a:pt x="461" y="899"/>
                </a:lnTo>
                <a:lnTo>
                  <a:pt x="471" y="896"/>
                </a:lnTo>
                <a:lnTo>
                  <a:pt x="480" y="892"/>
                </a:lnTo>
                <a:lnTo>
                  <a:pt x="487" y="886"/>
                </a:lnTo>
                <a:lnTo>
                  <a:pt x="494" y="877"/>
                </a:lnTo>
                <a:lnTo>
                  <a:pt x="498" y="869"/>
                </a:lnTo>
                <a:lnTo>
                  <a:pt x="501" y="860"/>
                </a:lnTo>
                <a:lnTo>
                  <a:pt x="502" y="850"/>
                </a:lnTo>
                <a:lnTo>
                  <a:pt x="502" y="850"/>
                </a:lnTo>
                <a:lnTo>
                  <a:pt x="501" y="842"/>
                </a:lnTo>
                <a:lnTo>
                  <a:pt x="500" y="834"/>
                </a:lnTo>
                <a:lnTo>
                  <a:pt x="496" y="827"/>
                </a:lnTo>
                <a:lnTo>
                  <a:pt x="493" y="821"/>
                </a:lnTo>
                <a:lnTo>
                  <a:pt x="488" y="815"/>
                </a:lnTo>
                <a:lnTo>
                  <a:pt x="482" y="810"/>
                </a:lnTo>
                <a:lnTo>
                  <a:pt x="476" y="806"/>
                </a:lnTo>
                <a:lnTo>
                  <a:pt x="469" y="803"/>
                </a:lnTo>
                <a:lnTo>
                  <a:pt x="469" y="750"/>
                </a:lnTo>
                <a:lnTo>
                  <a:pt x="602" y="750"/>
                </a:lnTo>
                <a:lnTo>
                  <a:pt x="602" y="803"/>
                </a:lnTo>
                <a:lnTo>
                  <a:pt x="602" y="803"/>
                </a:lnTo>
                <a:lnTo>
                  <a:pt x="595" y="806"/>
                </a:lnTo>
                <a:lnTo>
                  <a:pt x="589" y="810"/>
                </a:lnTo>
                <a:lnTo>
                  <a:pt x="583" y="815"/>
                </a:lnTo>
                <a:lnTo>
                  <a:pt x="578" y="821"/>
                </a:lnTo>
                <a:lnTo>
                  <a:pt x="575" y="827"/>
                </a:lnTo>
                <a:lnTo>
                  <a:pt x="571" y="834"/>
                </a:lnTo>
                <a:lnTo>
                  <a:pt x="570" y="842"/>
                </a:lnTo>
                <a:lnTo>
                  <a:pt x="569" y="850"/>
                </a:lnTo>
                <a:lnTo>
                  <a:pt x="569" y="850"/>
                </a:lnTo>
                <a:lnTo>
                  <a:pt x="570" y="860"/>
                </a:lnTo>
                <a:lnTo>
                  <a:pt x="573" y="869"/>
                </a:lnTo>
                <a:lnTo>
                  <a:pt x="577" y="877"/>
                </a:lnTo>
                <a:lnTo>
                  <a:pt x="583" y="886"/>
                </a:lnTo>
                <a:lnTo>
                  <a:pt x="592" y="892"/>
                </a:lnTo>
                <a:lnTo>
                  <a:pt x="600" y="896"/>
                </a:lnTo>
                <a:lnTo>
                  <a:pt x="610" y="899"/>
                </a:lnTo>
                <a:lnTo>
                  <a:pt x="619" y="900"/>
                </a:lnTo>
                <a:lnTo>
                  <a:pt x="619" y="900"/>
                </a:lnTo>
                <a:lnTo>
                  <a:pt x="629" y="899"/>
                </a:lnTo>
                <a:lnTo>
                  <a:pt x="639" y="896"/>
                </a:lnTo>
                <a:lnTo>
                  <a:pt x="647" y="892"/>
                </a:lnTo>
                <a:lnTo>
                  <a:pt x="654" y="886"/>
                </a:lnTo>
                <a:lnTo>
                  <a:pt x="660" y="877"/>
                </a:lnTo>
                <a:lnTo>
                  <a:pt x="665" y="869"/>
                </a:lnTo>
                <a:lnTo>
                  <a:pt x="669" y="860"/>
                </a:lnTo>
                <a:lnTo>
                  <a:pt x="670" y="850"/>
                </a:lnTo>
                <a:lnTo>
                  <a:pt x="670" y="850"/>
                </a:lnTo>
                <a:lnTo>
                  <a:pt x="669" y="842"/>
                </a:lnTo>
                <a:lnTo>
                  <a:pt x="666" y="834"/>
                </a:lnTo>
                <a:lnTo>
                  <a:pt x="664" y="827"/>
                </a:lnTo>
                <a:lnTo>
                  <a:pt x="660" y="821"/>
                </a:lnTo>
                <a:lnTo>
                  <a:pt x="655" y="815"/>
                </a:lnTo>
                <a:lnTo>
                  <a:pt x="649" y="810"/>
                </a:lnTo>
                <a:lnTo>
                  <a:pt x="643" y="806"/>
                </a:lnTo>
                <a:lnTo>
                  <a:pt x="636" y="803"/>
                </a:lnTo>
                <a:lnTo>
                  <a:pt x="636" y="750"/>
                </a:lnTo>
                <a:lnTo>
                  <a:pt x="753" y="750"/>
                </a:lnTo>
                <a:lnTo>
                  <a:pt x="753" y="634"/>
                </a:lnTo>
                <a:lnTo>
                  <a:pt x="806" y="634"/>
                </a:lnTo>
                <a:lnTo>
                  <a:pt x="806" y="634"/>
                </a:lnTo>
                <a:lnTo>
                  <a:pt x="810" y="640"/>
                </a:lnTo>
                <a:lnTo>
                  <a:pt x="813" y="647"/>
                </a:lnTo>
                <a:lnTo>
                  <a:pt x="818" y="652"/>
                </a:lnTo>
                <a:lnTo>
                  <a:pt x="824" y="658"/>
                </a:lnTo>
                <a:lnTo>
                  <a:pt x="831" y="661"/>
                </a:lnTo>
                <a:lnTo>
                  <a:pt x="837" y="664"/>
                </a:lnTo>
                <a:lnTo>
                  <a:pt x="846" y="666"/>
                </a:lnTo>
                <a:lnTo>
                  <a:pt x="853" y="666"/>
                </a:lnTo>
                <a:lnTo>
                  <a:pt x="853" y="666"/>
                </a:lnTo>
                <a:lnTo>
                  <a:pt x="864" y="666"/>
                </a:lnTo>
                <a:lnTo>
                  <a:pt x="873" y="662"/>
                </a:lnTo>
                <a:lnTo>
                  <a:pt x="882" y="658"/>
                </a:lnTo>
                <a:lnTo>
                  <a:pt x="889" y="652"/>
                </a:lnTo>
                <a:lnTo>
                  <a:pt x="895" y="644"/>
                </a:lnTo>
                <a:lnTo>
                  <a:pt x="900" y="636"/>
                </a:lnTo>
                <a:lnTo>
                  <a:pt x="902" y="626"/>
                </a:lnTo>
                <a:lnTo>
                  <a:pt x="903" y="617"/>
                </a:lnTo>
                <a:lnTo>
                  <a:pt x="903" y="617"/>
                </a:lnTo>
                <a:lnTo>
                  <a:pt x="902" y="606"/>
                </a:lnTo>
                <a:lnTo>
                  <a:pt x="900" y="598"/>
                </a:lnTo>
                <a:lnTo>
                  <a:pt x="895" y="588"/>
                </a:lnTo>
                <a:lnTo>
                  <a:pt x="889" y="581"/>
                </a:lnTo>
                <a:lnTo>
                  <a:pt x="882" y="575"/>
                </a:lnTo>
                <a:lnTo>
                  <a:pt x="873" y="570"/>
                </a:lnTo>
                <a:lnTo>
                  <a:pt x="864" y="568"/>
                </a:lnTo>
                <a:lnTo>
                  <a:pt x="853" y="566"/>
                </a:lnTo>
                <a:lnTo>
                  <a:pt x="853" y="566"/>
                </a:lnTo>
                <a:lnTo>
                  <a:pt x="846" y="568"/>
                </a:lnTo>
                <a:lnTo>
                  <a:pt x="837" y="569"/>
                </a:lnTo>
                <a:lnTo>
                  <a:pt x="831" y="572"/>
                </a:lnTo>
                <a:lnTo>
                  <a:pt x="824" y="576"/>
                </a:lnTo>
                <a:lnTo>
                  <a:pt x="818" y="581"/>
                </a:lnTo>
                <a:lnTo>
                  <a:pt x="813" y="587"/>
                </a:lnTo>
                <a:lnTo>
                  <a:pt x="810" y="593"/>
                </a:lnTo>
                <a:lnTo>
                  <a:pt x="806" y="600"/>
                </a:lnTo>
                <a:lnTo>
                  <a:pt x="753" y="600"/>
                </a:lnTo>
                <a:lnTo>
                  <a:pt x="753" y="46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Rectangle 17">
            <a:extLst>
              <a:ext uri="{FF2B5EF4-FFF2-40B4-BE49-F238E27FC236}">
                <a16:creationId xmlns:a16="http://schemas.microsoft.com/office/drawing/2014/main" id="{65B6EF7F-C6CC-D6D2-D7E4-D8E5085C77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85480" y="5144250"/>
            <a:ext cx="3293533" cy="381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Freeform 18">
            <a:extLst>
              <a:ext uri="{FF2B5EF4-FFF2-40B4-BE49-F238E27FC236}">
                <a16:creationId xmlns:a16="http://schemas.microsoft.com/office/drawing/2014/main" id="{4E9289EF-89C8-E1A8-534A-3E639BE02B68}"/>
              </a:ext>
            </a:extLst>
          </p:cNvPr>
          <p:cNvSpPr>
            <a:spLocks noEditPoints="1"/>
          </p:cNvSpPr>
          <p:nvPr/>
        </p:nvSpPr>
        <p:spPr bwMode="auto">
          <a:xfrm>
            <a:off x="8448146" y="4443633"/>
            <a:ext cx="245533" cy="269875"/>
          </a:xfrm>
          <a:custGeom>
            <a:avLst/>
            <a:gdLst>
              <a:gd name="T0" fmla="*/ 255 w 465"/>
              <a:gd name="T1" fmla="*/ 465 h 510"/>
              <a:gd name="T2" fmla="*/ 465 w 465"/>
              <a:gd name="T3" fmla="*/ 465 h 510"/>
              <a:gd name="T4" fmla="*/ 465 w 465"/>
              <a:gd name="T5" fmla="*/ 510 h 510"/>
              <a:gd name="T6" fmla="*/ 0 w 465"/>
              <a:gd name="T7" fmla="*/ 510 h 510"/>
              <a:gd name="T8" fmla="*/ 0 w 465"/>
              <a:gd name="T9" fmla="*/ 465 h 510"/>
              <a:gd name="T10" fmla="*/ 209 w 465"/>
              <a:gd name="T11" fmla="*/ 465 h 510"/>
              <a:gd name="T12" fmla="*/ 209 w 465"/>
              <a:gd name="T13" fmla="*/ 418 h 510"/>
              <a:gd name="T14" fmla="*/ 255 w 465"/>
              <a:gd name="T15" fmla="*/ 418 h 510"/>
              <a:gd name="T16" fmla="*/ 255 w 465"/>
              <a:gd name="T17" fmla="*/ 465 h 510"/>
              <a:gd name="T18" fmla="*/ 23 w 465"/>
              <a:gd name="T19" fmla="*/ 303 h 510"/>
              <a:gd name="T20" fmla="*/ 92 w 465"/>
              <a:gd name="T21" fmla="*/ 303 h 510"/>
              <a:gd name="T22" fmla="*/ 92 w 465"/>
              <a:gd name="T23" fmla="*/ 348 h 510"/>
              <a:gd name="T24" fmla="*/ 23 w 465"/>
              <a:gd name="T25" fmla="*/ 348 h 510"/>
              <a:gd name="T26" fmla="*/ 23 w 465"/>
              <a:gd name="T27" fmla="*/ 303 h 510"/>
              <a:gd name="T28" fmla="*/ 0 w 465"/>
              <a:gd name="T29" fmla="*/ 372 h 510"/>
              <a:gd name="T30" fmla="*/ 465 w 465"/>
              <a:gd name="T31" fmla="*/ 372 h 510"/>
              <a:gd name="T32" fmla="*/ 465 w 465"/>
              <a:gd name="T33" fmla="*/ 279 h 510"/>
              <a:gd name="T34" fmla="*/ 0 w 465"/>
              <a:gd name="T35" fmla="*/ 279 h 510"/>
              <a:gd name="T36" fmla="*/ 0 w 465"/>
              <a:gd name="T37" fmla="*/ 372 h 510"/>
              <a:gd name="T38" fmla="*/ 23 w 465"/>
              <a:gd name="T39" fmla="*/ 163 h 510"/>
              <a:gd name="T40" fmla="*/ 92 w 465"/>
              <a:gd name="T41" fmla="*/ 163 h 510"/>
              <a:gd name="T42" fmla="*/ 92 w 465"/>
              <a:gd name="T43" fmla="*/ 209 h 510"/>
              <a:gd name="T44" fmla="*/ 23 w 465"/>
              <a:gd name="T45" fmla="*/ 209 h 510"/>
              <a:gd name="T46" fmla="*/ 23 w 465"/>
              <a:gd name="T47" fmla="*/ 163 h 510"/>
              <a:gd name="T48" fmla="*/ 0 w 465"/>
              <a:gd name="T49" fmla="*/ 233 h 510"/>
              <a:gd name="T50" fmla="*/ 465 w 465"/>
              <a:gd name="T51" fmla="*/ 233 h 510"/>
              <a:gd name="T52" fmla="*/ 465 w 465"/>
              <a:gd name="T53" fmla="*/ 139 h 510"/>
              <a:gd name="T54" fmla="*/ 0 w 465"/>
              <a:gd name="T55" fmla="*/ 139 h 510"/>
              <a:gd name="T56" fmla="*/ 0 w 465"/>
              <a:gd name="T57" fmla="*/ 233 h 510"/>
              <a:gd name="T58" fmla="*/ 92 w 465"/>
              <a:gd name="T59" fmla="*/ 70 h 510"/>
              <a:gd name="T60" fmla="*/ 23 w 465"/>
              <a:gd name="T61" fmla="*/ 70 h 510"/>
              <a:gd name="T62" fmla="*/ 23 w 465"/>
              <a:gd name="T63" fmla="*/ 24 h 510"/>
              <a:gd name="T64" fmla="*/ 92 w 465"/>
              <a:gd name="T65" fmla="*/ 24 h 510"/>
              <a:gd name="T66" fmla="*/ 92 w 465"/>
              <a:gd name="T67" fmla="*/ 70 h 510"/>
              <a:gd name="T68" fmla="*/ 0 w 465"/>
              <a:gd name="T69" fmla="*/ 94 h 510"/>
              <a:gd name="T70" fmla="*/ 465 w 465"/>
              <a:gd name="T71" fmla="*/ 94 h 510"/>
              <a:gd name="T72" fmla="*/ 465 w 465"/>
              <a:gd name="T73" fmla="*/ 0 h 510"/>
              <a:gd name="T74" fmla="*/ 0 w 465"/>
              <a:gd name="T75" fmla="*/ 0 h 510"/>
              <a:gd name="T76" fmla="*/ 0 w 465"/>
              <a:gd name="T77" fmla="*/ 94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65" h="510">
                <a:moveTo>
                  <a:pt x="255" y="465"/>
                </a:moveTo>
                <a:lnTo>
                  <a:pt x="465" y="465"/>
                </a:lnTo>
                <a:lnTo>
                  <a:pt x="465" y="510"/>
                </a:lnTo>
                <a:lnTo>
                  <a:pt x="0" y="510"/>
                </a:lnTo>
                <a:lnTo>
                  <a:pt x="0" y="465"/>
                </a:lnTo>
                <a:lnTo>
                  <a:pt x="209" y="465"/>
                </a:lnTo>
                <a:lnTo>
                  <a:pt x="209" y="418"/>
                </a:lnTo>
                <a:lnTo>
                  <a:pt x="255" y="418"/>
                </a:lnTo>
                <a:lnTo>
                  <a:pt x="255" y="465"/>
                </a:lnTo>
                <a:close/>
                <a:moveTo>
                  <a:pt x="23" y="303"/>
                </a:moveTo>
                <a:lnTo>
                  <a:pt x="92" y="303"/>
                </a:lnTo>
                <a:lnTo>
                  <a:pt x="92" y="348"/>
                </a:lnTo>
                <a:lnTo>
                  <a:pt x="23" y="348"/>
                </a:lnTo>
                <a:lnTo>
                  <a:pt x="23" y="303"/>
                </a:lnTo>
                <a:close/>
                <a:moveTo>
                  <a:pt x="0" y="372"/>
                </a:moveTo>
                <a:lnTo>
                  <a:pt x="465" y="372"/>
                </a:lnTo>
                <a:lnTo>
                  <a:pt x="465" y="279"/>
                </a:lnTo>
                <a:lnTo>
                  <a:pt x="0" y="279"/>
                </a:lnTo>
                <a:lnTo>
                  <a:pt x="0" y="372"/>
                </a:lnTo>
                <a:close/>
                <a:moveTo>
                  <a:pt x="23" y="163"/>
                </a:moveTo>
                <a:lnTo>
                  <a:pt x="92" y="163"/>
                </a:lnTo>
                <a:lnTo>
                  <a:pt x="92" y="209"/>
                </a:lnTo>
                <a:lnTo>
                  <a:pt x="23" y="209"/>
                </a:lnTo>
                <a:lnTo>
                  <a:pt x="23" y="163"/>
                </a:lnTo>
                <a:close/>
                <a:moveTo>
                  <a:pt x="0" y="233"/>
                </a:moveTo>
                <a:lnTo>
                  <a:pt x="465" y="233"/>
                </a:lnTo>
                <a:lnTo>
                  <a:pt x="465" y="139"/>
                </a:lnTo>
                <a:lnTo>
                  <a:pt x="0" y="139"/>
                </a:lnTo>
                <a:lnTo>
                  <a:pt x="0" y="233"/>
                </a:lnTo>
                <a:close/>
                <a:moveTo>
                  <a:pt x="92" y="70"/>
                </a:moveTo>
                <a:lnTo>
                  <a:pt x="23" y="70"/>
                </a:lnTo>
                <a:lnTo>
                  <a:pt x="23" y="24"/>
                </a:lnTo>
                <a:lnTo>
                  <a:pt x="92" y="24"/>
                </a:lnTo>
                <a:lnTo>
                  <a:pt x="92" y="70"/>
                </a:lnTo>
                <a:close/>
                <a:moveTo>
                  <a:pt x="0" y="94"/>
                </a:moveTo>
                <a:lnTo>
                  <a:pt x="465" y="94"/>
                </a:lnTo>
                <a:lnTo>
                  <a:pt x="465" y="0"/>
                </a:lnTo>
                <a:lnTo>
                  <a:pt x="0" y="0"/>
                </a:lnTo>
                <a:lnTo>
                  <a:pt x="0" y="9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D64C658A-4E0A-B4A9-96A5-8CB032879EC2}"/>
              </a:ext>
            </a:extLst>
          </p:cNvPr>
          <p:cNvGrpSpPr/>
          <p:nvPr/>
        </p:nvGrpSpPr>
        <p:grpSpPr>
          <a:xfrm>
            <a:off x="9119130" y="4443633"/>
            <a:ext cx="286808" cy="285751"/>
            <a:chOff x="7461779" y="4443633"/>
            <a:chExt cx="286808" cy="285751"/>
          </a:xfrm>
          <a:solidFill>
            <a:schemeClr val="accent5"/>
          </a:solidFill>
        </p:grpSpPr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31A493E7-9313-5703-4E58-AC94875F1B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61779" y="4443633"/>
              <a:ext cx="286808" cy="285750"/>
            </a:xfrm>
            <a:custGeom>
              <a:avLst/>
              <a:gdLst>
                <a:gd name="T0" fmla="*/ 311 w 542"/>
                <a:gd name="T1" fmla="*/ 237 h 540"/>
                <a:gd name="T2" fmla="*/ 232 w 542"/>
                <a:gd name="T3" fmla="*/ 237 h 540"/>
                <a:gd name="T4" fmla="*/ 165 w 542"/>
                <a:gd name="T5" fmla="*/ 261 h 540"/>
                <a:gd name="T6" fmla="*/ 158 w 542"/>
                <a:gd name="T7" fmla="*/ 265 h 540"/>
                <a:gd name="T8" fmla="*/ 152 w 542"/>
                <a:gd name="T9" fmla="*/ 273 h 540"/>
                <a:gd name="T10" fmla="*/ 148 w 542"/>
                <a:gd name="T11" fmla="*/ 280 h 540"/>
                <a:gd name="T12" fmla="*/ 147 w 542"/>
                <a:gd name="T13" fmla="*/ 289 h 540"/>
                <a:gd name="T14" fmla="*/ 382 w 542"/>
                <a:gd name="T15" fmla="*/ 450 h 540"/>
                <a:gd name="T16" fmla="*/ 395 w 542"/>
                <a:gd name="T17" fmla="*/ 289 h 540"/>
                <a:gd name="T18" fmla="*/ 395 w 542"/>
                <a:gd name="T19" fmla="*/ 280 h 540"/>
                <a:gd name="T20" fmla="*/ 391 w 542"/>
                <a:gd name="T21" fmla="*/ 273 h 540"/>
                <a:gd name="T22" fmla="*/ 385 w 542"/>
                <a:gd name="T23" fmla="*/ 265 h 540"/>
                <a:gd name="T24" fmla="*/ 377 w 542"/>
                <a:gd name="T25" fmla="*/ 261 h 540"/>
                <a:gd name="T26" fmla="*/ 271 w 542"/>
                <a:gd name="T27" fmla="*/ 226 h 540"/>
                <a:gd name="T28" fmla="*/ 291 w 542"/>
                <a:gd name="T29" fmla="*/ 220 h 540"/>
                <a:gd name="T30" fmla="*/ 308 w 542"/>
                <a:gd name="T31" fmla="*/ 205 h 540"/>
                <a:gd name="T32" fmla="*/ 319 w 542"/>
                <a:gd name="T33" fmla="*/ 184 h 540"/>
                <a:gd name="T34" fmla="*/ 324 w 542"/>
                <a:gd name="T35" fmla="*/ 159 h 540"/>
                <a:gd name="T36" fmla="*/ 323 w 542"/>
                <a:gd name="T37" fmla="*/ 144 h 540"/>
                <a:gd name="T38" fmla="*/ 314 w 542"/>
                <a:gd name="T39" fmla="*/ 120 h 540"/>
                <a:gd name="T40" fmla="*/ 301 w 542"/>
                <a:gd name="T41" fmla="*/ 102 h 540"/>
                <a:gd name="T42" fmla="*/ 282 w 542"/>
                <a:gd name="T43" fmla="*/ 91 h 540"/>
                <a:gd name="T44" fmla="*/ 271 w 542"/>
                <a:gd name="T45" fmla="*/ 90 h 540"/>
                <a:gd name="T46" fmla="*/ 252 w 542"/>
                <a:gd name="T47" fmla="*/ 96 h 540"/>
                <a:gd name="T48" fmla="*/ 235 w 542"/>
                <a:gd name="T49" fmla="*/ 111 h 540"/>
                <a:gd name="T50" fmla="*/ 223 w 542"/>
                <a:gd name="T51" fmla="*/ 132 h 540"/>
                <a:gd name="T52" fmla="*/ 219 w 542"/>
                <a:gd name="T53" fmla="*/ 159 h 540"/>
                <a:gd name="T54" fmla="*/ 220 w 542"/>
                <a:gd name="T55" fmla="*/ 172 h 540"/>
                <a:gd name="T56" fmla="*/ 228 w 542"/>
                <a:gd name="T57" fmla="*/ 196 h 540"/>
                <a:gd name="T58" fmla="*/ 242 w 542"/>
                <a:gd name="T59" fmla="*/ 214 h 540"/>
                <a:gd name="T60" fmla="*/ 261 w 542"/>
                <a:gd name="T61" fmla="*/ 225 h 540"/>
                <a:gd name="T62" fmla="*/ 497 w 542"/>
                <a:gd name="T63" fmla="*/ 496 h 540"/>
                <a:gd name="T64" fmla="*/ 430 w 542"/>
                <a:gd name="T65" fmla="*/ 540 h 540"/>
                <a:gd name="T66" fmla="*/ 542 w 542"/>
                <a:gd name="T67" fmla="*/ 429 h 540"/>
                <a:gd name="T68" fmla="*/ 497 w 542"/>
                <a:gd name="T69" fmla="*/ 496 h 540"/>
                <a:gd name="T70" fmla="*/ 430 w 542"/>
                <a:gd name="T71" fmla="*/ 46 h 540"/>
                <a:gd name="T72" fmla="*/ 497 w 542"/>
                <a:gd name="T73" fmla="*/ 113 h 540"/>
                <a:gd name="T74" fmla="*/ 542 w 542"/>
                <a:gd name="T75" fmla="*/ 0 h 540"/>
                <a:gd name="T76" fmla="*/ 0 w 542"/>
                <a:gd name="T77" fmla="*/ 113 h 540"/>
                <a:gd name="T78" fmla="*/ 46 w 542"/>
                <a:gd name="T79" fmla="*/ 46 h 540"/>
                <a:gd name="T80" fmla="*/ 113 w 542"/>
                <a:gd name="T81" fmla="*/ 0 h 540"/>
                <a:gd name="T82" fmla="*/ 0 w 542"/>
                <a:gd name="T83" fmla="*/ 113 h 540"/>
                <a:gd name="T84" fmla="*/ 113 w 542"/>
                <a:gd name="T85" fmla="*/ 496 h 540"/>
                <a:gd name="T86" fmla="*/ 0 w 542"/>
                <a:gd name="T87" fmla="*/ 540 h 540"/>
                <a:gd name="T88" fmla="*/ 46 w 542"/>
                <a:gd name="T89" fmla="*/ 429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42" h="540">
                  <a:moveTo>
                    <a:pt x="377" y="261"/>
                  </a:moveTo>
                  <a:lnTo>
                    <a:pt x="311" y="237"/>
                  </a:lnTo>
                  <a:lnTo>
                    <a:pt x="271" y="275"/>
                  </a:lnTo>
                  <a:lnTo>
                    <a:pt x="232" y="237"/>
                  </a:lnTo>
                  <a:lnTo>
                    <a:pt x="165" y="261"/>
                  </a:lnTo>
                  <a:lnTo>
                    <a:pt x="165" y="261"/>
                  </a:lnTo>
                  <a:lnTo>
                    <a:pt x="161" y="263"/>
                  </a:lnTo>
                  <a:lnTo>
                    <a:pt x="158" y="265"/>
                  </a:lnTo>
                  <a:lnTo>
                    <a:pt x="154" y="269"/>
                  </a:lnTo>
                  <a:lnTo>
                    <a:pt x="152" y="273"/>
                  </a:lnTo>
                  <a:lnTo>
                    <a:pt x="149" y="276"/>
                  </a:lnTo>
                  <a:lnTo>
                    <a:pt x="148" y="280"/>
                  </a:lnTo>
                  <a:lnTo>
                    <a:pt x="147" y="285"/>
                  </a:lnTo>
                  <a:lnTo>
                    <a:pt x="147" y="289"/>
                  </a:lnTo>
                  <a:lnTo>
                    <a:pt x="161" y="450"/>
                  </a:lnTo>
                  <a:lnTo>
                    <a:pt x="382" y="450"/>
                  </a:lnTo>
                  <a:lnTo>
                    <a:pt x="395" y="289"/>
                  </a:lnTo>
                  <a:lnTo>
                    <a:pt x="395" y="289"/>
                  </a:lnTo>
                  <a:lnTo>
                    <a:pt x="395" y="285"/>
                  </a:lnTo>
                  <a:lnTo>
                    <a:pt x="395" y="280"/>
                  </a:lnTo>
                  <a:lnTo>
                    <a:pt x="394" y="276"/>
                  </a:lnTo>
                  <a:lnTo>
                    <a:pt x="391" y="273"/>
                  </a:lnTo>
                  <a:lnTo>
                    <a:pt x="389" y="269"/>
                  </a:lnTo>
                  <a:lnTo>
                    <a:pt x="385" y="265"/>
                  </a:lnTo>
                  <a:lnTo>
                    <a:pt x="382" y="263"/>
                  </a:lnTo>
                  <a:lnTo>
                    <a:pt x="377" y="261"/>
                  </a:lnTo>
                  <a:close/>
                  <a:moveTo>
                    <a:pt x="271" y="226"/>
                  </a:moveTo>
                  <a:lnTo>
                    <a:pt x="271" y="226"/>
                  </a:lnTo>
                  <a:lnTo>
                    <a:pt x="282" y="225"/>
                  </a:lnTo>
                  <a:lnTo>
                    <a:pt x="291" y="220"/>
                  </a:lnTo>
                  <a:lnTo>
                    <a:pt x="301" y="214"/>
                  </a:lnTo>
                  <a:lnTo>
                    <a:pt x="308" y="205"/>
                  </a:lnTo>
                  <a:lnTo>
                    <a:pt x="314" y="196"/>
                  </a:lnTo>
                  <a:lnTo>
                    <a:pt x="319" y="184"/>
                  </a:lnTo>
                  <a:lnTo>
                    <a:pt x="323" y="172"/>
                  </a:lnTo>
                  <a:lnTo>
                    <a:pt x="324" y="159"/>
                  </a:lnTo>
                  <a:lnTo>
                    <a:pt x="324" y="159"/>
                  </a:lnTo>
                  <a:lnTo>
                    <a:pt x="323" y="144"/>
                  </a:lnTo>
                  <a:lnTo>
                    <a:pt x="319" y="132"/>
                  </a:lnTo>
                  <a:lnTo>
                    <a:pt x="314" y="120"/>
                  </a:lnTo>
                  <a:lnTo>
                    <a:pt x="308" y="111"/>
                  </a:lnTo>
                  <a:lnTo>
                    <a:pt x="301" y="102"/>
                  </a:lnTo>
                  <a:lnTo>
                    <a:pt x="291" y="96"/>
                  </a:lnTo>
                  <a:lnTo>
                    <a:pt x="282" y="91"/>
                  </a:lnTo>
                  <a:lnTo>
                    <a:pt x="271" y="90"/>
                  </a:lnTo>
                  <a:lnTo>
                    <a:pt x="271" y="90"/>
                  </a:lnTo>
                  <a:lnTo>
                    <a:pt x="261" y="91"/>
                  </a:lnTo>
                  <a:lnTo>
                    <a:pt x="252" y="96"/>
                  </a:lnTo>
                  <a:lnTo>
                    <a:pt x="242" y="102"/>
                  </a:lnTo>
                  <a:lnTo>
                    <a:pt x="235" y="111"/>
                  </a:lnTo>
                  <a:lnTo>
                    <a:pt x="228" y="120"/>
                  </a:lnTo>
                  <a:lnTo>
                    <a:pt x="223" y="132"/>
                  </a:lnTo>
                  <a:lnTo>
                    <a:pt x="220" y="144"/>
                  </a:lnTo>
                  <a:lnTo>
                    <a:pt x="219" y="159"/>
                  </a:lnTo>
                  <a:lnTo>
                    <a:pt x="219" y="159"/>
                  </a:lnTo>
                  <a:lnTo>
                    <a:pt x="220" y="172"/>
                  </a:lnTo>
                  <a:lnTo>
                    <a:pt x="223" y="184"/>
                  </a:lnTo>
                  <a:lnTo>
                    <a:pt x="228" y="196"/>
                  </a:lnTo>
                  <a:lnTo>
                    <a:pt x="235" y="205"/>
                  </a:lnTo>
                  <a:lnTo>
                    <a:pt x="242" y="214"/>
                  </a:lnTo>
                  <a:lnTo>
                    <a:pt x="252" y="220"/>
                  </a:lnTo>
                  <a:lnTo>
                    <a:pt x="261" y="225"/>
                  </a:lnTo>
                  <a:lnTo>
                    <a:pt x="271" y="226"/>
                  </a:lnTo>
                  <a:close/>
                  <a:moveTo>
                    <a:pt x="497" y="496"/>
                  </a:moveTo>
                  <a:lnTo>
                    <a:pt x="430" y="496"/>
                  </a:lnTo>
                  <a:lnTo>
                    <a:pt x="430" y="540"/>
                  </a:lnTo>
                  <a:lnTo>
                    <a:pt x="542" y="540"/>
                  </a:lnTo>
                  <a:lnTo>
                    <a:pt x="542" y="429"/>
                  </a:lnTo>
                  <a:lnTo>
                    <a:pt x="497" y="429"/>
                  </a:lnTo>
                  <a:lnTo>
                    <a:pt x="497" y="496"/>
                  </a:lnTo>
                  <a:close/>
                  <a:moveTo>
                    <a:pt x="430" y="0"/>
                  </a:moveTo>
                  <a:lnTo>
                    <a:pt x="430" y="46"/>
                  </a:lnTo>
                  <a:lnTo>
                    <a:pt x="497" y="46"/>
                  </a:lnTo>
                  <a:lnTo>
                    <a:pt x="497" y="113"/>
                  </a:lnTo>
                  <a:lnTo>
                    <a:pt x="542" y="113"/>
                  </a:lnTo>
                  <a:lnTo>
                    <a:pt x="542" y="0"/>
                  </a:lnTo>
                  <a:lnTo>
                    <a:pt x="430" y="0"/>
                  </a:lnTo>
                  <a:close/>
                  <a:moveTo>
                    <a:pt x="0" y="113"/>
                  </a:moveTo>
                  <a:lnTo>
                    <a:pt x="46" y="113"/>
                  </a:lnTo>
                  <a:lnTo>
                    <a:pt x="46" y="46"/>
                  </a:lnTo>
                  <a:lnTo>
                    <a:pt x="113" y="46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113"/>
                  </a:lnTo>
                  <a:close/>
                  <a:moveTo>
                    <a:pt x="46" y="496"/>
                  </a:moveTo>
                  <a:lnTo>
                    <a:pt x="113" y="496"/>
                  </a:lnTo>
                  <a:lnTo>
                    <a:pt x="113" y="540"/>
                  </a:lnTo>
                  <a:lnTo>
                    <a:pt x="0" y="540"/>
                  </a:lnTo>
                  <a:lnTo>
                    <a:pt x="0" y="429"/>
                  </a:lnTo>
                  <a:lnTo>
                    <a:pt x="46" y="429"/>
                  </a:lnTo>
                  <a:lnTo>
                    <a:pt x="46" y="4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8E2FA923-9521-B5A3-C298-7601E0A9F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095" y="4568517"/>
              <a:ext cx="131233" cy="113242"/>
            </a:xfrm>
            <a:custGeom>
              <a:avLst/>
              <a:gdLst>
                <a:gd name="T0" fmla="*/ 230 w 248"/>
                <a:gd name="T1" fmla="*/ 24 h 213"/>
                <a:gd name="T2" fmla="*/ 164 w 248"/>
                <a:gd name="T3" fmla="*/ 0 h 213"/>
                <a:gd name="T4" fmla="*/ 124 w 248"/>
                <a:gd name="T5" fmla="*/ 38 h 213"/>
                <a:gd name="T6" fmla="*/ 85 w 248"/>
                <a:gd name="T7" fmla="*/ 0 h 213"/>
                <a:gd name="T8" fmla="*/ 18 w 248"/>
                <a:gd name="T9" fmla="*/ 24 h 213"/>
                <a:gd name="T10" fmla="*/ 18 w 248"/>
                <a:gd name="T11" fmla="*/ 24 h 213"/>
                <a:gd name="T12" fmla="*/ 14 w 248"/>
                <a:gd name="T13" fmla="*/ 26 h 213"/>
                <a:gd name="T14" fmla="*/ 11 w 248"/>
                <a:gd name="T15" fmla="*/ 28 h 213"/>
                <a:gd name="T16" fmla="*/ 7 w 248"/>
                <a:gd name="T17" fmla="*/ 32 h 213"/>
                <a:gd name="T18" fmla="*/ 5 w 248"/>
                <a:gd name="T19" fmla="*/ 36 h 213"/>
                <a:gd name="T20" fmla="*/ 2 w 248"/>
                <a:gd name="T21" fmla="*/ 39 h 213"/>
                <a:gd name="T22" fmla="*/ 1 w 248"/>
                <a:gd name="T23" fmla="*/ 43 h 213"/>
                <a:gd name="T24" fmla="*/ 0 w 248"/>
                <a:gd name="T25" fmla="*/ 48 h 213"/>
                <a:gd name="T26" fmla="*/ 0 w 248"/>
                <a:gd name="T27" fmla="*/ 52 h 213"/>
                <a:gd name="T28" fmla="*/ 14 w 248"/>
                <a:gd name="T29" fmla="*/ 213 h 213"/>
                <a:gd name="T30" fmla="*/ 235 w 248"/>
                <a:gd name="T31" fmla="*/ 213 h 213"/>
                <a:gd name="T32" fmla="*/ 248 w 248"/>
                <a:gd name="T33" fmla="*/ 52 h 213"/>
                <a:gd name="T34" fmla="*/ 248 w 248"/>
                <a:gd name="T35" fmla="*/ 52 h 213"/>
                <a:gd name="T36" fmla="*/ 248 w 248"/>
                <a:gd name="T37" fmla="*/ 48 h 213"/>
                <a:gd name="T38" fmla="*/ 248 w 248"/>
                <a:gd name="T39" fmla="*/ 43 h 213"/>
                <a:gd name="T40" fmla="*/ 247 w 248"/>
                <a:gd name="T41" fmla="*/ 39 h 213"/>
                <a:gd name="T42" fmla="*/ 244 w 248"/>
                <a:gd name="T43" fmla="*/ 36 h 213"/>
                <a:gd name="T44" fmla="*/ 242 w 248"/>
                <a:gd name="T45" fmla="*/ 32 h 213"/>
                <a:gd name="T46" fmla="*/ 238 w 248"/>
                <a:gd name="T47" fmla="*/ 28 h 213"/>
                <a:gd name="T48" fmla="*/ 235 w 248"/>
                <a:gd name="T49" fmla="*/ 26 h 213"/>
                <a:gd name="T50" fmla="*/ 230 w 248"/>
                <a:gd name="T51" fmla="*/ 2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8" h="213">
                  <a:moveTo>
                    <a:pt x="230" y="24"/>
                  </a:moveTo>
                  <a:lnTo>
                    <a:pt x="164" y="0"/>
                  </a:lnTo>
                  <a:lnTo>
                    <a:pt x="124" y="38"/>
                  </a:lnTo>
                  <a:lnTo>
                    <a:pt x="85" y="0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4" y="26"/>
                  </a:lnTo>
                  <a:lnTo>
                    <a:pt x="11" y="28"/>
                  </a:lnTo>
                  <a:lnTo>
                    <a:pt x="7" y="32"/>
                  </a:lnTo>
                  <a:lnTo>
                    <a:pt x="5" y="36"/>
                  </a:lnTo>
                  <a:lnTo>
                    <a:pt x="2" y="39"/>
                  </a:lnTo>
                  <a:lnTo>
                    <a:pt x="1" y="43"/>
                  </a:lnTo>
                  <a:lnTo>
                    <a:pt x="0" y="48"/>
                  </a:lnTo>
                  <a:lnTo>
                    <a:pt x="0" y="52"/>
                  </a:lnTo>
                  <a:lnTo>
                    <a:pt x="14" y="213"/>
                  </a:lnTo>
                  <a:lnTo>
                    <a:pt x="235" y="213"/>
                  </a:lnTo>
                  <a:lnTo>
                    <a:pt x="248" y="52"/>
                  </a:lnTo>
                  <a:lnTo>
                    <a:pt x="248" y="52"/>
                  </a:lnTo>
                  <a:lnTo>
                    <a:pt x="248" y="48"/>
                  </a:lnTo>
                  <a:lnTo>
                    <a:pt x="248" y="43"/>
                  </a:lnTo>
                  <a:lnTo>
                    <a:pt x="247" y="39"/>
                  </a:lnTo>
                  <a:lnTo>
                    <a:pt x="244" y="36"/>
                  </a:lnTo>
                  <a:lnTo>
                    <a:pt x="242" y="32"/>
                  </a:lnTo>
                  <a:lnTo>
                    <a:pt x="238" y="28"/>
                  </a:lnTo>
                  <a:lnTo>
                    <a:pt x="235" y="26"/>
                  </a:lnTo>
                  <a:lnTo>
                    <a:pt x="230" y="24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7A0F943D-7FD8-88F3-E76B-B8AD6C6506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8195" y="4491258"/>
              <a:ext cx="55033" cy="70908"/>
            </a:xfrm>
            <a:custGeom>
              <a:avLst/>
              <a:gdLst>
                <a:gd name="T0" fmla="*/ 52 w 105"/>
                <a:gd name="T1" fmla="*/ 136 h 136"/>
                <a:gd name="T2" fmla="*/ 52 w 105"/>
                <a:gd name="T3" fmla="*/ 136 h 136"/>
                <a:gd name="T4" fmla="*/ 63 w 105"/>
                <a:gd name="T5" fmla="*/ 135 h 136"/>
                <a:gd name="T6" fmla="*/ 72 w 105"/>
                <a:gd name="T7" fmla="*/ 130 h 136"/>
                <a:gd name="T8" fmla="*/ 82 w 105"/>
                <a:gd name="T9" fmla="*/ 124 h 136"/>
                <a:gd name="T10" fmla="*/ 89 w 105"/>
                <a:gd name="T11" fmla="*/ 115 h 136"/>
                <a:gd name="T12" fmla="*/ 95 w 105"/>
                <a:gd name="T13" fmla="*/ 106 h 136"/>
                <a:gd name="T14" fmla="*/ 100 w 105"/>
                <a:gd name="T15" fmla="*/ 94 h 136"/>
                <a:gd name="T16" fmla="*/ 104 w 105"/>
                <a:gd name="T17" fmla="*/ 82 h 136"/>
                <a:gd name="T18" fmla="*/ 105 w 105"/>
                <a:gd name="T19" fmla="*/ 69 h 136"/>
                <a:gd name="T20" fmla="*/ 105 w 105"/>
                <a:gd name="T21" fmla="*/ 69 h 136"/>
                <a:gd name="T22" fmla="*/ 104 w 105"/>
                <a:gd name="T23" fmla="*/ 54 h 136"/>
                <a:gd name="T24" fmla="*/ 100 w 105"/>
                <a:gd name="T25" fmla="*/ 42 h 136"/>
                <a:gd name="T26" fmla="*/ 95 w 105"/>
                <a:gd name="T27" fmla="*/ 30 h 136"/>
                <a:gd name="T28" fmla="*/ 89 w 105"/>
                <a:gd name="T29" fmla="*/ 21 h 136"/>
                <a:gd name="T30" fmla="*/ 82 w 105"/>
                <a:gd name="T31" fmla="*/ 12 h 136"/>
                <a:gd name="T32" fmla="*/ 72 w 105"/>
                <a:gd name="T33" fmla="*/ 6 h 136"/>
                <a:gd name="T34" fmla="*/ 63 w 105"/>
                <a:gd name="T35" fmla="*/ 1 h 136"/>
                <a:gd name="T36" fmla="*/ 52 w 105"/>
                <a:gd name="T37" fmla="*/ 0 h 136"/>
                <a:gd name="T38" fmla="*/ 52 w 105"/>
                <a:gd name="T39" fmla="*/ 0 h 136"/>
                <a:gd name="T40" fmla="*/ 42 w 105"/>
                <a:gd name="T41" fmla="*/ 1 h 136"/>
                <a:gd name="T42" fmla="*/ 33 w 105"/>
                <a:gd name="T43" fmla="*/ 6 h 136"/>
                <a:gd name="T44" fmla="*/ 23 w 105"/>
                <a:gd name="T45" fmla="*/ 12 h 136"/>
                <a:gd name="T46" fmla="*/ 16 w 105"/>
                <a:gd name="T47" fmla="*/ 21 h 136"/>
                <a:gd name="T48" fmla="*/ 9 w 105"/>
                <a:gd name="T49" fmla="*/ 30 h 136"/>
                <a:gd name="T50" fmla="*/ 4 w 105"/>
                <a:gd name="T51" fmla="*/ 42 h 136"/>
                <a:gd name="T52" fmla="*/ 1 w 105"/>
                <a:gd name="T53" fmla="*/ 54 h 136"/>
                <a:gd name="T54" fmla="*/ 0 w 105"/>
                <a:gd name="T55" fmla="*/ 69 h 136"/>
                <a:gd name="T56" fmla="*/ 0 w 105"/>
                <a:gd name="T57" fmla="*/ 69 h 136"/>
                <a:gd name="T58" fmla="*/ 1 w 105"/>
                <a:gd name="T59" fmla="*/ 82 h 136"/>
                <a:gd name="T60" fmla="*/ 4 w 105"/>
                <a:gd name="T61" fmla="*/ 94 h 136"/>
                <a:gd name="T62" fmla="*/ 9 w 105"/>
                <a:gd name="T63" fmla="*/ 106 h 136"/>
                <a:gd name="T64" fmla="*/ 16 w 105"/>
                <a:gd name="T65" fmla="*/ 115 h 136"/>
                <a:gd name="T66" fmla="*/ 23 w 105"/>
                <a:gd name="T67" fmla="*/ 124 h 136"/>
                <a:gd name="T68" fmla="*/ 33 w 105"/>
                <a:gd name="T69" fmla="*/ 130 h 136"/>
                <a:gd name="T70" fmla="*/ 42 w 105"/>
                <a:gd name="T71" fmla="*/ 135 h 136"/>
                <a:gd name="T72" fmla="*/ 52 w 105"/>
                <a:gd name="T73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5" h="136">
                  <a:moveTo>
                    <a:pt x="52" y="136"/>
                  </a:moveTo>
                  <a:lnTo>
                    <a:pt x="52" y="136"/>
                  </a:lnTo>
                  <a:lnTo>
                    <a:pt x="63" y="135"/>
                  </a:lnTo>
                  <a:lnTo>
                    <a:pt x="72" y="130"/>
                  </a:lnTo>
                  <a:lnTo>
                    <a:pt x="82" y="124"/>
                  </a:lnTo>
                  <a:lnTo>
                    <a:pt x="89" y="115"/>
                  </a:lnTo>
                  <a:lnTo>
                    <a:pt x="95" y="106"/>
                  </a:lnTo>
                  <a:lnTo>
                    <a:pt x="100" y="94"/>
                  </a:lnTo>
                  <a:lnTo>
                    <a:pt x="104" y="82"/>
                  </a:lnTo>
                  <a:lnTo>
                    <a:pt x="105" y="69"/>
                  </a:lnTo>
                  <a:lnTo>
                    <a:pt x="105" y="69"/>
                  </a:lnTo>
                  <a:lnTo>
                    <a:pt x="104" y="54"/>
                  </a:lnTo>
                  <a:lnTo>
                    <a:pt x="100" y="42"/>
                  </a:lnTo>
                  <a:lnTo>
                    <a:pt x="95" y="30"/>
                  </a:lnTo>
                  <a:lnTo>
                    <a:pt x="89" y="21"/>
                  </a:lnTo>
                  <a:lnTo>
                    <a:pt x="82" y="12"/>
                  </a:lnTo>
                  <a:lnTo>
                    <a:pt x="72" y="6"/>
                  </a:lnTo>
                  <a:lnTo>
                    <a:pt x="63" y="1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42" y="1"/>
                  </a:lnTo>
                  <a:lnTo>
                    <a:pt x="33" y="6"/>
                  </a:lnTo>
                  <a:lnTo>
                    <a:pt x="23" y="12"/>
                  </a:lnTo>
                  <a:lnTo>
                    <a:pt x="16" y="21"/>
                  </a:lnTo>
                  <a:lnTo>
                    <a:pt x="9" y="30"/>
                  </a:lnTo>
                  <a:lnTo>
                    <a:pt x="4" y="42"/>
                  </a:lnTo>
                  <a:lnTo>
                    <a:pt x="1" y="54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1" y="82"/>
                  </a:lnTo>
                  <a:lnTo>
                    <a:pt x="4" y="94"/>
                  </a:lnTo>
                  <a:lnTo>
                    <a:pt x="9" y="106"/>
                  </a:lnTo>
                  <a:lnTo>
                    <a:pt x="16" y="115"/>
                  </a:lnTo>
                  <a:lnTo>
                    <a:pt x="23" y="124"/>
                  </a:lnTo>
                  <a:lnTo>
                    <a:pt x="33" y="130"/>
                  </a:lnTo>
                  <a:lnTo>
                    <a:pt x="42" y="135"/>
                  </a:lnTo>
                  <a:lnTo>
                    <a:pt x="52" y="13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DFE8C017-19F7-A339-782E-63F6406404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9320" y="4670117"/>
              <a:ext cx="59267" cy="59267"/>
            </a:xfrm>
            <a:custGeom>
              <a:avLst/>
              <a:gdLst>
                <a:gd name="T0" fmla="*/ 67 w 112"/>
                <a:gd name="T1" fmla="*/ 67 h 111"/>
                <a:gd name="T2" fmla="*/ 0 w 112"/>
                <a:gd name="T3" fmla="*/ 67 h 111"/>
                <a:gd name="T4" fmla="*/ 0 w 112"/>
                <a:gd name="T5" fmla="*/ 111 h 111"/>
                <a:gd name="T6" fmla="*/ 112 w 112"/>
                <a:gd name="T7" fmla="*/ 111 h 111"/>
                <a:gd name="T8" fmla="*/ 112 w 112"/>
                <a:gd name="T9" fmla="*/ 0 h 111"/>
                <a:gd name="T10" fmla="*/ 67 w 112"/>
                <a:gd name="T11" fmla="*/ 0 h 111"/>
                <a:gd name="T12" fmla="*/ 67 w 112"/>
                <a:gd name="T13" fmla="*/ 6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111">
                  <a:moveTo>
                    <a:pt x="67" y="67"/>
                  </a:moveTo>
                  <a:lnTo>
                    <a:pt x="0" y="67"/>
                  </a:lnTo>
                  <a:lnTo>
                    <a:pt x="0" y="111"/>
                  </a:lnTo>
                  <a:lnTo>
                    <a:pt x="112" y="111"/>
                  </a:lnTo>
                  <a:lnTo>
                    <a:pt x="112" y="0"/>
                  </a:lnTo>
                  <a:lnTo>
                    <a:pt x="67" y="0"/>
                  </a:lnTo>
                  <a:lnTo>
                    <a:pt x="67" y="67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23">
              <a:extLst>
                <a:ext uri="{FF2B5EF4-FFF2-40B4-BE49-F238E27FC236}">
                  <a16:creationId xmlns:a16="http://schemas.microsoft.com/office/drawing/2014/main" id="{022754B5-09B1-337E-522B-7B324E16FF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9320" y="4443633"/>
              <a:ext cx="59267" cy="59267"/>
            </a:xfrm>
            <a:custGeom>
              <a:avLst/>
              <a:gdLst>
                <a:gd name="T0" fmla="*/ 0 w 112"/>
                <a:gd name="T1" fmla="*/ 0 h 113"/>
                <a:gd name="T2" fmla="*/ 0 w 112"/>
                <a:gd name="T3" fmla="*/ 46 h 113"/>
                <a:gd name="T4" fmla="*/ 67 w 112"/>
                <a:gd name="T5" fmla="*/ 46 h 113"/>
                <a:gd name="T6" fmla="*/ 67 w 112"/>
                <a:gd name="T7" fmla="*/ 113 h 113"/>
                <a:gd name="T8" fmla="*/ 112 w 112"/>
                <a:gd name="T9" fmla="*/ 113 h 113"/>
                <a:gd name="T10" fmla="*/ 112 w 112"/>
                <a:gd name="T11" fmla="*/ 0 h 113"/>
                <a:gd name="T12" fmla="*/ 0 w 112"/>
                <a:gd name="T13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113">
                  <a:moveTo>
                    <a:pt x="0" y="0"/>
                  </a:moveTo>
                  <a:lnTo>
                    <a:pt x="0" y="46"/>
                  </a:lnTo>
                  <a:lnTo>
                    <a:pt x="67" y="46"/>
                  </a:lnTo>
                  <a:lnTo>
                    <a:pt x="67" y="113"/>
                  </a:lnTo>
                  <a:lnTo>
                    <a:pt x="112" y="113"/>
                  </a:lnTo>
                  <a:lnTo>
                    <a:pt x="112" y="0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579B6C19-5BFB-D029-EAFF-467EB4ADC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1779" y="4443633"/>
              <a:ext cx="60325" cy="59267"/>
            </a:xfrm>
            <a:custGeom>
              <a:avLst/>
              <a:gdLst>
                <a:gd name="T0" fmla="*/ 0 w 113"/>
                <a:gd name="T1" fmla="*/ 113 h 113"/>
                <a:gd name="T2" fmla="*/ 46 w 113"/>
                <a:gd name="T3" fmla="*/ 113 h 113"/>
                <a:gd name="T4" fmla="*/ 46 w 113"/>
                <a:gd name="T5" fmla="*/ 46 h 113"/>
                <a:gd name="T6" fmla="*/ 113 w 113"/>
                <a:gd name="T7" fmla="*/ 46 h 113"/>
                <a:gd name="T8" fmla="*/ 113 w 113"/>
                <a:gd name="T9" fmla="*/ 0 h 113"/>
                <a:gd name="T10" fmla="*/ 0 w 113"/>
                <a:gd name="T11" fmla="*/ 0 h 113"/>
                <a:gd name="T12" fmla="*/ 0 w 113"/>
                <a:gd name="T13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113">
                  <a:moveTo>
                    <a:pt x="0" y="113"/>
                  </a:moveTo>
                  <a:lnTo>
                    <a:pt x="46" y="113"/>
                  </a:lnTo>
                  <a:lnTo>
                    <a:pt x="46" y="46"/>
                  </a:lnTo>
                  <a:lnTo>
                    <a:pt x="113" y="46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113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3EA64F9-859A-1436-AE82-297FA2B04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1779" y="4670117"/>
              <a:ext cx="60325" cy="59267"/>
            </a:xfrm>
            <a:custGeom>
              <a:avLst/>
              <a:gdLst>
                <a:gd name="T0" fmla="*/ 46 w 113"/>
                <a:gd name="T1" fmla="*/ 67 h 111"/>
                <a:gd name="T2" fmla="*/ 113 w 113"/>
                <a:gd name="T3" fmla="*/ 67 h 111"/>
                <a:gd name="T4" fmla="*/ 113 w 113"/>
                <a:gd name="T5" fmla="*/ 111 h 111"/>
                <a:gd name="T6" fmla="*/ 0 w 113"/>
                <a:gd name="T7" fmla="*/ 111 h 111"/>
                <a:gd name="T8" fmla="*/ 0 w 113"/>
                <a:gd name="T9" fmla="*/ 0 h 111"/>
                <a:gd name="T10" fmla="*/ 46 w 113"/>
                <a:gd name="T11" fmla="*/ 0 h 111"/>
                <a:gd name="T12" fmla="*/ 46 w 113"/>
                <a:gd name="T13" fmla="*/ 6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111">
                  <a:moveTo>
                    <a:pt x="46" y="67"/>
                  </a:moveTo>
                  <a:lnTo>
                    <a:pt x="113" y="67"/>
                  </a:lnTo>
                  <a:lnTo>
                    <a:pt x="113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46" y="0"/>
                  </a:lnTo>
                  <a:lnTo>
                    <a:pt x="46" y="67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D3ACFAA1-D67E-EFC1-2BBA-54197709288B}"/>
              </a:ext>
            </a:extLst>
          </p:cNvPr>
          <p:cNvGrpSpPr/>
          <p:nvPr/>
        </p:nvGrpSpPr>
        <p:grpSpPr>
          <a:xfrm>
            <a:off x="7018338" y="4443633"/>
            <a:ext cx="336550" cy="285750"/>
            <a:chOff x="5360987" y="4443633"/>
            <a:chExt cx="336550" cy="285750"/>
          </a:xfrm>
          <a:solidFill>
            <a:schemeClr val="accent5"/>
          </a:solidFill>
        </p:grpSpPr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E4952027-9E0D-A385-7009-2DF3E6B14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6495" y="4443633"/>
              <a:ext cx="65617" cy="84667"/>
            </a:xfrm>
            <a:custGeom>
              <a:avLst/>
              <a:gdLst>
                <a:gd name="T0" fmla="*/ 62 w 124"/>
                <a:gd name="T1" fmla="*/ 161 h 161"/>
                <a:gd name="T2" fmla="*/ 62 w 124"/>
                <a:gd name="T3" fmla="*/ 161 h 161"/>
                <a:gd name="T4" fmla="*/ 69 w 124"/>
                <a:gd name="T5" fmla="*/ 160 h 161"/>
                <a:gd name="T6" fmla="*/ 75 w 124"/>
                <a:gd name="T7" fmla="*/ 159 h 161"/>
                <a:gd name="T8" fmla="*/ 81 w 124"/>
                <a:gd name="T9" fmla="*/ 157 h 161"/>
                <a:gd name="T10" fmla="*/ 86 w 124"/>
                <a:gd name="T11" fmla="*/ 154 h 161"/>
                <a:gd name="T12" fmla="*/ 96 w 124"/>
                <a:gd name="T13" fmla="*/ 147 h 161"/>
                <a:gd name="T14" fmla="*/ 106 w 124"/>
                <a:gd name="T15" fmla="*/ 137 h 161"/>
                <a:gd name="T16" fmla="*/ 113 w 124"/>
                <a:gd name="T17" fmla="*/ 125 h 161"/>
                <a:gd name="T18" fmla="*/ 119 w 124"/>
                <a:gd name="T19" fmla="*/ 112 h 161"/>
                <a:gd name="T20" fmla="*/ 123 w 124"/>
                <a:gd name="T21" fmla="*/ 96 h 161"/>
                <a:gd name="T22" fmla="*/ 124 w 124"/>
                <a:gd name="T23" fmla="*/ 81 h 161"/>
                <a:gd name="T24" fmla="*/ 124 w 124"/>
                <a:gd name="T25" fmla="*/ 81 h 161"/>
                <a:gd name="T26" fmla="*/ 123 w 124"/>
                <a:gd name="T27" fmla="*/ 65 h 161"/>
                <a:gd name="T28" fmla="*/ 119 w 124"/>
                <a:gd name="T29" fmla="*/ 49 h 161"/>
                <a:gd name="T30" fmla="*/ 113 w 124"/>
                <a:gd name="T31" fmla="*/ 36 h 161"/>
                <a:gd name="T32" fmla="*/ 106 w 124"/>
                <a:gd name="T33" fmla="*/ 24 h 161"/>
                <a:gd name="T34" fmla="*/ 96 w 124"/>
                <a:gd name="T35" fmla="*/ 15 h 161"/>
                <a:gd name="T36" fmla="*/ 86 w 124"/>
                <a:gd name="T37" fmla="*/ 7 h 161"/>
                <a:gd name="T38" fmla="*/ 81 w 124"/>
                <a:gd name="T39" fmla="*/ 4 h 161"/>
                <a:gd name="T40" fmla="*/ 75 w 124"/>
                <a:gd name="T41" fmla="*/ 3 h 161"/>
                <a:gd name="T42" fmla="*/ 69 w 124"/>
                <a:gd name="T43" fmla="*/ 1 h 161"/>
                <a:gd name="T44" fmla="*/ 62 w 124"/>
                <a:gd name="T45" fmla="*/ 0 h 161"/>
                <a:gd name="T46" fmla="*/ 62 w 124"/>
                <a:gd name="T47" fmla="*/ 0 h 161"/>
                <a:gd name="T48" fmla="*/ 55 w 124"/>
                <a:gd name="T49" fmla="*/ 1 h 161"/>
                <a:gd name="T50" fmla="*/ 49 w 124"/>
                <a:gd name="T51" fmla="*/ 3 h 161"/>
                <a:gd name="T52" fmla="*/ 43 w 124"/>
                <a:gd name="T53" fmla="*/ 4 h 161"/>
                <a:gd name="T54" fmla="*/ 37 w 124"/>
                <a:gd name="T55" fmla="*/ 7 h 161"/>
                <a:gd name="T56" fmla="*/ 28 w 124"/>
                <a:gd name="T57" fmla="*/ 15 h 161"/>
                <a:gd name="T58" fmla="*/ 18 w 124"/>
                <a:gd name="T59" fmla="*/ 24 h 161"/>
                <a:gd name="T60" fmla="*/ 11 w 124"/>
                <a:gd name="T61" fmla="*/ 36 h 161"/>
                <a:gd name="T62" fmla="*/ 5 w 124"/>
                <a:gd name="T63" fmla="*/ 49 h 161"/>
                <a:gd name="T64" fmla="*/ 1 w 124"/>
                <a:gd name="T65" fmla="*/ 65 h 161"/>
                <a:gd name="T66" fmla="*/ 0 w 124"/>
                <a:gd name="T67" fmla="*/ 81 h 161"/>
                <a:gd name="T68" fmla="*/ 0 w 124"/>
                <a:gd name="T69" fmla="*/ 81 h 161"/>
                <a:gd name="T70" fmla="*/ 1 w 124"/>
                <a:gd name="T71" fmla="*/ 96 h 161"/>
                <a:gd name="T72" fmla="*/ 5 w 124"/>
                <a:gd name="T73" fmla="*/ 112 h 161"/>
                <a:gd name="T74" fmla="*/ 11 w 124"/>
                <a:gd name="T75" fmla="*/ 125 h 161"/>
                <a:gd name="T76" fmla="*/ 18 w 124"/>
                <a:gd name="T77" fmla="*/ 137 h 161"/>
                <a:gd name="T78" fmla="*/ 28 w 124"/>
                <a:gd name="T79" fmla="*/ 147 h 161"/>
                <a:gd name="T80" fmla="*/ 37 w 124"/>
                <a:gd name="T81" fmla="*/ 154 h 161"/>
                <a:gd name="T82" fmla="*/ 43 w 124"/>
                <a:gd name="T83" fmla="*/ 157 h 161"/>
                <a:gd name="T84" fmla="*/ 49 w 124"/>
                <a:gd name="T85" fmla="*/ 159 h 161"/>
                <a:gd name="T86" fmla="*/ 55 w 124"/>
                <a:gd name="T87" fmla="*/ 160 h 161"/>
                <a:gd name="T88" fmla="*/ 62 w 124"/>
                <a:gd name="T8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4" h="161">
                  <a:moveTo>
                    <a:pt x="62" y="161"/>
                  </a:moveTo>
                  <a:lnTo>
                    <a:pt x="62" y="161"/>
                  </a:lnTo>
                  <a:lnTo>
                    <a:pt x="69" y="160"/>
                  </a:lnTo>
                  <a:lnTo>
                    <a:pt x="75" y="159"/>
                  </a:lnTo>
                  <a:lnTo>
                    <a:pt x="81" y="157"/>
                  </a:lnTo>
                  <a:lnTo>
                    <a:pt x="86" y="154"/>
                  </a:lnTo>
                  <a:lnTo>
                    <a:pt x="96" y="147"/>
                  </a:lnTo>
                  <a:lnTo>
                    <a:pt x="106" y="137"/>
                  </a:lnTo>
                  <a:lnTo>
                    <a:pt x="113" y="125"/>
                  </a:lnTo>
                  <a:lnTo>
                    <a:pt x="119" y="112"/>
                  </a:lnTo>
                  <a:lnTo>
                    <a:pt x="123" y="96"/>
                  </a:lnTo>
                  <a:lnTo>
                    <a:pt x="124" y="81"/>
                  </a:lnTo>
                  <a:lnTo>
                    <a:pt x="124" y="81"/>
                  </a:lnTo>
                  <a:lnTo>
                    <a:pt x="123" y="65"/>
                  </a:lnTo>
                  <a:lnTo>
                    <a:pt x="119" y="49"/>
                  </a:lnTo>
                  <a:lnTo>
                    <a:pt x="113" y="36"/>
                  </a:lnTo>
                  <a:lnTo>
                    <a:pt x="106" y="24"/>
                  </a:lnTo>
                  <a:lnTo>
                    <a:pt x="96" y="15"/>
                  </a:lnTo>
                  <a:lnTo>
                    <a:pt x="86" y="7"/>
                  </a:lnTo>
                  <a:lnTo>
                    <a:pt x="81" y="4"/>
                  </a:lnTo>
                  <a:lnTo>
                    <a:pt x="75" y="3"/>
                  </a:lnTo>
                  <a:lnTo>
                    <a:pt x="69" y="1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55" y="1"/>
                  </a:lnTo>
                  <a:lnTo>
                    <a:pt x="49" y="3"/>
                  </a:lnTo>
                  <a:lnTo>
                    <a:pt x="43" y="4"/>
                  </a:lnTo>
                  <a:lnTo>
                    <a:pt x="37" y="7"/>
                  </a:lnTo>
                  <a:lnTo>
                    <a:pt x="28" y="15"/>
                  </a:lnTo>
                  <a:lnTo>
                    <a:pt x="18" y="24"/>
                  </a:lnTo>
                  <a:lnTo>
                    <a:pt x="11" y="36"/>
                  </a:lnTo>
                  <a:lnTo>
                    <a:pt x="5" y="49"/>
                  </a:lnTo>
                  <a:lnTo>
                    <a:pt x="1" y="65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1" y="96"/>
                  </a:lnTo>
                  <a:lnTo>
                    <a:pt x="5" y="112"/>
                  </a:lnTo>
                  <a:lnTo>
                    <a:pt x="11" y="125"/>
                  </a:lnTo>
                  <a:lnTo>
                    <a:pt x="18" y="137"/>
                  </a:lnTo>
                  <a:lnTo>
                    <a:pt x="28" y="147"/>
                  </a:lnTo>
                  <a:lnTo>
                    <a:pt x="37" y="154"/>
                  </a:lnTo>
                  <a:lnTo>
                    <a:pt x="43" y="157"/>
                  </a:lnTo>
                  <a:lnTo>
                    <a:pt x="49" y="159"/>
                  </a:lnTo>
                  <a:lnTo>
                    <a:pt x="55" y="160"/>
                  </a:lnTo>
                  <a:lnTo>
                    <a:pt x="62" y="1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27">
              <a:extLst>
                <a:ext uri="{FF2B5EF4-FFF2-40B4-BE49-F238E27FC236}">
                  <a16:creationId xmlns:a16="http://schemas.microsoft.com/office/drawing/2014/main" id="{6704828E-5E67-D7B0-CBE6-4DFA54C77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6495" y="4443633"/>
              <a:ext cx="65617" cy="84667"/>
            </a:xfrm>
            <a:custGeom>
              <a:avLst/>
              <a:gdLst>
                <a:gd name="T0" fmla="*/ 62 w 124"/>
                <a:gd name="T1" fmla="*/ 161 h 161"/>
                <a:gd name="T2" fmla="*/ 62 w 124"/>
                <a:gd name="T3" fmla="*/ 161 h 161"/>
                <a:gd name="T4" fmla="*/ 69 w 124"/>
                <a:gd name="T5" fmla="*/ 160 h 161"/>
                <a:gd name="T6" fmla="*/ 75 w 124"/>
                <a:gd name="T7" fmla="*/ 159 h 161"/>
                <a:gd name="T8" fmla="*/ 81 w 124"/>
                <a:gd name="T9" fmla="*/ 157 h 161"/>
                <a:gd name="T10" fmla="*/ 86 w 124"/>
                <a:gd name="T11" fmla="*/ 154 h 161"/>
                <a:gd name="T12" fmla="*/ 96 w 124"/>
                <a:gd name="T13" fmla="*/ 147 h 161"/>
                <a:gd name="T14" fmla="*/ 106 w 124"/>
                <a:gd name="T15" fmla="*/ 137 h 161"/>
                <a:gd name="T16" fmla="*/ 113 w 124"/>
                <a:gd name="T17" fmla="*/ 125 h 161"/>
                <a:gd name="T18" fmla="*/ 119 w 124"/>
                <a:gd name="T19" fmla="*/ 112 h 161"/>
                <a:gd name="T20" fmla="*/ 123 w 124"/>
                <a:gd name="T21" fmla="*/ 96 h 161"/>
                <a:gd name="T22" fmla="*/ 124 w 124"/>
                <a:gd name="T23" fmla="*/ 81 h 161"/>
                <a:gd name="T24" fmla="*/ 124 w 124"/>
                <a:gd name="T25" fmla="*/ 81 h 161"/>
                <a:gd name="T26" fmla="*/ 123 w 124"/>
                <a:gd name="T27" fmla="*/ 65 h 161"/>
                <a:gd name="T28" fmla="*/ 119 w 124"/>
                <a:gd name="T29" fmla="*/ 49 h 161"/>
                <a:gd name="T30" fmla="*/ 113 w 124"/>
                <a:gd name="T31" fmla="*/ 36 h 161"/>
                <a:gd name="T32" fmla="*/ 106 w 124"/>
                <a:gd name="T33" fmla="*/ 24 h 161"/>
                <a:gd name="T34" fmla="*/ 96 w 124"/>
                <a:gd name="T35" fmla="*/ 15 h 161"/>
                <a:gd name="T36" fmla="*/ 86 w 124"/>
                <a:gd name="T37" fmla="*/ 7 h 161"/>
                <a:gd name="T38" fmla="*/ 81 w 124"/>
                <a:gd name="T39" fmla="*/ 4 h 161"/>
                <a:gd name="T40" fmla="*/ 75 w 124"/>
                <a:gd name="T41" fmla="*/ 3 h 161"/>
                <a:gd name="T42" fmla="*/ 69 w 124"/>
                <a:gd name="T43" fmla="*/ 1 h 161"/>
                <a:gd name="T44" fmla="*/ 62 w 124"/>
                <a:gd name="T45" fmla="*/ 0 h 161"/>
                <a:gd name="T46" fmla="*/ 62 w 124"/>
                <a:gd name="T47" fmla="*/ 0 h 161"/>
                <a:gd name="T48" fmla="*/ 55 w 124"/>
                <a:gd name="T49" fmla="*/ 1 h 161"/>
                <a:gd name="T50" fmla="*/ 49 w 124"/>
                <a:gd name="T51" fmla="*/ 3 h 161"/>
                <a:gd name="T52" fmla="*/ 43 w 124"/>
                <a:gd name="T53" fmla="*/ 4 h 161"/>
                <a:gd name="T54" fmla="*/ 37 w 124"/>
                <a:gd name="T55" fmla="*/ 7 h 161"/>
                <a:gd name="T56" fmla="*/ 28 w 124"/>
                <a:gd name="T57" fmla="*/ 15 h 161"/>
                <a:gd name="T58" fmla="*/ 18 w 124"/>
                <a:gd name="T59" fmla="*/ 24 h 161"/>
                <a:gd name="T60" fmla="*/ 11 w 124"/>
                <a:gd name="T61" fmla="*/ 36 h 161"/>
                <a:gd name="T62" fmla="*/ 5 w 124"/>
                <a:gd name="T63" fmla="*/ 49 h 161"/>
                <a:gd name="T64" fmla="*/ 1 w 124"/>
                <a:gd name="T65" fmla="*/ 65 h 161"/>
                <a:gd name="T66" fmla="*/ 0 w 124"/>
                <a:gd name="T67" fmla="*/ 81 h 161"/>
                <a:gd name="T68" fmla="*/ 0 w 124"/>
                <a:gd name="T69" fmla="*/ 81 h 161"/>
                <a:gd name="T70" fmla="*/ 1 w 124"/>
                <a:gd name="T71" fmla="*/ 96 h 161"/>
                <a:gd name="T72" fmla="*/ 5 w 124"/>
                <a:gd name="T73" fmla="*/ 112 h 161"/>
                <a:gd name="T74" fmla="*/ 11 w 124"/>
                <a:gd name="T75" fmla="*/ 125 h 161"/>
                <a:gd name="T76" fmla="*/ 18 w 124"/>
                <a:gd name="T77" fmla="*/ 137 h 161"/>
                <a:gd name="T78" fmla="*/ 28 w 124"/>
                <a:gd name="T79" fmla="*/ 147 h 161"/>
                <a:gd name="T80" fmla="*/ 37 w 124"/>
                <a:gd name="T81" fmla="*/ 154 h 161"/>
                <a:gd name="T82" fmla="*/ 43 w 124"/>
                <a:gd name="T83" fmla="*/ 157 h 161"/>
                <a:gd name="T84" fmla="*/ 49 w 124"/>
                <a:gd name="T85" fmla="*/ 159 h 161"/>
                <a:gd name="T86" fmla="*/ 55 w 124"/>
                <a:gd name="T87" fmla="*/ 160 h 161"/>
                <a:gd name="T88" fmla="*/ 62 w 124"/>
                <a:gd name="T8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4" h="161">
                  <a:moveTo>
                    <a:pt x="62" y="161"/>
                  </a:moveTo>
                  <a:lnTo>
                    <a:pt x="62" y="161"/>
                  </a:lnTo>
                  <a:lnTo>
                    <a:pt x="69" y="160"/>
                  </a:lnTo>
                  <a:lnTo>
                    <a:pt x="75" y="159"/>
                  </a:lnTo>
                  <a:lnTo>
                    <a:pt x="81" y="157"/>
                  </a:lnTo>
                  <a:lnTo>
                    <a:pt x="86" y="154"/>
                  </a:lnTo>
                  <a:lnTo>
                    <a:pt x="96" y="147"/>
                  </a:lnTo>
                  <a:lnTo>
                    <a:pt x="106" y="137"/>
                  </a:lnTo>
                  <a:lnTo>
                    <a:pt x="113" y="125"/>
                  </a:lnTo>
                  <a:lnTo>
                    <a:pt x="119" y="112"/>
                  </a:lnTo>
                  <a:lnTo>
                    <a:pt x="123" y="96"/>
                  </a:lnTo>
                  <a:lnTo>
                    <a:pt x="124" y="81"/>
                  </a:lnTo>
                  <a:lnTo>
                    <a:pt x="124" y="81"/>
                  </a:lnTo>
                  <a:lnTo>
                    <a:pt x="123" y="65"/>
                  </a:lnTo>
                  <a:lnTo>
                    <a:pt x="119" y="49"/>
                  </a:lnTo>
                  <a:lnTo>
                    <a:pt x="113" y="36"/>
                  </a:lnTo>
                  <a:lnTo>
                    <a:pt x="106" y="24"/>
                  </a:lnTo>
                  <a:lnTo>
                    <a:pt x="96" y="15"/>
                  </a:lnTo>
                  <a:lnTo>
                    <a:pt x="86" y="7"/>
                  </a:lnTo>
                  <a:lnTo>
                    <a:pt x="81" y="4"/>
                  </a:lnTo>
                  <a:lnTo>
                    <a:pt x="75" y="3"/>
                  </a:lnTo>
                  <a:lnTo>
                    <a:pt x="69" y="1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55" y="1"/>
                  </a:lnTo>
                  <a:lnTo>
                    <a:pt x="49" y="3"/>
                  </a:lnTo>
                  <a:lnTo>
                    <a:pt x="43" y="4"/>
                  </a:lnTo>
                  <a:lnTo>
                    <a:pt x="37" y="7"/>
                  </a:lnTo>
                  <a:lnTo>
                    <a:pt x="28" y="15"/>
                  </a:lnTo>
                  <a:lnTo>
                    <a:pt x="18" y="24"/>
                  </a:lnTo>
                  <a:lnTo>
                    <a:pt x="11" y="36"/>
                  </a:lnTo>
                  <a:lnTo>
                    <a:pt x="5" y="49"/>
                  </a:lnTo>
                  <a:lnTo>
                    <a:pt x="1" y="65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1" y="96"/>
                  </a:lnTo>
                  <a:lnTo>
                    <a:pt x="5" y="112"/>
                  </a:lnTo>
                  <a:lnTo>
                    <a:pt x="11" y="125"/>
                  </a:lnTo>
                  <a:lnTo>
                    <a:pt x="18" y="137"/>
                  </a:lnTo>
                  <a:lnTo>
                    <a:pt x="28" y="147"/>
                  </a:lnTo>
                  <a:lnTo>
                    <a:pt x="37" y="154"/>
                  </a:lnTo>
                  <a:lnTo>
                    <a:pt x="43" y="157"/>
                  </a:lnTo>
                  <a:lnTo>
                    <a:pt x="49" y="159"/>
                  </a:lnTo>
                  <a:lnTo>
                    <a:pt x="55" y="160"/>
                  </a:lnTo>
                  <a:lnTo>
                    <a:pt x="62" y="161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28">
              <a:extLst>
                <a:ext uri="{FF2B5EF4-FFF2-40B4-BE49-F238E27FC236}">
                  <a16:creationId xmlns:a16="http://schemas.microsoft.com/office/drawing/2014/main" id="{7B60CA6A-8B62-ABB3-C56C-5219D92E0B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987" y="4535708"/>
              <a:ext cx="156633" cy="133350"/>
            </a:xfrm>
            <a:custGeom>
              <a:avLst/>
              <a:gdLst>
                <a:gd name="T0" fmla="*/ 273 w 295"/>
                <a:gd name="T1" fmla="*/ 29 h 253"/>
                <a:gd name="T2" fmla="*/ 193 w 295"/>
                <a:gd name="T3" fmla="*/ 0 h 253"/>
                <a:gd name="T4" fmla="*/ 147 w 295"/>
                <a:gd name="T5" fmla="*/ 46 h 253"/>
                <a:gd name="T6" fmla="*/ 101 w 295"/>
                <a:gd name="T7" fmla="*/ 0 h 253"/>
                <a:gd name="T8" fmla="*/ 21 w 295"/>
                <a:gd name="T9" fmla="*/ 29 h 253"/>
                <a:gd name="T10" fmla="*/ 21 w 295"/>
                <a:gd name="T11" fmla="*/ 29 h 253"/>
                <a:gd name="T12" fmla="*/ 16 w 295"/>
                <a:gd name="T13" fmla="*/ 31 h 253"/>
                <a:gd name="T14" fmla="*/ 12 w 295"/>
                <a:gd name="T15" fmla="*/ 34 h 253"/>
                <a:gd name="T16" fmla="*/ 8 w 295"/>
                <a:gd name="T17" fmla="*/ 37 h 253"/>
                <a:gd name="T18" fmla="*/ 4 w 295"/>
                <a:gd name="T19" fmla="*/ 42 h 253"/>
                <a:gd name="T20" fmla="*/ 2 w 295"/>
                <a:gd name="T21" fmla="*/ 47 h 253"/>
                <a:gd name="T22" fmla="*/ 1 w 295"/>
                <a:gd name="T23" fmla="*/ 52 h 253"/>
                <a:gd name="T24" fmla="*/ 0 w 295"/>
                <a:gd name="T25" fmla="*/ 57 h 253"/>
                <a:gd name="T26" fmla="*/ 0 w 295"/>
                <a:gd name="T27" fmla="*/ 63 h 253"/>
                <a:gd name="T28" fmla="*/ 16 w 295"/>
                <a:gd name="T29" fmla="*/ 253 h 253"/>
                <a:gd name="T30" fmla="*/ 278 w 295"/>
                <a:gd name="T31" fmla="*/ 253 h 253"/>
                <a:gd name="T32" fmla="*/ 295 w 295"/>
                <a:gd name="T33" fmla="*/ 63 h 253"/>
                <a:gd name="T34" fmla="*/ 295 w 295"/>
                <a:gd name="T35" fmla="*/ 63 h 253"/>
                <a:gd name="T36" fmla="*/ 295 w 295"/>
                <a:gd name="T37" fmla="*/ 57 h 253"/>
                <a:gd name="T38" fmla="*/ 293 w 295"/>
                <a:gd name="T39" fmla="*/ 52 h 253"/>
                <a:gd name="T40" fmla="*/ 291 w 295"/>
                <a:gd name="T41" fmla="*/ 47 h 253"/>
                <a:gd name="T42" fmla="*/ 289 w 295"/>
                <a:gd name="T43" fmla="*/ 42 h 253"/>
                <a:gd name="T44" fmla="*/ 286 w 295"/>
                <a:gd name="T45" fmla="*/ 37 h 253"/>
                <a:gd name="T46" fmla="*/ 283 w 295"/>
                <a:gd name="T47" fmla="*/ 34 h 253"/>
                <a:gd name="T48" fmla="*/ 278 w 295"/>
                <a:gd name="T49" fmla="*/ 31 h 253"/>
                <a:gd name="T50" fmla="*/ 273 w 295"/>
                <a:gd name="T51" fmla="*/ 29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5" h="253">
                  <a:moveTo>
                    <a:pt x="273" y="29"/>
                  </a:moveTo>
                  <a:lnTo>
                    <a:pt x="193" y="0"/>
                  </a:lnTo>
                  <a:lnTo>
                    <a:pt x="147" y="46"/>
                  </a:lnTo>
                  <a:lnTo>
                    <a:pt x="101" y="0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16" y="31"/>
                  </a:lnTo>
                  <a:lnTo>
                    <a:pt x="12" y="34"/>
                  </a:lnTo>
                  <a:lnTo>
                    <a:pt x="8" y="37"/>
                  </a:lnTo>
                  <a:lnTo>
                    <a:pt x="4" y="42"/>
                  </a:lnTo>
                  <a:lnTo>
                    <a:pt x="2" y="47"/>
                  </a:lnTo>
                  <a:lnTo>
                    <a:pt x="1" y="52"/>
                  </a:lnTo>
                  <a:lnTo>
                    <a:pt x="0" y="57"/>
                  </a:lnTo>
                  <a:lnTo>
                    <a:pt x="0" y="63"/>
                  </a:lnTo>
                  <a:lnTo>
                    <a:pt x="16" y="253"/>
                  </a:lnTo>
                  <a:lnTo>
                    <a:pt x="278" y="253"/>
                  </a:lnTo>
                  <a:lnTo>
                    <a:pt x="295" y="63"/>
                  </a:lnTo>
                  <a:lnTo>
                    <a:pt x="295" y="63"/>
                  </a:lnTo>
                  <a:lnTo>
                    <a:pt x="295" y="57"/>
                  </a:lnTo>
                  <a:lnTo>
                    <a:pt x="293" y="52"/>
                  </a:lnTo>
                  <a:lnTo>
                    <a:pt x="291" y="47"/>
                  </a:lnTo>
                  <a:lnTo>
                    <a:pt x="289" y="42"/>
                  </a:lnTo>
                  <a:lnTo>
                    <a:pt x="286" y="37"/>
                  </a:lnTo>
                  <a:lnTo>
                    <a:pt x="283" y="34"/>
                  </a:lnTo>
                  <a:lnTo>
                    <a:pt x="278" y="31"/>
                  </a:lnTo>
                  <a:lnTo>
                    <a:pt x="273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29">
              <a:extLst>
                <a:ext uri="{FF2B5EF4-FFF2-40B4-BE49-F238E27FC236}">
                  <a16:creationId xmlns:a16="http://schemas.microsoft.com/office/drawing/2014/main" id="{99687634-BE47-B9FF-136B-661B225E57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987" y="4535708"/>
              <a:ext cx="156633" cy="133350"/>
            </a:xfrm>
            <a:custGeom>
              <a:avLst/>
              <a:gdLst>
                <a:gd name="T0" fmla="*/ 273 w 295"/>
                <a:gd name="T1" fmla="*/ 29 h 253"/>
                <a:gd name="T2" fmla="*/ 193 w 295"/>
                <a:gd name="T3" fmla="*/ 0 h 253"/>
                <a:gd name="T4" fmla="*/ 147 w 295"/>
                <a:gd name="T5" fmla="*/ 46 h 253"/>
                <a:gd name="T6" fmla="*/ 101 w 295"/>
                <a:gd name="T7" fmla="*/ 0 h 253"/>
                <a:gd name="T8" fmla="*/ 21 w 295"/>
                <a:gd name="T9" fmla="*/ 29 h 253"/>
                <a:gd name="T10" fmla="*/ 21 w 295"/>
                <a:gd name="T11" fmla="*/ 29 h 253"/>
                <a:gd name="T12" fmla="*/ 16 w 295"/>
                <a:gd name="T13" fmla="*/ 31 h 253"/>
                <a:gd name="T14" fmla="*/ 12 w 295"/>
                <a:gd name="T15" fmla="*/ 34 h 253"/>
                <a:gd name="T16" fmla="*/ 8 w 295"/>
                <a:gd name="T17" fmla="*/ 37 h 253"/>
                <a:gd name="T18" fmla="*/ 4 w 295"/>
                <a:gd name="T19" fmla="*/ 42 h 253"/>
                <a:gd name="T20" fmla="*/ 2 w 295"/>
                <a:gd name="T21" fmla="*/ 47 h 253"/>
                <a:gd name="T22" fmla="*/ 1 w 295"/>
                <a:gd name="T23" fmla="*/ 52 h 253"/>
                <a:gd name="T24" fmla="*/ 0 w 295"/>
                <a:gd name="T25" fmla="*/ 57 h 253"/>
                <a:gd name="T26" fmla="*/ 0 w 295"/>
                <a:gd name="T27" fmla="*/ 63 h 253"/>
                <a:gd name="T28" fmla="*/ 16 w 295"/>
                <a:gd name="T29" fmla="*/ 253 h 253"/>
                <a:gd name="T30" fmla="*/ 278 w 295"/>
                <a:gd name="T31" fmla="*/ 253 h 253"/>
                <a:gd name="T32" fmla="*/ 295 w 295"/>
                <a:gd name="T33" fmla="*/ 63 h 253"/>
                <a:gd name="T34" fmla="*/ 295 w 295"/>
                <a:gd name="T35" fmla="*/ 63 h 253"/>
                <a:gd name="T36" fmla="*/ 295 w 295"/>
                <a:gd name="T37" fmla="*/ 57 h 253"/>
                <a:gd name="T38" fmla="*/ 293 w 295"/>
                <a:gd name="T39" fmla="*/ 52 h 253"/>
                <a:gd name="T40" fmla="*/ 291 w 295"/>
                <a:gd name="T41" fmla="*/ 47 h 253"/>
                <a:gd name="T42" fmla="*/ 289 w 295"/>
                <a:gd name="T43" fmla="*/ 42 h 253"/>
                <a:gd name="T44" fmla="*/ 286 w 295"/>
                <a:gd name="T45" fmla="*/ 37 h 253"/>
                <a:gd name="T46" fmla="*/ 283 w 295"/>
                <a:gd name="T47" fmla="*/ 34 h 253"/>
                <a:gd name="T48" fmla="*/ 278 w 295"/>
                <a:gd name="T49" fmla="*/ 31 h 253"/>
                <a:gd name="T50" fmla="*/ 273 w 295"/>
                <a:gd name="T51" fmla="*/ 29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5" h="253">
                  <a:moveTo>
                    <a:pt x="273" y="29"/>
                  </a:moveTo>
                  <a:lnTo>
                    <a:pt x="193" y="0"/>
                  </a:lnTo>
                  <a:lnTo>
                    <a:pt x="147" y="46"/>
                  </a:lnTo>
                  <a:lnTo>
                    <a:pt x="101" y="0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16" y="31"/>
                  </a:lnTo>
                  <a:lnTo>
                    <a:pt x="12" y="34"/>
                  </a:lnTo>
                  <a:lnTo>
                    <a:pt x="8" y="37"/>
                  </a:lnTo>
                  <a:lnTo>
                    <a:pt x="4" y="42"/>
                  </a:lnTo>
                  <a:lnTo>
                    <a:pt x="2" y="47"/>
                  </a:lnTo>
                  <a:lnTo>
                    <a:pt x="1" y="52"/>
                  </a:lnTo>
                  <a:lnTo>
                    <a:pt x="0" y="57"/>
                  </a:lnTo>
                  <a:lnTo>
                    <a:pt x="0" y="63"/>
                  </a:lnTo>
                  <a:lnTo>
                    <a:pt x="16" y="253"/>
                  </a:lnTo>
                  <a:lnTo>
                    <a:pt x="278" y="253"/>
                  </a:lnTo>
                  <a:lnTo>
                    <a:pt x="295" y="63"/>
                  </a:lnTo>
                  <a:lnTo>
                    <a:pt x="295" y="63"/>
                  </a:lnTo>
                  <a:lnTo>
                    <a:pt x="295" y="57"/>
                  </a:lnTo>
                  <a:lnTo>
                    <a:pt x="293" y="52"/>
                  </a:lnTo>
                  <a:lnTo>
                    <a:pt x="291" y="47"/>
                  </a:lnTo>
                  <a:lnTo>
                    <a:pt x="289" y="42"/>
                  </a:lnTo>
                  <a:lnTo>
                    <a:pt x="286" y="37"/>
                  </a:lnTo>
                  <a:lnTo>
                    <a:pt x="283" y="34"/>
                  </a:lnTo>
                  <a:lnTo>
                    <a:pt x="278" y="31"/>
                  </a:lnTo>
                  <a:lnTo>
                    <a:pt x="273" y="29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30">
              <a:extLst>
                <a:ext uri="{FF2B5EF4-FFF2-40B4-BE49-F238E27FC236}">
                  <a16:creationId xmlns:a16="http://schemas.microsoft.com/office/drawing/2014/main" id="{84C157B2-B34E-8EC9-F6EF-90A704B4A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345" y="4448925"/>
              <a:ext cx="25400" cy="58208"/>
            </a:xfrm>
            <a:custGeom>
              <a:avLst/>
              <a:gdLst>
                <a:gd name="T0" fmla="*/ 28 w 47"/>
                <a:gd name="T1" fmla="*/ 109 h 109"/>
                <a:gd name="T2" fmla="*/ 28 w 47"/>
                <a:gd name="T3" fmla="*/ 20 h 109"/>
                <a:gd name="T4" fmla="*/ 9 w 47"/>
                <a:gd name="T5" fmla="*/ 35 h 109"/>
                <a:gd name="T6" fmla="*/ 0 w 47"/>
                <a:gd name="T7" fmla="*/ 19 h 109"/>
                <a:gd name="T8" fmla="*/ 30 w 47"/>
                <a:gd name="T9" fmla="*/ 0 h 109"/>
                <a:gd name="T10" fmla="*/ 47 w 47"/>
                <a:gd name="T11" fmla="*/ 0 h 109"/>
                <a:gd name="T12" fmla="*/ 47 w 47"/>
                <a:gd name="T13" fmla="*/ 109 h 109"/>
                <a:gd name="T14" fmla="*/ 28 w 47"/>
                <a:gd name="T15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109">
                  <a:moveTo>
                    <a:pt x="28" y="109"/>
                  </a:moveTo>
                  <a:lnTo>
                    <a:pt x="28" y="20"/>
                  </a:lnTo>
                  <a:lnTo>
                    <a:pt x="9" y="35"/>
                  </a:lnTo>
                  <a:lnTo>
                    <a:pt x="0" y="19"/>
                  </a:lnTo>
                  <a:lnTo>
                    <a:pt x="30" y="0"/>
                  </a:lnTo>
                  <a:lnTo>
                    <a:pt x="47" y="0"/>
                  </a:lnTo>
                  <a:lnTo>
                    <a:pt x="47" y="109"/>
                  </a:lnTo>
                  <a:lnTo>
                    <a:pt x="28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31">
              <a:extLst>
                <a:ext uri="{FF2B5EF4-FFF2-40B4-BE49-F238E27FC236}">
                  <a16:creationId xmlns:a16="http://schemas.microsoft.com/office/drawing/2014/main" id="{F1744819-B5F9-9143-FC61-65EFBE2F51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3670" y="4520892"/>
              <a:ext cx="24342" cy="57150"/>
            </a:xfrm>
            <a:custGeom>
              <a:avLst/>
              <a:gdLst>
                <a:gd name="T0" fmla="*/ 28 w 47"/>
                <a:gd name="T1" fmla="*/ 109 h 109"/>
                <a:gd name="T2" fmla="*/ 28 w 47"/>
                <a:gd name="T3" fmla="*/ 20 h 109"/>
                <a:gd name="T4" fmla="*/ 9 w 47"/>
                <a:gd name="T5" fmla="*/ 34 h 109"/>
                <a:gd name="T6" fmla="*/ 0 w 47"/>
                <a:gd name="T7" fmla="*/ 19 h 109"/>
                <a:gd name="T8" fmla="*/ 31 w 47"/>
                <a:gd name="T9" fmla="*/ 0 h 109"/>
                <a:gd name="T10" fmla="*/ 47 w 47"/>
                <a:gd name="T11" fmla="*/ 0 h 109"/>
                <a:gd name="T12" fmla="*/ 47 w 47"/>
                <a:gd name="T13" fmla="*/ 109 h 109"/>
                <a:gd name="T14" fmla="*/ 28 w 47"/>
                <a:gd name="T15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109">
                  <a:moveTo>
                    <a:pt x="28" y="109"/>
                  </a:moveTo>
                  <a:lnTo>
                    <a:pt x="28" y="20"/>
                  </a:lnTo>
                  <a:lnTo>
                    <a:pt x="9" y="34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109"/>
                  </a:lnTo>
                  <a:lnTo>
                    <a:pt x="28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32">
              <a:extLst>
                <a:ext uri="{FF2B5EF4-FFF2-40B4-BE49-F238E27FC236}">
                  <a16:creationId xmlns:a16="http://schemas.microsoft.com/office/drawing/2014/main" id="{064CF60B-01EA-5237-97A1-2FA15CDB16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345" y="4592858"/>
              <a:ext cx="25400" cy="57150"/>
            </a:xfrm>
            <a:custGeom>
              <a:avLst/>
              <a:gdLst>
                <a:gd name="T0" fmla="*/ 28 w 47"/>
                <a:gd name="T1" fmla="*/ 109 h 109"/>
                <a:gd name="T2" fmla="*/ 28 w 47"/>
                <a:gd name="T3" fmla="*/ 21 h 109"/>
                <a:gd name="T4" fmla="*/ 9 w 47"/>
                <a:gd name="T5" fmla="*/ 35 h 109"/>
                <a:gd name="T6" fmla="*/ 0 w 47"/>
                <a:gd name="T7" fmla="*/ 19 h 109"/>
                <a:gd name="T8" fmla="*/ 30 w 47"/>
                <a:gd name="T9" fmla="*/ 0 h 109"/>
                <a:gd name="T10" fmla="*/ 47 w 47"/>
                <a:gd name="T11" fmla="*/ 0 h 109"/>
                <a:gd name="T12" fmla="*/ 47 w 47"/>
                <a:gd name="T13" fmla="*/ 109 h 109"/>
                <a:gd name="T14" fmla="*/ 28 w 47"/>
                <a:gd name="T15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109">
                  <a:moveTo>
                    <a:pt x="28" y="109"/>
                  </a:moveTo>
                  <a:lnTo>
                    <a:pt x="28" y="21"/>
                  </a:lnTo>
                  <a:lnTo>
                    <a:pt x="9" y="35"/>
                  </a:lnTo>
                  <a:lnTo>
                    <a:pt x="0" y="19"/>
                  </a:lnTo>
                  <a:lnTo>
                    <a:pt x="30" y="0"/>
                  </a:lnTo>
                  <a:lnTo>
                    <a:pt x="47" y="0"/>
                  </a:lnTo>
                  <a:lnTo>
                    <a:pt x="47" y="109"/>
                  </a:lnTo>
                  <a:lnTo>
                    <a:pt x="28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33">
              <a:extLst>
                <a:ext uri="{FF2B5EF4-FFF2-40B4-BE49-F238E27FC236}">
                  <a16:creationId xmlns:a16="http://schemas.microsoft.com/office/drawing/2014/main" id="{106828D9-901A-FF2E-754A-E0B44D5FD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3670" y="4663767"/>
              <a:ext cx="24342" cy="58208"/>
            </a:xfrm>
            <a:custGeom>
              <a:avLst/>
              <a:gdLst>
                <a:gd name="T0" fmla="*/ 28 w 47"/>
                <a:gd name="T1" fmla="*/ 109 h 109"/>
                <a:gd name="T2" fmla="*/ 28 w 47"/>
                <a:gd name="T3" fmla="*/ 20 h 109"/>
                <a:gd name="T4" fmla="*/ 9 w 47"/>
                <a:gd name="T5" fmla="*/ 33 h 109"/>
                <a:gd name="T6" fmla="*/ 0 w 47"/>
                <a:gd name="T7" fmla="*/ 19 h 109"/>
                <a:gd name="T8" fmla="*/ 31 w 47"/>
                <a:gd name="T9" fmla="*/ 0 h 109"/>
                <a:gd name="T10" fmla="*/ 47 w 47"/>
                <a:gd name="T11" fmla="*/ 0 h 109"/>
                <a:gd name="T12" fmla="*/ 47 w 47"/>
                <a:gd name="T13" fmla="*/ 109 h 109"/>
                <a:gd name="T14" fmla="*/ 28 w 47"/>
                <a:gd name="T15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109">
                  <a:moveTo>
                    <a:pt x="28" y="109"/>
                  </a:moveTo>
                  <a:lnTo>
                    <a:pt x="28" y="20"/>
                  </a:lnTo>
                  <a:lnTo>
                    <a:pt x="9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109"/>
                  </a:lnTo>
                  <a:lnTo>
                    <a:pt x="28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34">
              <a:extLst>
                <a:ext uri="{FF2B5EF4-FFF2-40B4-BE49-F238E27FC236}">
                  <a16:creationId xmlns:a16="http://schemas.microsoft.com/office/drawing/2014/main" id="{2343F41D-F363-2C5A-2FCA-CF034D753B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6262" y="4448925"/>
              <a:ext cx="41275" cy="59267"/>
            </a:xfrm>
            <a:custGeom>
              <a:avLst/>
              <a:gdLst>
                <a:gd name="T0" fmla="*/ 39 w 77"/>
                <a:gd name="T1" fmla="*/ 16 h 113"/>
                <a:gd name="T2" fmla="*/ 30 w 77"/>
                <a:gd name="T3" fmla="*/ 18 h 113"/>
                <a:gd name="T4" fmla="*/ 24 w 77"/>
                <a:gd name="T5" fmla="*/ 25 h 113"/>
                <a:gd name="T6" fmla="*/ 22 w 77"/>
                <a:gd name="T7" fmla="*/ 31 h 113"/>
                <a:gd name="T8" fmla="*/ 19 w 77"/>
                <a:gd name="T9" fmla="*/ 56 h 113"/>
                <a:gd name="T10" fmla="*/ 21 w 77"/>
                <a:gd name="T11" fmla="*/ 74 h 113"/>
                <a:gd name="T12" fmla="*/ 24 w 77"/>
                <a:gd name="T13" fmla="*/ 86 h 113"/>
                <a:gd name="T14" fmla="*/ 27 w 77"/>
                <a:gd name="T15" fmla="*/ 91 h 113"/>
                <a:gd name="T16" fmla="*/ 34 w 77"/>
                <a:gd name="T17" fmla="*/ 97 h 113"/>
                <a:gd name="T18" fmla="*/ 39 w 77"/>
                <a:gd name="T19" fmla="*/ 97 h 113"/>
                <a:gd name="T20" fmla="*/ 47 w 77"/>
                <a:gd name="T21" fmla="*/ 95 h 113"/>
                <a:gd name="T22" fmla="*/ 53 w 77"/>
                <a:gd name="T23" fmla="*/ 88 h 113"/>
                <a:gd name="T24" fmla="*/ 56 w 77"/>
                <a:gd name="T25" fmla="*/ 82 h 113"/>
                <a:gd name="T26" fmla="*/ 58 w 77"/>
                <a:gd name="T27" fmla="*/ 56 h 113"/>
                <a:gd name="T28" fmla="*/ 57 w 77"/>
                <a:gd name="T29" fmla="*/ 38 h 113"/>
                <a:gd name="T30" fmla="*/ 53 w 77"/>
                <a:gd name="T31" fmla="*/ 26 h 113"/>
                <a:gd name="T32" fmla="*/ 51 w 77"/>
                <a:gd name="T33" fmla="*/ 22 h 113"/>
                <a:gd name="T34" fmla="*/ 44 w 77"/>
                <a:gd name="T35" fmla="*/ 16 h 113"/>
                <a:gd name="T36" fmla="*/ 39 w 77"/>
                <a:gd name="T37" fmla="*/ 0 h 113"/>
                <a:gd name="T38" fmla="*/ 48 w 77"/>
                <a:gd name="T39" fmla="*/ 1 h 113"/>
                <a:gd name="T40" fmla="*/ 63 w 77"/>
                <a:gd name="T41" fmla="*/ 7 h 113"/>
                <a:gd name="T42" fmla="*/ 68 w 77"/>
                <a:gd name="T43" fmla="*/ 13 h 113"/>
                <a:gd name="T44" fmla="*/ 75 w 77"/>
                <a:gd name="T45" fmla="*/ 31 h 113"/>
                <a:gd name="T46" fmla="*/ 77 w 77"/>
                <a:gd name="T47" fmla="*/ 56 h 113"/>
                <a:gd name="T48" fmla="*/ 77 w 77"/>
                <a:gd name="T49" fmla="*/ 68 h 113"/>
                <a:gd name="T50" fmla="*/ 72 w 77"/>
                <a:gd name="T51" fmla="*/ 89 h 113"/>
                <a:gd name="T52" fmla="*/ 70 w 77"/>
                <a:gd name="T53" fmla="*/ 96 h 113"/>
                <a:gd name="T54" fmla="*/ 57 w 77"/>
                <a:gd name="T55" fmla="*/ 108 h 113"/>
                <a:gd name="T56" fmla="*/ 39 w 77"/>
                <a:gd name="T57" fmla="*/ 113 h 113"/>
                <a:gd name="T58" fmla="*/ 29 w 77"/>
                <a:gd name="T59" fmla="*/ 112 h 113"/>
                <a:gd name="T60" fmla="*/ 15 w 77"/>
                <a:gd name="T61" fmla="*/ 104 h 113"/>
                <a:gd name="T62" fmla="*/ 10 w 77"/>
                <a:gd name="T63" fmla="*/ 98 h 113"/>
                <a:gd name="T64" fmla="*/ 3 w 77"/>
                <a:gd name="T65" fmla="*/ 82 h 113"/>
                <a:gd name="T66" fmla="*/ 0 w 77"/>
                <a:gd name="T67" fmla="*/ 55 h 113"/>
                <a:gd name="T68" fmla="*/ 0 w 77"/>
                <a:gd name="T69" fmla="*/ 43 h 113"/>
                <a:gd name="T70" fmla="*/ 4 w 77"/>
                <a:gd name="T71" fmla="*/ 24 h 113"/>
                <a:gd name="T72" fmla="*/ 7 w 77"/>
                <a:gd name="T73" fmla="*/ 17 h 113"/>
                <a:gd name="T74" fmla="*/ 21 w 77"/>
                <a:gd name="T75" fmla="*/ 4 h 113"/>
                <a:gd name="T76" fmla="*/ 39 w 77"/>
                <a:gd name="T77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7" h="113">
                  <a:moveTo>
                    <a:pt x="39" y="16"/>
                  </a:moveTo>
                  <a:lnTo>
                    <a:pt x="39" y="16"/>
                  </a:lnTo>
                  <a:lnTo>
                    <a:pt x="34" y="16"/>
                  </a:lnTo>
                  <a:lnTo>
                    <a:pt x="30" y="18"/>
                  </a:lnTo>
                  <a:lnTo>
                    <a:pt x="27" y="20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2" y="31"/>
                  </a:lnTo>
                  <a:lnTo>
                    <a:pt x="21" y="38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21" y="74"/>
                  </a:lnTo>
                  <a:lnTo>
                    <a:pt x="22" y="82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7" y="91"/>
                  </a:lnTo>
                  <a:lnTo>
                    <a:pt x="30" y="95"/>
                  </a:lnTo>
                  <a:lnTo>
                    <a:pt x="34" y="97"/>
                  </a:lnTo>
                  <a:lnTo>
                    <a:pt x="39" y="97"/>
                  </a:lnTo>
                  <a:lnTo>
                    <a:pt x="39" y="97"/>
                  </a:lnTo>
                  <a:lnTo>
                    <a:pt x="44" y="97"/>
                  </a:lnTo>
                  <a:lnTo>
                    <a:pt x="47" y="95"/>
                  </a:lnTo>
                  <a:lnTo>
                    <a:pt x="51" y="91"/>
                  </a:lnTo>
                  <a:lnTo>
                    <a:pt x="53" y="88"/>
                  </a:lnTo>
                  <a:lnTo>
                    <a:pt x="53" y="88"/>
                  </a:lnTo>
                  <a:lnTo>
                    <a:pt x="56" y="82"/>
                  </a:lnTo>
                  <a:lnTo>
                    <a:pt x="57" y="74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57" y="38"/>
                  </a:lnTo>
                  <a:lnTo>
                    <a:pt x="56" y="31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1" y="22"/>
                  </a:lnTo>
                  <a:lnTo>
                    <a:pt x="47" y="18"/>
                  </a:lnTo>
                  <a:lnTo>
                    <a:pt x="44" y="16"/>
                  </a:lnTo>
                  <a:lnTo>
                    <a:pt x="39" y="16"/>
                  </a:lnTo>
                  <a:close/>
                  <a:moveTo>
                    <a:pt x="39" y="0"/>
                  </a:moveTo>
                  <a:lnTo>
                    <a:pt x="39" y="0"/>
                  </a:lnTo>
                  <a:lnTo>
                    <a:pt x="48" y="1"/>
                  </a:lnTo>
                  <a:lnTo>
                    <a:pt x="56" y="4"/>
                  </a:lnTo>
                  <a:lnTo>
                    <a:pt x="63" y="7"/>
                  </a:lnTo>
                  <a:lnTo>
                    <a:pt x="68" y="13"/>
                  </a:lnTo>
                  <a:lnTo>
                    <a:pt x="68" y="13"/>
                  </a:lnTo>
                  <a:lnTo>
                    <a:pt x="72" y="22"/>
                  </a:lnTo>
                  <a:lnTo>
                    <a:pt x="75" y="31"/>
                  </a:lnTo>
                  <a:lnTo>
                    <a:pt x="77" y="43"/>
                  </a:lnTo>
                  <a:lnTo>
                    <a:pt x="77" y="56"/>
                  </a:lnTo>
                  <a:lnTo>
                    <a:pt x="77" y="56"/>
                  </a:lnTo>
                  <a:lnTo>
                    <a:pt x="77" y="68"/>
                  </a:lnTo>
                  <a:lnTo>
                    <a:pt x="75" y="79"/>
                  </a:lnTo>
                  <a:lnTo>
                    <a:pt x="72" y="89"/>
                  </a:lnTo>
                  <a:lnTo>
                    <a:pt x="70" y="96"/>
                  </a:lnTo>
                  <a:lnTo>
                    <a:pt x="70" y="96"/>
                  </a:lnTo>
                  <a:lnTo>
                    <a:pt x="64" y="103"/>
                  </a:lnTo>
                  <a:lnTo>
                    <a:pt x="57" y="108"/>
                  </a:lnTo>
                  <a:lnTo>
                    <a:pt x="48" y="112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29" y="112"/>
                  </a:lnTo>
                  <a:lnTo>
                    <a:pt x="22" y="109"/>
                  </a:lnTo>
                  <a:lnTo>
                    <a:pt x="15" y="104"/>
                  </a:lnTo>
                  <a:lnTo>
                    <a:pt x="10" y="98"/>
                  </a:lnTo>
                  <a:lnTo>
                    <a:pt x="10" y="98"/>
                  </a:lnTo>
                  <a:lnTo>
                    <a:pt x="5" y="91"/>
                  </a:lnTo>
                  <a:lnTo>
                    <a:pt x="3" y="82"/>
                  </a:lnTo>
                  <a:lnTo>
                    <a:pt x="0" y="70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0" y="43"/>
                  </a:lnTo>
                  <a:lnTo>
                    <a:pt x="1" y="34"/>
                  </a:lnTo>
                  <a:lnTo>
                    <a:pt x="4" y="24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13" y="10"/>
                  </a:lnTo>
                  <a:lnTo>
                    <a:pt x="21" y="4"/>
                  </a:lnTo>
                  <a:lnTo>
                    <a:pt x="29" y="1"/>
                  </a:lnTo>
                  <a:lnTo>
                    <a:pt x="3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Freeform 37">
              <a:extLst>
                <a:ext uri="{FF2B5EF4-FFF2-40B4-BE49-F238E27FC236}">
                  <a16:creationId xmlns:a16="http://schemas.microsoft.com/office/drawing/2014/main" id="{AC14F5D3-3050-097F-2898-FD34A0C9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5937" y="4520892"/>
              <a:ext cx="41275" cy="59267"/>
            </a:xfrm>
            <a:custGeom>
              <a:avLst/>
              <a:gdLst>
                <a:gd name="T0" fmla="*/ 38 w 77"/>
                <a:gd name="T1" fmla="*/ 15 h 112"/>
                <a:gd name="T2" fmla="*/ 30 w 77"/>
                <a:gd name="T3" fmla="*/ 18 h 112"/>
                <a:gd name="T4" fmla="*/ 24 w 77"/>
                <a:gd name="T5" fmla="*/ 25 h 112"/>
                <a:gd name="T6" fmla="*/ 22 w 77"/>
                <a:gd name="T7" fmla="*/ 31 h 112"/>
                <a:gd name="T8" fmla="*/ 19 w 77"/>
                <a:gd name="T9" fmla="*/ 55 h 112"/>
                <a:gd name="T10" fmla="*/ 20 w 77"/>
                <a:gd name="T11" fmla="*/ 74 h 112"/>
                <a:gd name="T12" fmla="*/ 24 w 77"/>
                <a:gd name="T13" fmla="*/ 86 h 112"/>
                <a:gd name="T14" fmla="*/ 26 w 77"/>
                <a:gd name="T15" fmla="*/ 91 h 112"/>
                <a:gd name="T16" fmla="*/ 34 w 77"/>
                <a:gd name="T17" fmla="*/ 96 h 112"/>
                <a:gd name="T18" fmla="*/ 38 w 77"/>
                <a:gd name="T19" fmla="*/ 97 h 112"/>
                <a:gd name="T20" fmla="*/ 47 w 77"/>
                <a:gd name="T21" fmla="*/ 94 h 112"/>
                <a:gd name="T22" fmla="*/ 53 w 77"/>
                <a:gd name="T23" fmla="*/ 87 h 112"/>
                <a:gd name="T24" fmla="*/ 55 w 77"/>
                <a:gd name="T25" fmla="*/ 81 h 112"/>
                <a:gd name="T26" fmla="*/ 58 w 77"/>
                <a:gd name="T27" fmla="*/ 56 h 112"/>
                <a:gd name="T28" fmla="*/ 57 w 77"/>
                <a:gd name="T29" fmla="*/ 38 h 112"/>
                <a:gd name="T30" fmla="*/ 53 w 77"/>
                <a:gd name="T31" fmla="*/ 25 h 112"/>
                <a:gd name="T32" fmla="*/ 51 w 77"/>
                <a:gd name="T33" fmla="*/ 21 h 112"/>
                <a:gd name="T34" fmla="*/ 43 w 77"/>
                <a:gd name="T35" fmla="*/ 15 h 112"/>
                <a:gd name="T36" fmla="*/ 38 w 77"/>
                <a:gd name="T37" fmla="*/ 0 h 112"/>
                <a:gd name="T38" fmla="*/ 47 w 77"/>
                <a:gd name="T39" fmla="*/ 0 h 112"/>
                <a:gd name="T40" fmla="*/ 63 w 77"/>
                <a:gd name="T41" fmla="*/ 7 h 112"/>
                <a:gd name="T42" fmla="*/ 67 w 77"/>
                <a:gd name="T43" fmla="*/ 13 h 112"/>
                <a:gd name="T44" fmla="*/ 75 w 77"/>
                <a:gd name="T45" fmla="*/ 31 h 112"/>
                <a:gd name="T46" fmla="*/ 77 w 77"/>
                <a:gd name="T47" fmla="*/ 56 h 112"/>
                <a:gd name="T48" fmla="*/ 76 w 77"/>
                <a:gd name="T49" fmla="*/ 68 h 112"/>
                <a:gd name="T50" fmla="*/ 72 w 77"/>
                <a:gd name="T51" fmla="*/ 87 h 112"/>
                <a:gd name="T52" fmla="*/ 70 w 77"/>
                <a:gd name="T53" fmla="*/ 96 h 112"/>
                <a:gd name="T54" fmla="*/ 57 w 77"/>
                <a:gd name="T55" fmla="*/ 108 h 112"/>
                <a:gd name="T56" fmla="*/ 38 w 77"/>
                <a:gd name="T57" fmla="*/ 112 h 112"/>
                <a:gd name="T58" fmla="*/ 29 w 77"/>
                <a:gd name="T59" fmla="*/ 111 h 112"/>
                <a:gd name="T60" fmla="*/ 14 w 77"/>
                <a:gd name="T61" fmla="*/ 104 h 112"/>
                <a:gd name="T62" fmla="*/ 10 w 77"/>
                <a:gd name="T63" fmla="*/ 98 h 112"/>
                <a:gd name="T64" fmla="*/ 2 w 77"/>
                <a:gd name="T65" fmla="*/ 80 h 112"/>
                <a:gd name="T66" fmla="*/ 0 w 77"/>
                <a:gd name="T67" fmla="*/ 55 h 112"/>
                <a:gd name="T68" fmla="*/ 0 w 77"/>
                <a:gd name="T69" fmla="*/ 43 h 112"/>
                <a:gd name="T70" fmla="*/ 4 w 77"/>
                <a:gd name="T71" fmla="*/ 24 h 112"/>
                <a:gd name="T72" fmla="*/ 7 w 77"/>
                <a:gd name="T73" fmla="*/ 16 h 112"/>
                <a:gd name="T74" fmla="*/ 20 w 77"/>
                <a:gd name="T75" fmla="*/ 3 h 112"/>
                <a:gd name="T76" fmla="*/ 38 w 77"/>
                <a:gd name="T77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7" h="112">
                  <a:moveTo>
                    <a:pt x="38" y="15"/>
                  </a:moveTo>
                  <a:lnTo>
                    <a:pt x="38" y="15"/>
                  </a:lnTo>
                  <a:lnTo>
                    <a:pt x="34" y="15"/>
                  </a:lnTo>
                  <a:lnTo>
                    <a:pt x="30" y="18"/>
                  </a:lnTo>
                  <a:lnTo>
                    <a:pt x="26" y="20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2" y="31"/>
                  </a:lnTo>
                  <a:lnTo>
                    <a:pt x="20" y="37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20" y="74"/>
                  </a:lnTo>
                  <a:lnTo>
                    <a:pt x="22" y="81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6" y="91"/>
                  </a:lnTo>
                  <a:lnTo>
                    <a:pt x="30" y="94"/>
                  </a:lnTo>
                  <a:lnTo>
                    <a:pt x="34" y="96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43" y="96"/>
                  </a:lnTo>
                  <a:lnTo>
                    <a:pt x="47" y="94"/>
                  </a:lnTo>
                  <a:lnTo>
                    <a:pt x="51" y="91"/>
                  </a:lnTo>
                  <a:lnTo>
                    <a:pt x="53" y="87"/>
                  </a:lnTo>
                  <a:lnTo>
                    <a:pt x="53" y="87"/>
                  </a:lnTo>
                  <a:lnTo>
                    <a:pt x="55" y="81"/>
                  </a:lnTo>
                  <a:lnTo>
                    <a:pt x="57" y="74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57" y="38"/>
                  </a:lnTo>
                  <a:lnTo>
                    <a:pt x="55" y="31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1" y="21"/>
                  </a:lnTo>
                  <a:lnTo>
                    <a:pt x="47" y="18"/>
                  </a:lnTo>
                  <a:lnTo>
                    <a:pt x="43" y="15"/>
                  </a:lnTo>
                  <a:lnTo>
                    <a:pt x="38" y="15"/>
                  </a:lnTo>
                  <a:close/>
                  <a:moveTo>
                    <a:pt x="38" y="0"/>
                  </a:moveTo>
                  <a:lnTo>
                    <a:pt x="38" y="0"/>
                  </a:lnTo>
                  <a:lnTo>
                    <a:pt x="47" y="0"/>
                  </a:lnTo>
                  <a:lnTo>
                    <a:pt x="55" y="3"/>
                  </a:lnTo>
                  <a:lnTo>
                    <a:pt x="63" y="7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71" y="21"/>
                  </a:lnTo>
                  <a:lnTo>
                    <a:pt x="75" y="31"/>
                  </a:lnTo>
                  <a:lnTo>
                    <a:pt x="76" y="43"/>
                  </a:lnTo>
                  <a:lnTo>
                    <a:pt x="77" y="56"/>
                  </a:lnTo>
                  <a:lnTo>
                    <a:pt x="77" y="56"/>
                  </a:lnTo>
                  <a:lnTo>
                    <a:pt x="76" y="68"/>
                  </a:lnTo>
                  <a:lnTo>
                    <a:pt x="75" y="79"/>
                  </a:lnTo>
                  <a:lnTo>
                    <a:pt x="72" y="87"/>
                  </a:lnTo>
                  <a:lnTo>
                    <a:pt x="70" y="96"/>
                  </a:lnTo>
                  <a:lnTo>
                    <a:pt x="70" y="96"/>
                  </a:lnTo>
                  <a:lnTo>
                    <a:pt x="64" y="103"/>
                  </a:lnTo>
                  <a:lnTo>
                    <a:pt x="57" y="108"/>
                  </a:lnTo>
                  <a:lnTo>
                    <a:pt x="48" y="111"/>
                  </a:lnTo>
                  <a:lnTo>
                    <a:pt x="38" y="112"/>
                  </a:lnTo>
                  <a:lnTo>
                    <a:pt x="38" y="112"/>
                  </a:lnTo>
                  <a:lnTo>
                    <a:pt x="29" y="111"/>
                  </a:lnTo>
                  <a:lnTo>
                    <a:pt x="22" y="109"/>
                  </a:lnTo>
                  <a:lnTo>
                    <a:pt x="14" y="104"/>
                  </a:lnTo>
                  <a:lnTo>
                    <a:pt x="10" y="98"/>
                  </a:lnTo>
                  <a:lnTo>
                    <a:pt x="10" y="98"/>
                  </a:lnTo>
                  <a:lnTo>
                    <a:pt x="5" y="91"/>
                  </a:lnTo>
                  <a:lnTo>
                    <a:pt x="2" y="80"/>
                  </a:lnTo>
                  <a:lnTo>
                    <a:pt x="0" y="69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0" y="43"/>
                  </a:lnTo>
                  <a:lnTo>
                    <a:pt x="1" y="33"/>
                  </a:lnTo>
                  <a:lnTo>
                    <a:pt x="4" y="24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13" y="9"/>
                  </a:lnTo>
                  <a:lnTo>
                    <a:pt x="20" y="3"/>
                  </a:lnTo>
                  <a:lnTo>
                    <a:pt x="29" y="1"/>
                  </a:lnTo>
                  <a:lnTo>
                    <a:pt x="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40">
              <a:extLst>
                <a:ext uri="{FF2B5EF4-FFF2-40B4-BE49-F238E27FC236}">
                  <a16:creationId xmlns:a16="http://schemas.microsoft.com/office/drawing/2014/main" id="{8F0962C2-2515-4C53-96FF-1424B1C999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6262" y="4592858"/>
              <a:ext cx="41275" cy="59267"/>
            </a:xfrm>
            <a:custGeom>
              <a:avLst/>
              <a:gdLst>
                <a:gd name="T0" fmla="*/ 39 w 77"/>
                <a:gd name="T1" fmla="*/ 16 h 113"/>
                <a:gd name="T2" fmla="*/ 30 w 77"/>
                <a:gd name="T3" fmla="*/ 18 h 113"/>
                <a:gd name="T4" fmla="*/ 24 w 77"/>
                <a:gd name="T5" fmla="*/ 25 h 113"/>
                <a:gd name="T6" fmla="*/ 22 w 77"/>
                <a:gd name="T7" fmla="*/ 31 h 113"/>
                <a:gd name="T8" fmla="*/ 19 w 77"/>
                <a:gd name="T9" fmla="*/ 55 h 113"/>
                <a:gd name="T10" fmla="*/ 21 w 77"/>
                <a:gd name="T11" fmla="*/ 75 h 113"/>
                <a:gd name="T12" fmla="*/ 24 w 77"/>
                <a:gd name="T13" fmla="*/ 87 h 113"/>
                <a:gd name="T14" fmla="*/ 27 w 77"/>
                <a:gd name="T15" fmla="*/ 91 h 113"/>
                <a:gd name="T16" fmla="*/ 34 w 77"/>
                <a:gd name="T17" fmla="*/ 96 h 113"/>
                <a:gd name="T18" fmla="*/ 39 w 77"/>
                <a:gd name="T19" fmla="*/ 97 h 113"/>
                <a:gd name="T20" fmla="*/ 47 w 77"/>
                <a:gd name="T21" fmla="*/ 95 h 113"/>
                <a:gd name="T22" fmla="*/ 53 w 77"/>
                <a:gd name="T23" fmla="*/ 88 h 113"/>
                <a:gd name="T24" fmla="*/ 56 w 77"/>
                <a:gd name="T25" fmla="*/ 82 h 113"/>
                <a:gd name="T26" fmla="*/ 58 w 77"/>
                <a:gd name="T27" fmla="*/ 57 h 113"/>
                <a:gd name="T28" fmla="*/ 57 w 77"/>
                <a:gd name="T29" fmla="*/ 39 h 113"/>
                <a:gd name="T30" fmla="*/ 53 w 77"/>
                <a:gd name="T31" fmla="*/ 25 h 113"/>
                <a:gd name="T32" fmla="*/ 51 w 77"/>
                <a:gd name="T33" fmla="*/ 22 h 113"/>
                <a:gd name="T34" fmla="*/ 44 w 77"/>
                <a:gd name="T35" fmla="*/ 16 h 113"/>
                <a:gd name="T36" fmla="*/ 39 w 77"/>
                <a:gd name="T37" fmla="*/ 0 h 113"/>
                <a:gd name="T38" fmla="*/ 48 w 77"/>
                <a:gd name="T39" fmla="*/ 0 h 113"/>
                <a:gd name="T40" fmla="*/ 63 w 77"/>
                <a:gd name="T41" fmla="*/ 7 h 113"/>
                <a:gd name="T42" fmla="*/ 68 w 77"/>
                <a:gd name="T43" fmla="*/ 13 h 113"/>
                <a:gd name="T44" fmla="*/ 75 w 77"/>
                <a:gd name="T45" fmla="*/ 31 h 113"/>
                <a:gd name="T46" fmla="*/ 77 w 77"/>
                <a:gd name="T47" fmla="*/ 57 h 113"/>
                <a:gd name="T48" fmla="*/ 77 w 77"/>
                <a:gd name="T49" fmla="*/ 69 h 113"/>
                <a:gd name="T50" fmla="*/ 72 w 77"/>
                <a:gd name="T51" fmla="*/ 88 h 113"/>
                <a:gd name="T52" fmla="*/ 70 w 77"/>
                <a:gd name="T53" fmla="*/ 96 h 113"/>
                <a:gd name="T54" fmla="*/ 57 w 77"/>
                <a:gd name="T55" fmla="*/ 108 h 113"/>
                <a:gd name="T56" fmla="*/ 39 w 77"/>
                <a:gd name="T57" fmla="*/ 113 h 113"/>
                <a:gd name="T58" fmla="*/ 29 w 77"/>
                <a:gd name="T59" fmla="*/ 112 h 113"/>
                <a:gd name="T60" fmla="*/ 15 w 77"/>
                <a:gd name="T61" fmla="*/ 105 h 113"/>
                <a:gd name="T62" fmla="*/ 10 w 77"/>
                <a:gd name="T63" fmla="*/ 99 h 113"/>
                <a:gd name="T64" fmla="*/ 3 w 77"/>
                <a:gd name="T65" fmla="*/ 81 h 113"/>
                <a:gd name="T66" fmla="*/ 0 w 77"/>
                <a:gd name="T67" fmla="*/ 55 h 113"/>
                <a:gd name="T68" fmla="*/ 0 w 77"/>
                <a:gd name="T69" fmla="*/ 43 h 113"/>
                <a:gd name="T70" fmla="*/ 4 w 77"/>
                <a:gd name="T71" fmla="*/ 24 h 113"/>
                <a:gd name="T72" fmla="*/ 7 w 77"/>
                <a:gd name="T73" fmla="*/ 17 h 113"/>
                <a:gd name="T74" fmla="*/ 21 w 77"/>
                <a:gd name="T75" fmla="*/ 4 h 113"/>
                <a:gd name="T76" fmla="*/ 39 w 77"/>
                <a:gd name="T77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7" h="113">
                  <a:moveTo>
                    <a:pt x="39" y="16"/>
                  </a:moveTo>
                  <a:lnTo>
                    <a:pt x="39" y="16"/>
                  </a:lnTo>
                  <a:lnTo>
                    <a:pt x="34" y="16"/>
                  </a:lnTo>
                  <a:lnTo>
                    <a:pt x="30" y="18"/>
                  </a:lnTo>
                  <a:lnTo>
                    <a:pt x="27" y="21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2" y="31"/>
                  </a:lnTo>
                  <a:lnTo>
                    <a:pt x="21" y="37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21" y="75"/>
                  </a:lnTo>
                  <a:lnTo>
                    <a:pt x="22" y="81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7" y="91"/>
                  </a:lnTo>
                  <a:lnTo>
                    <a:pt x="30" y="95"/>
                  </a:lnTo>
                  <a:lnTo>
                    <a:pt x="34" y="96"/>
                  </a:lnTo>
                  <a:lnTo>
                    <a:pt x="39" y="97"/>
                  </a:lnTo>
                  <a:lnTo>
                    <a:pt x="39" y="97"/>
                  </a:lnTo>
                  <a:lnTo>
                    <a:pt x="44" y="96"/>
                  </a:lnTo>
                  <a:lnTo>
                    <a:pt x="47" y="95"/>
                  </a:lnTo>
                  <a:lnTo>
                    <a:pt x="51" y="91"/>
                  </a:lnTo>
                  <a:lnTo>
                    <a:pt x="53" y="88"/>
                  </a:lnTo>
                  <a:lnTo>
                    <a:pt x="53" y="88"/>
                  </a:lnTo>
                  <a:lnTo>
                    <a:pt x="56" y="82"/>
                  </a:lnTo>
                  <a:lnTo>
                    <a:pt x="57" y="75"/>
                  </a:lnTo>
                  <a:lnTo>
                    <a:pt x="58" y="57"/>
                  </a:lnTo>
                  <a:lnTo>
                    <a:pt x="58" y="57"/>
                  </a:lnTo>
                  <a:lnTo>
                    <a:pt x="57" y="39"/>
                  </a:lnTo>
                  <a:lnTo>
                    <a:pt x="56" y="31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1" y="22"/>
                  </a:lnTo>
                  <a:lnTo>
                    <a:pt x="47" y="18"/>
                  </a:lnTo>
                  <a:lnTo>
                    <a:pt x="44" y="16"/>
                  </a:lnTo>
                  <a:lnTo>
                    <a:pt x="39" y="16"/>
                  </a:lnTo>
                  <a:close/>
                  <a:moveTo>
                    <a:pt x="39" y="0"/>
                  </a:moveTo>
                  <a:lnTo>
                    <a:pt x="39" y="0"/>
                  </a:lnTo>
                  <a:lnTo>
                    <a:pt x="48" y="0"/>
                  </a:lnTo>
                  <a:lnTo>
                    <a:pt x="56" y="4"/>
                  </a:lnTo>
                  <a:lnTo>
                    <a:pt x="63" y="7"/>
                  </a:lnTo>
                  <a:lnTo>
                    <a:pt x="68" y="13"/>
                  </a:lnTo>
                  <a:lnTo>
                    <a:pt x="68" y="13"/>
                  </a:lnTo>
                  <a:lnTo>
                    <a:pt x="72" y="22"/>
                  </a:lnTo>
                  <a:lnTo>
                    <a:pt x="75" y="31"/>
                  </a:lnTo>
                  <a:lnTo>
                    <a:pt x="77" y="43"/>
                  </a:lnTo>
                  <a:lnTo>
                    <a:pt x="77" y="57"/>
                  </a:lnTo>
                  <a:lnTo>
                    <a:pt x="77" y="57"/>
                  </a:lnTo>
                  <a:lnTo>
                    <a:pt x="77" y="69"/>
                  </a:lnTo>
                  <a:lnTo>
                    <a:pt x="75" y="79"/>
                  </a:lnTo>
                  <a:lnTo>
                    <a:pt x="72" y="88"/>
                  </a:lnTo>
                  <a:lnTo>
                    <a:pt x="70" y="96"/>
                  </a:lnTo>
                  <a:lnTo>
                    <a:pt x="70" y="96"/>
                  </a:lnTo>
                  <a:lnTo>
                    <a:pt x="64" y="103"/>
                  </a:lnTo>
                  <a:lnTo>
                    <a:pt x="57" y="108"/>
                  </a:lnTo>
                  <a:lnTo>
                    <a:pt x="48" y="112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29" y="112"/>
                  </a:lnTo>
                  <a:lnTo>
                    <a:pt x="22" y="109"/>
                  </a:lnTo>
                  <a:lnTo>
                    <a:pt x="15" y="105"/>
                  </a:lnTo>
                  <a:lnTo>
                    <a:pt x="10" y="99"/>
                  </a:lnTo>
                  <a:lnTo>
                    <a:pt x="10" y="99"/>
                  </a:lnTo>
                  <a:lnTo>
                    <a:pt x="5" y="91"/>
                  </a:lnTo>
                  <a:lnTo>
                    <a:pt x="3" y="81"/>
                  </a:lnTo>
                  <a:lnTo>
                    <a:pt x="0" y="70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0" y="43"/>
                  </a:lnTo>
                  <a:lnTo>
                    <a:pt x="1" y="33"/>
                  </a:lnTo>
                  <a:lnTo>
                    <a:pt x="4" y="24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13" y="10"/>
                  </a:lnTo>
                  <a:lnTo>
                    <a:pt x="21" y="4"/>
                  </a:lnTo>
                  <a:lnTo>
                    <a:pt x="29" y="1"/>
                  </a:lnTo>
                  <a:lnTo>
                    <a:pt x="3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4E44BC68-3E58-B238-A5FC-D91AD5119B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5937" y="4663767"/>
              <a:ext cx="41275" cy="60325"/>
            </a:xfrm>
            <a:custGeom>
              <a:avLst/>
              <a:gdLst>
                <a:gd name="T0" fmla="*/ 38 w 77"/>
                <a:gd name="T1" fmla="*/ 14 h 113"/>
                <a:gd name="T2" fmla="*/ 30 w 77"/>
                <a:gd name="T3" fmla="*/ 18 h 113"/>
                <a:gd name="T4" fmla="*/ 24 w 77"/>
                <a:gd name="T5" fmla="*/ 25 h 113"/>
                <a:gd name="T6" fmla="*/ 22 w 77"/>
                <a:gd name="T7" fmla="*/ 31 h 113"/>
                <a:gd name="T8" fmla="*/ 19 w 77"/>
                <a:gd name="T9" fmla="*/ 55 h 113"/>
                <a:gd name="T10" fmla="*/ 20 w 77"/>
                <a:gd name="T11" fmla="*/ 74 h 113"/>
                <a:gd name="T12" fmla="*/ 24 w 77"/>
                <a:gd name="T13" fmla="*/ 86 h 113"/>
                <a:gd name="T14" fmla="*/ 26 w 77"/>
                <a:gd name="T15" fmla="*/ 91 h 113"/>
                <a:gd name="T16" fmla="*/ 34 w 77"/>
                <a:gd name="T17" fmla="*/ 96 h 113"/>
                <a:gd name="T18" fmla="*/ 38 w 77"/>
                <a:gd name="T19" fmla="*/ 97 h 113"/>
                <a:gd name="T20" fmla="*/ 47 w 77"/>
                <a:gd name="T21" fmla="*/ 95 h 113"/>
                <a:gd name="T22" fmla="*/ 53 w 77"/>
                <a:gd name="T23" fmla="*/ 86 h 113"/>
                <a:gd name="T24" fmla="*/ 55 w 77"/>
                <a:gd name="T25" fmla="*/ 81 h 113"/>
                <a:gd name="T26" fmla="*/ 58 w 77"/>
                <a:gd name="T27" fmla="*/ 56 h 113"/>
                <a:gd name="T28" fmla="*/ 57 w 77"/>
                <a:gd name="T29" fmla="*/ 38 h 113"/>
                <a:gd name="T30" fmla="*/ 53 w 77"/>
                <a:gd name="T31" fmla="*/ 25 h 113"/>
                <a:gd name="T32" fmla="*/ 51 w 77"/>
                <a:gd name="T33" fmla="*/ 20 h 113"/>
                <a:gd name="T34" fmla="*/ 43 w 77"/>
                <a:gd name="T35" fmla="*/ 15 h 113"/>
                <a:gd name="T36" fmla="*/ 38 w 77"/>
                <a:gd name="T37" fmla="*/ 0 h 113"/>
                <a:gd name="T38" fmla="*/ 47 w 77"/>
                <a:gd name="T39" fmla="*/ 0 h 113"/>
                <a:gd name="T40" fmla="*/ 63 w 77"/>
                <a:gd name="T41" fmla="*/ 7 h 113"/>
                <a:gd name="T42" fmla="*/ 67 w 77"/>
                <a:gd name="T43" fmla="*/ 13 h 113"/>
                <a:gd name="T44" fmla="*/ 75 w 77"/>
                <a:gd name="T45" fmla="*/ 31 h 113"/>
                <a:gd name="T46" fmla="*/ 77 w 77"/>
                <a:gd name="T47" fmla="*/ 56 h 113"/>
                <a:gd name="T48" fmla="*/ 76 w 77"/>
                <a:gd name="T49" fmla="*/ 68 h 113"/>
                <a:gd name="T50" fmla="*/ 72 w 77"/>
                <a:gd name="T51" fmla="*/ 87 h 113"/>
                <a:gd name="T52" fmla="*/ 70 w 77"/>
                <a:gd name="T53" fmla="*/ 95 h 113"/>
                <a:gd name="T54" fmla="*/ 57 w 77"/>
                <a:gd name="T55" fmla="*/ 108 h 113"/>
                <a:gd name="T56" fmla="*/ 38 w 77"/>
                <a:gd name="T57" fmla="*/ 113 h 113"/>
                <a:gd name="T58" fmla="*/ 29 w 77"/>
                <a:gd name="T59" fmla="*/ 111 h 113"/>
                <a:gd name="T60" fmla="*/ 14 w 77"/>
                <a:gd name="T61" fmla="*/ 104 h 113"/>
                <a:gd name="T62" fmla="*/ 10 w 77"/>
                <a:gd name="T63" fmla="*/ 98 h 113"/>
                <a:gd name="T64" fmla="*/ 2 w 77"/>
                <a:gd name="T65" fmla="*/ 80 h 113"/>
                <a:gd name="T66" fmla="*/ 0 w 77"/>
                <a:gd name="T67" fmla="*/ 55 h 113"/>
                <a:gd name="T68" fmla="*/ 0 w 77"/>
                <a:gd name="T69" fmla="*/ 43 h 113"/>
                <a:gd name="T70" fmla="*/ 4 w 77"/>
                <a:gd name="T71" fmla="*/ 24 h 113"/>
                <a:gd name="T72" fmla="*/ 7 w 77"/>
                <a:gd name="T73" fmla="*/ 17 h 113"/>
                <a:gd name="T74" fmla="*/ 20 w 77"/>
                <a:gd name="T75" fmla="*/ 3 h 113"/>
                <a:gd name="T76" fmla="*/ 38 w 77"/>
                <a:gd name="T77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7" h="113">
                  <a:moveTo>
                    <a:pt x="38" y="14"/>
                  </a:moveTo>
                  <a:lnTo>
                    <a:pt x="38" y="14"/>
                  </a:lnTo>
                  <a:lnTo>
                    <a:pt x="34" y="15"/>
                  </a:lnTo>
                  <a:lnTo>
                    <a:pt x="30" y="18"/>
                  </a:lnTo>
                  <a:lnTo>
                    <a:pt x="26" y="20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2" y="31"/>
                  </a:lnTo>
                  <a:lnTo>
                    <a:pt x="20" y="37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20" y="74"/>
                  </a:lnTo>
                  <a:lnTo>
                    <a:pt x="22" y="80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6" y="91"/>
                  </a:lnTo>
                  <a:lnTo>
                    <a:pt x="30" y="95"/>
                  </a:lnTo>
                  <a:lnTo>
                    <a:pt x="34" y="96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43" y="96"/>
                  </a:lnTo>
                  <a:lnTo>
                    <a:pt x="47" y="95"/>
                  </a:lnTo>
                  <a:lnTo>
                    <a:pt x="51" y="91"/>
                  </a:lnTo>
                  <a:lnTo>
                    <a:pt x="53" y="86"/>
                  </a:lnTo>
                  <a:lnTo>
                    <a:pt x="53" y="86"/>
                  </a:lnTo>
                  <a:lnTo>
                    <a:pt x="55" y="81"/>
                  </a:lnTo>
                  <a:lnTo>
                    <a:pt x="57" y="74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57" y="38"/>
                  </a:lnTo>
                  <a:lnTo>
                    <a:pt x="55" y="31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1" y="20"/>
                  </a:lnTo>
                  <a:lnTo>
                    <a:pt x="47" y="18"/>
                  </a:lnTo>
                  <a:lnTo>
                    <a:pt x="43" y="15"/>
                  </a:lnTo>
                  <a:lnTo>
                    <a:pt x="38" y="14"/>
                  </a:lnTo>
                  <a:close/>
                  <a:moveTo>
                    <a:pt x="38" y="0"/>
                  </a:moveTo>
                  <a:lnTo>
                    <a:pt x="38" y="0"/>
                  </a:lnTo>
                  <a:lnTo>
                    <a:pt x="47" y="0"/>
                  </a:lnTo>
                  <a:lnTo>
                    <a:pt x="55" y="2"/>
                  </a:lnTo>
                  <a:lnTo>
                    <a:pt x="63" y="7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71" y="21"/>
                  </a:lnTo>
                  <a:lnTo>
                    <a:pt x="75" y="31"/>
                  </a:lnTo>
                  <a:lnTo>
                    <a:pt x="76" y="42"/>
                  </a:lnTo>
                  <a:lnTo>
                    <a:pt x="77" y="56"/>
                  </a:lnTo>
                  <a:lnTo>
                    <a:pt x="77" y="56"/>
                  </a:lnTo>
                  <a:lnTo>
                    <a:pt x="76" y="68"/>
                  </a:lnTo>
                  <a:lnTo>
                    <a:pt x="75" y="79"/>
                  </a:lnTo>
                  <a:lnTo>
                    <a:pt x="72" y="87"/>
                  </a:lnTo>
                  <a:lnTo>
                    <a:pt x="70" y="95"/>
                  </a:lnTo>
                  <a:lnTo>
                    <a:pt x="70" y="95"/>
                  </a:lnTo>
                  <a:lnTo>
                    <a:pt x="64" y="103"/>
                  </a:lnTo>
                  <a:lnTo>
                    <a:pt x="57" y="108"/>
                  </a:lnTo>
                  <a:lnTo>
                    <a:pt x="48" y="111"/>
                  </a:lnTo>
                  <a:lnTo>
                    <a:pt x="38" y="113"/>
                  </a:lnTo>
                  <a:lnTo>
                    <a:pt x="38" y="113"/>
                  </a:lnTo>
                  <a:lnTo>
                    <a:pt x="29" y="111"/>
                  </a:lnTo>
                  <a:lnTo>
                    <a:pt x="22" y="109"/>
                  </a:lnTo>
                  <a:lnTo>
                    <a:pt x="14" y="104"/>
                  </a:lnTo>
                  <a:lnTo>
                    <a:pt x="10" y="98"/>
                  </a:lnTo>
                  <a:lnTo>
                    <a:pt x="10" y="98"/>
                  </a:lnTo>
                  <a:lnTo>
                    <a:pt x="5" y="90"/>
                  </a:lnTo>
                  <a:lnTo>
                    <a:pt x="2" y="80"/>
                  </a:lnTo>
                  <a:lnTo>
                    <a:pt x="0" y="69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0" y="43"/>
                  </a:lnTo>
                  <a:lnTo>
                    <a:pt x="1" y="32"/>
                  </a:lnTo>
                  <a:lnTo>
                    <a:pt x="4" y="24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13" y="9"/>
                  </a:lnTo>
                  <a:lnTo>
                    <a:pt x="20" y="3"/>
                  </a:lnTo>
                  <a:lnTo>
                    <a:pt x="29" y="0"/>
                  </a:lnTo>
                  <a:lnTo>
                    <a:pt x="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46">
              <a:extLst>
                <a:ext uri="{FF2B5EF4-FFF2-40B4-BE49-F238E27FC236}">
                  <a16:creationId xmlns:a16="http://schemas.microsoft.com/office/drawing/2014/main" id="{BD7E5C61-2B9B-AECE-693E-7A0005379E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5654" y="4589683"/>
              <a:ext cx="107950" cy="139700"/>
            </a:xfrm>
            <a:custGeom>
              <a:avLst/>
              <a:gdLst>
                <a:gd name="T0" fmla="*/ 203 w 203"/>
                <a:gd name="T1" fmla="*/ 41 h 264"/>
                <a:gd name="T2" fmla="*/ 203 w 203"/>
                <a:gd name="T3" fmla="*/ 149 h 264"/>
                <a:gd name="T4" fmla="*/ 203 w 203"/>
                <a:gd name="T5" fmla="*/ 149 h 264"/>
                <a:gd name="T6" fmla="*/ 203 w 203"/>
                <a:gd name="T7" fmla="*/ 157 h 264"/>
                <a:gd name="T8" fmla="*/ 202 w 203"/>
                <a:gd name="T9" fmla="*/ 165 h 264"/>
                <a:gd name="T10" fmla="*/ 199 w 203"/>
                <a:gd name="T11" fmla="*/ 173 h 264"/>
                <a:gd name="T12" fmla="*/ 196 w 203"/>
                <a:gd name="T13" fmla="*/ 180 h 264"/>
                <a:gd name="T14" fmla="*/ 192 w 203"/>
                <a:gd name="T15" fmla="*/ 186 h 264"/>
                <a:gd name="T16" fmla="*/ 187 w 203"/>
                <a:gd name="T17" fmla="*/ 193 h 264"/>
                <a:gd name="T18" fmla="*/ 183 w 203"/>
                <a:gd name="T19" fmla="*/ 199 h 264"/>
                <a:gd name="T20" fmla="*/ 177 w 203"/>
                <a:gd name="T21" fmla="*/ 204 h 264"/>
                <a:gd name="T22" fmla="*/ 101 w 203"/>
                <a:gd name="T23" fmla="*/ 264 h 264"/>
                <a:gd name="T24" fmla="*/ 26 w 203"/>
                <a:gd name="T25" fmla="*/ 204 h 264"/>
                <a:gd name="T26" fmla="*/ 26 w 203"/>
                <a:gd name="T27" fmla="*/ 204 h 264"/>
                <a:gd name="T28" fmla="*/ 20 w 203"/>
                <a:gd name="T29" fmla="*/ 199 h 264"/>
                <a:gd name="T30" fmla="*/ 15 w 203"/>
                <a:gd name="T31" fmla="*/ 193 h 264"/>
                <a:gd name="T32" fmla="*/ 10 w 203"/>
                <a:gd name="T33" fmla="*/ 186 h 264"/>
                <a:gd name="T34" fmla="*/ 7 w 203"/>
                <a:gd name="T35" fmla="*/ 180 h 264"/>
                <a:gd name="T36" fmla="*/ 3 w 203"/>
                <a:gd name="T37" fmla="*/ 173 h 264"/>
                <a:gd name="T38" fmla="*/ 1 w 203"/>
                <a:gd name="T39" fmla="*/ 165 h 264"/>
                <a:gd name="T40" fmla="*/ 0 w 203"/>
                <a:gd name="T41" fmla="*/ 157 h 264"/>
                <a:gd name="T42" fmla="*/ 0 w 203"/>
                <a:gd name="T43" fmla="*/ 149 h 264"/>
                <a:gd name="T44" fmla="*/ 0 w 203"/>
                <a:gd name="T45" fmla="*/ 41 h 264"/>
                <a:gd name="T46" fmla="*/ 0 w 203"/>
                <a:gd name="T47" fmla="*/ 41 h 264"/>
                <a:gd name="T48" fmla="*/ 9 w 203"/>
                <a:gd name="T49" fmla="*/ 41 h 264"/>
                <a:gd name="T50" fmla="*/ 21 w 203"/>
                <a:gd name="T51" fmla="*/ 40 h 264"/>
                <a:gd name="T52" fmla="*/ 36 w 203"/>
                <a:gd name="T53" fmla="*/ 37 h 264"/>
                <a:gd name="T54" fmla="*/ 51 w 203"/>
                <a:gd name="T55" fmla="*/ 33 h 264"/>
                <a:gd name="T56" fmla="*/ 69 w 203"/>
                <a:gd name="T57" fmla="*/ 25 h 264"/>
                <a:gd name="T58" fmla="*/ 78 w 203"/>
                <a:gd name="T59" fmla="*/ 21 h 264"/>
                <a:gd name="T60" fmla="*/ 86 w 203"/>
                <a:gd name="T61" fmla="*/ 15 h 264"/>
                <a:gd name="T62" fmla="*/ 93 w 203"/>
                <a:gd name="T63" fmla="*/ 9 h 264"/>
                <a:gd name="T64" fmla="*/ 101 w 203"/>
                <a:gd name="T65" fmla="*/ 0 h 264"/>
                <a:gd name="T66" fmla="*/ 101 w 203"/>
                <a:gd name="T67" fmla="*/ 0 h 264"/>
                <a:gd name="T68" fmla="*/ 109 w 203"/>
                <a:gd name="T69" fmla="*/ 9 h 264"/>
                <a:gd name="T70" fmla="*/ 116 w 203"/>
                <a:gd name="T71" fmla="*/ 15 h 264"/>
                <a:gd name="T72" fmla="*/ 125 w 203"/>
                <a:gd name="T73" fmla="*/ 21 h 264"/>
                <a:gd name="T74" fmla="*/ 133 w 203"/>
                <a:gd name="T75" fmla="*/ 25 h 264"/>
                <a:gd name="T76" fmla="*/ 150 w 203"/>
                <a:gd name="T77" fmla="*/ 33 h 264"/>
                <a:gd name="T78" fmla="*/ 167 w 203"/>
                <a:gd name="T79" fmla="*/ 37 h 264"/>
                <a:gd name="T80" fmla="*/ 181 w 203"/>
                <a:gd name="T81" fmla="*/ 40 h 264"/>
                <a:gd name="T82" fmla="*/ 192 w 203"/>
                <a:gd name="T83" fmla="*/ 41 h 264"/>
                <a:gd name="T84" fmla="*/ 203 w 203"/>
                <a:gd name="T85" fmla="*/ 41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3" h="264">
                  <a:moveTo>
                    <a:pt x="203" y="41"/>
                  </a:moveTo>
                  <a:lnTo>
                    <a:pt x="203" y="149"/>
                  </a:lnTo>
                  <a:lnTo>
                    <a:pt x="203" y="149"/>
                  </a:lnTo>
                  <a:lnTo>
                    <a:pt x="203" y="157"/>
                  </a:lnTo>
                  <a:lnTo>
                    <a:pt x="202" y="165"/>
                  </a:lnTo>
                  <a:lnTo>
                    <a:pt x="199" y="173"/>
                  </a:lnTo>
                  <a:lnTo>
                    <a:pt x="196" y="180"/>
                  </a:lnTo>
                  <a:lnTo>
                    <a:pt x="192" y="186"/>
                  </a:lnTo>
                  <a:lnTo>
                    <a:pt x="187" y="193"/>
                  </a:lnTo>
                  <a:lnTo>
                    <a:pt x="183" y="199"/>
                  </a:lnTo>
                  <a:lnTo>
                    <a:pt x="177" y="204"/>
                  </a:lnTo>
                  <a:lnTo>
                    <a:pt x="101" y="264"/>
                  </a:lnTo>
                  <a:lnTo>
                    <a:pt x="26" y="204"/>
                  </a:lnTo>
                  <a:lnTo>
                    <a:pt x="26" y="204"/>
                  </a:lnTo>
                  <a:lnTo>
                    <a:pt x="20" y="199"/>
                  </a:lnTo>
                  <a:lnTo>
                    <a:pt x="15" y="193"/>
                  </a:lnTo>
                  <a:lnTo>
                    <a:pt x="10" y="186"/>
                  </a:lnTo>
                  <a:lnTo>
                    <a:pt x="7" y="180"/>
                  </a:lnTo>
                  <a:lnTo>
                    <a:pt x="3" y="173"/>
                  </a:lnTo>
                  <a:lnTo>
                    <a:pt x="1" y="165"/>
                  </a:lnTo>
                  <a:lnTo>
                    <a:pt x="0" y="157"/>
                  </a:lnTo>
                  <a:lnTo>
                    <a:pt x="0" y="149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9" y="41"/>
                  </a:lnTo>
                  <a:lnTo>
                    <a:pt x="21" y="40"/>
                  </a:lnTo>
                  <a:lnTo>
                    <a:pt x="36" y="37"/>
                  </a:lnTo>
                  <a:lnTo>
                    <a:pt x="51" y="33"/>
                  </a:lnTo>
                  <a:lnTo>
                    <a:pt x="69" y="25"/>
                  </a:lnTo>
                  <a:lnTo>
                    <a:pt x="78" y="21"/>
                  </a:lnTo>
                  <a:lnTo>
                    <a:pt x="86" y="15"/>
                  </a:lnTo>
                  <a:lnTo>
                    <a:pt x="93" y="9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09" y="9"/>
                  </a:lnTo>
                  <a:lnTo>
                    <a:pt x="116" y="15"/>
                  </a:lnTo>
                  <a:lnTo>
                    <a:pt x="125" y="21"/>
                  </a:lnTo>
                  <a:lnTo>
                    <a:pt x="133" y="25"/>
                  </a:lnTo>
                  <a:lnTo>
                    <a:pt x="150" y="33"/>
                  </a:lnTo>
                  <a:lnTo>
                    <a:pt x="167" y="37"/>
                  </a:lnTo>
                  <a:lnTo>
                    <a:pt x="181" y="40"/>
                  </a:lnTo>
                  <a:lnTo>
                    <a:pt x="192" y="41"/>
                  </a:lnTo>
                  <a:lnTo>
                    <a:pt x="203" y="41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31AC0BCA-7EFE-7E37-FEC8-8774F10E4A45}"/>
              </a:ext>
            </a:extLst>
          </p:cNvPr>
          <p:cNvGrpSpPr/>
          <p:nvPr/>
        </p:nvGrpSpPr>
        <p:grpSpPr>
          <a:xfrm>
            <a:off x="7743296" y="4443633"/>
            <a:ext cx="270934" cy="269875"/>
            <a:chOff x="6085945" y="4443633"/>
            <a:chExt cx="270934" cy="269875"/>
          </a:xfrm>
          <a:solidFill>
            <a:schemeClr val="accent5"/>
          </a:solidFill>
        </p:grpSpPr>
        <p:sp>
          <p:nvSpPr>
            <p:cNvPr id="59" name="Rectangle 48">
              <a:extLst>
                <a:ext uri="{FF2B5EF4-FFF2-40B4-BE49-F238E27FC236}">
                  <a16:creationId xmlns:a16="http://schemas.microsoft.com/office/drawing/2014/main" id="{FEE219B6-5A56-59B3-D357-30C1919079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8454" y="4443633"/>
              <a:ext cx="98425" cy="269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49">
              <a:extLst>
                <a:ext uri="{FF2B5EF4-FFF2-40B4-BE49-F238E27FC236}">
                  <a16:creationId xmlns:a16="http://schemas.microsoft.com/office/drawing/2014/main" id="{8AC39FD7-05BF-D082-B3F8-6B53B407A0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5945" y="4443633"/>
              <a:ext cx="135467" cy="269875"/>
            </a:xfrm>
            <a:custGeom>
              <a:avLst/>
              <a:gdLst>
                <a:gd name="T0" fmla="*/ 256 w 256"/>
                <a:gd name="T1" fmla="*/ 291 h 510"/>
                <a:gd name="T2" fmla="*/ 256 w 256"/>
                <a:gd name="T3" fmla="*/ 221 h 510"/>
                <a:gd name="T4" fmla="*/ 164 w 256"/>
                <a:gd name="T5" fmla="*/ 221 h 510"/>
                <a:gd name="T6" fmla="*/ 164 w 256"/>
                <a:gd name="T7" fmla="*/ 105 h 510"/>
                <a:gd name="T8" fmla="*/ 256 w 256"/>
                <a:gd name="T9" fmla="*/ 105 h 510"/>
                <a:gd name="T10" fmla="*/ 256 w 256"/>
                <a:gd name="T11" fmla="*/ 0 h 510"/>
                <a:gd name="T12" fmla="*/ 0 w 256"/>
                <a:gd name="T13" fmla="*/ 0 h 510"/>
                <a:gd name="T14" fmla="*/ 0 w 256"/>
                <a:gd name="T15" fmla="*/ 510 h 510"/>
                <a:gd name="T16" fmla="*/ 256 w 256"/>
                <a:gd name="T17" fmla="*/ 510 h 510"/>
                <a:gd name="T18" fmla="*/ 256 w 256"/>
                <a:gd name="T19" fmla="*/ 406 h 510"/>
                <a:gd name="T20" fmla="*/ 164 w 256"/>
                <a:gd name="T21" fmla="*/ 406 h 510"/>
                <a:gd name="T22" fmla="*/ 164 w 256"/>
                <a:gd name="T23" fmla="*/ 291 h 510"/>
                <a:gd name="T24" fmla="*/ 256 w 256"/>
                <a:gd name="T25" fmla="*/ 291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6" h="510">
                  <a:moveTo>
                    <a:pt x="256" y="291"/>
                  </a:moveTo>
                  <a:lnTo>
                    <a:pt x="256" y="221"/>
                  </a:lnTo>
                  <a:lnTo>
                    <a:pt x="164" y="221"/>
                  </a:lnTo>
                  <a:lnTo>
                    <a:pt x="164" y="105"/>
                  </a:lnTo>
                  <a:lnTo>
                    <a:pt x="256" y="105"/>
                  </a:lnTo>
                  <a:lnTo>
                    <a:pt x="256" y="0"/>
                  </a:lnTo>
                  <a:lnTo>
                    <a:pt x="0" y="0"/>
                  </a:lnTo>
                  <a:lnTo>
                    <a:pt x="0" y="510"/>
                  </a:lnTo>
                  <a:lnTo>
                    <a:pt x="256" y="510"/>
                  </a:lnTo>
                  <a:lnTo>
                    <a:pt x="256" y="406"/>
                  </a:lnTo>
                  <a:lnTo>
                    <a:pt x="164" y="406"/>
                  </a:lnTo>
                  <a:lnTo>
                    <a:pt x="164" y="291"/>
                  </a:lnTo>
                  <a:lnTo>
                    <a:pt x="256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Rectangle 50">
              <a:extLst>
                <a:ext uri="{FF2B5EF4-FFF2-40B4-BE49-F238E27FC236}">
                  <a16:creationId xmlns:a16="http://schemas.microsoft.com/office/drawing/2014/main" id="{72BB485D-252F-86E1-0A1A-A3CA1D8E1F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7070" y="4511367"/>
              <a:ext cx="61383" cy="3704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Rectangle 51">
              <a:extLst>
                <a:ext uri="{FF2B5EF4-FFF2-40B4-BE49-F238E27FC236}">
                  <a16:creationId xmlns:a16="http://schemas.microsoft.com/office/drawing/2014/main" id="{B325516D-0321-2F0C-797D-442F89A525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7070" y="4608733"/>
              <a:ext cx="61383" cy="3704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3" name="Rectangle 52">
            <a:extLst>
              <a:ext uri="{FF2B5EF4-FFF2-40B4-BE49-F238E27FC236}">
                <a16:creationId xmlns:a16="http://schemas.microsoft.com/office/drawing/2014/main" id="{5ED05C6E-C842-476B-C2A7-62467B44C9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338" y="5620500"/>
            <a:ext cx="903817" cy="1905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4" name="Rectangle 53">
            <a:extLst>
              <a:ext uri="{FF2B5EF4-FFF2-40B4-BE49-F238E27FC236}">
                <a16:creationId xmlns:a16="http://schemas.microsoft.com/office/drawing/2014/main" id="{D757EDAC-1913-6623-44A6-7368083BF8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3863" y="5620500"/>
            <a:ext cx="902758" cy="1905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5" name="Rectangle 54">
            <a:extLst>
              <a:ext uri="{FF2B5EF4-FFF2-40B4-BE49-F238E27FC236}">
                <a16:creationId xmlns:a16="http://schemas.microsoft.com/office/drawing/2014/main" id="{75265075-6C01-5019-40E7-F153AD3833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87871" y="5620500"/>
            <a:ext cx="902758" cy="1905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6" name="Rectangle 55">
            <a:extLst>
              <a:ext uri="{FF2B5EF4-FFF2-40B4-BE49-F238E27FC236}">
                <a16:creationId xmlns:a16="http://schemas.microsoft.com/office/drawing/2014/main" id="{03A8FBA0-1F8E-E1CD-C9CA-3A84195F17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338" y="5906250"/>
            <a:ext cx="903817" cy="1905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7" name="Rectangle 56">
            <a:extLst>
              <a:ext uri="{FF2B5EF4-FFF2-40B4-BE49-F238E27FC236}">
                <a16:creationId xmlns:a16="http://schemas.microsoft.com/office/drawing/2014/main" id="{FE1795F0-C847-8CFA-A29C-5508594854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3863" y="5906250"/>
            <a:ext cx="902758" cy="1905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8" name="Rectangle 57">
            <a:extLst>
              <a:ext uri="{FF2B5EF4-FFF2-40B4-BE49-F238E27FC236}">
                <a16:creationId xmlns:a16="http://schemas.microsoft.com/office/drawing/2014/main" id="{DEA7B529-5DB9-8044-4D9D-06EFC1CF4B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87871" y="5906250"/>
            <a:ext cx="902758" cy="1905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B0EB31B2-9787-AB1C-31B6-08155186056D}"/>
              </a:ext>
            </a:extLst>
          </p:cNvPr>
          <p:cNvSpPr txBox="1"/>
          <p:nvPr/>
        </p:nvSpPr>
        <p:spPr>
          <a:xfrm>
            <a:off x="2032851" y="1746000"/>
            <a:ext cx="2672499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Zusammenarbeit in der Versorgung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53129F91-C359-1BC9-5FC8-1177BBA373D8}"/>
              </a:ext>
            </a:extLst>
          </p:cNvPr>
          <p:cNvSpPr txBox="1"/>
          <p:nvPr/>
        </p:nvSpPr>
        <p:spPr>
          <a:xfrm>
            <a:off x="8335350" y="1746000"/>
            <a:ext cx="314545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inbindung der Patientinnen &amp; Patienten</a:t>
            </a: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47C12DDA-C0EB-FDF6-18A0-2089755550E8}"/>
              </a:ext>
            </a:extLst>
          </p:cNvPr>
          <p:cNvSpPr txBox="1">
            <a:spLocks/>
          </p:cNvSpPr>
          <p:nvPr/>
        </p:nvSpPr>
        <p:spPr>
          <a:xfrm>
            <a:off x="2664053" y="2739615"/>
            <a:ext cx="1044000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Ärzteportal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30AB9400-5B56-C97B-EBB0-ED8CE8CF0992}"/>
              </a:ext>
            </a:extLst>
          </p:cNvPr>
          <p:cNvSpPr txBox="1">
            <a:spLocks/>
          </p:cNvSpPr>
          <p:nvPr/>
        </p:nvSpPr>
        <p:spPr>
          <a:xfrm>
            <a:off x="6410026" y="2739615"/>
            <a:ext cx="1044000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rtual Visit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F8E1649C-86F7-43F6-A08C-1220FF75CE36}"/>
              </a:ext>
            </a:extLst>
          </p:cNvPr>
          <p:cNvSpPr txBox="1">
            <a:spLocks/>
          </p:cNvSpPr>
          <p:nvPr/>
        </p:nvSpPr>
        <p:spPr>
          <a:xfrm>
            <a:off x="2514481" y="3660576"/>
            <a:ext cx="1343144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>
                <a:solidFill>
                  <a:srgbClr val="000000"/>
                </a:solidFill>
                <a:latin typeface="Calibri"/>
              </a:rPr>
              <a:t>Klinische K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ferenzen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6A4C33D9-0A34-5A6A-5841-0E1B40296D8B}"/>
              </a:ext>
            </a:extLst>
          </p:cNvPr>
          <p:cNvSpPr txBox="1">
            <a:spLocks/>
          </p:cNvSpPr>
          <p:nvPr/>
        </p:nvSpPr>
        <p:spPr>
          <a:xfrm>
            <a:off x="4549325" y="3660576"/>
            <a:ext cx="1044000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lekonsultation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B49696C7-022C-16F7-E8B4-1A36C186667F}"/>
              </a:ext>
            </a:extLst>
          </p:cNvPr>
          <p:cNvSpPr txBox="1">
            <a:spLocks/>
          </p:cNvSpPr>
          <p:nvPr/>
        </p:nvSpPr>
        <p:spPr>
          <a:xfrm>
            <a:off x="9460201" y="3660576"/>
            <a:ext cx="1044000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tientenportal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3D20726C-F454-A9F5-F77D-0D4FECD8F396}"/>
              </a:ext>
            </a:extLst>
          </p:cNvPr>
          <p:cNvSpPr txBox="1">
            <a:spLocks/>
          </p:cNvSpPr>
          <p:nvPr/>
        </p:nvSpPr>
        <p:spPr>
          <a:xfrm>
            <a:off x="540000" y="2750528"/>
            <a:ext cx="1201209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wendungen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B547E999-D95F-77E1-8C61-C6683D629080}"/>
              </a:ext>
            </a:extLst>
          </p:cNvPr>
          <p:cNvSpPr txBox="1"/>
          <p:nvPr/>
        </p:nvSpPr>
        <p:spPr>
          <a:xfrm>
            <a:off x="6877351" y="4788000"/>
            <a:ext cx="61200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ster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tient Index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54AA7889-42FD-7091-A7FE-2E1EFE4FEFFA}"/>
              </a:ext>
            </a:extLst>
          </p:cNvPr>
          <p:cNvSpPr txBox="1"/>
          <p:nvPr/>
        </p:nvSpPr>
        <p:spPr>
          <a:xfrm>
            <a:off x="7579351" y="4788000"/>
            <a:ext cx="61200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aptor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t</a:t>
            </a: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F3641332-95D0-AD0C-F91B-AAF93F04A49C}"/>
              </a:ext>
            </a:extLst>
          </p:cNvPr>
          <p:cNvSpPr txBox="1"/>
          <p:nvPr/>
        </p:nvSpPr>
        <p:spPr>
          <a:xfrm>
            <a:off x="8263351" y="4788000"/>
            <a:ext cx="61200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rminologie Server</a:t>
            </a:r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F3F8192A-13B1-4F58-C0E6-C4811176CAF2}"/>
              </a:ext>
            </a:extLst>
          </p:cNvPr>
          <p:cNvSpPr txBox="1"/>
          <p:nvPr/>
        </p:nvSpPr>
        <p:spPr>
          <a:xfrm>
            <a:off x="8965351" y="4788000"/>
            <a:ext cx="612000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tientenakte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C5A9B9D6-73B9-48AF-687B-DA8BE6EC3E3E}"/>
              </a:ext>
            </a:extLst>
          </p:cNvPr>
          <p:cNvSpPr txBox="1">
            <a:spLocks/>
          </p:cNvSpPr>
          <p:nvPr/>
        </p:nvSpPr>
        <p:spPr>
          <a:xfrm>
            <a:off x="3612451" y="5718565"/>
            <a:ext cx="1665987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imärsysteme</a:t>
            </a:r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2E459554-FF4D-5AC5-301C-D236F76A29D0}"/>
              </a:ext>
            </a:extLst>
          </p:cNvPr>
          <p:cNvSpPr txBox="1"/>
          <p:nvPr/>
        </p:nvSpPr>
        <p:spPr>
          <a:xfrm>
            <a:off x="6865242" y="5634000"/>
            <a:ext cx="720000" cy="16920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NA</a:t>
            </a:r>
          </a:p>
        </p:txBody>
      </p:sp>
      <p:sp>
        <p:nvSpPr>
          <p:cNvPr id="84" name="Textfeld 83">
            <a:extLst>
              <a:ext uri="{FF2B5EF4-FFF2-40B4-BE49-F238E27FC236}">
                <a16:creationId xmlns:a16="http://schemas.microsoft.com/office/drawing/2014/main" id="{01105C0A-FB20-EB26-F9F1-A9880DBDBA85}"/>
              </a:ext>
            </a:extLst>
          </p:cNvPr>
          <p:cNvSpPr txBox="1"/>
          <p:nvPr/>
        </p:nvSpPr>
        <p:spPr>
          <a:xfrm>
            <a:off x="7872246" y="5634000"/>
            <a:ext cx="720000" cy="16920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S/EMR</a:t>
            </a:r>
          </a:p>
        </p:txBody>
      </p:sp>
      <p:sp>
        <p:nvSpPr>
          <p:cNvPr id="85" name="Textfeld 84">
            <a:extLst>
              <a:ext uri="{FF2B5EF4-FFF2-40B4-BE49-F238E27FC236}">
                <a16:creationId xmlns:a16="http://schemas.microsoft.com/office/drawing/2014/main" id="{71F7CA31-4FAB-7483-47D1-37F14A145B5E}"/>
              </a:ext>
            </a:extLst>
          </p:cNvPr>
          <p:cNvSpPr txBox="1"/>
          <p:nvPr/>
        </p:nvSpPr>
        <p:spPr>
          <a:xfrm>
            <a:off x="8879250" y="5634000"/>
            <a:ext cx="720000" cy="16920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S</a:t>
            </a:r>
          </a:p>
        </p:txBody>
      </p:sp>
      <p:sp>
        <p:nvSpPr>
          <p:cNvPr id="86" name="Textfeld 85">
            <a:extLst>
              <a:ext uri="{FF2B5EF4-FFF2-40B4-BE49-F238E27FC236}">
                <a16:creationId xmlns:a16="http://schemas.microsoft.com/office/drawing/2014/main" id="{565BEC68-45BA-CB44-0193-2462D370FE47}"/>
              </a:ext>
            </a:extLst>
          </p:cNvPr>
          <p:cNvSpPr txBox="1"/>
          <p:nvPr/>
        </p:nvSpPr>
        <p:spPr>
          <a:xfrm>
            <a:off x="6865242" y="5922000"/>
            <a:ext cx="720000" cy="16920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S</a:t>
            </a:r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E73E217E-8F5C-F919-26EE-9EA476B2C664}"/>
              </a:ext>
            </a:extLst>
          </p:cNvPr>
          <p:cNvSpPr txBox="1"/>
          <p:nvPr/>
        </p:nvSpPr>
        <p:spPr>
          <a:xfrm>
            <a:off x="7872246" y="5922000"/>
            <a:ext cx="720000" cy="16920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CS</a:t>
            </a:r>
          </a:p>
        </p:txBody>
      </p:sp>
      <p:sp>
        <p:nvSpPr>
          <p:cNvPr id="88" name="Textfeld 87">
            <a:extLst>
              <a:ext uri="{FF2B5EF4-FFF2-40B4-BE49-F238E27FC236}">
                <a16:creationId xmlns:a16="http://schemas.microsoft.com/office/drawing/2014/main" id="{5C53EF68-3814-FDF0-1448-2E6BD2C3032A}"/>
              </a:ext>
            </a:extLst>
          </p:cNvPr>
          <p:cNvSpPr txBox="1"/>
          <p:nvPr/>
        </p:nvSpPr>
        <p:spPr>
          <a:xfrm>
            <a:off x="8879250" y="5922000"/>
            <a:ext cx="720000" cy="16920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…</a:t>
            </a:r>
          </a:p>
        </p:txBody>
      </p:sp>
      <p:sp>
        <p:nvSpPr>
          <p:cNvPr id="89" name="Textfeld 88">
            <a:extLst>
              <a:ext uri="{FF2B5EF4-FFF2-40B4-BE49-F238E27FC236}">
                <a16:creationId xmlns:a16="http://schemas.microsoft.com/office/drawing/2014/main" id="{4BC826E3-356B-1D4D-2CB0-BD0375BC81E3}"/>
              </a:ext>
            </a:extLst>
          </p:cNvPr>
          <p:cNvSpPr txBox="1"/>
          <p:nvPr/>
        </p:nvSpPr>
        <p:spPr>
          <a:xfrm>
            <a:off x="6985351" y="5238000"/>
            <a:ext cx="2319785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COM        HL7       IHE        FHIR</a:t>
            </a:r>
          </a:p>
        </p:txBody>
      </p: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D078872D-635D-904B-341C-69A52E20F2AA}"/>
              </a:ext>
            </a:extLst>
          </p:cNvPr>
          <p:cNvCxnSpPr>
            <a:cxnSpLocks/>
          </p:cNvCxnSpPr>
          <p:nvPr/>
        </p:nvCxnSpPr>
        <p:spPr>
          <a:xfrm>
            <a:off x="540000" y="4191750"/>
            <a:ext cx="11107351" cy="0"/>
          </a:xfrm>
          <a:prstGeom prst="line">
            <a:avLst/>
          </a:prstGeom>
          <a:ln w="31750" cap="rnd">
            <a:solidFill>
              <a:schemeClr val="accent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8" name="Gruppieren 107">
            <a:extLst>
              <a:ext uri="{FF2B5EF4-FFF2-40B4-BE49-F238E27FC236}">
                <a16:creationId xmlns:a16="http://schemas.microsoft.com/office/drawing/2014/main" id="{10979497-7DF0-4722-EAC8-12249ACA9A8D}"/>
              </a:ext>
            </a:extLst>
          </p:cNvPr>
          <p:cNvGrpSpPr/>
          <p:nvPr/>
        </p:nvGrpSpPr>
        <p:grpSpPr>
          <a:xfrm>
            <a:off x="7687351" y="5199283"/>
            <a:ext cx="1098000" cy="288000"/>
            <a:chOff x="7687351" y="5199283"/>
            <a:chExt cx="1098000" cy="288000"/>
          </a:xfrm>
        </p:grpSpPr>
        <p:cxnSp>
          <p:nvCxnSpPr>
            <p:cNvPr id="91" name="Gerade Verbindung mit Pfeil 90">
              <a:extLst>
                <a:ext uri="{FF2B5EF4-FFF2-40B4-BE49-F238E27FC236}">
                  <a16:creationId xmlns:a16="http://schemas.microsoft.com/office/drawing/2014/main" id="{6519D74C-4210-0C00-E3AE-09FAB2CE7D7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87351" y="5199283"/>
              <a:ext cx="0" cy="288000"/>
            </a:xfrm>
            <a:prstGeom prst="straightConnector1">
              <a:avLst/>
            </a:prstGeom>
            <a:ln w="19050" cap="sq">
              <a:solidFill>
                <a:schemeClr val="bg1"/>
              </a:solidFill>
              <a:prstDash val="solid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mit Pfeil 91">
              <a:extLst>
                <a:ext uri="{FF2B5EF4-FFF2-40B4-BE49-F238E27FC236}">
                  <a16:creationId xmlns:a16="http://schemas.microsoft.com/office/drawing/2014/main" id="{81DE7BFC-A11E-F467-CF88-99B5E51C44F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250767" y="5199283"/>
              <a:ext cx="0" cy="288000"/>
            </a:xfrm>
            <a:prstGeom prst="straightConnector1">
              <a:avLst/>
            </a:prstGeom>
            <a:ln w="19050" cap="sq">
              <a:solidFill>
                <a:schemeClr val="bg1"/>
              </a:solidFill>
              <a:prstDash val="solid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mit Pfeil 92">
              <a:extLst>
                <a:ext uri="{FF2B5EF4-FFF2-40B4-BE49-F238E27FC236}">
                  <a16:creationId xmlns:a16="http://schemas.microsoft.com/office/drawing/2014/main" id="{3B4495C2-27BB-DB6C-2CC8-6FD14511D3C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85351" y="5199283"/>
              <a:ext cx="0" cy="288000"/>
            </a:xfrm>
            <a:prstGeom prst="straightConnector1">
              <a:avLst/>
            </a:prstGeom>
            <a:ln w="19050" cap="sq">
              <a:solidFill>
                <a:schemeClr val="bg1"/>
              </a:solidFill>
              <a:prstDash val="solid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4" name="Textfeld 93">
            <a:extLst>
              <a:ext uri="{FF2B5EF4-FFF2-40B4-BE49-F238E27FC236}">
                <a16:creationId xmlns:a16="http://schemas.microsoft.com/office/drawing/2014/main" id="{DE06C310-302E-22EF-8CC3-7F23257B62EA}"/>
              </a:ext>
            </a:extLst>
          </p:cNvPr>
          <p:cNvSpPr txBox="1">
            <a:spLocks/>
          </p:cNvSpPr>
          <p:nvPr/>
        </p:nvSpPr>
        <p:spPr>
          <a:xfrm>
            <a:off x="4483869" y="2739615"/>
            <a:ext cx="1174912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rminmanagement</a:t>
            </a:r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E817D68D-F0A2-24F8-99F3-53CB2E1BA8A5}"/>
              </a:ext>
            </a:extLst>
          </p:cNvPr>
          <p:cNvSpPr txBox="1">
            <a:spLocks/>
          </p:cNvSpPr>
          <p:nvPr/>
        </p:nvSpPr>
        <p:spPr>
          <a:xfrm>
            <a:off x="6344569" y="3660576"/>
            <a:ext cx="1174912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COM-Integration</a:t>
            </a:r>
          </a:p>
        </p:txBody>
      </p:sp>
      <p:sp>
        <p:nvSpPr>
          <p:cNvPr id="96" name="Freeform 5">
            <a:extLst>
              <a:ext uri="{FF2B5EF4-FFF2-40B4-BE49-F238E27FC236}">
                <a16:creationId xmlns:a16="http://schemas.microsoft.com/office/drawing/2014/main" id="{6360E3BD-7473-F8E3-C023-73C2411C4001}"/>
              </a:ext>
            </a:extLst>
          </p:cNvPr>
          <p:cNvSpPr>
            <a:spLocks noEditPoints="1"/>
          </p:cNvSpPr>
          <p:nvPr/>
        </p:nvSpPr>
        <p:spPr bwMode="auto">
          <a:xfrm>
            <a:off x="4816691" y="3188198"/>
            <a:ext cx="509268" cy="401538"/>
          </a:xfrm>
          <a:custGeom>
            <a:avLst/>
            <a:gdLst>
              <a:gd name="T0" fmla="*/ 95 w 112"/>
              <a:gd name="T1" fmla="*/ 16 h 88"/>
              <a:gd name="T2" fmla="*/ 82 w 112"/>
              <a:gd name="T3" fmla="*/ 32 h 88"/>
              <a:gd name="T4" fmla="*/ 69 w 112"/>
              <a:gd name="T5" fmla="*/ 16 h 88"/>
              <a:gd name="T6" fmla="*/ 82 w 112"/>
              <a:gd name="T7" fmla="*/ 0 h 88"/>
              <a:gd name="T8" fmla="*/ 95 w 112"/>
              <a:gd name="T9" fmla="*/ 16 h 88"/>
              <a:gd name="T10" fmla="*/ 112 w 112"/>
              <a:gd name="T11" fmla="*/ 53 h 88"/>
              <a:gd name="T12" fmla="*/ 106 w 112"/>
              <a:gd name="T13" fmla="*/ 44 h 88"/>
              <a:gd name="T14" fmla="*/ 91 w 112"/>
              <a:gd name="T15" fmla="*/ 38 h 88"/>
              <a:gd name="T16" fmla="*/ 82 w 112"/>
              <a:gd name="T17" fmla="*/ 47 h 88"/>
              <a:gd name="T18" fmla="*/ 73 w 112"/>
              <a:gd name="T19" fmla="*/ 38 h 88"/>
              <a:gd name="T20" fmla="*/ 58 w 112"/>
              <a:gd name="T21" fmla="*/ 44 h 88"/>
              <a:gd name="T22" fmla="*/ 52 w 112"/>
              <a:gd name="T23" fmla="*/ 53 h 88"/>
              <a:gd name="T24" fmla="*/ 53 w 112"/>
              <a:gd name="T25" fmla="*/ 60 h 88"/>
              <a:gd name="T26" fmla="*/ 111 w 112"/>
              <a:gd name="T27" fmla="*/ 60 h 88"/>
              <a:gd name="T28" fmla="*/ 112 w 112"/>
              <a:gd name="T29" fmla="*/ 53 h 88"/>
              <a:gd name="T30" fmla="*/ 43 w 112"/>
              <a:gd name="T31" fmla="*/ 44 h 88"/>
              <a:gd name="T32" fmla="*/ 30 w 112"/>
              <a:gd name="T33" fmla="*/ 28 h 88"/>
              <a:gd name="T34" fmla="*/ 17 w 112"/>
              <a:gd name="T35" fmla="*/ 44 h 88"/>
              <a:gd name="T36" fmla="*/ 30 w 112"/>
              <a:gd name="T37" fmla="*/ 60 h 88"/>
              <a:gd name="T38" fmla="*/ 43 w 112"/>
              <a:gd name="T39" fmla="*/ 44 h 88"/>
              <a:gd name="T40" fmla="*/ 60 w 112"/>
              <a:gd name="T41" fmla="*/ 81 h 88"/>
              <a:gd name="T42" fmla="*/ 54 w 112"/>
              <a:gd name="T43" fmla="*/ 72 h 88"/>
              <a:gd name="T44" fmla="*/ 39 w 112"/>
              <a:gd name="T45" fmla="*/ 66 h 88"/>
              <a:gd name="T46" fmla="*/ 30 w 112"/>
              <a:gd name="T47" fmla="*/ 75 h 88"/>
              <a:gd name="T48" fmla="*/ 21 w 112"/>
              <a:gd name="T49" fmla="*/ 66 h 88"/>
              <a:gd name="T50" fmla="*/ 6 w 112"/>
              <a:gd name="T51" fmla="*/ 72 h 88"/>
              <a:gd name="T52" fmla="*/ 0 w 112"/>
              <a:gd name="T53" fmla="*/ 81 h 88"/>
              <a:gd name="T54" fmla="*/ 1 w 112"/>
              <a:gd name="T55" fmla="*/ 88 h 88"/>
              <a:gd name="T56" fmla="*/ 59 w 112"/>
              <a:gd name="T57" fmla="*/ 88 h 88"/>
              <a:gd name="T58" fmla="*/ 60 w 112"/>
              <a:gd name="T59" fmla="*/ 81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12" h="88">
                <a:moveTo>
                  <a:pt x="95" y="16"/>
                </a:moveTo>
                <a:cubicBezTo>
                  <a:pt x="95" y="25"/>
                  <a:pt x="89" y="32"/>
                  <a:pt x="82" y="32"/>
                </a:cubicBezTo>
                <a:cubicBezTo>
                  <a:pt x="75" y="32"/>
                  <a:pt x="69" y="25"/>
                  <a:pt x="69" y="16"/>
                </a:cubicBezTo>
                <a:cubicBezTo>
                  <a:pt x="69" y="7"/>
                  <a:pt x="75" y="0"/>
                  <a:pt x="82" y="0"/>
                </a:cubicBezTo>
                <a:cubicBezTo>
                  <a:pt x="89" y="0"/>
                  <a:pt x="95" y="7"/>
                  <a:pt x="95" y="16"/>
                </a:cubicBezTo>
                <a:moveTo>
                  <a:pt x="112" y="53"/>
                </a:moveTo>
                <a:cubicBezTo>
                  <a:pt x="112" y="49"/>
                  <a:pt x="110" y="45"/>
                  <a:pt x="106" y="44"/>
                </a:cubicBezTo>
                <a:cubicBezTo>
                  <a:pt x="91" y="38"/>
                  <a:pt x="91" y="38"/>
                  <a:pt x="91" y="38"/>
                </a:cubicBezTo>
                <a:cubicBezTo>
                  <a:pt x="82" y="47"/>
                  <a:pt x="82" y="47"/>
                  <a:pt x="82" y="47"/>
                </a:cubicBezTo>
                <a:cubicBezTo>
                  <a:pt x="73" y="38"/>
                  <a:pt x="73" y="38"/>
                  <a:pt x="73" y="38"/>
                </a:cubicBezTo>
                <a:cubicBezTo>
                  <a:pt x="58" y="44"/>
                  <a:pt x="58" y="44"/>
                  <a:pt x="58" y="44"/>
                </a:cubicBezTo>
                <a:cubicBezTo>
                  <a:pt x="54" y="45"/>
                  <a:pt x="52" y="49"/>
                  <a:pt x="52" y="53"/>
                </a:cubicBezTo>
                <a:cubicBezTo>
                  <a:pt x="53" y="60"/>
                  <a:pt x="53" y="60"/>
                  <a:pt x="53" y="60"/>
                </a:cubicBezTo>
                <a:cubicBezTo>
                  <a:pt x="111" y="60"/>
                  <a:pt x="111" y="60"/>
                  <a:pt x="111" y="60"/>
                </a:cubicBezTo>
                <a:lnTo>
                  <a:pt x="112" y="53"/>
                </a:lnTo>
                <a:close/>
                <a:moveTo>
                  <a:pt x="43" y="44"/>
                </a:moveTo>
                <a:cubicBezTo>
                  <a:pt x="43" y="35"/>
                  <a:pt x="37" y="28"/>
                  <a:pt x="30" y="28"/>
                </a:cubicBezTo>
                <a:cubicBezTo>
                  <a:pt x="23" y="28"/>
                  <a:pt x="17" y="35"/>
                  <a:pt x="17" y="44"/>
                </a:cubicBezTo>
                <a:cubicBezTo>
                  <a:pt x="17" y="53"/>
                  <a:pt x="23" y="60"/>
                  <a:pt x="30" y="60"/>
                </a:cubicBezTo>
                <a:cubicBezTo>
                  <a:pt x="37" y="60"/>
                  <a:pt x="43" y="53"/>
                  <a:pt x="43" y="44"/>
                </a:cubicBezTo>
                <a:moveTo>
                  <a:pt x="60" y="81"/>
                </a:moveTo>
                <a:cubicBezTo>
                  <a:pt x="60" y="77"/>
                  <a:pt x="58" y="73"/>
                  <a:pt x="54" y="72"/>
                </a:cubicBezTo>
                <a:cubicBezTo>
                  <a:pt x="39" y="66"/>
                  <a:pt x="39" y="66"/>
                  <a:pt x="39" y="66"/>
                </a:cubicBezTo>
                <a:cubicBezTo>
                  <a:pt x="30" y="75"/>
                  <a:pt x="30" y="75"/>
                  <a:pt x="30" y="75"/>
                </a:cubicBezTo>
                <a:cubicBezTo>
                  <a:pt x="21" y="66"/>
                  <a:pt x="21" y="66"/>
                  <a:pt x="21" y="66"/>
                </a:cubicBezTo>
                <a:cubicBezTo>
                  <a:pt x="6" y="72"/>
                  <a:pt x="6" y="72"/>
                  <a:pt x="6" y="72"/>
                </a:cubicBezTo>
                <a:cubicBezTo>
                  <a:pt x="2" y="73"/>
                  <a:pt x="0" y="77"/>
                  <a:pt x="0" y="81"/>
                </a:cubicBezTo>
                <a:cubicBezTo>
                  <a:pt x="1" y="88"/>
                  <a:pt x="1" y="88"/>
                  <a:pt x="1" y="88"/>
                </a:cubicBezTo>
                <a:cubicBezTo>
                  <a:pt x="59" y="88"/>
                  <a:pt x="59" y="88"/>
                  <a:pt x="59" y="88"/>
                </a:cubicBezTo>
                <a:lnTo>
                  <a:pt x="60" y="8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7" name="Freeform 5">
            <a:extLst>
              <a:ext uri="{FF2B5EF4-FFF2-40B4-BE49-F238E27FC236}">
                <a16:creationId xmlns:a16="http://schemas.microsoft.com/office/drawing/2014/main" id="{EDF7CFA2-67BE-7E68-6540-A6F7429CCEEF}"/>
              </a:ext>
            </a:extLst>
          </p:cNvPr>
          <p:cNvSpPr>
            <a:spLocks noEditPoints="1"/>
          </p:cNvSpPr>
          <p:nvPr/>
        </p:nvSpPr>
        <p:spPr bwMode="auto">
          <a:xfrm>
            <a:off x="4914424" y="2266315"/>
            <a:ext cx="313804" cy="409698"/>
          </a:xfrm>
          <a:custGeom>
            <a:avLst/>
            <a:gdLst>
              <a:gd name="T0" fmla="*/ 59 w 357"/>
              <a:gd name="T1" fmla="*/ 59 h 416"/>
              <a:gd name="T2" fmla="*/ 89 w 357"/>
              <a:gd name="T3" fmla="*/ 0 h 416"/>
              <a:gd name="T4" fmla="*/ 327 w 357"/>
              <a:gd name="T5" fmla="*/ 44 h 416"/>
              <a:gd name="T6" fmla="*/ 238 w 357"/>
              <a:gd name="T7" fmla="*/ 89 h 416"/>
              <a:gd name="T8" fmla="*/ 119 w 357"/>
              <a:gd name="T9" fmla="*/ 44 h 416"/>
              <a:gd name="T10" fmla="*/ 29 w 357"/>
              <a:gd name="T11" fmla="*/ 89 h 416"/>
              <a:gd name="T12" fmla="*/ 0 w 357"/>
              <a:gd name="T13" fmla="*/ 44 h 416"/>
              <a:gd name="T14" fmla="*/ 357 w 357"/>
              <a:gd name="T15" fmla="*/ 119 h 416"/>
              <a:gd name="T16" fmla="*/ 327 w 357"/>
              <a:gd name="T17" fmla="*/ 44 h 416"/>
              <a:gd name="T18" fmla="*/ 267 w 357"/>
              <a:gd name="T19" fmla="*/ 0 h 416"/>
              <a:gd name="T20" fmla="*/ 297 w 357"/>
              <a:gd name="T21" fmla="*/ 59 h 416"/>
              <a:gd name="T22" fmla="*/ 0 w 357"/>
              <a:gd name="T23" fmla="*/ 149 h 416"/>
              <a:gd name="T24" fmla="*/ 357 w 357"/>
              <a:gd name="T25" fmla="*/ 416 h 416"/>
              <a:gd name="T26" fmla="*/ 0 w 357"/>
              <a:gd name="T27" fmla="*/ 149 h 416"/>
              <a:gd name="T28" fmla="*/ 327 w 357"/>
              <a:gd name="T29" fmla="*/ 387 h 416"/>
              <a:gd name="T30" fmla="*/ 29 w 357"/>
              <a:gd name="T31" fmla="*/ 178 h 416"/>
              <a:gd name="T32" fmla="*/ 74 w 357"/>
              <a:gd name="T33" fmla="*/ 238 h 416"/>
              <a:gd name="T34" fmla="*/ 104 w 357"/>
              <a:gd name="T35" fmla="*/ 208 h 416"/>
              <a:gd name="T36" fmla="*/ 74 w 357"/>
              <a:gd name="T37" fmla="*/ 238 h 416"/>
              <a:gd name="T38" fmla="*/ 104 w 357"/>
              <a:gd name="T39" fmla="*/ 297 h 416"/>
              <a:gd name="T40" fmla="*/ 74 w 357"/>
              <a:gd name="T41" fmla="*/ 268 h 416"/>
              <a:gd name="T42" fmla="*/ 133 w 357"/>
              <a:gd name="T43" fmla="*/ 238 h 416"/>
              <a:gd name="T44" fmla="*/ 163 w 357"/>
              <a:gd name="T45" fmla="*/ 208 h 416"/>
              <a:gd name="T46" fmla="*/ 133 w 357"/>
              <a:gd name="T47" fmla="*/ 238 h 416"/>
              <a:gd name="T48" fmla="*/ 163 w 357"/>
              <a:gd name="T49" fmla="*/ 297 h 416"/>
              <a:gd name="T50" fmla="*/ 133 w 357"/>
              <a:gd name="T51" fmla="*/ 268 h 416"/>
              <a:gd name="T52" fmla="*/ 193 w 357"/>
              <a:gd name="T53" fmla="*/ 238 h 416"/>
              <a:gd name="T54" fmla="*/ 223 w 357"/>
              <a:gd name="T55" fmla="*/ 208 h 416"/>
              <a:gd name="T56" fmla="*/ 193 w 357"/>
              <a:gd name="T57" fmla="*/ 238 h 416"/>
              <a:gd name="T58" fmla="*/ 223 w 357"/>
              <a:gd name="T59" fmla="*/ 297 h 416"/>
              <a:gd name="T60" fmla="*/ 193 w 357"/>
              <a:gd name="T61" fmla="*/ 268 h 416"/>
              <a:gd name="T62" fmla="*/ 253 w 357"/>
              <a:gd name="T63" fmla="*/ 238 h 416"/>
              <a:gd name="T64" fmla="*/ 282 w 357"/>
              <a:gd name="T65" fmla="*/ 208 h 416"/>
              <a:gd name="T66" fmla="*/ 253 w 357"/>
              <a:gd name="T67" fmla="*/ 238 h 416"/>
              <a:gd name="T68" fmla="*/ 282 w 357"/>
              <a:gd name="T69" fmla="*/ 297 h 416"/>
              <a:gd name="T70" fmla="*/ 253 w 357"/>
              <a:gd name="T71" fmla="*/ 268 h 416"/>
              <a:gd name="T72" fmla="*/ 74 w 357"/>
              <a:gd name="T73" fmla="*/ 357 h 416"/>
              <a:gd name="T74" fmla="*/ 104 w 357"/>
              <a:gd name="T75" fmla="*/ 327 h 416"/>
              <a:gd name="T76" fmla="*/ 74 w 357"/>
              <a:gd name="T77" fmla="*/ 357 h 416"/>
              <a:gd name="T78" fmla="*/ 163 w 357"/>
              <a:gd name="T79" fmla="*/ 357 h 416"/>
              <a:gd name="T80" fmla="*/ 133 w 357"/>
              <a:gd name="T81" fmla="*/ 327 h 4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57" h="416">
                <a:moveTo>
                  <a:pt x="89" y="59"/>
                </a:moveTo>
                <a:lnTo>
                  <a:pt x="59" y="59"/>
                </a:lnTo>
                <a:lnTo>
                  <a:pt x="59" y="0"/>
                </a:lnTo>
                <a:lnTo>
                  <a:pt x="89" y="0"/>
                </a:lnTo>
                <a:lnTo>
                  <a:pt x="89" y="59"/>
                </a:lnTo>
                <a:close/>
                <a:moveTo>
                  <a:pt x="327" y="44"/>
                </a:moveTo>
                <a:lnTo>
                  <a:pt x="327" y="89"/>
                </a:lnTo>
                <a:lnTo>
                  <a:pt x="238" y="89"/>
                </a:lnTo>
                <a:lnTo>
                  <a:pt x="238" y="44"/>
                </a:lnTo>
                <a:lnTo>
                  <a:pt x="119" y="44"/>
                </a:lnTo>
                <a:lnTo>
                  <a:pt x="119" y="89"/>
                </a:lnTo>
                <a:lnTo>
                  <a:pt x="29" y="89"/>
                </a:lnTo>
                <a:lnTo>
                  <a:pt x="29" y="44"/>
                </a:lnTo>
                <a:lnTo>
                  <a:pt x="0" y="44"/>
                </a:lnTo>
                <a:lnTo>
                  <a:pt x="0" y="119"/>
                </a:lnTo>
                <a:lnTo>
                  <a:pt x="357" y="119"/>
                </a:lnTo>
                <a:lnTo>
                  <a:pt x="357" y="44"/>
                </a:lnTo>
                <a:lnTo>
                  <a:pt x="327" y="44"/>
                </a:lnTo>
                <a:close/>
                <a:moveTo>
                  <a:pt x="297" y="0"/>
                </a:moveTo>
                <a:lnTo>
                  <a:pt x="267" y="0"/>
                </a:lnTo>
                <a:lnTo>
                  <a:pt x="267" y="59"/>
                </a:lnTo>
                <a:lnTo>
                  <a:pt x="297" y="59"/>
                </a:lnTo>
                <a:lnTo>
                  <a:pt x="297" y="0"/>
                </a:lnTo>
                <a:close/>
                <a:moveTo>
                  <a:pt x="0" y="149"/>
                </a:moveTo>
                <a:lnTo>
                  <a:pt x="357" y="149"/>
                </a:lnTo>
                <a:lnTo>
                  <a:pt x="357" y="416"/>
                </a:lnTo>
                <a:lnTo>
                  <a:pt x="0" y="416"/>
                </a:lnTo>
                <a:lnTo>
                  <a:pt x="0" y="149"/>
                </a:lnTo>
                <a:close/>
                <a:moveTo>
                  <a:pt x="29" y="387"/>
                </a:moveTo>
                <a:lnTo>
                  <a:pt x="327" y="387"/>
                </a:lnTo>
                <a:lnTo>
                  <a:pt x="327" y="178"/>
                </a:lnTo>
                <a:lnTo>
                  <a:pt x="29" y="178"/>
                </a:lnTo>
                <a:lnTo>
                  <a:pt x="29" y="387"/>
                </a:lnTo>
                <a:close/>
                <a:moveTo>
                  <a:pt x="74" y="238"/>
                </a:moveTo>
                <a:lnTo>
                  <a:pt x="104" y="238"/>
                </a:lnTo>
                <a:lnTo>
                  <a:pt x="104" y="208"/>
                </a:lnTo>
                <a:lnTo>
                  <a:pt x="74" y="208"/>
                </a:lnTo>
                <a:lnTo>
                  <a:pt x="74" y="238"/>
                </a:lnTo>
                <a:close/>
                <a:moveTo>
                  <a:pt x="74" y="297"/>
                </a:moveTo>
                <a:lnTo>
                  <a:pt x="104" y="297"/>
                </a:lnTo>
                <a:lnTo>
                  <a:pt x="104" y="268"/>
                </a:lnTo>
                <a:lnTo>
                  <a:pt x="74" y="268"/>
                </a:lnTo>
                <a:lnTo>
                  <a:pt x="74" y="297"/>
                </a:lnTo>
                <a:close/>
                <a:moveTo>
                  <a:pt x="133" y="238"/>
                </a:moveTo>
                <a:lnTo>
                  <a:pt x="163" y="238"/>
                </a:lnTo>
                <a:lnTo>
                  <a:pt x="163" y="208"/>
                </a:lnTo>
                <a:lnTo>
                  <a:pt x="133" y="208"/>
                </a:lnTo>
                <a:lnTo>
                  <a:pt x="133" y="238"/>
                </a:lnTo>
                <a:close/>
                <a:moveTo>
                  <a:pt x="133" y="297"/>
                </a:moveTo>
                <a:lnTo>
                  <a:pt x="163" y="297"/>
                </a:lnTo>
                <a:lnTo>
                  <a:pt x="163" y="268"/>
                </a:lnTo>
                <a:lnTo>
                  <a:pt x="133" y="268"/>
                </a:lnTo>
                <a:lnTo>
                  <a:pt x="133" y="297"/>
                </a:lnTo>
                <a:close/>
                <a:moveTo>
                  <a:pt x="193" y="238"/>
                </a:moveTo>
                <a:lnTo>
                  <a:pt x="223" y="238"/>
                </a:lnTo>
                <a:lnTo>
                  <a:pt x="223" y="208"/>
                </a:lnTo>
                <a:lnTo>
                  <a:pt x="193" y="208"/>
                </a:lnTo>
                <a:lnTo>
                  <a:pt x="193" y="238"/>
                </a:lnTo>
                <a:close/>
                <a:moveTo>
                  <a:pt x="193" y="297"/>
                </a:moveTo>
                <a:lnTo>
                  <a:pt x="223" y="297"/>
                </a:lnTo>
                <a:lnTo>
                  <a:pt x="223" y="268"/>
                </a:lnTo>
                <a:lnTo>
                  <a:pt x="193" y="268"/>
                </a:lnTo>
                <a:lnTo>
                  <a:pt x="193" y="297"/>
                </a:lnTo>
                <a:close/>
                <a:moveTo>
                  <a:pt x="253" y="238"/>
                </a:moveTo>
                <a:lnTo>
                  <a:pt x="282" y="238"/>
                </a:lnTo>
                <a:lnTo>
                  <a:pt x="282" y="208"/>
                </a:lnTo>
                <a:lnTo>
                  <a:pt x="253" y="208"/>
                </a:lnTo>
                <a:lnTo>
                  <a:pt x="253" y="238"/>
                </a:lnTo>
                <a:close/>
                <a:moveTo>
                  <a:pt x="253" y="297"/>
                </a:moveTo>
                <a:lnTo>
                  <a:pt x="282" y="297"/>
                </a:lnTo>
                <a:lnTo>
                  <a:pt x="282" y="268"/>
                </a:lnTo>
                <a:lnTo>
                  <a:pt x="253" y="268"/>
                </a:lnTo>
                <a:lnTo>
                  <a:pt x="253" y="297"/>
                </a:lnTo>
                <a:close/>
                <a:moveTo>
                  <a:pt x="74" y="357"/>
                </a:moveTo>
                <a:lnTo>
                  <a:pt x="104" y="357"/>
                </a:lnTo>
                <a:lnTo>
                  <a:pt x="104" y="327"/>
                </a:lnTo>
                <a:lnTo>
                  <a:pt x="74" y="327"/>
                </a:lnTo>
                <a:lnTo>
                  <a:pt x="74" y="357"/>
                </a:lnTo>
                <a:close/>
                <a:moveTo>
                  <a:pt x="133" y="357"/>
                </a:moveTo>
                <a:lnTo>
                  <a:pt x="163" y="357"/>
                </a:lnTo>
                <a:lnTo>
                  <a:pt x="163" y="327"/>
                </a:lnTo>
                <a:lnTo>
                  <a:pt x="133" y="327"/>
                </a:lnTo>
                <a:lnTo>
                  <a:pt x="133" y="35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8" name="Freeform 119">
            <a:extLst>
              <a:ext uri="{FF2B5EF4-FFF2-40B4-BE49-F238E27FC236}">
                <a16:creationId xmlns:a16="http://schemas.microsoft.com/office/drawing/2014/main" id="{918D2B52-AA2B-801A-3190-16A37618B4DA}"/>
              </a:ext>
            </a:extLst>
          </p:cNvPr>
          <p:cNvSpPr>
            <a:spLocks noEditPoints="1"/>
          </p:cNvSpPr>
          <p:nvPr/>
        </p:nvSpPr>
        <p:spPr bwMode="auto">
          <a:xfrm>
            <a:off x="3059349" y="2300185"/>
            <a:ext cx="253410" cy="375828"/>
          </a:xfrm>
          <a:custGeom>
            <a:avLst/>
            <a:gdLst>
              <a:gd name="T0" fmla="*/ 135 w 269"/>
              <a:gd name="T1" fmla="*/ 150 h 400"/>
              <a:gd name="T2" fmla="*/ 193 w 269"/>
              <a:gd name="T3" fmla="*/ 75 h 400"/>
              <a:gd name="T4" fmla="*/ 135 w 269"/>
              <a:gd name="T5" fmla="*/ 0 h 400"/>
              <a:gd name="T6" fmla="*/ 76 w 269"/>
              <a:gd name="T7" fmla="*/ 75 h 400"/>
              <a:gd name="T8" fmla="*/ 135 w 269"/>
              <a:gd name="T9" fmla="*/ 150 h 400"/>
              <a:gd name="T10" fmla="*/ 248 w 269"/>
              <a:gd name="T11" fmla="*/ 193 h 400"/>
              <a:gd name="T12" fmla="*/ 209 w 269"/>
              <a:gd name="T13" fmla="*/ 178 h 400"/>
              <a:gd name="T14" fmla="*/ 143 w 269"/>
              <a:gd name="T15" fmla="*/ 249 h 400"/>
              <a:gd name="T16" fmla="*/ 143 w 269"/>
              <a:gd name="T17" fmla="*/ 318 h 400"/>
              <a:gd name="T18" fmla="*/ 160 w 269"/>
              <a:gd name="T19" fmla="*/ 341 h 400"/>
              <a:gd name="T20" fmla="*/ 135 w 269"/>
              <a:gd name="T21" fmla="*/ 366 h 400"/>
              <a:gd name="T22" fmla="*/ 110 w 269"/>
              <a:gd name="T23" fmla="*/ 341 h 400"/>
              <a:gd name="T24" fmla="*/ 126 w 269"/>
              <a:gd name="T25" fmla="*/ 318 h 400"/>
              <a:gd name="T26" fmla="*/ 126 w 269"/>
              <a:gd name="T27" fmla="*/ 249 h 400"/>
              <a:gd name="T28" fmla="*/ 60 w 269"/>
              <a:gd name="T29" fmla="*/ 178 h 400"/>
              <a:gd name="T30" fmla="*/ 21 w 269"/>
              <a:gd name="T31" fmla="*/ 193 h 400"/>
              <a:gd name="T32" fmla="*/ 1 w 269"/>
              <a:gd name="T33" fmla="*/ 223 h 400"/>
              <a:gd name="T34" fmla="*/ 17 w 269"/>
              <a:gd name="T35" fmla="*/ 400 h 400"/>
              <a:gd name="T36" fmla="*/ 252 w 269"/>
              <a:gd name="T37" fmla="*/ 400 h 400"/>
              <a:gd name="T38" fmla="*/ 268 w 269"/>
              <a:gd name="T39" fmla="*/ 223 h 400"/>
              <a:gd name="T40" fmla="*/ 248 w 269"/>
              <a:gd name="T41" fmla="*/ 193 h 400"/>
              <a:gd name="T42" fmla="*/ 76 w 269"/>
              <a:gd name="T43" fmla="*/ 175 h 400"/>
              <a:gd name="T44" fmla="*/ 77 w 269"/>
              <a:gd name="T45" fmla="*/ 172 h 400"/>
              <a:gd name="T46" fmla="*/ 93 w 269"/>
              <a:gd name="T47" fmla="*/ 166 h 400"/>
              <a:gd name="T48" fmla="*/ 135 w 269"/>
              <a:gd name="T49" fmla="*/ 208 h 400"/>
              <a:gd name="T50" fmla="*/ 176 w 269"/>
              <a:gd name="T51" fmla="*/ 166 h 400"/>
              <a:gd name="T52" fmla="*/ 193 w 269"/>
              <a:gd name="T53" fmla="*/ 172 h 400"/>
              <a:gd name="T54" fmla="*/ 193 w 269"/>
              <a:gd name="T55" fmla="*/ 175 h 400"/>
              <a:gd name="T56" fmla="*/ 135 w 269"/>
              <a:gd name="T57" fmla="*/ 233 h 400"/>
              <a:gd name="T58" fmla="*/ 76 w 269"/>
              <a:gd name="T59" fmla="*/ 175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69" h="400">
                <a:moveTo>
                  <a:pt x="135" y="150"/>
                </a:moveTo>
                <a:cubicBezTo>
                  <a:pt x="167" y="150"/>
                  <a:pt x="193" y="116"/>
                  <a:pt x="193" y="75"/>
                </a:cubicBezTo>
                <a:cubicBezTo>
                  <a:pt x="193" y="33"/>
                  <a:pt x="167" y="0"/>
                  <a:pt x="135" y="0"/>
                </a:cubicBezTo>
                <a:cubicBezTo>
                  <a:pt x="102" y="0"/>
                  <a:pt x="76" y="33"/>
                  <a:pt x="76" y="75"/>
                </a:cubicBezTo>
                <a:cubicBezTo>
                  <a:pt x="76" y="116"/>
                  <a:pt x="102" y="150"/>
                  <a:pt x="135" y="150"/>
                </a:cubicBezTo>
                <a:close/>
                <a:moveTo>
                  <a:pt x="248" y="193"/>
                </a:moveTo>
                <a:lnTo>
                  <a:pt x="209" y="178"/>
                </a:lnTo>
                <a:cubicBezTo>
                  <a:pt x="207" y="215"/>
                  <a:pt x="179" y="245"/>
                  <a:pt x="143" y="249"/>
                </a:cubicBezTo>
                <a:lnTo>
                  <a:pt x="143" y="318"/>
                </a:lnTo>
                <a:cubicBezTo>
                  <a:pt x="153" y="321"/>
                  <a:pt x="160" y="330"/>
                  <a:pt x="160" y="341"/>
                </a:cubicBezTo>
                <a:cubicBezTo>
                  <a:pt x="160" y="355"/>
                  <a:pt x="148" y="366"/>
                  <a:pt x="135" y="366"/>
                </a:cubicBezTo>
                <a:cubicBezTo>
                  <a:pt x="121" y="366"/>
                  <a:pt x="110" y="355"/>
                  <a:pt x="110" y="341"/>
                </a:cubicBezTo>
                <a:cubicBezTo>
                  <a:pt x="110" y="330"/>
                  <a:pt x="117" y="321"/>
                  <a:pt x="126" y="318"/>
                </a:cubicBezTo>
                <a:lnTo>
                  <a:pt x="126" y="249"/>
                </a:lnTo>
                <a:cubicBezTo>
                  <a:pt x="90" y="245"/>
                  <a:pt x="62" y="215"/>
                  <a:pt x="60" y="178"/>
                </a:cubicBezTo>
                <a:lnTo>
                  <a:pt x="21" y="193"/>
                </a:lnTo>
                <a:cubicBezTo>
                  <a:pt x="8" y="197"/>
                  <a:pt x="0" y="210"/>
                  <a:pt x="1" y="223"/>
                </a:cubicBezTo>
                <a:lnTo>
                  <a:pt x="17" y="400"/>
                </a:lnTo>
                <a:lnTo>
                  <a:pt x="252" y="400"/>
                </a:lnTo>
                <a:lnTo>
                  <a:pt x="268" y="223"/>
                </a:lnTo>
                <a:cubicBezTo>
                  <a:pt x="269" y="210"/>
                  <a:pt x="261" y="197"/>
                  <a:pt x="248" y="193"/>
                </a:cubicBezTo>
                <a:moveTo>
                  <a:pt x="76" y="175"/>
                </a:moveTo>
                <a:cubicBezTo>
                  <a:pt x="76" y="174"/>
                  <a:pt x="77" y="173"/>
                  <a:pt x="77" y="172"/>
                </a:cubicBezTo>
                <a:lnTo>
                  <a:pt x="93" y="166"/>
                </a:lnTo>
                <a:lnTo>
                  <a:pt x="135" y="208"/>
                </a:lnTo>
                <a:lnTo>
                  <a:pt x="176" y="166"/>
                </a:lnTo>
                <a:lnTo>
                  <a:pt x="193" y="172"/>
                </a:lnTo>
                <a:cubicBezTo>
                  <a:pt x="193" y="173"/>
                  <a:pt x="193" y="174"/>
                  <a:pt x="193" y="175"/>
                </a:cubicBezTo>
                <a:cubicBezTo>
                  <a:pt x="193" y="207"/>
                  <a:pt x="167" y="233"/>
                  <a:pt x="135" y="233"/>
                </a:cubicBezTo>
                <a:cubicBezTo>
                  <a:pt x="102" y="233"/>
                  <a:pt x="76" y="207"/>
                  <a:pt x="76" y="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99" name="Group 1">
            <a:extLst>
              <a:ext uri="{FF2B5EF4-FFF2-40B4-BE49-F238E27FC236}">
                <a16:creationId xmlns:a16="http://schemas.microsoft.com/office/drawing/2014/main" id="{8DA1B65B-1931-AE50-AC42-8332131407DB}"/>
              </a:ext>
            </a:extLst>
          </p:cNvPr>
          <p:cNvGrpSpPr>
            <a:grpSpLocks/>
          </p:cNvGrpSpPr>
          <p:nvPr/>
        </p:nvGrpSpPr>
        <p:grpSpPr>
          <a:xfrm>
            <a:off x="6790631" y="3213908"/>
            <a:ext cx="282790" cy="375828"/>
            <a:chOff x="1627188" y="3862388"/>
            <a:chExt cx="366713" cy="487363"/>
          </a:xfrm>
        </p:grpSpPr>
        <p:sp>
          <p:nvSpPr>
            <p:cNvPr id="100" name="Freeform 76">
              <a:extLst>
                <a:ext uri="{FF2B5EF4-FFF2-40B4-BE49-F238E27FC236}">
                  <a16:creationId xmlns:a16="http://schemas.microsoft.com/office/drawing/2014/main" id="{4FE788EF-5269-6EC6-1469-8EEF72A412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7188" y="3862388"/>
              <a:ext cx="366713" cy="487363"/>
            </a:xfrm>
            <a:custGeom>
              <a:avLst/>
              <a:gdLst>
                <a:gd name="T0" fmla="*/ 283 w 300"/>
                <a:gd name="T1" fmla="*/ 0 h 400"/>
                <a:gd name="T2" fmla="*/ 16 w 300"/>
                <a:gd name="T3" fmla="*/ 0 h 400"/>
                <a:gd name="T4" fmla="*/ 0 w 300"/>
                <a:gd name="T5" fmla="*/ 16 h 400"/>
                <a:gd name="T6" fmla="*/ 0 w 300"/>
                <a:gd name="T7" fmla="*/ 383 h 400"/>
                <a:gd name="T8" fmla="*/ 16 w 300"/>
                <a:gd name="T9" fmla="*/ 400 h 400"/>
                <a:gd name="T10" fmla="*/ 283 w 300"/>
                <a:gd name="T11" fmla="*/ 400 h 400"/>
                <a:gd name="T12" fmla="*/ 300 w 300"/>
                <a:gd name="T13" fmla="*/ 383 h 400"/>
                <a:gd name="T14" fmla="*/ 300 w 300"/>
                <a:gd name="T15" fmla="*/ 16 h 400"/>
                <a:gd name="T16" fmla="*/ 283 w 300"/>
                <a:gd name="T17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400">
                  <a:moveTo>
                    <a:pt x="283" y="0"/>
                  </a:moveTo>
                  <a:lnTo>
                    <a:pt x="16" y="0"/>
                  </a:lnTo>
                  <a:cubicBezTo>
                    <a:pt x="7" y="0"/>
                    <a:pt x="0" y="7"/>
                    <a:pt x="0" y="16"/>
                  </a:cubicBezTo>
                  <a:lnTo>
                    <a:pt x="0" y="383"/>
                  </a:lnTo>
                  <a:cubicBezTo>
                    <a:pt x="0" y="392"/>
                    <a:pt x="7" y="400"/>
                    <a:pt x="16" y="400"/>
                  </a:cubicBezTo>
                  <a:lnTo>
                    <a:pt x="283" y="400"/>
                  </a:lnTo>
                  <a:cubicBezTo>
                    <a:pt x="292" y="400"/>
                    <a:pt x="300" y="392"/>
                    <a:pt x="300" y="383"/>
                  </a:cubicBezTo>
                  <a:lnTo>
                    <a:pt x="300" y="16"/>
                  </a:lnTo>
                  <a:cubicBezTo>
                    <a:pt x="300" y="7"/>
                    <a:pt x="292" y="0"/>
                    <a:pt x="283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1" name="Freeform 77">
              <a:extLst>
                <a:ext uri="{FF2B5EF4-FFF2-40B4-BE49-F238E27FC236}">
                  <a16:creationId xmlns:a16="http://schemas.microsoft.com/office/drawing/2014/main" id="{432CB4E8-CBDF-0CB9-D7B1-83C995BDC6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6401" y="3902076"/>
              <a:ext cx="266700" cy="406400"/>
            </a:xfrm>
            <a:custGeom>
              <a:avLst/>
              <a:gdLst>
                <a:gd name="T0" fmla="*/ 159 w 219"/>
                <a:gd name="T1" fmla="*/ 300 h 333"/>
                <a:gd name="T2" fmla="*/ 200 w 219"/>
                <a:gd name="T3" fmla="*/ 300 h 333"/>
                <a:gd name="T4" fmla="*/ 218 w 219"/>
                <a:gd name="T5" fmla="*/ 95 h 333"/>
                <a:gd name="T6" fmla="*/ 202 w 219"/>
                <a:gd name="T7" fmla="*/ 71 h 333"/>
                <a:gd name="T8" fmla="*/ 146 w 219"/>
                <a:gd name="T9" fmla="*/ 50 h 333"/>
                <a:gd name="T10" fmla="*/ 110 w 219"/>
                <a:gd name="T11" fmla="*/ 86 h 333"/>
                <a:gd name="T12" fmla="*/ 74 w 219"/>
                <a:gd name="T13" fmla="*/ 50 h 333"/>
                <a:gd name="T14" fmla="*/ 17 w 219"/>
                <a:gd name="T15" fmla="*/ 71 h 333"/>
                <a:gd name="T16" fmla="*/ 1 w 219"/>
                <a:gd name="T17" fmla="*/ 95 h 333"/>
                <a:gd name="T18" fmla="*/ 19 w 219"/>
                <a:gd name="T19" fmla="*/ 300 h 333"/>
                <a:gd name="T20" fmla="*/ 60 w 219"/>
                <a:gd name="T21" fmla="*/ 300 h 333"/>
                <a:gd name="T22" fmla="*/ 63 w 219"/>
                <a:gd name="T23" fmla="*/ 333 h 333"/>
                <a:gd name="T24" fmla="*/ 156 w 219"/>
                <a:gd name="T25" fmla="*/ 333 h 333"/>
                <a:gd name="T26" fmla="*/ 159 w 219"/>
                <a:gd name="T27" fmla="*/ 300 h 333"/>
                <a:gd name="T28" fmla="*/ 66 w 219"/>
                <a:gd name="T29" fmla="*/ 0 h 333"/>
                <a:gd name="T30" fmla="*/ 153 w 219"/>
                <a:gd name="T31" fmla="*/ 0 h 333"/>
                <a:gd name="T32" fmla="*/ 110 w 219"/>
                <a:gd name="T33" fmla="*/ 33 h 333"/>
                <a:gd name="T34" fmla="*/ 66 w 219"/>
                <a:gd name="T3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9" h="333">
                  <a:moveTo>
                    <a:pt x="159" y="300"/>
                  </a:moveTo>
                  <a:lnTo>
                    <a:pt x="200" y="300"/>
                  </a:lnTo>
                  <a:lnTo>
                    <a:pt x="218" y="95"/>
                  </a:lnTo>
                  <a:cubicBezTo>
                    <a:pt x="219" y="84"/>
                    <a:pt x="212" y="74"/>
                    <a:pt x="202" y="71"/>
                  </a:cubicBezTo>
                  <a:lnTo>
                    <a:pt x="146" y="50"/>
                  </a:lnTo>
                  <a:lnTo>
                    <a:pt x="110" y="86"/>
                  </a:lnTo>
                  <a:lnTo>
                    <a:pt x="74" y="50"/>
                  </a:lnTo>
                  <a:lnTo>
                    <a:pt x="17" y="71"/>
                  </a:lnTo>
                  <a:cubicBezTo>
                    <a:pt x="7" y="74"/>
                    <a:pt x="0" y="84"/>
                    <a:pt x="1" y="95"/>
                  </a:cubicBezTo>
                  <a:lnTo>
                    <a:pt x="19" y="300"/>
                  </a:lnTo>
                  <a:lnTo>
                    <a:pt x="60" y="300"/>
                  </a:lnTo>
                  <a:lnTo>
                    <a:pt x="63" y="333"/>
                  </a:lnTo>
                  <a:lnTo>
                    <a:pt x="156" y="333"/>
                  </a:lnTo>
                  <a:lnTo>
                    <a:pt x="159" y="300"/>
                  </a:lnTo>
                  <a:close/>
                  <a:moveTo>
                    <a:pt x="66" y="0"/>
                  </a:moveTo>
                  <a:lnTo>
                    <a:pt x="153" y="0"/>
                  </a:lnTo>
                  <a:cubicBezTo>
                    <a:pt x="145" y="20"/>
                    <a:pt x="128" y="33"/>
                    <a:pt x="110" y="33"/>
                  </a:cubicBezTo>
                  <a:cubicBezTo>
                    <a:pt x="91" y="33"/>
                    <a:pt x="75" y="20"/>
                    <a:pt x="66" y="0"/>
                  </a:cubicBez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2" name="Freeform 78">
              <a:extLst>
                <a:ext uri="{FF2B5EF4-FFF2-40B4-BE49-F238E27FC236}">
                  <a16:creationId xmlns:a16="http://schemas.microsoft.com/office/drawing/2014/main" id="{00ED15E6-74D9-EF53-A246-751A6C174C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9263" y="3962401"/>
              <a:ext cx="180975" cy="296863"/>
            </a:xfrm>
            <a:custGeom>
              <a:avLst/>
              <a:gdLst>
                <a:gd name="T0" fmla="*/ 75 w 149"/>
                <a:gd name="T1" fmla="*/ 225 h 242"/>
                <a:gd name="T2" fmla="*/ 33 w 149"/>
                <a:gd name="T3" fmla="*/ 200 h 242"/>
                <a:gd name="T4" fmla="*/ 116 w 149"/>
                <a:gd name="T5" fmla="*/ 200 h 242"/>
                <a:gd name="T6" fmla="*/ 75 w 149"/>
                <a:gd name="T7" fmla="*/ 225 h 242"/>
                <a:gd name="T8" fmla="*/ 143 w 149"/>
                <a:gd name="T9" fmla="*/ 115 h 242"/>
                <a:gd name="T10" fmla="*/ 83 w 149"/>
                <a:gd name="T11" fmla="*/ 101 h 242"/>
                <a:gd name="T12" fmla="*/ 83 w 149"/>
                <a:gd name="T13" fmla="*/ 84 h 242"/>
                <a:gd name="T14" fmla="*/ 134 w 149"/>
                <a:gd name="T15" fmla="*/ 93 h 242"/>
                <a:gd name="T16" fmla="*/ 137 w 149"/>
                <a:gd name="T17" fmla="*/ 93 h 242"/>
                <a:gd name="T18" fmla="*/ 145 w 149"/>
                <a:gd name="T19" fmla="*/ 88 h 242"/>
                <a:gd name="T20" fmla="*/ 140 w 149"/>
                <a:gd name="T21" fmla="*/ 77 h 242"/>
                <a:gd name="T22" fmla="*/ 83 w 149"/>
                <a:gd name="T23" fmla="*/ 67 h 242"/>
                <a:gd name="T24" fmla="*/ 83 w 149"/>
                <a:gd name="T25" fmla="*/ 0 h 242"/>
                <a:gd name="T26" fmla="*/ 66 w 149"/>
                <a:gd name="T27" fmla="*/ 0 h 242"/>
                <a:gd name="T28" fmla="*/ 66 w 149"/>
                <a:gd name="T29" fmla="*/ 67 h 242"/>
                <a:gd name="T30" fmla="*/ 10 w 149"/>
                <a:gd name="T31" fmla="*/ 77 h 242"/>
                <a:gd name="T32" fmla="*/ 4 w 149"/>
                <a:gd name="T33" fmla="*/ 88 h 242"/>
                <a:gd name="T34" fmla="*/ 15 w 149"/>
                <a:gd name="T35" fmla="*/ 93 h 242"/>
                <a:gd name="T36" fmla="*/ 66 w 149"/>
                <a:gd name="T37" fmla="*/ 84 h 242"/>
                <a:gd name="T38" fmla="*/ 66 w 149"/>
                <a:gd name="T39" fmla="*/ 101 h 242"/>
                <a:gd name="T40" fmla="*/ 6 w 149"/>
                <a:gd name="T41" fmla="*/ 115 h 242"/>
                <a:gd name="T42" fmla="*/ 2 w 149"/>
                <a:gd name="T43" fmla="*/ 126 h 242"/>
                <a:gd name="T44" fmla="*/ 13 w 149"/>
                <a:gd name="T45" fmla="*/ 130 h 242"/>
                <a:gd name="T46" fmla="*/ 66 w 149"/>
                <a:gd name="T47" fmla="*/ 117 h 242"/>
                <a:gd name="T48" fmla="*/ 66 w 149"/>
                <a:gd name="T49" fmla="*/ 134 h 242"/>
                <a:gd name="T50" fmla="*/ 33 w 149"/>
                <a:gd name="T51" fmla="*/ 140 h 242"/>
                <a:gd name="T52" fmla="*/ 27 w 149"/>
                <a:gd name="T53" fmla="*/ 151 h 242"/>
                <a:gd name="T54" fmla="*/ 38 w 149"/>
                <a:gd name="T55" fmla="*/ 156 h 242"/>
                <a:gd name="T56" fmla="*/ 66 w 149"/>
                <a:gd name="T57" fmla="*/ 151 h 242"/>
                <a:gd name="T58" fmla="*/ 66 w 149"/>
                <a:gd name="T59" fmla="*/ 183 h 242"/>
                <a:gd name="T60" fmla="*/ 33 w 149"/>
                <a:gd name="T61" fmla="*/ 183 h 242"/>
                <a:gd name="T62" fmla="*/ 20 w 149"/>
                <a:gd name="T63" fmla="*/ 190 h 242"/>
                <a:gd name="T64" fmla="*/ 17 w 149"/>
                <a:gd name="T65" fmla="*/ 205 h 242"/>
                <a:gd name="T66" fmla="*/ 75 w 149"/>
                <a:gd name="T67" fmla="*/ 242 h 242"/>
                <a:gd name="T68" fmla="*/ 132 w 149"/>
                <a:gd name="T69" fmla="*/ 205 h 242"/>
                <a:gd name="T70" fmla="*/ 129 w 149"/>
                <a:gd name="T71" fmla="*/ 190 h 242"/>
                <a:gd name="T72" fmla="*/ 117 w 149"/>
                <a:gd name="T73" fmla="*/ 183 h 242"/>
                <a:gd name="T74" fmla="*/ 83 w 149"/>
                <a:gd name="T75" fmla="*/ 183 h 242"/>
                <a:gd name="T76" fmla="*/ 83 w 149"/>
                <a:gd name="T77" fmla="*/ 151 h 242"/>
                <a:gd name="T78" fmla="*/ 111 w 149"/>
                <a:gd name="T79" fmla="*/ 156 h 242"/>
                <a:gd name="T80" fmla="*/ 114 w 149"/>
                <a:gd name="T81" fmla="*/ 156 h 242"/>
                <a:gd name="T82" fmla="*/ 122 w 149"/>
                <a:gd name="T83" fmla="*/ 151 h 242"/>
                <a:gd name="T84" fmla="*/ 117 w 149"/>
                <a:gd name="T85" fmla="*/ 140 h 242"/>
                <a:gd name="T86" fmla="*/ 83 w 149"/>
                <a:gd name="T87" fmla="*/ 134 h 242"/>
                <a:gd name="T88" fmla="*/ 83 w 149"/>
                <a:gd name="T89" fmla="*/ 117 h 242"/>
                <a:gd name="T90" fmla="*/ 137 w 149"/>
                <a:gd name="T91" fmla="*/ 130 h 242"/>
                <a:gd name="T92" fmla="*/ 140 w 149"/>
                <a:gd name="T93" fmla="*/ 131 h 242"/>
                <a:gd name="T94" fmla="*/ 148 w 149"/>
                <a:gd name="T95" fmla="*/ 126 h 242"/>
                <a:gd name="T96" fmla="*/ 143 w 149"/>
                <a:gd name="T97" fmla="*/ 115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9" h="242">
                  <a:moveTo>
                    <a:pt x="75" y="225"/>
                  </a:moveTo>
                  <a:cubicBezTo>
                    <a:pt x="52" y="225"/>
                    <a:pt x="37" y="216"/>
                    <a:pt x="33" y="200"/>
                  </a:cubicBezTo>
                  <a:lnTo>
                    <a:pt x="116" y="200"/>
                  </a:lnTo>
                  <a:cubicBezTo>
                    <a:pt x="112" y="216"/>
                    <a:pt x="97" y="225"/>
                    <a:pt x="75" y="225"/>
                  </a:cubicBezTo>
                  <a:close/>
                  <a:moveTo>
                    <a:pt x="143" y="115"/>
                  </a:moveTo>
                  <a:cubicBezTo>
                    <a:pt x="124" y="106"/>
                    <a:pt x="104" y="102"/>
                    <a:pt x="83" y="101"/>
                  </a:cubicBezTo>
                  <a:lnTo>
                    <a:pt x="83" y="84"/>
                  </a:lnTo>
                  <a:cubicBezTo>
                    <a:pt x="100" y="84"/>
                    <a:pt x="118" y="87"/>
                    <a:pt x="134" y="93"/>
                  </a:cubicBezTo>
                  <a:cubicBezTo>
                    <a:pt x="135" y="93"/>
                    <a:pt x="136" y="93"/>
                    <a:pt x="137" y="93"/>
                  </a:cubicBezTo>
                  <a:cubicBezTo>
                    <a:pt x="140" y="93"/>
                    <a:pt x="144" y="91"/>
                    <a:pt x="145" y="88"/>
                  </a:cubicBezTo>
                  <a:cubicBezTo>
                    <a:pt x="146" y="83"/>
                    <a:pt x="144" y="79"/>
                    <a:pt x="140" y="77"/>
                  </a:cubicBezTo>
                  <a:cubicBezTo>
                    <a:pt x="121" y="71"/>
                    <a:pt x="102" y="68"/>
                    <a:pt x="83" y="67"/>
                  </a:cubicBezTo>
                  <a:lnTo>
                    <a:pt x="83" y="0"/>
                  </a:lnTo>
                  <a:lnTo>
                    <a:pt x="66" y="0"/>
                  </a:lnTo>
                  <a:lnTo>
                    <a:pt x="66" y="67"/>
                  </a:lnTo>
                  <a:cubicBezTo>
                    <a:pt x="47" y="68"/>
                    <a:pt x="28" y="71"/>
                    <a:pt x="10" y="77"/>
                  </a:cubicBezTo>
                  <a:cubicBezTo>
                    <a:pt x="5" y="79"/>
                    <a:pt x="3" y="83"/>
                    <a:pt x="4" y="88"/>
                  </a:cubicBezTo>
                  <a:cubicBezTo>
                    <a:pt x="6" y="92"/>
                    <a:pt x="11" y="94"/>
                    <a:pt x="15" y="93"/>
                  </a:cubicBezTo>
                  <a:cubicBezTo>
                    <a:pt x="32" y="87"/>
                    <a:pt x="49" y="84"/>
                    <a:pt x="66" y="84"/>
                  </a:cubicBezTo>
                  <a:lnTo>
                    <a:pt x="66" y="101"/>
                  </a:lnTo>
                  <a:cubicBezTo>
                    <a:pt x="46" y="102"/>
                    <a:pt x="25" y="106"/>
                    <a:pt x="6" y="115"/>
                  </a:cubicBezTo>
                  <a:cubicBezTo>
                    <a:pt x="2" y="117"/>
                    <a:pt x="0" y="122"/>
                    <a:pt x="2" y="126"/>
                  </a:cubicBezTo>
                  <a:cubicBezTo>
                    <a:pt x="4" y="130"/>
                    <a:pt x="9" y="132"/>
                    <a:pt x="13" y="130"/>
                  </a:cubicBezTo>
                  <a:cubicBezTo>
                    <a:pt x="30" y="122"/>
                    <a:pt x="48" y="118"/>
                    <a:pt x="66" y="117"/>
                  </a:cubicBezTo>
                  <a:lnTo>
                    <a:pt x="66" y="134"/>
                  </a:lnTo>
                  <a:cubicBezTo>
                    <a:pt x="55" y="135"/>
                    <a:pt x="44" y="137"/>
                    <a:pt x="33" y="140"/>
                  </a:cubicBezTo>
                  <a:cubicBezTo>
                    <a:pt x="28" y="142"/>
                    <a:pt x="26" y="146"/>
                    <a:pt x="27" y="151"/>
                  </a:cubicBezTo>
                  <a:cubicBezTo>
                    <a:pt x="29" y="155"/>
                    <a:pt x="34" y="157"/>
                    <a:pt x="38" y="156"/>
                  </a:cubicBezTo>
                  <a:cubicBezTo>
                    <a:pt x="47" y="153"/>
                    <a:pt x="57" y="151"/>
                    <a:pt x="66" y="151"/>
                  </a:cubicBezTo>
                  <a:lnTo>
                    <a:pt x="66" y="183"/>
                  </a:lnTo>
                  <a:lnTo>
                    <a:pt x="33" y="183"/>
                  </a:lnTo>
                  <a:cubicBezTo>
                    <a:pt x="28" y="183"/>
                    <a:pt x="23" y="186"/>
                    <a:pt x="20" y="190"/>
                  </a:cubicBezTo>
                  <a:cubicBezTo>
                    <a:pt x="17" y="194"/>
                    <a:pt x="16" y="199"/>
                    <a:pt x="17" y="205"/>
                  </a:cubicBezTo>
                  <a:cubicBezTo>
                    <a:pt x="23" y="228"/>
                    <a:pt x="44" y="242"/>
                    <a:pt x="75" y="242"/>
                  </a:cubicBezTo>
                  <a:cubicBezTo>
                    <a:pt x="105" y="242"/>
                    <a:pt x="127" y="228"/>
                    <a:pt x="132" y="205"/>
                  </a:cubicBezTo>
                  <a:cubicBezTo>
                    <a:pt x="134" y="199"/>
                    <a:pt x="133" y="194"/>
                    <a:pt x="129" y="190"/>
                  </a:cubicBezTo>
                  <a:cubicBezTo>
                    <a:pt x="126" y="186"/>
                    <a:pt x="122" y="183"/>
                    <a:pt x="117" y="183"/>
                  </a:cubicBezTo>
                  <a:lnTo>
                    <a:pt x="83" y="183"/>
                  </a:lnTo>
                  <a:lnTo>
                    <a:pt x="83" y="151"/>
                  </a:lnTo>
                  <a:cubicBezTo>
                    <a:pt x="93" y="151"/>
                    <a:pt x="102" y="153"/>
                    <a:pt x="111" y="156"/>
                  </a:cubicBezTo>
                  <a:cubicBezTo>
                    <a:pt x="112" y="156"/>
                    <a:pt x="113" y="156"/>
                    <a:pt x="114" y="156"/>
                  </a:cubicBezTo>
                  <a:cubicBezTo>
                    <a:pt x="118" y="156"/>
                    <a:pt x="121" y="154"/>
                    <a:pt x="122" y="151"/>
                  </a:cubicBezTo>
                  <a:cubicBezTo>
                    <a:pt x="123" y="146"/>
                    <a:pt x="121" y="142"/>
                    <a:pt x="117" y="140"/>
                  </a:cubicBezTo>
                  <a:cubicBezTo>
                    <a:pt x="106" y="137"/>
                    <a:pt x="94" y="135"/>
                    <a:pt x="83" y="134"/>
                  </a:cubicBezTo>
                  <a:lnTo>
                    <a:pt x="83" y="117"/>
                  </a:lnTo>
                  <a:cubicBezTo>
                    <a:pt x="101" y="118"/>
                    <a:pt x="119" y="122"/>
                    <a:pt x="137" y="130"/>
                  </a:cubicBezTo>
                  <a:cubicBezTo>
                    <a:pt x="138" y="131"/>
                    <a:pt x="139" y="131"/>
                    <a:pt x="140" y="131"/>
                  </a:cubicBezTo>
                  <a:cubicBezTo>
                    <a:pt x="143" y="131"/>
                    <a:pt x="146" y="129"/>
                    <a:pt x="148" y="126"/>
                  </a:cubicBezTo>
                  <a:cubicBezTo>
                    <a:pt x="149" y="122"/>
                    <a:pt x="148" y="117"/>
                    <a:pt x="143" y="115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03" name="Freeform 21">
            <a:extLst>
              <a:ext uri="{FF2B5EF4-FFF2-40B4-BE49-F238E27FC236}">
                <a16:creationId xmlns:a16="http://schemas.microsoft.com/office/drawing/2014/main" id="{05148FC8-CC38-0555-F264-47C23F17FF58}"/>
              </a:ext>
            </a:extLst>
          </p:cNvPr>
          <p:cNvSpPr>
            <a:spLocks noEditPoints="1"/>
          </p:cNvSpPr>
          <p:nvPr/>
        </p:nvSpPr>
        <p:spPr bwMode="auto">
          <a:xfrm>
            <a:off x="2987807" y="3240584"/>
            <a:ext cx="396494" cy="349152"/>
          </a:xfrm>
          <a:custGeom>
            <a:avLst/>
            <a:gdLst>
              <a:gd name="T0" fmla="*/ 127 w 435"/>
              <a:gd name="T1" fmla="*/ 213 h 384"/>
              <a:gd name="T2" fmla="*/ 174 w 435"/>
              <a:gd name="T3" fmla="*/ 195 h 384"/>
              <a:gd name="T4" fmla="*/ 155 w 435"/>
              <a:gd name="T5" fmla="*/ 142 h 384"/>
              <a:gd name="T6" fmla="*/ 156 w 435"/>
              <a:gd name="T7" fmla="*/ 134 h 384"/>
              <a:gd name="T8" fmla="*/ 132 w 435"/>
              <a:gd name="T9" fmla="*/ 125 h 384"/>
              <a:gd name="T10" fmla="*/ 101 w 435"/>
              <a:gd name="T11" fmla="*/ 157 h 384"/>
              <a:gd name="T12" fmla="*/ 70 w 435"/>
              <a:gd name="T13" fmla="*/ 125 h 384"/>
              <a:gd name="T14" fmla="*/ 16 w 435"/>
              <a:gd name="T15" fmla="*/ 145 h 384"/>
              <a:gd name="T16" fmla="*/ 1 w 435"/>
              <a:gd name="T17" fmla="*/ 168 h 384"/>
              <a:gd name="T18" fmla="*/ 13 w 435"/>
              <a:gd name="T19" fmla="*/ 300 h 384"/>
              <a:gd name="T20" fmla="*/ 105 w 435"/>
              <a:gd name="T21" fmla="*/ 300 h 384"/>
              <a:gd name="T22" fmla="*/ 101 w 435"/>
              <a:gd name="T23" fmla="*/ 253 h 384"/>
              <a:gd name="T24" fmla="*/ 127 w 435"/>
              <a:gd name="T25" fmla="*/ 213 h 384"/>
              <a:gd name="T26" fmla="*/ 303 w 435"/>
              <a:gd name="T27" fmla="*/ 228 h 384"/>
              <a:gd name="T28" fmla="*/ 249 w 435"/>
              <a:gd name="T29" fmla="*/ 209 h 384"/>
              <a:gd name="T30" fmla="*/ 218 w 435"/>
              <a:gd name="T31" fmla="*/ 240 h 384"/>
              <a:gd name="T32" fmla="*/ 186 w 435"/>
              <a:gd name="T33" fmla="*/ 209 h 384"/>
              <a:gd name="T34" fmla="*/ 132 w 435"/>
              <a:gd name="T35" fmla="*/ 228 h 384"/>
              <a:gd name="T36" fmla="*/ 118 w 435"/>
              <a:gd name="T37" fmla="*/ 251 h 384"/>
              <a:gd name="T38" fmla="*/ 129 w 435"/>
              <a:gd name="T39" fmla="*/ 384 h 384"/>
              <a:gd name="T40" fmla="*/ 306 w 435"/>
              <a:gd name="T41" fmla="*/ 384 h 384"/>
              <a:gd name="T42" fmla="*/ 318 w 435"/>
              <a:gd name="T43" fmla="*/ 251 h 384"/>
              <a:gd name="T44" fmla="*/ 303 w 435"/>
              <a:gd name="T45" fmla="*/ 228 h 384"/>
              <a:gd name="T46" fmla="*/ 420 w 435"/>
              <a:gd name="T47" fmla="*/ 145 h 384"/>
              <a:gd name="T48" fmla="*/ 366 w 435"/>
              <a:gd name="T49" fmla="*/ 125 h 384"/>
              <a:gd name="T50" fmla="*/ 334 w 435"/>
              <a:gd name="T51" fmla="*/ 157 h 384"/>
              <a:gd name="T52" fmla="*/ 303 w 435"/>
              <a:gd name="T53" fmla="*/ 125 h 384"/>
              <a:gd name="T54" fmla="*/ 279 w 435"/>
              <a:gd name="T55" fmla="*/ 134 h 384"/>
              <a:gd name="T56" fmla="*/ 280 w 435"/>
              <a:gd name="T57" fmla="*/ 142 h 384"/>
              <a:gd name="T58" fmla="*/ 261 w 435"/>
              <a:gd name="T59" fmla="*/ 195 h 384"/>
              <a:gd name="T60" fmla="*/ 309 w 435"/>
              <a:gd name="T61" fmla="*/ 213 h 384"/>
              <a:gd name="T62" fmla="*/ 334 w 435"/>
              <a:gd name="T63" fmla="*/ 253 h 384"/>
              <a:gd name="T64" fmla="*/ 330 w 435"/>
              <a:gd name="T65" fmla="*/ 300 h 384"/>
              <a:gd name="T66" fmla="*/ 423 w 435"/>
              <a:gd name="T67" fmla="*/ 300 h 384"/>
              <a:gd name="T68" fmla="*/ 434 w 435"/>
              <a:gd name="T69" fmla="*/ 168 h 384"/>
              <a:gd name="T70" fmla="*/ 420 w 435"/>
              <a:gd name="T71" fmla="*/ 145 h 384"/>
              <a:gd name="T72" fmla="*/ 334 w 435"/>
              <a:gd name="T73" fmla="*/ 117 h 384"/>
              <a:gd name="T74" fmla="*/ 380 w 435"/>
              <a:gd name="T75" fmla="*/ 59 h 384"/>
              <a:gd name="T76" fmla="*/ 334 w 435"/>
              <a:gd name="T77" fmla="*/ 0 h 384"/>
              <a:gd name="T78" fmla="*/ 289 w 435"/>
              <a:gd name="T79" fmla="*/ 59 h 384"/>
              <a:gd name="T80" fmla="*/ 334 w 435"/>
              <a:gd name="T81" fmla="*/ 117 h 384"/>
              <a:gd name="T82" fmla="*/ 218 w 435"/>
              <a:gd name="T83" fmla="*/ 200 h 384"/>
              <a:gd name="T84" fmla="*/ 264 w 435"/>
              <a:gd name="T85" fmla="*/ 142 h 384"/>
              <a:gd name="T86" fmla="*/ 218 w 435"/>
              <a:gd name="T87" fmla="*/ 84 h 384"/>
              <a:gd name="T88" fmla="*/ 172 w 435"/>
              <a:gd name="T89" fmla="*/ 142 h 384"/>
              <a:gd name="T90" fmla="*/ 218 w 435"/>
              <a:gd name="T91" fmla="*/ 200 h 384"/>
              <a:gd name="T92" fmla="*/ 55 w 435"/>
              <a:gd name="T93" fmla="*/ 59 h 384"/>
              <a:gd name="T94" fmla="*/ 101 w 435"/>
              <a:gd name="T95" fmla="*/ 0 h 384"/>
              <a:gd name="T96" fmla="*/ 147 w 435"/>
              <a:gd name="T97" fmla="*/ 59 h 384"/>
              <a:gd name="T98" fmla="*/ 101 w 435"/>
              <a:gd name="T99" fmla="*/ 117 h 384"/>
              <a:gd name="T100" fmla="*/ 55 w 435"/>
              <a:gd name="T101" fmla="*/ 59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35" h="384">
                <a:moveTo>
                  <a:pt x="127" y="213"/>
                </a:moveTo>
                <a:lnTo>
                  <a:pt x="174" y="195"/>
                </a:lnTo>
                <a:cubicBezTo>
                  <a:pt x="162" y="182"/>
                  <a:pt x="155" y="163"/>
                  <a:pt x="155" y="142"/>
                </a:cubicBezTo>
                <a:cubicBezTo>
                  <a:pt x="155" y="139"/>
                  <a:pt x="156" y="137"/>
                  <a:pt x="156" y="134"/>
                </a:cubicBezTo>
                <a:lnTo>
                  <a:pt x="132" y="125"/>
                </a:lnTo>
                <a:lnTo>
                  <a:pt x="101" y="157"/>
                </a:lnTo>
                <a:lnTo>
                  <a:pt x="70" y="125"/>
                </a:lnTo>
                <a:lnTo>
                  <a:pt x="16" y="145"/>
                </a:lnTo>
                <a:cubicBezTo>
                  <a:pt x="6" y="148"/>
                  <a:pt x="0" y="158"/>
                  <a:pt x="1" y="168"/>
                </a:cubicBezTo>
                <a:lnTo>
                  <a:pt x="13" y="300"/>
                </a:lnTo>
                <a:lnTo>
                  <a:pt x="105" y="300"/>
                </a:lnTo>
                <a:lnTo>
                  <a:pt x="101" y="253"/>
                </a:lnTo>
                <a:cubicBezTo>
                  <a:pt x="100" y="235"/>
                  <a:pt x="110" y="219"/>
                  <a:pt x="127" y="213"/>
                </a:cubicBezTo>
                <a:close/>
                <a:moveTo>
                  <a:pt x="303" y="228"/>
                </a:moveTo>
                <a:lnTo>
                  <a:pt x="249" y="209"/>
                </a:lnTo>
                <a:lnTo>
                  <a:pt x="218" y="240"/>
                </a:lnTo>
                <a:lnTo>
                  <a:pt x="186" y="209"/>
                </a:lnTo>
                <a:lnTo>
                  <a:pt x="132" y="228"/>
                </a:lnTo>
                <a:cubicBezTo>
                  <a:pt x="123" y="232"/>
                  <a:pt x="117" y="241"/>
                  <a:pt x="118" y="251"/>
                </a:cubicBezTo>
                <a:lnTo>
                  <a:pt x="129" y="384"/>
                </a:lnTo>
                <a:lnTo>
                  <a:pt x="306" y="384"/>
                </a:lnTo>
                <a:lnTo>
                  <a:pt x="318" y="251"/>
                </a:lnTo>
                <a:cubicBezTo>
                  <a:pt x="318" y="241"/>
                  <a:pt x="312" y="232"/>
                  <a:pt x="303" y="228"/>
                </a:cubicBezTo>
                <a:close/>
                <a:moveTo>
                  <a:pt x="420" y="145"/>
                </a:moveTo>
                <a:lnTo>
                  <a:pt x="366" y="125"/>
                </a:lnTo>
                <a:lnTo>
                  <a:pt x="334" y="157"/>
                </a:lnTo>
                <a:lnTo>
                  <a:pt x="303" y="125"/>
                </a:lnTo>
                <a:lnTo>
                  <a:pt x="279" y="134"/>
                </a:lnTo>
                <a:cubicBezTo>
                  <a:pt x="280" y="137"/>
                  <a:pt x="280" y="139"/>
                  <a:pt x="280" y="142"/>
                </a:cubicBezTo>
                <a:cubicBezTo>
                  <a:pt x="280" y="163"/>
                  <a:pt x="273" y="182"/>
                  <a:pt x="261" y="195"/>
                </a:cubicBezTo>
                <a:lnTo>
                  <a:pt x="309" y="213"/>
                </a:lnTo>
                <a:cubicBezTo>
                  <a:pt x="325" y="219"/>
                  <a:pt x="336" y="235"/>
                  <a:pt x="334" y="253"/>
                </a:cubicBezTo>
                <a:lnTo>
                  <a:pt x="330" y="300"/>
                </a:lnTo>
                <a:lnTo>
                  <a:pt x="423" y="300"/>
                </a:lnTo>
                <a:lnTo>
                  <a:pt x="434" y="168"/>
                </a:lnTo>
                <a:cubicBezTo>
                  <a:pt x="435" y="158"/>
                  <a:pt x="429" y="148"/>
                  <a:pt x="420" y="145"/>
                </a:cubicBezTo>
                <a:close/>
                <a:moveTo>
                  <a:pt x="334" y="117"/>
                </a:moveTo>
                <a:cubicBezTo>
                  <a:pt x="360" y="117"/>
                  <a:pt x="380" y="91"/>
                  <a:pt x="380" y="59"/>
                </a:cubicBezTo>
                <a:cubicBezTo>
                  <a:pt x="380" y="26"/>
                  <a:pt x="360" y="0"/>
                  <a:pt x="334" y="0"/>
                </a:cubicBezTo>
                <a:cubicBezTo>
                  <a:pt x="309" y="0"/>
                  <a:pt x="289" y="26"/>
                  <a:pt x="289" y="59"/>
                </a:cubicBezTo>
                <a:cubicBezTo>
                  <a:pt x="289" y="91"/>
                  <a:pt x="309" y="117"/>
                  <a:pt x="334" y="117"/>
                </a:cubicBezTo>
                <a:close/>
                <a:moveTo>
                  <a:pt x="218" y="200"/>
                </a:moveTo>
                <a:cubicBezTo>
                  <a:pt x="243" y="200"/>
                  <a:pt x="264" y="174"/>
                  <a:pt x="264" y="142"/>
                </a:cubicBezTo>
                <a:cubicBezTo>
                  <a:pt x="264" y="110"/>
                  <a:pt x="243" y="84"/>
                  <a:pt x="218" y="84"/>
                </a:cubicBezTo>
                <a:cubicBezTo>
                  <a:pt x="192" y="84"/>
                  <a:pt x="172" y="110"/>
                  <a:pt x="172" y="142"/>
                </a:cubicBezTo>
                <a:cubicBezTo>
                  <a:pt x="172" y="174"/>
                  <a:pt x="192" y="200"/>
                  <a:pt x="218" y="200"/>
                </a:cubicBezTo>
                <a:close/>
                <a:moveTo>
                  <a:pt x="55" y="59"/>
                </a:moveTo>
                <a:cubicBezTo>
                  <a:pt x="55" y="26"/>
                  <a:pt x="76" y="0"/>
                  <a:pt x="101" y="0"/>
                </a:cubicBezTo>
                <a:cubicBezTo>
                  <a:pt x="126" y="0"/>
                  <a:pt x="147" y="26"/>
                  <a:pt x="147" y="59"/>
                </a:cubicBezTo>
                <a:cubicBezTo>
                  <a:pt x="147" y="91"/>
                  <a:pt x="126" y="117"/>
                  <a:pt x="101" y="117"/>
                </a:cubicBezTo>
                <a:cubicBezTo>
                  <a:pt x="76" y="117"/>
                  <a:pt x="55" y="91"/>
                  <a:pt x="55" y="5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04" name="Freeform 5">
            <a:extLst>
              <a:ext uri="{FF2B5EF4-FFF2-40B4-BE49-F238E27FC236}">
                <a16:creationId xmlns:a16="http://schemas.microsoft.com/office/drawing/2014/main" id="{77F154AA-6129-220E-D605-869426315AFD}"/>
              </a:ext>
            </a:extLst>
          </p:cNvPr>
          <p:cNvSpPr>
            <a:spLocks noEditPoints="1"/>
          </p:cNvSpPr>
          <p:nvPr/>
        </p:nvSpPr>
        <p:spPr bwMode="auto">
          <a:xfrm>
            <a:off x="6716101" y="2275307"/>
            <a:ext cx="431850" cy="400706"/>
          </a:xfrm>
          <a:custGeom>
            <a:avLst/>
            <a:gdLst>
              <a:gd name="T0" fmla="*/ 48 w 112"/>
              <a:gd name="T1" fmla="*/ 60 h 104"/>
              <a:gd name="T2" fmla="*/ 64 w 112"/>
              <a:gd name="T3" fmla="*/ 60 h 104"/>
              <a:gd name="T4" fmla="*/ 64 w 112"/>
              <a:gd name="T5" fmla="*/ 76 h 104"/>
              <a:gd name="T6" fmla="*/ 56 w 112"/>
              <a:gd name="T7" fmla="*/ 84 h 104"/>
              <a:gd name="T8" fmla="*/ 32 w 112"/>
              <a:gd name="T9" fmla="*/ 84 h 104"/>
              <a:gd name="T10" fmla="*/ 12 w 112"/>
              <a:gd name="T11" fmla="*/ 104 h 104"/>
              <a:gd name="T12" fmla="*/ 12 w 112"/>
              <a:gd name="T13" fmla="*/ 84 h 104"/>
              <a:gd name="T14" fmla="*/ 8 w 112"/>
              <a:gd name="T15" fmla="*/ 84 h 104"/>
              <a:gd name="T16" fmla="*/ 0 w 112"/>
              <a:gd name="T17" fmla="*/ 76 h 104"/>
              <a:gd name="T18" fmla="*/ 0 w 112"/>
              <a:gd name="T19" fmla="*/ 48 h 104"/>
              <a:gd name="T20" fmla="*/ 8 w 112"/>
              <a:gd name="T21" fmla="*/ 40 h 104"/>
              <a:gd name="T22" fmla="*/ 32 w 112"/>
              <a:gd name="T23" fmla="*/ 40 h 104"/>
              <a:gd name="T24" fmla="*/ 32 w 112"/>
              <a:gd name="T25" fmla="*/ 44 h 104"/>
              <a:gd name="T26" fmla="*/ 48 w 112"/>
              <a:gd name="T27" fmla="*/ 60 h 104"/>
              <a:gd name="T28" fmla="*/ 112 w 112"/>
              <a:gd name="T29" fmla="*/ 8 h 104"/>
              <a:gd name="T30" fmla="*/ 112 w 112"/>
              <a:gd name="T31" fmla="*/ 44 h 104"/>
              <a:gd name="T32" fmla="*/ 104 w 112"/>
              <a:gd name="T33" fmla="*/ 52 h 104"/>
              <a:gd name="T34" fmla="*/ 100 w 112"/>
              <a:gd name="T35" fmla="*/ 52 h 104"/>
              <a:gd name="T36" fmla="*/ 100 w 112"/>
              <a:gd name="T37" fmla="*/ 72 h 104"/>
              <a:gd name="T38" fmla="*/ 80 w 112"/>
              <a:gd name="T39" fmla="*/ 52 h 104"/>
              <a:gd name="T40" fmla="*/ 48 w 112"/>
              <a:gd name="T41" fmla="*/ 52 h 104"/>
              <a:gd name="T42" fmla="*/ 40 w 112"/>
              <a:gd name="T43" fmla="*/ 44 h 104"/>
              <a:gd name="T44" fmla="*/ 40 w 112"/>
              <a:gd name="T45" fmla="*/ 8 h 104"/>
              <a:gd name="T46" fmla="*/ 48 w 112"/>
              <a:gd name="T47" fmla="*/ 0 h 104"/>
              <a:gd name="T48" fmla="*/ 104 w 112"/>
              <a:gd name="T49" fmla="*/ 0 h 104"/>
              <a:gd name="T50" fmla="*/ 112 w 112"/>
              <a:gd name="T51" fmla="*/ 8 h 104"/>
              <a:gd name="T52" fmla="*/ 86 w 112"/>
              <a:gd name="T53" fmla="*/ 26 h 104"/>
              <a:gd name="T54" fmla="*/ 73 w 112"/>
              <a:gd name="T55" fmla="*/ 13 h 104"/>
              <a:gd name="T56" fmla="*/ 68 w 112"/>
              <a:gd name="T57" fmla="*/ 15 h 104"/>
              <a:gd name="T58" fmla="*/ 68 w 112"/>
              <a:gd name="T59" fmla="*/ 37 h 104"/>
              <a:gd name="T60" fmla="*/ 73 w 112"/>
              <a:gd name="T61" fmla="*/ 39 h 104"/>
              <a:gd name="T62" fmla="*/ 86 w 112"/>
              <a:gd name="T63" fmla="*/ 26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12" h="104">
                <a:moveTo>
                  <a:pt x="48" y="60"/>
                </a:moveTo>
                <a:cubicBezTo>
                  <a:pt x="64" y="60"/>
                  <a:pt x="64" y="60"/>
                  <a:pt x="64" y="60"/>
                </a:cubicBezTo>
                <a:cubicBezTo>
                  <a:pt x="64" y="76"/>
                  <a:pt x="64" y="76"/>
                  <a:pt x="64" y="76"/>
                </a:cubicBezTo>
                <a:cubicBezTo>
                  <a:pt x="64" y="80"/>
                  <a:pt x="60" y="84"/>
                  <a:pt x="56" y="84"/>
                </a:cubicBezTo>
                <a:cubicBezTo>
                  <a:pt x="32" y="84"/>
                  <a:pt x="32" y="84"/>
                  <a:pt x="32" y="84"/>
                </a:cubicBezTo>
                <a:cubicBezTo>
                  <a:pt x="12" y="104"/>
                  <a:pt x="12" y="104"/>
                  <a:pt x="12" y="104"/>
                </a:cubicBezTo>
                <a:cubicBezTo>
                  <a:pt x="12" y="84"/>
                  <a:pt x="12" y="84"/>
                  <a:pt x="12" y="84"/>
                </a:cubicBezTo>
                <a:cubicBezTo>
                  <a:pt x="8" y="84"/>
                  <a:pt x="8" y="84"/>
                  <a:pt x="8" y="84"/>
                </a:cubicBezTo>
                <a:cubicBezTo>
                  <a:pt x="4" y="84"/>
                  <a:pt x="0" y="80"/>
                  <a:pt x="0" y="76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44"/>
                  <a:pt x="4" y="40"/>
                  <a:pt x="8" y="40"/>
                </a:cubicBezTo>
                <a:cubicBezTo>
                  <a:pt x="32" y="40"/>
                  <a:pt x="32" y="40"/>
                  <a:pt x="32" y="40"/>
                </a:cubicBezTo>
                <a:cubicBezTo>
                  <a:pt x="32" y="44"/>
                  <a:pt x="32" y="44"/>
                  <a:pt x="32" y="44"/>
                </a:cubicBezTo>
                <a:cubicBezTo>
                  <a:pt x="32" y="53"/>
                  <a:pt x="39" y="60"/>
                  <a:pt x="48" y="60"/>
                </a:cubicBezTo>
                <a:close/>
                <a:moveTo>
                  <a:pt x="112" y="8"/>
                </a:moveTo>
                <a:cubicBezTo>
                  <a:pt x="112" y="44"/>
                  <a:pt x="112" y="44"/>
                  <a:pt x="112" y="44"/>
                </a:cubicBezTo>
                <a:cubicBezTo>
                  <a:pt x="112" y="48"/>
                  <a:pt x="108" y="52"/>
                  <a:pt x="104" y="52"/>
                </a:cubicBezTo>
                <a:cubicBezTo>
                  <a:pt x="100" y="52"/>
                  <a:pt x="100" y="52"/>
                  <a:pt x="100" y="5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80" y="52"/>
                  <a:pt x="80" y="52"/>
                  <a:pt x="80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44" y="52"/>
                  <a:pt x="40" y="48"/>
                  <a:pt x="40" y="44"/>
                </a:cubicBezTo>
                <a:cubicBezTo>
                  <a:pt x="40" y="8"/>
                  <a:pt x="40" y="8"/>
                  <a:pt x="40" y="8"/>
                </a:cubicBezTo>
                <a:cubicBezTo>
                  <a:pt x="40" y="4"/>
                  <a:pt x="44" y="0"/>
                  <a:pt x="48" y="0"/>
                </a:cubicBezTo>
                <a:cubicBezTo>
                  <a:pt x="104" y="0"/>
                  <a:pt x="104" y="0"/>
                  <a:pt x="104" y="0"/>
                </a:cubicBezTo>
                <a:cubicBezTo>
                  <a:pt x="108" y="0"/>
                  <a:pt x="112" y="4"/>
                  <a:pt x="112" y="8"/>
                </a:cubicBezTo>
                <a:close/>
                <a:moveTo>
                  <a:pt x="86" y="26"/>
                </a:moveTo>
                <a:cubicBezTo>
                  <a:pt x="73" y="13"/>
                  <a:pt x="73" y="13"/>
                  <a:pt x="73" y="13"/>
                </a:cubicBezTo>
                <a:cubicBezTo>
                  <a:pt x="71" y="11"/>
                  <a:pt x="68" y="12"/>
                  <a:pt x="68" y="15"/>
                </a:cubicBezTo>
                <a:cubicBezTo>
                  <a:pt x="68" y="37"/>
                  <a:pt x="68" y="37"/>
                  <a:pt x="68" y="37"/>
                </a:cubicBezTo>
                <a:cubicBezTo>
                  <a:pt x="68" y="40"/>
                  <a:pt x="71" y="41"/>
                  <a:pt x="73" y="39"/>
                </a:cubicBezTo>
                <a:lnTo>
                  <a:pt x="86" y="2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D55C19B3-DD18-2B51-EA17-BBDC751DA0EB}"/>
              </a:ext>
            </a:extLst>
          </p:cNvPr>
          <p:cNvSpPr txBox="1">
            <a:spLocks/>
          </p:cNvSpPr>
          <p:nvPr/>
        </p:nvSpPr>
        <p:spPr>
          <a:xfrm>
            <a:off x="540000" y="4655528"/>
            <a:ext cx="1201209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lattform</a:t>
            </a:r>
          </a:p>
        </p:txBody>
      </p:sp>
      <p:sp>
        <p:nvSpPr>
          <p:cNvPr id="602" name="Textfeld 601">
            <a:extLst>
              <a:ext uri="{FF2B5EF4-FFF2-40B4-BE49-F238E27FC236}">
                <a16:creationId xmlns:a16="http://schemas.microsoft.com/office/drawing/2014/main" id="{876279BC-DCD2-4C0A-B844-AAD42071DBDA}"/>
              </a:ext>
            </a:extLst>
          </p:cNvPr>
          <p:cNvSpPr txBox="1">
            <a:spLocks/>
          </p:cNvSpPr>
          <p:nvPr/>
        </p:nvSpPr>
        <p:spPr>
          <a:xfrm>
            <a:off x="540000" y="5703278"/>
            <a:ext cx="1201209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enquell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B10775E-F243-7970-1375-86EDD866CE1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biLevel thresh="75000"/>
          </a:blip>
          <a:srcRect b="39474"/>
          <a:stretch/>
        </p:blipFill>
        <p:spPr>
          <a:xfrm>
            <a:off x="3343626" y="4639040"/>
            <a:ext cx="3025424" cy="246920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67126AEE-1894-51FF-541F-3E91414EEA2B}"/>
              </a:ext>
            </a:extLst>
          </p:cNvPr>
          <p:cNvSpPr>
            <a:spLocks noEditPoints="1"/>
          </p:cNvSpPr>
          <p:nvPr/>
        </p:nvSpPr>
        <p:spPr bwMode="auto">
          <a:xfrm>
            <a:off x="9739312" y="2834331"/>
            <a:ext cx="377825" cy="660400"/>
          </a:xfrm>
          <a:custGeom>
            <a:avLst/>
            <a:gdLst>
              <a:gd name="T0" fmla="*/ 56 w 64"/>
              <a:gd name="T1" fmla="*/ 0 h 112"/>
              <a:gd name="T2" fmla="*/ 8 w 64"/>
              <a:gd name="T3" fmla="*/ 0 h 112"/>
              <a:gd name="T4" fmla="*/ 0 w 64"/>
              <a:gd name="T5" fmla="*/ 8 h 112"/>
              <a:gd name="T6" fmla="*/ 0 w 64"/>
              <a:gd name="T7" fmla="*/ 104 h 112"/>
              <a:gd name="T8" fmla="*/ 8 w 64"/>
              <a:gd name="T9" fmla="*/ 112 h 112"/>
              <a:gd name="T10" fmla="*/ 56 w 64"/>
              <a:gd name="T11" fmla="*/ 112 h 112"/>
              <a:gd name="T12" fmla="*/ 64 w 64"/>
              <a:gd name="T13" fmla="*/ 104 h 112"/>
              <a:gd name="T14" fmla="*/ 64 w 64"/>
              <a:gd name="T15" fmla="*/ 8 h 112"/>
              <a:gd name="T16" fmla="*/ 56 w 64"/>
              <a:gd name="T17" fmla="*/ 0 h 112"/>
              <a:gd name="T18" fmla="*/ 32 w 64"/>
              <a:gd name="T19" fmla="*/ 104 h 112"/>
              <a:gd name="T20" fmla="*/ 28 w 64"/>
              <a:gd name="T21" fmla="*/ 100 h 112"/>
              <a:gd name="T22" fmla="*/ 32 w 64"/>
              <a:gd name="T23" fmla="*/ 96 h 112"/>
              <a:gd name="T24" fmla="*/ 36 w 64"/>
              <a:gd name="T25" fmla="*/ 100 h 112"/>
              <a:gd name="T26" fmla="*/ 32 w 64"/>
              <a:gd name="T27" fmla="*/ 104 h 112"/>
              <a:gd name="T28" fmla="*/ 56 w 64"/>
              <a:gd name="T29" fmla="*/ 84 h 112"/>
              <a:gd name="T30" fmla="*/ 8 w 64"/>
              <a:gd name="T31" fmla="*/ 84 h 112"/>
              <a:gd name="T32" fmla="*/ 8 w 64"/>
              <a:gd name="T33" fmla="*/ 8 h 112"/>
              <a:gd name="T34" fmla="*/ 56 w 64"/>
              <a:gd name="T35" fmla="*/ 8 h 112"/>
              <a:gd name="T36" fmla="*/ 56 w 64"/>
              <a:gd name="T37" fmla="*/ 84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4" h="112">
                <a:moveTo>
                  <a:pt x="56" y="0"/>
                </a:moveTo>
                <a:cubicBezTo>
                  <a:pt x="8" y="0"/>
                  <a:pt x="8" y="0"/>
                  <a:pt x="8" y="0"/>
                </a:cubicBezTo>
                <a:cubicBezTo>
                  <a:pt x="4" y="0"/>
                  <a:pt x="0" y="4"/>
                  <a:pt x="0" y="8"/>
                </a:cubicBezTo>
                <a:cubicBezTo>
                  <a:pt x="0" y="104"/>
                  <a:pt x="0" y="104"/>
                  <a:pt x="0" y="104"/>
                </a:cubicBezTo>
                <a:cubicBezTo>
                  <a:pt x="0" y="108"/>
                  <a:pt x="4" y="112"/>
                  <a:pt x="8" y="112"/>
                </a:cubicBezTo>
                <a:cubicBezTo>
                  <a:pt x="56" y="112"/>
                  <a:pt x="56" y="112"/>
                  <a:pt x="56" y="112"/>
                </a:cubicBezTo>
                <a:cubicBezTo>
                  <a:pt x="60" y="112"/>
                  <a:pt x="64" y="108"/>
                  <a:pt x="64" y="104"/>
                </a:cubicBezTo>
                <a:cubicBezTo>
                  <a:pt x="64" y="8"/>
                  <a:pt x="64" y="8"/>
                  <a:pt x="64" y="8"/>
                </a:cubicBezTo>
                <a:cubicBezTo>
                  <a:pt x="64" y="4"/>
                  <a:pt x="60" y="0"/>
                  <a:pt x="56" y="0"/>
                </a:cubicBezTo>
                <a:close/>
                <a:moveTo>
                  <a:pt x="32" y="104"/>
                </a:moveTo>
                <a:cubicBezTo>
                  <a:pt x="30" y="104"/>
                  <a:pt x="28" y="102"/>
                  <a:pt x="28" y="100"/>
                </a:cubicBezTo>
                <a:cubicBezTo>
                  <a:pt x="28" y="98"/>
                  <a:pt x="30" y="96"/>
                  <a:pt x="32" y="96"/>
                </a:cubicBezTo>
                <a:cubicBezTo>
                  <a:pt x="34" y="96"/>
                  <a:pt x="36" y="98"/>
                  <a:pt x="36" y="100"/>
                </a:cubicBezTo>
                <a:cubicBezTo>
                  <a:pt x="36" y="102"/>
                  <a:pt x="34" y="104"/>
                  <a:pt x="32" y="104"/>
                </a:cubicBezTo>
                <a:close/>
                <a:moveTo>
                  <a:pt x="56" y="84"/>
                </a:moveTo>
                <a:cubicBezTo>
                  <a:pt x="8" y="84"/>
                  <a:pt x="8" y="84"/>
                  <a:pt x="8" y="84"/>
                </a:cubicBezTo>
                <a:cubicBezTo>
                  <a:pt x="8" y="8"/>
                  <a:pt x="8" y="8"/>
                  <a:pt x="8" y="8"/>
                </a:cubicBezTo>
                <a:cubicBezTo>
                  <a:pt x="56" y="8"/>
                  <a:pt x="56" y="8"/>
                  <a:pt x="56" y="8"/>
                </a:cubicBezTo>
                <a:lnTo>
                  <a:pt x="56" y="8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93784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2AB28E-E0FA-3E32-2C42-71DECF5B44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2AB28E-E0FA-3E32-2C42-71DECF5B44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Freihandform: Form 77">
            <a:extLst>
              <a:ext uri="{FF2B5EF4-FFF2-40B4-BE49-F238E27FC236}">
                <a16:creationId xmlns:a16="http://schemas.microsoft.com/office/drawing/2014/main" id="{81893E94-B07F-A0C7-9DC6-0BEEB51B2810}"/>
              </a:ext>
            </a:extLst>
          </p:cNvPr>
          <p:cNvSpPr>
            <a:spLocks/>
          </p:cNvSpPr>
          <p:nvPr/>
        </p:nvSpPr>
        <p:spPr>
          <a:xfrm rot="10800000" flipH="1">
            <a:off x="5733" y="1619250"/>
            <a:ext cx="3174029" cy="5243648"/>
          </a:xfrm>
          <a:custGeom>
            <a:avLst/>
            <a:gdLst>
              <a:gd name="connsiteX0" fmla="*/ 534017 w 3174029"/>
              <a:gd name="connsiteY0" fmla="*/ 5243648 h 5243648"/>
              <a:gd name="connsiteX1" fmla="*/ 534017 w 3174029"/>
              <a:gd name="connsiteY1" fmla="*/ 3134597 h 5243648"/>
              <a:gd name="connsiteX2" fmla="*/ 3174029 w 3174029"/>
              <a:gd name="connsiteY2" fmla="*/ 3134597 h 5243648"/>
              <a:gd name="connsiteX3" fmla="*/ 1889321 w 3174029"/>
              <a:gd name="connsiteY3" fmla="*/ 0 h 5243648"/>
              <a:gd name="connsiteX4" fmla="*/ 0 w 3174029"/>
              <a:gd name="connsiteY4" fmla="*/ 0 h 5243648"/>
              <a:gd name="connsiteX5" fmla="*/ 0 w 3174029"/>
              <a:gd name="connsiteY5" fmla="*/ 207093 h 5243648"/>
              <a:gd name="connsiteX6" fmla="*/ 0 w 3174029"/>
              <a:gd name="connsiteY6" fmla="*/ 3134597 h 5243648"/>
              <a:gd name="connsiteX7" fmla="*/ 0 w 3174029"/>
              <a:gd name="connsiteY7" fmla="*/ 3937166 h 5243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74029" h="5243648">
                <a:moveTo>
                  <a:pt x="534017" y="5243648"/>
                </a:moveTo>
                <a:lnTo>
                  <a:pt x="534017" y="3134597"/>
                </a:lnTo>
                <a:lnTo>
                  <a:pt x="3174029" y="3134597"/>
                </a:lnTo>
                <a:lnTo>
                  <a:pt x="1889321" y="0"/>
                </a:lnTo>
                <a:lnTo>
                  <a:pt x="0" y="0"/>
                </a:lnTo>
                <a:lnTo>
                  <a:pt x="0" y="207093"/>
                </a:lnTo>
                <a:lnTo>
                  <a:pt x="0" y="3134597"/>
                </a:lnTo>
                <a:lnTo>
                  <a:pt x="0" y="3937166"/>
                </a:lnTo>
                <a:close/>
              </a:path>
            </a:pathLst>
          </a:custGeom>
          <a:pattFill prst="wdDnDiag">
            <a:fgClr>
              <a:srgbClr val="ECECEC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68EE6E3-563E-BACA-16DC-DA08237E4E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Die Architektur der </a:t>
            </a:r>
            <a:br>
              <a:rPr lang="de-DE"/>
            </a:br>
            <a:r>
              <a:rPr lang="en-US"/>
              <a:t>teamplay digital health platform connec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14BD1B7-A236-57A6-6396-15113EFAAC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C601D08-0DC9-684A-ABA1-D3CF7EC133CF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pt-BR"/>
              <a:t>A91GER-H-001672-E4</a:t>
            </a:r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C2D8DB4-6A9F-B90A-B17F-ED4BE52AC0E3}"/>
              </a:ext>
            </a:extLst>
          </p:cNvPr>
          <p:cNvSpPr>
            <a:spLocks/>
          </p:cNvSpPr>
          <p:nvPr/>
        </p:nvSpPr>
        <p:spPr>
          <a:xfrm>
            <a:off x="539749" y="1619250"/>
            <a:ext cx="2640013" cy="2109051"/>
          </a:xfrm>
          <a:prstGeom prst="rect">
            <a:avLst/>
          </a:prstGeom>
          <a:solidFill>
            <a:srgbClr val="EC6602"/>
          </a:solidFill>
          <a:ln>
            <a:noFill/>
          </a:ln>
          <a:effectLst>
            <a:outerShdw blurRad="50800" dist="38100" dir="8100000" algn="tr" rotWithShape="0">
              <a:prstClr val="black">
                <a:alpha val="8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200"/>
          </a:p>
        </p:txBody>
      </p:sp>
      <p:sp>
        <p:nvSpPr>
          <p:cNvPr id="13" name="Rectangle 11">
            <a:extLst>
              <a:ext uri="{FF2B5EF4-FFF2-40B4-BE49-F238E27FC236}">
                <a16:creationId xmlns:a16="http://schemas.microsoft.com/office/drawing/2014/main" id="{AEA7A3BE-6196-15F7-56CC-BD8EF2B567F8}"/>
              </a:ext>
            </a:extLst>
          </p:cNvPr>
          <p:cNvSpPr>
            <a:spLocks/>
          </p:cNvSpPr>
          <p:nvPr/>
        </p:nvSpPr>
        <p:spPr>
          <a:xfrm>
            <a:off x="760943" y="2340444"/>
            <a:ext cx="2200276" cy="517239"/>
          </a:xfrm>
          <a:prstGeom prst="roundRect">
            <a:avLst>
              <a:gd name="adj" fmla="val 50000"/>
            </a:avLst>
          </a:prstGeom>
          <a:solidFill>
            <a:srgbClr val="F9B591"/>
          </a:solidFill>
          <a:ln w="1905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tIns="72000" rtlCol="0" anchor="ctr"/>
          <a:lstStyle/>
          <a:p>
            <a:pPr algn="ctr">
              <a:lnSpc>
                <a:spcPct val="80000"/>
              </a:lnSpc>
            </a:pPr>
            <a:endParaRPr lang="de-AT" b="1">
              <a:solidFill>
                <a:schemeClr val="bg1"/>
              </a:solidFill>
            </a:endParaRPr>
          </a:p>
        </p:txBody>
      </p:sp>
      <p:sp>
        <p:nvSpPr>
          <p:cNvPr id="14" name="Rectangle 12">
            <a:extLst>
              <a:ext uri="{FF2B5EF4-FFF2-40B4-BE49-F238E27FC236}">
                <a16:creationId xmlns:a16="http://schemas.microsoft.com/office/drawing/2014/main" id="{0CAFE5A5-739D-A489-0C0E-0E9A924614C9}"/>
              </a:ext>
            </a:extLst>
          </p:cNvPr>
          <p:cNvSpPr>
            <a:spLocks/>
          </p:cNvSpPr>
          <p:nvPr/>
        </p:nvSpPr>
        <p:spPr>
          <a:xfrm>
            <a:off x="760943" y="3013308"/>
            <a:ext cx="2200276" cy="517239"/>
          </a:xfrm>
          <a:prstGeom prst="roundRect">
            <a:avLst>
              <a:gd name="adj" fmla="val 50000"/>
            </a:avLst>
          </a:prstGeom>
          <a:solidFill>
            <a:srgbClr val="F9B591"/>
          </a:solidFill>
          <a:ln w="1905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tIns="72000" rtlCol="0" anchor="ctr"/>
          <a:lstStyle/>
          <a:p>
            <a:pPr algn="ctr">
              <a:lnSpc>
                <a:spcPct val="80000"/>
              </a:lnSpc>
            </a:pPr>
            <a:endParaRPr lang="de-AT" b="1">
              <a:solidFill>
                <a:schemeClr val="bg1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28AB07-90EE-D0B1-4770-A26CEBABE1C3}"/>
              </a:ext>
            </a:extLst>
          </p:cNvPr>
          <p:cNvGrpSpPr>
            <a:grpSpLocks/>
          </p:cNvGrpSpPr>
          <p:nvPr/>
        </p:nvGrpSpPr>
        <p:grpSpPr>
          <a:xfrm>
            <a:off x="707195" y="1739582"/>
            <a:ext cx="368076" cy="367260"/>
            <a:chOff x="2390245" y="4477500"/>
            <a:chExt cx="477308" cy="476250"/>
          </a:xfrm>
          <a:solidFill>
            <a:schemeClr val="bg1"/>
          </a:solidFill>
        </p:grpSpPr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46291FBE-84B0-A577-FB91-950FCF96D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0245" y="4886017"/>
              <a:ext cx="477308" cy="67733"/>
            </a:xfrm>
            <a:custGeom>
              <a:avLst/>
              <a:gdLst>
                <a:gd name="T0" fmla="*/ 0 w 903"/>
                <a:gd name="T1" fmla="*/ 0 h 128"/>
                <a:gd name="T2" fmla="*/ 0 w 903"/>
                <a:gd name="T3" fmla="*/ 63 h 128"/>
                <a:gd name="T4" fmla="*/ 0 w 903"/>
                <a:gd name="T5" fmla="*/ 63 h 128"/>
                <a:gd name="T6" fmla="*/ 1 w 903"/>
                <a:gd name="T7" fmla="*/ 76 h 128"/>
                <a:gd name="T8" fmla="*/ 5 w 903"/>
                <a:gd name="T9" fmla="*/ 88 h 128"/>
                <a:gd name="T10" fmla="*/ 11 w 903"/>
                <a:gd name="T11" fmla="*/ 99 h 128"/>
                <a:gd name="T12" fmla="*/ 20 w 903"/>
                <a:gd name="T13" fmla="*/ 109 h 128"/>
                <a:gd name="T14" fmla="*/ 29 w 903"/>
                <a:gd name="T15" fmla="*/ 117 h 128"/>
                <a:gd name="T16" fmla="*/ 40 w 903"/>
                <a:gd name="T17" fmla="*/ 123 h 128"/>
                <a:gd name="T18" fmla="*/ 52 w 903"/>
                <a:gd name="T19" fmla="*/ 127 h 128"/>
                <a:gd name="T20" fmla="*/ 65 w 903"/>
                <a:gd name="T21" fmla="*/ 128 h 128"/>
                <a:gd name="T22" fmla="*/ 838 w 903"/>
                <a:gd name="T23" fmla="*/ 128 h 128"/>
                <a:gd name="T24" fmla="*/ 838 w 903"/>
                <a:gd name="T25" fmla="*/ 128 h 128"/>
                <a:gd name="T26" fmla="*/ 852 w 903"/>
                <a:gd name="T27" fmla="*/ 127 h 128"/>
                <a:gd name="T28" fmla="*/ 864 w 903"/>
                <a:gd name="T29" fmla="*/ 123 h 128"/>
                <a:gd name="T30" fmla="*/ 875 w 903"/>
                <a:gd name="T31" fmla="*/ 117 h 128"/>
                <a:gd name="T32" fmla="*/ 884 w 903"/>
                <a:gd name="T33" fmla="*/ 109 h 128"/>
                <a:gd name="T34" fmla="*/ 893 w 903"/>
                <a:gd name="T35" fmla="*/ 99 h 128"/>
                <a:gd name="T36" fmla="*/ 899 w 903"/>
                <a:gd name="T37" fmla="*/ 88 h 128"/>
                <a:gd name="T38" fmla="*/ 902 w 903"/>
                <a:gd name="T39" fmla="*/ 76 h 128"/>
                <a:gd name="T40" fmla="*/ 903 w 903"/>
                <a:gd name="T41" fmla="*/ 63 h 128"/>
                <a:gd name="T42" fmla="*/ 903 w 903"/>
                <a:gd name="T43" fmla="*/ 0 h 128"/>
                <a:gd name="T44" fmla="*/ 0 w 903"/>
                <a:gd name="T45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3" h="128">
                  <a:moveTo>
                    <a:pt x="0" y="0"/>
                  </a:moveTo>
                  <a:lnTo>
                    <a:pt x="0" y="63"/>
                  </a:lnTo>
                  <a:lnTo>
                    <a:pt x="0" y="63"/>
                  </a:lnTo>
                  <a:lnTo>
                    <a:pt x="1" y="76"/>
                  </a:lnTo>
                  <a:lnTo>
                    <a:pt x="5" y="88"/>
                  </a:lnTo>
                  <a:lnTo>
                    <a:pt x="11" y="99"/>
                  </a:lnTo>
                  <a:lnTo>
                    <a:pt x="20" y="109"/>
                  </a:lnTo>
                  <a:lnTo>
                    <a:pt x="29" y="117"/>
                  </a:lnTo>
                  <a:lnTo>
                    <a:pt x="40" y="123"/>
                  </a:lnTo>
                  <a:lnTo>
                    <a:pt x="52" y="127"/>
                  </a:lnTo>
                  <a:lnTo>
                    <a:pt x="65" y="128"/>
                  </a:lnTo>
                  <a:lnTo>
                    <a:pt x="838" y="128"/>
                  </a:lnTo>
                  <a:lnTo>
                    <a:pt x="838" y="128"/>
                  </a:lnTo>
                  <a:lnTo>
                    <a:pt x="852" y="127"/>
                  </a:lnTo>
                  <a:lnTo>
                    <a:pt x="864" y="123"/>
                  </a:lnTo>
                  <a:lnTo>
                    <a:pt x="875" y="117"/>
                  </a:lnTo>
                  <a:lnTo>
                    <a:pt x="884" y="109"/>
                  </a:lnTo>
                  <a:lnTo>
                    <a:pt x="893" y="99"/>
                  </a:lnTo>
                  <a:lnTo>
                    <a:pt x="899" y="88"/>
                  </a:lnTo>
                  <a:lnTo>
                    <a:pt x="902" y="76"/>
                  </a:lnTo>
                  <a:lnTo>
                    <a:pt x="903" y="63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20A9F869-D64D-5F02-D4A5-6722F97023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1045" y="4477500"/>
              <a:ext cx="375708" cy="373592"/>
            </a:xfrm>
            <a:custGeom>
              <a:avLst/>
              <a:gdLst>
                <a:gd name="T0" fmla="*/ 65 w 710"/>
                <a:gd name="T1" fmla="*/ 289 h 707"/>
                <a:gd name="T2" fmla="*/ 710 w 710"/>
                <a:gd name="T3" fmla="*/ 289 h 707"/>
                <a:gd name="T4" fmla="*/ 704 w 710"/>
                <a:gd name="T5" fmla="*/ 264 h 707"/>
                <a:gd name="T6" fmla="*/ 681 w 710"/>
                <a:gd name="T7" fmla="*/ 235 h 707"/>
                <a:gd name="T8" fmla="*/ 645 w 710"/>
                <a:gd name="T9" fmla="*/ 224 h 707"/>
                <a:gd name="T10" fmla="*/ 516 w 710"/>
                <a:gd name="T11" fmla="*/ 143 h 707"/>
                <a:gd name="T12" fmla="*/ 523 w 710"/>
                <a:gd name="T13" fmla="*/ 90 h 707"/>
                <a:gd name="T14" fmla="*/ 539 w 710"/>
                <a:gd name="T15" fmla="*/ 76 h 707"/>
                <a:gd name="T16" fmla="*/ 548 w 710"/>
                <a:gd name="T17" fmla="*/ 55 h 707"/>
                <a:gd name="T18" fmla="*/ 548 w 710"/>
                <a:gd name="T19" fmla="*/ 38 h 707"/>
                <a:gd name="T20" fmla="*/ 534 w 710"/>
                <a:gd name="T21" fmla="*/ 14 h 707"/>
                <a:gd name="T22" fmla="*/ 510 w 710"/>
                <a:gd name="T23" fmla="*/ 1 h 707"/>
                <a:gd name="T24" fmla="*/ 490 w 710"/>
                <a:gd name="T25" fmla="*/ 1 h 707"/>
                <a:gd name="T26" fmla="*/ 466 w 710"/>
                <a:gd name="T27" fmla="*/ 14 h 707"/>
                <a:gd name="T28" fmla="*/ 452 w 710"/>
                <a:gd name="T29" fmla="*/ 38 h 707"/>
                <a:gd name="T30" fmla="*/ 452 w 710"/>
                <a:gd name="T31" fmla="*/ 55 h 707"/>
                <a:gd name="T32" fmla="*/ 461 w 710"/>
                <a:gd name="T33" fmla="*/ 76 h 707"/>
                <a:gd name="T34" fmla="*/ 478 w 710"/>
                <a:gd name="T35" fmla="*/ 90 h 707"/>
                <a:gd name="T36" fmla="*/ 436 w 710"/>
                <a:gd name="T37" fmla="*/ 178 h 707"/>
                <a:gd name="T38" fmla="*/ 371 w 710"/>
                <a:gd name="T39" fmla="*/ 94 h 707"/>
                <a:gd name="T40" fmla="*/ 384 w 710"/>
                <a:gd name="T41" fmla="*/ 86 h 707"/>
                <a:gd name="T42" fmla="*/ 398 w 710"/>
                <a:gd name="T43" fmla="*/ 70 h 707"/>
                <a:gd name="T44" fmla="*/ 403 w 710"/>
                <a:gd name="T45" fmla="*/ 48 h 707"/>
                <a:gd name="T46" fmla="*/ 399 w 710"/>
                <a:gd name="T47" fmla="*/ 29 h 707"/>
                <a:gd name="T48" fmla="*/ 381 w 710"/>
                <a:gd name="T49" fmla="*/ 8 h 707"/>
                <a:gd name="T50" fmla="*/ 355 w 710"/>
                <a:gd name="T51" fmla="*/ 0 h 707"/>
                <a:gd name="T52" fmla="*/ 336 w 710"/>
                <a:gd name="T53" fmla="*/ 4 h 707"/>
                <a:gd name="T54" fmla="*/ 315 w 710"/>
                <a:gd name="T55" fmla="*/ 22 h 707"/>
                <a:gd name="T56" fmla="*/ 307 w 710"/>
                <a:gd name="T57" fmla="*/ 48 h 707"/>
                <a:gd name="T58" fmla="*/ 309 w 710"/>
                <a:gd name="T59" fmla="*/ 62 h 707"/>
                <a:gd name="T60" fmla="*/ 320 w 710"/>
                <a:gd name="T61" fmla="*/ 82 h 707"/>
                <a:gd name="T62" fmla="*/ 339 w 710"/>
                <a:gd name="T63" fmla="*/ 94 h 707"/>
                <a:gd name="T64" fmla="*/ 274 w 710"/>
                <a:gd name="T65" fmla="*/ 178 h 707"/>
                <a:gd name="T66" fmla="*/ 226 w 710"/>
                <a:gd name="T67" fmla="*/ 94 h 707"/>
                <a:gd name="T68" fmla="*/ 244 w 710"/>
                <a:gd name="T69" fmla="*/ 82 h 707"/>
                <a:gd name="T70" fmla="*/ 256 w 710"/>
                <a:gd name="T71" fmla="*/ 62 h 707"/>
                <a:gd name="T72" fmla="*/ 259 w 710"/>
                <a:gd name="T73" fmla="*/ 48 h 707"/>
                <a:gd name="T74" fmla="*/ 250 w 710"/>
                <a:gd name="T75" fmla="*/ 22 h 707"/>
                <a:gd name="T76" fmla="*/ 228 w 710"/>
                <a:gd name="T77" fmla="*/ 4 h 707"/>
                <a:gd name="T78" fmla="*/ 209 w 710"/>
                <a:gd name="T79" fmla="*/ 0 h 707"/>
                <a:gd name="T80" fmla="*/ 183 w 710"/>
                <a:gd name="T81" fmla="*/ 8 h 707"/>
                <a:gd name="T82" fmla="*/ 165 w 710"/>
                <a:gd name="T83" fmla="*/ 29 h 707"/>
                <a:gd name="T84" fmla="*/ 161 w 710"/>
                <a:gd name="T85" fmla="*/ 48 h 707"/>
                <a:gd name="T86" fmla="*/ 167 w 710"/>
                <a:gd name="T87" fmla="*/ 70 h 707"/>
                <a:gd name="T88" fmla="*/ 180 w 710"/>
                <a:gd name="T89" fmla="*/ 86 h 707"/>
                <a:gd name="T90" fmla="*/ 193 w 710"/>
                <a:gd name="T91" fmla="*/ 143 h 707"/>
                <a:gd name="T92" fmla="*/ 65 w 710"/>
                <a:gd name="T93" fmla="*/ 224 h 707"/>
                <a:gd name="T94" fmla="*/ 39 w 710"/>
                <a:gd name="T95" fmla="*/ 230 h 707"/>
                <a:gd name="T96" fmla="*/ 12 w 710"/>
                <a:gd name="T97" fmla="*/ 253 h 707"/>
                <a:gd name="T98" fmla="*/ 0 w 710"/>
                <a:gd name="T99" fmla="*/ 289 h 707"/>
                <a:gd name="T100" fmla="*/ 710 w 710"/>
                <a:gd name="T101" fmla="*/ 289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10" h="707">
                  <a:moveTo>
                    <a:pt x="645" y="643"/>
                  </a:moveTo>
                  <a:lnTo>
                    <a:pt x="65" y="643"/>
                  </a:lnTo>
                  <a:lnTo>
                    <a:pt x="65" y="289"/>
                  </a:lnTo>
                  <a:lnTo>
                    <a:pt x="645" y="289"/>
                  </a:lnTo>
                  <a:lnTo>
                    <a:pt x="645" y="643"/>
                  </a:lnTo>
                  <a:close/>
                  <a:moveTo>
                    <a:pt x="710" y="289"/>
                  </a:moveTo>
                  <a:lnTo>
                    <a:pt x="710" y="289"/>
                  </a:lnTo>
                  <a:lnTo>
                    <a:pt x="709" y="276"/>
                  </a:lnTo>
                  <a:lnTo>
                    <a:pt x="704" y="264"/>
                  </a:lnTo>
                  <a:lnTo>
                    <a:pt x="699" y="253"/>
                  </a:lnTo>
                  <a:lnTo>
                    <a:pt x="691" y="244"/>
                  </a:lnTo>
                  <a:lnTo>
                    <a:pt x="681" y="235"/>
                  </a:lnTo>
                  <a:lnTo>
                    <a:pt x="670" y="230"/>
                  </a:lnTo>
                  <a:lnTo>
                    <a:pt x="658" y="226"/>
                  </a:lnTo>
                  <a:lnTo>
                    <a:pt x="645" y="224"/>
                  </a:lnTo>
                  <a:lnTo>
                    <a:pt x="468" y="224"/>
                  </a:lnTo>
                  <a:lnTo>
                    <a:pt x="468" y="191"/>
                  </a:lnTo>
                  <a:lnTo>
                    <a:pt x="516" y="143"/>
                  </a:lnTo>
                  <a:lnTo>
                    <a:pt x="516" y="94"/>
                  </a:lnTo>
                  <a:lnTo>
                    <a:pt x="516" y="94"/>
                  </a:lnTo>
                  <a:lnTo>
                    <a:pt x="523" y="90"/>
                  </a:lnTo>
                  <a:lnTo>
                    <a:pt x="529" y="86"/>
                  </a:lnTo>
                  <a:lnTo>
                    <a:pt x="534" y="82"/>
                  </a:lnTo>
                  <a:lnTo>
                    <a:pt x="539" y="76"/>
                  </a:lnTo>
                  <a:lnTo>
                    <a:pt x="543" y="70"/>
                  </a:lnTo>
                  <a:lnTo>
                    <a:pt x="546" y="62"/>
                  </a:lnTo>
                  <a:lnTo>
                    <a:pt x="548" y="55"/>
                  </a:lnTo>
                  <a:lnTo>
                    <a:pt x="549" y="48"/>
                  </a:lnTo>
                  <a:lnTo>
                    <a:pt x="549" y="48"/>
                  </a:lnTo>
                  <a:lnTo>
                    <a:pt x="548" y="38"/>
                  </a:lnTo>
                  <a:lnTo>
                    <a:pt x="545" y="29"/>
                  </a:lnTo>
                  <a:lnTo>
                    <a:pt x="540" y="22"/>
                  </a:lnTo>
                  <a:lnTo>
                    <a:pt x="534" y="14"/>
                  </a:lnTo>
                  <a:lnTo>
                    <a:pt x="527" y="8"/>
                  </a:lnTo>
                  <a:lnTo>
                    <a:pt x="519" y="4"/>
                  </a:lnTo>
                  <a:lnTo>
                    <a:pt x="510" y="1"/>
                  </a:lnTo>
                  <a:lnTo>
                    <a:pt x="501" y="0"/>
                  </a:lnTo>
                  <a:lnTo>
                    <a:pt x="501" y="0"/>
                  </a:lnTo>
                  <a:lnTo>
                    <a:pt x="490" y="1"/>
                  </a:lnTo>
                  <a:lnTo>
                    <a:pt x="481" y="4"/>
                  </a:lnTo>
                  <a:lnTo>
                    <a:pt x="473" y="8"/>
                  </a:lnTo>
                  <a:lnTo>
                    <a:pt x="466" y="14"/>
                  </a:lnTo>
                  <a:lnTo>
                    <a:pt x="460" y="22"/>
                  </a:lnTo>
                  <a:lnTo>
                    <a:pt x="456" y="29"/>
                  </a:lnTo>
                  <a:lnTo>
                    <a:pt x="452" y="38"/>
                  </a:lnTo>
                  <a:lnTo>
                    <a:pt x="451" y="48"/>
                  </a:lnTo>
                  <a:lnTo>
                    <a:pt x="451" y="48"/>
                  </a:lnTo>
                  <a:lnTo>
                    <a:pt x="452" y="55"/>
                  </a:lnTo>
                  <a:lnTo>
                    <a:pt x="454" y="62"/>
                  </a:lnTo>
                  <a:lnTo>
                    <a:pt x="457" y="70"/>
                  </a:lnTo>
                  <a:lnTo>
                    <a:pt x="461" y="76"/>
                  </a:lnTo>
                  <a:lnTo>
                    <a:pt x="466" y="82"/>
                  </a:lnTo>
                  <a:lnTo>
                    <a:pt x="470" y="86"/>
                  </a:lnTo>
                  <a:lnTo>
                    <a:pt x="478" y="90"/>
                  </a:lnTo>
                  <a:lnTo>
                    <a:pt x="484" y="94"/>
                  </a:lnTo>
                  <a:lnTo>
                    <a:pt x="484" y="130"/>
                  </a:lnTo>
                  <a:lnTo>
                    <a:pt x="436" y="178"/>
                  </a:lnTo>
                  <a:lnTo>
                    <a:pt x="436" y="224"/>
                  </a:lnTo>
                  <a:lnTo>
                    <a:pt x="371" y="224"/>
                  </a:lnTo>
                  <a:lnTo>
                    <a:pt x="371" y="94"/>
                  </a:lnTo>
                  <a:lnTo>
                    <a:pt x="371" y="94"/>
                  </a:lnTo>
                  <a:lnTo>
                    <a:pt x="378" y="90"/>
                  </a:lnTo>
                  <a:lnTo>
                    <a:pt x="384" y="86"/>
                  </a:lnTo>
                  <a:lnTo>
                    <a:pt x="390" y="82"/>
                  </a:lnTo>
                  <a:lnTo>
                    <a:pt x="395" y="76"/>
                  </a:lnTo>
                  <a:lnTo>
                    <a:pt x="398" y="70"/>
                  </a:lnTo>
                  <a:lnTo>
                    <a:pt x="401" y="62"/>
                  </a:lnTo>
                  <a:lnTo>
                    <a:pt x="403" y="55"/>
                  </a:lnTo>
                  <a:lnTo>
                    <a:pt x="403" y="48"/>
                  </a:lnTo>
                  <a:lnTo>
                    <a:pt x="403" y="48"/>
                  </a:lnTo>
                  <a:lnTo>
                    <a:pt x="402" y="38"/>
                  </a:lnTo>
                  <a:lnTo>
                    <a:pt x="399" y="29"/>
                  </a:lnTo>
                  <a:lnTo>
                    <a:pt x="395" y="22"/>
                  </a:lnTo>
                  <a:lnTo>
                    <a:pt x="389" y="14"/>
                  </a:lnTo>
                  <a:lnTo>
                    <a:pt x="381" y="8"/>
                  </a:lnTo>
                  <a:lnTo>
                    <a:pt x="374" y="4"/>
                  </a:lnTo>
                  <a:lnTo>
                    <a:pt x="364" y="1"/>
                  </a:lnTo>
                  <a:lnTo>
                    <a:pt x="355" y="0"/>
                  </a:lnTo>
                  <a:lnTo>
                    <a:pt x="355" y="0"/>
                  </a:lnTo>
                  <a:lnTo>
                    <a:pt x="345" y="1"/>
                  </a:lnTo>
                  <a:lnTo>
                    <a:pt x="336" y="4"/>
                  </a:lnTo>
                  <a:lnTo>
                    <a:pt x="328" y="8"/>
                  </a:lnTo>
                  <a:lnTo>
                    <a:pt x="321" y="14"/>
                  </a:lnTo>
                  <a:lnTo>
                    <a:pt x="315" y="22"/>
                  </a:lnTo>
                  <a:lnTo>
                    <a:pt x="310" y="29"/>
                  </a:lnTo>
                  <a:lnTo>
                    <a:pt x="308" y="38"/>
                  </a:lnTo>
                  <a:lnTo>
                    <a:pt x="307" y="48"/>
                  </a:lnTo>
                  <a:lnTo>
                    <a:pt x="307" y="48"/>
                  </a:lnTo>
                  <a:lnTo>
                    <a:pt x="307" y="55"/>
                  </a:lnTo>
                  <a:lnTo>
                    <a:pt x="309" y="62"/>
                  </a:lnTo>
                  <a:lnTo>
                    <a:pt x="312" y="70"/>
                  </a:lnTo>
                  <a:lnTo>
                    <a:pt x="315" y="76"/>
                  </a:lnTo>
                  <a:lnTo>
                    <a:pt x="320" y="82"/>
                  </a:lnTo>
                  <a:lnTo>
                    <a:pt x="326" y="86"/>
                  </a:lnTo>
                  <a:lnTo>
                    <a:pt x="332" y="90"/>
                  </a:lnTo>
                  <a:lnTo>
                    <a:pt x="339" y="94"/>
                  </a:lnTo>
                  <a:lnTo>
                    <a:pt x="339" y="224"/>
                  </a:lnTo>
                  <a:lnTo>
                    <a:pt x="274" y="224"/>
                  </a:lnTo>
                  <a:lnTo>
                    <a:pt x="274" y="178"/>
                  </a:lnTo>
                  <a:lnTo>
                    <a:pt x="226" y="130"/>
                  </a:lnTo>
                  <a:lnTo>
                    <a:pt x="226" y="94"/>
                  </a:lnTo>
                  <a:lnTo>
                    <a:pt x="226" y="94"/>
                  </a:lnTo>
                  <a:lnTo>
                    <a:pt x="232" y="90"/>
                  </a:lnTo>
                  <a:lnTo>
                    <a:pt x="239" y="86"/>
                  </a:lnTo>
                  <a:lnTo>
                    <a:pt x="244" y="82"/>
                  </a:lnTo>
                  <a:lnTo>
                    <a:pt x="249" y="76"/>
                  </a:lnTo>
                  <a:lnTo>
                    <a:pt x="252" y="70"/>
                  </a:lnTo>
                  <a:lnTo>
                    <a:pt x="256" y="62"/>
                  </a:lnTo>
                  <a:lnTo>
                    <a:pt x="257" y="55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7" y="38"/>
                  </a:lnTo>
                  <a:lnTo>
                    <a:pt x="254" y="29"/>
                  </a:lnTo>
                  <a:lnTo>
                    <a:pt x="250" y="22"/>
                  </a:lnTo>
                  <a:lnTo>
                    <a:pt x="244" y="14"/>
                  </a:lnTo>
                  <a:lnTo>
                    <a:pt x="237" y="8"/>
                  </a:lnTo>
                  <a:lnTo>
                    <a:pt x="228" y="4"/>
                  </a:lnTo>
                  <a:lnTo>
                    <a:pt x="220" y="1"/>
                  </a:lnTo>
                  <a:lnTo>
                    <a:pt x="209" y="0"/>
                  </a:lnTo>
                  <a:lnTo>
                    <a:pt x="209" y="0"/>
                  </a:lnTo>
                  <a:lnTo>
                    <a:pt x="200" y="1"/>
                  </a:lnTo>
                  <a:lnTo>
                    <a:pt x="191" y="4"/>
                  </a:lnTo>
                  <a:lnTo>
                    <a:pt x="183" y="8"/>
                  </a:lnTo>
                  <a:lnTo>
                    <a:pt x="175" y="14"/>
                  </a:lnTo>
                  <a:lnTo>
                    <a:pt x="169" y="22"/>
                  </a:lnTo>
                  <a:lnTo>
                    <a:pt x="165" y="29"/>
                  </a:lnTo>
                  <a:lnTo>
                    <a:pt x="162" y="38"/>
                  </a:lnTo>
                  <a:lnTo>
                    <a:pt x="161" y="48"/>
                  </a:lnTo>
                  <a:lnTo>
                    <a:pt x="161" y="48"/>
                  </a:lnTo>
                  <a:lnTo>
                    <a:pt x="162" y="55"/>
                  </a:lnTo>
                  <a:lnTo>
                    <a:pt x="163" y="62"/>
                  </a:lnTo>
                  <a:lnTo>
                    <a:pt x="167" y="70"/>
                  </a:lnTo>
                  <a:lnTo>
                    <a:pt x="171" y="76"/>
                  </a:lnTo>
                  <a:lnTo>
                    <a:pt x="175" y="82"/>
                  </a:lnTo>
                  <a:lnTo>
                    <a:pt x="180" y="86"/>
                  </a:lnTo>
                  <a:lnTo>
                    <a:pt x="186" y="90"/>
                  </a:lnTo>
                  <a:lnTo>
                    <a:pt x="193" y="94"/>
                  </a:lnTo>
                  <a:lnTo>
                    <a:pt x="193" y="143"/>
                  </a:lnTo>
                  <a:lnTo>
                    <a:pt x="242" y="191"/>
                  </a:lnTo>
                  <a:lnTo>
                    <a:pt x="242" y="224"/>
                  </a:lnTo>
                  <a:lnTo>
                    <a:pt x="65" y="224"/>
                  </a:lnTo>
                  <a:lnTo>
                    <a:pt x="65" y="224"/>
                  </a:lnTo>
                  <a:lnTo>
                    <a:pt x="51" y="226"/>
                  </a:lnTo>
                  <a:lnTo>
                    <a:pt x="39" y="230"/>
                  </a:lnTo>
                  <a:lnTo>
                    <a:pt x="29" y="235"/>
                  </a:lnTo>
                  <a:lnTo>
                    <a:pt x="19" y="244"/>
                  </a:lnTo>
                  <a:lnTo>
                    <a:pt x="12" y="253"/>
                  </a:lnTo>
                  <a:lnTo>
                    <a:pt x="6" y="264"/>
                  </a:lnTo>
                  <a:lnTo>
                    <a:pt x="1" y="276"/>
                  </a:lnTo>
                  <a:lnTo>
                    <a:pt x="0" y="289"/>
                  </a:lnTo>
                  <a:lnTo>
                    <a:pt x="0" y="707"/>
                  </a:lnTo>
                  <a:lnTo>
                    <a:pt x="710" y="707"/>
                  </a:lnTo>
                  <a:lnTo>
                    <a:pt x="710" y="2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E573CB51-30A1-C0EA-D729-25EF95EC3C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9104" y="4663767"/>
              <a:ext cx="119592" cy="119592"/>
            </a:xfrm>
            <a:custGeom>
              <a:avLst/>
              <a:gdLst>
                <a:gd name="T0" fmla="*/ 80 w 226"/>
                <a:gd name="T1" fmla="*/ 225 h 225"/>
                <a:gd name="T2" fmla="*/ 145 w 226"/>
                <a:gd name="T3" fmla="*/ 225 h 225"/>
                <a:gd name="T4" fmla="*/ 145 w 226"/>
                <a:gd name="T5" fmla="*/ 145 h 225"/>
                <a:gd name="T6" fmla="*/ 226 w 226"/>
                <a:gd name="T7" fmla="*/ 145 h 225"/>
                <a:gd name="T8" fmla="*/ 226 w 226"/>
                <a:gd name="T9" fmla="*/ 80 h 225"/>
                <a:gd name="T10" fmla="*/ 145 w 226"/>
                <a:gd name="T11" fmla="*/ 80 h 225"/>
                <a:gd name="T12" fmla="*/ 145 w 226"/>
                <a:gd name="T13" fmla="*/ 0 h 225"/>
                <a:gd name="T14" fmla="*/ 80 w 226"/>
                <a:gd name="T15" fmla="*/ 0 h 225"/>
                <a:gd name="T16" fmla="*/ 80 w 226"/>
                <a:gd name="T17" fmla="*/ 80 h 225"/>
                <a:gd name="T18" fmla="*/ 0 w 226"/>
                <a:gd name="T19" fmla="*/ 80 h 225"/>
                <a:gd name="T20" fmla="*/ 0 w 226"/>
                <a:gd name="T21" fmla="*/ 145 h 225"/>
                <a:gd name="T22" fmla="*/ 80 w 226"/>
                <a:gd name="T23" fmla="*/ 145 h 225"/>
                <a:gd name="T24" fmla="*/ 80 w 226"/>
                <a:gd name="T25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" h="225">
                  <a:moveTo>
                    <a:pt x="80" y="225"/>
                  </a:moveTo>
                  <a:lnTo>
                    <a:pt x="145" y="225"/>
                  </a:lnTo>
                  <a:lnTo>
                    <a:pt x="145" y="145"/>
                  </a:lnTo>
                  <a:lnTo>
                    <a:pt x="226" y="145"/>
                  </a:lnTo>
                  <a:lnTo>
                    <a:pt x="226" y="80"/>
                  </a:lnTo>
                  <a:lnTo>
                    <a:pt x="145" y="80"/>
                  </a:lnTo>
                  <a:lnTo>
                    <a:pt x="145" y="0"/>
                  </a:lnTo>
                  <a:lnTo>
                    <a:pt x="80" y="0"/>
                  </a:lnTo>
                  <a:lnTo>
                    <a:pt x="80" y="80"/>
                  </a:lnTo>
                  <a:lnTo>
                    <a:pt x="0" y="80"/>
                  </a:lnTo>
                  <a:lnTo>
                    <a:pt x="0" y="145"/>
                  </a:lnTo>
                  <a:lnTo>
                    <a:pt x="80" y="145"/>
                  </a:lnTo>
                  <a:lnTo>
                    <a:pt x="80" y="2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1225976D-94B6-6F6D-EFB7-EDA182146D91}"/>
              </a:ext>
            </a:extLst>
          </p:cNvPr>
          <p:cNvGrpSpPr/>
          <p:nvPr/>
        </p:nvGrpSpPr>
        <p:grpSpPr>
          <a:xfrm>
            <a:off x="1372977" y="1730715"/>
            <a:ext cx="1669204" cy="393359"/>
            <a:chOff x="8537926" y="1146540"/>
            <a:chExt cx="1815748" cy="427892"/>
          </a:xfrm>
        </p:grpSpPr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5BEDA603-777F-C8D7-4011-B5080213AA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biLevel thresh="25000"/>
            </a:blip>
            <a:srcRect r="42974" b="39474"/>
            <a:stretch/>
          </p:blipFill>
          <p:spPr>
            <a:xfrm>
              <a:off x="8537926" y="1146540"/>
              <a:ext cx="1725262" cy="246920"/>
            </a:xfrm>
            <a:prstGeom prst="rect">
              <a:avLst/>
            </a:prstGeom>
          </p:spPr>
        </p:pic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F4C97B07-7BDD-0B5E-F8A4-A5BD0082D1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biLevel thresh="25000"/>
            </a:blip>
            <a:srcRect l="57813" b="39474"/>
            <a:stretch/>
          </p:blipFill>
          <p:spPr>
            <a:xfrm>
              <a:off x="9077324" y="1327512"/>
              <a:ext cx="1276350" cy="246920"/>
            </a:xfrm>
            <a:prstGeom prst="rect">
              <a:avLst/>
            </a:prstGeom>
          </p:spPr>
        </p:pic>
      </p:grpSp>
      <p:sp>
        <p:nvSpPr>
          <p:cNvPr id="22" name="TextBox 35">
            <a:extLst>
              <a:ext uri="{FF2B5EF4-FFF2-40B4-BE49-F238E27FC236}">
                <a16:creationId xmlns:a16="http://schemas.microsoft.com/office/drawing/2014/main" id="{5CF708B8-D83B-96F3-4E79-289C60640B0B}"/>
              </a:ext>
            </a:extLst>
          </p:cNvPr>
          <p:cNvSpPr txBox="1">
            <a:spLocks/>
          </p:cNvSpPr>
          <p:nvPr/>
        </p:nvSpPr>
        <p:spPr>
          <a:xfrm>
            <a:off x="1413108" y="2391315"/>
            <a:ext cx="1504950" cy="41549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>
              <a:lnSpc>
                <a:spcPct val="90000"/>
              </a:lnSpc>
            </a:pPr>
            <a:r>
              <a:rPr lang="de-AT" sz="1000" b="1">
                <a:solidFill>
                  <a:schemeClr val="bg1"/>
                </a:solidFill>
              </a:rPr>
              <a:t>Rechenzentrum </a:t>
            </a:r>
            <a:br>
              <a:rPr lang="de-AT" sz="1000" b="1">
                <a:solidFill>
                  <a:schemeClr val="bg1"/>
                </a:solidFill>
              </a:rPr>
            </a:br>
            <a:r>
              <a:rPr lang="de-AT" sz="1000">
                <a:solidFill>
                  <a:schemeClr val="bg1"/>
                </a:solidFill>
              </a:rPr>
              <a:t>Patientenregister</a:t>
            </a:r>
          </a:p>
          <a:p>
            <a:pPr algn="l">
              <a:lnSpc>
                <a:spcPct val="90000"/>
              </a:lnSpc>
            </a:pPr>
            <a:r>
              <a:rPr lang="de-AT" sz="1000">
                <a:solidFill>
                  <a:schemeClr val="bg1"/>
                </a:solidFill>
              </a:rPr>
              <a:t>Master Patient Index</a:t>
            </a:r>
          </a:p>
        </p:txBody>
      </p:sp>
      <p:sp>
        <p:nvSpPr>
          <p:cNvPr id="23" name="Freeform 29">
            <a:extLst>
              <a:ext uri="{FF2B5EF4-FFF2-40B4-BE49-F238E27FC236}">
                <a16:creationId xmlns:a16="http://schemas.microsoft.com/office/drawing/2014/main" id="{124A30D6-BAF9-5072-6DC7-7178A5B2F78D}"/>
              </a:ext>
            </a:extLst>
          </p:cNvPr>
          <p:cNvSpPr>
            <a:spLocks noEditPoints="1"/>
          </p:cNvSpPr>
          <p:nvPr/>
        </p:nvSpPr>
        <p:spPr bwMode="auto">
          <a:xfrm>
            <a:off x="1072670" y="2463800"/>
            <a:ext cx="245584" cy="270526"/>
          </a:xfrm>
          <a:custGeom>
            <a:avLst/>
            <a:gdLst>
              <a:gd name="T0" fmla="*/ 183 w 333"/>
              <a:gd name="T1" fmla="*/ 334 h 367"/>
              <a:gd name="T2" fmla="*/ 333 w 333"/>
              <a:gd name="T3" fmla="*/ 334 h 367"/>
              <a:gd name="T4" fmla="*/ 333 w 333"/>
              <a:gd name="T5" fmla="*/ 367 h 367"/>
              <a:gd name="T6" fmla="*/ 0 w 333"/>
              <a:gd name="T7" fmla="*/ 367 h 367"/>
              <a:gd name="T8" fmla="*/ 0 w 333"/>
              <a:gd name="T9" fmla="*/ 334 h 367"/>
              <a:gd name="T10" fmla="*/ 150 w 333"/>
              <a:gd name="T11" fmla="*/ 334 h 367"/>
              <a:gd name="T12" fmla="*/ 150 w 333"/>
              <a:gd name="T13" fmla="*/ 300 h 367"/>
              <a:gd name="T14" fmla="*/ 183 w 333"/>
              <a:gd name="T15" fmla="*/ 300 h 367"/>
              <a:gd name="T16" fmla="*/ 183 w 333"/>
              <a:gd name="T17" fmla="*/ 334 h 367"/>
              <a:gd name="T18" fmla="*/ 17 w 333"/>
              <a:gd name="T19" fmla="*/ 217 h 367"/>
              <a:gd name="T20" fmla="*/ 67 w 333"/>
              <a:gd name="T21" fmla="*/ 217 h 367"/>
              <a:gd name="T22" fmla="*/ 67 w 333"/>
              <a:gd name="T23" fmla="*/ 250 h 367"/>
              <a:gd name="T24" fmla="*/ 17 w 333"/>
              <a:gd name="T25" fmla="*/ 250 h 367"/>
              <a:gd name="T26" fmla="*/ 17 w 333"/>
              <a:gd name="T27" fmla="*/ 217 h 367"/>
              <a:gd name="T28" fmla="*/ 0 w 333"/>
              <a:gd name="T29" fmla="*/ 267 h 367"/>
              <a:gd name="T30" fmla="*/ 333 w 333"/>
              <a:gd name="T31" fmla="*/ 267 h 367"/>
              <a:gd name="T32" fmla="*/ 333 w 333"/>
              <a:gd name="T33" fmla="*/ 200 h 367"/>
              <a:gd name="T34" fmla="*/ 0 w 333"/>
              <a:gd name="T35" fmla="*/ 200 h 367"/>
              <a:gd name="T36" fmla="*/ 0 w 333"/>
              <a:gd name="T37" fmla="*/ 267 h 367"/>
              <a:gd name="T38" fmla="*/ 17 w 333"/>
              <a:gd name="T39" fmla="*/ 117 h 367"/>
              <a:gd name="T40" fmla="*/ 67 w 333"/>
              <a:gd name="T41" fmla="*/ 117 h 367"/>
              <a:gd name="T42" fmla="*/ 67 w 333"/>
              <a:gd name="T43" fmla="*/ 150 h 367"/>
              <a:gd name="T44" fmla="*/ 17 w 333"/>
              <a:gd name="T45" fmla="*/ 150 h 367"/>
              <a:gd name="T46" fmla="*/ 17 w 333"/>
              <a:gd name="T47" fmla="*/ 117 h 367"/>
              <a:gd name="T48" fmla="*/ 0 w 333"/>
              <a:gd name="T49" fmla="*/ 167 h 367"/>
              <a:gd name="T50" fmla="*/ 333 w 333"/>
              <a:gd name="T51" fmla="*/ 167 h 367"/>
              <a:gd name="T52" fmla="*/ 333 w 333"/>
              <a:gd name="T53" fmla="*/ 100 h 367"/>
              <a:gd name="T54" fmla="*/ 0 w 333"/>
              <a:gd name="T55" fmla="*/ 100 h 367"/>
              <a:gd name="T56" fmla="*/ 0 w 333"/>
              <a:gd name="T57" fmla="*/ 167 h 367"/>
              <a:gd name="T58" fmla="*/ 67 w 333"/>
              <a:gd name="T59" fmla="*/ 50 h 367"/>
              <a:gd name="T60" fmla="*/ 17 w 333"/>
              <a:gd name="T61" fmla="*/ 50 h 367"/>
              <a:gd name="T62" fmla="*/ 17 w 333"/>
              <a:gd name="T63" fmla="*/ 17 h 367"/>
              <a:gd name="T64" fmla="*/ 67 w 333"/>
              <a:gd name="T65" fmla="*/ 17 h 367"/>
              <a:gd name="T66" fmla="*/ 67 w 333"/>
              <a:gd name="T67" fmla="*/ 50 h 367"/>
              <a:gd name="T68" fmla="*/ 0 w 333"/>
              <a:gd name="T69" fmla="*/ 67 h 367"/>
              <a:gd name="T70" fmla="*/ 333 w 333"/>
              <a:gd name="T71" fmla="*/ 67 h 367"/>
              <a:gd name="T72" fmla="*/ 333 w 333"/>
              <a:gd name="T73" fmla="*/ 0 h 367"/>
              <a:gd name="T74" fmla="*/ 0 w 333"/>
              <a:gd name="T75" fmla="*/ 0 h 367"/>
              <a:gd name="T76" fmla="*/ 0 w 333"/>
              <a:gd name="T77" fmla="*/ 67 h 3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33" h="367">
                <a:moveTo>
                  <a:pt x="183" y="334"/>
                </a:moveTo>
                <a:lnTo>
                  <a:pt x="333" y="334"/>
                </a:lnTo>
                <a:lnTo>
                  <a:pt x="333" y="367"/>
                </a:lnTo>
                <a:lnTo>
                  <a:pt x="0" y="367"/>
                </a:lnTo>
                <a:lnTo>
                  <a:pt x="0" y="334"/>
                </a:lnTo>
                <a:lnTo>
                  <a:pt x="150" y="334"/>
                </a:lnTo>
                <a:lnTo>
                  <a:pt x="150" y="300"/>
                </a:lnTo>
                <a:lnTo>
                  <a:pt x="183" y="300"/>
                </a:lnTo>
                <a:lnTo>
                  <a:pt x="183" y="334"/>
                </a:lnTo>
                <a:close/>
                <a:moveTo>
                  <a:pt x="17" y="217"/>
                </a:moveTo>
                <a:lnTo>
                  <a:pt x="67" y="217"/>
                </a:lnTo>
                <a:lnTo>
                  <a:pt x="67" y="250"/>
                </a:lnTo>
                <a:lnTo>
                  <a:pt x="17" y="250"/>
                </a:lnTo>
                <a:lnTo>
                  <a:pt x="17" y="217"/>
                </a:lnTo>
                <a:close/>
                <a:moveTo>
                  <a:pt x="0" y="267"/>
                </a:moveTo>
                <a:lnTo>
                  <a:pt x="333" y="267"/>
                </a:lnTo>
                <a:lnTo>
                  <a:pt x="333" y="200"/>
                </a:lnTo>
                <a:lnTo>
                  <a:pt x="0" y="200"/>
                </a:lnTo>
                <a:lnTo>
                  <a:pt x="0" y="267"/>
                </a:lnTo>
                <a:close/>
                <a:moveTo>
                  <a:pt x="17" y="117"/>
                </a:moveTo>
                <a:lnTo>
                  <a:pt x="67" y="117"/>
                </a:lnTo>
                <a:lnTo>
                  <a:pt x="67" y="150"/>
                </a:lnTo>
                <a:lnTo>
                  <a:pt x="17" y="150"/>
                </a:lnTo>
                <a:lnTo>
                  <a:pt x="17" y="117"/>
                </a:lnTo>
                <a:close/>
                <a:moveTo>
                  <a:pt x="0" y="167"/>
                </a:moveTo>
                <a:lnTo>
                  <a:pt x="333" y="167"/>
                </a:lnTo>
                <a:lnTo>
                  <a:pt x="333" y="100"/>
                </a:lnTo>
                <a:lnTo>
                  <a:pt x="0" y="100"/>
                </a:lnTo>
                <a:lnTo>
                  <a:pt x="0" y="167"/>
                </a:lnTo>
                <a:close/>
                <a:moveTo>
                  <a:pt x="67" y="50"/>
                </a:moveTo>
                <a:lnTo>
                  <a:pt x="17" y="50"/>
                </a:lnTo>
                <a:lnTo>
                  <a:pt x="17" y="17"/>
                </a:lnTo>
                <a:lnTo>
                  <a:pt x="67" y="17"/>
                </a:lnTo>
                <a:lnTo>
                  <a:pt x="67" y="50"/>
                </a:lnTo>
                <a:close/>
                <a:moveTo>
                  <a:pt x="0" y="67"/>
                </a:moveTo>
                <a:lnTo>
                  <a:pt x="333" y="67"/>
                </a:lnTo>
                <a:lnTo>
                  <a:pt x="333" y="0"/>
                </a:lnTo>
                <a:lnTo>
                  <a:pt x="0" y="0"/>
                </a:lnTo>
                <a:lnTo>
                  <a:pt x="0" y="6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TextBox 35">
            <a:extLst>
              <a:ext uri="{FF2B5EF4-FFF2-40B4-BE49-F238E27FC236}">
                <a16:creationId xmlns:a16="http://schemas.microsoft.com/office/drawing/2014/main" id="{99BF4DF6-C624-38DF-1892-5E3E473DBA90}"/>
              </a:ext>
            </a:extLst>
          </p:cNvPr>
          <p:cNvSpPr txBox="1">
            <a:spLocks/>
          </p:cNvSpPr>
          <p:nvPr/>
        </p:nvSpPr>
        <p:spPr>
          <a:xfrm>
            <a:off x="1413108" y="3064179"/>
            <a:ext cx="1504950" cy="41549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>
              <a:lnSpc>
                <a:spcPct val="90000"/>
              </a:lnSpc>
            </a:pPr>
            <a:r>
              <a:rPr lang="de-AT" sz="1000" b="1">
                <a:solidFill>
                  <a:schemeClr val="bg1"/>
                </a:solidFill>
              </a:rPr>
              <a:t>Rechenzentrum  </a:t>
            </a:r>
            <a:r>
              <a:rPr lang="de-AT" sz="1000">
                <a:solidFill>
                  <a:schemeClr val="bg1"/>
                </a:solidFill>
              </a:rPr>
              <a:t>Dokumentenindex</a:t>
            </a:r>
          </a:p>
          <a:p>
            <a:pPr algn="l">
              <a:lnSpc>
                <a:spcPct val="90000"/>
              </a:lnSpc>
            </a:pPr>
            <a:r>
              <a:rPr lang="de-AT" sz="1000">
                <a:solidFill>
                  <a:schemeClr val="bg1"/>
                </a:solidFill>
              </a:rPr>
              <a:t>XDS Registry</a:t>
            </a:r>
          </a:p>
        </p:txBody>
      </p:sp>
      <p:sp>
        <p:nvSpPr>
          <p:cNvPr id="25" name="Freeform 29">
            <a:extLst>
              <a:ext uri="{FF2B5EF4-FFF2-40B4-BE49-F238E27FC236}">
                <a16:creationId xmlns:a16="http://schemas.microsoft.com/office/drawing/2014/main" id="{FAF05742-D17B-5C7F-0493-6729E8D080F7}"/>
              </a:ext>
            </a:extLst>
          </p:cNvPr>
          <p:cNvSpPr>
            <a:spLocks noEditPoints="1"/>
          </p:cNvSpPr>
          <p:nvPr/>
        </p:nvSpPr>
        <p:spPr bwMode="auto">
          <a:xfrm>
            <a:off x="1072670" y="3136664"/>
            <a:ext cx="245584" cy="270526"/>
          </a:xfrm>
          <a:custGeom>
            <a:avLst/>
            <a:gdLst>
              <a:gd name="T0" fmla="*/ 183 w 333"/>
              <a:gd name="T1" fmla="*/ 334 h 367"/>
              <a:gd name="T2" fmla="*/ 333 w 333"/>
              <a:gd name="T3" fmla="*/ 334 h 367"/>
              <a:gd name="T4" fmla="*/ 333 w 333"/>
              <a:gd name="T5" fmla="*/ 367 h 367"/>
              <a:gd name="T6" fmla="*/ 0 w 333"/>
              <a:gd name="T7" fmla="*/ 367 h 367"/>
              <a:gd name="T8" fmla="*/ 0 w 333"/>
              <a:gd name="T9" fmla="*/ 334 h 367"/>
              <a:gd name="T10" fmla="*/ 150 w 333"/>
              <a:gd name="T11" fmla="*/ 334 h 367"/>
              <a:gd name="T12" fmla="*/ 150 w 333"/>
              <a:gd name="T13" fmla="*/ 300 h 367"/>
              <a:gd name="T14" fmla="*/ 183 w 333"/>
              <a:gd name="T15" fmla="*/ 300 h 367"/>
              <a:gd name="T16" fmla="*/ 183 w 333"/>
              <a:gd name="T17" fmla="*/ 334 h 367"/>
              <a:gd name="T18" fmla="*/ 17 w 333"/>
              <a:gd name="T19" fmla="*/ 217 h 367"/>
              <a:gd name="T20" fmla="*/ 67 w 333"/>
              <a:gd name="T21" fmla="*/ 217 h 367"/>
              <a:gd name="T22" fmla="*/ 67 w 333"/>
              <a:gd name="T23" fmla="*/ 250 h 367"/>
              <a:gd name="T24" fmla="*/ 17 w 333"/>
              <a:gd name="T25" fmla="*/ 250 h 367"/>
              <a:gd name="T26" fmla="*/ 17 w 333"/>
              <a:gd name="T27" fmla="*/ 217 h 367"/>
              <a:gd name="T28" fmla="*/ 0 w 333"/>
              <a:gd name="T29" fmla="*/ 267 h 367"/>
              <a:gd name="T30" fmla="*/ 333 w 333"/>
              <a:gd name="T31" fmla="*/ 267 h 367"/>
              <a:gd name="T32" fmla="*/ 333 w 333"/>
              <a:gd name="T33" fmla="*/ 200 h 367"/>
              <a:gd name="T34" fmla="*/ 0 w 333"/>
              <a:gd name="T35" fmla="*/ 200 h 367"/>
              <a:gd name="T36" fmla="*/ 0 w 333"/>
              <a:gd name="T37" fmla="*/ 267 h 367"/>
              <a:gd name="T38" fmla="*/ 17 w 333"/>
              <a:gd name="T39" fmla="*/ 117 h 367"/>
              <a:gd name="T40" fmla="*/ 67 w 333"/>
              <a:gd name="T41" fmla="*/ 117 h 367"/>
              <a:gd name="T42" fmla="*/ 67 w 333"/>
              <a:gd name="T43" fmla="*/ 150 h 367"/>
              <a:gd name="T44" fmla="*/ 17 w 333"/>
              <a:gd name="T45" fmla="*/ 150 h 367"/>
              <a:gd name="T46" fmla="*/ 17 w 333"/>
              <a:gd name="T47" fmla="*/ 117 h 367"/>
              <a:gd name="T48" fmla="*/ 0 w 333"/>
              <a:gd name="T49" fmla="*/ 167 h 367"/>
              <a:gd name="T50" fmla="*/ 333 w 333"/>
              <a:gd name="T51" fmla="*/ 167 h 367"/>
              <a:gd name="T52" fmla="*/ 333 w 333"/>
              <a:gd name="T53" fmla="*/ 100 h 367"/>
              <a:gd name="T54" fmla="*/ 0 w 333"/>
              <a:gd name="T55" fmla="*/ 100 h 367"/>
              <a:gd name="T56" fmla="*/ 0 w 333"/>
              <a:gd name="T57" fmla="*/ 167 h 367"/>
              <a:gd name="T58" fmla="*/ 67 w 333"/>
              <a:gd name="T59" fmla="*/ 50 h 367"/>
              <a:gd name="T60" fmla="*/ 17 w 333"/>
              <a:gd name="T61" fmla="*/ 50 h 367"/>
              <a:gd name="T62" fmla="*/ 17 w 333"/>
              <a:gd name="T63" fmla="*/ 17 h 367"/>
              <a:gd name="T64" fmla="*/ 67 w 333"/>
              <a:gd name="T65" fmla="*/ 17 h 367"/>
              <a:gd name="T66" fmla="*/ 67 w 333"/>
              <a:gd name="T67" fmla="*/ 50 h 367"/>
              <a:gd name="T68" fmla="*/ 0 w 333"/>
              <a:gd name="T69" fmla="*/ 67 h 367"/>
              <a:gd name="T70" fmla="*/ 333 w 333"/>
              <a:gd name="T71" fmla="*/ 67 h 367"/>
              <a:gd name="T72" fmla="*/ 333 w 333"/>
              <a:gd name="T73" fmla="*/ 0 h 367"/>
              <a:gd name="T74" fmla="*/ 0 w 333"/>
              <a:gd name="T75" fmla="*/ 0 h 367"/>
              <a:gd name="T76" fmla="*/ 0 w 333"/>
              <a:gd name="T77" fmla="*/ 67 h 3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33" h="367">
                <a:moveTo>
                  <a:pt x="183" y="334"/>
                </a:moveTo>
                <a:lnTo>
                  <a:pt x="333" y="334"/>
                </a:lnTo>
                <a:lnTo>
                  <a:pt x="333" y="367"/>
                </a:lnTo>
                <a:lnTo>
                  <a:pt x="0" y="367"/>
                </a:lnTo>
                <a:lnTo>
                  <a:pt x="0" y="334"/>
                </a:lnTo>
                <a:lnTo>
                  <a:pt x="150" y="334"/>
                </a:lnTo>
                <a:lnTo>
                  <a:pt x="150" y="300"/>
                </a:lnTo>
                <a:lnTo>
                  <a:pt x="183" y="300"/>
                </a:lnTo>
                <a:lnTo>
                  <a:pt x="183" y="334"/>
                </a:lnTo>
                <a:close/>
                <a:moveTo>
                  <a:pt x="17" y="217"/>
                </a:moveTo>
                <a:lnTo>
                  <a:pt x="67" y="217"/>
                </a:lnTo>
                <a:lnTo>
                  <a:pt x="67" y="250"/>
                </a:lnTo>
                <a:lnTo>
                  <a:pt x="17" y="250"/>
                </a:lnTo>
                <a:lnTo>
                  <a:pt x="17" y="217"/>
                </a:lnTo>
                <a:close/>
                <a:moveTo>
                  <a:pt x="0" y="267"/>
                </a:moveTo>
                <a:lnTo>
                  <a:pt x="333" y="267"/>
                </a:lnTo>
                <a:lnTo>
                  <a:pt x="333" y="200"/>
                </a:lnTo>
                <a:lnTo>
                  <a:pt x="0" y="200"/>
                </a:lnTo>
                <a:lnTo>
                  <a:pt x="0" y="267"/>
                </a:lnTo>
                <a:close/>
                <a:moveTo>
                  <a:pt x="17" y="117"/>
                </a:moveTo>
                <a:lnTo>
                  <a:pt x="67" y="117"/>
                </a:lnTo>
                <a:lnTo>
                  <a:pt x="67" y="150"/>
                </a:lnTo>
                <a:lnTo>
                  <a:pt x="17" y="150"/>
                </a:lnTo>
                <a:lnTo>
                  <a:pt x="17" y="117"/>
                </a:lnTo>
                <a:close/>
                <a:moveTo>
                  <a:pt x="0" y="167"/>
                </a:moveTo>
                <a:lnTo>
                  <a:pt x="333" y="167"/>
                </a:lnTo>
                <a:lnTo>
                  <a:pt x="333" y="100"/>
                </a:lnTo>
                <a:lnTo>
                  <a:pt x="0" y="100"/>
                </a:lnTo>
                <a:lnTo>
                  <a:pt x="0" y="167"/>
                </a:lnTo>
                <a:close/>
                <a:moveTo>
                  <a:pt x="67" y="50"/>
                </a:moveTo>
                <a:lnTo>
                  <a:pt x="17" y="50"/>
                </a:lnTo>
                <a:lnTo>
                  <a:pt x="17" y="17"/>
                </a:lnTo>
                <a:lnTo>
                  <a:pt x="67" y="17"/>
                </a:lnTo>
                <a:lnTo>
                  <a:pt x="67" y="50"/>
                </a:lnTo>
                <a:close/>
                <a:moveTo>
                  <a:pt x="0" y="67"/>
                </a:moveTo>
                <a:lnTo>
                  <a:pt x="333" y="67"/>
                </a:lnTo>
                <a:lnTo>
                  <a:pt x="333" y="0"/>
                </a:lnTo>
                <a:lnTo>
                  <a:pt x="0" y="0"/>
                </a:lnTo>
                <a:lnTo>
                  <a:pt x="0" y="6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BC11A2C2-5382-BC8D-50EB-2372591AFFEA}"/>
              </a:ext>
            </a:extLst>
          </p:cNvPr>
          <p:cNvSpPr txBox="1"/>
          <p:nvPr/>
        </p:nvSpPr>
        <p:spPr>
          <a:xfrm>
            <a:off x="539749" y="5952250"/>
            <a:ext cx="2640013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Zentrale Dienste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DD5B283B-D6A3-A356-46CD-1F7C6BA33AA8}"/>
              </a:ext>
            </a:extLst>
          </p:cNvPr>
          <p:cNvSpPr txBox="1"/>
          <p:nvPr/>
        </p:nvSpPr>
        <p:spPr>
          <a:xfrm>
            <a:off x="3360738" y="5952250"/>
            <a:ext cx="8269288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zentrale Dienste bei den Leistungserbringern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7F29E7CB-F9C7-5CE6-BE71-9F38B86CE244}"/>
              </a:ext>
            </a:extLst>
          </p:cNvPr>
          <p:cNvSpPr>
            <a:spLocks/>
          </p:cNvSpPr>
          <p:nvPr/>
        </p:nvSpPr>
        <p:spPr>
          <a:xfrm>
            <a:off x="3360739" y="3728301"/>
            <a:ext cx="1931925" cy="1993587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b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stitution 1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3C50B651-777B-D4F0-256B-1E5D0B75DED0}"/>
              </a:ext>
            </a:extLst>
          </p:cNvPr>
          <p:cNvSpPr>
            <a:spLocks/>
          </p:cNvSpPr>
          <p:nvPr/>
        </p:nvSpPr>
        <p:spPr>
          <a:xfrm>
            <a:off x="5472663" y="3728301"/>
            <a:ext cx="1931925" cy="1993587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b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stitution 2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5A30081A-9DC6-08AC-888C-B2405CAC36FF}"/>
              </a:ext>
            </a:extLst>
          </p:cNvPr>
          <p:cNvSpPr>
            <a:spLocks/>
          </p:cNvSpPr>
          <p:nvPr/>
        </p:nvSpPr>
        <p:spPr>
          <a:xfrm>
            <a:off x="7584587" y="3728301"/>
            <a:ext cx="1931925" cy="1993587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b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stitution 3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3940DC63-FAE4-E12F-6D8D-9760BB375A22}"/>
              </a:ext>
            </a:extLst>
          </p:cNvPr>
          <p:cNvSpPr>
            <a:spLocks/>
          </p:cNvSpPr>
          <p:nvPr/>
        </p:nvSpPr>
        <p:spPr>
          <a:xfrm>
            <a:off x="9696513" y="3728301"/>
            <a:ext cx="1931925" cy="1993587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b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stitution n</a:t>
            </a:r>
          </a:p>
        </p:txBody>
      </p:sp>
      <p:sp>
        <p:nvSpPr>
          <p:cNvPr id="34" name="Freeform 5">
            <a:extLst>
              <a:ext uri="{FF2B5EF4-FFF2-40B4-BE49-F238E27FC236}">
                <a16:creationId xmlns:a16="http://schemas.microsoft.com/office/drawing/2014/main" id="{38F69BBA-4F67-A705-0A18-4BA0D3A00998}"/>
              </a:ext>
            </a:extLst>
          </p:cNvPr>
          <p:cNvSpPr>
            <a:spLocks noEditPoints="1"/>
          </p:cNvSpPr>
          <p:nvPr/>
        </p:nvSpPr>
        <p:spPr bwMode="auto">
          <a:xfrm>
            <a:off x="3488479" y="5232952"/>
            <a:ext cx="362609" cy="376663"/>
          </a:xfrm>
          <a:custGeom>
            <a:avLst/>
            <a:gdLst>
              <a:gd name="T0" fmla="*/ 84 w 104"/>
              <a:gd name="T1" fmla="*/ 44 h 108"/>
              <a:gd name="T2" fmla="*/ 76 w 104"/>
              <a:gd name="T3" fmla="*/ 0 h 108"/>
              <a:gd name="T4" fmla="*/ 24 w 104"/>
              <a:gd name="T5" fmla="*/ 8 h 108"/>
              <a:gd name="T6" fmla="*/ 8 w 104"/>
              <a:gd name="T7" fmla="*/ 24 h 108"/>
              <a:gd name="T8" fmla="*/ 0 w 104"/>
              <a:gd name="T9" fmla="*/ 108 h 108"/>
              <a:gd name="T10" fmla="*/ 104 w 104"/>
              <a:gd name="T11" fmla="*/ 52 h 108"/>
              <a:gd name="T12" fmla="*/ 28 w 104"/>
              <a:gd name="T13" fmla="*/ 96 h 108"/>
              <a:gd name="T14" fmla="*/ 16 w 104"/>
              <a:gd name="T15" fmla="*/ 84 h 108"/>
              <a:gd name="T16" fmla="*/ 28 w 104"/>
              <a:gd name="T17" fmla="*/ 96 h 108"/>
              <a:gd name="T18" fmla="*/ 16 w 104"/>
              <a:gd name="T19" fmla="*/ 76 h 108"/>
              <a:gd name="T20" fmla="*/ 28 w 104"/>
              <a:gd name="T21" fmla="*/ 64 h 108"/>
              <a:gd name="T22" fmla="*/ 28 w 104"/>
              <a:gd name="T23" fmla="*/ 56 h 108"/>
              <a:gd name="T24" fmla="*/ 16 w 104"/>
              <a:gd name="T25" fmla="*/ 44 h 108"/>
              <a:gd name="T26" fmla="*/ 28 w 104"/>
              <a:gd name="T27" fmla="*/ 56 h 108"/>
              <a:gd name="T28" fmla="*/ 36 w 104"/>
              <a:gd name="T29" fmla="*/ 96 h 108"/>
              <a:gd name="T30" fmla="*/ 48 w 104"/>
              <a:gd name="T31" fmla="*/ 84 h 108"/>
              <a:gd name="T32" fmla="*/ 48 w 104"/>
              <a:gd name="T33" fmla="*/ 76 h 108"/>
              <a:gd name="T34" fmla="*/ 36 w 104"/>
              <a:gd name="T35" fmla="*/ 64 h 108"/>
              <a:gd name="T36" fmla="*/ 48 w 104"/>
              <a:gd name="T37" fmla="*/ 76 h 108"/>
              <a:gd name="T38" fmla="*/ 56 w 104"/>
              <a:gd name="T39" fmla="*/ 96 h 108"/>
              <a:gd name="T40" fmla="*/ 68 w 104"/>
              <a:gd name="T41" fmla="*/ 84 h 108"/>
              <a:gd name="T42" fmla="*/ 68 w 104"/>
              <a:gd name="T43" fmla="*/ 76 h 108"/>
              <a:gd name="T44" fmla="*/ 56 w 104"/>
              <a:gd name="T45" fmla="*/ 64 h 108"/>
              <a:gd name="T46" fmla="*/ 68 w 104"/>
              <a:gd name="T47" fmla="*/ 76 h 108"/>
              <a:gd name="T48" fmla="*/ 60 w 104"/>
              <a:gd name="T49" fmla="*/ 44 h 108"/>
              <a:gd name="T50" fmla="*/ 48 w 104"/>
              <a:gd name="T51" fmla="*/ 32 h 108"/>
              <a:gd name="T52" fmla="*/ 40 w 104"/>
              <a:gd name="T53" fmla="*/ 44 h 108"/>
              <a:gd name="T54" fmla="*/ 48 w 104"/>
              <a:gd name="T55" fmla="*/ 12 h 108"/>
              <a:gd name="T56" fmla="*/ 60 w 104"/>
              <a:gd name="T57" fmla="*/ 24 h 108"/>
              <a:gd name="T58" fmla="*/ 68 w 104"/>
              <a:gd name="T59" fmla="*/ 12 h 108"/>
              <a:gd name="T60" fmla="*/ 88 w 104"/>
              <a:gd name="T61" fmla="*/ 96 h 108"/>
              <a:gd name="T62" fmla="*/ 76 w 104"/>
              <a:gd name="T63" fmla="*/ 84 h 108"/>
              <a:gd name="T64" fmla="*/ 88 w 104"/>
              <a:gd name="T65" fmla="*/ 96 h 108"/>
              <a:gd name="T66" fmla="*/ 76 w 104"/>
              <a:gd name="T67" fmla="*/ 76 h 108"/>
              <a:gd name="T68" fmla="*/ 88 w 104"/>
              <a:gd name="T69" fmla="*/ 64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04" h="108">
                <a:moveTo>
                  <a:pt x="96" y="44"/>
                </a:moveTo>
                <a:cubicBezTo>
                  <a:pt x="84" y="44"/>
                  <a:pt x="84" y="44"/>
                  <a:pt x="84" y="44"/>
                </a:cubicBezTo>
                <a:cubicBezTo>
                  <a:pt x="84" y="8"/>
                  <a:pt x="84" y="8"/>
                  <a:pt x="84" y="8"/>
                </a:cubicBezTo>
                <a:cubicBezTo>
                  <a:pt x="84" y="4"/>
                  <a:pt x="80" y="0"/>
                  <a:pt x="76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28" y="0"/>
                  <a:pt x="24" y="4"/>
                  <a:pt x="24" y="8"/>
                </a:cubicBezTo>
                <a:cubicBezTo>
                  <a:pt x="24" y="24"/>
                  <a:pt x="24" y="24"/>
                  <a:pt x="24" y="24"/>
                </a:cubicBezTo>
                <a:cubicBezTo>
                  <a:pt x="8" y="24"/>
                  <a:pt x="8" y="24"/>
                  <a:pt x="8" y="24"/>
                </a:cubicBezTo>
                <a:cubicBezTo>
                  <a:pt x="4" y="24"/>
                  <a:pt x="0" y="28"/>
                  <a:pt x="0" y="32"/>
                </a:cubicBezTo>
                <a:cubicBezTo>
                  <a:pt x="0" y="108"/>
                  <a:pt x="0" y="108"/>
                  <a:pt x="0" y="108"/>
                </a:cubicBezTo>
                <a:cubicBezTo>
                  <a:pt x="104" y="108"/>
                  <a:pt x="104" y="108"/>
                  <a:pt x="104" y="108"/>
                </a:cubicBezTo>
                <a:cubicBezTo>
                  <a:pt x="104" y="52"/>
                  <a:pt x="104" y="52"/>
                  <a:pt x="104" y="52"/>
                </a:cubicBezTo>
                <a:cubicBezTo>
                  <a:pt x="104" y="48"/>
                  <a:pt x="100" y="44"/>
                  <a:pt x="96" y="44"/>
                </a:cubicBezTo>
                <a:close/>
                <a:moveTo>
                  <a:pt x="28" y="96"/>
                </a:moveTo>
                <a:cubicBezTo>
                  <a:pt x="16" y="96"/>
                  <a:pt x="16" y="96"/>
                  <a:pt x="16" y="96"/>
                </a:cubicBezTo>
                <a:cubicBezTo>
                  <a:pt x="16" y="84"/>
                  <a:pt x="16" y="84"/>
                  <a:pt x="16" y="84"/>
                </a:cubicBezTo>
                <a:cubicBezTo>
                  <a:pt x="28" y="84"/>
                  <a:pt x="28" y="84"/>
                  <a:pt x="28" y="84"/>
                </a:cubicBezTo>
                <a:lnTo>
                  <a:pt x="28" y="96"/>
                </a:lnTo>
                <a:close/>
                <a:moveTo>
                  <a:pt x="28" y="76"/>
                </a:moveTo>
                <a:cubicBezTo>
                  <a:pt x="16" y="76"/>
                  <a:pt x="16" y="76"/>
                  <a:pt x="16" y="76"/>
                </a:cubicBezTo>
                <a:cubicBezTo>
                  <a:pt x="16" y="64"/>
                  <a:pt x="16" y="64"/>
                  <a:pt x="16" y="64"/>
                </a:cubicBezTo>
                <a:cubicBezTo>
                  <a:pt x="28" y="64"/>
                  <a:pt x="28" y="64"/>
                  <a:pt x="28" y="64"/>
                </a:cubicBezTo>
                <a:lnTo>
                  <a:pt x="28" y="76"/>
                </a:lnTo>
                <a:close/>
                <a:moveTo>
                  <a:pt x="28" y="56"/>
                </a:moveTo>
                <a:cubicBezTo>
                  <a:pt x="16" y="56"/>
                  <a:pt x="16" y="56"/>
                  <a:pt x="16" y="56"/>
                </a:cubicBezTo>
                <a:cubicBezTo>
                  <a:pt x="16" y="44"/>
                  <a:pt x="16" y="44"/>
                  <a:pt x="16" y="44"/>
                </a:cubicBezTo>
                <a:cubicBezTo>
                  <a:pt x="28" y="44"/>
                  <a:pt x="28" y="44"/>
                  <a:pt x="28" y="44"/>
                </a:cubicBezTo>
                <a:lnTo>
                  <a:pt x="28" y="56"/>
                </a:lnTo>
                <a:close/>
                <a:moveTo>
                  <a:pt x="48" y="96"/>
                </a:moveTo>
                <a:cubicBezTo>
                  <a:pt x="36" y="96"/>
                  <a:pt x="36" y="96"/>
                  <a:pt x="36" y="96"/>
                </a:cubicBezTo>
                <a:cubicBezTo>
                  <a:pt x="36" y="84"/>
                  <a:pt x="36" y="84"/>
                  <a:pt x="36" y="84"/>
                </a:cubicBezTo>
                <a:cubicBezTo>
                  <a:pt x="48" y="84"/>
                  <a:pt x="48" y="84"/>
                  <a:pt x="48" y="84"/>
                </a:cubicBezTo>
                <a:lnTo>
                  <a:pt x="48" y="96"/>
                </a:lnTo>
                <a:close/>
                <a:moveTo>
                  <a:pt x="48" y="76"/>
                </a:moveTo>
                <a:cubicBezTo>
                  <a:pt x="36" y="76"/>
                  <a:pt x="36" y="76"/>
                  <a:pt x="36" y="76"/>
                </a:cubicBezTo>
                <a:cubicBezTo>
                  <a:pt x="36" y="64"/>
                  <a:pt x="36" y="64"/>
                  <a:pt x="36" y="64"/>
                </a:cubicBezTo>
                <a:cubicBezTo>
                  <a:pt x="48" y="64"/>
                  <a:pt x="48" y="64"/>
                  <a:pt x="48" y="64"/>
                </a:cubicBezTo>
                <a:lnTo>
                  <a:pt x="48" y="76"/>
                </a:lnTo>
                <a:close/>
                <a:moveTo>
                  <a:pt x="68" y="96"/>
                </a:moveTo>
                <a:cubicBezTo>
                  <a:pt x="56" y="96"/>
                  <a:pt x="56" y="96"/>
                  <a:pt x="56" y="96"/>
                </a:cubicBezTo>
                <a:cubicBezTo>
                  <a:pt x="56" y="84"/>
                  <a:pt x="56" y="84"/>
                  <a:pt x="56" y="84"/>
                </a:cubicBezTo>
                <a:cubicBezTo>
                  <a:pt x="68" y="84"/>
                  <a:pt x="68" y="84"/>
                  <a:pt x="68" y="84"/>
                </a:cubicBezTo>
                <a:lnTo>
                  <a:pt x="68" y="96"/>
                </a:lnTo>
                <a:close/>
                <a:moveTo>
                  <a:pt x="68" y="76"/>
                </a:moveTo>
                <a:cubicBezTo>
                  <a:pt x="56" y="76"/>
                  <a:pt x="56" y="76"/>
                  <a:pt x="56" y="76"/>
                </a:cubicBezTo>
                <a:cubicBezTo>
                  <a:pt x="56" y="64"/>
                  <a:pt x="56" y="64"/>
                  <a:pt x="56" y="64"/>
                </a:cubicBezTo>
                <a:cubicBezTo>
                  <a:pt x="68" y="64"/>
                  <a:pt x="68" y="64"/>
                  <a:pt x="68" y="64"/>
                </a:cubicBezTo>
                <a:lnTo>
                  <a:pt x="68" y="76"/>
                </a:lnTo>
                <a:close/>
                <a:moveTo>
                  <a:pt x="68" y="44"/>
                </a:moveTo>
                <a:cubicBezTo>
                  <a:pt x="60" y="44"/>
                  <a:pt x="60" y="44"/>
                  <a:pt x="60" y="44"/>
                </a:cubicBezTo>
                <a:cubicBezTo>
                  <a:pt x="60" y="32"/>
                  <a:pt x="60" y="32"/>
                  <a:pt x="60" y="32"/>
                </a:cubicBezTo>
                <a:cubicBezTo>
                  <a:pt x="48" y="32"/>
                  <a:pt x="48" y="32"/>
                  <a:pt x="48" y="32"/>
                </a:cubicBezTo>
                <a:cubicBezTo>
                  <a:pt x="48" y="44"/>
                  <a:pt x="48" y="44"/>
                  <a:pt x="48" y="44"/>
                </a:cubicBezTo>
                <a:cubicBezTo>
                  <a:pt x="40" y="44"/>
                  <a:pt x="40" y="44"/>
                  <a:pt x="40" y="44"/>
                </a:cubicBezTo>
                <a:cubicBezTo>
                  <a:pt x="40" y="12"/>
                  <a:pt x="40" y="12"/>
                  <a:pt x="40" y="12"/>
                </a:cubicBezTo>
                <a:cubicBezTo>
                  <a:pt x="48" y="12"/>
                  <a:pt x="48" y="12"/>
                  <a:pt x="48" y="12"/>
                </a:cubicBezTo>
                <a:cubicBezTo>
                  <a:pt x="48" y="24"/>
                  <a:pt x="48" y="24"/>
                  <a:pt x="48" y="24"/>
                </a:cubicBezTo>
                <a:cubicBezTo>
                  <a:pt x="60" y="24"/>
                  <a:pt x="60" y="24"/>
                  <a:pt x="60" y="24"/>
                </a:cubicBezTo>
                <a:cubicBezTo>
                  <a:pt x="60" y="12"/>
                  <a:pt x="60" y="12"/>
                  <a:pt x="60" y="12"/>
                </a:cubicBezTo>
                <a:cubicBezTo>
                  <a:pt x="68" y="12"/>
                  <a:pt x="68" y="12"/>
                  <a:pt x="68" y="12"/>
                </a:cubicBezTo>
                <a:lnTo>
                  <a:pt x="68" y="44"/>
                </a:lnTo>
                <a:close/>
                <a:moveTo>
                  <a:pt x="88" y="96"/>
                </a:moveTo>
                <a:cubicBezTo>
                  <a:pt x="76" y="96"/>
                  <a:pt x="76" y="96"/>
                  <a:pt x="76" y="96"/>
                </a:cubicBezTo>
                <a:cubicBezTo>
                  <a:pt x="76" y="84"/>
                  <a:pt x="76" y="84"/>
                  <a:pt x="76" y="84"/>
                </a:cubicBezTo>
                <a:cubicBezTo>
                  <a:pt x="88" y="84"/>
                  <a:pt x="88" y="84"/>
                  <a:pt x="88" y="84"/>
                </a:cubicBezTo>
                <a:lnTo>
                  <a:pt x="88" y="96"/>
                </a:lnTo>
                <a:close/>
                <a:moveTo>
                  <a:pt x="88" y="76"/>
                </a:moveTo>
                <a:cubicBezTo>
                  <a:pt x="76" y="76"/>
                  <a:pt x="76" y="76"/>
                  <a:pt x="76" y="76"/>
                </a:cubicBezTo>
                <a:cubicBezTo>
                  <a:pt x="76" y="64"/>
                  <a:pt x="76" y="64"/>
                  <a:pt x="76" y="64"/>
                </a:cubicBezTo>
                <a:cubicBezTo>
                  <a:pt x="88" y="64"/>
                  <a:pt x="88" y="64"/>
                  <a:pt x="88" y="64"/>
                </a:cubicBezTo>
                <a:lnTo>
                  <a:pt x="88" y="7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025CD0F4-8245-3CA5-95A1-CEE8529D9DC8}"/>
              </a:ext>
            </a:extLst>
          </p:cNvPr>
          <p:cNvGrpSpPr>
            <a:grpSpLocks noChangeAspect="1"/>
          </p:cNvGrpSpPr>
          <p:nvPr/>
        </p:nvGrpSpPr>
        <p:grpSpPr>
          <a:xfrm>
            <a:off x="5581599" y="5391151"/>
            <a:ext cx="362609" cy="218465"/>
            <a:chOff x="8570542" y="4263187"/>
            <a:chExt cx="540000" cy="354078"/>
          </a:xfrm>
        </p:grpSpPr>
        <p:sp>
          <p:nvSpPr>
            <p:cNvPr id="36" name="Rechteck: obere Ecken abgerundet 35">
              <a:extLst>
                <a:ext uri="{FF2B5EF4-FFF2-40B4-BE49-F238E27FC236}">
                  <a16:creationId xmlns:a16="http://schemas.microsoft.com/office/drawing/2014/main" id="{6A27BB13-1466-23F8-E342-D7091903990F}"/>
                </a:ext>
              </a:extLst>
            </p:cNvPr>
            <p:cNvSpPr/>
            <p:nvPr/>
          </p:nvSpPr>
          <p:spPr>
            <a:xfrm>
              <a:off x="8570542" y="4263187"/>
              <a:ext cx="540000" cy="354078"/>
            </a:xfrm>
            <a:prstGeom prst="round2Same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2808BECD-4110-F865-0298-FC4059DAA584}"/>
                </a:ext>
              </a:extLst>
            </p:cNvPr>
            <p:cNvSpPr/>
            <p:nvPr/>
          </p:nvSpPr>
          <p:spPr>
            <a:xfrm>
              <a:off x="8629701" y="4340037"/>
              <a:ext cx="68087" cy="741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CCF75ADD-6866-CB76-C0E8-9FA44884D548}"/>
                </a:ext>
              </a:extLst>
            </p:cNvPr>
            <p:cNvSpPr/>
            <p:nvPr/>
          </p:nvSpPr>
          <p:spPr>
            <a:xfrm>
              <a:off x="8750577" y="4340037"/>
              <a:ext cx="68087" cy="741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D5D9C9B7-A480-F8CD-1CF4-FCF496DB7B98}"/>
                </a:ext>
              </a:extLst>
            </p:cNvPr>
            <p:cNvSpPr/>
            <p:nvPr/>
          </p:nvSpPr>
          <p:spPr>
            <a:xfrm>
              <a:off x="8871450" y="4340037"/>
              <a:ext cx="68087" cy="741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E32684F9-DDE0-A272-CDD9-AFF9C2F2B1D8}"/>
                </a:ext>
              </a:extLst>
            </p:cNvPr>
            <p:cNvSpPr/>
            <p:nvPr/>
          </p:nvSpPr>
          <p:spPr>
            <a:xfrm>
              <a:off x="8629701" y="4469279"/>
              <a:ext cx="68087" cy="741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D71E5C9E-12F1-226D-B898-4DA0A3D191FA}"/>
                </a:ext>
              </a:extLst>
            </p:cNvPr>
            <p:cNvSpPr/>
            <p:nvPr/>
          </p:nvSpPr>
          <p:spPr>
            <a:xfrm>
              <a:off x="8750577" y="4469279"/>
              <a:ext cx="68087" cy="741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925C74B6-1F36-8666-343D-1435B7DFC1D2}"/>
                </a:ext>
              </a:extLst>
            </p:cNvPr>
            <p:cNvSpPr/>
            <p:nvPr/>
          </p:nvSpPr>
          <p:spPr>
            <a:xfrm>
              <a:off x="8871450" y="4469279"/>
              <a:ext cx="68087" cy="741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E6C3BC4C-9F8E-CB0F-2EFB-8D02362DD60A}"/>
                </a:ext>
              </a:extLst>
            </p:cNvPr>
            <p:cNvSpPr/>
            <p:nvPr/>
          </p:nvSpPr>
          <p:spPr>
            <a:xfrm>
              <a:off x="8988473" y="4340037"/>
              <a:ext cx="68087" cy="741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700DAB5E-F567-DCC0-41AA-B4E5D98AB39D}"/>
                </a:ext>
              </a:extLst>
            </p:cNvPr>
            <p:cNvSpPr/>
            <p:nvPr/>
          </p:nvSpPr>
          <p:spPr>
            <a:xfrm>
              <a:off x="8988473" y="4469279"/>
              <a:ext cx="68087" cy="741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5" name="Freeform 5">
            <a:extLst>
              <a:ext uri="{FF2B5EF4-FFF2-40B4-BE49-F238E27FC236}">
                <a16:creationId xmlns:a16="http://schemas.microsoft.com/office/drawing/2014/main" id="{BE56AD48-F200-4464-0A97-54B331A38432}"/>
              </a:ext>
            </a:extLst>
          </p:cNvPr>
          <p:cNvSpPr>
            <a:spLocks noEditPoints="1"/>
          </p:cNvSpPr>
          <p:nvPr/>
        </p:nvSpPr>
        <p:spPr bwMode="auto">
          <a:xfrm>
            <a:off x="7698529" y="5232952"/>
            <a:ext cx="362609" cy="376663"/>
          </a:xfrm>
          <a:custGeom>
            <a:avLst/>
            <a:gdLst>
              <a:gd name="T0" fmla="*/ 84 w 104"/>
              <a:gd name="T1" fmla="*/ 44 h 108"/>
              <a:gd name="T2" fmla="*/ 76 w 104"/>
              <a:gd name="T3" fmla="*/ 0 h 108"/>
              <a:gd name="T4" fmla="*/ 24 w 104"/>
              <a:gd name="T5" fmla="*/ 8 h 108"/>
              <a:gd name="T6" fmla="*/ 8 w 104"/>
              <a:gd name="T7" fmla="*/ 24 h 108"/>
              <a:gd name="T8" fmla="*/ 0 w 104"/>
              <a:gd name="T9" fmla="*/ 108 h 108"/>
              <a:gd name="T10" fmla="*/ 104 w 104"/>
              <a:gd name="T11" fmla="*/ 52 h 108"/>
              <a:gd name="T12" fmla="*/ 28 w 104"/>
              <a:gd name="T13" fmla="*/ 96 h 108"/>
              <a:gd name="T14" fmla="*/ 16 w 104"/>
              <a:gd name="T15" fmla="*/ 84 h 108"/>
              <a:gd name="T16" fmla="*/ 28 w 104"/>
              <a:gd name="T17" fmla="*/ 96 h 108"/>
              <a:gd name="T18" fmla="*/ 16 w 104"/>
              <a:gd name="T19" fmla="*/ 76 h 108"/>
              <a:gd name="T20" fmla="*/ 28 w 104"/>
              <a:gd name="T21" fmla="*/ 64 h 108"/>
              <a:gd name="T22" fmla="*/ 28 w 104"/>
              <a:gd name="T23" fmla="*/ 56 h 108"/>
              <a:gd name="T24" fmla="*/ 16 w 104"/>
              <a:gd name="T25" fmla="*/ 44 h 108"/>
              <a:gd name="T26" fmla="*/ 28 w 104"/>
              <a:gd name="T27" fmla="*/ 56 h 108"/>
              <a:gd name="T28" fmla="*/ 36 w 104"/>
              <a:gd name="T29" fmla="*/ 96 h 108"/>
              <a:gd name="T30" fmla="*/ 48 w 104"/>
              <a:gd name="T31" fmla="*/ 84 h 108"/>
              <a:gd name="T32" fmla="*/ 48 w 104"/>
              <a:gd name="T33" fmla="*/ 76 h 108"/>
              <a:gd name="T34" fmla="*/ 36 w 104"/>
              <a:gd name="T35" fmla="*/ 64 h 108"/>
              <a:gd name="T36" fmla="*/ 48 w 104"/>
              <a:gd name="T37" fmla="*/ 76 h 108"/>
              <a:gd name="T38" fmla="*/ 56 w 104"/>
              <a:gd name="T39" fmla="*/ 96 h 108"/>
              <a:gd name="T40" fmla="*/ 68 w 104"/>
              <a:gd name="T41" fmla="*/ 84 h 108"/>
              <a:gd name="T42" fmla="*/ 68 w 104"/>
              <a:gd name="T43" fmla="*/ 76 h 108"/>
              <a:gd name="T44" fmla="*/ 56 w 104"/>
              <a:gd name="T45" fmla="*/ 64 h 108"/>
              <a:gd name="T46" fmla="*/ 68 w 104"/>
              <a:gd name="T47" fmla="*/ 76 h 108"/>
              <a:gd name="T48" fmla="*/ 60 w 104"/>
              <a:gd name="T49" fmla="*/ 44 h 108"/>
              <a:gd name="T50" fmla="*/ 48 w 104"/>
              <a:gd name="T51" fmla="*/ 32 h 108"/>
              <a:gd name="T52" fmla="*/ 40 w 104"/>
              <a:gd name="T53" fmla="*/ 44 h 108"/>
              <a:gd name="T54" fmla="*/ 48 w 104"/>
              <a:gd name="T55" fmla="*/ 12 h 108"/>
              <a:gd name="T56" fmla="*/ 60 w 104"/>
              <a:gd name="T57" fmla="*/ 24 h 108"/>
              <a:gd name="T58" fmla="*/ 68 w 104"/>
              <a:gd name="T59" fmla="*/ 12 h 108"/>
              <a:gd name="T60" fmla="*/ 88 w 104"/>
              <a:gd name="T61" fmla="*/ 96 h 108"/>
              <a:gd name="T62" fmla="*/ 76 w 104"/>
              <a:gd name="T63" fmla="*/ 84 h 108"/>
              <a:gd name="T64" fmla="*/ 88 w 104"/>
              <a:gd name="T65" fmla="*/ 96 h 108"/>
              <a:gd name="T66" fmla="*/ 76 w 104"/>
              <a:gd name="T67" fmla="*/ 76 h 108"/>
              <a:gd name="T68" fmla="*/ 88 w 104"/>
              <a:gd name="T69" fmla="*/ 64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04" h="108">
                <a:moveTo>
                  <a:pt x="96" y="44"/>
                </a:moveTo>
                <a:cubicBezTo>
                  <a:pt x="84" y="44"/>
                  <a:pt x="84" y="44"/>
                  <a:pt x="84" y="44"/>
                </a:cubicBezTo>
                <a:cubicBezTo>
                  <a:pt x="84" y="8"/>
                  <a:pt x="84" y="8"/>
                  <a:pt x="84" y="8"/>
                </a:cubicBezTo>
                <a:cubicBezTo>
                  <a:pt x="84" y="4"/>
                  <a:pt x="80" y="0"/>
                  <a:pt x="76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28" y="0"/>
                  <a:pt x="24" y="4"/>
                  <a:pt x="24" y="8"/>
                </a:cubicBezTo>
                <a:cubicBezTo>
                  <a:pt x="24" y="24"/>
                  <a:pt x="24" y="24"/>
                  <a:pt x="24" y="24"/>
                </a:cubicBezTo>
                <a:cubicBezTo>
                  <a:pt x="8" y="24"/>
                  <a:pt x="8" y="24"/>
                  <a:pt x="8" y="24"/>
                </a:cubicBezTo>
                <a:cubicBezTo>
                  <a:pt x="4" y="24"/>
                  <a:pt x="0" y="28"/>
                  <a:pt x="0" y="32"/>
                </a:cubicBezTo>
                <a:cubicBezTo>
                  <a:pt x="0" y="108"/>
                  <a:pt x="0" y="108"/>
                  <a:pt x="0" y="108"/>
                </a:cubicBezTo>
                <a:cubicBezTo>
                  <a:pt x="104" y="108"/>
                  <a:pt x="104" y="108"/>
                  <a:pt x="104" y="108"/>
                </a:cubicBezTo>
                <a:cubicBezTo>
                  <a:pt x="104" y="52"/>
                  <a:pt x="104" y="52"/>
                  <a:pt x="104" y="52"/>
                </a:cubicBezTo>
                <a:cubicBezTo>
                  <a:pt x="104" y="48"/>
                  <a:pt x="100" y="44"/>
                  <a:pt x="96" y="44"/>
                </a:cubicBezTo>
                <a:close/>
                <a:moveTo>
                  <a:pt x="28" y="96"/>
                </a:moveTo>
                <a:cubicBezTo>
                  <a:pt x="16" y="96"/>
                  <a:pt x="16" y="96"/>
                  <a:pt x="16" y="96"/>
                </a:cubicBezTo>
                <a:cubicBezTo>
                  <a:pt x="16" y="84"/>
                  <a:pt x="16" y="84"/>
                  <a:pt x="16" y="84"/>
                </a:cubicBezTo>
                <a:cubicBezTo>
                  <a:pt x="28" y="84"/>
                  <a:pt x="28" y="84"/>
                  <a:pt x="28" y="84"/>
                </a:cubicBezTo>
                <a:lnTo>
                  <a:pt x="28" y="96"/>
                </a:lnTo>
                <a:close/>
                <a:moveTo>
                  <a:pt x="28" y="76"/>
                </a:moveTo>
                <a:cubicBezTo>
                  <a:pt x="16" y="76"/>
                  <a:pt x="16" y="76"/>
                  <a:pt x="16" y="76"/>
                </a:cubicBezTo>
                <a:cubicBezTo>
                  <a:pt x="16" y="64"/>
                  <a:pt x="16" y="64"/>
                  <a:pt x="16" y="64"/>
                </a:cubicBezTo>
                <a:cubicBezTo>
                  <a:pt x="28" y="64"/>
                  <a:pt x="28" y="64"/>
                  <a:pt x="28" y="64"/>
                </a:cubicBezTo>
                <a:lnTo>
                  <a:pt x="28" y="76"/>
                </a:lnTo>
                <a:close/>
                <a:moveTo>
                  <a:pt x="28" y="56"/>
                </a:moveTo>
                <a:cubicBezTo>
                  <a:pt x="16" y="56"/>
                  <a:pt x="16" y="56"/>
                  <a:pt x="16" y="56"/>
                </a:cubicBezTo>
                <a:cubicBezTo>
                  <a:pt x="16" y="44"/>
                  <a:pt x="16" y="44"/>
                  <a:pt x="16" y="44"/>
                </a:cubicBezTo>
                <a:cubicBezTo>
                  <a:pt x="28" y="44"/>
                  <a:pt x="28" y="44"/>
                  <a:pt x="28" y="44"/>
                </a:cubicBezTo>
                <a:lnTo>
                  <a:pt x="28" y="56"/>
                </a:lnTo>
                <a:close/>
                <a:moveTo>
                  <a:pt x="48" y="96"/>
                </a:moveTo>
                <a:cubicBezTo>
                  <a:pt x="36" y="96"/>
                  <a:pt x="36" y="96"/>
                  <a:pt x="36" y="96"/>
                </a:cubicBezTo>
                <a:cubicBezTo>
                  <a:pt x="36" y="84"/>
                  <a:pt x="36" y="84"/>
                  <a:pt x="36" y="84"/>
                </a:cubicBezTo>
                <a:cubicBezTo>
                  <a:pt x="48" y="84"/>
                  <a:pt x="48" y="84"/>
                  <a:pt x="48" y="84"/>
                </a:cubicBezTo>
                <a:lnTo>
                  <a:pt x="48" y="96"/>
                </a:lnTo>
                <a:close/>
                <a:moveTo>
                  <a:pt x="48" y="76"/>
                </a:moveTo>
                <a:cubicBezTo>
                  <a:pt x="36" y="76"/>
                  <a:pt x="36" y="76"/>
                  <a:pt x="36" y="76"/>
                </a:cubicBezTo>
                <a:cubicBezTo>
                  <a:pt x="36" y="64"/>
                  <a:pt x="36" y="64"/>
                  <a:pt x="36" y="64"/>
                </a:cubicBezTo>
                <a:cubicBezTo>
                  <a:pt x="48" y="64"/>
                  <a:pt x="48" y="64"/>
                  <a:pt x="48" y="64"/>
                </a:cubicBezTo>
                <a:lnTo>
                  <a:pt x="48" y="76"/>
                </a:lnTo>
                <a:close/>
                <a:moveTo>
                  <a:pt x="68" y="96"/>
                </a:moveTo>
                <a:cubicBezTo>
                  <a:pt x="56" y="96"/>
                  <a:pt x="56" y="96"/>
                  <a:pt x="56" y="96"/>
                </a:cubicBezTo>
                <a:cubicBezTo>
                  <a:pt x="56" y="84"/>
                  <a:pt x="56" y="84"/>
                  <a:pt x="56" y="84"/>
                </a:cubicBezTo>
                <a:cubicBezTo>
                  <a:pt x="68" y="84"/>
                  <a:pt x="68" y="84"/>
                  <a:pt x="68" y="84"/>
                </a:cubicBezTo>
                <a:lnTo>
                  <a:pt x="68" y="96"/>
                </a:lnTo>
                <a:close/>
                <a:moveTo>
                  <a:pt x="68" y="76"/>
                </a:moveTo>
                <a:cubicBezTo>
                  <a:pt x="56" y="76"/>
                  <a:pt x="56" y="76"/>
                  <a:pt x="56" y="76"/>
                </a:cubicBezTo>
                <a:cubicBezTo>
                  <a:pt x="56" y="64"/>
                  <a:pt x="56" y="64"/>
                  <a:pt x="56" y="64"/>
                </a:cubicBezTo>
                <a:cubicBezTo>
                  <a:pt x="68" y="64"/>
                  <a:pt x="68" y="64"/>
                  <a:pt x="68" y="64"/>
                </a:cubicBezTo>
                <a:lnTo>
                  <a:pt x="68" y="76"/>
                </a:lnTo>
                <a:close/>
                <a:moveTo>
                  <a:pt x="68" y="44"/>
                </a:moveTo>
                <a:cubicBezTo>
                  <a:pt x="60" y="44"/>
                  <a:pt x="60" y="44"/>
                  <a:pt x="60" y="44"/>
                </a:cubicBezTo>
                <a:cubicBezTo>
                  <a:pt x="60" y="32"/>
                  <a:pt x="60" y="32"/>
                  <a:pt x="60" y="32"/>
                </a:cubicBezTo>
                <a:cubicBezTo>
                  <a:pt x="48" y="32"/>
                  <a:pt x="48" y="32"/>
                  <a:pt x="48" y="32"/>
                </a:cubicBezTo>
                <a:cubicBezTo>
                  <a:pt x="48" y="44"/>
                  <a:pt x="48" y="44"/>
                  <a:pt x="48" y="44"/>
                </a:cubicBezTo>
                <a:cubicBezTo>
                  <a:pt x="40" y="44"/>
                  <a:pt x="40" y="44"/>
                  <a:pt x="40" y="44"/>
                </a:cubicBezTo>
                <a:cubicBezTo>
                  <a:pt x="40" y="12"/>
                  <a:pt x="40" y="12"/>
                  <a:pt x="40" y="12"/>
                </a:cubicBezTo>
                <a:cubicBezTo>
                  <a:pt x="48" y="12"/>
                  <a:pt x="48" y="12"/>
                  <a:pt x="48" y="12"/>
                </a:cubicBezTo>
                <a:cubicBezTo>
                  <a:pt x="48" y="24"/>
                  <a:pt x="48" y="24"/>
                  <a:pt x="48" y="24"/>
                </a:cubicBezTo>
                <a:cubicBezTo>
                  <a:pt x="60" y="24"/>
                  <a:pt x="60" y="24"/>
                  <a:pt x="60" y="24"/>
                </a:cubicBezTo>
                <a:cubicBezTo>
                  <a:pt x="60" y="12"/>
                  <a:pt x="60" y="12"/>
                  <a:pt x="60" y="12"/>
                </a:cubicBezTo>
                <a:cubicBezTo>
                  <a:pt x="68" y="12"/>
                  <a:pt x="68" y="12"/>
                  <a:pt x="68" y="12"/>
                </a:cubicBezTo>
                <a:lnTo>
                  <a:pt x="68" y="44"/>
                </a:lnTo>
                <a:close/>
                <a:moveTo>
                  <a:pt x="88" y="96"/>
                </a:moveTo>
                <a:cubicBezTo>
                  <a:pt x="76" y="96"/>
                  <a:pt x="76" y="96"/>
                  <a:pt x="76" y="96"/>
                </a:cubicBezTo>
                <a:cubicBezTo>
                  <a:pt x="76" y="84"/>
                  <a:pt x="76" y="84"/>
                  <a:pt x="76" y="84"/>
                </a:cubicBezTo>
                <a:cubicBezTo>
                  <a:pt x="88" y="84"/>
                  <a:pt x="88" y="84"/>
                  <a:pt x="88" y="84"/>
                </a:cubicBezTo>
                <a:lnTo>
                  <a:pt x="88" y="96"/>
                </a:lnTo>
                <a:close/>
                <a:moveTo>
                  <a:pt x="88" y="76"/>
                </a:moveTo>
                <a:cubicBezTo>
                  <a:pt x="76" y="76"/>
                  <a:pt x="76" y="76"/>
                  <a:pt x="76" y="76"/>
                </a:cubicBezTo>
                <a:cubicBezTo>
                  <a:pt x="76" y="64"/>
                  <a:pt x="76" y="64"/>
                  <a:pt x="76" y="64"/>
                </a:cubicBezTo>
                <a:cubicBezTo>
                  <a:pt x="88" y="64"/>
                  <a:pt x="88" y="64"/>
                  <a:pt x="88" y="64"/>
                </a:cubicBezTo>
                <a:lnTo>
                  <a:pt x="88" y="7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6E79F8A7-11BA-FF16-5253-1AE15013F7D4}"/>
              </a:ext>
            </a:extLst>
          </p:cNvPr>
          <p:cNvGrpSpPr>
            <a:grpSpLocks noChangeAspect="1"/>
          </p:cNvGrpSpPr>
          <p:nvPr/>
        </p:nvGrpSpPr>
        <p:grpSpPr>
          <a:xfrm>
            <a:off x="9804349" y="5391151"/>
            <a:ext cx="362609" cy="218465"/>
            <a:chOff x="8570542" y="4263187"/>
            <a:chExt cx="540000" cy="354078"/>
          </a:xfrm>
        </p:grpSpPr>
        <p:sp>
          <p:nvSpPr>
            <p:cNvPr id="47" name="Rechteck: obere Ecken abgerundet 46">
              <a:extLst>
                <a:ext uri="{FF2B5EF4-FFF2-40B4-BE49-F238E27FC236}">
                  <a16:creationId xmlns:a16="http://schemas.microsoft.com/office/drawing/2014/main" id="{E8F9A72C-5EBD-E8D2-525F-CEA1E04F2228}"/>
                </a:ext>
              </a:extLst>
            </p:cNvPr>
            <p:cNvSpPr/>
            <p:nvPr/>
          </p:nvSpPr>
          <p:spPr>
            <a:xfrm>
              <a:off x="8570542" y="4263187"/>
              <a:ext cx="540000" cy="354078"/>
            </a:xfrm>
            <a:prstGeom prst="round2Same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94103387-FE1F-D7F6-C943-BD428DDD6064}"/>
                </a:ext>
              </a:extLst>
            </p:cNvPr>
            <p:cNvSpPr/>
            <p:nvPr/>
          </p:nvSpPr>
          <p:spPr>
            <a:xfrm>
              <a:off x="8629701" y="4340037"/>
              <a:ext cx="68087" cy="741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C9BE13DE-72AD-FE9A-034F-86EE0A21A80F}"/>
                </a:ext>
              </a:extLst>
            </p:cNvPr>
            <p:cNvSpPr/>
            <p:nvPr/>
          </p:nvSpPr>
          <p:spPr>
            <a:xfrm>
              <a:off x="8750577" y="4340037"/>
              <a:ext cx="68087" cy="741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9B31B824-591C-082A-52C8-3A425DBCEA49}"/>
                </a:ext>
              </a:extLst>
            </p:cNvPr>
            <p:cNvSpPr/>
            <p:nvPr/>
          </p:nvSpPr>
          <p:spPr>
            <a:xfrm>
              <a:off x="8871450" y="4340037"/>
              <a:ext cx="68087" cy="741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EF152619-505B-31AB-01D5-3C52C6758AAF}"/>
                </a:ext>
              </a:extLst>
            </p:cNvPr>
            <p:cNvSpPr/>
            <p:nvPr/>
          </p:nvSpPr>
          <p:spPr>
            <a:xfrm>
              <a:off x="8629701" y="4469279"/>
              <a:ext cx="68087" cy="741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F8B08BD6-0FC9-79E5-EFE0-9DA8E150FA87}"/>
                </a:ext>
              </a:extLst>
            </p:cNvPr>
            <p:cNvSpPr/>
            <p:nvPr/>
          </p:nvSpPr>
          <p:spPr>
            <a:xfrm>
              <a:off x="8750577" y="4469279"/>
              <a:ext cx="68087" cy="741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81492BE0-2F21-F58B-BE5C-A747967B6674}"/>
                </a:ext>
              </a:extLst>
            </p:cNvPr>
            <p:cNvSpPr/>
            <p:nvPr/>
          </p:nvSpPr>
          <p:spPr>
            <a:xfrm>
              <a:off x="8871450" y="4469279"/>
              <a:ext cx="68087" cy="741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630B418-C835-D9C4-90FF-3EA33AAB902E}"/>
                </a:ext>
              </a:extLst>
            </p:cNvPr>
            <p:cNvSpPr/>
            <p:nvPr/>
          </p:nvSpPr>
          <p:spPr>
            <a:xfrm>
              <a:off x="8988473" y="4340037"/>
              <a:ext cx="68087" cy="741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B7B4073B-77CA-DA3C-A32C-867DD8B1B890}"/>
                </a:ext>
              </a:extLst>
            </p:cNvPr>
            <p:cNvSpPr/>
            <p:nvPr/>
          </p:nvSpPr>
          <p:spPr>
            <a:xfrm>
              <a:off x="8988473" y="4469279"/>
              <a:ext cx="68087" cy="741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33B837C0-E6A0-9B8E-72D6-D19BA91C089B}"/>
              </a:ext>
            </a:extLst>
          </p:cNvPr>
          <p:cNvGrpSpPr>
            <a:grpSpLocks/>
          </p:cNvGrpSpPr>
          <p:nvPr/>
        </p:nvGrpSpPr>
        <p:grpSpPr>
          <a:xfrm>
            <a:off x="6161162" y="3450838"/>
            <a:ext cx="554926" cy="554926"/>
            <a:chOff x="9798749" y="5417011"/>
            <a:chExt cx="554926" cy="554926"/>
          </a:xfrm>
        </p:grpSpPr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F5C0E329-05A8-09B0-278E-B334CB76E2EF}"/>
                </a:ext>
              </a:extLst>
            </p:cNvPr>
            <p:cNvGrpSpPr/>
            <p:nvPr/>
          </p:nvGrpSpPr>
          <p:grpSpPr>
            <a:xfrm>
              <a:off x="9798749" y="5417011"/>
              <a:ext cx="554926" cy="554926"/>
              <a:chOff x="9798749" y="5417011"/>
              <a:chExt cx="554926" cy="554926"/>
            </a:xfrm>
          </p:grpSpPr>
          <p:sp>
            <p:nvSpPr>
              <p:cNvPr id="59" name="Ellipse 58">
                <a:extLst>
                  <a:ext uri="{FF2B5EF4-FFF2-40B4-BE49-F238E27FC236}">
                    <a16:creationId xmlns:a16="http://schemas.microsoft.com/office/drawing/2014/main" id="{95519ECE-F24A-2753-231E-D365C6802D9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798749" y="5417011"/>
                <a:ext cx="554926" cy="55492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0" name="Ellipse 59">
                <a:extLst>
                  <a:ext uri="{FF2B5EF4-FFF2-40B4-BE49-F238E27FC236}">
                    <a16:creationId xmlns:a16="http://schemas.microsoft.com/office/drawing/2014/main" id="{8B442236-F0EF-51EB-B1E1-B38DE829A43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853518" y="5471780"/>
                <a:ext cx="445388" cy="44538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8" name="Grafik 102">
              <a:extLst>
                <a:ext uri="{FF2B5EF4-FFF2-40B4-BE49-F238E27FC236}">
                  <a16:creationId xmlns:a16="http://schemas.microsoft.com/office/drawing/2014/main" id="{41A79808-601B-9E5D-CCD7-B1282E41B981}"/>
                </a:ext>
              </a:extLst>
            </p:cNvPr>
            <p:cNvSpPr/>
            <p:nvPr/>
          </p:nvSpPr>
          <p:spPr>
            <a:xfrm rot="18900000">
              <a:off x="9934808" y="5606288"/>
              <a:ext cx="269408" cy="176150"/>
            </a:xfrm>
            <a:custGeom>
              <a:avLst/>
              <a:gdLst>
                <a:gd name="connsiteX0" fmla="*/ 233363 w 247650"/>
                <a:gd name="connsiteY0" fmla="*/ 104775 h 161925"/>
                <a:gd name="connsiteX1" fmla="*/ 190500 w 247650"/>
                <a:gd name="connsiteY1" fmla="*/ 104775 h 161925"/>
                <a:gd name="connsiteX2" fmla="*/ 190500 w 247650"/>
                <a:gd name="connsiteY2" fmla="*/ 57150 h 161925"/>
                <a:gd name="connsiteX3" fmla="*/ 233363 w 247650"/>
                <a:gd name="connsiteY3" fmla="*/ 57150 h 161925"/>
                <a:gd name="connsiteX4" fmla="*/ 247650 w 247650"/>
                <a:gd name="connsiteY4" fmla="*/ 42863 h 161925"/>
                <a:gd name="connsiteX5" fmla="*/ 233363 w 247650"/>
                <a:gd name="connsiteY5" fmla="*/ 28575 h 161925"/>
                <a:gd name="connsiteX6" fmla="*/ 190500 w 247650"/>
                <a:gd name="connsiteY6" fmla="*/ 28575 h 161925"/>
                <a:gd name="connsiteX7" fmla="*/ 190500 w 247650"/>
                <a:gd name="connsiteY7" fmla="*/ 0 h 161925"/>
                <a:gd name="connsiteX8" fmla="*/ 142875 w 247650"/>
                <a:gd name="connsiteY8" fmla="*/ 0 h 161925"/>
                <a:gd name="connsiteX9" fmla="*/ 85725 w 247650"/>
                <a:gd name="connsiteY9" fmla="*/ 57150 h 161925"/>
                <a:gd name="connsiteX10" fmla="*/ 19050 w 247650"/>
                <a:gd name="connsiteY10" fmla="*/ 57150 h 161925"/>
                <a:gd name="connsiteX11" fmla="*/ 0 w 247650"/>
                <a:gd name="connsiteY11" fmla="*/ 104775 h 161925"/>
                <a:gd name="connsiteX12" fmla="*/ 85725 w 247650"/>
                <a:gd name="connsiteY12" fmla="*/ 104775 h 161925"/>
                <a:gd name="connsiteX13" fmla="*/ 142875 w 247650"/>
                <a:gd name="connsiteY13" fmla="*/ 161925 h 161925"/>
                <a:gd name="connsiteX14" fmla="*/ 190500 w 247650"/>
                <a:gd name="connsiteY14" fmla="*/ 161925 h 161925"/>
                <a:gd name="connsiteX15" fmla="*/ 190500 w 247650"/>
                <a:gd name="connsiteY15" fmla="*/ 133350 h 161925"/>
                <a:gd name="connsiteX16" fmla="*/ 233363 w 247650"/>
                <a:gd name="connsiteY16" fmla="*/ 133350 h 161925"/>
                <a:gd name="connsiteX17" fmla="*/ 247650 w 247650"/>
                <a:gd name="connsiteY17" fmla="*/ 119063 h 161925"/>
                <a:gd name="connsiteX18" fmla="*/ 233363 w 247650"/>
                <a:gd name="connsiteY18" fmla="*/ 10477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7650" h="161925">
                  <a:moveTo>
                    <a:pt x="233363" y="104775"/>
                  </a:moveTo>
                  <a:lnTo>
                    <a:pt x="190500" y="104775"/>
                  </a:lnTo>
                  <a:lnTo>
                    <a:pt x="190500" y="57150"/>
                  </a:lnTo>
                  <a:lnTo>
                    <a:pt x="233363" y="57150"/>
                  </a:lnTo>
                  <a:cubicBezTo>
                    <a:pt x="241268" y="57150"/>
                    <a:pt x="247650" y="50768"/>
                    <a:pt x="247650" y="42863"/>
                  </a:cubicBezTo>
                  <a:cubicBezTo>
                    <a:pt x="247650" y="34957"/>
                    <a:pt x="241268" y="28575"/>
                    <a:pt x="233363" y="28575"/>
                  </a:cubicBezTo>
                  <a:lnTo>
                    <a:pt x="190500" y="28575"/>
                  </a:lnTo>
                  <a:lnTo>
                    <a:pt x="190500" y="0"/>
                  </a:lnTo>
                  <a:lnTo>
                    <a:pt x="142875" y="0"/>
                  </a:lnTo>
                  <a:cubicBezTo>
                    <a:pt x="111347" y="0"/>
                    <a:pt x="85725" y="25622"/>
                    <a:pt x="85725" y="57150"/>
                  </a:cubicBezTo>
                  <a:lnTo>
                    <a:pt x="19050" y="57150"/>
                  </a:lnTo>
                  <a:lnTo>
                    <a:pt x="0" y="104775"/>
                  </a:lnTo>
                  <a:lnTo>
                    <a:pt x="85725" y="104775"/>
                  </a:lnTo>
                  <a:cubicBezTo>
                    <a:pt x="85725" y="136303"/>
                    <a:pt x="111347" y="161925"/>
                    <a:pt x="142875" y="161925"/>
                  </a:cubicBezTo>
                  <a:lnTo>
                    <a:pt x="190500" y="161925"/>
                  </a:lnTo>
                  <a:lnTo>
                    <a:pt x="190500" y="133350"/>
                  </a:lnTo>
                  <a:lnTo>
                    <a:pt x="233363" y="133350"/>
                  </a:lnTo>
                  <a:cubicBezTo>
                    <a:pt x="241268" y="133350"/>
                    <a:pt x="247650" y="126968"/>
                    <a:pt x="247650" y="119063"/>
                  </a:cubicBezTo>
                  <a:cubicBezTo>
                    <a:pt x="247650" y="111157"/>
                    <a:pt x="241268" y="104775"/>
                    <a:pt x="233363" y="104775"/>
                  </a:cubicBezTo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BE81C467-DB1E-59FA-EEE2-265E0DD15085}"/>
              </a:ext>
            </a:extLst>
          </p:cNvPr>
          <p:cNvGrpSpPr>
            <a:grpSpLocks/>
          </p:cNvGrpSpPr>
          <p:nvPr/>
        </p:nvGrpSpPr>
        <p:grpSpPr>
          <a:xfrm>
            <a:off x="4049238" y="3450838"/>
            <a:ext cx="554926" cy="554926"/>
            <a:chOff x="9798749" y="5417011"/>
            <a:chExt cx="554926" cy="554926"/>
          </a:xfrm>
        </p:grpSpPr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6600F778-2884-319D-E2D6-B238C01F7079}"/>
                </a:ext>
              </a:extLst>
            </p:cNvPr>
            <p:cNvGrpSpPr/>
            <p:nvPr/>
          </p:nvGrpSpPr>
          <p:grpSpPr>
            <a:xfrm>
              <a:off x="9798749" y="5417011"/>
              <a:ext cx="554926" cy="554926"/>
              <a:chOff x="9798749" y="5417011"/>
              <a:chExt cx="554926" cy="554926"/>
            </a:xfrm>
          </p:grpSpPr>
          <p:sp>
            <p:nvSpPr>
              <p:cNvPr id="64" name="Ellipse 63">
                <a:extLst>
                  <a:ext uri="{FF2B5EF4-FFF2-40B4-BE49-F238E27FC236}">
                    <a16:creationId xmlns:a16="http://schemas.microsoft.com/office/drawing/2014/main" id="{89A453EB-C034-959A-70DE-199B2448A2A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798749" y="5417011"/>
                <a:ext cx="554926" cy="55492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Ellipse 64">
                <a:extLst>
                  <a:ext uri="{FF2B5EF4-FFF2-40B4-BE49-F238E27FC236}">
                    <a16:creationId xmlns:a16="http://schemas.microsoft.com/office/drawing/2014/main" id="{EED51F6E-2731-6781-48EC-2DA92987A86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853518" y="5471780"/>
                <a:ext cx="445388" cy="44538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63" name="Grafik 102">
              <a:extLst>
                <a:ext uri="{FF2B5EF4-FFF2-40B4-BE49-F238E27FC236}">
                  <a16:creationId xmlns:a16="http://schemas.microsoft.com/office/drawing/2014/main" id="{225E8FF3-9591-7911-85CD-46C088115851}"/>
                </a:ext>
              </a:extLst>
            </p:cNvPr>
            <p:cNvSpPr/>
            <p:nvPr/>
          </p:nvSpPr>
          <p:spPr>
            <a:xfrm rot="18900000">
              <a:off x="9934808" y="5606288"/>
              <a:ext cx="269408" cy="176150"/>
            </a:xfrm>
            <a:custGeom>
              <a:avLst/>
              <a:gdLst>
                <a:gd name="connsiteX0" fmla="*/ 233363 w 247650"/>
                <a:gd name="connsiteY0" fmla="*/ 104775 h 161925"/>
                <a:gd name="connsiteX1" fmla="*/ 190500 w 247650"/>
                <a:gd name="connsiteY1" fmla="*/ 104775 h 161925"/>
                <a:gd name="connsiteX2" fmla="*/ 190500 w 247650"/>
                <a:gd name="connsiteY2" fmla="*/ 57150 h 161925"/>
                <a:gd name="connsiteX3" fmla="*/ 233363 w 247650"/>
                <a:gd name="connsiteY3" fmla="*/ 57150 h 161925"/>
                <a:gd name="connsiteX4" fmla="*/ 247650 w 247650"/>
                <a:gd name="connsiteY4" fmla="*/ 42863 h 161925"/>
                <a:gd name="connsiteX5" fmla="*/ 233363 w 247650"/>
                <a:gd name="connsiteY5" fmla="*/ 28575 h 161925"/>
                <a:gd name="connsiteX6" fmla="*/ 190500 w 247650"/>
                <a:gd name="connsiteY6" fmla="*/ 28575 h 161925"/>
                <a:gd name="connsiteX7" fmla="*/ 190500 w 247650"/>
                <a:gd name="connsiteY7" fmla="*/ 0 h 161925"/>
                <a:gd name="connsiteX8" fmla="*/ 142875 w 247650"/>
                <a:gd name="connsiteY8" fmla="*/ 0 h 161925"/>
                <a:gd name="connsiteX9" fmla="*/ 85725 w 247650"/>
                <a:gd name="connsiteY9" fmla="*/ 57150 h 161925"/>
                <a:gd name="connsiteX10" fmla="*/ 19050 w 247650"/>
                <a:gd name="connsiteY10" fmla="*/ 57150 h 161925"/>
                <a:gd name="connsiteX11" fmla="*/ 0 w 247650"/>
                <a:gd name="connsiteY11" fmla="*/ 104775 h 161925"/>
                <a:gd name="connsiteX12" fmla="*/ 85725 w 247650"/>
                <a:gd name="connsiteY12" fmla="*/ 104775 h 161925"/>
                <a:gd name="connsiteX13" fmla="*/ 142875 w 247650"/>
                <a:gd name="connsiteY13" fmla="*/ 161925 h 161925"/>
                <a:gd name="connsiteX14" fmla="*/ 190500 w 247650"/>
                <a:gd name="connsiteY14" fmla="*/ 161925 h 161925"/>
                <a:gd name="connsiteX15" fmla="*/ 190500 w 247650"/>
                <a:gd name="connsiteY15" fmla="*/ 133350 h 161925"/>
                <a:gd name="connsiteX16" fmla="*/ 233363 w 247650"/>
                <a:gd name="connsiteY16" fmla="*/ 133350 h 161925"/>
                <a:gd name="connsiteX17" fmla="*/ 247650 w 247650"/>
                <a:gd name="connsiteY17" fmla="*/ 119063 h 161925"/>
                <a:gd name="connsiteX18" fmla="*/ 233363 w 247650"/>
                <a:gd name="connsiteY18" fmla="*/ 10477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7650" h="161925">
                  <a:moveTo>
                    <a:pt x="233363" y="104775"/>
                  </a:moveTo>
                  <a:lnTo>
                    <a:pt x="190500" y="104775"/>
                  </a:lnTo>
                  <a:lnTo>
                    <a:pt x="190500" y="57150"/>
                  </a:lnTo>
                  <a:lnTo>
                    <a:pt x="233363" y="57150"/>
                  </a:lnTo>
                  <a:cubicBezTo>
                    <a:pt x="241268" y="57150"/>
                    <a:pt x="247650" y="50768"/>
                    <a:pt x="247650" y="42863"/>
                  </a:cubicBezTo>
                  <a:cubicBezTo>
                    <a:pt x="247650" y="34957"/>
                    <a:pt x="241268" y="28575"/>
                    <a:pt x="233363" y="28575"/>
                  </a:cubicBezTo>
                  <a:lnTo>
                    <a:pt x="190500" y="28575"/>
                  </a:lnTo>
                  <a:lnTo>
                    <a:pt x="190500" y="0"/>
                  </a:lnTo>
                  <a:lnTo>
                    <a:pt x="142875" y="0"/>
                  </a:lnTo>
                  <a:cubicBezTo>
                    <a:pt x="111347" y="0"/>
                    <a:pt x="85725" y="25622"/>
                    <a:pt x="85725" y="57150"/>
                  </a:cubicBezTo>
                  <a:lnTo>
                    <a:pt x="19050" y="57150"/>
                  </a:lnTo>
                  <a:lnTo>
                    <a:pt x="0" y="104775"/>
                  </a:lnTo>
                  <a:lnTo>
                    <a:pt x="85725" y="104775"/>
                  </a:lnTo>
                  <a:cubicBezTo>
                    <a:pt x="85725" y="136303"/>
                    <a:pt x="111347" y="161925"/>
                    <a:pt x="142875" y="161925"/>
                  </a:cubicBezTo>
                  <a:lnTo>
                    <a:pt x="190500" y="161925"/>
                  </a:lnTo>
                  <a:lnTo>
                    <a:pt x="190500" y="133350"/>
                  </a:lnTo>
                  <a:lnTo>
                    <a:pt x="233363" y="133350"/>
                  </a:lnTo>
                  <a:cubicBezTo>
                    <a:pt x="241268" y="133350"/>
                    <a:pt x="247650" y="126968"/>
                    <a:pt x="247650" y="119063"/>
                  </a:cubicBezTo>
                  <a:cubicBezTo>
                    <a:pt x="247650" y="111157"/>
                    <a:pt x="241268" y="104775"/>
                    <a:pt x="233363" y="104775"/>
                  </a:cubicBezTo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9344CC1A-D6A7-3F8B-34B0-4B546BAA3BC6}"/>
              </a:ext>
            </a:extLst>
          </p:cNvPr>
          <p:cNvGrpSpPr>
            <a:grpSpLocks/>
          </p:cNvGrpSpPr>
          <p:nvPr/>
        </p:nvGrpSpPr>
        <p:grpSpPr>
          <a:xfrm>
            <a:off x="8273086" y="3450838"/>
            <a:ext cx="554926" cy="554926"/>
            <a:chOff x="9798749" y="5417011"/>
            <a:chExt cx="554926" cy="554926"/>
          </a:xfrm>
        </p:grpSpPr>
        <p:grpSp>
          <p:nvGrpSpPr>
            <p:cNvPr id="67" name="Gruppieren 66">
              <a:extLst>
                <a:ext uri="{FF2B5EF4-FFF2-40B4-BE49-F238E27FC236}">
                  <a16:creationId xmlns:a16="http://schemas.microsoft.com/office/drawing/2014/main" id="{555F51B0-F2DE-D41B-BECE-6468180132DF}"/>
                </a:ext>
              </a:extLst>
            </p:cNvPr>
            <p:cNvGrpSpPr/>
            <p:nvPr/>
          </p:nvGrpSpPr>
          <p:grpSpPr>
            <a:xfrm>
              <a:off x="9798749" y="5417011"/>
              <a:ext cx="554926" cy="554926"/>
              <a:chOff x="9798749" y="5417011"/>
              <a:chExt cx="554926" cy="554926"/>
            </a:xfrm>
          </p:grpSpPr>
          <p:sp>
            <p:nvSpPr>
              <p:cNvPr id="69" name="Ellipse 68">
                <a:extLst>
                  <a:ext uri="{FF2B5EF4-FFF2-40B4-BE49-F238E27FC236}">
                    <a16:creationId xmlns:a16="http://schemas.microsoft.com/office/drawing/2014/main" id="{93F383CF-BC77-22ED-C66D-B3BB49A228D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798749" y="5417011"/>
                <a:ext cx="554926" cy="55492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Ellipse 69">
                <a:extLst>
                  <a:ext uri="{FF2B5EF4-FFF2-40B4-BE49-F238E27FC236}">
                    <a16:creationId xmlns:a16="http://schemas.microsoft.com/office/drawing/2014/main" id="{95A72090-15AD-E406-FC39-5496F728CBB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853518" y="5471780"/>
                <a:ext cx="445388" cy="44538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68" name="Grafik 102">
              <a:extLst>
                <a:ext uri="{FF2B5EF4-FFF2-40B4-BE49-F238E27FC236}">
                  <a16:creationId xmlns:a16="http://schemas.microsoft.com/office/drawing/2014/main" id="{F516FD92-8ED6-F32C-AA93-AC3C780EDD53}"/>
                </a:ext>
              </a:extLst>
            </p:cNvPr>
            <p:cNvSpPr/>
            <p:nvPr/>
          </p:nvSpPr>
          <p:spPr>
            <a:xfrm rot="18900000">
              <a:off x="9934808" y="5606288"/>
              <a:ext cx="269408" cy="176150"/>
            </a:xfrm>
            <a:custGeom>
              <a:avLst/>
              <a:gdLst>
                <a:gd name="connsiteX0" fmla="*/ 233363 w 247650"/>
                <a:gd name="connsiteY0" fmla="*/ 104775 h 161925"/>
                <a:gd name="connsiteX1" fmla="*/ 190500 w 247650"/>
                <a:gd name="connsiteY1" fmla="*/ 104775 h 161925"/>
                <a:gd name="connsiteX2" fmla="*/ 190500 w 247650"/>
                <a:gd name="connsiteY2" fmla="*/ 57150 h 161925"/>
                <a:gd name="connsiteX3" fmla="*/ 233363 w 247650"/>
                <a:gd name="connsiteY3" fmla="*/ 57150 h 161925"/>
                <a:gd name="connsiteX4" fmla="*/ 247650 w 247650"/>
                <a:gd name="connsiteY4" fmla="*/ 42863 h 161925"/>
                <a:gd name="connsiteX5" fmla="*/ 233363 w 247650"/>
                <a:gd name="connsiteY5" fmla="*/ 28575 h 161925"/>
                <a:gd name="connsiteX6" fmla="*/ 190500 w 247650"/>
                <a:gd name="connsiteY6" fmla="*/ 28575 h 161925"/>
                <a:gd name="connsiteX7" fmla="*/ 190500 w 247650"/>
                <a:gd name="connsiteY7" fmla="*/ 0 h 161925"/>
                <a:gd name="connsiteX8" fmla="*/ 142875 w 247650"/>
                <a:gd name="connsiteY8" fmla="*/ 0 h 161925"/>
                <a:gd name="connsiteX9" fmla="*/ 85725 w 247650"/>
                <a:gd name="connsiteY9" fmla="*/ 57150 h 161925"/>
                <a:gd name="connsiteX10" fmla="*/ 19050 w 247650"/>
                <a:gd name="connsiteY10" fmla="*/ 57150 h 161925"/>
                <a:gd name="connsiteX11" fmla="*/ 0 w 247650"/>
                <a:gd name="connsiteY11" fmla="*/ 104775 h 161925"/>
                <a:gd name="connsiteX12" fmla="*/ 85725 w 247650"/>
                <a:gd name="connsiteY12" fmla="*/ 104775 h 161925"/>
                <a:gd name="connsiteX13" fmla="*/ 142875 w 247650"/>
                <a:gd name="connsiteY13" fmla="*/ 161925 h 161925"/>
                <a:gd name="connsiteX14" fmla="*/ 190500 w 247650"/>
                <a:gd name="connsiteY14" fmla="*/ 161925 h 161925"/>
                <a:gd name="connsiteX15" fmla="*/ 190500 w 247650"/>
                <a:gd name="connsiteY15" fmla="*/ 133350 h 161925"/>
                <a:gd name="connsiteX16" fmla="*/ 233363 w 247650"/>
                <a:gd name="connsiteY16" fmla="*/ 133350 h 161925"/>
                <a:gd name="connsiteX17" fmla="*/ 247650 w 247650"/>
                <a:gd name="connsiteY17" fmla="*/ 119063 h 161925"/>
                <a:gd name="connsiteX18" fmla="*/ 233363 w 247650"/>
                <a:gd name="connsiteY18" fmla="*/ 10477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7650" h="161925">
                  <a:moveTo>
                    <a:pt x="233363" y="104775"/>
                  </a:moveTo>
                  <a:lnTo>
                    <a:pt x="190500" y="104775"/>
                  </a:lnTo>
                  <a:lnTo>
                    <a:pt x="190500" y="57150"/>
                  </a:lnTo>
                  <a:lnTo>
                    <a:pt x="233363" y="57150"/>
                  </a:lnTo>
                  <a:cubicBezTo>
                    <a:pt x="241268" y="57150"/>
                    <a:pt x="247650" y="50768"/>
                    <a:pt x="247650" y="42863"/>
                  </a:cubicBezTo>
                  <a:cubicBezTo>
                    <a:pt x="247650" y="34957"/>
                    <a:pt x="241268" y="28575"/>
                    <a:pt x="233363" y="28575"/>
                  </a:cubicBezTo>
                  <a:lnTo>
                    <a:pt x="190500" y="28575"/>
                  </a:lnTo>
                  <a:lnTo>
                    <a:pt x="190500" y="0"/>
                  </a:lnTo>
                  <a:lnTo>
                    <a:pt x="142875" y="0"/>
                  </a:lnTo>
                  <a:cubicBezTo>
                    <a:pt x="111347" y="0"/>
                    <a:pt x="85725" y="25622"/>
                    <a:pt x="85725" y="57150"/>
                  </a:cubicBezTo>
                  <a:lnTo>
                    <a:pt x="19050" y="57150"/>
                  </a:lnTo>
                  <a:lnTo>
                    <a:pt x="0" y="104775"/>
                  </a:lnTo>
                  <a:lnTo>
                    <a:pt x="85725" y="104775"/>
                  </a:lnTo>
                  <a:cubicBezTo>
                    <a:pt x="85725" y="136303"/>
                    <a:pt x="111347" y="161925"/>
                    <a:pt x="142875" y="161925"/>
                  </a:cubicBezTo>
                  <a:lnTo>
                    <a:pt x="190500" y="161925"/>
                  </a:lnTo>
                  <a:lnTo>
                    <a:pt x="190500" y="133350"/>
                  </a:lnTo>
                  <a:lnTo>
                    <a:pt x="233363" y="133350"/>
                  </a:lnTo>
                  <a:cubicBezTo>
                    <a:pt x="241268" y="133350"/>
                    <a:pt x="247650" y="126968"/>
                    <a:pt x="247650" y="119063"/>
                  </a:cubicBezTo>
                  <a:cubicBezTo>
                    <a:pt x="247650" y="111157"/>
                    <a:pt x="241268" y="104775"/>
                    <a:pt x="233363" y="104775"/>
                  </a:cubicBezTo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2CD02BDA-5286-9040-0061-F166B7F26308}"/>
              </a:ext>
            </a:extLst>
          </p:cNvPr>
          <p:cNvGrpSpPr>
            <a:grpSpLocks/>
          </p:cNvGrpSpPr>
          <p:nvPr/>
        </p:nvGrpSpPr>
        <p:grpSpPr>
          <a:xfrm>
            <a:off x="10385010" y="3450838"/>
            <a:ext cx="554926" cy="554926"/>
            <a:chOff x="9798749" y="5417011"/>
            <a:chExt cx="554926" cy="554926"/>
          </a:xfrm>
        </p:grpSpPr>
        <p:grpSp>
          <p:nvGrpSpPr>
            <p:cNvPr id="72" name="Gruppieren 71">
              <a:extLst>
                <a:ext uri="{FF2B5EF4-FFF2-40B4-BE49-F238E27FC236}">
                  <a16:creationId xmlns:a16="http://schemas.microsoft.com/office/drawing/2014/main" id="{72DF5412-1A02-A1DD-B441-9B72B48488E4}"/>
                </a:ext>
              </a:extLst>
            </p:cNvPr>
            <p:cNvGrpSpPr/>
            <p:nvPr/>
          </p:nvGrpSpPr>
          <p:grpSpPr>
            <a:xfrm>
              <a:off x="9798749" y="5417011"/>
              <a:ext cx="554926" cy="554926"/>
              <a:chOff x="9798749" y="5417011"/>
              <a:chExt cx="554926" cy="554926"/>
            </a:xfrm>
          </p:grpSpPr>
          <p:sp>
            <p:nvSpPr>
              <p:cNvPr id="74" name="Ellipse 73">
                <a:extLst>
                  <a:ext uri="{FF2B5EF4-FFF2-40B4-BE49-F238E27FC236}">
                    <a16:creationId xmlns:a16="http://schemas.microsoft.com/office/drawing/2014/main" id="{54DF7846-467A-2CD4-4716-5664121B2A7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798749" y="5417011"/>
                <a:ext cx="554926" cy="55492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" name="Ellipse 74">
                <a:extLst>
                  <a:ext uri="{FF2B5EF4-FFF2-40B4-BE49-F238E27FC236}">
                    <a16:creationId xmlns:a16="http://schemas.microsoft.com/office/drawing/2014/main" id="{D7E16D38-6857-9834-1162-53404644131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853518" y="5471780"/>
                <a:ext cx="445388" cy="44538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3" name="Grafik 102">
              <a:extLst>
                <a:ext uri="{FF2B5EF4-FFF2-40B4-BE49-F238E27FC236}">
                  <a16:creationId xmlns:a16="http://schemas.microsoft.com/office/drawing/2014/main" id="{40BEB955-488A-C3EF-EA42-EDE6477E253E}"/>
                </a:ext>
              </a:extLst>
            </p:cNvPr>
            <p:cNvSpPr/>
            <p:nvPr/>
          </p:nvSpPr>
          <p:spPr>
            <a:xfrm rot="18900000">
              <a:off x="9934808" y="5606288"/>
              <a:ext cx="269408" cy="176150"/>
            </a:xfrm>
            <a:custGeom>
              <a:avLst/>
              <a:gdLst>
                <a:gd name="connsiteX0" fmla="*/ 233363 w 247650"/>
                <a:gd name="connsiteY0" fmla="*/ 104775 h 161925"/>
                <a:gd name="connsiteX1" fmla="*/ 190500 w 247650"/>
                <a:gd name="connsiteY1" fmla="*/ 104775 h 161925"/>
                <a:gd name="connsiteX2" fmla="*/ 190500 w 247650"/>
                <a:gd name="connsiteY2" fmla="*/ 57150 h 161925"/>
                <a:gd name="connsiteX3" fmla="*/ 233363 w 247650"/>
                <a:gd name="connsiteY3" fmla="*/ 57150 h 161925"/>
                <a:gd name="connsiteX4" fmla="*/ 247650 w 247650"/>
                <a:gd name="connsiteY4" fmla="*/ 42863 h 161925"/>
                <a:gd name="connsiteX5" fmla="*/ 233363 w 247650"/>
                <a:gd name="connsiteY5" fmla="*/ 28575 h 161925"/>
                <a:gd name="connsiteX6" fmla="*/ 190500 w 247650"/>
                <a:gd name="connsiteY6" fmla="*/ 28575 h 161925"/>
                <a:gd name="connsiteX7" fmla="*/ 190500 w 247650"/>
                <a:gd name="connsiteY7" fmla="*/ 0 h 161925"/>
                <a:gd name="connsiteX8" fmla="*/ 142875 w 247650"/>
                <a:gd name="connsiteY8" fmla="*/ 0 h 161925"/>
                <a:gd name="connsiteX9" fmla="*/ 85725 w 247650"/>
                <a:gd name="connsiteY9" fmla="*/ 57150 h 161925"/>
                <a:gd name="connsiteX10" fmla="*/ 19050 w 247650"/>
                <a:gd name="connsiteY10" fmla="*/ 57150 h 161925"/>
                <a:gd name="connsiteX11" fmla="*/ 0 w 247650"/>
                <a:gd name="connsiteY11" fmla="*/ 104775 h 161925"/>
                <a:gd name="connsiteX12" fmla="*/ 85725 w 247650"/>
                <a:gd name="connsiteY12" fmla="*/ 104775 h 161925"/>
                <a:gd name="connsiteX13" fmla="*/ 142875 w 247650"/>
                <a:gd name="connsiteY13" fmla="*/ 161925 h 161925"/>
                <a:gd name="connsiteX14" fmla="*/ 190500 w 247650"/>
                <a:gd name="connsiteY14" fmla="*/ 161925 h 161925"/>
                <a:gd name="connsiteX15" fmla="*/ 190500 w 247650"/>
                <a:gd name="connsiteY15" fmla="*/ 133350 h 161925"/>
                <a:gd name="connsiteX16" fmla="*/ 233363 w 247650"/>
                <a:gd name="connsiteY16" fmla="*/ 133350 h 161925"/>
                <a:gd name="connsiteX17" fmla="*/ 247650 w 247650"/>
                <a:gd name="connsiteY17" fmla="*/ 119063 h 161925"/>
                <a:gd name="connsiteX18" fmla="*/ 233363 w 247650"/>
                <a:gd name="connsiteY18" fmla="*/ 10477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7650" h="161925">
                  <a:moveTo>
                    <a:pt x="233363" y="104775"/>
                  </a:moveTo>
                  <a:lnTo>
                    <a:pt x="190500" y="104775"/>
                  </a:lnTo>
                  <a:lnTo>
                    <a:pt x="190500" y="57150"/>
                  </a:lnTo>
                  <a:lnTo>
                    <a:pt x="233363" y="57150"/>
                  </a:lnTo>
                  <a:cubicBezTo>
                    <a:pt x="241268" y="57150"/>
                    <a:pt x="247650" y="50768"/>
                    <a:pt x="247650" y="42863"/>
                  </a:cubicBezTo>
                  <a:cubicBezTo>
                    <a:pt x="247650" y="34957"/>
                    <a:pt x="241268" y="28575"/>
                    <a:pt x="233363" y="28575"/>
                  </a:cubicBezTo>
                  <a:lnTo>
                    <a:pt x="190500" y="28575"/>
                  </a:lnTo>
                  <a:lnTo>
                    <a:pt x="190500" y="0"/>
                  </a:lnTo>
                  <a:lnTo>
                    <a:pt x="142875" y="0"/>
                  </a:lnTo>
                  <a:cubicBezTo>
                    <a:pt x="111347" y="0"/>
                    <a:pt x="85725" y="25622"/>
                    <a:pt x="85725" y="57150"/>
                  </a:cubicBezTo>
                  <a:lnTo>
                    <a:pt x="19050" y="57150"/>
                  </a:lnTo>
                  <a:lnTo>
                    <a:pt x="0" y="104775"/>
                  </a:lnTo>
                  <a:lnTo>
                    <a:pt x="85725" y="104775"/>
                  </a:lnTo>
                  <a:cubicBezTo>
                    <a:pt x="85725" y="136303"/>
                    <a:pt x="111347" y="161925"/>
                    <a:pt x="142875" y="161925"/>
                  </a:cubicBezTo>
                  <a:lnTo>
                    <a:pt x="190500" y="161925"/>
                  </a:lnTo>
                  <a:lnTo>
                    <a:pt x="190500" y="133350"/>
                  </a:lnTo>
                  <a:lnTo>
                    <a:pt x="233363" y="133350"/>
                  </a:lnTo>
                  <a:cubicBezTo>
                    <a:pt x="241268" y="133350"/>
                    <a:pt x="247650" y="126968"/>
                    <a:pt x="247650" y="119063"/>
                  </a:cubicBezTo>
                  <a:cubicBezTo>
                    <a:pt x="247650" y="111157"/>
                    <a:pt x="241268" y="104775"/>
                    <a:pt x="233363" y="104775"/>
                  </a:cubicBezTo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3" name="Gruppieren 112">
            <a:extLst>
              <a:ext uri="{FF2B5EF4-FFF2-40B4-BE49-F238E27FC236}">
                <a16:creationId xmlns:a16="http://schemas.microsoft.com/office/drawing/2014/main" id="{69D5C04E-5B85-93A5-3133-E119548F2D98}"/>
              </a:ext>
            </a:extLst>
          </p:cNvPr>
          <p:cNvGrpSpPr/>
          <p:nvPr/>
        </p:nvGrpSpPr>
        <p:grpSpPr>
          <a:xfrm>
            <a:off x="3521374" y="4118680"/>
            <a:ext cx="7946424" cy="739069"/>
            <a:chOff x="3521374" y="4118680"/>
            <a:chExt cx="7946424" cy="739069"/>
          </a:xfrm>
        </p:grpSpPr>
        <p:sp>
          <p:nvSpPr>
            <p:cNvPr id="76" name="Rechteck 75">
              <a:extLst>
                <a:ext uri="{FF2B5EF4-FFF2-40B4-BE49-F238E27FC236}">
                  <a16:creationId xmlns:a16="http://schemas.microsoft.com/office/drawing/2014/main" id="{C2B4FAE7-8DA1-59FD-1E5A-3CB0F85064CD}"/>
                </a:ext>
              </a:extLst>
            </p:cNvPr>
            <p:cNvSpPr>
              <a:spLocks/>
            </p:cNvSpPr>
            <p:nvPr/>
          </p:nvSpPr>
          <p:spPr>
            <a:xfrm>
              <a:off x="3521374" y="4118680"/>
              <a:ext cx="1610655" cy="739069"/>
            </a:xfrm>
            <a:prstGeom prst="rect">
              <a:avLst/>
            </a:prstGeom>
            <a:solidFill>
              <a:srgbClr val="ECECEC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ehrwertdienste</a:t>
              </a: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BE4DF306-D9DF-2BBC-6AEB-0A72F979188B}"/>
                </a:ext>
              </a:extLst>
            </p:cNvPr>
            <p:cNvSpPr>
              <a:spLocks/>
            </p:cNvSpPr>
            <p:nvPr/>
          </p:nvSpPr>
          <p:spPr>
            <a:xfrm>
              <a:off x="5633297" y="4118680"/>
              <a:ext cx="1610655" cy="739069"/>
            </a:xfrm>
            <a:prstGeom prst="rect">
              <a:avLst/>
            </a:prstGeom>
            <a:solidFill>
              <a:srgbClr val="ECECEC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ehrwertdienste</a:t>
              </a: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315B09F9-E6A2-2787-BFAB-3D19F3C99E61}"/>
                </a:ext>
              </a:extLst>
            </p:cNvPr>
            <p:cNvSpPr>
              <a:spLocks/>
            </p:cNvSpPr>
            <p:nvPr/>
          </p:nvSpPr>
          <p:spPr>
            <a:xfrm>
              <a:off x="7745220" y="4118680"/>
              <a:ext cx="1610655" cy="739069"/>
            </a:xfrm>
            <a:prstGeom prst="rect">
              <a:avLst/>
            </a:prstGeom>
            <a:solidFill>
              <a:srgbClr val="ECECEC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ehrwertdienste</a:t>
              </a:r>
            </a:p>
          </p:txBody>
        </p:sp>
        <p:sp>
          <p:nvSpPr>
            <p:cNvPr id="90" name="Rechteck 89">
              <a:extLst>
                <a:ext uri="{FF2B5EF4-FFF2-40B4-BE49-F238E27FC236}">
                  <a16:creationId xmlns:a16="http://schemas.microsoft.com/office/drawing/2014/main" id="{DD030A7B-1FC5-932F-1207-96B9F8039F24}"/>
                </a:ext>
              </a:extLst>
            </p:cNvPr>
            <p:cNvSpPr>
              <a:spLocks/>
            </p:cNvSpPr>
            <p:nvPr/>
          </p:nvSpPr>
          <p:spPr>
            <a:xfrm>
              <a:off x="9857143" y="4118680"/>
              <a:ext cx="1610655" cy="739069"/>
            </a:xfrm>
            <a:prstGeom prst="rect">
              <a:avLst/>
            </a:prstGeom>
            <a:solidFill>
              <a:srgbClr val="ECECEC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ehrwertdienste</a:t>
              </a:r>
            </a:p>
          </p:txBody>
        </p:sp>
      </p:grpSp>
      <p:grpSp>
        <p:nvGrpSpPr>
          <p:cNvPr id="119" name="Gruppieren 118">
            <a:extLst>
              <a:ext uri="{FF2B5EF4-FFF2-40B4-BE49-F238E27FC236}">
                <a16:creationId xmlns:a16="http://schemas.microsoft.com/office/drawing/2014/main" id="{FDD79F47-5F37-D861-0820-E55C2A2DBDC4}"/>
              </a:ext>
            </a:extLst>
          </p:cNvPr>
          <p:cNvGrpSpPr/>
          <p:nvPr/>
        </p:nvGrpSpPr>
        <p:grpSpPr>
          <a:xfrm>
            <a:off x="3179762" y="3080657"/>
            <a:ext cx="7475538" cy="370180"/>
            <a:chOff x="3179762" y="2673970"/>
            <a:chExt cx="7475538" cy="776868"/>
          </a:xfrm>
        </p:grpSpPr>
        <p:sp>
          <p:nvSpPr>
            <p:cNvPr id="96" name="Freihandform: Form 95">
              <a:extLst>
                <a:ext uri="{FF2B5EF4-FFF2-40B4-BE49-F238E27FC236}">
                  <a16:creationId xmlns:a16="http://schemas.microsoft.com/office/drawing/2014/main" id="{CEC3A661-395A-F11C-358D-5B512B1FE0DD}"/>
                </a:ext>
              </a:extLst>
            </p:cNvPr>
            <p:cNvSpPr>
              <a:spLocks/>
            </p:cNvSpPr>
            <p:nvPr/>
          </p:nvSpPr>
          <p:spPr>
            <a:xfrm>
              <a:off x="3179762" y="2673970"/>
              <a:ext cx="7475538" cy="776868"/>
            </a:xfrm>
            <a:custGeom>
              <a:avLst/>
              <a:gdLst>
                <a:gd name="connsiteX0" fmla="*/ 0 w 1819275"/>
                <a:gd name="connsiteY0" fmla="*/ 0 h 400050"/>
                <a:gd name="connsiteX1" fmla="*/ 1819275 w 1819275"/>
                <a:gd name="connsiteY1" fmla="*/ 0 h 400050"/>
                <a:gd name="connsiteX2" fmla="*/ 1819275 w 1819275"/>
                <a:gd name="connsiteY2" fmla="*/ 400050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9275" h="400050">
                  <a:moveTo>
                    <a:pt x="0" y="0"/>
                  </a:moveTo>
                  <a:lnTo>
                    <a:pt x="1819275" y="0"/>
                  </a:lnTo>
                  <a:lnTo>
                    <a:pt x="1819275" y="400050"/>
                  </a:lnTo>
                </a:path>
              </a:pathLst>
            </a:custGeom>
            <a:noFill/>
            <a:ln w="19050">
              <a:solidFill>
                <a:schemeClr val="accent5"/>
              </a:solidFill>
              <a:miter lim="800000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8" name="Gerader Verbinder 97">
              <a:extLst>
                <a:ext uri="{FF2B5EF4-FFF2-40B4-BE49-F238E27FC236}">
                  <a16:creationId xmlns:a16="http://schemas.microsoft.com/office/drawing/2014/main" id="{661EA30A-E2F4-DB82-CE2F-B1AD964A5B05}"/>
                </a:ext>
              </a:extLst>
            </p:cNvPr>
            <p:cNvCxnSpPr>
              <a:cxnSpLocks/>
            </p:cNvCxnSpPr>
            <p:nvPr/>
          </p:nvCxnSpPr>
          <p:spPr>
            <a:xfrm>
              <a:off x="4326701" y="2673970"/>
              <a:ext cx="0" cy="776868"/>
            </a:xfrm>
            <a:prstGeom prst="line">
              <a:avLst/>
            </a:prstGeom>
            <a:noFill/>
            <a:ln w="19050">
              <a:solidFill>
                <a:schemeClr val="accent5"/>
              </a:solidFill>
              <a:miter lim="800000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" name="Gerader Verbinder 98">
              <a:extLst>
                <a:ext uri="{FF2B5EF4-FFF2-40B4-BE49-F238E27FC236}">
                  <a16:creationId xmlns:a16="http://schemas.microsoft.com/office/drawing/2014/main" id="{6082E22F-145A-C375-71A5-283930B0244F}"/>
                </a:ext>
              </a:extLst>
            </p:cNvPr>
            <p:cNvCxnSpPr>
              <a:cxnSpLocks/>
            </p:cNvCxnSpPr>
            <p:nvPr/>
          </p:nvCxnSpPr>
          <p:spPr>
            <a:xfrm>
              <a:off x="6438625" y="2673970"/>
              <a:ext cx="0" cy="776868"/>
            </a:xfrm>
            <a:prstGeom prst="line">
              <a:avLst/>
            </a:prstGeom>
            <a:noFill/>
            <a:ln w="19050">
              <a:solidFill>
                <a:schemeClr val="accent5"/>
              </a:solidFill>
              <a:miter lim="800000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" name="Gerader Verbinder 99">
              <a:extLst>
                <a:ext uri="{FF2B5EF4-FFF2-40B4-BE49-F238E27FC236}">
                  <a16:creationId xmlns:a16="http://schemas.microsoft.com/office/drawing/2014/main" id="{00AF9684-105C-6155-27DD-D9A18DAF8A9F}"/>
                </a:ext>
              </a:extLst>
            </p:cNvPr>
            <p:cNvCxnSpPr>
              <a:cxnSpLocks/>
            </p:cNvCxnSpPr>
            <p:nvPr/>
          </p:nvCxnSpPr>
          <p:spPr>
            <a:xfrm>
              <a:off x="8550549" y="2673970"/>
              <a:ext cx="0" cy="776868"/>
            </a:xfrm>
            <a:prstGeom prst="line">
              <a:avLst/>
            </a:prstGeom>
            <a:noFill/>
            <a:ln w="19050">
              <a:solidFill>
                <a:schemeClr val="accent5"/>
              </a:solidFill>
              <a:miter lim="800000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6B753CC1-271E-D368-FE0C-8593D4809E05}"/>
              </a:ext>
            </a:extLst>
          </p:cNvPr>
          <p:cNvGrpSpPr>
            <a:grpSpLocks/>
          </p:cNvGrpSpPr>
          <p:nvPr/>
        </p:nvGrpSpPr>
        <p:grpSpPr>
          <a:xfrm>
            <a:off x="4577337" y="1615429"/>
            <a:ext cx="5834501" cy="739069"/>
            <a:chOff x="5633297" y="1615429"/>
            <a:chExt cx="5834501" cy="739069"/>
          </a:xfrm>
        </p:grpSpPr>
        <p:grpSp>
          <p:nvGrpSpPr>
            <p:cNvPr id="105" name="Gruppieren 104">
              <a:extLst>
                <a:ext uri="{FF2B5EF4-FFF2-40B4-BE49-F238E27FC236}">
                  <a16:creationId xmlns:a16="http://schemas.microsoft.com/office/drawing/2014/main" id="{C95925A2-320E-0E19-193B-DD5A24C70ABB}"/>
                </a:ext>
              </a:extLst>
            </p:cNvPr>
            <p:cNvGrpSpPr/>
            <p:nvPr/>
          </p:nvGrpSpPr>
          <p:grpSpPr>
            <a:xfrm>
              <a:off x="7745220" y="1615429"/>
              <a:ext cx="1610655" cy="739069"/>
              <a:chOff x="3521374" y="4118680"/>
              <a:chExt cx="1610655" cy="739069"/>
            </a:xfrm>
          </p:grpSpPr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EB67DC67-E538-9A1D-3BF1-6A31629B7AD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521374" y="4118680"/>
                <a:ext cx="1610655" cy="739069"/>
              </a:xfrm>
              <a:prstGeom prst="rect">
                <a:avLst/>
              </a:prstGeom>
              <a:solidFill>
                <a:srgbClr val="ECECEC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Mehrwertdienste unserer Partner </a:t>
                </a:r>
              </a:p>
            </p:txBody>
          </p:sp>
          <p:sp>
            <p:nvSpPr>
              <p:cNvPr id="107" name="Freeform 5">
                <a:extLst>
                  <a:ext uri="{FF2B5EF4-FFF2-40B4-BE49-F238E27FC236}">
                    <a16:creationId xmlns:a16="http://schemas.microsoft.com/office/drawing/2014/main" id="{F8078C30-72D0-10A0-6527-7A7C865ECE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7056" y="4585742"/>
                <a:ext cx="192144" cy="185216"/>
              </a:xfrm>
              <a:custGeom>
                <a:avLst/>
                <a:gdLst>
                  <a:gd name="T0" fmla="*/ 52 w 112"/>
                  <a:gd name="T1" fmla="*/ 100 h 108"/>
                  <a:gd name="T2" fmla="*/ 44 w 112"/>
                  <a:gd name="T3" fmla="*/ 108 h 108"/>
                  <a:gd name="T4" fmla="*/ 36 w 112"/>
                  <a:gd name="T5" fmla="*/ 100 h 108"/>
                  <a:gd name="T6" fmla="*/ 44 w 112"/>
                  <a:gd name="T7" fmla="*/ 92 h 108"/>
                  <a:gd name="T8" fmla="*/ 52 w 112"/>
                  <a:gd name="T9" fmla="*/ 100 h 108"/>
                  <a:gd name="T10" fmla="*/ 80 w 112"/>
                  <a:gd name="T11" fmla="*/ 92 h 108"/>
                  <a:gd name="T12" fmla="*/ 72 w 112"/>
                  <a:gd name="T13" fmla="*/ 100 h 108"/>
                  <a:gd name="T14" fmla="*/ 80 w 112"/>
                  <a:gd name="T15" fmla="*/ 108 h 108"/>
                  <a:gd name="T16" fmla="*/ 88 w 112"/>
                  <a:gd name="T17" fmla="*/ 100 h 108"/>
                  <a:gd name="T18" fmla="*/ 80 w 112"/>
                  <a:gd name="T19" fmla="*/ 92 h 108"/>
                  <a:gd name="T20" fmla="*/ 112 w 112"/>
                  <a:gd name="T21" fmla="*/ 20 h 108"/>
                  <a:gd name="T22" fmla="*/ 24 w 112"/>
                  <a:gd name="T23" fmla="*/ 20 h 108"/>
                  <a:gd name="T24" fmla="*/ 18 w 112"/>
                  <a:gd name="T25" fmla="*/ 0 h 108"/>
                  <a:gd name="T26" fmla="*/ 0 w 112"/>
                  <a:gd name="T27" fmla="*/ 0 h 108"/>
                  <a:gd name="T28" fmla="*/ 0 w 112"/>
                  <a:gd name="T29" fmla="*/ 8 h 108"/>
                  <a:gd name="T30" fmla="*/ 12 w 112"/>
                  <a:gd name="T31" fmla="*/ 8 h 108"/>
                  <a:gd name="T32" fmla="*/ 35 w 112"/>
                  <a:gd name="T33" fmla="*/ 88 h 108"/>
                  <a:gd name="T34" fmla="*/ 92 w 112"/>
                  <a:gd name="T35" fmla="*/ 88 h 108"/>
                  <a:gd name="T36" fmla="*/ 92 w 112"/>
                  <a:gd name="T37" fmla="*/ 80 h 108"/>
                  <a:gd name="T38" fmla="*/ 41 w 112"/>
                  <a:gd name="T39" fmla="*/ 80 h 108"/>
                  <a:gd name="T40" fmla="*/ 39 w 112"/>
                  <a:gd name="T41" fmla="*/ 72 h 108"/>
                  <a:gd name="T42" fmla="*/ 97 w 112"/>
                  <a:gd name="T43" fmla="*/ 72 h 108"/>
                  <a:gd name="T44" fmla="*/ 112 w 112"/>
                  <a:gd name="T45" fmla="*/ 2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12" h="108">
                    <a:moveTo>
                      <a:pt x="52" y="100"/>
                    </a:moveTo>
                    <a:cubicBezTo>
                      <a:pt x="52" y="104"/>
                      <a:pt x="48" y="108"/>
                      <a:pt x="44" y="108"/>
                    </a:cubicBezTo>
                    <a:cubicBezTo>
                      <a:pt x="40" y="108"/>
                      <a:pt x="36" y="104"/>
                      <a:pt x="36" y="100"/>
                    </a:cubicBezTo>
                    <a:cubicBezTo>
                      <a:pt x="36" y="96"/>
                      <a:pt x="40" y="92"/>
                      <a:pt x="44" y="92"/>
                    </a:cubicBezTo>
                    <a:cubicBezTo>
                      <a:pt x="48" y="92"/>
                      <a:pt x="52" y="96"/>
                      <a:pt x="52" y="100"/>
                    </a:cubicBezTo>
                    <a:close/>
                    <a:moveTo>
                      <a:pt x="80" y="92"/>
                    </a:moveTo>
                    <a:cubicBezTo>
                      <a:pt x="76" y="92"/>
                      <a:pt x="72" y="96"/>
                      <a:pt x="72" y="100"/>
                    </a:cubicBezTo>
                    <a:cubicBezTo>
                      <a:pt x="72" y="104"/>
                      <a:pt x="76" y="108"/>
                      <a:pt x="80" y="108"/>
                    </a:cubicBezTo>
                    <a:cubicBezTo>
                      <a:pt x="84" y="108"/>
                      <a:pt x="88" y="104"/>
                      <a:pt x="88" y="100"/>
                    </a:cubicBezTo>
                    <a:cubicBezTo>
                      <a:pt x="88" y="96"/>
                      <a:pt x="84" y="92"/>
                      <a:pt x="80" y="92"/>
                    </a:cubicBezTo>
                    <a:close/>
                    <a:moveTo>
                      <a:pt x="112" y="20"/>
                    </a:moveTo>
                    <a:cubicBezTo>
                      <a:pt x="24" y="20"/>
                      <a:pt x="24" y="20"/>
                      <a:pt x="24" y="2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35" y="88"/>
                      <a:pt x="35" y="88"/>
                      <a:pt x="35" y="88"/>
                    </a:cubicBezTo>
                    <a:cubicBezTo>
                      <a:pt x="92" y="88"/>
                      <a:pt x="92" y="88"/>
                      <a:pt x="92" y="88"/>
                    </a:cubicBezTo>
                    <a:cubicBezTo>
                      <a:pt x="92" y="80"/>
                      <a:pt x="92" y="80"/>
                      <a:pt x="92" y="80"/>
                    </a:cubicBezTo>
                    <a:cubicBezTo>
                      <a:pt x="41" y="80"/>
                      <a:pt x="41" y="80"/>
                      <a:pt x="41" y="80"/>
                    </a:cubicBezTo>
                    <a:cubicBezTo>
                      <a:pt x="39" y="72"/>
                      <a:pt x="39" y="72"/>
                      <a:pt x="39" y="72"/>
                    </a:cubicBezTo>
                    <a:cubicBezTo>
                      <a:pt x="97" y="72"/>
                      <a:pt x="97" y="72"/>
                      <a:pt x="97" y="72"/>
                    </a:cubicBezTo>
                    <a:lnTo>
                      <a:pt x="112" y="2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17" name="Gruppieren 116">
              <a:extLst>
                <a:ext uri="{FF2B5EF4-FFF2-40B4-BE49-F238E27FC236}">
                  <a16:creationId xmlns:a16="http://schemas.microsoft.com/office/drawing/2014/main" id="{CAFB510E-C1D6-1228-A9A9-50CC53CB00E7}"/>
                </a:ext>
              </a:extLst>
            </p:cNvPr>
            <p:cNvGrpSpPr/>
            <p:nvPr/>
          </p:nvGrpSpPr>
          <p:grpSpPr>
            <a:xfrm>
              <a:off x="5633297" y="1615429"/>
              <a:ext cx="1610655" cy="739069"/>
              <a:chOff x="5633297" y="1615429"/>
              <a:chExt cx="1610655" cy="739069"/>
            </a:xfrm>
          </p:grpSpPr>
          <p:sp>
            <p:nvSpPr>
              <p:cNvPr id="102" name="Rechteck 101">
                <a:extLst>
                  <a:ext uri="{FF2B5EF4-FFF2-40B4-BE49-F238E27FC236}">
                    <a16:creationId xmlns:a16="http://schemas.microsoft.com/office/drawing/2014/main" id="{9A3DD2A5-A8E3-A680-90DB-DBD3E039658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33297" y="1615429"/>
                <a:ext cx="1610655" cy="739069"/>
              </a:xfrm>
              <a:prstGeom prst="rect">
                <a:avLst/>
              </a:prstGeom>
              <a:solidFill>
                <a:srgbClr val="FDDDCB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i="0" u="none" strike="noStrike" kern="1200" cap="none" spc="0" normalizeH="0" baseline="0" noProof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xterne </a:t>
                </a:r>
                <a:br>
                  <a:rPr kumimoji="0" lang="de-DE" sz="1200" i="0" u="none" strike="noStrike" kern="1200" cap="none" spc="0" normalizeH="0" baseline="0" noProof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de-DE" sz="1200" i="0" u="none" strike="noStrike" kern="1200" cap="none" spc="0" normalizeH="0" baseline="0" noProof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Netzwerke</a:t>
                </a:r>
              </a:p>
            </p:txBody>
          </p:sp>
          <p:sp>
            <p:nvSpPr>
              <p:cNvPr id="114" name="Freeform 5">
                <a:extLst>
                  <a:ext uri="{FF2B5EF4-FFF2-40B4-BE49-F238E27FC236}">
                    <a16:creationId xmlns:a16="http://schemas.microsoft.com/office/drawing/2014/main" id="{78418885-AD48-25E1-62ED-3A81107F60DE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6941741" y="2047875"/>
                <a:ext cx="217174" cy="217174"/>
              </a:xfrm>
              <a:custGeom>
                <a:avLst/>
                <a:gdLst>
                  <a:gd name="T0" fmla="*/ 112 w 112"/>
                  <a:gd name="T1" fmla="*/ 92 h 112"/>
                  <a:gd name="T2" fmla="*/ 92 w 112"/>
                  <a:gd name="T3" fmla="*/ 112 h 112"/>
                  <a:gd name="T4" fmla="*/ 72 w 112"/>
                  <a:gd name="T5" fmla="*/ 92 h 112"/>
                  <a:gd name="T6" fmla="*/ 73 w 112"/>
                  <a:gd name="T7" fmla="*/ 87 h 112"/>
                  <a:gd name="T8" fmla="*/ 36 w 112"/>
                  <a:gd name="T9" fmla="*/ 68 h 112"/>
                  <a:gd name="T10" fmla="*/ 20 w 112"/>
                  <a:gd name="T11" fmla="*/ 76 h 112"/>
                  <a:gd name="T12" fmla="*/ 0 w 112"/>
                  <a:gd name="T13" fmla="*/ 56 h 112"/>
                  <a:gd name="T14" fmla="*/ 20 w 112"/>
                  <a:gd name="T15" fmla="*/ 36 h 112"/>
                  <a:gd name="T16" fmla="*/ 36 w 112"/>
                  <a:gd name="T17" fmla="*/ 44 h 112"/>
                  <a:gd name="T18" fmla="*/ 73 w 112"/>
                  <a:gd name="T19" fmla="*/ 25 h 112"/>
                  <a:gd name="T20" fmla="*/ 72 w 112"/>
                  <a:gd name="T21" fmla="*/ 20 h 112"/>
                  <a:gd name="T22" fmla="*/ 92 w 112"/>
                  <a:gd name="T23" fmla="*/ 0 h 112"/>
                  <a:gd name="T24" fmla="*/ 112 w 112"/>
                  <a:gd name="T25" fmla="*/ 20 h 112"/>
                  <a:gd name="T26" fmla="*/ 92 w 112"/>
                  <a:gd name="T27" fmla="*/ 40 h 112"/>
                  <a:gd name="T28" fmla="*/ 76 w 112"/>
                  <a:gd name="T29" fmla="*/ 32 h 112"/>
                  <a:gd name="T30" fmla="*/ 39 w 112"/>
                  <a:gd name="T31" fmla="*/ 51 h 112"/>
                  <a:gd name="T32" fmla="*/ 40 w 112"/>
                  <a:gd name="T33" fmla="*/ 56 h 112"/>
                  <a:gd name="T34" fmla="*/ 39 w 112"/>
                  <a:gd name="T35" fmla="*/ 61 h 112"/>
                  <a:gd name="T36" fmla="*/ 76 w 112"/>
                  <a:gd name="T37" fmla="*/ 80 h 112"/>
                  <a:gd name="T38" fmla="*/ 92 w 112"/>
                  <a:gd name="T39" fmla="*/ 72 h 112"/>
                  <a:gd name="T40" fmla="*/ 112 w 112"/>
                  <a:gd name="T41" fmla="*/ 9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2" h="112">
                    <a:moveTo>
                      <a:pt x="112" y="92"/>
                    </a:moveTo>
                    <a:cubicBezTo>
                      <a:pt x="112" y="103"/>
                      <a:pt x="103" y="112"/>
                      <a:pt x="92" y="112"/>
                    </a:cubicBezTo>
                    <a:cubicBezTo>
                      <a:pt x="81" y="112"/>
                      <a:pt x="72" y="103"/>
                      <a:pt x="72" y="92"/>
                    </a:cubicBezTo>
                    <a:cubicBezTo>
                      <a:pt x="72" y="90"/>
                      <a:pt x="72" y="89"/>
                      <a:pt x="73" y="87"/>
                    </a:cubicBezTo>
                    <a:cubicBezTo>
                      <a:pt x="36" y="68"/>
                      <a:pt x="36" y="68"/>
                      <a:pt x="36" y="68"/>
                    </a:cubicBezTo>
                    <a:cubicBezTo>
                      <a:pt x="32" y="73"/>
                      <a:pt x="26" y="76"/>
                      <a:pt x="20" y="76"/>
                    </a:cubicBezTo>
                    <a:cubicBezTo>
                      <a:pt x="9" y="76"/>
                      <a:pt x="0" y="67"/>
                      <a:pt x="0" y="56"/>
                    </a:cubicBezTo>
                    <a:cubicBezTo>
                      <a:pt x="0" y="45"/>
                      <a:pt x="9" y="36"/>
                      <a:pt x="20" y="36"/>
                    </a:cubicBezTo>
                    <a:cubicBezTo>
                      <a:pt x="26" y="36"/>
                      <a:pt x="32" y="39"/>
                      <a:pt x="36" y="44"/>
                    </a:cubicBezTo>
                    <a:cubicBezTo>
                      <a:pt x="73" y="25"/>
                      <a:pt x="73" y="25"/>
                      <a:pt x="73" y="25"/>
                    </a:cubicBezTo>
                    <a:cubicBezTo>
                      <a:pt x="72" y="23"/>
                      <a:pt x="72" y="22"/>
                      <a:pt x="72" y="20"/>
                    </a:cubicBezTo>
                    <a:cubicBezTo>
                      <a:pt x="72" y="9"/>
                      <a:pt x="81" y="0"/>
                      <a:pt x="92" y="0"/>
                    </a:cubicBezTo>
                    <a:cubicBezTo>
                      <a:pt x="103" y="0"/>
                      <a:pt x="112" y="9"/>
                      <a:pt x="112" y="20"/>
                    </a:cubicBezTo>
                    <a:cubicBezTo>
                      <a:pt x="112" y="31"/>
                      <a:pt x="103" y="40"/>
                      <a:pt x="92" y="40"/>
                    </a:cubicBezTo>
                    <a:cubicBezTo>
                      <a:pt x="86" y="40"/>
                      <a:pt x="80" y="37"/>
                      <a:pt x="76" y="32"/>
                    </a:cubicBezTo>
                    <a:cubicBezTo>
                      <a:pt x="39" y="51"/>
                      <a:pt x="39" y="51"/>
                      <a:pt x="39" y="51"/>
                    </a:cubicBezTo>
                    <a:cubicBezTo>
                      <a:pt x="40" y="53"/>
                      <a:pt x="40" y="54"/>
                      <a:pt x="40" y="56"/>
                    </a:cubicBezTo>
                    <a:cubicBezTo>
                      <a:pt x="40" y="58"/>
                      <a:pt x="40" y="59"/>
                      <a:pt x="39" y="61"/>
                    </a:cubicBezTo>
                    <a:cubicBezTo>
                      <a:pt x="76" y="80"/>
                      <a:pt x="76" y="80"/>
                      <a:pt x="76" y="80"/>
                    </a:cubicBezTo>
                    <a:cubicBezTo>
                      <a:pt x="80" y="75"/>
                      <a:pt x="86" y="72"/>
                      <a:pt x="92" y="72"/>
                    </a:cubicBezTo>
                    <a:cubicBezTo>
                      <a:pt x="103" y="72"/>
                      <a:pt x="112" y="81"/>
                      <a:pt x="112" y="92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16" name="Gruppieren 115">
              <a:extLst>
                <a:ext uri="{FF2B5EF4-FFF2-40B4-BE49-F238E27FC236}">
                  <a16:creationId xmlns:a16="http://schemas.microsoft.com/office/drawing/2014/main" id="{1ED5DD69-40C2-D13D-C19F-41551B1F2F5E}"/>
                </a:ext>
              </a:extLst>
            </p:cNvPr>
            <p:cNvGrpSpPr/>
            <p:nvPr/>
          </p:nvGrpSpPr>
          <p:grpSpPr>
            <a:xfrm>
              <a:off x="9857143" y="1615429"/>
              <a:ext cx="1610655" cy="739069"/>
              <a:chOff x="9857143" y="1615429"/>
              <a:chExt cx="1610655" cy="739069"/>
            </a:xfrm>
          </p:grpSpPr>
          <p:sp>
            <p:nvSpPr>
              <p:cNvPr id="110" name="Rechteck 109">
                <a:extLst>
                  <a:ext uri="{FF2B5EF4-FFF2-40B4-BE49-F238E27FC236}">
                    <a16:creationId xmlns:a16="http://schemas.microsoft.com/office/drawing/2014/main" id="{2089B73B-997C-7CBC-A70F-A2A687B6C30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857143" y="1615429"/>
                <a:ext cx="1610655" cy="739069"/>
              </a:xfrm>
              <a:prstGeom prst="rect">
                <a:avLst/>
              </a:prstGeom>
              <a:solidFill>
                <a:srgbClr val="CEEFFB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n-NO" sz="1200" i="0" u="none" strike="noStrike" kern="1200" cap="none" spc="0" normalizeH="0" baseline="0" noProof="0">
                    <a:ln>
                      <a:noFill/>
                    </a:ln>
                    <a:solidFill>
                      <a:srgbClr val="3ABFED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Telematik Infrastruktur (TI)</a:t>
                </a:r>
              </a:p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n-NO" sz="1200" i="0" u="none" strike="noStrike" kern="1200" cap="none" spc="0" normalizeH="0" baseline="0" noProof="0">
                    <a:ln>
                      <a:noFill/>
                    </a:ln>
                    <a:solidFill>
                      <a:srgbClr val="3ABFED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(ePA + KIM)</a:t>
                </a:r>
              </a:p>
            </p:txBody>
          </p:sp>
          <p:pic>
            <p:nvPicPr>
              <p:cNvPr id="115" name="Grafik 114">
                <a:extLst>
                  <a:ext uri="{FF2B5EF4-FFF2-40B4-BE49-F238E27FC236}">
                    <a16:creationId xmlns:a16="http://schemas.microsoft.com/office/drawing/2014/main" id="{2281669C-F443-A7E1-BF46-50910DF569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clrChange>
                  <a:clrFrom>
                    <a:srgbClr val="000000">
                      <a:alpha val="0"/>
                    </a:srgbClr>
                  </a:clrFrom>
                  <a:clrTo>
                    <a:srgbClr val="000000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10925175" y="2171336"/>
                <a:ext cx="448196" cy="109316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28" name="Freihandform: Form 127">
            <a:extLst>
              <a:ext uri="{FF2B5EF4-FFF2-40B4-BE49-F238E27FC236}">
                <a16:creationId xmlns:a16="http://schemas.microsoft.com/office/drawing/2014/main" id="{9EEE8615-ED71-F698-F17A-1AA65567DDE6}"/>
              </a:ext>
            </a:extLst>
          </p:cNvPr>
          <p:cNvSpPr/>
          <p:nvPr/>
        </p:nvSpPr>
        <p:spPr>
          <a:xfrm>
            <a:off x="5359339" y="2353215"/>
            <a:ext cx="1736786" cy="370180"/>
          </a:xfrm>
          <a:custGeom>
            <a:avLst/>
            <a:gdLst>
              <a:gd name="connsiteX0" fmla="*/ 0 w 409575"/>
              <a:gd name="connsiteY0" fmla="*/ 0 h 238125"/>
              <a:gd name="connsiteX1" fmla="*/ 0 w 409575"/>
              <a:gd name="connsiteY1" fmla="*/ 238125 h 238125"/>
              <a:gd name="connsiteX2" fmla="*/ 409575 w 409575"/>
              <a:gd name="connsiteY2" fmla="*/ 238125 h 238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09575" h="238125">
                <a:moveTo>
                  <a:pt x="0" y="0"/>
                </a:moveTo>
                <a:lnTo>
                  <a:pt x="0" y="238125"/>
                </a:lnTo>
                <a:lnTo>
                  <a:pt x="409575" y="238125"/>
                </a:lnTo>
              </a:path>
            </a:pathLst>
          </a:custGeom>
          <a:noFill/>
          <a:ln w="19050">
            <a:solidFill>
              <a:schemeClr val="accent5"/>
            </a:solidFill>
            <a:miter lim="800000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Freihandform: Form 128">
            <a:extLst>
              <a:ext uri="{FF2B5EF4-FFF2-40B4-BE49-F238E27FC236}">
                <a16:creationId xmlns:a16="http://schemas.microsoft.com/office/drawing/2014/main" id="{3F4591F6-EE68-9B25-B0C8-ACFBCD8B99A2}"/>
              </a:ext>
            </a:extLst>
          </p:cNvPr>
          <p:cNvSpPr/>
          <p:nvPr/>
        </p:nvSpPr>
        <p:spPr>
          <a:xfrm flipH="1">
            <a:off x="7869423" y="2353215"/>
            <a:ext cx="1736786" cy="370180"/>
          </a:xfrm>
          <a:custGeom>
            <a:avLst/>
            <a:gdLst>
              <a:gd name="connsiteX0" fmla="*/ 0 w 409575"/>
              <a:gd name="connsiteY0" fmla="*/ 0 h 238125"/>
              <a:gd name="connsiteX1" fmla="*/ 0 w 409575"/>
              <a:gd name="connsiteY1" fmla="*/ 238125 h 238125"/>
              <a:gd name="connsiteX2" fmla="*/ 409575 w 409575"/>
              <a:gd name="connsiteY2" fmla="*/ 238125 h 238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09575" h="238125">
                <a:moveTo>
                  <a:pt x="0" y="0"/>
                </a:moveTo>
                <a:lnTo>
                  <a:pt x="0" y="238125"/>
                </a:lnTo>
                <a:lnTo>
                  <a:pt x="409575" y="238125"/>
                </a:lnTo>
              </a:path>
            </a:pathLst>
          </a:custGeom>
          <a:noFill/>
          <a:ln w="19050">
            <a:solidFill>
              <a:schemeClr val="accent5"/>
            </a:solidFill>
            <a:miter lim="800000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0" name="Gerader Verbinder 129">
            <a:extLst>
              <a:ext uri="{FF2B5EF4-FFF2-40B4-BE49-F238E27FC236}">
                <a16:creationId xmlns:a16="http://schemas.microsoft.com/office/drawing/2014/main" id="{C697A545-408F-9F92-16FD-79B1CFFB2144}"/>
              </a:ext>
            </a:extLst>
          </p:cNvPr>
          <p:cNvCxnSpPr>
            <a:cxnSpLocks/>
          </p:cNvCxnSpPr>
          <p:nvPr/>
        </p:nvCxnSpPr>
        <p:spPr>
          <a:xfrm>
            <a:off x="7494863" y="2353215"/>
            <a:ext cx="0" cy="370180"/>
          </a:xfrm>
          <a:prstGeom prst="line">
            <a:avLst/>
          </a:prstGeom>
          <a:noFill/>
          <a:ln w="19050">
            <a:solidFill>
              <a:schemeClr val="accent5"/>
            </a:solidFill>
            <a:miter lim="800000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8D537A9-F3CE-45C3-245E-53AFF174BF7E}"/>
              </a:ext>
            </a:extLst>
          </p:cNvPr>
          <p:cNvGrpSpPr/>
          <p:nvPr/>
        </p:nvGrpSpPr>
        <p:grpSpPr>
          <a:xfrm>
            <a:off x="6845300" y="2488326"/>
            <a:ext cx="1298576" cy="1095657"/>
            <a:chOff x="6845300" y="2488326"/>
            <a:chExt cx="1298576" cy="1095657"/>
          </a:xfrm>
        </p:grpSpPr>
        <p:sp>
          <p:nvSpPr>
            <p:cNvPr id="95" name="Freeform 17">
              <a:extLst>
                <a:ext uri="{FF2B5EF4-FFF2-40B4-BE49-F238E27FC236}">
                  <a16:creationId xmlns:a16="http://schemas.microsoft.com/office/drawing/2014/main" id="{28CD9A3C-94AE-79B7-CC82-2DCBC88823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5300" y="2488326"/>
              <a:ext cx="1298576" cy="847570"/>
            </a:xfrm>
            <a:custGeom>
              <a:avLst/>
              <a:gdLst>
                <a:gd name="T0" fmla="*/ 367 w 433"/>
                <a:gd name="T1" fmla="*/ 119 h 284"/>
                <a:gd name="T2" fmla="*/ 367 w 433"/>
                <a:gd name="T3" fmla="*/ 117 h 284"/>
                <a:gd name="T4" fmla="*/ 300 w 433"/>
                <a:gd name="T5" fmla="*/ 50 h 284"/>
                <a:gd name="T6" fmla="*/ 270 w 433"/>
                <a:gd name="T7" fmla="*/ 58 h 284"/>
                <a:gd name="T8" fmla="*/ 175 w 433"/>
                <a:gd name="T9" fmla="*/ 0 h 284"/>
                <a:gd name="T10" fmla="*/ 67 w 433"/>
                <a:gd name="T11" fmla="*/ 109 h 284"/>
                <a:gd name="T12" fmla="*/ 67 w 433"/>
                <a:gd name="T13" fmla="*/ 119 h 284"/>
                <a:gd name="T14" fmla="*/ 0 w 433"/>
                <a:gd name="T15" fmla="*/ 200 h 284"/>
                <a:gd name="T16" fmla="*/ 83 w 433"/>
                <a:gd name="T17" fmla="*/ 284 h 284"/>
                <a:gd name="T18" fmla="*/ 350 w 433"/>
                <a:gd name="T19" fmla="*/ 284 h 284"/>
                <a:gd name="T20" fmla="*/ 433 w 433"/>
                <a:gd name="T21" fmla="*/ 200 h 284"/>
                <a:gd name="T22" fmla="*/ 367 w 433"/>
                <a:gd name="T23" fmla="*/ 119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3" h="284">
                  <a:moveTo>
                    <a:pt x="367" y="119"/>
                  </a:moveTo>
                  <a:cubicBezTo>
                    <a:pt x="367" y="118"/>
                    <a:pt x="367" y="118"/>
                    <a:pt x="367" y="117"/>
                  </a:cubicBezTo>
                  <a:cubicBezTo>
                    <a:pt x="367" y="80"/>
                    <a:pt x="337" y="50"/>
                    <a:pt x="300" y="50"/>
                  </a:cubicBezTo>
                  <a:cubicBezTo>
                    <a:pt x="289" y="50"/>
                    <a:pt x="279" y="53"/>
                    <a:pt x="270" y="58"/>
                  </a:cubicBezTo>
                  <a:cubicBezTo>
                    <a:pt x="252" y="23"/>
                    <a:pt x="216" y="0"/>
                    <a:pt x="175" y="0"/>
                  </a:cubicBezTo>
                  <a:cubicBezTo>
                    <a:pt x="115" y="0"/>
                    <a:pt x="67" y="49"/>
                    <a:pt x="67" y="109"/>
                  </a:cubicBezTo>
                  <a:cubicBezTo>
                    <a:pt x="67" y="112"/>
                    <a:pt x="67" y="115"/>
                    <a:pt x="67" y="119"/>
                  </a:cubicBezTo>
                  <a:cubicBezTo>
                    <a:pt x="29" y="126"/>
                    <a:pt x="0" y="160"/>
                    <a:pt x="0" y="200"/>
                  </a:cubicBezTo>
                  <a:cubicBezTo>
                    <a:pt x="0" y="246"/>
                    <a:pt x="37" y="284"/>
                    <a:pt x="83" y="284"/>
                  </a:cubicBezTo>
                  <a:lnTo>
                    <a:pt x="350" y="284"/>
                  </a:lnTo>
                  <a:cubicBezTo>
                    <a:pt x="396" y="284"/>
                    <a:pt x="433" y="246"/>
                    <a:pt x="433" y="200"/>
                  </a:cubicBezTo>
                  <a:cubicBezTo>
                    <a:pt x="433" y="160"/>
                    <a:pt x="405" y="126"/>
                    <a:pt x="367" y="11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6" name="Gruppieren 125">
              <a:extLst>
                <a:ext uri="{FF2B5EF4-FFF2-40B4-BE49-F238E27FC236}">
                  <a16:creationId xmlns:a16="http://schemas.microsoft.com/office/drawing/2014/main" id="{A64E2295-53AA-B66E-5CEB-B75319E156D2}"/>
                </a:ext>
              </a:extLst>
            </p:cNvPr>
            <p:cNvGrpSpPr/>
            <p:nvPr/>
          </p:nvGrpSpPr>
          <p:grpSpPr>
            <a:xfrm>
              <a:off x="7145146" y="3053758"/>
              <a:ext cx="724277" cy="530225"/>
              <a:chOff x="7145146" y="3053758"/>
              <a:chExt cx="724277" cy="530225"/>
            </a:xfrm>
          </p:grpSpPr>
          <p:grpSp>
            <p:nvGrpSpPr>
              <p:cNvPr id="124" name="Gruppieren 123">
                <a:extLst>
                  <a:ext uri="{FF2B5EF4-FFF2-40B4-BE49-F238E27FC236}">
                    <a16:creationId xmlns:a16="http://schemas.microsoft.com/office/drawing/2014/main" id="{7DFD3D32-8E36-3511-1F8F-D9B98A1FB323}"/>
                  </a:ext>
                </a:extLst>
              </p:cNvPr>
              <p:cNvGrpSpPr/>
              <p:nvPr/>
            </p:nvGrpSpPr>
            <p:grpSpPr>
              <a:xfrm>
                <a:off x="7463023" y="3053758"/>
                <a:ext cx="406400" cy="530225"/>
                <a:chOff x="7463023" y="3053758"/>
                <a:chExt cx="406400" cy="530225"/>
              </a:xfrm>
            </p:grpSpPr>
            <p:sp>
              <p:nvSpPr>
                <p:cNvPr id="123" name="Rechteck 122">
                  <a:extLst>
                    <a:ext uri="{FF2B5EF4-FFF2-40B4-BE49-F238E27FC236}">
                      <a16:creationId xmlns:a16="http://schemas.microsoft.com/office/drawing/2014/main" id="{119B2350-1D16-50A6-A3F0-FB88ED79C3F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556304" y="3192590"/>
                  <a:ext cx="219837" cy="25256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22" name="Freeform 86">
                  <a:extLst>
                    <a:ext uri="{FF2B5EF4-FFF2-40B4-BE49-F238E27FC236}">
                      <a16:creationId xmlns:a16="http://schemas.microsoft.com/office/drawing/2014/main" id="{0CA9EA6C-FBAB-B570-207D-27ABD4DA76A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463023" y="3053758"/>
                  <a:ext cx="406400" cy="530225"/>
                </a:xfrm>
                <a:custGeom>
                  <a:avLst/>
                  <a:gdLst>
                    <a:gd name="T0" fmla="*/ 225 w 333"/>
                    <a:gd name="T1" fmla="*/ 183 h 433"/>
                    <a:gd name="T2" fmla="*/ 200 w 333"/>
                    <a:gd name="T3" fmla="*/ 183 h 433"/>
                    <a:gd name="T4" fmla="*/ 200 w 333"/>
                    <a:gd name="T5" fmla="*/ 167 h 433"/>
                    <a:gd name="T6" fmla="*/ 167 w 333"/>
                    <a:gd name="T7" fmla="*/ 133 h 433"/>
                    <a:gd name="T8" fmla="*/ 133 w 333"/>
                    <a:gd name="T9" fmla="*/ 167 h 433"/>
                    <a:gd name="T10" fmla="*/ 133 w 333"/>
                    <a:gd name="T11" fmla="*/ 183 h 433"/>
                    <a:gd name="T12" fmla="*/ 108 w 333"/>
                    <a:gd name="T13" fmla="*/ 183 h 433"/>
                    <a:gd name="T14" fmla="*/ 108 w 333"/>
                    <a:gd name="T15" fmla="*/ 300 h 433"/>
                    <a:gd name="T16" fmla="*/ 225 w 333"/>
                    <a:gd name="T17" fmla="*/ 300 h 433"/>
                    <a:gd name="T18" fmla="*/ 225 w 333"/>
                    <a:gd name="T19" fmla="*/ 183 h 433"/>
                    <a:gd name="T20" fmla="*/ 333 w 333"/>
                    <a:gd name="T21" fmla="*/ 67 h 433"/>
                    <a:gd name="T22" fmla="*/ 333 w 333"/>
                    <a:gd name="T23" fmla="*/ 244 h 433"/>
                    <a:gd name="T24" fmla="*/ 290 w 333"/>
                    <a:gd name="T25" fmla="*/ 335 h 433"/>
                    <a:gd name="T26" fmla="*/ 167 w 333"/>
                    <a:gd name="T27" fmla="*/ 433 h 433"/>
                    <a:gd name="T28" fmla="*/ 44 w 333"/>
                    <a:gd name="T29" fmla="*/ 335 h 433"/>
                    <a:gd name="T30" fmla="*/ 0 w 333"/>
                    <a:gd name="T31" fmla="*/ 244 h 433"/>
                    <a:gd name="T32" fmla="*/ 0 w 333"/>
                    <a:gd name="T33" fmla="*/ 67 h 433"/>
                    <a:gd name="T34" fmla="*/ 167 w 333"/>
                    <a:gd name="T35" fmla="*/ 0 h 433"/>
                    <a:gd name="T36" fmla="*/ 333 w 333"/>
                    <a:gd name="T37" fmla="*/ 67 h 433"/>
                    <a:gd name="T38" fmla="*/ 167 w 333"/>
                    <a:gd name="T39" fmla="*/ 150 h 433"/>
                    <a:gd name="T40" fmla="*/ 150 w 333"/>
                    <a:gd name="T41" fmla="*/ 167 h 433"/>
                    <a:gd name="T42" fmla="*/ 150 w 333"/>
                    <a:gd name="T43" fmla="*/ 183 h 433"/>
                    <a:gd name="T44" fmla="*/ 183 w 333"/>
                    <a:gd name="T45" fmla="*/ 183 h 433"/>
                    <a:gd name="T46" fmla="*/ 183 w 333"/>
                    <a:gd name="T47" fmla="*/ 167 h 433"/>
                    <a:gd name="T48" fmla="*/ 167 w 333"/>
                    <a:gd name="T49" fmla="*/ 150 h 433"/>
                    <a:gd name="T50" fmla="*/ 175 w 333"/>
                    <a:gd name="T51" fmla="*/ 250 h 433"/>
                    <a:gd name="T52" fmla="*/ 175 w 333"/>
                    <a:gd name="T53" fmla="*/ 267 h 433"/>
                    <a:gd name="T54" fmla="*/ 167 w 333"/>
                    <a:gd name="T55" fmla="*/ 275 h 433"/>
                    <a:gd name="T56" fmla="*/ 158 w 333"/>
                    <a:gd name="T57" fmla="*/ 267 h 433"/>
                    <a:gd name="T58" fmla="*/ 158 w 333"/>
                    <a:gd name="T59" fmla="*/ 250 h 433"/>
                    <a:gd name="T60" fmla="*/ 167 w 333"/>
                    <a:gd name="T61" fmla="*/ 242 h 433"/>
                    <a:gd name="T62" fmla="*/ 175 w 333"/>
                    <a:gd name="T63" fmla="*/ 250 h 4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333" h="433">
                      <a:moveTo>
                        <a:pt x="225" y="183"/>
                      </a:moveTo>
                      <a:lnTo>
                        <a:pt x="200" y="183"/>
                      </a:lnTo>
                      <a:lnTo>
                        <a:pt x="200" y="167"/>
                      </a:lnTo>
                      <a:cubicBezTo>
                        <a:pt x="200" y="148"/>
                        <a:pt x="185" y="133"/>
                        <a:pt x="167" y="133"/>
                      </a:cubicBezTo>
                      <a:cubicBezTo>
                        <a:pt x="148" y="133"/>
                        <a:pt x="133" y="148"/>
                        <a:pt x="133" y="167"/>
                      </a:cubicBezTo>
                      <a:lnTo>
                        <a:pt x="133" y="183"/>
                      </a:lnTo>
                      <a:lnTo>
                        <a:pt x="108" y="183"/>
                      </a:lnTo>
                      <a:lnTo>
                        <a:pt x="108" y="300"/>
                      </a:lnTo>
                      <a:lnTo>
                        <a:pt x="225" y="300"/>
                      </a:lnTo>
                      <a:lnTo>
                        <a:pt x="225" y="183"/>
                      </a:lnTo>
                      <a:close/>
                      <a:moveTo>
                        <a:pt x="333" y="67"/>
                      </a:moveTo>
                      <a:lnTo>
                        <a:pt x="333" y="244"/>
                      </a:lnTo>
                      <a:cubicBezTo>
                        <a:pt x="333" y="279"/>
                        <a:pt x="317" y="313"/>
                        <a:pt x="290" y="335"/>
                      </a:cubicBezTo>
                      <a:lnTo>
                        <a:pt x="167" y="433"/>
                      </a:lnTo>
                      <a:lnTo>
                        <a:pt x="44" y="335"/>
                      </a:lnTo>
                      <a:cubicBezTo>
                        <a:pt x="16" y="313"/>
                        <a:pt x="0" y="279"/>
                        <a:pt x="0" y="244"/>
                      </a:cubicBezTo>
                      <a:lnTo>
                        <a:pt x="0" y="67"/>
                      </a:lnTo>
                      <a:cubicBezTo>
                        <a:pt x="0" y="67"/>
                        <a:pt x="103" y="74"/>
                        <a:pt x="167" y="0"/>
                      </a:cubicBezTo>
                      <a:cubicBezTo>
                        <a:pt x="230" y="74"/>
                        <a:pt x="333" y="67"/>
                        <a:pt x="333" y="67"/>
                      </a:cubicBezTo>
                      <a:close/>
                      <a:moveTo>
                        <a:pt x="167" y="150"/>
                      </a:moveTo>
                      <a:cubicBezTo>
                        <a:pt x="157" y="150"/>
                        <a:pt x="150" y="157"/>
                        <a:pt x="150" y="167"/>
                      </a:cubicBezTo>
                      <a:lnTo>
                        <a:pt x="150" y="183"/>
                      </a:lnTo>
                      <a:lnTo>
                        <a:pt x="183" y="183"/>
                      </a:lnTo>
                      <a:lnTo>
                        <a:pt x="183" y="167"/>
                      </a:lnTo>
                      <a:cubicBezTo>
                        <a:pt x="183" y="157"/>
                        <a:pt x="176" y="150"/>
                        <a:pt x="167" y="150"/>
                      </a:cubicBezTo>
                      <a:close/>
                      <a:moveTo>
                        <a:pt x="175" y="250"/>
                      </a:moveTo>
                      <a:lnTo>
                        <a:pt x="175" y="267"/>
                      </a:lnTo>
                      <a:cubicBezTo>
                        <a:pt x="175" y="271"/>
                        <a:pt x="171" y="275"/>
                        <a:pt x="167" y="275"/>
                      </a:cubicBezTo>
                      <a:cubicBezTo>
                        <a:pt x="162" y="275"/>
                        <a:pt x="158" y="271"/>
                        <a:pt x="158" y="267"/>
                      </a:cubicBezTo>
                      <a:lnTo>
                        <a:pt x="158" y="250"/>
                      </a:lnTo>
                      <a:cubicBezTo>
                        <a:pt x="158" y="245"/>
                        <a:pt x="162" y="242"/>
                        <a:pt x="167" y="242"/>
                      </a:cubicBezTo>
                      <a:cubicBezTo>
                        <a:pt x="171" y="242"/>
                        <a:pt x="175" y="245"/>
                        <a:pt x="175" y="250"/>
                      </a:cubicBezTo>
                      <a:close/>
                    </a:path>
                  </a:pathLst>
                </a:custGeom>
                <a:solidFill>
                  <a:srgbClr val="EC660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9219DFEC-43CF-94C4-E108-E2CFE10D5579}"/>
                  </a:ext>
                </a:extLst>
              </p:cNvPr>
              <p:cNvSpPr txBox="1"/>
              <p:nvPr/>
            </p:nvSpPr>
            <p:spPr>
              <a:xfrm>
                <a:off x="7145146" y="3117850"/>
                <a:ext cx="344680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200" b="1">
                    <a:solidFill>
                      <a:schemeClr val="bg1"/>
                    </a:solidFill>
                  </a:rPr>
                  <a:t>SSL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663923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F641F3B-DA2F-34D0-FE8F-15189EC318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677" y="7836"/>
          <a:ext cx="1585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F641F3B-DA2F-34D0-FE8F-15189EC318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677" y="7836"/>
                        <a:ext cx="1585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extfeld 30">
            <a:extLst>
              <a:ext uri="{FF2B5EF4-FFF2-40B4-BE49-F238E27FC236}">
                <a16:creationId xmlns:a16="http://schemas.microsoft.com/office/drawing/2014/main" id="{43D920EE-EE45-9FD0-F156-30A38B33705C}"/>
              </a:ext>
            </a:extLst>
          </p:cNvPr>
          <p:cNvSpPr txBox="1">
            <a:spLocks/>
          </p:cNvSpPr>
          <p:nvPr/>
        </p:nvSpPr>
        <p:spPr>
          <a:xfrm>
            <a:off x="550109" y="1622550"/>
            <a:ext cx="5051474" cy="443055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  <p:txBody>
          <a:bodyPr wrap="square" lIns="179672" tIns="143738" rIns="179672" bIns="0" rtlCol="0" anchor="t">
            <a:noAutofit/>
          </a:bodyPr>
          <a:lstStyle/>
          <a:p>
            <a:pPr defTabSz="907834">
              <a:defRPr/>
            </a:pPr>
            <a:r>
              <a:rPr lang="de-DE" sz="1397">
                <a:solidFill>
                  <a:srgbClr val="000000"/>
                </a:solidFill>
                <a:latin typeface="Calibri"/>
              </a:rPr>
              <a:t>Mehrwertdienste </a:t>
            </a:r>
          </a:p>
          <a:p>
            <a:pPr defTabSz="907834">
              <a:defRPr/>
            </a:pPr>
            <a:r>
              <a:rPr lang="de-DE" sz="1397" b="1">
                <a:solidFill>
                  <a:srgbClr val="000000"/>
                </a:solidFill>
                <a:latin typeface="Calibri"/>
              </a:rPr>
              <a:t>Siemens Healthineers</a:t>
            </a:r>
          </a:p>
        </p:txBody>
      </p:sp>
      <p:sp>
        <p:nvSpPr>
          <p:cNvPr id="138" name="Freihandform: Form 137">
            <a:extLst>
              <a:ext uri="{FF2B5EF4-FFF2-40B4-BE49-F238E27FC236}">
                <a16:creationId xmlns:a16="http://schemas.microsoft.com/office/drawing/2014/main" id="{66CF978A-C8C2-BECA-4E30-C0E5EBC20BB8}"/>
              </a:ext>
            </a:extLst>
          </p:cNvPr>
          <p:cNvSpPr/>
          <p:nvPr/>
        </p:nvSpPr>
        <p:spPr>
          <a:xfrm>
            <a:off x="6568196" y="1592126"/>
            <a:ext cx="5620279" cy="5259626"/>
          </a:xfrm>
          <a:custGeom>
            <a:avLst/>
            <a:gdLst>
              <a:gd name="connsiteX0" fmla="*/ 5059777 w 5630543"/>
              <a:gd name="connsiteY0" fmla="*/ 0 h 5269231"/>
              <a:gd name="connsiteX1" fmla="*/ 5577600 w 5630543"/>
              <a:gd name="connsiteY1" fmla="*/ 1371166 h 5269231"/>
              <a:gd name="connsiteX2" fmla="*/ 5577600 w 5630543"/>
              <a:gd name="connsiteY2" fmla="*/ 1375902 h 5269231"/>
              <a:gd name="connsiteX3" fmla="*/ 5630543 w 5630543"/>
              <a:gd name="connsiteY3" fmla="*/ 1516092 h 5269231"/>
              <a:gd name="connsiteX4" fmla="*/ 5630543 w 5630543"/>
              <a:gd name="connsiteY4" fmla="*/ 5269230 h 5269231"/>
              <a:gd name="connsiteX5" fmla="*/ 3508372 w 5630543"/>
              <a:gd name="connsiteY5" fmla="*/ 5269230 h 5269231"/>
              <a:gd name="connsiteX6" fmla="*/ 3508372 w 5630543"/>
              <a:gd name="connsiteY6" fmla="*/ 5269231 h 5269231"/>
              <a:gd name="connsiteX7" fmla="*/ 327037 w 5630543"/>
              <a:gd name="connsiteY7" fmla="*/ 5269231 h 5269231"/>
              <a:gd name="connsiteX8" fmla="*/ 0 w 5630543"/>
              <a:gd name="connsiteY8" fmla="*/ 4469130 h 5269231"/>
              <a:gd name="connsiteX9" fmla="*/ 3508372 w 5630543"/>
              <a:gd name="connsiteY9" fmla="*/ 4469130 h 5269231"/>
              <a:gd name="connsiteX10" fmla="*/ 3508372 w 5630543"/>
              <a:gd name="connsiteY10" fmla="*/ 4475222 h 5269231"/>
              <a:gd name="connsiteX11" fmla="*/ 5059777 w 5630543"/>
              <a:gd name="connsiteY11" fmla="*/ 4475222 h 5269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30543" h="5269231">
                <a:moveTo>
                  <a:pt x="5059777" y="0"/>
                </a:moveTo>
                <a:lnTo>
                  <a:pt x="5577600" y="1371166"/>
                </a:lnTo>
                <a:lnTo>
                  <a:pt x="5577600" y="1375902"/>
                </a:lnTo>
                <a:lnTo>
                  <a:pt x="5630543" y="1516092"/>
                </a:lnTo>
                <a:lnTo>
                  <a:pt x="5630543" y="5269230"/>
                </a:lnTo>
                <a:lnTo>
                  <a:pt x="3508372" y="5269230"/>
                </a:lnTo>
                <a:lnTo>
                  <a:pt x="3508372" y="5269231"/>
                </a:lnTo>
                <a:lnTo>
                  <a:pt x="327037" y="5269231"/>
                </a:lnTo>
                <a:lnTo>
                  <a:pt x="0" y="4469130"/>
                </a:lnTo>
                <a:lnTo>
                  <a:pt x="3508372" y="4469130"/>
                </a:lnTo>
                <a:lnTo>
                  <a:pt x="3508372" y="4475222"/>
                </a:lnTo>
                <a:lnTo>
                  <a:pt x="5059777" y="4475222"/>
                </a:lnTo>
                <a:close/>
              </a:path>
            </a:pathLst>
          </a:custGeom>
          <a:pattFill prst="wdDnDiag">
            <a:fgClr>
              <a:srgbClr val="ECECEC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2754"/>
            <a:endParaRPr lang="de-DE" sz="1797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C590BF35-49B9-6F2F-565F-48739DD55AE7}"/>
              </a:ext>
            </a:extLst>
          </p:cNvPr>
          <p:cNvSpPr txBox="1">
            <a:spLocks/>
          </p:cNvSpPr>
          <p:nvPr/>
        </p:nvSpPr>
        <p:spPr>
          <a:xfrm>
            <a:off x="6568195" y="1622550"/>
            <a:ext cx="5051473" cy="443055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  <p:txBody>
          <a:bodyPr wrap="square" lIns="179672" tIns="143738" rIns="179672" bIns="0" rtlCol="0" anchor="t">
            <a:noAutofit/>
          </a:bodyPr>
          <a:lstStyle/>
          <a:p>
            <a:pPr algn="r" defTabSz="907834">
              <a:defRPr/>
            </a:pPr>
            <a:r>
              <a:rPr lang="de-DE" sz="1397">
                <a:solidFill>
                  <a:srgbClr val="000000"/>
                </a:solidFill>
                <a:latin typeface="Calibri"/>
              </a:rPr>
              <a:t>Mehrwertdienste </a:t>
            </a:r>
          </a:p>
          <a:p>
            <a:pPr algn="r" defTabSz="907834">
              <a:defRPr/>
            </a:pPr>
            <a:r>
              <a:rPr lang="de-DE" sz="1397" b="1">
                <a:solidFill>
                  <a:srgbClr val="000000"/>
                </a:solidFill>
                <a:latin typeface="Calibri"/>
              </a:rPr>
              <a:t>Partn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15C78DD-0F7D-5C40-59EB-9E610F0B36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225451"/>
            <a:ext cx="6592615" cy="924517"/>
          </a:xfrm>
        </p:spPr>
        <p:txBody>
          <a:bodyPr vert="horz"/>
          <a:lstStyle/>
          <a:p>
            <a:r>
              <a:rPr lang="de-DE"/>
              <a:t>Das Ökosystem der </a:t>
            </a:r>
            <a:br>
              <a:rPr lang="de-DE"/>
            </a:br>
            <a:r>
              <a:rPr lang="en-US"/>
              <a:t>teamplay digital health platform connec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168BFDA-7F62-84E3-17C0-858F0CA4A167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defTabSz="912754"/>
            <a:r>
              <a:rPr lang="pt-BR">
                <a:solidFill>
                  <a:srgbClr val="000000"/>
                </a:solidFill>
                <a:latin typeface="Calibri"/>
              </a:rPr>
              <a:t>A91GER-H-001672-E4</a:t>
            </a:r>
            <a:endParaRPr lang="de-DE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13" name="Picture 2" descr="teamplay digital health platform">
            <a:extLst>
              <a:ext uri="{FF2B5EF4-FFF2-40B4-BE49-F238E27FC236}">
                <a16:creationId xmlns:a16="http://schemas.microsoft.com/office/drawing/2014/main" id="{43A230E7-5FD5-4274-EED0-8B0241886C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5506" y="2541312"/>
            <a:ext cx="4718764" cy="2787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0">
            <a:extLst>
              <a:ext uri="{FF2B5EF4-FFF2-40B4-BE49-F238E27FC236}">
                <a16:creationId xmlns:a16="http://schemas.microsoft.com/office/drawing/2014/main" id="{72A90865-9562-2493-5097-547404CCED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0515" y="1818069"/>
            <a:ext cx="1162021" cy="287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171FB042-B74D-4073-1CB8-43BB9A191F3D}"/>
              </a:ext>
            </a:extLst>
          </p:cNvPr>
          <p:cNvSpPr txBox="1">
            <a:spLocks/>
          </p:cNvSpPr>
          <p:nvPr/>
        </p:nvSpPr>
        <p:spPr>
          <a:xfrm>
            <a:off x="759026" y="2779538"/>
            <a:ext cx="1964912" cy="21505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1400"/>
            </a:lvl1pPr>
          </a:lstStyle>
          <a:p>
            <a:pPr defTabSz="912754"/>
            <a:r>
              <a:rPr lang="de-DE" sz="1397">
                <a:solidFill>
                  <a:srgbClr val="000000"/>
                </a:solidFill>
                <a:latin typeface="Calibri"/>
              </a:rPr>
              <a:t>Ärzteportal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95ECE29A-8D7A-FA60-042F-8AC61EA6AB62}"/>
              </a:ext>
            </a:extLst>
          </p:cNvPr>
          <p:cNvSpPr txBox="1">
            <a:spLocks/>
          </p:cNvSpPr>
          <p:nvPr/>
        </p:nvSpPr>
        <p:spPr>
          <a:xfrm>
            <a:off x="759026" y="3169351"/>
            <a:ext cx="1964912" cy="21505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1400"/>
            </a:lvl1pPr>
          </a:lstStyle>
          <a:p>
            <a:pPr defTabSz="912754"/>
            <a:r>
              <a:rPr lang="de-DE" sz="1397">
                <a:solidFill>
                  <a:srgbClr val="000000"/>
                </a:solidFill>
                <a:latin typeface="Calibri"/>
              </a:rPr>
              <a:t>DICOM-Integration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70E3AE93-8CCD-F582-ACAE-7D017253716D}"/>
              </a:ext>
            </a:extLst>
          </p:cNvPr>
          <p:cNvSpPr txBox="1">
            <a:spLocks/>
          </p:cNvSpPr>
          <p:nvPr/>
        </p:nvSpPr>
        <p:spPr>
          <a:xfrm>
            <a:off x="759026" y="3559164"/>
            <a:ext cx="1964912" cy="21505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1400"/>
            </a:lvl1pPr>
          </a:lstStyle>
          <a:p>
            <a:pPr defTabSz="912754"/>
            <a:r>
              <a:rPr lang="de-DE" sz="1397">
                <a:solidFill>
                  <a:srgbClr val="000000"/>
                </a:solidFill>
                <a:latin typeface="Calibri"/>
              </a:rPr>
              <a:t>Virtuelle Sprechstunde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F7AF6470-8A67-0BD8-DB11-F2ABD54A9204}"/>
              </a:ext>
            </a:extLst>
          </p:cNvPr>
          <p:cNvSpPr txBox="1">
            <a:spLocks/>
          </p:cNvSpPr>
          <p:nvPr/>
        </p:nvSpPr>
        <p:spPr>
          <a:xfrm>
            <a:off x="759026" y="3948978"/>
            <a:ext cx="1964912" cy="21505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1400"/>
            </a:lvl1pPr>
          </a:lstStyle>
          <a:p>
            <a:pPr defTabSz="912754"/>
            <a:r>
              <a:rPr lang="de-DE" sz="1397">
                <a:solidFill>
                  <a:srgbClr val="000000"/>
                </a:solidFill>
                <a:latin typeface="Calibri"/>
              </a:rPr>
              <a:t>Klinische Konferenz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B55A50C6-499F-729C-468D-29ADF2AC0891}"/>
              </a:ext>
            </a:extLst>
          </p:cNvPr>
          <p:cNvSpPr txBox="1">
            <a:spLocks/>
          </p:cNvSpPr>
          <p:nvPr/>
        </p:nvSpPr>
        <p:spPr>
          <a:xfrm>
            <a:off x="759026" y="4338791"/>
            <a:ext cx="1964912" cy="21505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1400"/>
            </a:lvl1pPr>
          </a:lstStyle>
          <a:p>
            <a:pPr defTabSz="912754"/>
            <a:r>
              <a:rPr lang="de-DE" sz="1397">
                <a:solidFill>
                  <a:srgbClr val="000000"/>
                </a:solidFill>
                <a:latin typeface="Calibri"/>
              </a:rPr>
              <a:t>Telekonsultation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363E5944-FC10-393E-EE30-2189D0070798}"/>
              </a:ext>
            </a:extLst>
          </p:cNvPr>
          <p:cNvSpPr txBox="1">
            <a:spLocks/>
          </p:cNvSpPr>
          <p:nvPr/>
        </p:nvSpPr>
        <p:spPr>
          <a:xfrm>
            <a:off x="759026" y="4728604"/>
            <a:ext cx="1964912" cy="21505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1400"/>
            </a:lvl1pPr>
          </a:lstStyle>
          <a:p>
            <a:pPr defTabSz="912754"/>
            <a:r>
              <a:rPr lang="de-DE" sz="1397">
                <a:solidFill>
                  <a:srgbClr val="000000"/>
                </a:solidFill>
                <a:latin typeface="Calibri"/>
              </a:rPr>
              <a:t>Patientenportal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F58D8AEF-3727-05A3-114C-104852898B40}"/>
              </a:ext>
            </a:extLst>
          </p:cNvPr>
          <p:cNvSpPr txBox="1">
            <a:spLocks/>
          </p:cNvSpPr>
          <p:nvPr/>
        </p:nvSpPr>
        <p:spPr>
          <a:xfrm>
            <a:off x="759026" y="5118417"/>
            <a:ext cx="1964912" cy="21505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1400"/>
            </a:lvl1pPr>
          </a:lstStyle>
          <a:p>
            <a:pPr defTabSz="912754"/>
            <a:r>
              <a:rPr lang="de-DE" sz="1397">
                <a:solidFill>
                  <a:srgbClr val="000000"/>
                </a:solidFill>
                <a:latin typeface="Calibri"/>
              </a:rPr>
              <a:t>Terminmanagement</a:t>
            </a:r>
          </a:p>
        </p:txBody>
      </p:sp>
      <p:pic>
        <p:nvPicPr>
          <p:cNvPr id="87" name="Picture 4" descr="ProCarement - Crunchbase Company Profile &amp;amp; Funding">
            <a:extLst>
              <a:ext uri="{FF2B5EF4-FFF2-40B4-BE49-F238E27FC236}">
                <a16:creationId xmlns:a16="http://schemas.microsoft.com/office/drawing/2014/main" id="{31C9B765-6810-4865-721E-BC9A69622D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9563" y="2788886"/>
            <a:ext cx="703863" cy="196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4" descr="Recare - Die Plattform für digitales Entlassmanagement">
            <a:extLst>
              <a:ext uri="{FF2B5EF4-FFF2-40B4-BE49-F238E27FC236}">
                <a16:creationId xmlns:a16="http://schemas.microsoft.com/office/drawing/2014/main" id="{5F9F9B94-BE61-4598-92FD-95D4CC7BAE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6408" y="3958326"/>
            <a:ext cx="667725" cy="196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8" descr="RAMPmedical startet App für Diabetologen">
            <a:extLst>
              <a:ext uri="{FF2B5EF4-FFF2-40B4-BE49-F238E27FC236}">
                <a16:creationId xmlns:a16="http://schemas.microsoft.com/office/drawing/2014/main" id="{08165871-8237-B279-DD31-53C0E98A7E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1017" y="5527180"/>
            <a:ext cx="572409" cy="177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2">
            <a:extLst>
              <a:ext uri="{FF2B5EF4-FFF2-40B4-BE49-F238E27FC236}">
                <a16:creationId xmlns:a16="http://schemas.microsoft.com/office/drawing/2014/main" id="{8EFF163D-C176-7AB5-1048-1CC9C324A9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4994" y="3193942"/>
            <a:ext cx="598431" cy="165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4">
            <a:extLst>
              <a:ext uri="{FF2B5EF4-FFF2-40B4-BE49-F238E27FC236}">
                <a16:creationId xmlns:a16="http://schemas.microsoft.com/office/drawing/2014/main" id="{A61D2E63-0EF5-22D3-FEB1-8E75237CD6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2698" y="4714420"/>
            <a:ext cx="544112" cy="243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8">
            <a:extLst>
              <a:ext uri="{FF2B5EF4-FFF2-40B4-BE49-F238E27FC236}">
                <a16:creationId xmlns:a16="http://schemas.microsoft.com/office/drawing/2014/main" id="{DF0586A7-1213-5090-52AF-3174A271AA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4133" y="5132326"/>
            <a:ext cx="869292" cy="187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Grafik 93">
            <a:extLst>
              <a:ext uri="{FF2B5EF4-FFF2-40B4-BE49-F238E27FC236}">
                <a16:creationId xmlns:a16="http://schemas.microsoft.com/office/drawing/2014/main" id="{A1635646-D808-FCD2-7B50-40AB1A40BB6E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733276" y="3570569"/>
            <a:ext cx="690150" cy="192241"/>
          </a:xfrm>
          <a:prstGeom prst="rect">
            <a:avLst/>
          </a:prstGeom>
        </p:spPr>
      </p:pic>
      <p:pic>
        <p:nvPicPr>
          <p:cNvPr id="95" name="Grafik 94">
            <a:extLst>
              <a:ext uri="{FF2B5EF4-FFF2-40B4-BE49-F238E27FC236}">
                <a16:creationId xmlns:a16="http://schemas.microsoft.com/office/drawing/2014/main" id="{2759D474-FBCD-AB2E-409C-AB6BC6CA64F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557217" y="2395289"/>
            <a:ext cx="866208" cy="203924"/>
          </a:xfrm>
          <a:prstGeom prst="rect">
            <a:avLst/>
          </a:prstGeom>
        </p:spPr>
      </p:pic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5D7543E2-837E-8C99-CB9A-2E3BB01E5D7C}"/>
              </a:ext>
            </a:extLst>
          </p:cNvPr>
          <p:cNvCxnSpPr>
            <a:cxnSpLocks/>
          </p:cNvCxnSpPr>
          <p:nvPr/>
        </p:nvCxnSpPr>
        <p:spPr>
          <a:xfrm>
            <a:off x="2629398" y="4056503"/>
            <a:ext cx="1222780" cy="0"/>
          </a:xfrm>
          <a:prstGeom prst="line">
            <a:avLst/>
          </a:prstGeom>
          <a:ln w="12700" cap="rnd">
            <a:gradFill flip="none" rotWithShape="1">
              <a:gsLst>
                <a:gs pos="0">
                  <a:schemeClr val="tx2">
                    <a:alpha val="0"/>
                  </a:schemeClr>
                </a:gs>
                <a:gs pos="68000">
                  <a:schemeClr val="tx2"/>
                </a:gs>
              </a:gsLst>
              <a:lin ang="10800000" scaled="1"/>
              <a:tileRect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13569A41-4865-FFA4-E35F-5F6DF279AF4E}"/>
              </a:ext>
            </a:extLst>
          </p:cNvPr>
          <p:cNvCxnSpPr>
            <a:cxnSpLocks/>
          </p:cNvCxnSpPr>
          <p:nvPr/>
        </p:nvCxnSpPr>
        <p:spPr>
          <a:xfrm flipV="1">
            <a:off x="2629398" y="3666690"/>
            <a:ext cx="2008745" cy="1"/>
          </a:xfrm>
          <a:prstGeom prst="line">
            <a:avLst/>
          </a:prstGeom>
          <a:ln w="12700" cap="rnd">
            <a:gradFill flip="none" rotWithShape="1">
              <a:gsLst>
                <a:gs pos="0">
                  <a:schemeClr val="tx2">
                    <a:alpha val="0"/>
                  </a:schemeClr>
                </a:gs>
                <a:gs pos="68000">
                  <a:schemeClr val="tx2"/>
                </a:gs>
              </a:gsLst>
              <a:lin ang="10800000" scaled="1"/>
              <a:tileRect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0DFE2AA5-BF15-0053-4860-7972229BF033}"/>
              </a:ext>
            </a:extLst>
          </p:cNvPr>
          <p:cNvCxnSpPr>
            <a:cxnSpLocks/>
          </p:cNvCxnSpPr>
          <p:nvPr/>
        </p:nvCxnSpPr>
        <p:spPr>
          <a:xfrm>
            <a:off x="2629398" y="4446316"/>
            <a:ext cx="1609424" cy="0"/>
          </a:xfrm>
          <a:prstGeom prst="line">
            <a:avLst/>
          </a:prstGeom>
          <a:ln w="12700" cap="rnd">
            <a:gradFill flip="none" rotWithShape="1">
              <a:gsLst>
                <a:gs pos="0">
                  <a:schemeClr val="tx2">
                    <a:alpha val="0"/>
                  </a:schemeClr>
                </a:gs>
                <a:gs pos="68000">
                  <a:schemeClr val="tx2"/>
                </a:gs>
              </a:gsLst>
              <a:lin ang="10800000" scaled="1"/>
              <a:tileRect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Freihandform: Form 110">
            <a:extLst>
              <a:ext uri="{FF2B5EF4-FFF2-40B4-BE49-F238E27FC236}">
                <a16:creationId xmlns:a16="http://schemas.microsoft.com/office/drawing/2014/main" id="{865C1B63-CCEA-1639-C4B1-F3DFED4CF423}"/>
              </a:ext>
            </a:extLst>
          </p:cNvPr>
          <p:cNvSpPr/>
          <p:nvPr/>
        </p:nvSpPr>
        <p:spPr>
          <a:xfrm>
            <a:off x="2629398" y="4810776"/>
            <a:ext cx="2864430" cy="411998"/>
          </a:xfrm>
          <a:custGeom>
            <a:avLst/>
            <a:gdLst>
              <a:gd name="connsiteX0" fmla="*/ 0 w 2095500"/>
              <a:gd name="connsiteY0" fmla="*/ 412750 h 412750"/>
              <a:gd name="connsiteX1" fmla="*/ 1308100 w 2095500"/>
              <a:gd name="connsiteY1" fmla="*/ 292100 h 412750"/>
              <a:gd name="connsiteX2" fmla="*/ 2095500 w 2095500"/>
              <a:gd name="connsiteY2" fmla="*/ 0 h 412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95500" h="412750">
                <a:moveTo>
                  <a:pt x="0" y="412750"/>
                </a:moveTo>
                <a:cubicBezTo>
                  <a:pt x="479425" y="386821"/>
                  <a:pt x="958850" y="360892"/>
                  <a:pt x="1308100" y="292100"/>
                </a:cubicBezTo>
                <a:cubicBezTo>
                  <a:pt x="1657350" y="223308"/>
                  <a:pt x="1876425" y="111654"/>
                  <a:pt x="2095500" y="0"/>
                </a:cubicBezTo>
              </a:path>
            </a:pathLst>
          </a:custGeom>
          <a:noFill/>
          <a:ln>
            <a:gradFill flip="none" rotWithShape="1">
              <a:gsLst>
                <a:gs pos="0">
                  <a:schemeClr val="tx2">
                    <a:alpha val="0"/>
                  </a:schemeClr>
                </a:gs>
                <a:gs pos="68000">
                  <a:schemeClr val="tx2"/>
                </a:gs>
              </a:gsLst>
              <a:lin ang="10800000" scaled="1"/>
              <a:tileRect/>
            </a:gradFill>
          </a:ln>
        </p:spPr>
        <p:txBody>
          <a:bodyPr rtlCol="0" anchor="ctr"/>
          <a:lstStyle/>
          <a:p>
            <a:pPr algn="ctr" defTabSz="912754"/>
            <a:endParaRPr lang="en-US" sz="1797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2" name="Freihandform: Form 111">
            <a:extLst>
              <a:ext uri="{FF2B5EF4-FFF2-40B4-BE49-F238E27FC236}">
                <a16:creationId xmlns:a16="http://schemas.microsoft.com/office/drawing/2014/main" id="{3CD2CFFC-9DEA-32BB-AD0D-B44A89182896}"/>
              </a:ext>
            </a:extLst>
          </p:cNvPr>
          <p:cNvSpPr/>
          <p:nvPr/>
        </p:nvSpPr>
        <p:spPr>
          <a:xfrm>
            <a:off x="2648413" y="4677670"/>
            <a:ext cx="2008745" cy="158457"/>
          </a:xfrm>
          <a:custGeom>
            <a:avLst/>
            <a:gdLst>
              <a:gd name="connsiteX0" fmla="*/ 0 w 2095500"/>
              <a:gd name="connsiteY0" fmla="*/ 412750 h 412750"/>
              <a:gd name="connsiteX1" fmla="*/ 1308100 w 2095500"/>
              <a:gd name="connsiteY1" fmla="*/ 292100 h 412750"/>
              <a:gd name="connsiteX2" fmla="*/ 2095500 w 2095500"/>
              <a:gd name="connsiteY2" fmla="*/ 0 h 412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95500" h="412750">
                <a:moveTo>
                  <a:pt x="0" y="412750"/>
                </a:moveTo>
                <a:cubicBezTo>
                  <a:pt x="479425" y="386821"/>
                  <a:pt x="958850" y="360892"/>
                  <a:pt x="1308100" y="292100"/>
                </a:cubicBezTo>
                <a:cubicBezTo>
                  <a:pt x="1657350" y="223308"/>
                  <a:pt x="1876425" y="111654"/>
                  <a:pt x="2095500" y="0"/>
                </a:cubicBezTo>
              </a:path>
            </a:pathLst>
          </a:custGeom>
          <a:noFill/>
          <a:ln>
            <a:gradFill flip="none" rotWithShape="1">
              <a:gsLst>
                <a:gs pos="0">
                  <a:schemeClr val="tx2">
                    <a:alpha val="0"/>
                  </a:schemeClr>
                </a:gs>
                <a:gs pos="68000">
                  <a:schemeClr val="tx2"/>
                </a:gs>
              </a:gsLst>
              <a:lin ang="10800000" scaled="1"/>
              <a:tileRect/>
            </a:gradFill>
          </a:ln>
        </p:spPr>
        <p:txBody>
          <a:bodyPr rtlCol="0" anchor="ctr"/>
          <a:lstStyle/>
          <a:p>
            <a:pPr algn="ctr" defTabSz="912754"/>
            <a:endParaRPr lang="en-US" sz="1797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4" name="Freihandform: Form 113">
            <a:extLst>
              <a:ext uri="{FF2B5EF4-FFF2-40B4-BE49-F238E27FC236}">
                <a16:creationId xmlns:a16="http://schemas.microsoft.com/office/drawing/2014/main" id="{B13C79C2-E0F9-0FE2-55A6-455CD04D6B9D}"/>
              </a:ext>
            </a:extLst>
          </p:cNvPr>
          <p:cNvSpPr/>
          <p:nvPr/>
        </p:nvSpPr>
        <p:spPr>
          <a:xfrm flipV="1">
            <a:off x="2629397" y="2877557"/>
            <a:ext cx="2711766" cy="275723"/>
          </a:xfrm>
          <a:custGeom>
            <a:avLst/>
            <a:gdLst>
              <a:gd name="connsiteX0" fmla="*/ 0 w 2095500"/>
              <a:gd name="connsiteY0" fmla="*/ 412750 h 412750"/>
              <a:gd name="connsiteX1" fmla="*/ 1308100 w 2095500"/>
              <a:gd name="connsiteY1" fmla="*/ 292100 h 412750"/>
              <a:gd name="connsiteX2" fmla="*/ 2095500 w 2095500"/>
              <a:gd name="connsiteY2" fmla="*/ 0 h 412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95500" h="412750">
                <a:moveTo>
                  <a:pt x="0" y="412750"/>
                </a:moveTo>
                <a:cubicBezTo>
                  <a:pt x="479425" y="386821"/>
                  <a:pt x="958850" y="360892"/>
                  <a:pt x="1308100" y="292100"/>
                </a:cubicBezTo>
                <a:cubicBezTo>
                  <a:pt x="1657350" y="223308"/>
                  <a:pt x="1876425" y="111654"/>
                  <a:pt x="2095500" y="0"/>
                </a:cubicBezTo>
              </a:path>
            </a:pathLst>
          </a:custGeom>
          <a:noFill/>
          <a:ln>
            <a:gradFill flip="none" rotWithShape="1">
              <a:gsLst>
                <a:gs pos="0">
                  <a:schemeClr val="tx2">
                    <a:alpha val="0"/>
                  </a:schemeClr>
                </a:gs>
                <a:gs pos="68000">
                  <a:schemeClr val="tx2"/>
                </a:gs>
              </a:gsLst>
              <a:lin ang="10800000" scaled="1"/>
              <a:tileRect/>
            </a:gradFill>
          </a:ln>
        </p:spPr>
        <p:txBody>
          <a:bodyPr rtlCol="0" anchor="ctr"/>
          <a:lstStyle/>
          <a:p>
            <a:pPr algn="ctr" defTabSz="912754"/>
            <a:endParaRPr lang="en-US" sz="1797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5" name="Freihandform: Form 114">
            <a:extLst>
              <a:ext uri="{FF2B5EF4-FFF2-40B4-BE49-F238E27FC236}">
                <a16:creationId xmlns:a16="http://schemas.microsoft.com/office/drawing/2014/main" id="{0DB434A5-47D4-BE89-890A-3F88F7A3F691}"/>
              </a:ext>
            </a:extLst>
          </p:cNvPr>
          <p:cNvSpPr/>
          <p:nvPr/>
        </p:nvSpPr>
        <p:spPr>
          <a:xfrm flipV="1">
            <a:off x="2629398" y="3270543"/>
            <a:ext cx="2541172" cy="180634"/>
          </a:xfrm>
          <a:custGeom>
            <a:avLst/>
            <a:gdLst>
              <a:gd name="connsiteX0" fmla="*/ 0 w 2095500"/>
              <a:gd name="connsiteY0" fmla="*/ 412750 h 412750"/>
              <a:gd name="connsiteX1" fmla="*/ 1308100 w 2095500"/>
              <a:gd name="connsiteY1" fmla="*/ 292100 h 412750"/>
              <a:gd name="connsiteX2" fmla="*/ 2095500 w 2095500"/>
              <a:gd name="connsiteY2" fmla="*/ 0 h 412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95500" h="412750">
                <a:moveTo>
                  <a:pt x="0" y="412750"/>
                </a:moveTo>
                <a:cubicBezTo>
                  <a:pt x="479425" y="386821"/>
                  <a:pt x="958850" y="360892"/>
                  <a:pt x="1308100" y="292100"/>
                </a:cubicBezTo>
                <a:cubicBezTo>
                  <a:pt x="1657350" y="223308"/>
                  <a:pt x="1876425" y="111654"/>
                  <a:pt x="2095500" y="0"/>
                </a:cubicBezTo>
              </a:path>
            </a:pathLst>
          </a:custGeom>
          <a:noFill/>
          <a:ln>
            <a:gradFill flip="none" rotWithShape="1">
              <a:gsLst>
                <a:gs pos="0">
                  <a:schemeClr val="tx2">
                    <a:alpha val="0"/>
                  </a:schemeClr>
                </a:gs>
                <a:gs pos="68000">
                  <a:schemeClr val="tx2"/>
                </a:gs>
              </a:gsLst>
              <a:lin ang="10800000" scaled="1"/>
              <a:tileRect/>
            </a:gradFill>
          </a:ln>
        </p:spPr>
        <p:txBody>
          <a:bodyPr rtlCol="0" anchor="ctr"/>
          <a:lstStyle/>
          <a:p>
            <a:pPr algn="ctr" defTabSz="912754"/>
            <a:endParaRPr lang="en-US" sz="1797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6F331A64-4A21-18BF-4B6D-C3BA3FEE6D63}"/>
              </a:ext>
            </a:extLst>
          </p:cNvPr>
          <p:cNvGrpSpPr/>
          <p:nvPr/>
        </p:nvGrpSpPr>
        <p:grpSpPr>
          <a:xfrm flipH="1">
            <a:off x="6241761" y="2482985"/>
            <a:ext cx="4116129" cy="3127964"/>
            <a:chOff x="5870575" y="2481257"/>
            <a:chExt cx="3816352" cy="3133676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6A9FEEB5-FC0F-0EF8-34C5-A46D02088AFB}"/>
                </a:ext>
              </a:extLst>
            </p:cNvPr>
            <p:cNvCxnSpPr>
              <a:cxnSpLocks/>
            </p:cNvCxnSpPr>
            <p:nvPr/>
          </p:nvCxnSpPr>
          <p:spPr>
            <a:xfrm>
              <a:off x="5870577" y="4057648"/>
              <a:ext cx="1736723" cy="1"/>
            </a:xfrm>
            <a:prstGeom prst="line">
              <a:avLst/>
            </a:prstGeom>
            <a:ln w="12700" cap="rnd">
              <a:gradFill flip="none" rotWithShape="1">
                <a:gsLst>
                  <a:gs pos="0">
                    <a:schemeClr val="tx2">
                      <a:alpha val="0"/>
                    </a:schemeClr>
                  </a:gs>
                  <a:gs pos="68000">
                    <a:schemeClr val="tx2"/>
                  </a:gs>
                </a:gsLst>
                <a:lin ang="10800000" scaled="1"/>
                <a:tileRect/>
              </a:gra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r Verbinder 116">
              <a:extLst>
                <a:ext uri="{FF2B5EF4-FFF2-40B4-BE49-F238E27FC236}">
                  <a16:creationId xmlns:a16="http://schemas.microsoft.com/office/drawing/2014/main" id="{497DA566-766D-6102-EA7E-9729003D8B88}"/>
                </a:ext>
              </a:extLst>
            </p:cNvPr>
            <p:cNvCxnSpPr>
              <a:cxnSpLocks/>
            </p:cNvCxnSpPr>
            <p:nvPr/>
          </p:nvCxnSpPr>
          <p:spPr>
            <a:xfrm>
              <a:off x="5870578" y="3667124"/>
              <a:ext cx="2524124" cy="0"/>
            </a:xfrm>
            <a:prstGeom prst="line">
              <a:avLst/>
            </a:prstGeom>
            <a:ln w="12700" cap="rnd">
              <a:gradFill flip="none" rotWithShape="1">
                <a:gsLst>
                  <a:gs pos="0">
                    <a:schemeClr val="tx2">
                      <a:alpha val="0"/>
                    </a:schemeClr>
                  </a:gs>
                  <a:gs pos="68000">
                    <a:schemeClr val="tx2"/>
                  </a:gs>
                </a:gsLst>
                <a:lin ang="10800000" scaled="1"/>
                <a:tileRect/>
              </a:gra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17">
              <a:extLst>
                <a:ext uri="{FF2B5EF4-FFF2-40B4-BE49-F238E27FC236}">
                  <a16:creationId xmlns:a16="http://schemas.microsoft.com/office/drawing/2014/main" id="{E0C5F6A1-075E-BD5F-1F13-A815E0EE808A}"/>
                </a:ext>
              </a:extLst>
            </p:cNvPr>
            <p:cNvCxnSpPr>
              <a:cxnSpLocks/>
            </p:cNvCxnSpPr>
            <p:nvPr/>
          </p:nvCxnSpPr>
          <p:spPr>
            <a:xfrm>
              <a:off x="5870579" y="4448174"/>
              <a:ext cx="2124071" cy="0"/>
            </a:xfrm>
            <a:prstGeom prst="line">
              <a:avLst/>
            </a:prstGeom>
            <a:ln w="12700" cap="rnd">
              <a:gradFill flip="none" rotWithShape="1">
                <a:gsLst>
                  <a:gs pos="0">
                    <a:schemeClr val="tx2">
                      <a:alpha val="0"/>
                    </a:schemeClr>
                  </a:gs>
                  <a:gs pos="68000">
                    <a:schemeClr val="tx2"/>
                  </a:gs>
                </a:gsLst>
                <a:lin ang="10800000" scaled="1"/>
                <a:tileRect/>
              </a:gra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Freihandform: Form 118">
              <a:extLst>
                <a:ext uri="{FF2B5EF4-FFF2-40B4-BE49-F238E27FC236}">
                  <a16:creationId xmlns:a16="http://schemas.microsoft.com/office/drawing/2014/main" id="{0BC67F3A-4E00-CC73-FD85-B33020B6BC55}"/>
                </a:ext>
              </a:extLst>
            </p:cNvPr>
            <p:cNvSpPr/>
            <p:nvPr/>
          </p:nvSpPr>
          <p:spPr>
            <a:xfrm>
              <a:off x="5918662" y="4813300"/>
              <a:ext cx="3333287" cy="412750"/>
            </a:xfrm>
            <a:custGeom>
              <a:avLst/>
              <a:gdLst>
                <a:gd name="connsiteX0" fmla="*/ 0 w 2095500"/>
                <a:gd name="connsiteY0" fmla="*/ 412750 h 412750"/>
                <a:gd name="connsiteX1" fmla="*/ 1308100 w 2095500"/>
                <a:gd name="connsiteY1" fmla="*/ 292100 h 412750"/>
                <a:gd name="connsiteX2" fmla="*/ 2095500 w 2095500"/>
                <a:gd name="connsiteY2" fmla="*/ 0 h 412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95500" h="412750">
                  <a:moveTo>
                    <a:pt x="0" y="412750"/>
                  </a:moveTo>
                  <a:cubicBezTo>
                    <a:pt x="479425" y="386821"/>
                    <a:pt x="958850" y="360892"/>
                    <a:pt x="1308100" y="292100"/>
                  </a:cubicBezTo>
                  <a:cubicBezTo>
                    <a:pt x="1657350" y="223308"/>
                    <a:pt x="1876425" y="111654"/>
                    <a:pt x="2095500" y="0"/>
                  </a:cubicBezTo>
                </a:path>
              </a:pathLst>
            </a:custGeom>
            <a:noFill/>
            <a:ln>
              <a:gradFill flip="none" rotWithShape="1">
                <a:gsLst>
                  <a:gs pos="0">
                    <a:schemeClr val="tx2">
                      <a:alpha val="0"/>
                    </a:schemeClr>
                  </a:gs>
                  <a:gs pos="68000">
                    <a:schemeClr val="tx2"/>
                  </a:gs>
                </a:gsLst>
                <a:lin ang="10800000" scaled="1"/>
                <a:tileRect/>
              </a:gradFill>
            </a:ln>
          </p:spPr>
          <p:txBody>
            <a:bodyPr rtlCol="0" anchor="ctr"/>
            <a:lstStyle/>
            <a:p>
              <a:pPr algn="ctr" defTabSz="912754"/>
              <a:endParaRPr lang="en-US" sz="1797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0" name="Freihandform: Form 119">
              <a:extLst>
                <a:ext uri="{FF2B5EF4-FFF2-40B4-BE49-F238E27FC236}">
                  <a16:creationId xmlns:a16="http://schemas.microsoft.com/office/drawing/2014/main" id="{043C6F9C-6DED-43D2-6ABF-41D93FD1DE77}"/>
                </a:ext>
              </a:extLst>
            </p:cNvPr>
            <p:cNvSpPr/>
            <p:nvPr/>
          </p:nvSpPr>
          <p:spPr>
            <a:xfrm>
              <a:off x="5870579" y="4679951"/>
              <a:ext cx="2543173" cy="158746"/>
            </a:xfrm>
            <a:custGeom>
              <a:avLst/>
              <a:gdLst>
                <a:gd name="connsiteX0" fmla="*/ 0 w 2095500"/>
                <a:gd name="connsiteY0" fmla="*/ 412750 h 412750"/>
                <a:gd name="connsiteX1" fmla="*/ 1308100 w 2095500"/>
                <a:gd name="connsiteY1" fmla="*/ 292100 h 412750"/>
                <a:gd name="connsiteX2" fmla="*/ 2095500 w 2095500"/>
                <a:gd name="connsiteY2" fmla="*/ 0 h 412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95500" h="412750">
                  <a:moveTo>
                    <a:pt x="0" y="412750"/>
                  </a:moveTo>
                  <a:cubicBezTo>
                    <a:pt x="479425" y="386821"/>
                    <a:pt x="958850" y="360892"/>
                    <a:pt x="1308100" y="292100"/>
                  </a:cubicBezTo>
                  <a:cubicBezTo>
                    <a:pt x="1657350" y="223308"/>
                    <a:pt x="1876425" y="111654"/>
                    <a:pt x="2095500" y="0"/>
                  </a:cubicBezTo>
                </a:path>
              </a:pathLst>
            </a:custGeom>
            <a:noFill/>
            <a:ln>
              <a:gradFill flip="none" rotWithShape="1">
                <a:gsLst>
                  <a:gs pos="0">
                    <a:schemeClr val="tx2">
                      <a:alpha val="0"/>
                    </a:schemeClr>
                  </a:gs>
                  <a:gs pos="68000">
                    <a:schemeClr val="tx2"/>
                  </a:gs>
                </a:gsLst>
                <a:lin ang="10800000" scaled="1"/>
                <a:tileRect/>
              </a:gradFill>
            </a:ln>
          </p:spPr>
          <p:txBody>
            <a:bodyPr rtlCol="0" anchor="ctr"/>
            <a:lstStyle/>
            <a:p>
              <a:pPr algn="ctr" defTabSz="912754"/>
              <a:endParaRPr lang="en-US" sz="1797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CD7A4860-B046-5C16-EA45-C0CF3348F69F}"/>
                </a:ext>
              </a:extLst>
            </p:cNvPr>
            <p:cNvSpPr/>
            <p:nvPr/>
          </p:nvSpPr>
          <p:spPr>
            <a:xfrm flipV="1">
              <a:off x="5870575" y="2876548"/>
              <a:ext cx="3228429" cy="276227"/>
            </a:xfrm>
            <a:custGeom>
              <a:avLst/>
              <a:gdLst>
                <a:gd name="connsiteX0" fmla="*/ 0 w 2095500"/>
                <a:gd name="connsiteY0" fmla="*/ 412750 h 412750"/>
                <a:gd name="connsiteX1" fmla="*/ 1308100 w 2095500"/>
                <a:gd name="connsiteY1" fmla="*/ 292100 h 412750"/>
                <a:gd name="connsiteX2" fmla="*/ 2095500 w 2095500"/>
                <a:gd name="connsiteY2" fmla="*/ 0 h 412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95500" h="412750">
                  <a:moveTo>
                    <a:pt x="0" y="412750"/>
                  </a:moveTo>
                  <a:cubicBezTo>
                    <a:pt x="479425" y="386821"/>
                    <a:pt x="958850" y="360892"/>
                    <a:pt x="1308100" y="292100"/>
                  </a:cubicBezTo>
                  <a:cubicBezTo>
                    <a:pt x="1657350" y="223308"/>
                    <a:pt x="1876425" y="111654"/>
                    <a:pt x="2095500" y="0"/>
                  </a:cubicBezTo>
                </a:path>
              </a:pathLst>
            </a:custGeom>
            <a:noFill/>
            <a:ln>
              <a:gradFill flip="none" rotWithShape="1">
                <a:gsLst>
                  <a:gs pos="0">
                    <a:schemeClr val="tx2">
                      <a:alpha val="0"/>
                    </a:schemeClr>
                  </a:gs>
                  <a:gs pos="68000">
                    <a:schemeClr val="tx2"/>
                  </a:gs>
                </a:gsLst>
                <a:lin ang="10800000" scaled="1"/>
                <a:tileRect/>
              </a:gradFill>
            </a:ln>
          </p:spPr>
          <p:txBody>
            <a:bodyPr rtlCol="0" anchor="ctr"/>
            <a:lstStyle/>
            <a:p>
              <a:pPr algn="ctr" defTabSz="912754"/>
              <a:endParaRPr lang="en-US" sz="1797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97AC1CE4-3717-A39A-2C89-3FC25ADECB3C}"/>
                </a:ext>
              </a:extLst>
            </p:cNvPr>
            <p:cNvSpPr/>
            <p:nvPr/>
          </p:nvSpPr>
          <p:spPr>
            <a:xfrm flipV="1">
              <a:off x="5870576" y="3270254"/>
              <a:ext cx="3057525" cy="180964"/>
            </a:xfrm>
            <a:custGeom>
              <a:avLst/>
              <a:gdLst>
                <a:gd name="connsiteX0" fmla="*/ 0 w 2095500"/>
                <a:gd name="connsiteY0" fmla="*/ 412750 h 412750"/>
                <a:gd name="connsiteX1" fmla="*/ 1308100 w 2095500"/>
                <a:gd name="connsiteY1" fmla="*/ 292100 h 412750"/>
                <a:gd name="connsiteX2" fmla="*/ 2095500 w 2095500"/>
                <a:gd name="connsiteY2" fmla="*/ 0 h 412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95500" h="412750">
                  <a:moveTo>
                    <a:pt x="0" y="412750"/>
                  </a:moveTo>
                  <a:cubicBezTo>
                    <a:pt x="479425" y="386821"/>
                    <a:pt x="958850" y="360892"/>
                    <a:pt x="1308100" y="292100"/>
                  </a:cubicBezTo>
                  <a:cubicBezTo>
                    <a:pt x="1657350" y="223308"/>
                    <a:pt x="1876425" y="111654"/>
                    <a:pt x="2095500" y="0"/>
                  </a:cubicBezTo>
                </a:path>
              </a:pathLst>
            </a:custGeom>
            <a:noFill/>
            <a:ln>
              <a:gradFill flip="none" rotWithShape="1">
                <a:gsLst>
                  <a:gs pos="0">
                    <a:schemeClr val="tx2">
                      <a:alpha val="0"/>
                    </a:schemeClr>
                  </a:gs>
                  <a:gs pos="68000">
                    <a:schemeClr val="tx2"/>
                  </a:gs>
                </a:gsLst>
                <a:lin ang="10800000" scaled="1"/>
                <a:tileRect/>
              </a:gradFill>
            </a:ln>
          </p:spPr>
          <p:txBody>
            <a:bodyPr rtlCol="0" anchor="ctr"/>
            <a:lstStyle/>
            <a:p>
              <a:pPr algn="ctr" defTabSz="912754"/>
              <a:endParaRPr lang="en-US" sz="1797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7" name="Freihandform: Form 126">
              <a:extLst>
                <a:ext uri="{FF2B5EF4-FFF2-40B4-BE49-F238E27FC236}">
                  <a16:creationId xmlns:a16="http://schemas.microsoft.com/office/drawing/2014/main" id="{0FACDA64-FC4C-BBF6-BE62-D790BBCE5C74}"/>
                </a:ext>
              </a:extLst>
            </p:cNvPr>
            <p:cNvSpPr/>
            <p:nvPr/>
          </p:nvSpPr>
          <p:spPr>
            <a:xfrm>
              <a:off x="5870581" y="4794250"/>
              <a:ext cx="3816346" cy="820683"/>
            </a:xfrm>
            <a:custGeom>
              <a:avLst/>
              <a:gdLst>
                <a:gd name="connsiteX0" fmla="*/ 0 w 2095500"/>
                <a:gd name="connsiteY0" fmla="*/ 412750 h 412750"/>
                <a:gd name="connsiteX1" fmla="*/ 1308100 w 2095500"/>
                <a:gd name="connsiteY1" fmla="*/ 292100 h 412750"/>
                <a:gd name="connsiteX2" fmla="*/ 2095500 w 2095500"/>
                <a:gd name="connsiteY2" fmla="*/ 0 h 412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95500" h="412750">
                  <a:moveTo>
                    <a:pt x="0" y="412750"/>
                  </a:moveTo>
                  <a:cubicBezTo>
                    <a:pt x="479425" y="386821"/>
                    <a:pt x="958850" y="360892"/>
                    <a:pt x="1308100" y="292100"/>
                  </a:cubicBezTo>
                  <a:cubicBezTo>
                    <a:pt x="1657350" y="223308"/>
                    <a:pt x="1876425" y="111654"/>
                    <a:pt x="2095500" y="0"/>
                  </a:cubicBezTo>
                </a:path>
              </a:pathLst>
            </a:custGeom>
            <a:noFill/>
            <a:ln>
              <a:gradFill flip="none" rotWithShape="1">
                <a:gsLst>
                  <a:gs pos="0">
                    <a:schemeClr val="tx2">
                      <a:alpha val="0"/>
                    </a:schemeClr>
                  </a:gs>
                  <a:gs pos="68000">
                    <a:schemeClr val="tx2"/>
                  </a:gs>
                </a:gsLst>
                <a:lin ang="10800000" scaled="1"/>
                <a:tileRect/>
              </a:gradFill>
            </a:ln>
          </p:spPr>
          <p:txBody>
            <a:bodyPr rtlCol="0" anchor="ctr"/>
            <a:lstStyle/>
            <a:p>
              <a:pPr algn="ctr" defTabSz="912754"/>
              <a:endParaRPr lang="en-US" sz="1797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8" name="Freihandform: Form 127">
              <a:extLst>
                <a:ext uri="{FF2B5EF4-FFF2-40B4-BE49-F238E27FC236}">
                  <a16:creationId xmlns:a16="http://schemas.microsoft.com/office/drawing/2014/main" id="{B82F578A-4A13-5607-E011-955857C4C578}"/>
                </a:ext>
              </a:extLst>
            </p:cNvPr>
            <p:cNvSpPr/>
            <p:nvPr/>
          </p:nvSpPr>
          <p:spPr>
            <a:xfrm flipV="1">
              <a:off x="5870577" y="2481257"/>
              <a:ext cx="3381372" cy="512538"/>
            </a:xfrm>
            <a:custGeom>
              <a:avLst/>
              <a:gdLst>
                <a:gd name="connsiteX0" fmla="*/ 0 w 2095500"/>
                <a:gd name="connsiteY0" fmla="*/ 412750 h 412750"/>
                <a:gd name="connsiteX1" fmla="*/ 1308100 w 2095500"/>
                <a:gd name="connsiteY1" fmla="*/ 292100 h 412750"/>
                <a:gd name="connsiteX2" fmla="*/ 2095500 w 2095500"/>
                <a:gd name="connsiteY2" fmla="*/ 0 h 412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95500" h="412750">
                  <a:moveTo>
                    <a:pt x="0" y="412750"/>
                  </a:moveTo>
                  <a:cubicBezTo>
                    <a:pt x="479425" y="386821"/>
                    <a:pt x="958850" y="360892"/>
                    <a:pt x="1308100" y="292100"/>
                  </a:cubicBezTo>
                  <a:cubicBezTo>
                    <a:pt x="1657350" y="223308"/>
                    <a:pt x="1876425" y="111654"/>
                    <a:pt x="2095500" y="0"/>
                  </a:cubicBezTo>
                </a:path>
              </a:pathLst>
            </a:custGeom>
            <a:noFill/>
            <a:ln>
              <a:gradFill flip="none" rotWithShape="1">
                <a:gsLst>
                  <a:gs pos="0">
                    <a:schemeClr val="tx2">
                      <a:alpha val="0"/>
                    </a:schemeClr>
                  </a:gs>
                  <a:gs pos="68000">
                    <a:schemeClr val="tx2"/>
                  </a:gs>
                </a:gsLst>
                <a:lin ang="10800000" scaled="1"/>
                <a:tileRect/>
              </a:gradFill>
            </a:ln>
          </p:spPr>
          <p:txBody>
            <a:bodyPr rtlCol="0" anchor="ctr"/>
            <a:lstStyle/>
            <a:p>
              <a:pPr algn="ctr" defTabSz="912754"/>
              <a:endParaRPr lang="en-US" sz="1797">
                <a:solidFill>
                  <a:srgbClr val="000000"/>
                </a:solidFill>
                <a:latin typeface="Calibri"/>
              </a:endParaRPr>
            </a:p>
          </p:txBody>
        </p:sp>
      </p:grpSp>
      <p:sp>
        <p:nvSpPr>
          <p:cNvPr id="3" name="TextBox 5">
            <a:extLst>
              <a:ext uri="{FF2B5EF4-FFF2-40B4-BE49-F238E27FC236}">
                <a16:creationId xmlns:a16="http://schemas.microsoft.com/office/drawing/2014/main" id="{3820A489-0BB4-0CD7-7B49-DD6FCB196276}"/>
              </a:ext>
            </a:extLst>
          </p:cNvPr>
          <p:cNvSpPr txBox="1"/>
          <p:nvPr/>
        </p:nvSpPr>
        <p:spPr>
          <a:xfrm>
            <a:off x="11338044" y="6335163"/>
            <a:ext cx="280288" cy="14373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r" defTabSz="912754"/>
            <a:fld id="{6F82AF1F-8753-46F1-A314-2F45498EFC31}" type="slidenum">
              <a:rPr lang="de-DE" sz="998" b="1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pPr algn="r" defTabSz="912754"/>
              <a:t>6</a:t>
            </a:fld>
            <a:endParaRPr lang="de-DE" sz="998" b="1">
              <a:solidFill>
                <a:srgbClr val="000000">
                  <a:lumMod val="100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5" name="Restricted">
            <a:extLst>
              <a:ext uri="{FF2B5EF4-FFF2-40B4-BE49-F238E27FC236}">
                <a16:creationId xmlns:a16="http://schemas.microsoft.com/office/drawing/2014/main" id="{B9AEE9BD-139E-2A2B-D65A-FAD1A31BCE36}"/>
              </a:ext>
            </a:extLst>
          </p:cNvPr>
          <p:cNvSpPr txBox="1"/>
          <p:nvPr/>
        </p:nvSpPr>
        <p:spPr>
          <a:xfrm>
            <a:off x="8052970" y="6513837"/>
            <a:ext cx="3565363" cy="1536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2754"/>
            <a:r>
              <a:rPr lang="de-DE" sz="998">
                <a:solidFill>
                  <a:srgbClr val="000000"/>
                </a:solidFill>
                <a:latin typeface="Calibri"/>
              </a:rPr>
              <a:t>Frei verwendbar © Siemens Healthineers, 2023</a:t>
            </a:r>
          </a:p>
        </p:txBody>
      </p:sp>
      <p:pic>
        <p:nvPicPr>
          <p:cNvPr id="45" name="Grafik 44">
            <a:extLst>
              <a:ext uri="{FF2B5EF4-FFF2-40B4-BE49-F238E27FC236}">
                <a16:creationId xmlns:a16="http://schemas.microsoft.com/office/drawing/2014/main" id="{32922A16-EFB5-4C56-8372-73C15F57D092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227" y="4341203"/>
            <a:ext cx="666372" cy="196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952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A5FE068-0722-4B2A-4862-5416B0ED2B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2860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5A5FE068-0722-4B2A-4862-5416B0ED2B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hteck 46">
            <a:extLst>
              <a:ext uri="{FF2B5EF4-FFF2-40B4-BE49-F238E27FC236}">
                <a16:creationId xmlns:a16="http://schemas.microsoft.com/office/drawing/2014/main" id="{D0583D81-3C0D-1BE8-15F7-EAA27F438C09}"/>
              </a:ext>
            </a:extLst>
          </p:cNvPr>
          <p:cNvSpPr>
            <a:spLocks/>
          </p:cNvSpPr>
          <p:nvPr/>
        </p:nvSpPr>
        <p:spPr>
          <a:xfrm>
            <a:off x="-1" y="2318657"/>
            <a:ext cx="12169776" cy="3176360"/>
          </a:xfrm>
          <a:prstGeom prst="rect">
            <a:avLst/>
          </a:prstGeom>
          <a:pattFill prst="wdDnDiag">
            <a:fgClr>
              <a:srgbClr val="ECECEC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AD07EBA4-BDF6-4C4A-8DB2-DCF8F5C51820}"/>
              </a:ext>
            </a:extLst>
          </p:cNvPr>
          <p:cNvSpPr>
            <a:spLocks/>
          </p:cNvSpPr>
          <p:nvPr/>
        </p:nvSpPr>
        <p:spPr>
          <a:xfrm>
            <a:off x="0" y="1938384"/>
            <a:ext cx="6890969" cy="756632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108000" rIns="144000" bIns="108000" rtlCol="0" anchor="t"/>
          <a:lstStyle/>
          <a:p>
            <a:endParaRPr lang="de-DE" sz="1400" b="1">
              <a:solidFill>
                <a:sysClr val="windowText" lastClr="000000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3FB494A-93CB-3C90-3699-ACAAB6760ED6}"/>
              </a:ext>
            </a:extLst>
          </p:cNvPr>
          <p:cNvSpPr>
            <a:spLocks/>
          </p:cNvSpPr>
          <p:nvPr/>
        </p:nvSpPr>
        <p:spPr>
          <a:xfrm>
            <a:off x="0" y="5118658"/>
            <a:ext cx="9029700" cy="746472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108000" rIns="144000" bIns="108000" rtlCol="0" anchor="t"/>
          <a:lstStyle/>
          <a:p>
            <a:endParaRPr lang="de-DE" sz="1400" b="1">
              <a:solidFill>
                <a:sysClr val="windowText" lastClr="000000"/>
              </a:solidFill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7C8A2D5E-7949-8EEB-677D-8422F6F5535E}"/>
              </a:ext>
            </a:extLst>
          </p:cNvPr>
          <p:cNvSpPr>
            <a:spLocks/>
          </p:cNvSpPr>
          <p:nvPr/>
        </p:nvSpPr>
        <p:spPr>
          <a:xfrm>
            <a:off x="0" y="3533600"/>
            <a:ext cx="11493500" cy="746472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108000" rIns="144000" bIns="108000" rtlCol="0" anchor="t"/>
          <a:lstStyle/>
          <a:p>
            <a:endParaRPr lang="de-DE" sz="1400" b="1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2FBE373-D0BD-F119-6D7D-F11E20A5F3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Zusatzapplikationen und Mehrwertdienste der </a:t>
            </a:r>
            <a:br>
              <a:rPr lang="de-DE"/>
            </a:br>
            <a:r>
              <a:rPr lang="de-DE"/>
              <a:t>Partner der </a:t>
            </a:r>
            <a:r>
              <a:rPr lang="de-DE" err="1"/>
              <a:t>teamplay</a:t>
            </a:r>
            <a:r>
              <a:rPr lang="de-DE"/>
              <a:t> digital </a:t>
            </a:r>
            <a:r>
              <a:rPr lang="de-DE" err="1"/>
              <a:t>health</a:t>
            </a:r>
            <a:r>
              <a:rPr lang="de-DE"/>
              <a:t> </a:t>
            </a:r>
            <a:r>
              <a:rPr lang="de-DE" err="1"/>
              <a:t>platform</a:t>
            </a:r>
            <a:r>
              <a:rPr lang="de-DE"/>
              <a:t> connec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09A0FB4-24C9-98A0-8EAB-1B4186C5CF2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34A9BB3-65DF-317B-5C94-03984D50DFD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pt-BR"/>
              <a:t>A91GER-H-001672-E4</a:t>
            </a:r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8437ECF-ABDD-0E7E-CAF8-11B0D4EEBE48}"/>
              </a:ext>
            </a:extLst>
          </p:cNvPr>
          <p:cNvSpPr>
            <a:spLocks/>
          </p:cNvSpPr>
          <p:nvPr/>
        </p:nvSpPr>
        <p:spPr>
          <a:xfrm>
            <a:off x="1905001" y="3214035"/>
            <a:ext cx="2296256" cy="1405057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0" rIns="108000" bIns="72000" rtlCol="0" anchor="t"/>
          <a:lstStyle/>
          <a:p>
            <a:pPr defTabSz="909471">
              <a:defRPr/>
            </a:pPr>
            <a:r>
              <a:rPr lang="de-DE" sz="1200" b="0">
                <a:solidFill>
                  <a:srgbClr val="000000"/>
                </a:solidFill>
              </a:rPr>
              <a:t>Digitales </a:t>
            </a:r>
            <a:r>
              <a:rPr lang="de-DE" sz="1200">
                <a:solidFill>
                  <a:srgbClr val="000000"/>
                </a:solidFill>
              </a:rPr>
              <a:t>Wundmanagement</a:t>
            </a:r>
            <a:r>
              <a:rPr lang="de-DE" sz="1200" b="0">
                <a:solidFill>
                  <a:srgbClr val="000000"/>
                </a:solidFill>
              </a:rPr>
              <a:t> </a:t>
            </a:r>
            <a:br>
              <a:rPr lang="de-DE" sz="1200" b="0">
                <a:solidFill>
                  <a:srgbClr val="000000"/>
                </a:solidFill>
              </a:rPr>
            </a:br>
            <a:r>
              <a:rPr lang="de-DE" sz="1200" b="0">
                <a:solidFill>
                  <a:srgbClr val="000000"/>
                </a:solidFill>
              </a:rPr>
              <a:t>für eine objektive, </a:t>
            </a:r>
            <a:r>
              <a:rPr lang="de-DE" sz="1200" b="0" err="1">
                <a:solidFill>
                  <a:srgbClr val="000000"/>
                </a:solidFill>
              </a:rPr>
              <a:t>standardi-sierte</a:t>
            </a:r>
            <a:r>
              <a:rPr lang="de-DE" sz="1200" b="0">
                <a:solidFill>
                  <a:srgbClr val="000000"/>
                </a:solidFill>
              </a:rPr>
              <a:t> und interdisziplinäre </a:t>
            </a:r>
            <a:br>
              <a:rPr lang="de-DE" sz="1200" b="0">
                <a:solidFill>
                  <a:srgbClr val="000000"/>
                </a:solidFill>
              </a:rPr>
            </a:br>
            <a:r>
              <a:rPr lang="de-DE" sz="1200" b="0">
                <a:solidFill>
                  <a:srgbClr val="000000"/>
                </a:solidFill>
              </a:rPr>
              <a:t>Behandlung von Wund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507ECB6-8F8C-B53D-33C8-83AAC71AC88B}"/>
              </a:ext>
            </a:extLst>
          </p:cNvPr>
          <p:cNvSpPr>
            <a:spLocks/>
          </p:cNvSpPr>
          <p:nvPr/>
        </p:nvSpPr>
        <p:spPr>
          <a:xfrm>
            <a:off x="4381256" y="3204307"/>
            <a:ext cx="2296256" cy="1405057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0" rIns="108000" bIns="72000" rtlCol="0" anchor="t"/>
          <a:lstStyle/>
          <a:p>
            <a:pPr defTabSz="909471">
              <a:defRPr/>
            </a:pPr>
            <a:r>
              <a:rPr lang="de-DE" sz="1200" b="0">
                <a:solidFill>
                  <a:srgbClr val="000000"/>
                </a:solidFill>
              </a:rPr>
              <a:t>Die </a:t>
            </a:r>
            <a:r>
              <a:rPr lang="de-DE" sz="1200">
                <a:solidFill>
                  <a:srgbClr val="000000"/>
                </a:solidFill>
              </a:rPr>
              <a:t>digitale Checkliste für </a:t>
            </a:r>
            <a:br>
              <a:rPr lang="de-DE" sz="1200">
                <a:solidFill>
                  <a:srgbClr val="000000"/>
                </a:solidFill>
              </a:rPr>
            </a:br>
            <a:r>
              <a:rPr lang="de-DE" sz="1200">
                <a:solidFill>
                  <a:srgbClr val="000000"/>
                </a:solidFill>
              </a:rPr>
              <a:t>klinische Teams </a:t>
            </a:r>
            <a:r>
              <a:rPr lang="de-DE" sz="1200" b="0">
                <a:solidFill>
                  <a:srgbClr val="000000"/>
                </a:solidFill>
              </a:rPr>
              <a:t>zur Behandlung auf Basis von SOPs, Steuerung von Ressourcen und </a:t>
            </a:r>
            <a:br>
              <a:rPr lang="de-DE" sz="1200" b="0">
                <a:solidFill>
                  <a:srgbClr val="000000"/>
                </a:solidFill>
              </a:rPr>
            </a:br>
            <a:r>
              <a:rPr lang="de-DE" sz="1200" b="0">
                <a:solidFill>
                  <a:srgbClr val="000000"/>
                </a:solidFill>
              </a:rPr>
              <a:t>asynchroner Kommunikatio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33CA6DE4-0DF3-C047-2CB0-04BFD3BB878E}"/>
              </a:ext>
            </a:extLst>
          </p:cNvPr>
          <p:cNvSpPr>
            <a:spLocks/>
          </p:cNvSpPr>
          <p:nvPr/>
        </p:nvSpPr>
        <p:spPr>
          <a:xfrm>
            <a:off x="6857511" y="3204307"/>
            <a:ext cx="2296256" cy="1405057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0" rIns="108000" bIns="72000" rtlCol="0" anchor="t"/>
          <a:lstStyle/>
          <a:p>
            <a:pPr defTabSz="909471">
              <a:defRPr/>
            </a:pPr>
            <a:r>
              <a:rPr lang="de-DE" sz="1200" b="0">
                <a:solidFill>
                  <a:srgbClr val="000000"/>
                </a:solidFill>
              </a:rPr>
              <a:t>Basis für </a:t>
            </a:r>
            <a:r>
              <a:rPr lang="de-DE" sz="1200">
                <a:solidFill>
                  <a:srgbClr val="000000"/>
                </a:solidFill>
              </a:rPr>
              <a:t>KI-gestützte </a:t>
            </a:r>
            <a:br>
              <a:rPr lang="de-DE" sz="1200">
                <a:solidFill>
                  <a:srgbClr val="000000"/>
                </a:solidFill>
              </a:rPr>
            </a:br>
            <a:r>
              <a:rPr lang="de-DE" sz="1200">
                <a:solidFill>
                  <a:srgbClr val="000000"/>
                </a:solidFill>
              </a:rPr>
              <a:t>Anwendungen </a:t>
            </a:r>
            <a:r>
              <a:rPr lang="de-DE" sz="1200" b="0">
                <a:solidFill>
                  <a:srgbClr val="000000"/>
                </a:solidFill>
              </a:rPr>
              <a:t>in der </a:t>
            </a:r>
            <a:br>
              <a:rPr lang="de-DE" sz="1200" b="0">
                <a:solidFill>
                  <a:srgbClr val="000000"/>
                </a:solidFill>
              </a:rPr>
            </a:br>
            <a:r>
              <a:rPr lang="de-DE" sz="1200">
                <a:solidFill>
                  <a:srgbClr val="000000"/>
                </a:solidFill>
              </a:rPr>
              <a:t>medizinischen Diagnostik </a:t>
            </a:r>
            <a:r>
              <a:rPr lang="de-DE" sz="1200" b="0">
                <a:solidFill>
                  <a:srgbClr val="000000"/>
                </a:solidFill>
              </a:rPr>
              <a:t>–schnell einsetzbar, sicher und skalierbar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8130ECD-4763-AD71-7AB6-934DCC03E465}"/>
              </a:ext>
            </a:extLst>
          </p:cNvPr>
          <p:cNvSpPr>
            <a:spLocks/>
          </p:cNvSpPr>
          <p:nvPr/>
        </p:nvSpPr>
        <p:spPr>
          <a:xfrm>
            <a:off x="9333767" y="3204307"/>
            <a:ext cx="2296256" cy="1405057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0" rIns="108000" bIns="72000" rtlCol="0" anchor="t"/>
          <a:lstStyle/>
          <a:p>
            <a:pPr defTabSz="909471">
              <a:defRPr/>
            </a:pPr>
            <a:r>
              <a:rPr lang="de-DE" sz="1200">
                <a:solidFill>
                  <a:srgbClr val="000000"/>
                </a:solidFill>
              </a:rPr>
              <a:t>Clinical Decision Support </a:t>
            </a:r>
            <a:r>
              <a:rPr lang="de-DE" sz="1200" b="0">
                <a:solidFill>
                  <a:srgbClr val="000000"/>
                </a:solidFill>
              </a:rPr>
              <a:t>für Diagnose und Medikatio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655A77D-F7DA-716B-73D7-C51DFF5EF23E}"/>
              </a:ext>
            </a:extLst>
          </p:cNvPr>
          <p:cNvSpPr>
            <a:spLocks/>
          </p:cNvSpPr>
          <p:nvPr/>
        </p:nvSpPr>
        <p:spPr>
          <a:xfrm>
            <a:off x="546101" y="2106336"/>
            <a:ext cx="1193800" cy="43088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r>
              <a:rPr lang="de-DE" sz="1400" b="1">
                <a:solidFill>
                  <a:schemeClr val="bg1"/>
                </a:solidFill>
              </a:rPr>
              <a:t>Patienten-</a:t>
            </a:r>
            <a:br>
              <a:rPr lang="de-DE" sz="1400" b="1">
                <a:solidFill>
                  <a:schemeClr val="bg1"/>
                </a:solidFill>
              </a:rPr>
            </a:br>
            <a:r>
              <a:rPr lang="de-DE" sz="1400" b="1" err="1">
                <a:solidFill>
                  <a:schemeClr val="bg1"/>
                </a:solidFill>
              </a:rPr>
              <a:t>management</a:t>
            </a: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5E4C7CD-6DFD-BA92-87D3-3B016FDCF5C7}"/>
              </a:ext>
            </a:extLst>
          </p:cNvPr>
          <p:cNvSpPr>
            <a:spLocks/>
          </p:cNvSpPr>
          <p:nvPr/>
        </p:nvSpPr>
        <p:spPr>
          <a:xfrm>
            <a:off x="546101" y="5168728"/>
            <a:ext cx="1193800" cy="646331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r>
              <a:rPr lang="de-DE" sz="1400" b="1">
                <a:solidFill>
                  <a:schemeClr val="bg1"/>
                </a:solidFill>
              </a:rPr>
              <a:t>Entlass- und </a:t>
            </a:r>
            <a:br>
              <a:rPr lang="de-DE" sz="1400" b="1">
                <a:solidFill>
                  <a:schemeClr val="bg1"/>
                </a:solidFill>
              </a:rPr>
            </a:br>
            <a:r>
              <a:rPr lang="de-DE" sz="1400" b="1">
                <a:solidFill>
                  <a:schemeClr val="bg1"/>
                </a:solidFill>
              </a:rPr>
              <a:t>Überleitungs-</a:t>
            </a:r>
            <a:br>
              <a:rPr lang="de-DE" sz="1400" b="1">
                <a:solidFill>
                  <a:schemeClr val="bg1"/>
                </a:solidFill>
              </a:rPr>
            </a:br>
            <a:r>
              <a:rPr lang="de-DE" sz="1400" b="1" err="1">
                <a:solidFill>
                  <a:schemeClr val="bg1"/>
                </a:solidFill>
              </a:rPr>
              <a:t>management</a:t>
            </a:r>
            <a:r>
              <a:rPr lang="de-DE" sz="1400" b="1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0AA5323-1932-FCF6-FF3A-06A727B2BAC0}"/>
              </a:ext>
            </a:extLst>
          </p:cNvPr>
          <p:cNvSpPr>
            <a:spLocks/>
          </p:cNvSpPr>
          <p:nvPr/>
        </p:nvSpPr>
        <p:spPr>
          <a:xfrm>
            <a:off x="546101" y="3691392"/>
            <a:ext cx="1193800" cy="43088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r>
              <a:rPr lang="de-DE" sz="1400" b="1">
                <a:solidFill>
                  <a:schemeClr val="bg1"/>
                </a:solidFill>
              </a:rPr>
              <a:t>Behandlungs-</a:t>
            </a:r>
            <a:br>
              <a:rPr lang="de-DE" sz="1400" b="1">
                <a:solidFill>
                  <a:schemeClr val="bg1"/>
                </a:solidFill>
              </a:rPr>
            </a:br>
            <a:r>
              <a:rPr lang="de-DE" sz="1400" b="1" err="1">
                <a:solidFill>
                  <a:schemeClr val="bg1"/>
                </a:solidFill>
              </a:rPr>
              <a:t>management</a:t>
            </a: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930BD2E5-CA24-AD4B-42C9-22D39F12B8CD}"/>
              </a:ext>
            </a:extLst>
          </p:cNvPr>
          <p:cNvSpPr>
            <a:spLocks/>
          </p:cNvSpPr>
          <p:nvPr/>
        </p:nvSpPr>
        <p:spPr>
          <a:xfrm>
            <a:off x="1905001" y="1619251"/>
            <a:ext cx="2296256" cy="1405057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0" rIns="108000" bIns="72000" rtlCol="0" anchor="t"/>
          <a:lstStyle/>
          <a:p>
            <a:pPr defTabSz="909471">
              <a:defRPr/>
            </a:pPr>
            <a:r>
              <a:rPr lang="de-DE" sz="1200" b="0">
                <a:solidFill>
                  <a:srgbClr val="000000"/>
                </a:solidFill>
              </a:rPr>
              <a:t>Individuelle Lösungen für </a:t>
            </a:r>
            <a:br>
              <a:rPr lang="de-DE" sz="1200" b="0">
                <a:solidFill>
                  <a:srgbClr val="000000"/>
                </a:solidFill>
              </a:rPr>
            </a:br>
            <a:r>
              <a:rPr lang="de-DE" sz="1200" b="0">
                <a:solidFill>
                  <a:srgbClr val="000000"/>
                </a:solidFill>
              </a:rPr>
              <a:t>tägliche </a:t>
            </a:r>
            <a:r>
              <a:rPr lang="de-DE" sz="1200">
                <a:solidFill>
                  <a:srgbClr val="000000"/>
                </a:solidFill>
              </a:rPr>
              <a:t>Effizienz und Patienten-autonomie </a:t>
            </a:r>
            <a:r>
              <a:rPr lang="de-DE" sz="1200" b="0">
                <a:solidFill>
                  <a:srgbClr val="000000"/>
                </a:solidFill>
              </a:rPr>
              <a:t>unter Integration </a:t>
            </a:r>
            <a:br>
              <a:rPr lang="de-DE" sz="1200" b="0">
                <a:solidFill>
                  <a:srgbClr val="000000"/>
                </a:solidFill>
              </a:rPr>
            </a:br>
            <a:r>
              <a:rPr lang="de-DE" sz="1200" b="0">
                <a:solidFill>
                  <a:srgbClr val="000000"/>
                </a:solidFill>
              </a:rPr>
              <a:t>aller wesentlichen Echtzeitdaten der klinischen Workflows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B8DFE105-22C7-EAF3-1104-7A350A494891}"/>
              </a:ext>
            </a:extLst>
          </p:cNvPr>
          <p:cNvSpPr>
            <a:spLocks/>
          </p:cNvSpPr>
          <p:nvPr/>
        </p:nvSpPr>
        <p:spPr>
          <a:xfrm>
            <a:off x="4381257" y="1619250"/>
            <a:ext cx="2296256" cy="1405057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0" rIns="108000" bIns="72000" rtlCol="0" anchor="t"/>
          <a:lstStyle/>
          <a:p>
            <a:pPr defTabSz="909471">
              <a:defRPr/>
            </a:pPr>
            <a:r>
              <a:rPr lang="de-DE" sz="1200" b="0">
                <a:solidFill>
                  <a:srgbClr val="000000"/>
                </a:solidFill>
              </a:rPr>
              <a:t>Virtuelles Herzzentrum für </a:t>
            </a:r>
            <a:br>
              <a:rPr lang="de-DE" sz="1200" b="0">
                <a:solidFill>
                  <a:srgbClr val="000000"/>
                </a:solidFill>
              </a:rPr>
            </a:br>
            <a:r>
              <a:rPr lang="de-DE" sz="1200" b="0">
                <a:solidFill>
                  <a:srgbClr val="000000"/>
                </a:solidFill>
              </a:rPr>
              <a:t>die </a:t>
            </a:r>
            <a:r>
              <a:rPr lang="de-DE" sz="1200">
                <a:solidFill>
                  <a:srgbClr val="000000"/>
                </a:solidFill>
              </a:rPr>
              <a:t>Remote-Betreuung </a:t>
            </a:r>
            <a:r>
              <a:rPr lang="de-DE" sz="1200" b="0">
                <a:solidFill>
                  <a:srgbClr val="000000"/>
                </a:solidFill>
              </a:rPr>
              <a:t>von </a:t>
            </a:r>
            <a:br>
              <a:rPr lang="de-DE" sz="1200" b="0">
                <a:solidFill>
                  <a:srgbClr val="000000"/>
                </a:solidFill>
              </a:rPr>
            </a:br>
            <a:r>
              <a:rPr lang="de-DE" sz="1200" b="0">
                <a:solidFill>
                  <a:srgbClr val="000000"/>
                </a:solidFill>
              </a:rPr>
              <a:t>Patientinnen &amp; Patienten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10A86937-28EB-ECA1-AC6F-E4D8AA1BBAB8}"/>
              </a:ext>
            </a:extLst>
          </p:cNvPr>
          <p:cNvSpPr>
            <a:spLocks/>
          </p:cNvSpPr>
          <p:nvPr/>
        </p:nvSpPr>
        <p:spPr>
          <a:xfrm>
            <a:off x="1905001" y="4789365"/>
            <a:ext cx="2296256" cy="1405057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0" rIns="108000" bIns="72000" rtlCol="0" anchor="t"/>
          <a:lstStyle/>
          <a:p>
            <a:pPr defTabSz="909471">
              <a:defRPr/>
            </a:pPr>
            <a:r>
              <a:rPr lang="de-DE" sz="1200" b="0">
                <a:solidFill>
                  <a:srgbClr val="000000"/>
                </a:solidFill>
              </a:rPr>
              <a:t>Sichert die poststationäre </a:t>
            </a:r>
          </a:p>
          <a:p>
            <a:pPr defTabSz="909471">
              <a:defRPr/>
            </a:pPr>
            <a:r>
              <a:rPr lang="de-DE" sz="1200" b="0">
                <a:solidFill>
                  <a:srgbClr val="000000"/>
                </a:solidFill>
              </a:rPr>
              <a:t>Patientenversorgung mit </a:t>
            </a:r>
            <a:r>
              <a:rPr lang="de-DE" sz="1200" b="0" err="1">
                <a:solidFill>
                  <a:srgbClr val="000000"/>
                </a:solidFill>
              </a:rPr>
              <a:t>Caseform</a:t>
            </a:r>
            <a:r>
              <a:rPr lang="de-DE" sz="1200" b="0">
                <a:solidFill>
                  <a:srgbClr val="000000"/>
                </a:solidFill>
              </a:rPr>
              <a:t> – Plattform fürs </a:t>
            </a:r>
            <a:r>
              <a:rPr lang="de-DE" sz="1200">
                <a:solidFill>
                  <a:srgbClr val="000000"/>
                </a:solidFill>
              </a:rPr>
              <a:t>digitale Entlass- und </a:t>
            </a:r>
            <a:br>
              <a:rPr lang="de-DE" sz="1200">
                <a:solidFill>
                  <a:srgbClr val="000000"/>
                </a:solidFill>
              </a:rPr>
            </a:br>
            <a:r>
              <a:rPr lang="de-DE" sz="1200">
                <a:solidFill>
                  <a:srgbClr val="000000"/>
                </a:solidFill>
              </a:rPr>
              <a:t>Überleitungsmanagement</a:t>
            </a:r>
            <a:endParaRPr lang="de-DE" sz="1200" b="0">
              <a:solidFill>
                <a:srgbClr val="000000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1AA0C78E-BEB4-773F-C799-A7100117872F}"/>
              </a:ext>
            </a:extLst>
          </p:cNvPr>
          <p:cNvSpPr>
            <a:spLocks/>
          </p:cNvSpPr>
          <p:nvPr/>
        </p:nvSpPr>
        <p:spPr>
          <a:xfrm>
            <a:off x="4381256" y="4789365"/>
            <a:ext cx="2296256" cy="1405057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0" rIns="108000" bIns="72000" rtlCol="0" anchor="t"/>
          <a:lstStyle/>
          <a:p>
            <a:pPr defTabSz="909471">
              <a:defRPr/>
            </a:pPr>
            <a:r>
              <a:rPr lang="de-DE" sz="1200" b="0">
                <a:solidFill>
                  <a:srgbClr val="000000"/>
                </a:solidFill>
              </a:rPr>
              <a:t>Deutschlands führende Fachanwendung für </a:t>
            </a:r>
            <a:r>
              <a:rPr lang="de-DE" sz="1200">
                <a:solidFill>
                  <a:srgbClr val="000000"/>
                </a:solidFill>
              </a:rPr>
              <a:t>digitales Entlassmanagement </a:t>
            </a:r>
            <a:r>
              <a:rPr lang="de-DE" sz="1200" b="0">
                <a:solidFill>
                  <a:srgbClr val="000000"/>
                </a:solidFill>
              </a:rPr>
              <a:t>und Koordination </a:t>
            </a:r>
            <a:r>
              <a:rPr lang="de-DE" sz="1200">
                <a:solidFill>
                  <a:srgbClr val="000000"/>
                </a:solidFill>
              </a:rPr>
              <a:t>komplexer Versorgungspfade</a:t>
            </a:r>
            <a:endParaRPr lang="de-DE" sz="1200" b="0">
              <a:solidFill>
                <a:srgbClr val="000000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CB84F8E-62E4-D742-8ED9-F898DE240429}"/>
              </a:ext>
            </a:extLst>
          </p:cNvPr>
          <p:cNvSpPr>
            <a:spLocks/>
          </p:cNvSpPr>
          <p:nvPr/>
        </p:nvSpPr>
        <p:spPr>
          <a:xfrm>
            <a:off x="6857511" y="4789365"/>
            <a:ext cx="2296256" cy="1405057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0" rIns="108000" bIns="72000" rtlCol="0" anchor="t"/>
          <a:lstStyle/>
          <a:p>
            <a:pPr defTabSz="909471">
              <a:defRPr/>
            </a:pPr>
            <a:r>
              <a:rPr lang="de-DE" sz="1200" b="0">
                <a:solidFill>
                  <a:srgbClr val="000000"/>
                </a:solidFill>
              </a:rPr>
              <a:t>Digitale Lösung für die </a:t>
            </a:r>
            <a:br>
              <a:rPr lang="de-DE" sz="1200" b="0">
                <a:solidFill>
                  <a:srgbClr val="000000"/>
                </a:solidFill>
              </a:rPr>
            </a:br>
            <a:r>
              <a:rPr lang="de-DE" sz="1200" b="0">
                <a:solidFill>
                  <a:srgbClr val="000000"/>
                </a:solidFill>
              </a:rPr>
              <a:t>Koordination von Versorgungs-kapazitäten im Rahmen des ​</a:t>
            </a:r>
            <a:br>
              <a:rPr lang="de-DE" sz="1200" b="0">
                <a:solidFill>
                  <a:srgbClr val="000000"/>
                </a:solidFill>
              </a:rPr>
            </a:br>
            <a:r>
              <a:rPr lang="de-DE" sz="1200" err="1">
                <a:solidFill>
                  <a:srgbClr val="000000"/>
                </a:solidFill>
              </a:rPr>
              <a:t>Entlassmanagements</a:t>
            </a:r>
            <a:r>
              <a:rPr lang="de-DE" sz="1200" b="0">
                <a:solidFill>
                  <a:srgbClr val="000000"/>
                </a:solidFill>
              </a:rPr>
              <a:t> </a:t>
            </a: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AAE831E0-E550-6FC9-E78C-35A9559700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2250" y="1750075"/>
            <a:ext cx="774450" cy="182322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F3DCD70D-1635-DD0E-2813-09D73E422E6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3246" y="1726778"/>
            <a:ext cx="842654" cy="271735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9111E47E-C264-75D1-7810-BFEF3C85E0A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7921" b="27767"/>
          <a:stretch/>
        </p:blipFill>
        <p:spPr>
          <a:xfrm>
            <a:off x="4492599" y="3314700"/>
            <a:ext cx="514631" cy="228044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A4CF1B00-A008-D009-8436-80A21B894E4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2808" y="3285167"/>
            <a:ext cx="1001042" cy="256093"/>
          </a:xfrm>
          <a:prstGeom prst="rect">
            <a:avLst/>
          </a:prstGeom>
        </p:spPr>
      </p:pic>
      <p:pic>
        <p:nvPicPr>
          <p:cNvPr id="39" name="Picture 4">
            <a:extLst>
              <a:ext uri="{FF2B5EF4-FFF2-40B4-BE49-F238E27FC236}">
                <a16:creationId xmlns:a16="http://schemas.microsoft.com/office/drawing/2014/main" id="{1D3673A5-092F-194D-5069-CA028D2E24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6685" y="3259665"/>
            <a:ext cx="788716" cy="371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3CD898F6-DC94-55EA-78BC-C59A9F26612F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315" b="32547"/>
          <a:stretch/>
        </p:blipFill>
        <p:spPr>
          <a:xfrm>
            <a:off x="1958321" y="4886967"/>
            <a:ext cx="924580" cy="241241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C329949B-10F9-0F44-0C61-BEB4E3A38733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497697" y="4876312"/>
            <a:ext cx="887103" cy="247102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9CA3CF25-091B-1863-20C0-6370EEFE1EFF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743" b="20057"/>
          <a:stretch/>
        </p:blipFill>
        <p:spPr>
          <a:xfrm>
            <a:off x="6877049" y="4872460"/>
            <a:ext cx="868545" cy="238255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EC3E1465-063B-4045-A8A5-E152A4168456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249" y="3311026"/>
            <a:ext cx="721023" cy="212848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1D0C8992-5F16-10B2-FF2F-412D3783044F}"/>
              </a:ext>
            </a:extLst>
          </p:cNvPr>
          <p:cNvSpPr>
            <a:spLocks/>
          </p:cNvSpPr>
          <p:nvPr/>
        </p:nvSpPr>
        <p:spPr>
          <a:xfrm>
            <a:off x="6872810" y="1619249"/>
            <a:ext cx="2296256" cy="1405057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0" rIns="108000" bIns="72000" rtlCol="0" anchor="t"/>
          <a:lstStyle/>
          <a:p>
            <a:pPr defTabSz="909471">
              <a:defRPr/>
            </a:pPr>
            <a:r>
              <a:rPr lang="de-DE" sz="1200">
                <a:solidFill>
                  <a:srgbClr val="000000"/>
                </a:solidFill>
              </a:rPr>
              <a:t>Optimierung der Patienten-kommunikation mit digitalen Apps. Partizipation auf Augen-höhe und effizientere Abläufe in Versorgung und Forschung</a:t>
            </a:r>
          </a:p>
          <a:p>
            <a:pPr defTabSz="909471">
              <a:defRPr/>
            </a:pPr>
            <a:endParaRPr lang="de-DE" sz="1200" b="0">
              <a:solidFill>
                <a:srgbClr val="000000"/>
              </a:solidFill>
              <a:cs typeface="Calibri"/>
            </a:endParaRPr>
          </a:p>
        </p:txBody>
      </p:sp>
      <p:pic>
        <p:nvPicPr>
          <p:cNvPr id="6" name="Grafik 7">
            <a:extLst>
              <a:ext uri="{FF2B5EF4-FFF2-40B4-BE49-F238E27FC236}">
                <a16:creationId xmlns:a16="http://schemas.microsoft.com/office/drawing/2014/main" id="{0EE600BB-83AC-EF13-B5AC-F0921BA3E28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017983" y="1708426"/>
            <a:ext cx="594284" cy="291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9933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7" name="Objekt 396" hidden="1">
            <a:extLst>
              <a:ext uri="{FF2B5EF4-FFF2-40B4-BE49-F238E27FC236}">
                <a16:creationId xmlns:a16="http://schemas.microsoft.com/office/drawing/2014/main" id="{6214E3FE-C776-E599-B997-01BBD9BDC9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2038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97" name="Objekt 396" hidden="1">
                        <a:extLst>
                          <a:ext uri="{FF2B5EF4-FFF2-40B4-BE49-F238E27FC236}">
                            <a16:creationId xmlns:a16="http://schemas.microsoft.com/office/drawing/2014/main" id="{6214E3FE-C776-E599-B997-01BBD9BDC9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feil: Fünfeck 4">
            <a:extLst>
              <a:ext uri="{FF2B5EF4-FFF2-40B4-BE49-F238E27FC236}">
                <a16:creationId xmlns:a16="http://schemas.microsoft.com/office/drawing/2014/main" id="{9B7EDA3A-BE44-5C7F-25F3-D29268AD26E6}"/>
              </a:ext>
            </a:extLst>
          </p:cNvPr>
          <p:cNvSpPr>
            <a:spLocks/>
          </p:cNvSpPr>
          <p:nvPr/>
        </p:nvSpPr>
        <p:spPr>
          <a:xfrm>
            <a:off x="1072897" y="3548557"/>
            <a:ext cx="10555542" cy="707136"/>
          </a:xfrm>
          <a:prstGeom prst="homePlate">
            <a:avLst>
              <a:gd name="adj" fmla="val 31034"/>
            </a:avLst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Pfeil: Chevron 5">
            <a:extLst>
              <a:ext uri="{FF2B5EF4-FFF2-40B4-BE49-F238E27FC236}">
                <a16:creationId xmlns:a16="http://schemas.microsoft.com/office/drawing/2014/main" id="{8F6BCA29-EC10-7268-604E-AB49644200C5}"/>
              </a:ext>
            </a:extLst>
          </p:cNvPr>
          <p:cNvSpPr/>
          <p:nvPr/>
        </p:nvSpPr>
        <p:spPr>
          <a:xfrm>
            <a:off x="9135903" y="3546907"/>
            <a:ext cx="281781" cy="707136"/>
          </a:xfrm>
          <a:prstGeom prst="chevron">
            <a:avLst>
              <a:gd name="adj" fmla="val 7788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85" name="Pfeil: Chevron 784">
            <a:extLst>
              <a:ext uri="{FF2B5EF4-FFF2-40B4-BE49-F238E27FC236}">
                <a16:creationId xmlns:a16="http://schemas.microsoft.com/office/drawing/2014/main" id="{95A392E4-08F5-1C52-16AD-204D3E6F5917}"/>
              </a:ext>
            </a:extLst>
          </p:cNvPr>
          <p:cNvSpPr/>
          <p:nvPr/>
        </p:nvSpPr>
        <p:spPr>
          <a:xfrm>
            <a:off x="7581423" y="3546907"/>
            <a:ext cx="281781" cy="707136"/>
          </a:xfrm>
          <a:prstGeom prst="chevron">
            <a:avLst>
              <a:gd name="adj" fmla="val 7788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86" name="Pfeil: Chevron 785">
            <a:extLst>
              <a:ext uri="{FF2B5EF4-FFF2-40B4-BE49-F238E27FC236}">
                <a16:creationId xmlns:a16="http://schemas.microsoft.com/office/drawing/2014/main" id="{32BAD272-1E4B-3DC5-7E49-63A52B79CB6C}"/>
              </a:ext>
            </a:extLst>
          </p:cNvPr>
          <p:cNvSpPr/>
          <p:nvPr/>
        </p:nvSpPr>
        <p:spPr>
          <a:xfrm>
            <a:off x="4518183" y="3546907"/>
            <a:ext cx="281781" cy="707136"/>
          </a:xfrm>
          <a:prstGeom prst="chevron">
            <a:avLst>
              <a:gd name="adj" fmla="val 7788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0223E77-E33C-BEF3-54F7-40CFA8549C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Die Patient Journey mit der</a:t>
            </a:r>
            <a:br>
              <a:rPr lang="de-DE"/>
            </a:br>
            <a:r>
              <a:rPr lang="de-DE" err="1"/>
              <a:t>teamplay</a:t>
            </a:r>
            <a:r>
              <a:rPr lang="de-DE"/>
              <a:t> digital </a:t>
            </a:r>
            <a:r>
              <a:rPr lang="de-DE" err="1"/>
              <a:t>health</a:t>
            </a:r>
            <a:r>
              <a:rPr lang="de-DE"/>
              <a:t> </a:t>
            </a:r>
            <a:r>
              <a:rPr lang="de-DE" err="1"/>
              <a:t>platform</a:t>
            </a:r>
            <a:r>
              <a:rPr lang="de-DE"/>
              <a:t> connec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6CCD2B1-AC28-A367-564A-0F84D80476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54154F-71C5-A099-108F-EC4BEA93D15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pt-BR"/>
              <a:t>A91GER-H-001672-E4</a:t>
            </a:r>
            <a:endParaRPr lang="de-DE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D6A14A8F-1AB2-365E-0172-FDB67321B88C}"/>
              </a:ext>
            </a:extLst>
          </p:cNvPr>
          <p:cNvGrpSpPr/>
          <p:nvPr/>
        </p:nvGrpSpPr>
        <p:grpSpPr>
          <a:xfrm>
            <a:off x="2126384" y="2824049"/>
            <a:ext cx="1045442" cy="730565"/>
            <a:chOff x="3436509" y="820159"/>
            <a:chExt cx="2518695" cy="1760087"/>
          </a:xfrm>
        </p:grpSpPr>
        <p:grpSp>
          <p:nvGrpSpPr>
            <p:cNvPr id="8" name="Grafik 427">
              <a:extLst>
                <a:ext uri="{FF2B5EF4-FFF2-40B4-BE49-F238E27FC236}">
                  <a16:creationId xmlns:a16="http://schemas.microsoft.com/office/drawing/2014/main" id="{7792AFB7-2EE4-6D84-70DF-A9D59F718B1C}"/>
                </a:ext>
              </a:extLst>
            </p:cNvPr>
            <p:cNvGrpSpPr/>
            <p:nvPr/>
          </p:nvGrpSpPr>
          <p:grpSpPr>
            <a:xfrm>
              <a:off x="3436509" y="858126"/>
              <a:ext cx="2073973" cy="1722119"/>
              <a:chOff x="3436509" y="858126"/>
              <a:chExt cx="2073973" cy="1722119"/>
            </a:xfrm>
          </p:grpSpPr>
          <p:grpSp>
            <p:nvGrpSpPr>
              <p:cNvPr id="63" name="Grafik 427">
                <a:extLst>
                  <a:ext uri="{FF2B5EF4-FFF2-40B4-BE49-F238E27FC236}">
                    <a16:creationId xmlns:a16="http://schemas.microsoft.com/office/drawing/2014/main" id="{8187655D-87F7-2747-3292-85C944631065}"/>
                  </a:ext>
                </a:extLst>
              </p:cNvPr>
              <p:cNvGrpSpPr/>
              <p:nvPr/>
            </p:nvGrpSpPr>
            <p:grpSpPr>
              <a:xfrm>
                <a:off x="3436509" y="858126"/>
                <a:ext cx="2073973" cy="1722119"/>
                <a:chOff x="3436509" y="858126"/>
                <a:chExt cx="2073973" cy="1722119"/>
              </a:xfrm>
            </p:grpSpPr>
            <p:sp>
              <p:nvSpPr>
                <p:cNvPr id="65" name="Freihandform: Form 64">
                  <a:extLst>
                    <a:ext uri="{FF2B5EF4-FFF2-40B4-BE49-F238E27FC236}">
                      <a16:creationId xmlns:a16="http://schemas.microsoft.com/office/drawing/2014/main" id="{3CBF63F0-45EE-BBCD-3B3B-36C6799CE420}"/>
                    </a:ext>
                  </a:extLst>
                </p:cNvPr>
                <p:cNvSpPr/>
                <p:nvPr/>
              </p:nvSpPr>
              <p:spPr>
                <a:xfrm>
                  <a:off x="3436509" y="858126"/>
                  <a:ext cx="2073973" cy="1289685"/>
                </a:xfrm>
                <a:custGeom>
                  <a:avLst/>
                  <a:gdLst>
                    <a:gd name="connsiteX0" fmla="*/ 0 w 2073973"/>
                    <a:gd name="connsiteY0" fmla="*/ 0 h 1289685"/>
                    <a:gd name="connsiteX1" fmla="*/ 0 w 2073973"/>
                    <a:gd name="connsiteY1" fmla="*/ 1289685 h 1289685"/>
                    <a:gd name="connsiteX2" fmla="*/ 2073974 w 2073973"/>
                    <a:gd name="connsiteY2" fmla="*/ 1289685 h 1289685"/>
                    <a:gd name="connsiteX3" fmla="*/ 2073974 w 2073973"/>
                    <a:gd name="connsiteY3" fmla="*/ 0 h 1289685"/>
                    <a:gd name="connsiteX4" fmla="*/ 0 w 2073973"/>
                    <a:gd name="connsiteY4" fmla="*/ 0 h 1289685"/>
                    <a:gd name="connsiteX5" fmla="*/ 2034540 w 2073973"/>
                    <a:gd name="connsiteY5" fmla="*/ 1250252 h 1289685"/>
                    <a:gd name="connsiteX6" fmla="*/ 39338 w 2073973"/>
                    <a:gd name="connsiteY6" fmla="*/ 1250252 h 1289685"/>
                    <a:gd name="connsiteX7" fmla="*/ 39338 w 2073973"/>
                    <a:gd name="connsiteY7" fmla="*/ 39434 h 1289685"/>
                    <a:gd name="connsiteX8" fmla="*/ 2034540 w 2073973"/>
                    <a:gd name="connsiteY8" fmla="*/ 39434 h 1289685"/>
                    <a:gd name="connsiteX9" fmla="*/ 2034540 w 2073973"/>
                    <a:gd name="connsiteY9" fmla="*/ 1250252 h 12896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073973" h="1289685">
                      <a:moveTo>
                        <a:pt x="0" y="0"/>
                      </a:moveTo>
                      <a:lnTo>
                        <a:pt x="0" y="1289685"/>
                      </a:lnTo>
                      <a:lnTo>
                        <a:pt x="2073974" y="1289685"/>
                      </a:lnTo>
                      <a:lnTo>
                        <a:pt x="2073974" y="0"/>
                      </a:lnTo>
                      <a:lnTo>
                        <a:pt x="0" y="0"/>
                      </a:lnTo>
                      <a:close/>
                      <a:moveTo>
                        <a:pt x="2034540" y="1250252"/>
                      </a:moveTo>
                      <a:lnTo>
                        <a:pt x="39338" y="1250252"/>
                      </a:lnTo>
                      <a:lnTo>
                        <a:pt x="39338" y="39434"/>
                      </a:lnTo>
                      <a:lnTo>
                        <a:pt x="2034540" y="39434"/>
                      </a:lnTo>
                      <a:lnTo>
                        <a:pt x="2034540" y="1250252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Freihandform: Form 65">
                  <a:extLst>
                    <a:ext uri="{FF2B5EF4-FFF2-40B4-BE49-F238E27FC236}">
                      <a16:creationId xmlns:a16="http://schemas.microsoft.com/office/drawing/2014/main" id="{DCACFF65-101E-C98A-3952-200C8E554E19}"/>
                    </a:ext>
                  </a:extLst>
                </p:cNvPr>
                <p:cNvSpPr/>
                <p:nvPr/>
              </p:nvSpPr>
              <p:spPr>
                <a:xfrm>
                  <a:off x="4269851" y="2132095"/>
                  <a:ext cx="407289" cy="448151"/>
                </a:xfrm>
                <a:custGeom>
                  <a:avLst/>
                  <a:gdLst>
                    <a:gd name="connsiteX0" fmla="*/ 268510 w 407289"/>
                    <a:gd name="connsiteY0" fmla="*/ 448151 h 448151"/>
                    <a:gd name="connsiteX1" fmla="*/ 0 w 407289"/>
                    <a:gd name="connsiteY1" fmla="*/ 448151 h 448151"/>
                    <a:gd name="connsiteX2" fmla="*/ 0 w 407289"/>
                    <a:gd name="connsiteY2" fmla="*/ 0 h 448151"/>
                    <a:gd name="connsiteX3" fmla="*/ 407289 w 407289"/>
                    <a:gd name="connsiteY3" fmla="*/ 0 h 448151"/>
                    <a:gd name="connsiteX4" fmla="*/ 407289 w 407289"/>
                    <a:gd name="connsiteY4" fmla="*/ 448151 h 448151"/>
                    <a:gd name="connsiteX5" fmla="*/ 306610 w 407289"/>
                    <a:gd name="connsiteY5" fmla="*/ 448151 h 4481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07289" h="448151">
                      <a:moveTo>
                        <a:pt x="268510" y="448151"/>
                      </a:moveTo>
                      <a:lnTo>
                        <a:pt x="0" y="448151"/>
                      </a:lnTo>
                      <a:lnTo>
                        <a:pt x="0" y="0"/>
                      </a:lnTo>
                      <a:lnTo>
                        <a:pt x="407289" y="0"/>
                      </a:lnTo>
                      <a:lnTo>
                        <a:pt x="407289" y="448151"/>
                      </a:lnTo>
                      <a:lnTo>
                        <a:pt x="306610" y="448151"/>
                      </a:lnTo>
                    </a:path>
                  </a:pathLst>
                </a:custGeom>
                <a:solidFill>
                  <a:srgbClr val="40404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Freihandform: Form 66">
                  <a:extLst>
                    <a:ext uri="{FF2B5EF4-FFF2-40B4-BE49-F238E27FC236}">
                      <a16:creationId xmlns:a16="http://schemas.microsoft.com/office/drawing/2014/main" id="{675A7458-5732-0B02-26BF-B8A98B420623}"/>
                    </a:ext>
                  </a:extLst>
                </p:cNvPr>
                <p:cNvSpPr/>
                <p:nvPr/>
              </p:nvSpPr>
              <p:spPr>
                <a:xfrm>
                  <a:off x="4269851" y="2147811"/>
                  <a:ext cx="407289" cy="74961"/>
                </a:xfrm>
                <a:custGeom>
                  <a:avLst/>
                  <a:gdLst>
                    <a:gd name="connsiteX0" fmla="*/ 0 w 407289"/>
                    <a:gd name="connsiteY0" fmla="*/ 0 h 74961"/>
                    <a:gd name="connsiteX1" fmla="*/ 407289 w 407289"/>
                    <a:gd name="connsiteY1" fmla="*/ 0 h 74961"/>
                    <a:gd name="connsiteX2" fmla="*/ 407289 w 407289"/>
                    <a:gd name="connsiteY2" fmla="*/ 74962 h 74961"/>
                    <a:gd name="connsiteX3" fmla="*/ 0 w 407289"/>
                    <a:gd name="connsiteY3" fmla="*/ 74962 h 74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7289" h="74961">
                      <a:moveTo>
                        <a:pt x="0" y="0"/>
                      </a:moveTo>
                      <a:lnTo>
                        <a:pt x="407289" y="0"/>
                      </a:lnTo>
                      <a:lnTo>
                        <a:pt x="407289" y="74962"/>
                      </a:lnTo>
                      <a:lnTo>
                        <a:pt x="0" y="74962"/>
                      </a:lnTo>
                      <a:close/>
                    </a:path>
                  </a:pathLst>
                </a:custGeom>
                <a:solidFill>
                  <a:srgbClr val="1E1E1E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64" name="Freihandform: Form 63">
                <a:extLst>
                  <a:ext uri="{FF2B5EF4-FFF2-40B4-BE49-F238E27FC236}">
                    <a16:creationId xmlns:a16="http://schemas.microsoft.com/office/drawing/2014/main" id="{106F67C2-1E1D-7C95-860B-3B61A1597A15}"/>
                  </a:ext>
                </a:extLst>
              </p:cNvPr>
              <p:cNvSpPr/>
              <p:nvPr/>
            </p:nvSpPr>
            <p:spPr>
              <a:xfrm>
                <a:off x="3475942" y="896321"/>
                <a:ext cx="1995106" cy="1211294"/>
              </a:xfrm>
              <a:custGeom>
                <a:avLst/>
                <a:gdLst>
                  <a:gd name="connsiteX0" fmla="*/ 0 w 1995106"/>
                  <a:gd name="connsiteY0" fmla="*/ 0 h 1211294"/>
                  <a:gd name="connsiteX1" fmla="*/ 1995107 w 1995106"/>
                  <a:gd name="connsiteY1" fmla="*/ 0 h 1211294"/>
                  <a:gd name="connsiteX2" fmla="*/ 1995107 w 1995106"/>
                  <a:gd name="connsiteY2" fmla="*/ 1211294 h 1211294"/>
                  <a:gd name="connsiteX3" fmla="*/ 0 w 1995106"/>
                  <a:gd name="connsiteY3" fmla="*/ 1211294 h 1211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95106" h="1211294">
                    <a:moveTo>
                      <a:pt x="0" y="0"/>
                    </a:moveTo>
                    <a:lnTo>
                      <a:pt x="1995107" y="0"/>
                    </a:lnTo>
                    <a:lnTo>
                      <a:pt x="1995107" y="1211294"/>
                    </a:lnTo>
                    <a:lnTo>
                      <a:pt x="0" y="1211294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3F1432B5-AC6D-E69C-840D-903BC96CC6C3}"/>
                </a:ext>
              </a:extLst>
            </p:cNvPr>
            <p:cNvSpPr/>
            <p:nvPr/>
          </p:nvSpPr>
          <p:spPr>
            <a:xfrm>
              <a:off x="3635581" y="1035386"/>
              <a:ext cx="1153477" cy="890873"/>
            </a:xfrm>
            <a:custGeom>
              <a:avLst/>
              <a:gdLst>
                <a:gd name="connsiteX0" fmla="*/ 0 w 1153477"/>
                <a:gd name="connsiteY0" fmla="*/ 0 h 890873"/>
                <a:gd name="connsiteX1" fmla="*/ 1153478 w 1153477"/>
                <a:gd name="connsiteY1" fmla="*/ 0 h 890873"/>
                <a:gd name="connsiteX2" fmla="*/ 1153478 w 1153477"/>
                <a:gd name="connsiteY2" fmla="*/ 890873 h 890873"/>
                <a:gd name="connsiteX3" fmla="*/ 0 w 1153477"/>
                <a:gd name="connsiteY3" fmla="*/ 890873 h 89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3477" h="890873">
                  <a:moveTo>
                    <a:pt x="0" y="0"/>
                  </a:moveTo>
                  <a:lnTo>
                    <a:pt x="1153478" y="0"/>
                  </a:lnTo>
                  <a:lnTo>
                    <a:pt x="1153478" y="890873"/>
                  </a:lnTo>
                  <a:lnTo>
                    <a:pt x="0" y="890873"/>
                  </a:lnTo>
                  <a:close/>
                </a:path>
              </a:pathLst>
            </a:custGeom>
            <a:solidFill>
              <a:srgbClr val="FFFFFF"/>
            </a:solidFill>
            <a:ln w="38100" cap="flat">
              <a:solidFill>
                <a:srgbClr val="40404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0" name="Grafik 427">
              <a:extLst>
                <a:ext uri="{FF2B5EF4-FFF2-40B4-BE49-F238E27FC236}">
                  <a16:creationId xmlns:a16="http://schemas.microsoft.com/office/drawing/2014/main" id="{EF4E5966-7707-179A-B166-B7FEABF9A308}"/>
                </a:ext>
              </a:extLst>
            </p:cNvPr>
            <p:cNvGrpSpPr/>
            <p:nvPr/>
          </p:nvGrpSpPr>
          <p:grpSpPr>
            <a:xfrm>
              <a:off x="3897804" y="1096260"/>
              <a:ext cx="662082" cy="750942"/>
              <a:chOff x="3897804" y="1096260"/>
              <a:chExt cx="662082" cy="750942"/>
            </a:xfrm>
          </p:grpSpPr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CFFD5EB0-B245-F5AB-EC82-35EDA8448FB7}"/>
                  </a:ext>
                </a:extLst>
              </p:cNvPr>
              <p:cNvSpPr/>
              <p:nvPr/>
            </p:nvSpPr>
            <p:spPr>
              <a:xfrm>
                <a:off x="4022443" y="1104040"/>
                <a:ext cx="436646" cy="406485"/>
              </a:xfrm>
              <a:custGeom>
                <a:avLst/>
                <a:gdLst>
                  <a:gd name="connsiteX0" fmla="*/ 187591 w 436646"/>
                  <a:gd name="connsiteY0" fmla="*/ 688 h 406485"/>
                  <a:gd name="connsiteX1" fmla="*/ 103580 w 436646"/>
                  <a:gd name="connsiteY1" fmla="*/ 40217 h 406485"/>
                  <a:gd name="connsiteX2" fmla="*/ 7759 w 436646"/>
                  <a:gd name="connsiteY2" fmla="*/ 160041 h 406485"/>
                  <a:gd name="connsiteX3" fmla="*/ 35667 w 436646"/>
                  <a:gd name="connsiteY3" fmla="*/ 386355 h 406485"/>
                  <a:gd name="connsiteX4" fmla="*/ 426478 w 436646"/>
                  <a:gd name="connsiteY4" fmla="*/ 360066 h 406485"/>
                  <a:gd name="connsiteX5" fmla="*/ 386663 w 436646"/>
                  <a:gd name="connsiteY5" fmla="*/ 211953 h 406485"/>
                  <a:gd name="connsiteX6" fmla="*/ 187591 w 436646"/>
                  <a:gd name="connsiteY6" fmla="*/ 783 h 406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6646" h="406485">
                    <a:moveTo>
                      <a:pt x="187591" y="688"/>
                    </a:moveTo>
                    <a:cubicBezTo>
                      <a:pt x="153491" y="5355"/>
                      <a:pt x="125393" y="18500"/>
                      <a:pt x="103580" y="40217"/>
                    </a:cubicBezTo>
                    <a:cubicBezTo>
                      <a:pt x="103580" y="40217"/>
                      <a:pt x="25380" y="40788"/>
                      <a:pt x="7759" y="160041"/>
                    </a:cubicBezTo>
                    <a:cubicBezTo>
                      <a:pt x="-8148" y="268150"/>
                      <a:pt x="44" y="316537"/>
                      <a:pt x="35667" y="386355"/>
                    </a:cubicBezTo>
                    <a:cubicBezTo>
                      <a:pt x="254742" y="443791"/>
                      <a:pt x="426478" y="360066"/>
                      <a:pt x="426478" y="360066"/>
                    </a:cubicBezTo>
                    <a:cubicBezTo>
                      <a:pt x="426478" y="360066"/>
                      <a:pt x="466864" y="288819"/>
                      <a:pt x="386663" y="211953"/>
                    </a:cubicBezTo>
                    <a:cubicBezTo>
                      <a:pt x="329609" y="157279"/>
                      <a:pt x="305891" y="-12933"/>
                      <a:pt x="187591" y="783"/>
                    </a:cubicBezTo>
                    <a:close/>
                  </a:path>
                </a:pathLst>
              </a:custGeom>
              <a:solidFill>
                <a:srgbClr val="4B2E1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39" name="Grafik 427">
                <a:extLst>
                  <a:ext uri="{FF2B5EF4-FFF2-40B4-BE49-F238E27FC236}">
                    <a16:creationId xmlns:a16="http://schemas.microsoft.com/office/drawing/2014/main" id="{48A25AB3-FAFE-58CC-7AC7-BEB24078E44E}"/>
                  </a:ext>
                </a:extLst>
              </p:cNvPr>
              <p:cNvGrpSpPr/>
              <p:nvPr/>
            </p:nvGrpSpPr>
            <p:grpSpPr>
              <a:xfrm>
                <a:off x="4137834" y="1352188"/>
                <a:ext cx="181070" cy="337851"/>
                <a:chOff x="4137834" y="1352188"/>
                <a:chExt cx="181070" cy="337851"/>
              </a:xfrm>
            </p:grpSpPr>
            <p:sp>
              <p:nvSpPr>
                <p:cNvPr id="61" name="Freihandform: Form 60">
                  <a:extLst>
                    <a:ext uri="{FF2B5EF4-FFF2-40B4-BE49-F238E27FC236}">
                      <a16:creationId xmlns:a16="http://schemas.microsoft.com/office/drawing/2014/main" id="{F3846942-BA70-0834-1A7A-FFD8BF4FFDC2}"/>
                    </a:ext>
                  </a:extLst>
                </p:cNvPr>
                <p:cNvSpPr/>
                <p:nvPr/>
              </p:nvSpPr>
              <p:spPr>
                <a:xfrm>
                  <a:off x="4137834" y="1352188"/>
                  <a:ext cx="181070" cy="337851"/>
                </a:xfrm>
                <a:custGeom>
                  <a:avLst/>
                  <a:gdLst>
                    <a:gd name="connsiteX0" fmla="*/ 0 w 181070"/>
                    <a:gd name="connsiteY0" fmla="*/ 289846 h 337851"/>
                    <a:gd name="connsiteX1" fmla="*/ 181070 w 181070"/>
                    <a:gd name="connsiteY1" fmla="*/ 289846 h 337851"/>
                    <a:gd name="connsiteX2" fmla="*/ 181070 w 181070"/>
                    <a:gd name="connsiteY2" fmla="*/ 56293 h 337851"/>
                    <a:gd name="connsiteX3" fmla="*/ 0 w 181070"/>
                    <a:gd name="connsiteY3" fmla="*/ 56293 h 337851"/>
                    <a:gd name="connsiteX4" fmla="*/ 0 w 181070"/>
                    <a:gd name="connsiteY4" fmla="*/ 289846 h 337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1070" h="337851">
                      <a:moveTo>
                        <a:pt x="0" y="289846"/>
                      </a:moveTo>
                      <a:cubicBezTo>
                        <a:pt x="31433" y="353568"/>
                        <a:pt x="144018" y="354140"/>
                        <a:pt x="181070" y="289846"/>
                      </a:cubicBezTo>
                      <a:lnTo>
                        <a:pt x="181070" y="56293"/>
                      </a:lnTo>
                      <a:cubicBezTo>
                        <a:pt x="181070" y="-18764"/>
                        <a:pt x="0" y="-18764"/>
                        <a:pt x="0" y="56293"/>
                      </a:cubicBezTo>
                      <a:lnTo>
                        <a:pt x="0" y="289846"/>
                      </a:lnTo>
                      <a:close/>
                    </a:path>
                  </a:pathLst>
                </a:custGeom>
                <a:solidFill>
                  <a:srgbClr val="C0906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2" name="Freihandform: Form 61">
                  <a:extLst>
                    <a:ext uri="{FF2B5EF4-FFF2-40B4-BE49-F238E27FC236}">
                      <a16:creationId xmlns:a16="http://schemas.microsoft.com/office/drawing/2014/main" id="{3907CAE2-D8E2-0C07-000B-4274F7D0045C}"/>
                    </a:ext>
                  </a:extLst>
                </p:cNvPr>
                <p:cNvSpPr/>
                <p:nvPr/>
              </p:nvSpPr>
              <p:spPr>
                <a:xfrm>
                  <a:off x="4137834" y="1352331"/>
                  <a:ext cx="181070" cy="337613"/>
                </a:xfrm>
                <a:custGeom>
                  <a:avLst/>
                  <a:gdLst>
                    <a:gd name="connsiteX0" fmla="*/ 181070 w 181070"/>
                    <a:gd name="connsiteY0" fmla="*/ 55959 h 337613"/>
                    <a:gd name="connsiteX1" fmla="*/ 157163 w 181070"/>
                    <a:gd name="connsiteY1" fmla="*/ 133207 h 337613"/>
                    <a:gd name="connsiteX2" fmla="*/ 82868 w 181070"/>
                    <a:gd name="connsiteY2" fmla="*/ 213217 h 337613"/>
                    <a:gd name="connsiteX3" fmla="*/ 33623 w 181070"/>
                    <a:gd name="connsiteY3" fmla="*/ 247602 h 337613"/>
                    <a:gd name="connsiteX4" fmla="*/ 87440 w 181070"/>
                    <a:gd name="connsiteY4" fmla="*/ 337614 h 337613"/>
                    <a:gd name="connsiteX5" fmla="*/ 0 w 181070"/>
                    <a:gd name="connsiteY5" fmla="*/ 289322 h 337613"/>
                    <a:gd name="connsiteX6" fmla="*/ 0 w 181070"/>
                    <a:gd name="connsiteY6" fmla="*/ 55864 h 337613"/>
                    <a:gd name="connsiteX7" fmla="*/ 181070 w 181070"/>
                    <a:gd name="connsiteY7" fmla="*/ 55864 h 3376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81070" h="337613">
                      <a:moveTo>
                        <a:pt x="181070" y="55959"/>
                      </a:moveTo>
                      <a:lnTo>
                        <a:pt x="157163" y="133207"/>
                      </a:lnTo>
                      <a:cubicBezTo>
                        <a:pt x="157163" y="133207"/>
                        <a:pt x="141827" y="210169"/>
                        <a:pt x="82868" y="213217"/>
                      </a:cubicBezTo>
                      <a:cubicBezTo>
                        <a:pt x="47625" y="215027"/>
                        <a:pt x="33719" y="228552"/>
                        <a:pt x="33623" y="247602"/>
                      </a:cubicBezTo>
                      <a:cubicBezTo>
                        <a:pt x="33052" y="322755"/>
                        <a:pt x="99346" y="317992"/>
                        <a:pt x="87440" y="337614"/>
                      </a:cubicBezTo>
                      <a:cubicBezTo>
                        <a:pt x="27337" y="335994"/>
                        <a:pt x="5906" y="301419"/>
                        <a:pt x="0" y="289322"/>
                      </a:cubicBezTo>
                      <a:lnTo>
                        <a:pt x="0" y="55864"/>
                      </a:lnTo>
                      <a:cubicBezTo>
                        <a:pt x="0" y="-18621"/>
                        <a:pt x="181070" y="-18621"/>
                        <a:pt x="181070" y="55864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6FFE9988-91AF-643D-0AE2-52B75C7B67A2}"/>
                  </a:ext>
                </a:extLst>
              </p:cNvPr>
              <p:cNvSpPr/>
              <p:nvPr/>
            </p:nvSpPr>
            <p:spPr>
              <a:xfrm>
                <a:off x="3897804" y="1543250"/>
                <a:ext cx="662082" cy="303952"/>
              </a:xfrm>
              <a:custGeom>
                <a:avLst/>
                <a:gdLst>
                  <a:gd name="connsiteX0" fmla="*/ 662083 w 662082"/>
                  <a:gd name="connsiteY0" fmla="*/ 141075 h 303952"/>
                  <a:gd name="connsiteX1" fmla="*/ 464153 w 662082"/>
                  <a:gd name="connsiteY1" fmla="*/ 64208 h 303952"/>
                  <a:gd name="connsiteX2" fmla="*/ 443198 w 662082"/>
                  <a:gd name="connsiteY2" fmla="*/ 44587 h 303952"/>
                  <a:gd name="connsiteX3" fmla="*/ 429482 w 662082"/>
                  <a:gd name="connsiteY3" fmla="*/ 9058 h 303952"/>
                  <a:gd name="connsiteX4" fmla="*/ 418148 w 662082"/>
                  <a:gd name="connsiteY4" fmla="*/ 4105 h 303952"/>
                  <a:gd name="connsiteX5" fmla="*/ 240030 w 662082"/>
                  <a:gd name="connsiteY5" fmla="*/ 676 h 303952"/>
                  <a:gd name="connsiteX6" fmla="*/ 230505 w 662082"/>
                  <a:gd name="connsiteY6" fmla="*/ 5439 h 303952"/>
                  <a:gd name="connsiteX7" fmla="*/ 222028 w 662082"/>
                  <a:gd name="connsiteY7" fmla="*/ 39443 h 303952"/>
                  <a:gd name="connsiteX8" fmla="*/ 195644 w 662082"/>
                  <a:gd name="connsiteY8" fmla="*/ 64303 h 303952"/>
                  <a:gd name="connsiteX9" fmla="*/ 0 w 662082"/>
                  <a:gd name="connsiteY9" fmla="*/ 144980 h 303952"/>
                  <a:gd name="connsiteX10" fmla="*/ 329470 w 662082"/>
                  <a:gd name="connsiteY10" fmla="*/ 303952 h 303952"/>
                  <a:gd name="connsiteX11" fmla="*/ 661892 w 662082"/>
                  <a:gd name="connsiteY11" fmla="*/ 141170 h 303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62082" h="303952">
                    <a:moveTo>
                      <a:pt x="662083" y="141075"/>
                    </a:moveTo>
                    <a:cubicBezTo>
                      <a:pt x="610553" y="110690"/>
                      <a:pt x="539496" y="111833"/>
                      <a:pt x="464153" y="64208"/>
                    </a:cubicBezTo>
                    <a:cubicBezTo>
                      <a:pt x="454723" y="58303"/>
                      <a:pt x="447580" y="50302"/>
                      <a:pt x="443198" y="44587"/>
                    </a:cubicBezTo>
                    <a:cubicBezTo>
                      <a:pt x="435292" y="31061"/>
                      <a:pt x="431387" y="17917"/>
                      <a:pt x="429482" y="9058"/>
                    </a:cubicBezTo>
                    <a:cubicBezTo>
                      <a:pt x="428339" y="4010"/>
                      <a:pt x="422719" y="1534"/>
                      <a:pt x="418148" y="4105"/>
                    </a:cubicBezTo>
                    <a:cubicBezTo>
                      <a:pt x="362236" y="36871"/>
                      <a:pt x="300419" y="30204"/>
                      <a:pt x="240030" y="676"/>
                    </a:cubicBezTo>
                    <a:cubicBezTo>
                      <a:pt x="236029" y="-1229"/>
                      <a:pt x="231267" y="1057"/>
                      <a:pt x="230505" y="5439"/>
                    </a:cubicBezTo>
                    <a:cubicBezTo>
                      <a:pt x="229076" y="13345"/>
                      <a:pt x="226504" y="25727"/>
                      <a:pt x="222028" y="39443"/>
                    </a:cubicBezTo>
                    <a:cubicBezTo>
                      <a:pt x="220313" y="42586"/>
                      <a:pt x="211550" y="57826"/>
                      <a:pt x="195644" y="64303"/>
                    </a:cubicBezTo>
                    <a:cubicBezTo>
                      <a:pt x="108680" y="99546"/>
                      <a:pt x="56198" y="117643"/>
                      <a:pt x="0" y="144980"/>
                    </a:cubicBezTo>
                    <a:cubicBezTo>
                      <a:pt x="77152" y="241849"/>
                      <a:pt x="196025" y="303952"/>
                      <a:pt x="329470" y="303952"/>
                    </a:cubicBezTo>
                    <a:cubicBezTo>
                      <a:pt x="462915" y="303952"/>
                      <a:pt x="584930" y="240230"/>
                      <a:pt x="661892" y="141170"/>
                    </a:cubicBezTo>
                    <a:close/>
                  </a:path>
                </a:pathLst>
              </a:custGeom>
              <a:solidFill>
                <a:srgbClr val="40404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41" name="Grafik 427">
                <a:extLst>
                  <a:ext uri="{FF2B5EF4-FFF2-40B4-BE49-F238E27FC236}">
                    <a16:creationId xmlns:a16="http://schemas.microsoft.com/office/drawing/2014/main" id="{3DF74C44-A90A-8D86-BB05-F96748445306}"/>
                  </a:ext>
                </a:extLst>
              </p:cNvPr>
              <p:cNvGrpSpPr/>
              <p:nvPr/>
            </p:nvGrpSpPr>
            <p:grpSpPr>
              <a:xfrm>
                <a:off x="4039048" y="1109015"/>
                <a:ext cx="378840" cy="426529"/>
                <a:chOff x="4039048" y="1109015"/>
                <a:chExt cx="378840" cy="426529"/>
              </a:xfrm>
              <a:solidFill>
                <a:srgbClr val="C09066"/>
              </a:solidFill>
            </p:grpSpPr>
            <p:sp>
              <p:nvSpPr>
                <p:cNvPr id="57" name="Freihandform: Form 56">
                  <a:extLst>
                    <a:ext uri="{FF2B5EF4-FFF2-40B4-BE49-F238E27FC236}">
                      <a16:creationId xmlns:a16="http://schemas.microsoft.com/office/drawing/2014/main" id="{595B9D94-DA3A-E2AC-4130-C8D66964A6E2}"/>
                    </a:ext>
                  </a:extLst>
                </p:cNvPr>
                <p:cNvSpPr/>
                <p:nvPr/>
              </p:nvSpPr>
              <p:spPr>
                <a:xfrm>
                  <a:off x="4104972" y="1209491"/>
                  <a:ext cx="247080" cy="326052"/>
                </a:xfrm>
                <a:custGeom>
                  <a:avLst/>
                  <a:gdLst>
                    <a:gd name="connsiteX0" fmla="*/ 246318 w 247080"/>
                    <a:gd name="connsiteY0" fmla="*/ 110121 h 326052"/>
                    <a:gd name="connsiteX1" fmla="*/ 214028 w 247080"/>
                    <a:gd name="connsiteY1" fmla="*/ 28682 h 326052"/>
                    <a:gd name="connsiteX2" fmla="*/ 123540 w 247080"/>
                    <a:gd name="connsiteY2" fmla="*/ 12 h 326052"/>
                    <a:gd name="connsiteX3" fmla="*/ 33053 w 247080"/>
                    <a:gd name="connsiteY3" fmla="*/ 28682 h 326052"/>
                    <a:gd name="connsiteX4" fmla="*/ 763 w 247080"/>
                    <a:gd name="connsiteY4" fmla="*/ 110121 h 326052"/>
                    <a:gd name="connsiteX5" fmla="*/ 1239 w 247080"/>
                    <a:gd name="connsiteY5" fmla="*/ 187940 h 326052"/>
                    <a:gd name="connsiteX6" fmla="*/ 38006 w 247080"/>
                    <a:gd name="connsiteY6" fmla="*/ 274713 h 326052"/>
                    <a:gd name="connsiteX7" fmla="*/ 123540 w 247080"/>
                    <a:gd name="connsiteY7" fmla="*/ 326053 h 326052"/>
                    <a:gd name="connsiteX8" fmla="*/ 209075 w 247080"/>
                    <a:gd name="connsiteY8" fmla="*/ 274713 h 326052"/>
                    <a:gd name="connsiteX9" fmla="*/ 245841 w 247080"/>
                    <a:gd name="connsiteY9" fmla="*/ 187940 h 326052"/>
                    <a:gd name="connsiteX10" fmla="*/ 246318 w 247080"/>
                    <a:gd name="connsiteY10" fmla="*/ 110121 h 3260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47080" h="326052">
                      <a:moveTo>
                        <a:pt x="246318" y="110121"/>
                      </a:moveTo>
                      <a:cubicBezTo>
                        <a:pt x="246318" y="110121"/>
                        <a:pt x="243365" y="61543"/>
                        <a:pt x="214028" y="28682"/>
                      </a:cubicBezTo>
                      <a:cubicBezTo>
                        <a:pt x="189834" y="1631"/>
                        <a:pt x="140209" y="-179"/>
                        <a:pt x="123540" y="12"/>
                      </a:cubicBezTo>
                      <a:cubicBezTo>
                        <a:pt x="106776" y="-179"/>
                        <a:pt x="57246" y="1631"/>
                        <a:pt x="33053" y="28682"/>
                      </a:cubicBezTo>
                      <a:cubicBezTo>
                        <a:pt x="3716" y="61543"/>
                        <a:pt x="763" y="110121"/>
                        <a:pt x="763" y="110121"/>
                      </a:cubicBezTo>
                      <a:cubicBezTo>
                        <a:pt x="763" y="110121"/>
                        <a:pt x="-1237" y="166223"/>
                        <a:pt x="1239" y="187940"/>
                      </a:cubicBezTo>
                      <a:cubicBezTo>
                        <a:pt x="3716" y="209657"/>
                        <a:pt x="1144" y="239375"/>
                        <a:pt x="38006" y="274713"/>
                      </a:cubicBezTo>
                      <a:cubicBezTo>
                        <a:pt x="73915" y="309193"/>
                        <a:pt x="98585" y="325291"/>
                        <a:pt x="123540" y="326053"/>
                      </a:cubicBezTo>
                      <a:cubicBezTo>
                        <a:pt x="148496" y="325291"/>
                        <a:pt x="173070" y="309193"/>
                        <a:pt x="209075" y="274713"/>
                      </a:cubicBezTo>
                      <a:cubicBezTo>
                        <a:pt x="245937" y="239375"/>
                        <a:pt x="243270" y="209657"/>
                        <a:pt x="245841" y="187940"/>
                      </a:cubicBezTo>
                      <a:cubicBezTo>
                        <a:pt x="248318" y="166223"/>
                        <a:pt x="246318" y="110121"/>
                        <a:pt x="246318" y="110121"/>
                      </a:cubicBezTo>
                      <a:close/>
                    </a:path>
                  </a:pathLst>
                </a:custGeom>
                <a:solidFill>
                  <a:srgbClr val="C0906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Freihandform: Form 57">
                  <a:extLst>
                    <a:ext uri="{FF2B5EF4-FFF2-40B4-BE49-F238E27FC236}">
                      <a16:creationId xmlns:a16="http://schemas.microsoft.com/office/drawing/2014/main" id="{F10F1B5E-31FA-3FA9-1B31-D766E5A573C5}"/>
                    </a:ext>
                  </a:extLst>
                </p:cNvPr>
                <p:cNvSpPr/>
                <p:nvPr/>
              </p:nvSpPr>
              <p:spPr>
                <a:xfrm rot="-3581400">
                  <a:off x="4292461" y="1330231"/>
                  <a:ext cx="119062" cy="83057"/>
                </a:xfrm>
                <a:custGeom>
                  <a:avLst/>
                  <a:gdLst>
                    <a:gd name="connsiteX0" fmla="*/ 119062 w 119062"/>
                    <a:gd name="connsiteY0" fmla="*/ 41529 h 83057"/>
                    <a:gd name="connsiteX1" fmla="*/ 59531 w 119062"/>
                    <a:gd name="connsiteY1" fmla="*/ 83058 h 83057"/>
                    <a:gd name="connsiteX2" fmla="*/ 0 w 119062"/>
                    <a:gd name="connsiteY2" fmla="*/ 41529 h 83057"/>
                    <a:gd name="connsiteX3" fmla="*/ 59531 w 119062"/>
                    <a:gd name="connsiteY3" fmla="*/ 0 h 83057"/>
                    <a:gd name="connsiteX4" fmla="*/ 119062 w 119062"/>
                    <a:gd name="connsiteY4" fmla="*/ 41529 h 83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9062" h="83057">
                      <a:moveTo>
                        <a:pt x="119062" y="41529"/>
                      </a:moveTo>
                      <a:cubicBezTo>
                        <a:pt x="119062" y="64465"/>
                        <a:pt x="92409" y="83058"/>
                        <a:pt x="59531" y="83058"/>
                      </a:cubicBezTo>
                      <a:cubicBezTo>
                        <a:pt x="26653" y="83058"/>
                        <a:pt x="0" y="64465"/>
                        <a:pt x="0" y="41529"/>
                      </a:cubicBezTo>
                      <a:cubicBezTo>
                        <a:pt x="0" y="18593"/>
                        <a:pt x="26653" y="0"/>
                        <a:pt x="59531" y="0"/>
                      </a:cubicBezTo>
                      <a:cubicBezTo>
                        <a:pt x="92409" y="0"/>
                        <a:pt x="119062" y="18593"/>
                        <a:pt x="119062" y="41529"/>
                      </a:cubicBezTo>
                      <a:close/>
                    </a:path>
                  </a:pathLst>
                </a:custGeom>
                <a:solidFill>
                  <a:srgbClr val="C0906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Freihandform: Form 58">
                  <a:extLst>
                    <a:ext uri="{FF2B5EF4-FFF2-40B4-BE49-F238E27FC236}">
                      <a16:creationId xmlns:a16="http://schemas.microsoft.com/office/drawing/2014/main" id="{33DCE7A4-3753-EF46-50A1-DCD810CDD074}"/>
                    </a:ext>
                  </a:extLst>
                </p:cNvPr>
                <p:cNvSpPr/>
                <p:nvPr/>
              </p:nvSpPr>
              <p:spPr>
                <a:xfrm rot="-1416000">
                  <a:off x="4059147" y="1312890"/>
                  <a:ext cx="83820" cy="117919"/>
                </a:xfrm>
                <a:custGeom>
                  <a:avLst/>
                  <a:gdLst>
                    <a:gd name="connsiteX0" fmla="*/ 83820 w 83820"/>
                    <a:gd name="connsiteY0" fmla="*/ 58960 h 117919"/>
                    <a:gd name="connsiteX1" fmla="*/ 41910 w 83820"/>
                    <a:gd name="connsiteY1" fmla="*/ 117920 h 117919"/>
                    <a:gd name="connsiteX2" fmla="*/ 0 w 83820"/>
                    <a:gd name="connsiteY2" fmla="*/ 58960 h 117919"/>
                    <a:gd name="connsiteX3" fmla="*/ 41910 w 83820"/>
                    <a:gd name="connsiteY3" fmla="*/ 0 h 117919"/>
                    <a:gd name="connsiteX4" fmla="*/ 83820 w 83820"/>
                    <a:gd name="connsiteY4" fmla="*/ 58960 h 1179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3820" h="117919">
                      <a:moveTo>
                        <a:pt x="83820" y="58960"/>
                      </a:moveTo>
                      <a:cubicBezTo>
                        <a:pt x="83820" y="91522"/>
                        <a:pt x="65056" y="117920"/>
                        <a:pt x="41910" y="117920"/>
                      </a:cubicBezTo>
                      <a:cubicBezTo>
                        <a:pt x="18764" y="117920"/>
                        <a:pt x="0" y="91522"/>
                        <a:pt x="0" y="58960"/>
                      </a:cubicBezTo>
                      <a:cubicBezTo>
                        <a:pt x="0" y="26397"/>
                        <a:pt x="18764" y="0"/>
                        <a:pt x="41910" y="0"/>
                      </a:cubicBezTo>
                      <a:cubicBezTo>
                        <a:pt x="65056" y="0"/>
                        <a:pt x="83820" y="26397"/>
                        <a:pt x="83820" y="58960"/>
                      </a:cubicBezTo>
                      <a:close/>
                    </a:path>
                  </a:pathLst>
                </a:custGeom>
                <a:solidFill>
                  <a:srgbClr val="C0906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0" name="Freihandform: Form 59">
                  <a:extLst>
                    <a:ext uri="{FF2B5EF4-FFF2-40B4-BE49-F238E27FC236}">
                      <a16:creationId xmlns:a16="http://schemas.microsoft.com/office/drawing/2014/main" id="{218AC7D9-1606-083A-E549-3C30744BE4C7}"/>
                    </a:ext>
                  </a:extLst>
                </p:cNvPr>
                <p:cNvSpPr/>
                <p:nvPr/>
              </p:nvSpPr>
              <p:spPr>
                <a:xfrm>
                  <a:off x="4065254" y="1109015"/>
                  <a:ext cx="326517" cy="341375"/>
                </a:xfrm>
                <a:custGeom>
                  <a:avLst/>
                  <a:gdLst>
                    <a:gd name="connsiteX0" fmla="*/ 326517 w 326517"/>
                    <a:gd name="connsiteY0" fmla="*/ 170688 h 341375"/>
                    <a:gd name="connsiteX1" fmla="*/ 163259 w 326517"/>
                    <a:gd name="connsiteY1" fmla="*/ 341376 h 341375"/>
                    <a:gd name="connsiteX2" fmla="*/ 0 w 326517"/>
                    <a:gd name="connsiteY2" fmla="*/ 170688 h 341375"/>
                    <a:gd name="connsiteX3" fmla="*/ 163259 w 326517"/>
                    <a:gd name="connsiteY3" fmla="*/ 0 h 341375"/>
                    <a:gd name="connsiteX4" fmla="*/ 326517 w 326517"/>
                    <a:gd name="connsiteY4" fmla="*/ 170688 h 341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6517" h="341375">
                      <a:moveTo>
                        <a:pt x="326517" y="170688"/>
                      </a:moveTo>
                      <a:cubicBezTo>
                        <a:pt x="326517" y="264956"/>
                        <a:pt x="253424" y="341376"/>
                        <a:pt x="163259" y="341376"/>
                      </a:cubicBezTo>
                      <a:cubicBezTo>
                        <a:pt x="73093" y="341376"/>
                        <a:pt x="0" y="264956"/>
                        <a:pt x="0" y="170688"/>
                      </a:cubicBezTo>
                      <a:cubicBezTo>
                        <a:pt x="0" y="76420"/>
                        <a:pt x="73093" y="0"/>
                        <a:pt x="163259" y="0"/>
                      </a:cubicBezTo>
                      <a:cubicBezTo>
                        <a:pt x="253424" y="0"/>
                        <a:pt x="326517" y="76420"/>
                        <a:pt x="326517" y="170688"/>
                      </a:cubicBezTo>
                      <a:close/>
                    </a:path>
                  </a:pathLst>
                </a:custGeom>
                <a:solidFill>
                  <a:srgbClr val="C0906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42" name="Grafik 427">
                <a:extLst>
                  <a:ext uri="{FF2B5EF4-FFF2-40B4-BE49-F238E27FC236}">
                    <a16:creationId xmlns:a16="http://schemas.microsoft.com/office/drawing/2014/main" id="{B6CE922D-4439-9435-73BD-4D5AD40C0193}"/>
                  </a:ext>
                </a:extLst>
              </p:cNvPr>
              <p:cNvGrpSpPr/>
              <p:nvPr/>
            </p:nvGrpSpPr>
            <p:grpSpPr>
              <a:xfrm>
                <a:off x="4115831" y="1292207"/>
                <a:ext cx="209740" cy="180757"/>
                <a:chOff x="4115831" y="1292207"/>
                <a:chExt cx="209740" cy="180757"/>
              </a:xfrm>
            </p:grpSpPr>
            <p:sp>
              <p:nvSpPr>
                <p:cNvPr id="49" name="Freihandform: Form 48">
                  <a:extLst>
                    <a:ext uri="{FF2B5EF4-FFF2-40B4-BE49-F238E27FC236}">
                      <a16:creationId xmlns:a16="http://schemas.microsoft.com/office/drawing/2014/main" id="{B75025B5-0B12-C262-EB27-84F51A89C990}"/>
                    </a:ext>
                  </a:extLst>
                </p:cNvPr>
                <p:cNvSpPr/>
                <p:nvPr/>
              </p:nvSpPr>
              <p:spPr>
                <a:xfrm>
                  <a:off x="4197450" y="1404289"/>
                  <a:ext cx="47751" cy="19526"/>
                </a:xfrm>
                <a:custGeom>
                  <a:avLst/>
                  <a:gdLst>
                    <a:gd name="connsiteX0" fmla="*/ 582 w 47751"/>
                    <a:gd name="connsiteY0" fmla="*/ 0 h 19526"/>
                    <a:gd name="connsiteX1" fmla="*/ 21632 w 47751"/>
                    <a:gd name="connsiteY1" fmla="*/ 6382 h 19526"/>
                    <a:gd name="connsiteX2" fmla="*/ 47159 w 47751"/>
                    <a:gd name="connsiteY2" fmla="*/ 0 h 19526"/>
                    <a:gd name="connsiteX3" fmla="*/ 47159 w 47751"/>
                    <a:gd name="connsiteY3" fmla="*/ 5620 h 19526"/>
                    <a:gd name="connsiteX4" fmla="*/ 22490 w 47751"/>
                    <a:gd name="connsiteY4" fmla="*/ 19526 h 19526"/>
                    <a:gd name="connsiteX5" fmla="*/ 677 w 47751"/>
                    <a:gd name="connsiteY5" fmla="*/ 6191 h 19526"/>
                    <a:gd name="connsiteX6" fmla="*/ 677 w 47751"/>
                    <a:gd name="connsiteY6" fmla="*/ 0 h 19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7751" h="19526">
                      <a:moveTo>
                        <a:pt x="582" y="0"/>
                      </a:moveTo>
                      <a:cubicBezTo>
                        <a:pt x="582" y="0"/>
                        <a:pt x="6583" y="6382"/>
                        <a:pt x="21632" y="6382"/>
                      </a:cubicBezTo>
                      <a:cubicBezTo>
                        <a:pt x="40682" y="6382"/>
                        <a:pt x="47159" y="0"/>
                        <a:pt x="47159" y="0"/>
                      </a:cubicBezTo>
                      <a:cubicBezTo>
                        <a:pt x="47159" y="0"/>
                        <a:pt x="48493" y="1905"/>
                        <a:pt x="47159" y="5620"/>
                      </a:cubicBezTo>
                      <a:cubicBezTo>
                        <a:pt x="46207" y="8287"/>
                        <a:pt x="37920" y="19526"/>
                        <a:pt x="22490" y="19526"/>
                      </a:cubicBezTo>
                      <a:cubicBezTo>
                        <a:pt x="10393" y="19526"/>
                        <a:pt x="2201" y="10001"/>
                        <a:pt x="677" y="6191"/>
                      </a:cubicBezTo>
                      <a:cubicBezTo>
                        <a:pt x="-847" y="2381"/>
                        <a:pt x="677" y="0"/>
                        <a:pt x="677" y="0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Freihandform: Form 49">
                  <a:extLst>
                    <a:ext uri="{FF2B5EF4-FFF2-40B4-BE49-F238E27FC236}">
                      <a16:creationId xmlns:a16="http://schemas.microsoft.com/office/drawing/2014/main" id="{69CC46C1-B71D-DAC9-B4BE-662F0EA984B3}"/>
                    </a:ext>
                  </a:extLst>
                </p:cNvPr>
                <p:cNvSpPr/>
                <p:nvPr/>
              </p:nvSpPr>
              <p:spPr>
                <a:xfrm>
                  <a:off x="4240392" y="1292207"/>
                  <a:ext cx="85179" cy="28547"/>
                </a:xfrm>
                <a:custGeom>
                  <a:avLst/>
                  <a:gdLst>
                    <a:gd name="connsiteX0" fmla="*/ 66415 w 85179"/>
                    <a:gd name="connsiteY0" fmla="*/ 10736 h 28547"/>
                    <a:gd name="connsiteX1" fmla="*/ 33840 w 85179"/>
                    <a:gd name="connsiteY1" fmla="*/ 449 h 28547"/>
                    <a:gd name="connsiteX2" fmla="*/ 33840 w 85179"/>
                    <a:gd name="connsiteY2" fmla="*/ 449 h 28547"/>
                    <a:gd name="connsiteX3" fmla="*/ 4693 w 85179"/>
                    <a:gd name="connsiteY3" fmla="*/ 3783 h 28547"/>
                    <a:gd name="connsiteX4" fmla="*/ 2598 w 85179"/>
                    <a:gd name="connsiteY4" fmla="*/ 5402 h 28547"/>
                    <a:gd name="connsiteX5" fmla="*/ 8503 w 85179"/>
                    <a:gd name="connsiteY5" fmla="*/ 20261 h 28547"/>
                    <a:gd name="connsiteX6" fmla="*/ 25077 w 85179"/>
                    <a:gd name="connsiteY6" fmla="*/ 18737 h 28547"/>
                    <a:gd name="connsiteX7" fmla="*/ 64129 w 85179"/>
                    <a:gd name="connsiteY7" fmla="*/ 20928 h 28547"/>
                    <a:gd name="connsiteX8" fmla="*/ 85180 w 85179"/>
                    <a:gd name="connsiteY8" fmla="*/ 28548 h 28547"/>
                    <a:gd name="connsiteX9" fmla="*/ 66511 w 85179"/>
                    <a:gd name="connsiteY9" fmla="*/ 10736 h 285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5179" h="28547">
                      <a:moveTo>
                        <a:pt x="66415" y="10736"/>
                      </a:moveTo>
                      <a:cubicBezTo>
                        <a:pt x="55176" y="3592"/>
                        <a:pt x="42889" y="830"/>
                        <a:pt x="33840" y="449"/>
                      </a:cubicBezTo>
                      <a:lnTo>
                        <a:pt x="33840" y="449"/>
                      </a:lnTo>
                      <a:cubicBezTo>
                        <a:pt x="18314" y="-1075"/>
                        <a:pt x="8027" y="1592"/>
                        <a:pt x="4693" y="3783"/>
                      </a:cubicBezTo>
                      <a:cubicBezTo>
                        <a:pt x="3931" y="4259"/>
                        <a:pt x="3265" y="4831"/>
                        <a:pt x="2598" y="5402"/>
                      </a:cubicBezTo>
                      <a:cubicBezTo>
                        <a:pt x="-2927" y="10641"/>
                        <a:pt x="979" y="20356"/>
                        <a:pt x="8503" y="20261"/>
                      </a:cubicBezTo>
                      <a:cubicBezTo>
                        <a:pt x="11932" y="20261"/>
                        <a:pt x="20314" y="19213"/>
                        <a:pt x="25077" y="18737"/>
                      </a:cubicBezTo>
                      <a:cubicBezTo>
                        <a:pt x="33459" y="17880"/>
                        <a:pt x="57271" y="19118"/>
                        <a:pt x="64129" y="20928"/>
                      </a:cubicBezTo>
                      <a:cubicBezTo>
                        <a:pt x="77464" y="24547"/>
                        <a:pt x="85180" y="28548"/>
                        <a:pt x="85180" y="28548"/>
                      </a:cubicBezTo>
                      <a:cubicBezTo>
                        <a:pt x="85180" y="28548"/>
                        <a:pt x="81560" y="20356"/>
                        <a:pt x="66511" y="10736"/>
                      </a:cubicBezTo>
                      <a:close/>
                    </a:path>
                  </a:pathLst>
                </a:custGeom>
                <a:solidFill>
                  <a:srgbClr val="4B2E1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Freihandform: Form 50">
                  <a:extLst>
                    <a:ext uri="{FF2B5EF4-FFF2-40B4-BE49-F238E27FC236}">
                      <a16:creationId xmlns:a16="http://schemas.microsoft.com/office/drawing/2014/main" id="{13AD94AC-EE7F-3866-CB17-975111F7FAF0}"/>
                    </a:ext>
                  </a:extLst>
                </p:cNvPr>
                <p:cNvSpPr/>
                <p:nvPr/>
              </p:nvSpPr>
              <p:spPr>
                <a:xfrm>
                  <a:off x="4178125" y="1441911"/>
                  <a:ext cx="89725" cy="31054"/>
                </a:xfrm>
                <a:custGeom>
                  <a:avLst/>
                  <a:gdLst>
                    <a:gd name="connsiteX0" fmla="*/ 0 w 89725"/>
                    <a:gd name="connsiteY0" fmla="*/ 6194 h 31054"/>
                    <a:gd name="connsiteX1" fmla="*/ 33909 w 89725"/>
                    <a:gd name="connsiteY1" fmla="*/ 384 h 31054"/>
                    <a:gd name="connsiteX2" fmla="*/ 42767 w 89725"/>
                    <a:gd name="connsiteY2" fmla="*/ 2479 h 31054"/>
                    <a:gd name="connsiteX3" fmla="*/ 51149 w 89725"/>
                    <a:gd name="connsiteY3" fmla="*/ 3 h 31054"/>
                    <a:gd name="connsiteX4" fmla="*/ 89725 w 89725"/>
                    <a:gd name="connsiteY4" fmla="*/ 6384 h 31054"/>
                    <a:gd name="connsiteX5" fmla="*/ 41719 w 89725"/>
                    <a:gd name="connsiteY5" fmla="*/ 31054 h 31054"/>
                    <a:gd name="connsiteX6" fmla="*/ 95 w 89725"/>
                    <a:gd name="connsiteY6" fmla="*/ 6099 h 310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9725" h="31054">
                      <a:moveTo>
                        <a:pt x="0" y="6194"/>
                      </a:moveTo>
                      <a:cubicBezTo>
                        <a:pt x="0" y="6194"/>
                        <a:pt x="11621" y="1812"/>
                        <a:pt x="33909" y="384"/>
                      </a:cubicBezTo>
                      <a:cubicBezTo>
                        <a:pt x="35719" y="288"/>
                        <a:pt x="37624" y="2670"/>
                        <a:pt x="42767" y="2479"/>
                      </a:cubicBezTo>
                      <a:cubicBezTo>
                        <a:pt x="48863" y="2384"/>
                        <a:pt x="49149" y="-93"/>
                        <a:pt x="51149" y="3"/>
                      </a:cubicBezTo>
                      <a:cubicBezTo>
                        <a:pt x="75248" y="669"/>
                        <a:pt x="89725" y="6384"/>
                        <a:pt x="89725" y="6384"/>
                      </a:cubicBezTo>
                      <a:cubicBezTo>
                        <a:pt x="89725" y="6384"/>
                        <a:pt x="77819" y="31054"/>
                        <a:pt x="41719" y="31054"/>
                      </a:cubicBezTo>
                      <a:cubicBezTo>
                        <a:pt x="9239" y="31054"/>
                        <a:pt x="95" y="6099"/>
                        <a:pt x="95" y="6099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Freihandform: Form 51">
                  <a:extLst>
                    <a:ext uri="{FF2B5EF4-FFF2-40B4-BE49-F238E27FC236}">
                      <a16:creationId xmlns:a16="http://schemas.microsoft.com/office/drawing/2014/main" id="{3FC512BD-B774-A707-E127-7985E587A736}"/>
                    </a:ext>
                  </a:extLst>
                </p:cNvPr>
                <p:cNvSpPr/>
                <p:nvPr/>
              </p:nvSpPr>
              <p:spPr>
                <a:xfrm rot="-5166000">
                  <a:off x="4145884" y="1336925"/>
                  <a:ext cx="24574" cy="23050"/>
                </a:xfrm>
                <a:custGeom>
                  <a:avLst/>
                  <a:gdLst>
                    <a:gd name="connsiteX0" fmla="*/ 24574 w 24574"/>
                    <a:gd name="connsiteY0" fmla="*/ 11525 h 23050"/>
                    <a:gd name="connsiteX1" fmla="*/ 12287 w 24574"/>
                    <a:gd name="connsiteY1" fmla="*/ 23050 h 23050"/>
                    <a:gd name="connsiteX2" fmla="*/ 0 w 24574"/>
                    <a:gd name="connsiteY2" fmla="*/ 11525 h 23050"/>
                    <a:gd name="connsiteX3" fmla="*/ 12287 w 24574"/>
                    <a:gd name="connsiteY3" fmla="*/ 0 h 23050"/>
                    <a:gd name="connsiteX4" fmla="*/ 24574 w 24574"/>
                    <a:gd name="connsiteY4" fmla="*/ 11525 h 23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574" h="23050">
                      <a:moveTo>
                        <a:pt x="24574" y="11525"/>
                      </a:moveTo>
                      <a:cubicBezTo>
                        <a:pt x="24574" y="17890"/>
                        <a:pt x="19073" y="23050"/>
                        <a:pt x="12287" y="23050"/>
                      </a:cubicBezTo>
                      <a:cubicBezTo>
                        <a:pt x="5501" y="23050"/>
                        <a:pt x="0" y="17890"/>
                        <a:pt x="0" y="11525"/>
                      </a:cubicBezTo>
                      <a:cubicBezTo>
                        <a:pt x="0" y="5160"/>
                        <a:pt x="5501" y="0"/>
                        <a:pt x="12287" y="0"/>
                      </a:cubicBezTo>
                      <a:cubicBezTo>
                        <a:pt x="19073" y="0"/>
                        <a:pt x="24574" y="5160"/>
                        <a:pt x="24574" y="11525"/>
                      </a:cubicBezTo>
                      <a:close/>
                    </a:path>
                  </a:pathLst>
                </a:custGeom>
                <a:solidFill>
                  <a:srgbClr val="14141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Freihandform: Form 52">
                  <a:extLst>
                    <a:ext uri="{FF2B5EF4-FFF2-40B4-BE49-F238E27FC236}">
                      <a16:creationId xmlns:a16="http://schemas.microsoft.com/office/drawing/2014/main" id="{C255AA5A-2198-279B-CA9B-DFD7F85C5ECF}"/>
                    </a:ext>
                  </a:extLst>
                </p:cNvPr>
                <p:cNvSpPr/>
                <p:nvPr/>
              </p:nvSpPr>
              <p:spPr>
                <a:xfrm>
                  <a:off x="4115831" y="1293255"/>
                  <a:ext cx="84897" cy="28547"/>
                </a:xfrm>
                <a:custGeom>
                  <a:avLst/>
                  <a:gdLst>
                    <a:gd name="connsiteX0" fmla="*/ 18574 w 84897"/>
                    <a:gd name="connsiteY0" fmla="*/ 10736 h 28547"/>
                    <a:gd name="connsiteX1" fmla="*/ 51054 w 84897"/>
                    <a:gd name="connsiteY1" fmla="*/ 449 h 28547"/>
                    <a:gd name="connsiteX2" fmla="*/ 51054 w 84897"/>
                    <a:gd name="connsiteY2" fmla="*/ 449 h 28547"/>
                    <a:gd name="connsiteX3" fmla="*/ 80200 w 84897"/>
                    <a:gd name="connsiteY3" fmla="*/ 3783 h 28547"/>
                    <a:gd name="connsiteX4" fmla="*/ 82296 w 84897"/>
                    <a:gd name="connsiteY4" fmla="*/ 5402 h 28547"/>
                    <a:gd name="connsiteX5" fmla="*/ 76486 w 84897"/>
                    <a:gd name="connsiteY5" fmla="*/ 20261 h 28547"/>
                    <a:gd name="connsiteX6" fmla="*/ 59912 w 84897"/>
                    <a:gd name="connsiteY6" fmla="*/ 18737 h 28547"/>
                    <a:gd name="connsiteX7" fmla="*/ 20955 w 84897"/>
                    <a:gd name="connsiteY7" fmla="*/ 20928 h 28547"/>
                    <a:gd name="connsiteX8" fmla="*/ 0 w 84897"/>
                    <a:gd name="connsiteY8" fmla="*/ 28548 h 28547"/>
                    <a:gd name="connsiteX9" fmla="*/ 18669 w 84897"/>
                    <a:gd name="connsiteY9" fmla="*/ 10736 h 285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4897" h="28547">
                      <a:moveTo>
                        <a:pt x="18574" y="10736"/>
                      </a:moveTo>
                      <a:cubicBezTo>
                        <a:pt x="29813" y="3592"/>
                        <a:pt x="42005" y="830"/>
                        <a:pt x="51054" y="449"/>
                      </a:cubicBezTo>
                      <a:lnTo>
                        <a:pt x="51054" y="449"/>
                      </a:lnTo>
                      <a:cubicBezTo>
                        <a:pt x="66580" y="-1075"/>
                        <a:pt x="76867" y="1592"/>
                        <a:pt x="80200" y="3783"/>
                      </a:cubicBezTo>
                      <a:cubicBezTo>
                        <a:pt x="80963" y="4259"/>
                        <a:pt x="81629" y="4831"/>
                        <a:pt x="82296" y="5402"/>
                      </a:cubicBezTo>
                      <a:cubicBezTo>
                        <a:pt x="87821" y="10641"/>
                        <a:pt x="83915" y="20356"/>
                        <a:pt x="76486" y="20261"/>
                      </a:cubicBezTo>
                      <a:cubicBezTo>
                        <a:pt x="73057" y="20261"/>
                        <a:pt x="64675" y="19213"/>
                        <a:pt x="59912" y="18737"/>
                      </a:cubicBezTo>
                      <a:cubicBezTo>
                        <a:pt x="51530" y="17880"/>
                        <a:pt x="27813" y="19118"/>
                        <a:pt x="20955" y="20928"/>
                      </a:cubicBezTo>
                      <a:cubicBezTo>
                        <a:pt x="7620" y="24547"/>
                        <a:pt x="0" y="28548"/>
                        <a:pt x="0" y="28548"/>
                      </a:cubicBezTo>
                      <a:cubicBezTo>
                        <a:pt x="0" y="28548"/>
                        <a:pt x="3619" y="20356"/>
                        <a:pt x="18669" y="10736"/>
                      </a:cubicBezTo>
                      <a:close/>
                    </a:path>
                  </a:pathLst>
                </a:custGeom>
                <a:solidFill>
                  <a:srgbClr val="4B2E1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Freihandform: Form 53">
                  <a:extLst>
                    <a:ext uri="{FF2B5EF4-FFF2-40B4-BE49-F238E27FC236}">
                      <a16:creationId xmlns:a16="http://schemas.microsoft.com/office/drawing/2014/main" id="{DA154DB7-CB1C-019F-83B2-AFDF88E1B43B}"/>
                    </a:ext>
                  </a:extLst>
                </p:cNvPr>
                <p:cNvSpPr/>
                <p:nvPr/>
              </p:nvSpPr>
              <p:spPr>
                <a:xfrm>
                  <a:off x="4125983" y="1330554"/>
                  <a:ext cx="62926" cy="16703"/>
                </a:xfrm>
                <a:custGeom>
                  <a:avLst/>
                  <a:gdLst>
                    <a:gd name="connsiteX0" fmla="*/ 2041 w 62926"/>
                    <a:gd name="connsiteY0" fmla="*/ 10775 h 16703"/>
                    <a:gd name="connsiteX1" fmla="*/ 28139 w 62926"/>
                    <a:gd name="connsiteY1" fmla="*/ 107 h 16703"/>
                    <a:gd name="connsiteX2" fmla="*/ 61477 w 62926"/>
                    <a:gd name="connsiteY2" fmla="*/ 10680 h 16703"/>
                    <a:gd name="connsiteX3" fmla="*/ 59477 w 62926"/>
                    <a:gd name="connsiteY3" fmla="*/ 16395 h 16703"/>
                    <a:gd name="connsiteX4" fmla="*/ 32997 w 62926"/>
                    <a:gd name="connsiteY4" fmla="*/ 7156 h 16703"/>
                    <a:gd name="connsiteX5" fmla="*/ 6613 w 62926"/>
                    <a:gd name="connsiteY5" fmla="*/ 13061 h 16703"/>
                    <a:gd name="connsiteX6" fmla="*/ 803 w 62926"/>
                    <a:gd name="connsiteY6" fmla="*/ 15633 h 16703"/>
                    <a:gd name="connsiteX7" fmla="*/ 2041 w 62926"/>
                    <a:gd name="connsiteY7" fmla="*/ 10871 h 167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926" h="16703">
                      <a:moveTo>
                        <a:pt x="2041" y="10775"/>
                      </a:moveTo>
                      <a:cubicBezTo>
                        <a:pt x="4898" y="7823"/>
                        <a:pt x="14614" y="869"/>
                        <a:pt x="28139" y="107"/>
                      </a:cubicBezTo>
                      <a:cubicBezTo>
                        <a:pt x="46618" y="-941"/>
                        <a:pt x="57095" y="5918"/>
                        <a:pt x="61477" y="10680"/>
                      </a:cubicBezTo>
                      <a:cubicBezTo>
                        <a:pt x="64620" y="14014"/>
                        <a:pt x="62048" y="17824"/>
                        <a:pt x="59477" y="16395"/>
                      </a:cubicBezTo>
                      <a:cubicBezTo>
                        <a:pt x="52809" y="12585"/>
                        <a:pt x="49285" y="9061"/>
                        <a:pt x="32997" y="7156"/>
                      </a:cubicBezTo>
                      <a:cubicBezTo>
                        <a:pt x="21567" y="5822"/>
                        <a:pt x="10804" y="10680"/>
                        <a:pt x="6613" y="13061"/>
                      </a:cubicBezTo>
                      <a:cubicBezTo>
                        <a:pt x="3374" y="14871"/>
                        <a:pt x="1850" y="16300"/>
                        <a:pt x="803" y="15633"/>
                      </a:cubicBezTo>
                      <a:cubicBezTo>
                        <a:pt x="-1007" y="14300"/>
                        <a:pt x="612" y="12395"/>
                        <a:pt x="2041" y="10871"/>
                      </a:cubicBezTo>
                      <a:close/>
                    </a:path>
                  </a:pathLst>
                </a:custGeom>
                <a:solidFill>
                  <a:srgbClr val="14141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Freihandform: Form 54">
                  <a:extLst>
                    <a:ext uri="{FF2B5EF4-FFF2-40B4-BE49-F238E27FC236}">
                      <a16:creationId xmlns:a16="http://schemas.microsoft.com/office/drawing/2014/main" id="{CB0381E3-8FDB-EFF0-8356-339342F24A3A}"/>
                    </a:ext>
                  </a:extLst>
                </p:cNvPr>
                <p:cNvSpPr/>
                <p:nvPr/>
              </p:nvSpPr>
              <p:spPr>
                <a:xfrm rot="-234000">
                  <a:off x="4268394" y="1336174"/>
                  <a:ext cx="23050" cy="24574"/>
                </a:xfrm>
                <a:custGeom>
                  <a:avLst/>
                  <a:gdLst>
                    <a:gd name="connsiteX0" fmla="*/ 23051 w 23050"/>
                    <a:gd name="connsiteY0" fmla="*/ 12287 h 24574"/>
                    <a:gd name="connsiteX1" fmla="*/ 11525 w 23050"/>
                    <a:gd name="connsiteY1" fmla="*/ 24574 h 24574"/>
                    <a:gd name="connsiteX2" fmla="*/ 0 w 23050"/>
                    <a:gd name="connsiteY2" fmla="*/ 12287 h 24574"/>
                    <a:gd name="connsiteX3" fmla="*/ 11525 w 23050"/>
                    <a:gd name="connsiteY3" fmla="*/ 0 h 24574"/>
                    <a:gd name="connsiteX4" fmla="*/ 23051 w 23050"/>
                    <a:gd name="connsiteY4" fmla="*/ 12287 h 245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050" h="24574">
                      <a:moveTo>
                        <a:pt x="23051" y="12287"/>
                      </a:moveTo>
                      <a:cubicBezTo>
                        <a:pt x="23051" y="19073"/>
                        <a:pt x="17891" y="24574"/>
                        <a:pt x="11525" y="24574"/>
                      </a:cubicBezTo>
                      <a:cubicBezTo>
                        <a:pt x="5160" y="24574"/>
                        <a:pt x="0" y="19073"/>
                        <a:pt x="0" y="12287"/>
                      </a:cubicBezTo>
                      <a:cubicBezTo>
                        <a:pt x="0" y="5501"/>
                        <a:pt x="5160" y="0"/>
                        <a:pt x="11525" y="0"/>
                      </a:cubicBezTo>
                      <a:cubicBezTo>
                        <a:pt x="17891" y="0"/>
                        <a:pt x="23051" y="5501"/>
                        <a:pt x="23051" y="12287"/>
                      </a:cubicBezTo>
                      <a:close/>
                    </a:path>
                  </a:pathLst>
                </a:custGeom>
                <a:solidFill>
                  <a:srgbClr val="14141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6" name="Freihandform: Form 55">
                  <a:extLst>
                    <a:ext uri="{FF2B5EF4-FFF2-40B4-BE49-F238E27FC236}">
                      <a16:creationId xmlns:a16="http://schemas.microsoft.com/office/drawing/2014/main" id="{90B89A41-E8AE-860E-38A8-8E5CDEDC4F9A}"/>
                    </a:ext>
                  </a:extLst>
                </p:cNvPr>
                <p:cNvSpPr/>
                <p:nvPr/>
              </p:nvSpPr>
              <p:spPr>
                <a:xfrm>
                  <a:off x="4249255" y="1330554"/>
                  <a:ext cx="62926" cy="16703"/>
                </a:xfrm>
                <a:custGeom>
                  <a:avLst/>
                  <a:gdLst>
                    <a:gd name="connsiteX0" fmla="*/ 60886 w 62926"/>
                    <a:gd name="connsiteY0" fmla="*/ 10775 h 16703"/>
                    <a:gd name="connsiteX1" fmla="*/ 34788 w 62926"/>
                    <a:gd name="connsiteY1" fmla="*/ 107 h 16703"/>
                    <a:gd name="connsiteX2" fmla="*/ 1450 w 62926"/>
                    <a:gd name="connsiteY2" fmla="*/ 10680 h 16703"/>
                    <a:gd name="connsiteX3" fmla="*/ 3450 w 62926"/>
                    <a:gd name="connsiteY3" fmla="*/ 16395 h 16703"/>
                    <a:gd name="connsiteX4" fmla="*/ 29930 w 62926"/>
                    <a:gd name="connsiteY4" fmla="*/ 7156 h 16703"/>
                    <a:gd name="connsiteX5" fmla="*/ 56314 w 62926"/>
                    <a:gd name="connsiteY5" fmla="*/ 13061 h 16703"/>
                    <a:gd name="connsiteX6" fmla="*/ 62124 w 62926"/>
                    <a:gd name="connsiteY6" fmla="*/ 15633 h 16703"/>
                    <a:gd name="connsiteX7" fmla="*/ 60886 w 62926"/>
                    <a:gd name="connsiteY7" fmla="*/ 10871 h 167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926" h="16703">
                      <a:moveTo>
                        <a:pt x="60886" y="10775"/>
                      </a:moveTo>
                      <a:cubicBezTo>
                        <a:pt x="58029" y="7823"/>
                        <a:pt x="48313" y="869"/>
                        <a:pt x="34788" y="107"/>
                      </a:cubicBezTo>
                      <a:cubicBezTo>
                        <a:pt x="16309" y="-941"/>
                        <a:pt x="5832" y="5918"/>
                        <a:pt x="1450" y="10680"/>
                      </a:cubicBezTo>
                      <a:cubicBezTo>
                        <a:pt x="-1693" y="14014"/>
                        <a:pt x="879" y="17824"/>
                        <a:pt x="3450" y="16395"/>
                      </a:cubicBezTo>
                      <a:cubicBezTo>
                        <a:pt x="10118" y="12585"/>
                        <a:pt x="13642" y="9061"/>
                        <a:pt x="29930" y="7156"/>
                      </a:cubicBezTo>
                      <a:cubicBezTo>
                        <a:pt x="41360" y="5822"/>
                        <a:pt x="52123" y="10680"/>
                        <a:pt x="56314" y="13061"/>
                      </a:cubicBezTo>
                      <a:cubicBezTo>
                        <a:pt x="59553" y="14871"/>
                        <a:pt x="61077" y="16300"/>
                        <a:pt x="62124" y="15633"/>
                      </a:cubicBezTo>
                      <a:cubicBezTo>
                        <a:pt x="63934" y="14300"/>
                        <a:pt x="62315" y="12395"/>
                        <a:pt x="60886" y="10871"/>
                      </a:cubicBezTo>
                      <a:close/>
                    </a:path>
                  </a:pathLst>
                </a:custGeom>
                <a:solidFill>
                  <a:srgbClr val="14141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43" name="Grafik 427">
                <a:extLst>
                  <a:ext uri="{FF2B5EF4-FFF2-40B4-BE49-F238E27FC236}">
                    <a16:creationId xmlns:a16="http://schemas.microsoft.com/office/drawing/2014/main" id="{8B2C820E-62FA-161E-1673-791E061CCE5E}"/>
                  </a:ext>
                </a:extLst>
              </p:cNvPr>
              <p:cNvGrpSpPr/>
              <p:nvPr/>
            </p:nvGrpSpPr>
            <p:grpSpPr>
              <a:xfrm>
                <a:off x="4058051" y="1096260"/>
                <a:ext cx="356579" cy="261166"/>
                <a:chOff x="4058051" y="1096260"/>
                <a:chExt cx="356579" cy="261166"/>
              </a:xfrm>
            </p:grpSpPr>
            <p:sp>
              <p:nvSpPr>
                <p:cNvPr id="47" name="Freihandform: Form 46">
                  <a:extLst>
                    <a:ext uri="{FF2B5EF4-FFF2-40B4-BE49-F238E27FC236}">
                      <a16:creationId xmlns:a16="http://schemas.microsoft.com/office/drawing/2014/main" id="{6559F4DF-D2BD-C242-1620-C6D847D01939}"/>
                    </a:ext>
                  </a:extLst>
                </p:cNvPr>
                <p:cNvSpPr/>
                <p:nvPr/>
              </p:nvSpPr>
              <p:spPr>
                <a:xfrm>
                  <a:off x="4058051" y="1111167"/>
                  <a:ext cx="322003" cy="246259"/>
                </a:xfrm>
                <a:custGeom>
                  <a:avLst/>
                  <a:gdLst>
                    <a:gd name="connsiteX0" fmla="*/ 162460 w 322003"/>
                    <a:gd name="connsiteY0" fmla="*/ 78143 h 246259"/>
                    <a:gd name="connsiteX1" fmla="*/ 298382 w 322003"/>
                    <a:gd name="connsiteY1" fmla="*/ 246259 h 246259"/>
                    <a:gd name="connsiteX2" fmla="*/ 322003 w 322003"/>
                    <a:gd name="connsiteY2" fmla="*/ 171393 h 246259"/>
                    <a:gd name="connsiteX3" fmla="*/ 161698 w 322003"/>
                    <a:gd name="connsiteY3" fmla="*/ 705 h 246259"/>
                    <a:gd name="connsiteX4" fmla="*/ 53303 w 322003"/>
                    <a:gd name="connsiteY4" fmla="*/ 45568 h 246259"/>
                    <a:gd name="connsiteX5" fmla="*/ 19870 w 322003"/>
                    <a:gd name="connsiteY5" fmla="*/ 232734 h 246259"/>
                    <a:gd name="connsiteX6" fmla="*/ 162460 w 322003"/>
                    <a:gd name="connsiteY6" fmla="*/ 78048 h 246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003" h="246259">
                      <a:moveTo>
                        <a:pt x="162460" y="78143"/>
                      </a:moveTo>
                      <a:cubicBezTo>
                        <a:pt x="278665" y="85477"/>
                        <a:pt x="264377" y="181013"/>
                        <a:pt x="298382" y="246259"/>
                      </a:cubicBezTo>
                      <a:cubicBezTo>
                        <a:pt x="304859" y="227781"/>
                        <a:pt x="322003" y="192253"/>
                        <a:pt x="322003" y="171393"/>
                      </a:cubicBezTo>
                      <a:cubicBezTo>
                        <a:pt x="322003" y="77191"/>
                        <a:pt x="249899" y="7944"/>
                        <a:pt x="161698" y="705"/>
                      </a:cubicBezTo>
                      <a:cubicBezTo>
                        <a:pt x="125693" y="-2248"/>
                        <a:pt x="111787" y="2515"/>
                        <a:pt x="53303" y="45568"/>
                      </a:cubicBezTo>
                      <a:cubicBezTo>
                        <a:pt x="10631" y="66332"/>
                        <a:pt x="-22992" y="156343"/>
                        <a:pt x="19870" y="232734"/>
                      </a:cubicBezTo>
                      <a:cubicBezTo>
                        <a:pt x="61685" y="191967"/>
                        <a:pt x="57780" y="71476"/>
                        <a:pt x="162460" y="78048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Freihandform: Form 47">
                  <a:extLst>
                    <a:ext uri="{FF2B5EF4-FFF2-40B4-BE49-F238E27FC236}">
                      <a16:creationId xmlns:a16="http://schemas.microsoft.com/office/drawing/2014/main" id="{BDD14681-8651-97EE-2A0B-95B9D82F2D48}"/>
                    </a:ext>
                  </a:extLst>
                </p:cNvPr>
                <p:cNvSpPr/>
                <p:nvPr/>
              </p:nvSpPr>
              <p:spPr>
                <a:xfrm>
                  <a:off x="4111397" y="1096260"/>
                  <a:ext cx="303234" cy="228272"/>
                </a:xfrm>
                <a:custGeom>
                  <a:avLst/>
                  <a:gdLst>
                    <a:gd name="connsiteX0" fmla="*/ 53 w 303234"/>
                    <a:gd name="connsiteY0" fmla="*/ 60570 h 228272"/>
                    <a:gd name="connsiteX1" fmla="*/ 200841 w 303234"/>
                    <a:gd name="connsiteY1" fmla="*/ 213732 h 228272"/>
                    <a:gd name="connsiteX2" fmla="*/ 303234 w 303234"/>
                    <a:gd name="connsiteY2" fmla="*/ 224210 h 228272"/>
                    <a:gd name="connsiteX3" fmla="*/ 277993 w 303234"/>
                    <a:gd name="connsiteY3" fmla="*/ 131151 h 228272"/>
                    <a:gd name="connsiteX4" fmla="*/ 53 w 303234"/>
                    <a:gd name="connsiteY4" fmla="*/ 60570 h 2282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3234" h="228272">
                      <a:moveTo>
                        <a:pt x="53" y="60570"/>
                      </a:moveTo>
                      <a:cubicBezTo>
                        <a:pt x="-2804" y="127245"/>
                        <a:pt x="109400" y="189063"/>
                        <a:pt x="200841" y="213732"/>
                      </a:cubicBezTo>
                      <a:cubicBezTo>
                        <a:pt x="292281" y="238402"/>
                        <a:pt x="303234" y="224210"/>
                        <a:pt x="303234" y="224210"/>
                      </a:cubicBezTo>
                      <a:cubicBezTo>
                        <a:pt x="303234" y="224210"/>
                        <a:pt x="280660" y="216018"/>
                        <a:pt x="277993" y="131151"/>
                      </a:cubicBezTo>
                      <a:cubicBezTo>
                        <a:pt x="274945" y="35139"/>
                        <a:pt x="115973" y="-68874"/>
                        <a:pt x="53" y="60570"/>
                      </a:cubicBezTo>
                      <a:close/>
                    </a:path>
                  </a:pathLst>
                </a:custGeom>
                <a:solidFill>
                  <a:srgbClr val="4B2E1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44" name="Grafik 427">
                <a:extLst>
                  <a:ext uri="{FF2B5EF4-FFF2-40B4-BE49-F238E27FC236}">
                    <a16:creationId xmlns:a16="http://schemas.microsoft.com/office/drawing/2014/main" id="{BC8EA402-C21C-BE16-9008-3CF298F4050E}"/>
                  </a:ext>
                </a:extLst>
              </p:cNvPr>
              <p:cNvGrpSpPr/>
              <p:nvPr/>
            </p:nvGrpSpPr>
            <p:grpSpPr>
              <a:xfrm>
                <a:off x="4084399" y="1393526"/>
                <a:ext cx="284321" cy="21526"/>
                <a:chOff x="4084399" y="1393526"/>
                <a:chExt cx="284321" cy="21526"/>
              </a:xfrm>
              <a:solidFill>
                <a:srgbClr val="FFFFFF"/>
              </a:solidFill>
            </p:grpSpPr>
            <p:sp>
              <p:nvSpPr>
                <p:cNvPr id="45" name="Freihandform: Form 44">
                  <a:extLst>
                    <a:ext uri="{FF2B5EF4-FFF2-40B4-BE49-F238E27FC236}">
                      <a16:creationId xmlns:a16="http://schemas.microsoft.com/office/drawing/2014/main" id="{1C59B3AB-D9D6-EC9E-F12C-C2A8F2B6C9D6}"/>
                    </a:ext>
                  </a:extLst>
                </p:cNvPr>
                <p:cNvSpPr/>
                <p:nvPr/>
              </p:nvSpPr>
              <p:spPr>
                <a:xfrm>
                  <a:off x="4084399" y="1393526"/>
                  <a:ext cx="21526" cy="21526"/>
                </a:xfrm>
                <a:custGeom>
                  <a:avLst/>
                  <a:gdLst>
                    <a:gd name="connsiteX0" fmla="*/ 21526 w 21526"/>
                    <a:gd name="connsiteY0" fmla="*/ 10763 h 21526"/>
                    <a:gd name="connsiteX1" fmla="*/ 10763 w 21526"/>
                    <a:gd name="connsiteY1" fmla="*/ 21527 h 21526"/>
                    <a:gd name="connsiteX2" fmla="*/ 0 w 21526"/>
                    <a:gd name="connsiteY2" fmla="*/ 10763 h 21526"/>
                    <a:gd name="connsiteX3" fmla="*/ 10763 w 21526"/>
                    <a:gd name="connsiteY3" fmla="*/ 0 h 21526"/>
                    <a:gd name="connsiteX4" fmla="*/ 21526 w 21526"/>
                    <a:gd name="connsiteY4" fmla="*/ 10763 h 21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526" h="21526">
                      <a:moveTo>
                        <a:pt x="21526" y="10763"/>
                      </a:moveTo>
                      <a:cubicBezTo>
                        <a:pt x="21526" y="16708"/>
                        <a:pt x="16708" y="21527"/>
                        <a:pt x="10763" y="21527"/>
                      </a:cubicBezTo>
                      <a:cubicBezTo>
                        <a:pt x="4819" y="21527"/>
                        <a:pt x="0" y="16708"/>
                        <a:pt x="0" y="10763"/>
                      </a:cubicBezTo>
                      <a:cubicBezTo>
                        <a:pt x="0" y="4819"/>
                        <a:pt x="4819" y="0"/>
                        <a:pt x="10763" y="0"/>
                      </a:cubicBezTo>
                      <a:cubicBezTo>
                        <a:pt x="16708" y="0"/>
                        <a:pt x="21526" y="4819"/>
                        <a:pt x="21526" y="1076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ihandform: Form 45">
                  <a:extLst>
                    <a:ext uri="{FF2B5EF4-FFF2-40B4-BE49-F238E27FC236}">
                      <a16:creationId xmlns:a16="http://schemas.microsoft.com/office/drawing/2014/main" id="{2C8FC2C8-1474-8568-7E76-81824C1FFDB5}"/>
                    </a:ext>
                  </a:extLst>
                </p:cNvPr>
                <p:cNvSpPr/>
                <p:nvPr/>
              </p:nvSpPr>
              <p:spPr>
                <a:xfrm>
                  <a:off x="4347194" y="1393526"/>
                  <a:ext cx="21526" cy="21526"/>
                </a:xfrm>
                <a:custGeom>
                  <a:avLst/>
                  <a:gdLst>
                    <a:gd name="connsiteX0" fmla="*/ 21527 w 21526"/>
                    <a:gd name="connsiteY0" fmla="*/ 10763 h 21526"/>
                    <a:gd name="connsiteX1" fmla="*/ 10763 w 21526"/>
                    <a:gd name="connsiteY1" fmla="*/ 21527 h 21526"/>
                    <a:gd name="connsiteX2" fmla="*/ 0 w 21526"/>
                    <a:gd name="connsiteY2" fmla="*/ 10763 h 21526"/>
                    <a:gd name="connsiteX3" fmla="*/ 10763 w 21526"/>
                    <a:gd name="connsiteY3" fmla="*/ 0 h 21526"/>
                    <a:gd name="connsiteX4" fmla="*/ 21527 w 21526"/>
                    <a:gd name="connsiteY4" fmla="*/ 10763 h 21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526" h="21526">
                      <a:moveTo>
                        <a:pt x="21527" y="10763"/>
                      </a:moveTo>
                      <a:cubicBezTo>
                        <a:pt x="21527" y="16708"/>
                        <a:pt x="16708" y="21527"/>
                        <a:pt x="10763" y="21527"/>
                      </a:cubicBezTo>
                      <a:cubicBezTo>
                        <a:pt x="4819" y="21527"/>
                        <a:pt x="0" y="16708"/>
                        <a:pt x="0" y="10763"/>
                      </a:cubicBezTo>
                      <a:cubicBezTo>
                        <a:pt x="0" y="4819"/>
                        <a:pt x="4819" y="0"/>
                        <a:pt x="10763" y="0"/>
                      </a:cubicBezTo>
                      <a:cubicBezTo>
                        <a:pt x="16708" y="0"/>
                        <a:pt x="21527" y="4819"/>
                        <a:pt x="21527" y="1076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1C08B512-59A0-FBBD-0B41-D6EAA8B6D722}"/>
                </a:ext>
              </a:extLst>
            </p:cNvPr>
            <p:cNvSpPr/>
            <p:nvPr/>
          </p:nvSpPr>
          <p:spPr>
            <a:xfrm>
              <a:off x="4846018" y="2571674"/>
              <a:ext cx="191643" cy="8572"/>
            </a:xfrm>
            <a:custGeom>
              <a:avLst/>
              <a:gdLst>
                <a:gd name="connsiteX0" fmla="*/ 191643 w 191643"/>
                <a:gd name="connsiteY0" fmla="*/ 8572 h 8572"/>
                <a:gd name="connsiteX1" fmla="*/ 0 w 191643"/>
                <a:gd name="connsiteY1" fmla="*/ 8572 h 8572"/>
                <a:gd name="connsiteX2" fmla="*/ 95821 w 191643"/>
                <a:gd name="connsiteY2" fmla="*/ 0 h 8572"/>
                <a:gd name="connsiteX3" fmla="*/ 191643 w 191643"/>
                <a:gd name="connsiteY3" fmla="*/ 8572 h 8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1643" h="8572">
                  <a:moveTo>
                    <a:pt x="191643" y="8572"/>
                  </a:moveTo>
                  <a:lnTo>
                    <a:pt x="0" y="8572"/>
                  </a:lnTo>
                  <a:cubicBezTo>
                    <a:pt x="31052" y="2953"/>
                    <a:pt x="63151" y="0"/>
                    <a:pt x="95821" y="0"/>
                  </a:cubicBezTo>
                  <a:cubicBezTo>
                    <a:pt x="128492" y="0"/>
                    <a:pt x="160592" y="2953"/>
                    <a:pt x="191643" y="8572"/>
                  </a:cubicBezTo>
                  <a:close/>
                </a:path>
              </a:pathLst>
            </a:custGeom>
            <a:solidFill>
              <a:srgbClr val="00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9BAAC48A-0A32-29AC-D9DB-6757C4CE3535}"/>
                </a:ext>
              </a:extLst>
            </p:cNvPr>
            <p:cNvSpPr/>
            <p:nvPr/>
          </p:nvSpPr>
          <p:spPr>
            <a:xfrm>
              <a:off x="4070683" y="1783385"/>
              <a:ext cx="529018" cy="796861"/>
            </a:xfrm>
            <a:custGeom>
              <a:avLst/>
              <a:gdLst>
                <a:gd name="connsiteX0" fmla="*/ 0 w 529018"/>
                <a:gd name="connsiteY0" fmla="*/ 796861 h 796861"/>
                <a:gd name="connsiteX1" fmla="*/ 19526 w 529018"/>
                <a:gd name="connsiteY1" fmla="*/ 704755 h 796861"/>
                <a:gd name="connsiteX2" fmla="*/ 75438 w 529018"/>
                <a:gd name="connsiteY2" fmla="*/ 439388 h 796861"/>
                <a:gd name="connsiteX3" fmla="*/ 91059 w 529018"/>
                <a:gd name="connsiteY3" fmla="*/ 364427 h 796861"/>
                <a:gd name="connsiteX4" fmla="*/ 94393 w 529018"/>
                <a:gd name="connsiteY4" fmla="*/ 348710 h 796861"/>
                <a:gd name="connsiteX5" fmla="*/ 99250 w 529018"/>
                <a:gd name="connsiteY5" fmla="*/ 324993 h 796861"/>
                <a:gd name="connsiteX6" fmla="*/ 99441 w 529018"/>
                <a:gd name="connsiteY6" fmla="*/ 324231 h 796861"/>
                <a:gd name="connsiteX7" fmla="*/ 116300 w 529018"/>
                <a:gd name="connsiteY7" fmla="*/ 241744 h 796861"/>
                <a:gd name="connsiteX8" fmla="*/ 225742 w 529018"/>
                <a:gd name="connsiteY8" fmla="*/ 1143 h 796861"/>
                <a:gd name="connsiteX9" fmla="*/ 226981 w 529018"/>
                <a:gd name="connsiteY9" fmla="*/ 0 h 796861"/>
                <a:gd name="connsiteX10" fmla="*/ 529019 w 529018"/>
                <a:gd name="connsiteY10" fmla="*/ 177165 h 796861"/>
                <a:gd name="connsiteX11" fmla="*/ 496253 w 529018"/>
                <a:gd name="connsiteY11" fmla="*/ 324231 h 796861"/>
                <a:gd name="connsiteX12" fmla="*/ 496253 w 529018"/>
                <a:gd name="connsiteY12" fmla="*/ 324993 h 796861"/>
                <a:gd name="connsiteX13" fmla="*/ 487299 w 529018"/>
                <a:gd name="connsiteY13" fmla="*/ 364427 h 796861"/>
                <a:gd name="connsiteX14" fmla="*/ 456914 w 529018"/>
                <a:gd name="connsiteY14" fmla="*/ 501206 h 796861"/>
                <a:gd name="connsiteX15" fmla="*/ 391096 w 529018"/>
                <a:gd name="connsiteY15" fmla="*/ 796861 h 796861"/>
                <a:gd name="connsiteX16" fmla="*/ 20383 w 529018"/>
                <a:gd name="connsiteY16" fmla="*/ 796861 h 79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29018" h="796861">
                  <a:moveTo>
                    <a:pt x="0" y="796861"/>
                  </a:moveTo>
                  <a:cubicBezTo>
                    <a:pt x="5525" y="770858"/>
                    <a:pt x="12192" y="739521"/>
                    <a:pt x="19526" y="704755"/>
                  </a:cubicBezTo>
                  <a:cubicBezTo>
                    <a:pt x="36100" y="626840"/>
                    <a:pt x="56198" y="531400"/>
                    <a:pt x="75438" y="439388"/>
                  </a:cubicBezTo>
                  <a:cubicBezTo>
                    <a:pt x="80772" y="413957"/>
                    <a:pt x="86011" y="388906"/>
                    <a:pt x="91059" y="364427"/>
                  </a:cubicBezTo>
                  <a:cubicBezTo>
                    <a:pt x="92202" y="359188"/>
                    <a:pt x="93250" y="353949"/>
                    <a:pt x="94393" y="348710"/>
                  </a:cubicBezTo>
                  <a:cubicBezTo>
                    <a:pt x="96012" y="340709"/>
                    <a:pt x="97631" y="332803"/>
                    <a:pt x="99250" y="324993"/>
                  </a:cubicBezTo>
                  <a:cubicBezTo>
                    <a:pt x="99250" y="324707"/>
                    <a:pt x="99250" y="324421"/>
                    <a:pt x="99441" y="324231"/>
                  </a:cubicBezTo>
                  <a:cubicBezTo>
                    <a:pt x="105442" y="294989"/>
                    <a:pt x="111157" y="267271"/>
                    <a:pt x="116300" y="241744"/>
                  </a:cubicBezTo>
                  <a:cubicBezTo>
                    <a:pt x="150019" y="75628"/>
                    <a:pt x="215932" y="10096"/>
                    <a:pt x="225742" y="1143"/>
                  </a:cubicBezTo>
                  <a:cubicBezTo>
                    <a:pt x="226219" y="762"/>
                    <a:pt x="226600" y="286"/>
                    <a:pt x="226981" y="0"/>
                  </a:cubicBezTo>
                  <a:cubicBezTo>
                    <a:pt x="226981" y="0"/>
                    <a:pt x="391573" y="68104"/>
                    <a:pt x="529019" y="177165"/>
                  </a:cubicBezTo>
                  <a:lnTo>
                    <a:pt x="496253" y="324231"/>
                  </a:lnTo>
                  <a:lnTo>
                    <a:pt x="496253" y="324993"/>
                  </a:lnTo>
                  <a:lnTo>
                    <a:pt x="487299" y="364427"/>
                  </a:lnTo>
                  <a:lnTo>
                    <a:pt x="456914" y="501206"/>
                  </a:lnTo>
                  <a:lnTo>
                    <a:pt x="391096" y="796861"/>
                  </a:lnTo>
                  <a:lnTo>
                    <a:pt x="20383" y="796861"/>
                  </a:lnTo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113576BC-20A2-5E5E-7727-58637809B384}"/>
                </a:ext>
              </a:extLst>
            </p:cNvPr>
            <p:cNvSpPr/>
            <p:nvPr/>
          </p:nvSpPr>
          <p:spPr>
            <a:xfrm>
              <a:off x="4759341" y="1217640"/>
              <a:ext cx="339089" cy="551732"/>
            </a:xfrm>
            <a:custGeom>
              <a:avLst/>
              <a:gdLst>
                <a:gd name="connsiteX0" fmla="*/ 0 w 339089"/>
                <a:gd name="connsiteY0" fmla="*/ 478400 h 551732"/>
                <a:gd name="connsiteX1" fmla="*/ 339090 w 339089"/>
                <a:gd name="connsiteY1" fmla="*/ 478400 h 551732"/>
                <a:gd name="connsiteX2" fmla="*/ 339090 w 339089"/>
                <a:gd name="connsiteY2" fmla="*/ 119403 h 551732"/>
                <a:gd name="connsiteX3" fmla="*/ 0 w 339089"/>
                <a:gd name="connsiteY3" fmla="*/ 119403 h 551732"/>
                <a:gd name="connsiteX4" fmla="*/ 0 w 339089"/>
                <a:gd name="connsiteY4" fmla="*/ 478400 h 551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089" h="551732">
                  <a:moveTo>
                    <a:pt x="0" y="478400"/>
                  </a:moveTo>
                  <a:cubicBezTo>
                    <a:pt x="58960" y="575460"/>
                    <a:pt x="269653" y="576889"/>
                    <a:pt x="339090" y="478400"/>
                  </a:cubicBezTo>
                  <a:lnTo>
                    <a:pt x="339090" y="119403"/>
                  </a:lnTo>
                  <a:cubicBezTo>
                    <a:pt x="339090" y="-34616"/>
                    <a:pt x="0" y="-44903"/>
                    <a:pt x="0" y="119403"/>
                  </a:cubicBezTo>
                  <a:lnTo>
                    <a:pt x="0" y="478400"/>
                  </a:lnTo>
                  <a:close/>
                </a:path>
              </a:pathLst>
            </a:custGeom>
            <a:solidFill>
              <a:srgbClr val="F9D9D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9D1E53A0-A1F0-7D95-19D7-49A858AAF2D2}"/>
                </a:ext>
              </a:extLst>
            </p:cNvPr>
            <p:cNvSpPr/>
            <p:nvPr/>
          </p:nvSpPr>
          <p:spPr>
            <a:xfrm>
              <a:off x="4759341" y="1217452"/>
              <a:ext cx="339089" cy="478835"/>
            </a:xfrm>
            <a:custGeom>
              <a:avLst/>
              <a:gdLst>
                <a:gd name="connsiteX0" fmla="*/ 339090 w 339089"/>
                <a:gd name="connsiteY0" fmla="*/ 478588 h 478835"/>
                <a:gd name="connsiteX1" fmla="*/ 339090 w 339089"/>
                <a:gd name="connsiteY1" fmla="*/ 119591 h 478835"/>
                <a:gd name="connsiteX2" fmla="*/ 0 w 339089"/>
                <a:gd name="connsiteY2" fmla="*/ 119591 h 478835"/>
                <a:gd name="connsiteX3" fmla="*/ 0 w 339089"/>
                <a:gd name="connsiteY3" fmla="*/ 218080 h 478835"/>
                <a:gd name="connsiteX4" fmla="*/ 226695 w 339089"/>
                <a:gd name="connsiteY4" fmla="*/ 279040 h 478835"/>
                <a:gd name="connsiteX5" fmla="*/ 301561 w 339089"/>
                <a:gd name="connsiteY5" fmla="*/ 340000 h 478835"/>
                <a:gd name="connsiteX6" fmla="*/ 339090 w 339089"/>
                <a:gd name="connsiteY6" fmla="*/ 478588 h 478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9089" h="478835">
                  <a:moveTo>
                    <a:pt x="339090" y="478588"/>
                  </a:moveTo>
                  <a:lnTo>
                    <a:pt x="339090" y="119591"/>
                  </a:lnTo>
                  <a:cubicBezTo>
                    <a:pt x="335471" y="-37857"/>
                    <a:pt x="0" y="-41858"/>
                    <a:pt x="0" y="119591"/>
                  </a:cubicBezTo>
                  <a:lnTo>
                    <a:pt x="0" y="218080"/>
                  </a:lnTo>
                  <a:cubicBezTo>
                    <a:pt x="36195" y="259323"/>
                    <a:pt x="121444" y="311425"/>
                    <a:pt x="226695" y="279040"/>
                  </a:cubicBezTo>
                  <a:cubicBezTo>
                    <a:pt x="258794" y="269134"/>
                    <a:pt x="319468" y="290851"/>
                    <a:pt x="301561" y="340000"/>
                  </a:cubicBezTo>
                  <a:cubicBezTo>
                    <a:pt x="271939" y="421248"/>
                    <a:pt x="335851" y="483256"/>
                    <a:pt x="339090" y="478588"/>
                  </a:cubicBezTo>
                  <a:close/>
                </a:path>
              </a:pathLst>
            </a:custGeom>
            <a:solidFill>
              <a:srgbClr val="F2BB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CE11FCEB-19F0-BC98-DB45-5A7D9DC40442}"/>
                </a:ext>
              </a:extLst>
            </p:cNvPr>
            <p:cNvSpPr/>
            <p:nvPr/>
          </p:nvSpPr>
          <p:spPr>
            <a:xfrm>
              <a:off x="5126815" y="2451278"/>
              <a:ext cx="649033" cy="128968"/>
            </a:xfrm>
            <a:custGeom>
              <a:avLst/>
              <a:gdLst>
                <a:gd name="connsiteX0" fmla="*/ 0 w 649033"/>
                <a:gd name="connsiteY0" fmla="*/ 128968 h 128968"/>
                <a:gd name="connsiteX1" fmla="*/ 2857 w 649033"/>
                <a:gd name="connsiteY1" fmla="*/ 65151 h 128968"/>
                <a:gd name="connsiteX2" fmla="*/ 324707 w 649033"/>
                <a:gd name="connsiteY2" fmla="*/ 32575 h 128968"/>
                <a:gd name="connsiteX3" fmla="*/ 390430 w 649033"/>
                <a:gd name="connsiteY3" fmla="*/ 25908 h 128968"/>
                <a:gd name="connsiteX4" fmla="*/ 430720 w 649033"/>
                <a:gd name="connsiteY4" fmla="*/ 21812 h 128968"/>
                <a:gd name="connsiteX5" fmla="*/ 631031 w 649033"/>
                <a:gd name="connsiteY5" fmla="*/ 1619 h 128968"/>
                <a:gd name="connsiteX6" fmla="*/ 633508 w 649033"/>
                <a:gd name="connsiteY6" fmla="*/ 1333 h 128968"/>
                <a:gd name="connsiteX7" fmla="*/ 644938 w 649033"/>
                <a:gd name="connsiteY7" fmla="*/ 190 h 128968"/>
                <a:gd name="connsiteX8" fmla="*/ 646557 w 649033"/>
                <a:gd name="connsiteY8" fmla="*/ 0 h 128968"/>
                <a:gd name="connsiteX9" fmla="*/ 649034 w 649033"/>
                <a:gd name="connsiteY9" fmla="*/ 128968 h 128968"/>
                <a:gd name="connsiteX10" fmla="*/ 0 w 649033"/>
                <a:gd name="connsiteY10" fmla="*/ 128968 h 12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49033" h="128968">
                  <a:moveTo>
                    <a:pt x="0" y="128968"/>
                  </a:moveTo>
                  <a:lnTo>
                    <a:pt x="2857" y="65151"/>
                  </a:lnTo>
                  <a:lnTo>
                    <a:pt x="324707" y="32575"/>
                  </a:lnTo>
                  <a:lnTo>
                    <a:pt x="390430" y="25908"/>
                  </a:lnTo>
                  <a:lnTo>
                    <a:pt x="430720" y="21812"/>
                  </a:lnTo>
                  <a:lnTo>
                    <a:pt x="631031" y="1619"/>
                  </a:lnTo>
                  <a:cubicBezTo>
                    <a:pt x="631793" y="1619"/>
                    <a:pt x="632651" y="1429"/>
                    <a:pt x="633508" y="1333"/>
                  </a:cubicBezTo>
                  <a:lnTo>
                    <a:pt x="644938" y="190"/>
                  </a:lnTo>
                  <a:cubicBezTo>
                    <a:pt x="645509" y="95"/>
                    <a:pt x="646081" y="95"/>
                    <a:pt x="646557" y="0"/>
                  </a:cubicBezTo>
                  <a:cubicBezTo>
                    <a:pt x="646557" y="0"/>
                    <a:pt x="646557" y="50863"/>
                    <a:pt x="649034" y="128968"/>
                  </a:cubicBezTo>
                  <a:lnTo>
                    <a:pt x="0" y="128968"/>
                  </a:lnTo>
                  <a:close/>
                </a:path>
              </a:pathLst>
            </a:custGeom>
            <a:solidFill>
              <a:srgbClr val="00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B71CCCE8-F3C9-6378-1770-0443EE8E40CD}"/>
                </a:ext>
              </a:extLst>
            </p:cNvPr>
            <p:cNvSpPr/>
            <p:nvPr/>
          </p:nvSpPr>
          <p:spPr>
            <a:xfrm>
              <a:off x="5297408" y="1858537"/>
              <a:ext cx="652272" cy="721709"/>
            </a:xfrm>
            <a:custGeom>
              <a:avLst/>
              <a:gdLst>
                <a:gd name="connsiteX0" fmla="*/ 652272 w 652272"/>
                <a:gd name="connsiteY0" fmla="*/ 705517 h 721709"/>
                <a:gd name="connsiteX1" fmla="*/ 614744 w 652272"/>
                <a:gd name="connsiteY1" fmla="*/ 721709 h 721709"/>
                <a:gd name="connsiteX2" fmla="*/ 267367 w 652272"/>
                <a:gd name="connsiteY2" fmla="*/ 721709 h 721709"/>
                <a:gd name="connsiteX3" fmla="*/ 260128 w 652272"/>
                <a:gd name="connsiteY3" fmla="*/ 705898 h 721709"/>
                <a:gd name="connsiteX4" fmla="*/ 219837 w 652272"/>
                <a:gd name="connsiteY4" fmla="*/ 618649 h 721709"/>
                <a:gd name="connsiteX5" fmla="*/ 166973 w 652272"/>
                <a:gd name="connsiteY5" fmla="*/ 504158 h 721709"/>
                <a:gd name="connsiteX6" fmla="*/ 130969 w 652272"/>
                <a:gd name="connsiteY6" fmla="*/ 426053 h 721709"/>
                <a:gd name="connsiteX7" fmla="*/ 2191 w 652272"/>
                <a:gd name="connsiteY7" fmla="*/ 147161 h 721709"/>
                <a:gd name="connsiteX8" fmla="*/ 0 w 652272"/>
                <a:gd name="connsiteY8" fmla="*/ 142399 h 721709"/>
                <a:gd name="connsiteX9" fmla="*/ 225743 w 652272"/>
                <a:gd name="connsiteY9" fmla="*/ 45625 h 721709"/>
                <a:gd name="connsiteX10" fmla="*/ 333470 w 652272"/>
                <a:gd name="connsiteY10" fmla="*/ 0 h 721709"/>
                <a:gd name="connsiteX11" fmla="*/ 333566 w 652272"/>
                <a:gd name="connsiteY11" fmla="*/ 0 h 721709"/>
                <a:gd name="connsiteX12" fmla="*/ 641795 w 652272"/>
                <a:gd name="connsiteY12" fmla="*/ 683419 h 721709"/>
                <a:gd name="connsiteX13" fmla="*/ 642080 w 652272"/>
                <a:gd name="connsiteY13" fmla="*/ 683990 h 721709"/>
                <a:gd name="connsiteX14" fmla="*/ 652081 w 652272"/>
                <a:gd name="connsiteY14" fmla="*/ 705136 h 721709"/>
                <a:gd name="connsiteX15" fmla="*/ 652272 w 652272"/>
                <a:gd name="connsiteY15" fmla="*/ 705517 h 721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52272" h="721709">
                  <a:moveTo>
                    <a:pt x="652272" y="705517"/>
                  </a:moveTo>
                  <a:lnTo>
                    <a:pt x="614744" y="721709"/>
                  </a:lnTo>
                  <a:lnTo>
                    <a:pt x="267367" y="721709"/>
                  </a:lnTo>
                  <a:lnTo>
                    <a:pt x="260128" y="705898"/>
                  </a:lnTo>
                  <a:lnTo>
                    <a:pt x="219837" y="618649"/>
                  </a:lnTo>
                  <a:lnTo>
                    <a:pt x="166973" y="504158"/>
                  </a:lnTo>
                  <a:lnTo>
                    <a:pt x="130969" y="426053"/>
                  </a:lnTo>
                  <a:lnTo>
                    <a:pt x="2191" y="147161"/>
                  </a:lnTo>
                  <a:cubicBezTo>
                    <a:pt x="1429" y="145542"/>
                    <a:pt x="667" y="144018"/>
                    <a:pt x="0" y="142399"/>
                  </a:cubicBezTo>
                  <a:cubicBezTo>
                    <a:pt x="0" y="142399"/>
                    <a:pt x="95155" y="101155"/>
                    <a:pt x="225743" y="45625"/>
                  </a:cubicBezTo>
                  <a:cubicBezTo>
                    <a:pt x="259652" y="31242"/>
                    <a:pt x="295846" y="15907"/>
                    <a:pt x="333470" y="0"/>
                  </a:cubicBezTo>
                  <a:lnTo>
                    <a:pt x="333566" y="0"/>
                  </a:lnTo>
                  <a:cubicBezTo>
                    <a:pt x="408337" y="187643"/>
                    <a:pt x="595598" y="585692"/>
                    <a:pt x="641795" y="683419"/>
                  </a:cubicBezTo>
                  <a:cubicBezTo>
                    <a:pt x="641795" y="683609"/>
                    <a:pt x="642080" y="683800"/>
                    <a:pt x="642080" y="683990"/>
                  </a:cubicBezTo>
                  <a:cubicBezTo>
                    <a:pt x="647795" y="696087"/>
                    <a:pt x="651320" y="703516"/>
                    <a:pt x="652081" y="705136"/>
                  </a:cubicBezTo>
                  <a:cubicBezTo>
                    <a:pt x="652081" y="705231"/>
                    <a:pt x="652272" y="705422"/>
                    <a:pt x="652272" y="705517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DF15573F-FBFE-8201-2945-26E27A2EBBE5}"/>
                </a:ext>
              </a:extLst>
            </p:cNvPr>
            <p:cNvSpPr/>
            <p:nvPr/>
          </p:nvSpPr>
          <p:spPr>
            <a:xfrm>
              <a:off x="5612400" y="2450976"/>
              <a:ext cx="342804" cy="129269"/>
            </a:xfrm>
            <a:custGeom>
              <a:avLst/>
              <a:gdLst>
                <a:gd name="connsiteX0" fmla="*/ 342805 w 342804"/>
                <a:gd name="connsiteY0" fmla="*/ 129270 h 129269"/>
                <a:gd name="connsiteX1" fmla="*/ 0 w 342804"/>
                <a:gd name="connsiteY1" fmla="*/ 129270 h 129269"/>
                <a:gd name="connsiteX2" fmla="*/ 102489 w 342804"/>
                <a:gd name="connsiteY2" fmla="*/ 13922 h 129269"/>
                <a:gd name="connsiteX3" fmla="*/ 145447 w 342804"/>
                <a:gd name="connsiteY3" fmla="*/ 1920 h 129269"/>
                <a:gd name="connsiteX4" fmla="*/ 147923 w 342804"/>
                <a:gd name="connsiteY4" fmla="*/ 1635 h 129269"/>
                <a:gd name="connsiteX5" fmla="*/ 159353 w 342804"/>
                <a:gd name="connsiteY5" fmla="*/ 492 h 129269"/>
                <a:gd name="connsiteX6" fmla="*/ 160972 w 342804"/>
                <a:gd name="connsiteY6" fmla="*/ 301 h 129269"/>
                <a:gd name="connsiteX7" fmla="*/ 326803 w 342804"/>
                <a:gd name="connsiteY7" fmla="*/ 90979 h 129269"/>
                <a:gd name="connsiteX8" fmla="*/ 327088 w 342804"/>
                <a:gd name="connsiteY8" fmla="*/ 91551 h 129269"/>
                <a:gd name="connsiteX9" fmla="*/ 335852 w 342804"/>
                <a:gd name="connsiteY9" fmla="*/ 109458 h 129269"/>
                <a:gd name="connsiteX10" fmla="*/ 337090 w 342804"/>
                <a:gd name="connsiteY10" fmla="*/ 112696 h 129269"/>
                <a:gd name="connsiteX11" fmla="*/ 337280 w 342804"/>
                <a:gd name="connsiteY11" fmla="*/ 113077 h 129269"/>
                <a:gd name="connsiteX12" fmla="*/ 342805 w 342804"/>
                <a:gd name="connsiteY12" fmla="*/ 129270 h 129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2804" h="129269">
                  <a:moveTo>
                    <a:pt x="342805" y="129270"/>
                  </a:moveTo>
                  <a:lnTo>
                    <a:pt x="0" y="129270"/>
                  </a:lnTo>
                  <a:cubicBezTo>
                    <a:pt x="14383" y="79073"/>
                    <a:pt x="50578" y="35639"/>
                    <a:pt x="102489" y="13922"/>
                  </a:cubicBezTo>
                  <a:cubicBezTo>
                    <a:pt x="116586" y="8016"/>
                    <a:pt x="130969" y="4111"/>
                    <a:pt x="145447" y="1920"/>
                  </a:cubicBezTo>
                  <a:cubicBezTo>
                    <a:pt x="146209" y="1920"/>
                    <a:pt x="147066" y="1730"/>
                    <a:pt x="147923" y="1635"/>
                  </a:cubicBezTo>
                  <a:lnTo>
                    <a:pt x="159353" y="492"/>
                  </a:lnTo>
                  <a:cubicBezTo>
                    <a:pt x="159925" y="396"/>
                    <a:pt x="160496" y="396"/>
                    <a:pt x="160972" y="301"/>
                  </a:cubicBezTo>
                  <a:cubicBezTo>
                    <a:pt x="227838" y="-3604"/>
                    <a:pt x="292989" y="30686"/>
                    <a:pt x="326803" y="90979"/>
                  </a:cubicBezTo>
                  <a:cubicBezTo>
                    <a:pt x="326803" y="91170"/>
                    <a:pt x="327088" y="91360"/>
                    <a:pt x="327088" y="91551"/>
                  </a:cubicBezTo>
                  <a:cubicBezTo>
                    <a:pt x="330327" y="97266"/>
                    <a:pt x="333280" y="103266"/>
                    <a:pt x="335852" y="109458"/>
                  </a:cubicBezTo>
                  <a:cubicBezTo>
                    <a:pt x="336328" y="110505"/>
                    <a:pt x="336709" y="111648"/>
                    <a:pt x="337090" y="112696"/>
                  </a:cubicBezTo>
                  <a:cubicBezTo>
                    <a:pt x="337090" y="112791"/>
                    <a:pt x="337280" y="112982"/>
                    <a:pt x="337280" y="113077"/>
                  </a:cubicBezTo>
                  <a:cubicBezTo>
                    <a:pt x="339471" y="118411"/>
                    <a:pt x="341281" y="123840"/>
                    <a:pt x="342805" y="129270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8A13AFD-A1FE-4469-3E5A-0F7249677CC6}"/>
                </a:ext>
              </a:extLst>
            </p:cNvPr>
            <p:cNvSpPr/>
            <p:nvPr/>
          </p:nvSpPr>
          <p:spPr>
            <a:xfrm>
              <a:off x="4297664" y="1600695"/>
              <a:ext cx="1245298" cy="979550"/>
            </a:xfrm>
            <a:custGeom>
              <a:avLst/>
              <a:gdLst>
                <a:gd name="connsiteX0" fmla="*/ 1245298 w 1245298"/>
                <a:gd name="connsiteY0" fmla="*/ 162973 h 979550"/>
                <a:gd name="connsiteX1" fmla="*/ 1225487 w 1245298"/>
                <a:gd name="connsiteY1" fmla="*/ 303467 h 979550"/>
                <a:gd name="connsiteX2" fmla="*/ 1198531 w 1245298"/>
                <a:gd name="connsiteY2" fmla="*/ 503777 h 979550"/>
                <a:gd name="connsiteX3" fmla="*/ 1175385 w 1245298"/>
                <a:gd name="connsiteY3" fmla="*/ 688181 h 979550"/>
                <a:gd name="connsiteX4" fmla="*/ 1166717 w 1245298"/>
                <a:gd name="connsiteY4" fmla="*/ 762000 h 979550"/>
                <a:gd name="connsiteX5" fmla="*/ 1153859 w 1245298"/>
                <a:gd name="connsiteY5" fmla="*/ 883158 h 979550"/>
                <a:gd name="connsiteX6" fmla="*/ 1145953 w 1245298"/>
                <a:gd name="connsiteY6" fmla="*/ 979551 h 979550"/>
                <a:gd name="connsiteX7" fmla="*/ 128873 w 1245298"/>
                <a:gd name="connsiteY7" fmla="*/ 979551 h 979550"/>
                <a:gd name="connsiteX8" fmla="*/ 95821 w 1245298"/>
                <a:gd name="connsiteY8" fmla="*/ 775621 h 979550"/>
                <a:gd name="connsiteX9" fmla="*/ 58960 w 1245298"/>
                <a:gd name="connsiteY9" fmla="*/ 547116 h 979550"/>
                <a:gd name="connsiteX10" fmla="*/ 52578 w 1245298"/>
                <a:gd name="connsiteY10" fmla="*/ 507683 h 979550"/>
                <a:gd name="connsiteX11" fmla="*/ 52388 w 1245298"/>
                <a:gd name="connsiteY11" fmla="*/ 506921 h 979550"/>
                <a:gd name="connsiteX12" fmla="*/ 47244 w 1245298"/>
                <a:gd name="connsiteY12" fmla="*/ 474917 h 979550"/>
                <a:gd name="connsiteX13" fmla="*/ 0 w 1245298"/>
                <a:gd name="connsiteY13" fmla="*/ 182690 h 979550"/>
                <a:gd name="connsiteX14" fmla="*/ 25146 w 1245298"/>
                <a:gd name="connsiteY14" fmla="*/ 162020 h 979550"/>
                <a:gd name="connsiteX15" fmla="*/ 25717 w 1245298"/>
                <a:gd name="connsiteY15" fmla="*/ 161544 h 979550"/>
                <a:gd name="connsiteX16" fmla="*/ 442246 w 1245298"/>
                <a:gd name="connsiteY16" fmla="*/ 5620 h 979550"/>
                <a:gd name="connsiteX17" fmla="*/ 461677 w 1245298"/>
                <a:gd name="connsiteY17" fmla="*/ 0 h 979550"/>
                <a:gd name="connsiteX18" fmla="*/ 687991 w 1245298"/>
                <a:gd name="connsiteY18" fmla="*/ 35242 h 979550"/>
                <a:gd name="connsiteX19" fmla="*/ 727424 w 1245298"/>
                <a:gd name="connsiteY19" fmla="*/ 28384 h 979550"/>
                <a:gd name="connsiteX20" fmla="*/ 757238 w 1245298"/>
                <a:gd name="connsiteY20" fmla="*/ 20765 h 979550"/>
                <a:gd name="connsiteX21" fmla="*/ 800767 w 1245298"/>
                <a:gd name="connsiteY21" fmla="*/ 0 h 979550"/>
                <a:gd name="connsiteX22" fmla="*/ 817340 w 1245298"/>
                <a:gd name="connsiteY22" fmla="*/ 5048 h 979550"/>
                <a:gd name="connsiteX23" fmla="*/ 1240536 w 1245298"/>
                <a:gd name="connsiteY23" fmla="*/ 160687 h 979550"/>
                <a:gd name="connsiteX24" fmla="*/ 1245298 w 1245298"/>
                <a:gd name="connsiteY24" fmla="*/ 162973 h 97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45298" h="979550">
                  <a:moveTo>
                    <a:pt x="1245298" y="162973"/>
                  </a:moveTo>
                  <a:cubicBezTo>
                    <a:pt x="1245298" y="162973"/>
                    <a:pt x="1237202" y="219075"/>
                    <a:pt x="1225487" y="303467"/>
                  </a:cubicBezTo>
                  <a:cubicBezTo>
                    <a:pt x="1217676" y="360236"/>
                    <a:pt x="1208151" y="429863"/>
                    <a:pt x="1198531" y="503777"/>
                  </a:cubicBezTo>
                  <a:cubicBezTo>
                    <a:pt x="1190720" y="563880"/>
                    <a:pt x="1182719" y="626840"/>
                    <a:pt x="1175385" y="688181"/>
                  </a:cubicBezTo>
                  <a:cubicBezTo>
                    <a:pt x="1172337" y="713137"/>
                    <a:pt x="1169480" y="737902"/>
                    <a:pt x="1166717" y="762000"/>
                  </a:cubicBezTo>
                  <a:cubicBezTo>
                    <a:pt x="1161860" y="804863"/>
                    <a:pt x="1157478" y="845820"/>
                    <a:pt x="1153859" y="883158"/>
                  </a:cubicBezTo>
                  <a:cubicBezTo>
                    <a:pt x="1150430" y="919258"/>
                    <a:pt x="1147667" y="951929"/>
                    <a:pt x="1145953" y="979551"/>
                  </a:cubicBezTo>
                  <a:lnTo>
                    <a:pt x="128873" y="979551"/>
                  </a:lnTo>
                  <a:lnTo>
                    <a:pt x="95821" y="775621"/>
                  </a:lnTo>
                  <a:lnTo>
                    <a:pt x="58960" y="547116"/>
                  </a:lnTo>
                  <a:lnTo>
                    <a:pt x="52578" y="507683"/>
                  </a:lnTo>
                  <a:lnTo>
                    <a:pt x="52388" y="506921"/>
                  </a:lnTo>
                  <a:lnTo>
                    <a:pt x="47244" y="474917"/>
                  </a:lnTo>
                  <a:lnTo>
                    <a:pt x="0" y="182690"/>
                  </a:lnTo>
                  <a:cubicBezTo>
                    <a:pt x="7620" y="175546"/>
                    <a:pt x="16097" y="168592"/>
                    <a:pt x="25146" y="162020"/>
                  </a:cubicBezTo>
                  <a:cubicBezTo>
                    <a:pt x="25336" y="161830"/>
                    <a:pt x="25527" y="161734"/>
                    <a:pt x="25717" y="161544"/>
                  </a:cubicBezTo>
                  <a:cubicBezTo>
                    <a:pt x="130111" y="85344"/>
                    <a:pt x="321564" y="39910"/>
                    <a:pt x="442246" y="5620"/>
                  </a:cubicBezTo>
                  <a:cubicBezTo>
                    <a:pt x="448913" y="3715"/>
                    <a:pt x="455390" y="1810"/>
                    <a:pt x="461677" y="0"/>
                  </a:cubicBezTo>
                  <a:cubicBezTo>
                    <a:pt x="518446" y="42767"/>
                    <a:pt x="613029" y="45529"/>
                    <a:pt x="687991" y="35242"/>
                  </a:cubicBezTo>
                  <a:cubicBezTo>
                    <a:pt x="701993" y="33338"/>
                    <a:pt x="715232" y="31051"/>
                    <a:pt x="727424" y="28384"/>
                  </a:cubicBezTo>
                  <a:cubicBezTo>
                    <a:pt x="738283" y="26003"/>
                    <a:pt x="748284" y="23431"/>
                    <a:pt x="757238" y="20765"/>
                  </a:cubicBezTo>
                  <a:cubicBezTo>
                    <a:pt x="780574" y="13811"/>
                    <a:pt x="796576" y="6191"/>
                    <a:pt x="800767" y="0"/>
                  </a:cubicBezTo>
                  <a:cubicBezTo>
                    <a:pt x="806387" y="1715"/>
                    <a:pt x="811911" y="3334"/>
                    <a:pt x="817340" y="5048"/>
                  </a:cubicBezTo>
                  <a:cubicBezTo>
                    <a:pt x="973455" y="52197"/>
                    <a:pt x="1082802" y="84868"/>
                    <a:pt x="1240536" y="160687"/>
                  </a:cubicBezTo>
                  <a:cubicBezTo>
                    <a:pt x="1242060" y="161449"/>
                    <a:pt x="1243679" y="162211"/>
                    <a:pt x="1245298" y="162973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9" name="Grafik 427">
              <a:extLst>
                <a:ext uri="{FF2B5EF4-FFF2-40B4-BE49-F238E27FC236}">
                  <a16:creationId xmlns:a16="http://schemas.microsoft.com/office/drawing/2014/main" id="{0670A30A-0EE5-F1BA-1985-C74BD7A963AC}"/>
                </a:ext>
              </a:extLst>
            </p:cNvPr>
            <p:cNvGrpSpPr/>
            <p:nvPr/>
          </p:nvGrpSpPr>
          <p:grpSpPr>
            <a:xfrm>
              <a:off x="3587385" y="2433942"/>
              <a:ext cx="800290" cy="146304"/>
              <a:chOff x="3587385" y="2433942"/>
              <a:chExt cx="800290" cy="146304"/>
            </a:xfrm>
          </p:grpSpPr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3D1F337A-E9A4-A1B4-B0CC-BF826FBA9194}"/>
                  </a:ext>
                </a:extLst>
              </p:cNvPr>
              <p:cNvSpPr/>
              <p:nvPr/>
            </p:nvSpPr>
            <p:spPr>
              <a:xfrm>
                <a:off x="3587385" y="2433942"/>
                <a:ext cx="449588" cy="146304"/>
              </a:xfrm>
              <a:custGeom>
                <a:avLst/>
                <a:gdLst>
                  <a:gd name="connsiteX0" fmla="*/ 446342 w 449588"/>
                  <a:gd name="connsiteY0" fmla="*/ 146304 h 146304"/>
                  <a:gd name="connsiteX1" fmla="*/ 6286 w 449588"/>
                  <a:gd name="connsiteY1" fmla="*/ 146304 h 146304"/>
                  <a:gd name="connsiteX2" fmla="*/ 0 w 449588"/>
                  <a:gd name="connsiteY2" fmla="*/ 52292 h 146304"/>
                  <a:gd name="connsiteX3" fmla="*/ 51721 w 449588"/>
                  <a:gd name="connsiteY3" fmla="*/ 0 h 146304"/>
                  <a:gd name="connsiteX4" fmla="*/ 179165 w 449588"/>
                  <a:gd name="connsiteY4" fmla="*/ 0 h 146304"/>
                  <a:gd name="connsiteX5" fmla="*/ 197072 w 449588"/>
                  <a:gd name="connsiteY5" fmla="*/ 7144 h 146304"/>
                  <a:gd name="connsiteX6" fmla="*/ 246126 w 449588"/>
                  <a:gd name="connsiteY6" fmla="*/ 46577 h 146304"/>
                  <a:gd name="connsiteX7" fmla="*/ 248888 w 449588"/>
                  <a:gd name="connsiteY7" fmla="*/ 52292 h 146304"/>
                  <a:gd name="connsiteX8" fmla="*/ 324612 w 449588"/>
                  <a:gd name="connsiteY8" fmla="*/ 90011 h 146304"/>
                  <a:gd name="connsiteX9" fmla="*/ 447294 w 449588"/>
                  <a:gd name="connsiteY9" fmla="*/ 109347 h 146304"/>
                  <a:gd name="connsiteX10" fmla="*/ 446342 w 449588"/>
                  <a:gd name="connsiteY10" fmla="*/ 146304 h 146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9588" h="146304">
                    <a:moveTo>
                      <a:pt x="446342" y="146304"/>
                    </a:moveTo>
                    <a:lnTo>
                      <a:pt x="6286" y="146304"/>
                    </a:lnTo>
                    <a:lnTo>
                      <a:pt x="0" y="52292"/>
                    </a:lnTo>
                    <a:lnTo>
                      <a:pt x="51721" y="0"/>
                    </a:lnTo>
                    <a:lnTo>
                      <a:pt x="179165" y="0"/>
                    </a:lnTo>
                    <a:cubicBezTo>
                      <a:pt x="179165" y="0"/>
                      <a:pt x="186785" y="2381"/>
                      <a:pt x="197072" y="7144"/>
                    </a:cubicBezTo>
                    <a:cubicBezTo>
                      <a:pt x="213074" y="14478"/>
                      <a:pt x="235553" y="27623"/>
                      <a:pt x="246126" y="46577"/>
                    </a:cubicBezTo>
                    <a:cubicBezTo>
                      <a:pt x="247174" y="48387"/>
                      <a:pt x="248126" y="50292"/>
                      <a:pt x="248888" y="52292"/>
                    </a:cubicBezTo>
                    <a:cubicBezTo>
                      <a:pt x="254794" y="66770"/>
                      <a:pt x="287369" y="79915"/>
                      <a:pt x="324612" y="90011"/>
                    </a:cubicBezTo>
                    <a:cubicBezTo>
                      <a:pt x="377666" y="104299"/>
                      <a:pt x="440055" y="112490"/>
                      <a:pt x="447294" y="109347"/>
                    </a:cubicBezTo>
                    <a:cubicBezTo>
                      <a:pt x="451009" y="107728"/>
                      <a:pt x="449866" y="123539"/>
                      <a:pt x="446342" y="146304"/>
                    </a:cubicBezTo>
                    <a:close/>
                  </a:path>
                </a:pathLst>
              </a:custGeom>
              <a:solidFill>
                <a:srgbClr val="8A594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FFDAA422-926F-869D-F2FE-999F7817BA00}"/>
                  </a:ext>
                </a:extLst>
              </p:cNvPr>
              <p:cNvSpPr/>
              <p:nvPr/>
            </p:nvSpPr>
            <p:spPr>
              <a:xfrm>
                <a:off x="3897423" y="2466708"/>
                <a:ext cx="372237" cy="113537"/>
              </a:xfrm>
              <a:custGeom>
                <a:avLst/>
                <a:gdLst>
                  <a:gd name="connsiteX0" fmla="*/ 155543 w 372237"/>
                  <a:gd name="connsiteY0" fmla="*/ 113538 h 113537"/>
                  <a:gd name="connsiteX1" fmla="*/ 0 w 372237"/>
                  <a:gd name="connsiteY1" fmla="*/ 113538 h 113537"/>
                  <a:gd name="connsiteX2" fmla="*/ 14573 w 372237"/>
                  <a:gd name="connsiteY2" fmla="*/ 57245 h 113537"/>
                  <a:gd name="connsiteX3" fmla="*/ 29337 w 372237"/>
                  <a:gd name="connsiteY3" fmla="*/ 0 h 113537"/>
                  <a:gd name="connsiteX4" fmla="*/ 29337 w 372237"/>
                  <a:gd name="connsiteY4" fmla="*/ 0 h 113537"/>
                  <a:gd name="connsiteX5" fmla="*/ 192786 w 372237"/>
                  <a:gd name="connsiteY5" fmla="*/ 21431 h 113537"/>
                  <a:gd name="connsiteX6" fmla="*/ 294323 w 372237"/>
                  <a:gd name="connsiteY6" fmla="*/ 34862 h 113537"/>
                  <a:gd name="connsiteX7" fmla="*/ 361950 w 372237"/>
                  <a:gd name="connsiteY7" fmla="*/ 43815 h 113537"/>
                  <a:gd name="connsiteX8" fmla="*/ 368713 w 372237"/>
                  <a:gd name="connsiteY8" fmla="*/ 44672 h 113537"/>
                  <a:gd name="connsiteX9" fmla="*/ 369094 w 372237"/>
                  <a:gd name="connsiteY9" fmla="*/ 44672 h 113537"/>
                  <a:gd name="connsiteX10" fmla="*/ 372237 w 372237"/>
                  <a:gd name="connsiteY10" fmla="*/ 45053 h 113537"/>
                  <a:gd name="connsiteX11" fmla="*/ 372237 w 372237"/>
                  <a:gd name="connsiteY11" fmla="*/ 45053 h 113537"/>
                  <a:gd name="connsiteX12" fmla="*/ 355092 w 372237"/>
                  <a:gd name="connsiteY12" fmla="*/ 113443 h 113537"/>
                  <a:gd name="connsiteX13" fmla="*/ 193643 w 372237"/>
                  <a:gd name="connsiteY13" fmla="*/ 113443 h 113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2237" h="113537">
                    <a:moveTo>
                      <a:pt x="155543" y="113538"/>
                    </a:moveTo>
                    <a:lnTo>
                      <a:pt x="0" y="113538"/>
                    </a:lnTo>
                    <a:lnTo>
                      <a:pt x="14573" y="57245"/>
                    </a:lnTo>
                    <a:lnTo>
                      <a:pt x="29337" y="0"/>
                    </a:lnTo>
                    <a:lnTo>
                      <a:pt x="29337" y="0"/>
                    </a:lnTo>
                    <a:lnTo>
                      <a:pt x="192786" y="21431"/>
                    </a:lnTo>
                    <a:lnTo>
                      <a:pt x="294323" y="34862"/>
                    </a:lnTo>
                    <a:lnTo>
                      <a:pt x="361950" y="43815"/>
                    </a:lnTo>
                    <a:cubicBezTo>
                      <a:pt x="364141" y="44101"/>
                      <a:pt x="366427" y="44387"/>
                      <a:pt x="368713" y="44672"/>
                    </a:cubicBezTo>
                    <a:cubicBezTo>
                      <a:pt x="368713" y="44672"/>
                      <a:pt x="368998" y="44672"/>
                      <a:pt x="369094" y="44672"/>
                    </a:cubicBezTo>
                    <a:lnTo>
                      <a:pt x="372237" y="45053"/>
                    </a:lnTo>
                    <a:lnTo>
                      <a:pt x="372237" y="45053"/>
                    </a:lnTo>
                    <a:lnTo>
                      <a:pt x="355092" y="113443"/>
                    </a:lnTo>
                    <a:lnTo>
                      <a:pt x="193643" y="113443"/>
                    </a:lnTo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18ECB7BE-CA9E-486A-5911-0472F7EF7C88}"/>
                  </a:ext>
                </a:extLst>
              </p:cNvPr>
              <p:cNvSpPr/>
              <p:nvPr/>
            </p:nvSpPr>
            <p:spPr>
              <a:xfrm>
                <a:off x="3750929" y="2464736"/>
                <a:ext cx="302037" cy="115509"/>
              </a:xfrm>
              <a:custGeom>
                <a:avLst/>
                <a:gdLst>
                  <a:gd name="connsiteX0" fmla="*/ 302038 w 302037"/>
                  <a:gd name="connsiteY0" fmla="*/ 115510 h 115509"/>
                  <a:gd name="connsiteX1" fmla="*/ 0 w 302037"/>
                  <a:gd name="connsiteY1" fmla="*/ 115510 h 115509"/>
                  <a:gd name="connsiteX2" fmla="*/ 33528 w 302037"/>
                  <a:gd name="connsiteY2" fmla="*/ 53216 h 115509"/>
                  <a:gd name="connsiteX3" fmla="*/ 82582 w 302037"/>
                  <a:gd name="connsiteY3" fmla="*/ 15783 h 115509"/>
                  <a:gd name="connsiteX4" fmla="*/ 121158 w 302037"/>
                  <a:gd name="connsiteY4" fmla="*/ 2924 h 115509"/>
                  <a:gd name="connsiteX5" fmla="*/ 175832 w 302037"/>
                  <a:gd name="connsiteY5" fmla="*/ 1972 h 115509"/>
                  <a:gd name="connsiteX6" fmla="*/ 302038 w 302037"/>
                  <a:gd name="connsiteY6" fmla="*/ 115510 h 115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2037" h="115509">
                    <a:moveTo>
                      <a:pt x="302038" y="115510"/>
                    </a:moveTo>
                    <a:lnTo>
                      <a:pt x="0" y="115510"/>
                    </a:lnTo>
                    <a:cubicBezTo>
                      <a:pt x="6286" y="92364"/>
                      <a:pt x="17812" y="71028"/>
                      <a:pt x="33528" y="53216"/>
                    </a:cubicBezTo>
                    <a:cubicBezTo>
                      <a:pt x="47054" y="37786"/>
                      <a:pt x="63627" y="24927"/>
                      <a:pt x="82582" y="15783"/>
                    </a:cubicBezTo>
                    <a:cubicBezTo>
                      <a:pt x="94583" y="9973"/>
                      <a:pt x="107442" y="5591"/>
                      <a:pt x="121158" y="2924"/>
                    </a:cubicBezTo>
                    <a:cubicBezTo>
                      <a:pt x="139732" y="-695"/>
                      <a:pt x="158115" y="-886"/>
                      <a:pt x="175832" y="1972"/>
                    </a:cubicBezTo>
                    <a:cubicBezTo>
                      <a:pt x="235268" y="11401"/>
                      <a:pt x="285750" y="54931"/>
                      <a:pt x="302038" y="115510"/>
                    </a:cubicBez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FCE8456D-E789-7CAC-3234-282AC0FA69F5}"/>
                  </a:ext>
                </a:extLst>
              </p:cNvPr>
              <p:cNvSpPr/>
              <p:nvPr/>
            </p:nvSpPr>
            <p:spPr>
              <a:xfrm>
                <a:off x="4091067" y="2509455"/>
                <a:ext cx="296608" cy="70790"/>
              </a:xfrm>
              <a:custGeom>
                <a:avLst/>
                <a:gdLst>
                  <a:gd name="connsiteX0" fmla="*/ 296609 w 296608"/>
                  <a:gd name="connsiteY0" fmla="*/ 70791 h 70790"/>
                  <a:gd name="connsiteX1" fmla="*/ 0 w 296608"/>
                  <a:gd name="connsiteY1" fmla="*/ 70791 h 70790"/>
                  <a:gd name="connsiteX2" fmla="*/ 100679 w 296608"/>
                  <a:gd name="connsiteY2" fmla="*/ 6021 h 70790"/>
                  <a:gd name="connsiteX3" fmla="*/ 168307 w 296608"/>
                  <a:gd name="connsiteY3" fmla="*/ 1068 h 70790"/>
                  <a:gd name="connsiteX4" fmla="*/ 175069 w 296608"/>
                  <a:gd name="connsiteY4" fmla="*/ 1925 h 70790"/>
                  <a:gd name="connsiteX5" fmla="*/ 175450 w 296608"/>
                  <a:gd name="connsiteY5" fmla="*/ 1925 h 70790"/>
                  <a:gd name="connsiteX6" fmla="*/ 178594 w 296608"/>
                  <a:gd name="connsiteY6" fmla="*/ 2401 h 70790"/>
                  <a:gd name="connsiteX7" fmla="*/ 296609 w 296608"/>
                  <a:gd name="connsiteY7" fmla="*/ 70695 h 70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6608" h="70790">
                    <a:moveTo>
                      <a:pt x="296609" y="70791"/>
                    </a:moveTo>
                    <a:lnTo>
                      <a:pt x="0" y="70791"/>
                    </a:lnTo>
                    <a:cubicBezTo>
                      <a:pt x="25622" y="39168"/>
                      <a:pt x="60865" y="16308"/>
                      <a:pt x="100679" y="6021"/>
                    </a:cubicBezTo>
                    <a:cubicBezTo>
                      <a:pt x="122206" y="496"/>
                      <a:pt x="144971" y="-1409"/>
                      <a:pt x="168307" y="1068"/>
                    </a:cubicBezTo>
                    <a:cubicBezTo>
                      <a:pt x="170498" y="1353"/>
                      <a:pt x="172784" y="1639"/>
                      <a:pt x="175069" y="1925"/>
                    </a:cubicBezTo>
                    <a:cubicBezTo>
                      <a:pt x="175069" y="1925"/>
                      <a:pt x="175355" y="1925"/>
                      <a:pt x="175450" y="1925"/>
                    </a:cubicBezTo>
                    <a:cubicBezTo>
                      <a:pt x="176498" y="2020"/>
                      <a:pt x="177546" y="2211"/>
                      <a:pt x="178594" y="2401"/>
                    </a:cubicBezTo>
                    <a:cubicBezTo>
                      <a:pt x="226886" y="10116"/>
                      <a:pt x="268034" y="35358"/>
                      <a:pt x="296609" y="70695"/>
                    </a:cubicBez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3F4B300C-0A8B-42D4-E1AD-AECBFCE75272}"/>
                </a:ext>
              </a:extLst>
            </p:cNvPr>
            <p:cNvSpPr/>
            <p:nvPr/>
          </p:nvSpPr>
          <p:spPr>
            <a:xfrm>
              <a:off x="4739909" y="1564691"/>
              <a:ext cx="375856" cy="100204"/>
            </a:xfrm>
            <a:custGeom>
              <a:avLst/>
              <a:gdLst>
                <a:gd name="connsiteX0" fmla="*/ 0 w 375856"/>
                <a:gd name="connsiteY0" fmla="*/ 41529 h 100204"/>
                <a:gd name="connsiteX1" fmla="*/ 18860 w 375856"/>
                <a:gd name="connsiteY1" fmla="*/ 0 h 100204"/>
                <a:gd name="connsiteX2" fmla="*/ 359092 w 375856"/>
                <a:gd name="connsiteY2" fmla="*/ 0 h 100204"/>
                <a:gd name="connsiteX3" fmla="*/ 375857 w 375856"/>
                <a:gd name="connsiteY3" fmla="*/ 42767 h 100204"/>
                <a:gd name="connsiteX4" fmla="*/ 196120 w 375856"/>
                <a:gd name="connsiteY4" fmla="*/ 100203 h 100204"/>
                <a:gd name="connsiteX5" fmla="*/ 0 w 375856"/>
                <a:gd name="connsiteY5" fmla="*/ 41529 h 100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5856" h="100204">
                  <a:moveTo>
                    <a:pt x="0" y="41529"/>
                  </a:moveTo>
                  <a:lnTo>
                    <a:pt x="18860" y="0"/>
                  </a:lnTo>
                  <a:cubicBezTo>
                    <a:pt x="127159" y="17716"/>
                    <a:pt x="240316" y="18669"/>
                    <a:pt x="359092" y="0"/>
                  </a:cubicBezTo>
                  <a:lnTo>
                    <a:pt x="375857" y="42767"/>
                  </a:lnTo>
                  <a:cubicBezTo>
                    <a:pt x="375857" y="42767"/>
                    <a:pt x="301276" y="100489"/>
                    <a:pt x="196120" y="100203"/>
                  </a:cubicBezTo>
                  <a:cubicBezTo>
                    <a:pt x="36767" y="99727"/>
                    <a:pt x="0" y="41529"/>
                    <a:pt x="0" y="41529"/>
                  </a:cubicBezTo>
                  <a:close/>
                </a:path>
              </a:pathLst>
            </a:custGeom>
            <a:solidFill>
              <a:srgbClr val="00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A863716C-6265-3330-29CD-878F215067B6}"/>
                </a:ext>
              </a:extLst>
            </p:cNvPr>
            <p:cNvSpPr/>
            <p:nvPr/>
          </p:nvSpPr>
          <p:spPr>
            <a:xfrm>
              <a:off x="3679967" y="2433085"/>
              <a:ext cx="55721" cy="26193"/>
            </a:xfrm>
            <a:custGeom>
              <a:avLst/>
              <a:gdLst>
                <a:gd name="connsiteX0" fmla="*/ 0 w 55721"/>
                <a:gd name="connsiteY0" fmla="*/ 0 h 26193"/>
                <a:gd name="connsiteX1" fmla="*/ 55721 w 55721"/>
                <a:gd name="connsiteY1" fmla="*/ 26194 h 26193"/>
                <a:gd name="connsiteX2" fmla="*/ 51721 w 55721"/>
                <a:gd name="connsiteY2" fmla="*/ 0 h 26193"/>
                <a:gd name="connsiteX3" fmla="*/ 95 w 55721"/>
                <a:gd name="connsiteY3" fmla="*/ 0 h 26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721" h="26193">
                  <a:moveTo>
                    <a:pt x="0" y="0"/>
                  </a:moveTo>
                  <a:cubicBezTo>
                    <a:pt x="0" y="13049"/>
                    <a:pt x="55721" y="26194"/>
                    <a:pt x="55721" y="26194"/>
                  </a:cubicBezTo>
                  <a:lnTo>
                    <a:pt x="51721" y="0"/>
                  </a:lnTo>
                  <a:lnTo>
                    <a:pt x="95" y="0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2" name="Grafik 427">
              <a:extLst>
                <a:ext uri="{FF2B5EF4-FFF2-40B4-BE49-F238E27FC236}">
                  <a16:creationId xmlns:a16="http://schemas.microsoft.com/office/drawing/2014/main" id="{4D7F4ADF-BB28-4A4D-427A-3A714C73DCA7}"/>
                </a:ext>
              </a:extLst>
            </p:cNvPr>
            <p:cNvGrpSpPr/>
            <p:nvPr/>
          </p:nvGrpSpPr>
          <p:grpSpPr>
            <a:xfrm>
              <a:off x="3593255" y="2556356"/>
              <a:ext cx="42397" cy="23770"/>
              <a:chOff x="3593255" y="2556356"/>
              <a:chExt cx="42397" cy="23770"/>
            </a:xfrm>
            <a:solidFill>
              <a:srgbClr val="F2BBB3"/>
            </a:solidFill>
          </p:grpSpPr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55374B05-782C-898C-60A5-AB00962DF8DE}"/>
                  </a:ext>
                </a:extLst>
              </p:cNvPr>
              <p:cNvSpPr/>
              <p:nvPr/>
            </p:nvSpPr>
            <p:spPr>
              <a:xfrm>
                <a:off x="3595005" y="2562911"/>
                <a:ext cx="38766" cy="10858"/>
              </a:xfrm>
              <a:custGeom>
                <a:avLst/>
                <a:gdLst>
                  <a:gd name="connsiteX0" fmla="*/ 0 w 38766"/>
                  <a:gd name="connsiteY0" fmla="*/ 0 h 10858"/>
                  <a:gd name="connsiteX1" fmla="*/ 38767 w 38766"/>
                  <a:gd name="connsiteY1" fmla="*/ 10859 h 10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766" h="10858">
                    <a:moveTo>
                      <a:pt x="0" y="0"/>
                    </a:moveTo>
                    <a:lnTo>
                      <a:pt x="38767" y="10859"/>
                    </a:lnTo>
                  </a:path>
                </a:pathLst>
              </a:custGeom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66630001-EACB-457E-AB6E-475DFFE29E9E}"/>
                  </a:ext>
                </a:extLst>
              </p:cNvPr>
              <p:cNvSpPr/>
              <p:nvPr/>
            </p:nvSpPr>
            <p:spPr>
              <a:xfrm rot="-4455001">
                <a:off x="3607787" y="2548096"/>
                <a:ext cx="13334" cy="40290"/>
              </a:xfrm>
              <a:custGeom>
                <a:avLst/>
                <a:gdLst>
                  <a:gd name="connsiteX0" fmla="*/ 0 w 13334"/>
                  <a:gd name="connsiteY0" fmla="*/ 0 h 40290"/>
                  <a:gd name="connsiteX1" fmla="*/ 13335 w 13334"/>
                  <a:gd name="connsiteY1" fmla="*/ 0 h 40290"/>
                  <a:gd name="connsiteX2" fmla="*/ 13335 w 13334"/>
                  <a:gd name="connsiteY2" fmla="*/ 40291 h 40290"/>
                  <a:gd name="connsiteX3" fmla="*/ 0 w 13334"/>
                  <a:gd name="connsiteY3" fmla="*/ 40291 h 40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34" h="40290">
                    <a:moveTo>
                      <a:pt x="0" y="0"/>
                    </a:moveTo>
                    <a:lnTo>
                      <a:pt x="13335" y="0"/>
                    </a:lnTo>
                    <a:lnTo>
                      <a:pt x="13335" y="40291"/>
                    </a:lnTo>
                    <a:lnTo>
                      <a:pt x="0" y="40291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89E47175-05A3-8FB5-D531-86EF0338B0AD}"/>
                </a:ext>
              </a:extLst>
            </p:cNvPr>
            <p:cNvSpPr/>
            <p:nvPr/>
          </p:nvSpPr>
          <p:spPr>
            <a:xfrm>
              <a:off x="5281311" y="1744904"/>
              <a:ext cx="362711" cy="362711"/>
            </a:xfrm>
            <a:custGeom>
              <a:avLst/>
              <a:gdLst>
                <a:gd name="connsiteX0" fmla="*/ 362712 w 362711"/>
                <a:gd name="connsiteY0" fmla="*/ 181356 h 362711"/>
                <a:gd name="connsiteX1" fmla="*/ 181356 w 362711"/>
                <a:gd name="connsiteY1" fmla="*/ 362712 h 362711"/>
                <a:gd name="connsiteX2" fmla="*/ 0 w 362711"/>
                <a:gd name="connsiteY2" fmla="*/ 181356 h 362711"/>
                <a:gd name="connsiteX3" fmla="*/ 181356 w 362711"/>
                <a:gd name="connsiteY3" fmla="*/ 0 h 362711"/>
                <a:gd name="connsiteX4" fmla="*/ 362712 w 362711"/>
                <a:gd name="connsiteY4" fmla="*/ 181356 h 362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2711" h="362711">
                  <a:moveTo>
                    <a:pt x="362712" y="181356"/>
                  </a:moveTo>
                  <a:cubicBezTo>
                    <a:pt x="362712" y="281516"/>
                    <a:pt x="281516" y="362712"/>
                    <a:pt x="181356" y="362712"/>
                  </a:cubicBezTo>
                  <a:cubicBezTo>
                    <a:pt x="81196" y="362712"/>
                    <a:pt x="0" y="281516"/>
                    <a:pt x="0" y="181356"/>
                  </a:cubicBezTo>
                  <a:cubicBezTo>
                    <a:pt x="0" y="81196"/>
                    <a:pt x="81196" y="0"/>
                    <a:pt x="181356" y="0"/>
                  </a:cubicBezTo>
                  <a:cubicBezTo>
                    <a:pt x="281516" y="0"/>
                    <a:pt x="362712" y="81196"/>
                    <a:pt x="362712" y="181356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DF05DB1D-7E53-16DF-08F9-0D05C95DE4A7}"/>
                </a:ext>
              </a:extLst>
            </p:cNvPr>
            <p:cNvSpPr/>
            <p:nvPr/>
          </p:nvSpPr>
          <p:spPr>
            <a:xfrm>
              <a:off x="4243276" y="1731378"/>
              <a:ext cx="362712" cy="362712"/>
            </a:xfrm>
            <a:custGeom>
              <a:avLst/>
              <a:gdLst>
                <a:gd name="connsiteX0" fmla="*/ 362712 w 362712"/>
                <a:gd name="connsiteY0" fmla="*/ 181356 h 362712"/>
                <a:gd name="connsiteX1" fmla="*/ 181356 w 362712"/>
                <a:gd name="connsiteY1" fmla="*/ 362712 h 362712"/>
                <a:gd name="connsiteX2" fmla="*/ 0 w 362712"/>
                <a:gd name="connsiteY2" fmla="*/ 181356 h 362712"/>
                <a:gd name="connsiteX3" fmla="*/ 181356 w 362712"/>
                <a:gd name="connsiteY3" fmla="*/ 0 h 362712"/>
                <a:gd name="connsiteX4" fmla="*/ 362712 w 362712"/>
                <a:gd name="connsiteY4" fmla="*/ 181356 h 36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2712" h="362712">
                  <a:moveTo>
                    <a:pt x="362712" y="181356"/>
                  </a:moveTo>
                  <a:cubicBezTo>
                    <a:pt x="362712" y="281516"/>
                    <a:pt x="281516" y="362712"/>
                    <a:pt x="181356" y="362712"/>
                  </a:cubicBezTo>
                  <a:cubicBezTo>
                    <a:pt x="81196" y="362712"/>
                    <a:pt x="0" y="281516"/>
                    <a:pt x="0" y="181356"/>
                  </a:cubicBezTo>
                  <a:cubicBezTo>
                    <a:pt x="0" y="81196"/>
                    <a:pt x="81196" y="0"/>
                    <a:pt x="181356" y="0"/>
                  </a:cubicBezTo>
                  <a:cubicBezTo>
                    <a:pt x="281516" y="0"/>
                    <a:pt x="362712" y="81196"/>
                    <a:pt x="362712" y="181356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8CA55536-EFEE-299E-30D4-A4F295C928FE}"/>
                </a:ext>
              </a:extLst>
            </p:cNvPr>
            <p:cNvSpPr/>
            <p:nvPr/>
          </p:nvSpPr>
          <p:spPr>
            <a:xfrm rot="17558400">
              <a:off x="5029159" y="1197388"/>
              <a:ext cx="189166" cy="121920"/>
            </a:xfrm>
            <a:custGeom>
              <a:avLst/>
              <a:gdLst>
                <a:gd name="connsiteX0" fmla="*/ 189167 w 189166"/>
                <a:gd name="connsiteY0" fmla="*/ 60960 h 121920"/>
                <a:gd name="connsiteX1" fmla="*/ 94583 w 189166"/>
                <a:gd name="connsiteY1" fmla="*/ 121920 h 121920"/>
                <a:gd name="connsiteX2" fmla="*/ 0 w 189166"/>
                <a:gd name="connsiteY2" fmla="*/ 60960 h 121920"/>
                <a:gd name="connsiteX3" fmla="*/ 94583 w 189166"/>
                <a:gd name="connsiteY3" fmla="*/ 0 h 121920"/>
                <a:gd name="connsiteX4" fmla="*/ 189167 w 189166"/>
                <a:gd name="connsiteY4" fmla="*/ 60960 h 12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166" h="121920">
                  <a:moveTo>
                    <a:pt x="189167" y="60960"/>
                  </a:moveTo>
                  <a:cubicBezTo>
                    <a:pt x="189167" y="94627"/>
                    <a:pt x="146820" y="121920"/>
                    <a:pt x="94583" y="121920"/>
                  </a:cubicBezTo>
                  <a:cubicBezTo>
                    <a:pt x="42346" y="121920"/>
                    <a:pt x="0" y="94627"/>
                    <a:pt x="0" y="60960"/>
                  </a:cubicBezTo>
                  <a:cubicBezTo>
                    <a:pt x="0" y="27293"/>
                    <a:pt x="42347" y="0"/>
                    <a:pt x="94583" y="0"/>
                  </a:cubicBezTo>
                  <a:cubicBezTo>
                    <a:pt x="146820" y="0"/>
                    <a:pt x="189167" y="27293"/>
                    <a:pt x="189167" y="60960"/>
                  </a:cubicBezTo>
                  <a:close/>
                </a:path>
              </a:pathLst>
            </a:custGeom>
            <a:solidFill>
              <a:srgbClr val="F9D9D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73109655-BB31-811E-4C84-B1649CB4B995}"/>
                </a:ext>
              </a:extLst>
            </p:cNvPr>
            <p:cNvSpPr/>
            <p:nvPr/>
          </p:nvSpPr>
          <p:spPr>
            <a:xfrm rot="20568601">
              <a:off x="4675778" y="1163792"/>
              <a:ext cx="121919" cy="189166"/>
            </a:xfrm>
            <a:custGeom>
              <a:avLst/>
              <a:gdLst>
                <a:gd name="connsiteX0" fmla="*/ 121920 w 121919"/>
                <a:gd name="connsiteY0" fmla="*/ 94583 h 189166"/>
                <a:gd name="connsiteX1" fmla="*/ 60960 w 121919"/>
                <a:gd name="connsiteY1" fmla="*/ 189167 h 189166"/>
                <a:gd name="connsiteX2" fmla="*/ 0 w 121919"/>
                <a:gd name="connsiteY2" fmla="*/ 94583 h 189166"/>
                <a:gd name="connsiteX3" fmla="*/ 60960 w 121919"/>
                <a:gd name="connsiteY3" fmla="*/ 0 h 189166"/>
                <a:gd name="connsiteX4" fmla="*/ 121920 w 121919"/>
                <a:gd name="connsiteY4" fmla="*/ 94583 h 189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919" h="189166">
                  <a:moveTo>
                    <a:pt x="121920" y="94583"/>
                  </a:moveTo>
                  <a:cubicBezTo>
                    <a:pt x="121920" y="146820"/>
                    <a:pt x="94627" y="189167"/>
                    <a:pt x="60960" y="189167"/>
                  </a:cubicBezTo>
                  <a:cubicBezTo>
                    <a:pt x="27293" y="189167"/>
                    <a:pt x="0" y="146820"/>
                    <a:pt x="0" y="94583"/>
                  </a:cubicBezTo>
                  <a:cubicBezTo>
                    <a:pt x="0" y="42346"/>
                    <a:pt x="27293" y="0"/>
                    <a:pt x="60960" y="0"/>
                  </a:cubicBezTo>
                  <a:cubicBezTo>
                    <a:pt x="94627" y="0"/>
                    <a:pt x="121920" y="42346"/>
                    <a:pt x="121920" y="94583"/>
                  </a:cubicBezTo>
                  <a:close/>
                </a:path>
              </a:pathLst>
            </a:custGeom>
            <a:solidFill>
              <a:srgbClr val="F9D9D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A58FB603-49D4-5B26-5967-E58CCAD2291E}"/>
                </a:ext>
              </a:extLst>
            </p:cNvPr>
            <p:cNvSpPr/>
            <p:nvPr/>
          </p:nvSpPr>
          <p:spPr>
            <a:xfrm>
              <a:off x="4694856" y="873461"/>
              <a:ext cx="468058" cy="489394"/>
            </a:xfrm>
            <a:custGeom>
              <a:avLst/>
              <a:gdLst>
                <a:gd name="connsiteX0" fmla="*/ 468059 w 468058"/>
                <a:gd name="connsiteY0" fmla="*/ 244697 h 489394"/>
                <a:gd name="connsiteX1" fmla="*/ 234029 w 468058"/>
                <a:gd name="connsiteY1" fmla="*/ 489395 h 489394"/>
                <a:gd name="connsiteX2" fmla="*/ 0 w 468058"/>
                <a:gd name="connsiteY2" fmla="*/ 244697 h 489394"/>
                <a:gd name="connsiteX3" fmla="*/ 234029 w 468058"/>
                <a:gd name="connsiteY3" fmla="*/ 0 h 489394"/>
                <a:gd name="connsiteX4" fmla="*/ 468059 w 468058"/>
                <a:gd name="connsiteY4" fmla="*/ 244697 h 48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8058" h="489394">
                  <a:moveTo>
                    <a:pt x="468059" y="244697"/>
                  </a:moveTo>
                  <a:cubicBezTo>
                    <a:pt x="468059" y="379840"/>
                    <a:pt x="363280" y="489395"/>
                    <a:pt x="234029" y="489395"/>
                  </a:cubicBezTo>
                  <a:cubicBezTo>
                    <a:pt x="104778" y="489395"/>
                    <a:pt x="0" y="379840"/>
                    <a:pt x="0" y="244697"/>
                  </a:cubicBezTo>
                  <a:cubicBezTo>
                    <a:pt x="0" y="109555"/>
                    <a:pt x="104778" y="0"/>
                    <a:pt x="234029" y="0"/>
                  </a:cubicBezTo>
                  <a:cubicBezTo>
                    <a:pt x="363280" y="0"/>
                    <a:pt x="468059" y="109555"/>
                    <a:pt x="468059" y="244697"/>
                  </a:cubicBezTo>
                  <a:close/>
                </a:path>
              </a:pathLst>
            </a:custGeom>
            <a:solidFill>
              <a:srgbClr val="C0906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F2C34B48-AE4D-6D34-5147-5738768C1428}"/>
                </a:ext>
              </a:extLst>
            </p:cNvPr>
            <p:cNvSpPr/>
            <p:nvPr/>
          </p:nvSpPr>
          <p:spPr>
            <a:xfrm>
              <a:off x="4698637" y="1036720"/>
              <a:ext cx="462404" cy="435113"/>
            </a:xfrm>
            <a:custGeom>
              <a:avLst/>
              <a:gdLst>
                <a:gd name="connsiteX0" fmla="*/ 460563 w 462404"/>
                <a:gd name="connsiteY0" fmla="*/ 134874 h 435113"/>
                <a:gd name="connsiteX1" fmla="*/ 230248 w 462404"/>
                <a:gd name="connsiteY1" fmla="*/ 0 h 435113"/>
                <a:gd name="connsiteX2" fmla="*/ 2125 w 462404"/>
                <a:gd name="connsiteY2" fmla="*/ 145066 h 435113"/>
                <a:gd name="connsiteX3" fmla="*/ 31271 w 462404"/>
                <a:gd name="connsiteY3" fmla="*/ 308039 h 435113"/>
                <a:gd name="connsiteX4" fmla="*/ 61846 w 462404"/>
                <a:gd name="connsiteY4" fmla="*/ 376904 h 435113"/>
                <a:gd name="connsiteX5" fmla="*/ 400936 w 462404"/>
                <a:gd name="connsiteY5" fmla="*/ 381286 h 435113"/>
                <a:gd name="connsiteX6" fmla="*/ 430083 w 462404"/>
                <a:gd name="connsiteY6" fmla="*/ 278892 h 435113"/>
                <a:gd name="connsiteX7" fmla="*/ 460658 w 462404"/>
                <a:gd name="connsiteY7" fmla="*/ 135065 h 435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2404" h="435113">
                  <a:moveTo>
                    <a:pt x="460563" y="134874"/>
                  </a:moveTo>
                  <a:cubicBezTo>
                    <a:pt x="460563" y="134874"/>
                    <a:pt x="498472" y="0"/>
                    <a:pt x="230248" y="0"/>
                  </a:cubicBezTo>
                  <a:cubicBezTo>
                    <a:pt x="-37976" y="0"/>
                    <a:pt x="2125" y="145066"/>
                    <a:pt x="2125" y="145066"/>
                  </a:cubicBezTo>
                  <a:cubicBezTo>
                    <a:pt x="2125" y="145066"/>
                    <a:pt x="24889" y="274034"/>
                    <a:pt x="31271" y="308039"/>
                  </a:cubicBezTo>
                  <a:cubicBezTo>
                    <a:pt x="37272" y="339947"/>
                    <a:pt x="50893" y="356426"/>
                    <a:pt x="61846" y="376904"/>
                  </a:cubicBezTo>
                  <a:cubicBezTo>
                    <a:pt x="113281" y="460248"/>
                    <a:pt x="360074" y="447199"/>
                    <a:pt x="400936" y="381286"/>
                  </a:cubicBezTo>
                  <a:cubicBezTo>
                    <a:pt x="427511" y="323088"/>
                    <a:pt x="423892" y="310801"/>
                    <a:pt x="430083" y="278892"/>
                  </a:cubicBezTo>
                  <a:cubicBezTo>
                    <a:pt x="438370" y="236125"/>
                    <a:pt x="460658" y="135065"/>
                    <a:pt x="460658" y="135065"/>
                  </a:cubicBezTo>
                  <a:close/>
                </a:path>
              </a:pathLst>
            </a:custGeom>
            <a:solidFill>
              <a:srgbClr val="4040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825B26BE-F0B5-22D6-7A7B-938B94C94DA7}"/>
                </a:ext>
              </a:extLst>
            </p:cNvPr>
            <p:cNvSpPr/>
            <p:nvPr/>
          </p:nvSpPr>
          <p:spPr>
            <a:xfrm>
              <a:off x="4680638" y="820217"/>
              <a:ext cx="496325" cy="617294"/>
            </a:xfrm>
            <a:custGeom>
              <a:avLst/>
              <a:gdLst>
                <a:gd name="connsiteX0" fmla="*/ 489802 w 496325"/>
                <a:gd name="connsiteY0" fmla="*/ 339566 h 617294"/>
                <a:gd name="connsiteX1" fmla="*/ 248248 w 496325"/>
                <a:gd name="connsiteY1" fmla="*/ 0 h 617294"/>
                <a:gd name="connsiteX2" fmla="*/ 8027 w 496325"/>
                <a:gd name="connsiteY2" fmla="*/ 341281 h 617294"/>
                <a:gd name="connsiteX3" fmla="*/ 44889 w 496325"/>
                <a:gd name="connsiteY3" fmla="*/ 500825 h 617294"/>
                <a:gd name="connsiteX4" fmla="*/ 443224 w 496325"/>
                <a:gd name="connsiteY4" fmla="*/ 502634 h 617294"/>
                <a:gd name="connsiteX5" fmla="*/ 489802 w 496325"/>
                <a:gd name="connsiteY5" fmla="*/ 339566 h 617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6325" h="617294">
                  <a:moveTo>
                    <a:pt x="489802" y="339566"/>
                  </a:moveTo>
                  <a:cubicBezTo>
                    <a:pt x="515329" y="140970"/>
                    <a:pt x="472180" y="0"/>
                    <a:pt x="248248" y="0"/>
                  </a:cubicBezTo>
                  <a:cubicBezTo>
                    <a:pt x="51080" y="0"/>
                    <a:pt x="-26739" y="67723"/>
                    <a:pt x="8027" y="341281"/>
                  </a:cubicBezTo>
                  <a:cubicBezTo>
                    <a:pt x="8980" y="351377"/>
                    <a:pt x="41841" y="491776"/>
                    <a:pt x="44889" y="500825"/>
                  </a:cubicBezTo>
                  <a:cubicBezTo>
                    <a:pt x="99372" y="660178"/>
                    <a:pt x="418364" y="651415"/>
                    <a:pt x="443224" y="502634"/>
                  </a:cubicBezTo>
                  <a:cubicBezTo>
                    <a:pt x="446558" y="482822"/>
                    <a:pt x="476467" y="424053"/>
                    <a:pt x="489802" y="339566"/>
                  </a:cubicBezTo>
                  <a:close/>
                </a:path>
              </a:pathLst>
            </a:custGeom>
            <a:solidFill>
              <a:srgbClr val="4040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4800C537-2B5C-249F-EAB9-F7B6322E2C05}"/>
                </a:ext>
              </a:extLst>
            </p:cNvPr>
            <p:cNvSpPr/>
            <p:nvPr/>
          </p:nvSpPr>
          <p:spPr>
            <a:xfrm>
              <a:off x="4517748" y="820159"/>
              <a:ext cx="805123" cy="982838"/>
            </a:xfrm>
            <a:custGeom>
              <a:avLst/>
              <a:gdLst>
                <a:gd name="connsiteX0" fmla="*/ 744513 w 805123"/>
                <a:gd name="connsiteY0" fmla="*/ 927602 h 982838"/>
                <a:gd name="connsiteX1" fmla="*/ 778422 w 805123"/>
                <a:gd name="connsiteY1" fmla="*/ 854641 h 982838"/>
                <a:gd name="connsiteX2" fmla="*/ 782708 w 805123"/>
                <a:gd name="connsiteY2" fmla="*/ 842068 h 982838"/>
                <a:gd name="connsiteX3" fmla="*/ 744513 w 805123"/>
                <a:gd name="connsiteY3" fmla="*/ 475832 h 982838"/>
                <a:gd name="connsiteX4" fmla="*/ 423234 w 805123"/>
                <a:gd name="connsiteY4" fmla="*/ 1487 h 982838"/>
                <a:gd name="connsiteX5" fmla="*/ 124530 w 805123"/>
                <a:gd name="connsiteY5" fmla="*/ 390011 h 982838"/>
                <a:gd name="connsiteX6" fmla="*/ 6801 w 805123"/>
                <a:gd name="connsiteY6" fmla="*/ 841687 h 982838"/>
                <a:gd name="connsiteX7" fmla="*/ 10992 w 805123"/>
                <a:gd name="connsiteY7" fmla="*/ 849974 h 982838"/>
                <a:gd name="connsiteX8" fmla="*/ 15850 w 805123"/>
                <a:gd name="connsiteY8" fmla="*/ 859689 h 982838"/>
                <a:gd name="connsiteX9" fmla="*/ 744513 w 805123"/>
                <a:gd name="connsiteY9" fmla="*/ 927412 h 982838"/>
                <a:gd name="connsiteX10" fmla="*/ 744513 w 805123"/>
                <a:gd name="connsiteY10" fmla="*/ 927412 h 982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05123" h="982838">
                  <a:moveTo>
                    <a:pt x="744513" y="927602"/>
                  </a:moveTo>
                  <a:cubicBezTo>
                    <a:pt x="758133" y="904076"/>
                    <a:pt x="769373" y="879692"/>
                    <a:pt x="778422" y="854641"/>
                  </a:cubicBezTo>
                  <a:cubicBezTo>
                    <a:pt x="779946" y="850450"/>
                    <a:pt x="781374" y="846259"/>
                    <a:pt x="782708" y="842068"/>
                  </a:cubicBezTo>
                  <a:cubicBezTo>
                    <a:pt x="822237" y="721481"/>
                    <a:pt x="809473" y="588227"/>
                    <a:pt x="744513" y="475832"/>
                  </a:cubicBezTo>
                  <a:cubicBezTo>
                    <a:pt x="667551" y="317717"/>
                    <a:pt x="744513" y="24156"/>
                    <a:pt x="423234" y="1487"/>
                  </a:cubicBezTo>
                  <a:cubicBezTo>
                    <a:pt x="101956" y="-21088"/>
                    <a:pt x="160725" y="218276"/>
                    <a:pt x="124530" y="390011"/>
                  </a:cubicBezTo>
                  <a:cubicBezTo>
                    <a:pt x="88335" y="561652"/>
                    <a:pt x="-29298" y="552603"/>
                    <a:pt x="6801" y="841687"/>
                  </a:cubicBezTo>
                  <a:lnTo>
                    <a:pt x="10992" y="849974"/>
                  </a:lnTo>
                  <a:lnTo>
                    <a:pt x="15850" y="859689"/>
                  </a:lnTo>
                  <a:cubicBezTo>
                    <a:pt x="234639" y="995325"/>
                    <a:pt x="504483" y="1020471"/>
                    <a:pt x="744513" y="927412"/>
                  </a:cubicBezTo>
                  <a:lnTo>
                    <a:pt x="744513" y="92741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v</a:t>
              </a:r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BAE75843-7A6F-7B42-B5FA-4B2927943AB5}"/>
                </a:ext>
              </a:extLst>
            </p:cNvPr>
            <p:cNvSpPr/>
            <p:nvPr/>
          </p:nvSpPr>
          <p:spPr>
            <a:xfrm>
              <a:off x="4391009" y="2284590"/>
              <a:ext cx="1166526" cy="295655"/>
            </a:xfrm>
            <a:custGeom>
              <a:avLst/>
              <a:gdLst>
                <a:gd name="connsiteX0" fmla="*/ 1166527 w 1166526"/>
                <a:gd name="connsiteY0" fmla="*/ 115729 h 295655"/>
                <a:gd name="connsiteX1" fmla="*/ 1166527 w 1166526"/>
                <a:gd name="connsiteY1" fmla="*/ 295656 h 295655"/>
                <a:gd name="connsiteX2" fmla="*/ 0 w 1166526"/>
                <a:gd name="connsiteY2" fmla="*/ 295656 h 295655"/>
                <a:gd name="connsiteX3" fmla="*/ 0 w 1166526"/>
                <a:gd name="connsiteY3" fmla="*/ 115729 h 295655"/>
                <a:gd name="connsiteX4" fmla="*/ 2477 w 1166526"/>
                <a:gd name="connsiteY4" fmla="*/ 91726 h 295655"/>
                <a:gd name="connsiteX5" fmla="*/ 115633 w 1166526"/>
                <a:gd name="connsiteY5" fmla="*/ 0 h 295655"/>
                <a:gd name="connsiteX6" fmla="*/ 1050798 w 1166526"/>
                <a:gd name="connsiteY6" fmla="*/ 0 h 295655"/>
                <a:gd name="connsiteX7" fmla="*/ 1082040 w 1166526"/>
                <a:gd name="connsiteY7" fmla="*/ 4286 h 295655"/>
                <a:gd name="connsiteX8" fmla="*/ 1166527 w 1166526"/>
                <a:gd name="connsiteY8" fmla="*/ 115729 h 295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66526" h="295655">
                  <a:moveTo>
                    <a:pt x="1166527" y="115729"/>
                  </a:moveTo>
                  <a:lnTo>
                    <a:pt x="1166527" y="295656"/>
                  </a:lnTo>
                  <a:lnTo>
                    <a:pt x="0" y="295656"/>
                  </a:lnTo>
                  <a:lnTo>
                    <a:pt x="0" y="115729"/>
                  </a:lnTo>
                  <a:cubicBezTo>
                    <a:pt x="0" y="107537"/>
                    <a:pt x="857" y="99441"/>
                    <a:pt x="2477" y="91726"/>
                  </a:cubicBezTo>
                  <a:cubicBezTo>
                    <a:pt x="13525" y="39338"/>
                    <a:pt x="59912" y="0"/>
                    <a:pt x="115633" y="0"/>
                  </a:cubicBezTo>
                  <a:lnTo>
                    <a:pt x="1050798" y="0"/>
                  </a:lnTo>
                  <a:cubicBezTo>
                    <a:pt x="1061657" y="0"/>
                    <a:pt x="1072134" y="1524"/>
                    <a:pt x="1082040" y="4286"/>
                  </a:cubicBezTo>
                  <a:cubicBezTo>
                    <a:pt x="1130808" y="17907"/>
                    <a:pt x="1166527" y="62675"/>
                    <a:pt x="1166527" y="115729"/>
                  </a:cubicBezTo>
                  <a:close/>
                </a:path>
              </a:pathLst>
            </a:custGeom>
            <a:solidFill>
              <a:srgbClr val="4040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25" name="Gruppieren 224">
            <a:extLst>
              <a:ext uri="{FF2B5EF4-FFF2-40B4-BE49-F238E27FC236}">
                <a16:creationId xmlns:a16="http://schemas.microsoft.com/office/drawing/2014/main" id="{A7F44D7D-BB1B-1992-B2DD-506FE14D7A44}"/>
              </a:ext>
            </a:extLst>
          </p:cNvPr>
          <p:cNvGrpSpPr/>
          <p:nvPr/>
        </p:nvGrpSpPr>
        <p:grpSpPr>
          <a:xfrm>
            <a:off x="530976" y="1853701"/>
            <a:ext cx="1090620" cy="3461490"/>
            <a:chOff x="523419" y="2609109"/>
            <a:chExt cx="1126464" cy="3575253"/>
          </a:xfrm>
        </p:grpSpPr>
        <p:sp>
          <p:nvSpPr>
            <p:cNvPr id="226" name="Freihandform: Form 225">
              <a:extLst>
                <a:ext uri="{FF2B5EF4-FFF2-40B4-BE49-F238E27FC236}">
                  <a16:creationId xmlns:a16="http://schemas.microsoft.com/office/drawing/2014/main" id="{EB2B19C0-67CC-CF64-BF2E-D9BCF9511481}"/>
                </a:ext>
              </a:extLst>
            </p:cNvPr>
            <p:cNvSpPr/>
            <p:nvPr/>
          </p:nvSpPr>
          <p:spPr>
            <a:xfrm>
              <a:off x="938378" y="5942175"/>
              <a:ext cx="94777" cy="94777"/>
            </a:xfrm>
            <a:custGeom>
              <a:avLst/>
              <a:gdLst>
                <a:gd name="connsiteX0" fmla="*/ 94778 w 94777"/>
                <a:gd name="connsiteY0" fmla="*/ 47389 h 94777"/>
                <a:gd name="connsiteX1" fmla="*/ 47389 w 94777"/>
                <a:gd name="connsiteY1" fmla="*/ 94778 h 94777"/>
                <a:gd name="connsiteX2" fmla="*/ 0 w 94777"/>
                <a:gd name="connsiteY2" fmla="*/ 47389 h 94777"/>
                <a:gd name="connsiteX3" fmla="*/ 47389 w 94777"/>
                <a:gd name="connsiteY3" fmla="*/ 0 h 94777"/>
                <a:gd name="connsiteX4" fmla="*/ 94778 w 94777"/>
                <a:gd name="connsiteY4" fmla="*/ 47389 h 94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777" h="94777">
                  <a:moveTo>
                    <a:pt x="94778" y="47389"/>
                  </a:moveTo>
                  <a:cubicBezTo>
                    <a:pt x="94778" y="73561"/>
                    <a:pt x="73561" y="94778"/>
                    <a:pt x="47389" y="94778"/>
                  </a:cubicBezTo>
                  <a:cubicBezTo>
                    <a:pt x="21217" y="94778"/>
                    <a:pt x="0" y="73561"/>
                    <a:pt x="0" y="47389"/>
                  </a:cubicBezTo>
                  <a:cubicBezTo>
                    <a:pt x="0" y="21217"/>
                    <a:pt x="21217" y="0"/>
                    <a:pt x="47389" y="0"/>
                  </a:cubicBezTo>
                  <a:cubicBezTo>
                    <a:pt x="73561" y="0"/>
                    <a:pt x="94778" y="21216"/>
                    <a:pt x="94778" y="47389"/>
                  </a:cubicBezTo>
                  <a:close/>
                </a:path>
              </a:pathLst>
            </a:custGeom>
            <a:solidFill>
              <a:srgbClr val="F9D9D2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7" name="Freihandform: Form 226">
              <a:extLst>
                <a:ext uri="{FF2B5EF4-FFF2-40B4-BE49-F238E27FC236}">
                  <a16:creationId xmlns:a16="http://schemas.microsoft.com/office/drawing/2014/main" id="{E3FCB33E-CDD1-40FD-4AFD-EC3E8E3073D8}"/>
                </a:ext>
              </a:extLst>
            </p:cNvPr>
            <p:cNvSpPr/>
            <p:nvPr/>
          </p:nvSpPr>
          <p:spPr>
            <a:xfrm>
              <a:off x="1149438" y="5942374"/>
              <a:ext cx="94777" cy="94777"/>
            </a:xfrm>
            <a:custGeom>
              <a:avLst/>
              <a:gdLst>
                <a:gd name="connsiteX0" fmla="*/ 94778 w 94777"/>
                <a:gd name="connsiteY0" fmla="*/ 47389 h 94777"/>
                <a:gd name="connsiteX1" fmla="*/ 47389 w 94777"/>
                <a:gd name="connsiteY1" fmla="*/ 94778 h 94777"/>
                <a:gd name="connsiteX2" fmla="*/ 0 w 94777"/>
                <a:gd name="connsiteY2" fmla="*/ 47389 h 94777"/>
                <a:gd name="connsiteX3" fmla="*/ 47389 w 94777"/>
                <a:gd name="connsiteY3" fmla="*/ 0 h 94777"/>
                <a:gd name="connsiteX4" fmla="*/ 94778 w 94777"/>
                <a:gd name="connsiteY4" fmla="*/ 47389 h 94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777" h="94777">
                  <a:moveTo>
                    <a:pt x="94778" y="47389"/>
                  </a:moveTo>
                  <a:cubicBezTo>
                    <a:pt x="94778" y="73561"/>
                    <a:pt x="73561" y="94778"/>
                    <a:pt x="47389" y="94778"/>
                  </a:cubicBezTo>
                  <a:cubicBezTo>
                    <a:pt x="21217" y="94778"/>
                    <a:pt x="0" y="73561"/>
                    <a:pt x="0" y="47389"/>
                  </a:cubicBezTo>
                  <a:cubicBezTo>
                    <a:pt x="0" y="21217"/>
                    <a:pt x="21217" y="0"/>
                    <a:pt x="47389" y="0"/>
                  </a:cubicBezTo>
                  <a:cubicBezTo>
                    <a:pt x="73561" y="0"/>
                    <a:pt x="94778" y="21217"/>
                    <a:pt x="94778" y="47389"/>
                  </a:cubicBezTo>
                  <a:close/>
                </a:path>
              </a:pathLst>
            </a:custGeom>
            <a:solidFill>
              <a:srgbClr val="F9D9D2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8" name="Freihandform: Form 227">
              <a:extLst>
                <a:ext uri="{FF2B5EF4-FFF2-40B4-BE49-F238E27FC236}">
                  <a16:creationId xmlns:a16="http://schemas.microsoft.com/office/drawing/2014/main" id="{57EFF887-A7C6-834A-5A4A-5C781F5B4632}"/>
                </a:ext>
              </a:extLst>
            </p:cNvPr>
            <p:cNvSpPr/>
            <p:nvPr/>
          </p:nvSpPr>
          <p:spPr>
            <a:xfrm>
              <a:off x="736677" y="3859518"/>
              <a:ext cx="715214" cy="715214"/>
            </a:xfrm>
            <a:custGeom>
              <a:avLst/>
              <a:gdLst>
                <a:gd name="connsiteX0" fmla="*/ 715215 w 715214"/>
                <a:gd name="connsiteY0" fmla="*/ 357607 h 715214"/>
                <a:gd name="connsiteX1" fmla="*/ 357607 w 715214"/>
                <a:gd name="connsiteY1" fmla="*/ 715214 h 715214"/>
                <a:gd name="connsiteX2" fmla="*/ 0 w 715214"/>
                <a:gd name="connsiteY2" fmla="*/ 357607 h 715214"/>
                <a:gd name="connsiteX3" fmla="*/ 357607 w 715214"/>
                <a:gd name="connsiteY3" fmla="*/ 0 h 715214"/>
                <a:gd name="connsiteX4" fmla="*/ 715215 w 715214"/>
                <a:gd name="connsiteY4" fmla="*/ 357607 h 715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214" h="715214">
                  <a:moveTo>
                    <a:pt x="715215" y="357607"/>
                  </a:moveTo>
                  <a:cubicBezTo>
                    <a:pt x="715215" y="555108"/>
                    <a:pt x="555108" y="715214"/>
                    <a:pt x="357607" y="715214"/>
                  </a:cubicBezTo>
                  <a:cubicBezTo>
                    <a:pt x="160106" y="715214"/>
                    <a:pt x="0" y="555108"/>
                    <a:pt x="0" y="357607"/>
                  </a:cubicBezTo>
                  <a:cubicBezTo>
                    <a:pt x="0" y="160106"/>
                    <a:pt x="160106" y="0"/>
                    <a:pt x="357607" y="0"/>
                  </a:cubicBezTo>
                  <a:cubicBezTo>
                    <a:pt x="555108" y="0"/>
                    <a:pt x="715215" y="160106"/>
                    <a:pt x="715215" y="357607"/>
                  </a:cubicBezTo>
                  <a:close/>
                </a:path>
              </a:pathLst>
            </a:custGeom>
            <a:solidFill>
              <a:srgbClr val="EC6602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9" name="Freihandform: Form 228">
              <a:extLst>
                <a:ext uri="{FF2B5EF4-FFF2-40B4-BE49-F238E27FC236}">
                  <a16:creationId xmlns:a16="http://schemas.microsoft.com/office/drawing/2014/main" id="{4326A253-C1F7-1D86-24CE-E23F6BAFFC73}"/>
                </a:ext>
              </a:extLst>
            </p:cNvPr>
            <p:cNvSpPr/>
            <p:nvPr/>
          </p:nvSpPr>
          <p:spPr>
            <a:xfrm>
              <a:off x="538360" y="3771775"/>
              <a:ext cx="209599" cy="198383"/>
            </a:xfrm>
            <a:custGeom>
              <a:avLst/>
              <a:gdLst>
                <a:gd name="connsiteX0" fmla="*/ 30132 w 209599"/>
                <a:gd name="connsiteY0" fmla="*/ 66 h 198383"/>
                <a:gd name="connsiteX1" fmla="*/ 0 w 209599"/>
                <a:gd name="connsiteY1" fmla="*/ 163804 h 198383"/>
                <a:gd name="connsiteX2" fmla="*/ 169910 w 209599"/>
                <a:gd name="connsiteY2" fmla="*/ 198383 h 198383"/>
                <a:gd name="connsiteX3" fmla="*/ 209600 w 209599"/>
                <a:gd name="connsiteY3" fmla="*/ 22102 h 198383"/>
                <a:gd name="connsiteX4" fmla="*/ 30132 w 209599"/>
                <a:gd name="connsiteY4" fmla="*/ 0 h 198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599" h="198383">
                  <a:moveTo>
                    <a:pt x="30132" y="66"/>
                  </a:moveTo>
                  <a:cubicBezTo>
                    <a:pt x="12942" y="92787"/>
                    <a:pt x="0" y="163804"/>
                    <a:pt x="0" y="163804"/>
                  </a:cubicBezTo>
                  <a:lnTo>
                    <a:pt x="169910" y="198383"/>
                  </a:lnTo>
                  <a:lnTo>
                    <a:pt x="209600" y="22102"/>
                  </a:lnTo>
                  <a:lnTo>
                    <a:pt x="30132" y="0"/>
                  </a:lnTo>
                  <a:close/>
                </a:path>
              </a:pathLst>
            </a:custGeom>
            <a:solidFill>
              <a:srgbClr val="C09066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0" name="Freihandform: Form 229">
              <a:extLst>
                <a:ext uri="{FF2B5EF4-FFF2-40B4-BE49-F238E27FC236}">
                  <a16:creationId xmlns:a16="http://schemas.microsoft.com/office/drawing/2014/main" id="{9F6E11DF-D2BC-C6FD-7AB2-65C4C50F5425}"/>
                </a:ext>
              </a:extLst>
            </p:cNvPr>
            <p:cNvSpPr/>
            <p:nvPr/>
          </p:nvSpPr>
          <p:spPr>
            <a:xfrm>
              <a:off x="1425011" y="3747019"/>
              <a:ext cx="209865" cy="216502"/>
            </a:xfrm>
            <a:custGeom>
              <a:avLst/>
              <a:gdLst>
                <a:gd name="connsiteX0" fmla="*/ 0 w 209865"/>
                <a:gd name="connsiteY0" fmla="*/ 33053 h 216502"/>
                <a:gd name="connsiteX1" fmla="*/ 39955 w 209865"/>
                <a:gd name="connsiteY1" fmla="*/ 216502 h 216502"/>
                <a:gd name="connsiteX2" fmla="*/ 209865 w 209865"/>
                <a:gd name="connsiteY2" fmla="*/ 181923 h 216502"/>
                <a:gd name="connsiteX3" fmla="*/ 176348 w 209865"/>
                <a:gd name="connsiteY3" fmla="*/ 0 h 216502"/>
                <a:gd name="connsiteX4" fmla="*/ 0 w 209865"/>
                <a:gd name="connsiteY4" fmla="*/ 33119 h 216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865" h="216502">
                  <a:moveTo>
                    <a:pt x="0" y="33053"/>
                  </a:moveTo>
                  <a:lnTo>
                    <a:pt x="39955" y="216502"/>
                  </a:lnTo>
                  <a:lnTo>
                    <a:pt x="209865" y="181923"/>
                  </a:lnTo>
                  <a:cubicBezTo>
                    <a:pt x="209865" y="181923"/>
                    <a:pt x="195197" y="101481"/>
                    <a:pt x="176348" y="0"/>
                  </a:cubicBezTo>
                  <a:lnTo>
                    <a:pt x="0" y="33119"/>
                  </a:lnTo>
                  <a:close/>
                </a:path>
              </a:pathLst>
            </a:custGeom>
            <a:solidFill>
              <a:srgbClr val="C09066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1" name="Freihandform: Form 230">
              <a:extLst>
                <a:ext uri="{FF2B5EF4-FFF2-40B4-BE49-F238E27FC236}">
                  <a16:creationId xmlns:a16="http://schemas.microsoft.com/office/drawing/2014/main" id="{BA0C2675-3F69-A5C3-46F6-8640312D821E}"/>
                </a:ext>
              </a:extLst>
            </p:cNvPr>
            <p:cNvSpPr/>
            <p:nvPr/>
          </p:nvSpPr>
          <p:spPr>
            <a:xfrm>
              <a:off x="866764" y="5990227"/>
              <a:ext cx="192807" cy="145949"/>
            </a:xfrm>
            <a:custGeom>
              <a:avLst/>
              <a:gdLst>
                <a:gd name="connsiteX0" fmla="*/ 71614 w 192807"/>
                <a:gd name="connsiteY0" fmla="*/ 0 h 145949"/>
                <a:gd name="connsiteX1" fmla="*/ 0 w 192807"/>
                <a:gd name="connsiteY1" fmla="*/ 145950 h 145949"/>
                <a:gd name="connsiteX2" fmla="*/ 192808 w 192807"/>
                <a:gd name="connsiteY2" fmla="*/ 145950 h 145949"/>
                <a:gd name="connsiteX3" fmla="*/ 166326 w 192807"/>
                <a:gd name="connsiteY3" fmla="*/ 0 h 145949"/>
                <a:gd name="connsiteX4" fmla="*/ 71614 w 192807"/>
                <a:gd name="connsiteY4" fmla="*/ 0 h 14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2807" h="145949">
                  <a:moveTo>
                    <a:pt x="71614" y="0"/>
                  </a:moveTo>
                  <a:cubicBezTo>
                    <a:pt x="57345" y="100951"/>
                    <a:pt x="0" y="119468"/>
                    <a:pt x="0" y="145950"/>
                  </a:cubicBezTo>
                  <a:lnTo>
                    <a:pt x="192808" y="145950"/>
                  </a:lnTo>
                  <a:cubicBezTo>
                    <a:pt x="192808" y="94712"/>
                    <a:pt x="169777" y="54955"/>
                    <a:pt x="166326" y="0"/>
                  </a:cubicBezTo>
                  <a:lnTo>
                    <a:pt x="71614" y="0"/>
                  </a:lnTo>
                  <a:close/>
                </a:path>
              </a:pathLst>
            </a:custGeom>
            <a:solidFill>
              <a:srgbClr val="C09066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2" name="Freihandform: Form 231">
              <a:extLst>
                <a:ext uri="{FF2B5EF4-FFF2-40B4-BE49-F238E27FC236}">
                  <a16:creationId xmlns:a16="http://schemas.microsoft.com/office/drawing/2014/main" id="{47566619-693F-B212-EEFB-6101B7AAAD5F}"/>
                </a:ext>
              </a:extLst>
            </p:cNvPr>
            <p:cNvSpPr/>
            <p:nvPr/>
          </p:nvSpPr>
          <p:spPr>
            <a:xfrm>
              <a:off x="840149" y="6019605"/>
              <a:ext cx="233028" cy="123279"/>
            </a:xfrm>
            <a:custGeom>
              <a:avLst/>
              <a:gdLst>
                <a:gd name="connsiteX0" fmla="*/ 233029 w 233028"/>
                <a:gd name="connsiteY0" fmla="*/ 103962 h 123279"/>
                <a:gd name="connsiteX1" fmla="*/ 199910 w 233028"/>
                <a:gd name="connsiteY1" fmla="*/ 15556 h 123279"/>
                <a:gd name="connsiteX2" fmla="*/ 189556 w 233028"/>
                <a:gd name="connsiteY2" fmla="*/ 43564 h 123279"/>
                <a:gd name="connsiteX3" fmla="*/ 67168 w 233028"/>
                <a:gd name="connsiteY3" fmla="*/ 40445 h 123279"/>
                <a:gd name="connsiteX4" fmla="*/ 0 w 233028"/>
                <a:gd name="connsiteY4" fmla="*/ 103896 h 123279"/>
                <a:gd name="connsiteX5" fmla="*/ 232962 w 233028"/>
                <a:gd name="connsiteY5" fmla="*/ 103896 h 123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3028" h="123279">
                  <a:moveTo>
                    <a:pt x="233029" y="103962"/>
                  </a:moveTo>
                  <a:cubicBezTo>
                    <a:pt x="206215" y="49803"/>
                    <a:pt x="208007" y="6729"/>
                    <a:pt x="199910" y="15556"/>
                  </a:cubicBezTo>
                  <a:cubicBezTo>
                    <a:pt x="204688" y="35866"/>
                    <a:pt x="200706" y="44759"/>
                    <a:pt x="189556" y="43564"/>
                  </a:cubicBezTo>
                  <a:cubicBezTo>
                    <a:pt x="189556" y="43564"/>
                    <a:pt x="113760" y="-52342"/>
                    <a:pt x="67168" y="40445"/>
                  </a:cubicBezTo>
                  <a:cubicBezTo>
                    <a:pt x="38960" y="96728"/>
                    <a:pt x="2788" y="81728"/>
                    <a:pt x="0" y="103896"/>
                  </a:cubicBezTo>
                  <a:cubicBezTo>
                    <a:pt x="11217" y="125997"/>
                    <a:pt x="219887" y="133232"/>
                    <a:pt x="232962" y="103896"/>
                  </a:cubicBezTo>
                  <a:close/>
                </a:path>
              </a:pathLst>
            </a:custGeom>
            <a:solidFill>
              <a:srgbClr val="000000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3" name="Freihandform: Form 232">
              <a:extLst>
                <a:ext uri="{FF2B5EF4-FFF2-40B4-BE49-F238E27FC236}">
                  <a16:creationId xmlns:a16="http://schemas.microsoft.com/office/drawing/2014/main" id="{5FD11915-1F32-6CC1-B157-6285DEC1C730}"/>
                </a:ext>
              </a:extLst>
            </p:cNvPr>
            <p:cNvSpPr/>
            <p:nvPr/>
          </p:nvSpPr>
          <p:spPr>
            <a:xfrm>
              <a:off x="1122956" y="5990227"/>
              <a:ext cx="192807" cy="145949"/>
            </a:xfrm>
            <a:custGeom>
              <a:avLst/>
              <a:gdLst>
                <a:gd name="connsiteX0" fmla="*/ 121194 w 192807"/>
                <a:gd name="connsiteY0" fmla="*/ 0 h 145949"/>
                <a:gd name="connsiteX1" fmla="*/ 192808 w 192807"/>
                <a:gd name="connsiteY1" fmla="*/ 145950 h 145949"/>
                <a:gd name="connsiteX2" fmla="*/ 0 w 192807"/>
                <a:gd name="connsiteY2" fmla="*/ 145950 h 145949"/>
                <a:gd name="connsiteX3" fmla="*/ 26482 w 192807"/>
                <a:gd name="connsiteY3" fmla="*/ 0 h 145949"/>
                <a:gd name="connsiteX4" fmla="*/ 121194 w 192807"/>
                <a:gd name="connsiteY4" fmla="*/ 0 h 14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2807" h="145949">
                  <a:moveTo>
                    <a:pt x="121194" y="0"/>
                  </a:moveTo>
                  <a:cubicBezTo>
                    <a:pt x="135463" y="100951"/>
                    <a:pt x="192808" y="119468"/>
                    <a:pt x="192808" y="145950"/>
                  </a:cubicBezTo>
                  <a:lnTo>
                    <a:pt x="0" y="145950"/>
                  </a:lnTo>
                  <a:cubicBezTo>
                    <a:pt x="0" y="94712"/>
                    <a:pt x="24491" y="51305"/>
                    <a:pt x="26482" y="0"/>
                  </a:cubicBezTo>
                  <a:lnTo>
                    <a:pt x="121194" y="0"/>
                  </a:lnTo>
                  <a:close/>
                </a:path>
              </a:pathLst>
            </a:custGeom>
            <a:solidFill>
              <a:srgbClr val="C09066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4" name="Freihandform: Form 233">
              <a:extLst>
                <a:ext uri="{FF2B5EF4-FFF2-40B4-BE49-F238E27FC236}">
                  <a16:creationId xmlns:a16="http://schemas.microsoft.com/office/drawing/2014/main" id="{1496D542-061D-1F3D-8E20-9666BBB4D21F}"/>
                </a:ext>
              </a:extLst>
            </p:cNvPr>
            <p:cNvSpPr/>
            <p:nvPr/>
          </p:nvSpPr>
          <p:spPr>
            <a:xfrm>
              <a:off x="840216" y="6123567"/>
              <a:ext cx="232896" cy="60795"/>
            </a:xfrm>
            <a:custGeom>
              <a:avLst/>
              <a:gdLst>
                <a:gd name="connsiteX0" fmla="*/ 14071 w 232896"/>
                <a:gd name="connsiteY0" fmla="*/ 60796 h 60795"/>
                <a:gd name="connsiteX1" fmla="*/ 219356 w 232896"/>
                <a:gd name="connsiteY1" fmla="*/ 60796 h 60795"/>
                <a:gd name="connsiteX2" fmla="*/ 232896 w 232896"/>
                <a:gd name="connsiteY2" fmla="*/ 41482 h 60795"/>
                <a:gd name="connsiteX3" fmla="*/ 232896 w 232896"/>
                <a:gd name="connsiteY3" fmla="*/ 0 h 60795"/>
                <a:gd name="connsiteX4" fmla="*/ 0 w 232896"/>
                <a:gd name="connsiteY4" fmla="*/ 0 h 60795"/>
                <a:gd name="connsiteX5" fmla="*/ 0 w 232896"/>
                <a:gd name="connsiteY5" fmla="*/ 41349 h 60795"/>
                <a:gd name="connsiteX6" fmla="*/ 14071 w 232896"/>
                <a:gd name="connsiteY6" fmla="*/ 60796 h 60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2896" h="60795">
                  <a:moveTo>
                    <a:pt x="14071" y="60796"/>
                  </a:moveTo>
                  <a:lnTo>
                    <a:pt x="219356" y="60796"/>
                  </a:lnTo>
                  <a:cubicBezTo>
                    <a:pt x="227188" y="59203"/>
                    <a:pt x="232896" y="51105"/>
                    <a:pt x="232896" y="41482"/>
                  </a:cubicBezTo>
                  <a:lnTo>
                    <a:pt x="232896" y="0"/>
                  </a:lnTo>
                  <a:lnTo>
                    <a:pt x="0" y="0"/>
                  </a:lnTo>
                  <a:lnTo>
                    <a:pt x="0" y="41349"/>
                  </a:lnTo>
                  <a:cubicBezTo>
                    <a:pt x="0" y="51105"/>
                    <a:pt x="6040" y="59468"/>
                    <a:pt x="14071" y="60796"/>
                  </a:cubicBezTo>
                  <a:close/>
                </a:path>
              </a:pathLst>
            </a:custGeom>
            <a:solidFill>
              <a:srgbClr val="404040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5" name="Freihandform: Form 234">
              <a:extLst>
                <a:ext uri="{FF2B5EF4-FFF2-40B4-BE49-F238E27FC236}">
                  <a16:creationId xmlns:a16="http://schemas.microsoft.com/office/drawing/2014/main" id="{542AD102-3CCD-1194-8C42-03D2B5E52E9F}"/>
                </a:ext>
              </a:extLst>
            </p:cNvPr>
            <p:cNvSpPr/>
            <p:nvPr/>
          </p:nvSpPr>
          <p:spPr>
            <a:xfrm>
              <a:off x="1109417" y="6019671"/>
              <a:ext cx="232962" cy="123279"/>
            </a:xfrm>
            <a:custGeom>
              <a:avLst/>
              <a:gdLst>
                <a:gd name="connsiteX0" fmla="*/ 0 w 232962"/>
                <a:gd name="connsiteY0" fmla="*/ 103896 h 123279"/>
                <a:gd name="connsiteX1" fmla="*/ 33252 w 232962"/>
                <a:gd name="connsiteY1" fmla="*/ 15688 h 123279"/>
                <a:gd name="connsiteX2" fmla="*/ 43407 w 232962"/>
                <a:gd name="connsiteY2" fmla="*/ 43564 h 123279"/>
                <a:gd name="connsiteX3" fmla="*/ 165795 w 232962"/>
                <a:gd name="connsiteY3" fmla="*/ 40445 h 123279"/>
                <a:gd name="connsiteX4" fmla="*/ 232962 w 232962"/>
                <a:gd name="connsiteY4" fmla="*/ 103896 h 123279"/>
                <a:gd name="connsiteX5" fmla="*/ 0 w 232962"/>
                <a:gd name="connsiteY5" fmla="*/ 103896 h 123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2962" h="123279">
                  <a:moveTo>
                    <a:pt x="0" y="103896"/>
                  </a:moveTo>
                  <a:cubicBezTo>
                    <a:pt x="26814" y="49737"/>
                    <a:pt x="25221" y="6861"/>
                    <a:pt x="33252" y="15688"/>
                  </a:cubicBezTo>
                  <a:cubicBezTo>
                    <a:pt x="28473" y="35998"/>
                    <a:pt x="32256" y="44693"/>
                    <a:pt x="43407" y="43564"/>
                  </a:cubicBezTo>
                  <a:cubicBezTo>
                    <a:pt x="43407" y="43564"/>
                    <a:pt x="119202" y="-52342"/>
                    <a:pt x="165795" y="40445"/>
                  </a:cubicBezTo>
                  <a:cubicBezTo>
                    <a:pt x="194003" y="96728"/>
                    <a:pt x="230175" y="81728"/>
                    <a:pt x="232962" y="103896"/>
                  </a:cubicBezTo>
                  <a:cubicBezTo>
                    <a:pt x="221746" y="125997"/>
                    <a:pt x="13075" y="133232"/>
                    <a:pt x="0" y="103896"/>
                  </a:cubicBezTo>
                  <a:close/>
                </a:path>
              </a:pathLst>
            </a:custGeom>
            <a:solidFill>
              <a:srgbClr val="000000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6" name="Freihandform: Form 235">
              <a:extLst>
                <a:ext uri="{FF2B5EF4-FFF2-40B4-BE49-F238E27FC236}">
                  <a16:creationId xmlns:a16="http://schemas.microsoft.com/office/drawing/2014/main" id="{8485190F-0E20-6054-E0D9-19C5F8110F13}"/>
                </a:ext>
              </a:extLst>
            </p:cNvPr>
            <p:cNvSpPr/>
            <p:nvPr/>
          </p:nvSpPr>
          <p:spPr>
            <a:xfrm>
              <a:off x="1109483" y="6123567"/>
              <a:ext cx="232962" cy="60795"/>
            </a:xfrm>
            <a:custGeom>
              <a:avLst/>
              <a:gdLst>
                <a:gd name="connsiteX0" fmla="*/ 218825 w 232962"/>
                <a:gd name="connsiteY0" fmla="*/ 60796 h 60795"/>
                <a:gd name="connsiteX1" fmla="*/ 13540 w 232962"/>
                <a:gd name="connsiteY1" fmla="*/ 60796 h 60795"/>
                <a:gd name="connsiteX2" fmla="*/ 0 w 232962"/>
                <a:gd name="connsiteY2" fmla="*/ 41482 h 60795"/>
                <a:gd name="connsiteX3" fmla="*/ 0 w 232962"/>
                <a:gd name="connsiteY3" fmla="*/ 0 h 60795"/>
                <a:gd name="connsiteX4" fmla="*/ 232962 w 232962"/>
                <a:gd name="connsiteY4" fmla="*/ 0 h 60795"/>
                <a:gd name="connsiteX5" fmla="*/ 232962 w 232962"/>
                <a:gd name="connsiteY5" fmla="*/ 41349 h 60795"/>
                <a:gd name="connsiteX6" fmla="*/ 218892 w 232962"/>
                <a:gd name="connsiteY6" fmla="*/ 60796 h 60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2962" h="60795">
                  <a:moveTo>
                    <a:pt x="218825" y="60796"/>
                  </a:moveTo>
                  <a:lnTo>
                    <a:pt x="13540" y="60796"/>
                  </a:lnTo>
                  <a:cubicBezTo>
                    <a:pt x="5708" y="59203"/>
                    <a:pt x="0" y="51105"/>
                    <a:pt x="0" y="41482"/>
                  </a:cubicBezTo>
                  <a:lnTo>
                    <a:pt x="0" y="0"/>
                  </a:lnTo>
                  <a:lnTo>
                    <a:pt x="232962" y="0"/>
                  </a:lnTo>
                  <a:lnTo>
                    <a:pt x="232962" y="41349"/>
                  </a:lnTo>
                  <a:cubicBezTo>
                    <a:pt x="232962" y="51105"/>
                    <a:pt x="226923" y="59468"/>
                    <a:pt x="218892" y="60796"/>
                  </a:cubicBezTo>
                  <a:close/>
                </a:path>
              </a:pathLst>
            </a:custGeom>
            <a:solidFill>
              <a:srgbClr val="404040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7" name="Freihandform: Form 236">
              <a:extLst>
                <a:ext uri="{FF2B5EF4-FFF2-40B4-BE49-F238E27FC236}">
                  <a16:creationId xmlns:a16="http://schemas.microsoft.com/office/drawing/2014/main" id="{77D5FADB-5602-13E2-3C66-2E572BFCFF9A}"/>
                </a:ext>
              </a:extLst>
            </p:cNvPr>
            <p:cNvSpPr/>
            <p:nvPr/>
          </p:nvSpPr>
          <p:spPr>
            <a:xfrm>
              <a:off x="896498" y="5764234"/>
              <a:ext cx="143759" cy="225993"/>
            </a:xfrm>
            <a:custGeom>
              <a:avLst/>
              <a:gdLst>
                <a:gd name="connsiteX0" fmla="*/ 143760 w 143759"/>
                <a:gd name="connsiteY0" fmla="*/ 66 h 225993"/>
                <a:gd name="connsiteX1" fmla="*/ 0 w 143759"/>
                <a:gd name="connsiteY1" fmla="*/ 66 h 225993"/>
                <a:gd name="connsiteX2" fmla="*/ 41880 w 143759"/>
                <a:gd name="connsiteY2" fmla="*/ 225993 h 225993"/>
                <a:gd name="connsiteX3" fmla="*/ 136592 w 143759"/>
                <a:gd name="connsiteY3" fmla="*/ 225993 h 225993"/>
                <a:gd name="connsiteX4" fmla="*/ 142963 w 143759"/>
                <a:gd name="connsiteY4" fmla="*/ 10885 h 225993"/>
                <a:gd name="connsiteX5" fmla="*/ 143760 w 143759"/>
                <a:gd name="connsiteY5" fmla="*/ 0 h 225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759" h="225993">
                  <a:moveTo>
                    <a:pt x="143760" y="66"/>
                  </a:moveTo>
                  <a:lnTo>
                    <a:pt x="0" y="66"/>
                  </a:lnTo>
                  <a:cubicBezTo>
                    <a:pt x="18186" y="82566"/>
                    <a:pt x="35708" y="166591"/>
                    <a:pt x="41880" y="225993"/>
                  </a:cubicBezTo>
                  <a:lnTo>
                    <a:pt x="136592" y="225993"/>
                  </a:lnTo>
                  <a:lnTo>
                    <a:pt x="142963" y="10885"/>
                  </a:lnTo>
                  <a:lnTo>
                    <a:pt x="143760" y="0"/>
                  </a:lnTo>
                  <a:close/>
                </a:path>
              </a:pathLst>
            </a:custGeom>
            <a:solidFill>
              <a:srgbClr val="C09066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8" name="Freihandform: Form 237">
              <a:extLst>
                <a:ext uri="{FF2B5EF4-FFF2-40B4-BE49-F238E27FC236}">
                  <a16:creationId xmlns:a16="http://schemas.microsoft.com/office/drawing/2014/main" id="{4D078E7B-B65B-1609-4FBB-6DCAFBE91E63}"/>
                </a:ext>
              </a:extLst>
            </p:cNvPr>
            <p:cNvSpPr/>
            <p:nvPr/>
          </p:nvSpPr>
          <p:spPr>
            <a:xfrm>
              <a:off x="1142270" y="5764300"/>
              <a:ext cx="143759" cy="225993"/>
            </a:xfrm>
            <a:custGeom>
              <a:avLst/>
              <a:gdLst>
                <a:gd name="connsiteX0" fmla="*/ 0 w 143759"/>
                <a:gd name="connsiteY0" fmla="*/ 0 h 225993"/>
                <a:gd name="connsiteX1" fmla="*/ 796 w 143759"/>
                <a:gd name="connsiteY1" fmla="*/ 10885 h 225993"/>
                <a:gd name="connsiteX2" fmla="*/ 7168 w 143759"/>
                <a:gd name="connsiteY2" fmla="*/ 225993 h 225993"/>
                <a:gd name="connsiteX3" fmla="*/ 101880 w 143759"/>
                <a:gd name="connsiteY3" fmla="*/ 225993 h 225993"/>
                <a:gd name="connsiteX4" fmla="*/ 143760 w 143759"/>
                <a:gd name="connsiteY4" fmla="*/ 66 h 225993"/>
                <a:gd name="connsiteX5" fmla="*/ 0 w 143759"/>
                <a:gd name="connsiteY5" fmla="*/ 66 h 225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759" h="225993">
                  <a:moveTo>
                    <a:pt x="0" y="0"/>
                  </a:moveTo>
                  <a:lnTo>
                    <a:pt x="796" y="10885"/>
                  </a:lnTo>
                  <a:lnTo>
                    <a:pt x="7168" y="225993"/>
                  </a:lnTo>
                  <a:lnTo>
                    <a:pt x="101880" y="225993"/>
                  </a:lnTo>
                  <a:cubicBezTo>
                    <a:pt x="108118" y="166591"/>
                    <a:pt x="125574" y="82499"/>
                    <a:pt x="143760" y="66"/>
                  </a:cubicBezTo>
                  <a:lnTo>
                    <a:pt x="0" y="66"/>
                  </a:lnTo>
                  <a:close/>
                </a:path>
              </a:pathLst>
            </a:custGeom>
            <a:solidFill>
              <a:srgbClr val="C09066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9" name="Freihandform: Form 238">
              <a:extLst>
                <a:ext uri="{FF2B5EF4-FFF2-40B4-BE49-F238E27FC236}">
                  <a16:creationId xmlns:a16="http://schemas.microsoft.com/office/drawing/2014/main" id="{BBBD3619-E527-A90B-FA58-61263EB56C7F}"/>
                </a:ext>
              </a:extLst>
            </p:cNvPr>
            <p:cNvSpPr/>
            <p:nvPr/>
          </p:nvSpPr>
          <p:spPr>
            <a:xfrm>
              <a:off x="829438" y="5205456"/>
              <a:ext cx="241480" cy="662781"/>
            </a:xfrm>
            <a:custGeom>
              <a:avLst/>
              <a:gdLst>
                <a:gd name="connsiteX0" fmla="*/ 219316 w 241480"/>
                <a:gd name="connsiteY0" fmla="*/ 656609 h 662781"/>
                <a:gd name="connsiteX1" fmla="*/ 76618 w 241480"/>
                <a:gd name="connsiteY1" fmla="*/ 662781 h 662781"/>
                <a:gd name="connsiteX2" fmla="*/ 955 w 241480"/>
                <a:gd name="connsiteY2" fmla="*/ 0 h 662781"/>
                <a:gd name="connsiteX3" fmla="*/ 235444 w 241480"/>
                <a:gd name="connsiteY3" fmla="*/ 0 h 662781"/>
                <a:gd name="connsiteX4" fmla="*/ 241152 w 241480"/>
                <a:gd name="connsiteY4" fmla="*/ 295617 h 662781"/>
                <a:gd name="connsiteX5" fmla="*/ 219316 w 241480"/>
                <a:gd name="connsiteY5" fmla="*/ 656609 h 662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480" h="662781">
                  <a:moveTo>
                    <a:pt x="219316" y="656609"/>
                  </a:moveTo>
                  <a:lnTo>
                    <a:pt x="76618" y="662781"/>
                  </a:lnTo>
                  <a:cubicBezTo>
                    <a:pt x="-14244" y="417142"/>
                    <a:pt x="955" y="0"/>
                    <a:pt x="955" y="0"/>
                  </a:cubicBezTo>
                  <a:lnTo>
                    <a:pt x="235444" y="0"/>
                  </a:lnTo>
                  <a:cubicBezTo>
                    <a:pt x="235444" y="0"/>
                    <a:pt x="243143" y="158361"/>
                    <a:pt x="241152" y="295617"/>
                  </a:cubicBezTo>
                  <a:cubicBezTo>
                    <a:pt x="239825" y="386943"/>
                    <a:pt x="219316" y="656609"/>
                    <a:pt x="219316" y="656609"/>
                  </a:cubicBezTo>
                  <a:close/>
                </a:path>
              </a:pathLst>
            </a:custGeom>
            <a:solidFill>
              <a:srgbClr val="EC6602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0" name="Freihandform: Form 239">
              <a:extLst>
                <a:ext uri="{FF2B5EF4-FFF2-40B4-BE49-F238E27FC236}">
                  <a16:creationId xmlns:a16="http://schemas.microsoft.com/office/drawing/2014/main" id="{CA1F3F5A-96D4-8825-42B4-C716DF6FDAEE}"/>
                </a:ext>
              </a:extLst>
            </p:cNvPr>
            <p:cNvSpPr/>
            <p:nvPr/>
          </p:nvSpPr>
          <p:spPr>
            <a:xfrm>
              <a:off x="830393" y="5088311"/>
              <a:ext cx="234422" cy="234422"/>
            </a:xfrm>
            <a:custGeom>
              <a:avLst/>
              <a:gdLst>
                <a:gd name="connsiteX0" fmla="*/ 234423 w 234422"/>
                <a:gd name="connsiteY0" fmla="*/ 117211 h 234422"/>
                <a:gd name="connsiteX1" fmla="*/ 117211 w 234422"/>
                <a:gd name="connsiteY1" fmla="*/ 234423 h 234422"/>
                <a:gd name="connsiteX2" fmla="*/ 0 w 234422"/>
                <a:gd name="connsiteY2" fmla="*/ 117211 h 234422"/>
                <a:gd name="connsiteX3" fmla="*/ 117211 w 234422"/>
                <a:gd name="connsiteY3" fmla="*/ 0 h 234422"/>
                <a:gd name="connsiteX4" fmla="*/ 234423 w 234422"/>
                <a:gd name="connsiteY4" fmla="*/ 117211 h 234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4422" h="234422">
                  <a:moveTo>
                    <a:pt x="234423" y="117211"/>
                  </a:moveTo>
                  <a:cubicBezTo>
                    <a:pt x="234423" y="181945"/>
                    <a:pt x="181945" y="234423"/>
                    <a:pt x="117211" y="234423"/>
                  </a:cubicBezTo>
                  <a:cubicBezTo>
                    <a:pt x="52477" y="234423"/>
                    <a:pt x="0" y="181945"/>
                    <a:pt x="0" y="117211"/>
                  </a:cubicBezTo>
                  <a:cubicBezTo>
                    <a:pt x="0" y="52477"/>
                    <a:pt x="52477" y="0"/>
                    <a:pt x="117211" y="0"/>
                  </a:cubicBezTo>
                  <a:cubicBezTo>
                    <a:pt x="181945" y="0"/>
                    <a:pt x="234423" y="52477"/>
                    <a:pt x="234423" y="117211"/>
                  </a:cubicBezTo>
                  <a:close/>
                </a:path>
              </a:pathLst>
            </a:custGeom>
            <a:solidFill>
              <a:srgbClr val="EC6602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1" name="Freihandform: Form 240">
              <a:extLst>
                <a:ext uri="{FF2B5EF4-FFF2-40B4-BE49-F238E27FC236}">
                  <a16:creationId xmlns:a16="http://schemas.microsoft.com/office/drawing/2014/main" id="{E8C9AD8A-A5A9-00AE-9FE0-420251320288}"/>
                </a:ext>
              </a:extLst>
            </p:cNvPr>
            <p:cNvSpPr/>
            <p:nvPr/>
          </p:nvSpPr>
          <p:spPr>
            <a:xfrm>
              <a:off x="1111610" y="5205257"/>
              <a:ext cx="240869" cy="662980"/>
            </a:xfrm>
            <a:custGeom>
              <a:avLst/>
              <a:gdLst>
                <a:gd name="connsiteX0" fmla="*/ 22165 w 240869"/>
                <a:gd name="connsiteY0" fmla="*/ 656808 h 662980"/>
                <a:gd name="connsiteX1" fmla="*/ 164863 w 240869"/>
                <a:gd name="connsiteY1" fmla="*/ 662980 h 662980"/>
                <a:gd name="connsiteX2" fmla="*/ 239796 w 240869"/>
                <a:gd name="connsiteY2" fmla="*/ 0 h 662980"/>
                <a:gd name="connsiteX3" fmla="*/ 6037 w 240869"/>
                <a:gd name="connsiteY3" fmla="*/ 0 h 662980"/>
                <a:gd name="connsiteX4" fmla="*/ 329 w 240869"/>
                <a:gd name="connsiteY4" fmla="*/ 295816 h 662980"/>
                <a:gd name="connsiteX5" fmla="*/ 22165 w 240869"/>
                <a:gd name="connsiteY5" fmla="*/ 656808 h 662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0869" h="662980">
                  <a:moveTo>
                    <a:pt x="22165" y="656808"/>
                  </a:moveTo>
                  <a:lnTo>
                    <a:pt x="164863" y="662980"/>
                  </a:lnTo>
                  <a:cubicBezTo>
                    <a:pt x="255725" y="417341"/>
                    <a:pt x="239796" y="0"/>
                    <a:pt x="239796" y="0"/>
                  </a:cubicBezTo>
                  <a:lnTo>
                    <a:pt x="6037" y="0"/>
                  </a:lnTo>
                  <a:cubicBezTo>
                    <a:pt x="6037" y="0"/>
                    <a:pt x="-1662" y="158560"/>
                    <a:pt x="329" y="295816"/>
                  </a:cubicBezTo>
                  <a:cubicBezTo>
                    <a:pt x="1656" y="387142"/>
                    <a:pt x="22165" y="656808"/>
                    <a:pt x="22165" y="656808"/>
                  </a:cubicBezTo>
                  <a:close/>
                </a:path>
              </a:pathLst>
            </a:custGeom>
            <a:solidFill>
              <a:srgbClr val="EC6602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2" name="Freihandform: Form 241">
              <a:extLst>
                <a:ext uri="{FF2B5EF4-FFF2-40B4-BE49-F238E27FC236}">
                  <a16:creationId xmlns:a16="http://schemas.microsoft.com/office/drawing/2014/main" id="{B7DFFA09-A017-9EFC-04EE-25ADEFD7C978}"/>
                </a:ext>
              </a:extLst>
            </p:cNvPr>
            <p:cNvSpPr/>
            <p:nvPr/>
          </p:nvSpPr>
          <p:spPr>
            <a:xfrm>
              <a:off x="1117647" y="5088643"/>
              <a:ext cx="233758" cy="233758"/>
            </a:xfrm>
            <a:custGeom>
              <a:avLst/>
              <a:gdLst>
                <a:gd name="connsiteX0" fmla="*/ 233759 w 233758"/>
                <a:gd name="connsiteY0" fmla="*/ 116879 h 233758"/>
                <a:gd name="connsiteX1" fmla="*/ 116879 w 233758"/>
                <a:gd name="connsiteY1" fmla="*/ 233759 h 233758"/>
                <a:gd name="connsiteX2" fmla="*/ 0 w 233758"/>
                <a:gd name="connsiteY2" fmla="*/ 116879 h 233758"/>
                <a:gd name="connsiteX3" fmla="*/ 116879 w 233758"/>
                <a:gd name="connsiteY3" fmla="*/ 0 h 233758"/>
                <a:gd name="connsiteX4" fmla="*/ 233759 w 233758"/>
                <a:gd name="connsiteY4" fmla="*/ 116879 h 233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3758" h="233758">
                  <a:moveTo>
                    <a:pt x="233759" y="116879"/>
                  </a:moveTo>
                  <a:cubicBezTo>
                    <a:pt x="233759" y="181430"/>
                    <a:pt x="181430" y="233759"/>
                    <a:pt x="116879" y="233759"/>
                  </a:cubicBezTo>
                  <a:cubicBezTo>
                    <a:pt x="52329" y="233759"/>
                    <a:pt x="0" y="181430"/>
                    <a:pt x="0" y="116879"/>
                  </a:cubicBezTo>
                  <a:cubicBezTo>
                    <a:pt x="0" y="52329"/>
                    <a:pt x="52329" y="0"/>
                    <a:pt x="116879" y="0"/>
                  </a:cubicBezTo>
                  <a:cubicBezTo>
                    <a:pt x="181430" y="0"/>
                    <a:pt x="233759" y="52329"/>
                    <a:pt x="233759" y="116879"/>
                  </a:cubicBezTo>
                  <a:close/>
                </a:path>
              </a:pathLst>
            </a:custGeom>
            <a:solidFill>
              <a:srgbClr val="EC6602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3" name="Freihandform: Form 242">
              <a:extLst>
                <a:ext uri="{FF2B5EF4-FFF2-40B4-BE49-F238E27FC236}">
                  <a16:creationId xmlns:a16="http://schemas.microsoft.com/office/drawing/2014/main" id="{DAD733DF-EDF9-A68E-2572-E83A3AA4018A}"/>
                </a:ext>
              </a:extLst>
            </p:cNvPr>
            <p:cNvSpPr/>
            <p:nvPr/>
          </p:nvSpPr>
          <p:spPr>
            <a:xfrm>
              <a:off x="985507" y="5265124"/>
              <a:ext cx="86693" cy="597007"/>
            </a:xfrm>
            <a:custGeom>
              <a:avLst/>
              <a:gdLst>
                <a:gd name="connsiteX0" fmla="*/ 81764 w 86693"/>
                <a:gd name="connsiteY0" fmla="*/ 0 h 597007"/>
                <a:gd name="connsiteX1" fmla="*/ 11211 w 86693"/>
                <a:gd name="connsiteY1" fmla="*/ 243582 h 597007"/>
                <a:gd name="connsiteX2" fmla="*/ 11211 w 86693"/>
                <a:gd name="connsiteY2" fmla="*/ 519154 h 597007"/>
                <a:gd name="connsiteX3" fmla="*/ 63180 w 86693"/>
                <a:gd name="connsiteY3" fmla="*/ 597008 h 597007"/>
                <a:gd name="connsiteX4" fmla="*/ 81764 w 86693"/>
                <a:gd name="connsiteY4" fmla="*/ 0 h 597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693" h="597007">
                  <a:moveTo>
                    <a:pt x="81764" y="0"/>
                  </a:moveTo>
                  <a:cubicBezTo>
                    <a:pt x="81764" y="0"/>
                    <a:pt x="12008" y="102543"/>
                    <a:pt x="11211" y="243582"/>
                  </a:cubicBezTo>
                  <a:cubicBezTo>
                    <a:pt x="10415" y="384620"/>
                    <a:pt x="-13611" y="483911"/>
                    <a:pt x="11211" y="519154"/>
                  </a:cubicBezTo>
                  <a:cubicBezTo>
                    <a:pt x="36034" y="554397"/>
                    <a:pt x="63180" y="597008"/>
                    <a:pt x="63180" y="597008"/>
                  </a:cubicBezTo>
                  <a:cubicBezTo>
                    <a:pt x="73733" y="499177"/>
                    <a:pt x="96764" y="227055"/>
                    <a:pt x="81764" y="0"/>
                  </a:cubicBezTo>
                  <a:close/>
                </a:path>
              </a:pathLst>
            </a:custGeom>
            <a:solidFill>
              <a:srgbClr val="CF4B00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4" name="Freihandform: Form 243">
              <a:extLst>
                <a:ext uri="{FF2B5EF4-FFF2-40B4-BE49-F238E27FC236}">
                  <a16:creationId xmlns:a16="http://schemas.microsoft.com/office/drawing/2014/main" id="{688F1FA6-1533-B1C8-28F5-6BE2482024E5}"/>
                </a:ext>
              </a:extLst>
            </p:cNvPr>
            <p:cNvSpPr/>
            <p:nvPr/>
          </p:nvSpPr>
          <p:spPr>
            <a:xfrm>
              <a:off x="688359" y="4343628"/>
              <a:ext cx="397256" cy="861960"/>
            </a:xfrm>
            <a:custGeom>
              <a:avLst/>
              <a:gdLst>
                <a:gd name="connsiteX0" fmla="*/ 376523 w 397256"/>
                <a:gd name="connsiteY0" fmla="*/ 861894 h 861960"/>
                <a:gd name="connsiteX1" fmla="*/ 142034 w 397256"/>
                <a:gd name="connsiteY1" fmla="*/ 861894 h 861960"/>
                <a:gd name="connsiteX2" fmla="*/ 79778 w 397256"/>
                <a:gd name="connsiteY2" fmla="*/ 632715 h 861960"/>
                <a:gd name="connsiteX3" fmla="*/ 16526 w 397256"/>
                <a:gd name="connsiteY3" fmla="*/ 290307 h 861960"/>
                <a:gd name="connsiteX4" fmla="*/ 0 w 397256"/>
                <a:gd name="connsiteY4" fmla="*/ 0 h 861960"/>
                <a:gd name="connsiteX5" fmla="*/ 393182 w 397256"/>
                <a:gd name="connsiteY5" fmla="*/ 0 h 861960"/>
                <a:gd name="connsiteX6" fmla="*/ 376523 w 397256"/>
                <a:gd name="connsiteY6" fmla="*/ 861961 h 861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7256" h="861960">
                  <a:moveTo>
                    <a:pt x="376523" y="861894"/>
                  </a:moveTo>
                  <a:lnTo>
                    <a:pt x="142034" y="861894"/>
                  </a:lnTo>
                  <a:cubicBezTo>
                    <a:pt x="142034" y="861894"/>
                    <a:pt x="103539" y="712427"/>
                    <a:pt x="79778" y="632715"/>
                  </a:cubicBezTo>
                  <a:cubicBezTo>
                    <a:pt x="56017" y="553004"/>
                    <a:pt x="28606" y="395372"/>
                    <a:pt x="16526" y="290307"/>
                  </a:cubicBezTo>
                  <a:cubicBezTo>
                    <a:pt x="4380" y="185242"/>
                    <a:pt x="0" y="0"/>
                    <a:pt x="0" y="0"/>
                  </a:cubicBezTo>
                  <a:lnTo>
                    <a:pt x="393182" y="0"/>
                  </a:lnTo>
                  <a:cubicBezTo>
                    <a:pt x="403602" y="283338"/>
                    <a:pt x="392585" y="581875"/>
                    <a:pt x="376523" y="861961"/>
                  </a:cubicBezTo>
                  <a:close/>
                </a:path>
              </a:pathLst>
            </a:custGeom>
            <a:solidFill>
              <a:srgbClr val="EC6602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5" name="Freihandform: Form 244">
              <a:extLst>
                <a:ext uri="{FF2B5EF4-FFF2-40B4-BE49-F238E27FC236}">
                  <a16:creationId xmlns:a16="http://schemas.microsoft.com/office/drawing/2014/main" id="{850447DE-F5E4-1531-8107-B0DF57BD3713}"/>
                </a:ext>
              </a:extLst>
            </p:cNvPr>
            <p:cNvSpPr/>
            <p:nvPr/>
          </p:nvSpPr>
          <p:spPr>
            <a:xfrm>
              <a:off x="1097988" y="4343628"/>
              <a:ext cx="397509" cy="861761"/>
            </a:xfrm>
            <a:custGeom>
              <a:avLst/>
              <a:gdLst>
                <a:gd name="connsiteX0" fmla="*/ 19659 w 397509"/>
                <a:gd name="connsiteY0" fmla="*/ 861695 h 861761"/>
                <a:gd name="connsiteX1" fmla="*/ 253418 w 397509"/>
                <a:gd name="connsiteY1" fmla="*/ 861695 h 861761"/>
                <a:gd name="connsiteX2" fmla="*/ 316404 w 397509"/>
                <a:gd name="connsiteY2" fmla="*/ 632317 h 861761"/>
                <a:gd name="connsiteX3" fmla="*/ 379656 w 397509"/>
                <a:gd name="connsiteY3" fmla="*/ 289909 h 861761"/>
                <a:gd name="connsiteX4" fmla="*/ 397509 w 397509"/>
                <a:gd name="connsiteY4" fmla="*/ 0 h 861761"/>
                <a:gd name="connsiteX5" fmla="*/ 4327 w 397509"/>
                <a:gd name="connsiteY5" fmla="*/ 0 h 861761"/>
                <a:gd name="connsiteX6" fmla="*/ 19659 w 397509"/>
                <a:gd name="connsiteY6" fmla="*/ 861762 h 861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7509" h="861761">
                  <a:moveTo>
                    <a:pt x="19659" y="861695"/>
                  </a:moveTo>
                  <a:lnTo>
                    <a:pt x="253418" y="861695"/>
                  </a:lnTo>
                  <a:cubicBezTo>
                    <a:pt x="253418" y="861695"/>
                    <a:pt x="292643" y="712029"/>
                    <a:pt x="316404" y="632317"/>
                  </a:cubicBezTo>
                  <a:cubicBezTo>
                    <a:pt x="340165" y="552605"/>
                    <a:pt x="367576" y="394974"/>
                    <a:pt x="379656" y="289909"/>
                  </a:cubicBezTo>
                  <a:cubicBezTo>
                    <a:pt x="391801" y="184843"/>
                    <a:pt x="397509" y="0"/>
                    <a:pt x="397509" y="0"/>
                  </a:cubicBezTo>
                  <a:lnTo>
                    <a:pt x="4327" y="0"/>
                  </a:lnTo>
                  <a:cubicBezTo>
                    <a:pt x="-6093" y="283338"/>
                    <a:pt x="3597" y="581676"/>
                    <a:pt x="19659" y="861762"/>
                  </a:cubicBezTo>
                  <a:close/>
                </a:path>
              </a:pathLst>
            </a:custGeom>
            <a:solidFill>
              <a:srgbClr val="EC6602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6" name="Freihandform: Form 245">
              <a:extLst>
                <a:ext uri="{FF2B5EF4-FFF2-40B4-BE49-F238E27FC236}">
                  <a16:creationId xmlns:a16="http://schemas.microsoft.com/office/drawing/2014/main" id="{4548FFB2-3A37-E4EE-5D14-3A8D80619D3A}"/>
                </a:ext>
              </a:extLst>
            </p:cNvPr>
            <p:cNvSpPr/>
            <p:nvPr/>
          </p:nvSpPr>
          <p:spPr>
            <a:xfrm>
              <a:off x="1102315" y="4144382"/>
              <a:ext cx="393182" cy="393182"/>
            </a:xfrm>
            <a:custGeom>
              <a:avLst/>
              <a:gdLst>
                <a:gd name="connsiteX0" fmla="*/ 393182 w 393182"/>
                <a:gd name="connsiteY0" fmla="*/ 196591 h 393182"/>
                <a:gd name="connsiteX1" fmla="*/ 196591 w 393182"/>
                <a:gd name="connsiteY1" fmla="*/ 393182 h 393182"/>
                <a:gd name="connsiteX2" fmla="*/ 0 w 393182"/>
                <a:gd name="connsiteY2" fmla="*/ 196591 h 393182"/>
                <a:gd name="connsiteX3" fmla="*/ 196591 w 393182"/>
                <a:gd name="connsiteY3" fmla="*/ 0 h 393182"/>
                <a:gd name="connsiteX4" fmla="*/ 393182 w 393182"/>
                <a:gd name="connsiteY4" fmla="*/ 196591 h 393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182" h="393182">
                  <a:moveTo>
                    <a:pt x="393182" y="196591"/>
                  </a:moveTo>
                  <a:cubicBezTo>
                    <a:pt x="393182" y="305165"/>
                    <a:pt x="305165" y="393182"/>
                    <a:pt x="196591" y="393182"/>
                  </a:cubicBezTo>
                  <a:cubicBezTo>
                    <a:pt x="88017" y="393182"/>
                    <a:pt x="0" y="305165"/>
                    <a:pt x="0" y="196591"/>
                  </a:cubicBezTo>
                  <a:cubicBezTo>
                    <a:pt x="0" y="88017"/>
                    <a:pt x="88017" y="0"/>
                    <a:pt x="196591" y="0"/>
                  </a:cubicBezTo>
                  <a:cubicBezTo>
                    <a:pt x="305165" y="0"/>
                    <a:pt x="393182" y="88017"/>
                    <a:pt x="393182" y="196591"/>
                  </a:cubicBezTo>
                  <a:close/>
                </a:path>
              </a:pathLst>
            </a:custGeom>
            <a:solidFill>
              <a:srgbClr val="EC6602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7" name="Freihandform: Form 246">
              <a:extLst>
                <a:ext uri="{FF2B5EF4-FFF2-40B4-BE49-F238E27FC236}">
                  <a16:creationId xmlns:a16="http://schemas.microsoft.com/office/drawing/2014/main" id="{AE83BB66-ABBD-8DD5-4D40-C7FD2EEEA93F}"/>
                </a:ext>
              </a:extLst>
            </p:cNvPr>
            <p:cNvSpPr/>
            <p:nvPr/>
          </p:nvSpPr>
          <p:spPr>
            <a:xfrm>
              <a:off x="688359" y="4144382"/>
              <a:ext cx="393182" cy="393182"/>
            </a:xfrm>
            <a:custGeom>
              <a:avLst/>
              <a:gdLst>
                <a:gd name="connsiteX0" fmla="*/ 393182 w 393182"/>
                <a:gd name="connsiteY0" fmla="*/ 196591 h 393182"/>
                <a:gd name="connsiteX1" fmla="*/ 196591 w 393182"/>
                <a:gd name="connsiteY1" fmla="*/ 393182 h 393182"/>
                <a:gd name="connsiteX2" fmla="*/ 0 w 393182"/>
                <a:gd name="connsiteY2" fmla="*/ 196591 h 393182"/>
                <a:gd name="connsiteX3" fmla="*/ 196591 w 393182"/>
                <a:gd name="connsiteY3" fmla="*/ 0 h 393182"/>
                <a:gd name="connsiteX4" fmla="*/ 393182 w 393182"/>
                <a:gd name="connsiteY4" fmla="*/ 196591 h 393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182" h="393182">
                  <a:moveTo>
                    <a:pt x="393182" y="196591"/>
                  </a:moveTo>
                  <a:cubicBezTo>
                    <a:pt x="393182" y="305165"/>
                    <a:pt x="305165" y="393182"/>
                    <a:pt x="196591" y="393182"/>
                  </a:cubicBezTo>
                  <a:cubicBezTo>
                    <a:pt x="88017" y="393182"/>
                    <a:pt x="0" y="305165"/>
                    <a:pt x="0" y="196591"/>
                  </a:cubicBezTo>
                  <a:cubicBezTo>
                    <a:pt x="0" y="88017"/>
                    <a:pt x="88017" y="0"/>
                    <a:pt x="196591" y="0"/>
                  </a:cubicBezTo>
                  <a:cubicBezTo>
                    <a:pt x="305165" y="0"/>
                    <a:pt x="393182" y="88017"/>
                    <a:pt x="393182" y="196591"/>
                  </a:cubicBezTo>
                  <a:close/>
                </a:path>
              </a:pathLst>
            </a:custGeom>
            <a:solidFill>
              <a:srgbClr val="EC6602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8" name="Freihandform: Form 247">
              <a:extLst>
                <a:ext uri="{FF2B5EF4-FFF2-40B4-BE49-F238E27FC236}">
                  <a16:creationId xmlns:a16="http://schemas.microsoft.com/office/drawing/2014/main" id="{E3C40F65-6B2F-9B4C-BAB7-12DC6ACEC0C4}"/>
                </a:ext>
              </a:extLst>
            </p:cNvPr>
            <p:cNvSpPr/>
            <p:nvPr/>
          </p:nvSpPr>
          <p:spPr>
            <a:xfrm>
              <a:off x="688425" y="3912548"/>
              <a:ext cx="807072" cy="508305"/>
            </a:xfrm>
            <a:custGeom>
              <a:avLst/>
              <a:gdLst>
                <a:gd name="connsiteX0" fmla="*/ 807072 w 807072"/>
                <a:gd name="connsiteY0" fmla="*/ 431013 h 508305"/>
                <a:gd name="connsiteX1" fmla="*/ 762603 w 807072"/>
                <a:gd name="connsiteY1" fmla="*/ 214710 h 508305"/>
                <a:gd name="connsiteX2" fmla="*/ 594552 w 807072"/>
                <a:gd name="connsiteY2" fmla="*/ 796 h 508305"/>
                <a:gd name="connsiteX3" fmla="*/ 405859 w 807072"/>
                <a:gd name="connsiteY3" fmla="*/ 0 h 508305"/>
                <a:gd name="connsiteX4" fmla="*/ 401213 w 807072"/>
                <a:gd name="connsiteY4" fmla="*/ 0 h 508305"/>
                <a:gd name="connsiteX5" fmla="*/ 217232 w 807072"/>
                <a:gd name="connsiteY5" fmla="*/ 796 h 508305"/>
                <a:gd name="connsiteX6" fmla="*/ 44469 w 807072"/>
                <a:gd name="connsiteY6" fmla="*/ 214710 h 508305"/>
                <a:gd name="connsiteX7" fmla="*/ 0 w 807072"/>
                <a:gd name="connsiteY7" fmla="*/ 431013 h 508305"/>
                <a:gd name="connsiteX8" fmla="*/ 403536 w 807072"/>
                <a:gd name="connsiteY8" fmla="*/ 506743 h 508305"/>
                <a:gd name="connsiteX9" fmla="*/ 807072 w 807072"/>
                <a:gd name="connsiteY9" fmla="*/ 431013 h 508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7072" h="508305">
                  <a:moveTo>
                    <a:pt x="807072" y="431013"/>
                  </a:moveTo>
                  <a:cubicBezTo>
                    <a:pt x="807072" y="431013"/>
                    <a:pt x="802161" y="310152"/>
                    <a:pt x="762603" y="214710"/>
                  </a:cubicBezTo>
                  <a:cubicBezTo>
                    <a:pt x="694706" y="51039"/>
                    <a:pt x="594552" y="796"/>
                    <a:pt x="594552" y="796"/>
                  </a:cubicBezTo>
                  <a:lnTo>
                    <a:pt x="405859" y="0"/>
                  </a:lnTo>
                  <a:lnTo>
                    <a:pt x="401213" y="0"/>
                  </a:lnTo>
                  <a:lnTo>
                    <a:pt x="217232" y="796"/>
                  </a:lnTo>
                  <a:cubicBezTo>
                    <a:pt x="217232" y="796"/>
                    <a:pt x="97433" y="67300"/>
                    <a:pt x="44469" y="214710"/>
                  </a:cubicBezTo>
                  <a:cubicBezTo>
                    <a:pt x="9557" y="311944"/>
                    <a:pt x="0" y="431013"/>
                    <a:pt x="0" y="431013"/>
                  </a:cubicBezTo>
                  <a:cubicBezTo>
                    <a:pt x="90530" y="495659"/>
                    <a:pt x="284732" y="514243"/>
                    <a:pt x="403536" y="506743"/>
                  </a:cubicBezTo>
                  <a:cubicBezTo>
                    <a:pt x="522407" y="514243"/>
                    <a:pt x="716542" y="495659"/>
                    <a:pt x="807072" y="431013"/>
                  </a:cubicBezTo>
                  <a:close/>
                </a:path>
              </a:pathLst>
            </a:custGeom>
            <a:solidFill>
              <a:srgbClr val="EC6602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9" name="Freihandform: Form 248">
              <a:extLst>
                <a:ext uri="{FF2B5EF4-FFF2-40B4-BE49-F238E27FC236}">
                  <a16:creationId xmlns:a16="http://schemas.microsoft.com/office/drawing/2014/main" id="{B2C86D96-A547-182D-E5A3-6DC863BBE1E8}"/>
                </a:ext>
              </a:extLst>
            </p:cNvPr>
            <p:cNvSpPr/>
            <p:nvPr/>
          </p:nvSpPr>
          <p:spPr>
            <a:xfrm>
              <a:off x="864828" y="2620225"/>
              <a:ext cx="488444" cy="454728"/>
            </a:xfrm>
            <a:custGeom>
              <a:avLst/>
              <a:gdLst>
                <a:gd name="connsiteX0" fmla="*/ 209943 w 488444"/>
                <a:gd name="connsiteY0" fmla="*/ 875 h 454728"/>
                <a:gd name="connsiteX1" fmla="*/ 115896 w 488444"/>
                <a:gd name="connsiteY1" fmla="*/ 45078 h 454728"/>
                <a:gd name="connsiteX2" fmla="*/ 8706 w 488444"/>
                <a:gd name="connsiteY2" fmla="*/ 179082 h 454728"/>
                <a:gd name="connsiteX3" fmla="*/ 39901 w 488444"/>
                <a:gd name="connsiteY3" fmla="*/ 432221 h 454728"/>
                <a:gd name="connsiteX4" fmla="*/ 477087 w 488444"/>
                <a:gd name="connsiteY4" fmla="*/ 402752 h 454728"/>
                <a:gd name="connsiteX5" fmla="*/ 432552 w 488444"/>
                <a:gd name="connsiteY5" fmla="*/ 237090 h 454728"/>
                <a:gd name="connsiteX6" fmla="*/ 209943 w 488444"/>
                <a:gd name="connsiteY6" fmla="*/ 875 h 454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8444" h="454728">
                  <a:moveTo>
                    <a:pt x="209943" y="875"/>
                  </a:moveTo>
                  <a:cubicBezTo>
                    <a:pt x="175497" y="7247"/>
                    <a:pt x="153594" y="17667"/>
                    <a:pt x="115896" y="45078"/>
                  </a:cubicBezTo>
                  <a:cubicBezTo>
                    <a:pt x="115896" y="45078"/>
                    <a:pt x="28419" y="45676"/>
                    <a:pt x="8706" y="179082"/>
                  </a:cubicBezTo>
                  <a:cubicBezTo>
                    <a:pt x="-9148" y="300010"/>
                    <a:pt x="78" y="354168"/>
                    <a:pt x="39901" y="432221"/>
                  </a:cubicBezTo>
                  <a:cubicBezTo>
                    <a:pt x="284943" y="496468"/>
                    <a:pt x="477087" y="402752"/>
                    <a:pt x="477087" y="402752"/>
                  </a:cubicBezTo>
                  <a:cubicBezTo>
                    <a:pt x="477087" y="402752"/>
                    <a:pt x="522219" y="323040"/>
                    <a:pt x="432552" y="237090"/>
                  </a:cubicBezTo>
                  <a:cubicBezTo>
                    <a:pt x="368769" y="175896"/>
                    <a:pt x="342221" y="-14456"/>
                    <a:pt x="209943" y="875"/>
                  </a:cubicBezTo>
                  <a:close/>
                </a:path>
              </a:pathLst>
            </a:custGeom>
            <a:solidFill>
              <a:srgbClr val="4B2E1A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0" name="Freihandform: Form 249">
              <a:extLst>
                <a:ext uri="{FF2B5EF4-FFF2-40B4-BE49-F238E27FC236}">
                  <a16:creationId xmlns:a16="http://schemas.microsoft.com/office/drawing/2014/main" id="{D1391597-2FA7-5ECB-C6CF-8DA0541CF1A2}"/>
                </a:ext>
              </a:extLst>
            </p:cNvPr>
            <p:cNvSpPr/>
            <p:nvPr/>
          </p:nvSpPr>
          <p:spPr>
            <a:xfrm>
              <a:off x="994130" y="2892409"/>
              <a:ext cx="202431" cy="383135"/>
            </a:xfrm>
            <a:custGeom>
              <a:avLst/>
              <a:gdLst>
                <a:gd name="connsiteX0" fmla="*/ 0 w 202431"/>
                <a:gd name="connsiteY0" fmla="*/ 329748 h 383135"/>
                <a:gd name="connsiteX1" fmla="*/ 202432 w 202431"/>
                <a:gd name="connsiteY1" fmla="*/ 329748 h 383135"/>
                <a:gd name="connsiteX2" fmla="*/ 202432 w 202431"/>
                <a:gd name="connsiteY2" fmla="*/ 68445 h 383135"/>
                <a:gd name="connsiteX3" fmla="*/ 0 w 202431"/>
                <a:gd name="connsiteY3" fmla="*/ 68445 h 383135"/>
                <a:gd name="connsiteX4" fmla="*/ 0 w 202431"/>
                <a:gd name="connsiteY4" fmla="*/ 329748 h 383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431" h="383135">
                  <a:moveTo>
                    <a:pt x="0" y="329748"/>
                  </a:moveTo>
                  <a:cubicBezTo>
                    <a:pt x="35177" y="400433"/>
                    <a:pt x="161016" y="401429"/>
                    <a:pt x="202432" y="329748"/>
                  </a:cubicBezTo>
                  <a:lnTo>
                    <a:pt x="202432" y="68445"/>
                  </a:lnTo>
                  <a:cubicBezTo>
                    <a:pt x="202432" y="-22815"/>
                    <a:pt x="0" y="-22815"/>
                    <a:pt x="0" y="68445"/>
                  </a:cubicBezTo>
                  <a:lnTo>
                    <a:pt x="0" y="329748"/>
                  </a:lnTo>
                  <a:close/>
                </a:path>
              </a:pathLst>
            </a:custGeom>
            <a:solidFill>
              <a:srgbClr val="C09066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1" name="Freihandform: Form 250">
              <a:extLst>
                <a:ext uri="{FF2B5EF4-FFF2-40B4-BE49-F238E27FC236}">
                  <a16:creationId xmlns:a16="http://schemas.microsoft.com/office/drawing/2014/main" id="{8FF4CB2D-A41A-D38E-8526-5680DF2F979F}"/>
                </a:ext>
              </a:extLst>
            </p:cNvPr>
            <p:cNvSpPr/>
            <p:nvPr/>
          </p:nvSpPr>
          <p:spPr>
            <a:xfrm>
              <a:off x="880768" y="2892409"/>
              <a:ext cx="315793" cy="350162"/>
            </a:xfrm>
            <a:custGeom>
              <a:avLst/>
              <a:gdLst>
                <a:gd name="connsiteX0" fmla="*/ 315794 w 315793"/>
                <a:gd name="connsiteY0" fmla="*/ 68445 h 350162"/>
                <a:gd name="connsiteX1" fmla="*/ 205949 w 315793"/>
                <a:gd name="connsiteY1" fmla="*/ 244262 h 350162"/>
                <a:gd name="connsiteX2" fmla="*/ 150795 w 315793"/>
                <a:gd name="connsiteY2" fmla="*/ 282757 h 350162"/>
                <a:gd name="connsiteX3" fmla="*/ 0 w 315793"/>
                <a:gd name="connsiteY3" fmla="*/ 314881 h 350162"/>
                <a:gd name="connsiteX4" fmla="*/ 113163 w 315793"/>
                <a:gd name="connsiteY4" fmla="*/ 271872 h 350162"/>
                <a:gd name="connsiteX5" fmla="*/ 113163 w 315793"/>
                <a:gd name="connsiteY5" fmla="*/ 68445 h 350162"/>
                <a:gd name="connsiteX6" fmla="*/ 315727 w 315793"/>
                <a:gd name="connsiteY6" fmla="*/ 68445 h 350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5793" h="350162">
                  <a:moveTo>
                    <a:pt x="315794" y="68445"/>
                  </a:moveTo>
                  <a:cubicBezTo>
                    <a:pt x="315794" y="68445"/>
                    <a:pt x="308227" y="226209"/>
                    <a:pt x="205949" y="244262"/>
                  </a:cubicBezTo>
                  <a:cubicBezTo>
                    <a:pt x="167122" y="251098"/>
                    <a:pt x="150795" y="261386"/>
                    <a:pt x="150795" y="282757"/>
                  </a:cubicBezTo>
                  <a:cubicBezTo>
                    <a:pt x="150795" y="374681"/>
                    <a:pt x="23164" y="359349"/>
                    <a:pt x="0" y="314881"/>
                  </a:cubicBezTo>
                  <a:lnTo>
                    <a:pt x="113163" y="271872"/>
                  </a:lnTo>
                  <a:lnTo>
                    <a:pt x="113163" y="68445"/>
                  </a:lnTo>
                  <a:cubicBezTo>
                    <a:pt x="113163" y="-22815"/>
                    <a:pt x="315727" y="-22815"/>
                    <a:pt x="315727" y="68445"/>
                  </a:cubicBezTo>
                  <a:close/>
                </a:path>
              </a:pathLst>
            </a:custGeom>
            <a:solidFill>
              <a:srgbClr val="8A5942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2" name="Freihandform: Form 251">
              <a:extLst>
                <a:ext uri="{FF2B5EF4-FFF2-40B4-BE49-F238E27FC236}">
                  <a16:creationId xmlns:a16="http://schemas.microsoft.com/office/drawing/2014/main" id="{AAF223B5-3E18-9F80-158E-733156F66965}"/>
                </a:ext>
              </a:extLst>
            </p:cNvPr>
            <p:cNvSpPr/>
            <p:nvPr/>
          </p:nvSpPr>
          <p:spPr>
            <a:xfrm>
              <a:off x="959728" y="2738300"/>
              <a:ext cx="271471" cy="373282"/>
            </a:xfrm>
            <a:custGeom>
              <a:avLst/>
              <a:gdLst>
                <a:gd name="connsiteX0" fmla="*/ 270683 w 271471"/>
                <a:gd name="connsiteY0" fmla="*/ 127842 h 373282"/>
                <a:gd name="connsiteX1" fmla="*/ 235241 w 271471"/>
                <a:gd name="connsiteY1" fmla="*/ 33330 h 373282"/>
                <a:gd name="connsiteX2" fmla="*/ 135750 w 271471"/>
                <a:gd name="connsiteY2" fmla="*/ 11 h 373282"/>
                <a:gd name="connsiteX3" fmla="*/ 36260 w 271471"/>
                <a:gd name="connsiteY3" fmla="*/ 33330 h 373282"/>
                <a:gd name="connsiteX4" fmla="*/ 818 w 271471"/>
                <a:gd name="connsiteY4" fmla="*/ 127842 h 373282"/>
                <a:gd name="connsiteX5" fmla="*/ 1415 w 271471"/>
                <a:gd name="connsiteY5" fmla="*/ 218107 h 373282"/>
                <a:gd name="connsiteX6" fmla="*/ 41769 w 271471"/>
                <a:gd name="connsiteY6" fmla="*/ 318792 h 373282"/>
                <a:gd name="connsiteX7" fmla="*/ 135684 w 271471"/>
                <a:gd name="connsiteY7" fmla="*/ 373282 h 373282"/>
                <a:gd name="connsiteX8" fmla="*/ 229732 w 271471"/>
                <a:gd name="connsiteY8" fmla="*/ 318792 h 373282"/>
                <a:gd name="connsiteX9" fmla="*/ 270085 w 271471"/>
                <a:gd name="connsiteY9" fmla="*/ 218107 h 373282"/>
                <a:gd name="connsiteX10" fmla="*/ 270683 w 271471"/>
                <a:gd name="connsiteY10" fmla="*/ 127842 h 373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1471" h="373282">
                  <a:moveTo>
                    <a:pt x="270683" y="127842"/>
                  </a:moveTo>
                  <a:cubicBezTo>
                    <a:pt x="270683" y="127842"/>
                    <a:pt x="267497" y="71493"/>
                    <a:pt x="235241" y="33330"/>
                  </a:cubicBezTo>
                  <a:cubicBezTo>
                    <a:pt x="208692" y="1936"/>
                    <a:pt x="154135" y="-188"/>
                    <a:pt x="135750" y="11"/>
                  </a:cubicBezTo>
                  <a:cubicBezTo>
                    <a:pt x="117366" y="-188"/>
                    <a:pt x="62809" y="1870"/>
                    <a:pt x="36260" y="33330"/>
                  </a:cubicBezTo>
                  <a:cubicBezTo>
                    <a:pt x="4004" y="71427"/>
                    <a:pt x="818" y="127842"/>
                    <a:pt x="818" y="127842"/>
                  </a:cubicBezTo>
                  <a:cubicBezTo>
                    <a:pt x="818" y="127842"/>
                    <a:pt x="-1372" y="192952"/>
                    <a:pt x="1415" y="218107"/>
                  </a:cubicBezTo>
                  <a:cubicBezTo>
                    <a:pt x="4137" y="243261"/>
                    <a:pt x="1283" y="277774"/>
                    <a:pt x="41769" y="318792"/>
                  </a:cubicBezTo>
                  <a:cubicBezTo>
                    <a:pt x="81260" y="358813"/>
                    <a:pt x="108273" y="372353"/>
                    <a:pt x="135684" y="373282"/>
                  </a:cubicBezTo>
                  <a:cubicBezTo>
                    <a:pt x="163095" y="372419"/>
                    <a:pt x="190241" y="358813"/>
                    <a:pt x="229732" y="318792"/>
                  </a:cubicBezTo>
                  <a:cubicBezTo>
                    <a:pt x="270218" y="277774"/>
                    <a:pt x="267364" y="243328"/>
                    <a:pt x="270085" y="218107"/>
                  </a:cubicBezTo>
                  <a:cubicBezTo>
                    <a:pt x="272807" y="192952"/>
                    <a:pt x="270683" y="127842"/>
                    <a:pt x="270683" y="127842"/>
                  </a:cubicBezTo>
                  <a:close/>
                </a:path>
              </a:pathLst>
            </a:custGeom>
            <a:solidFill>
              <a:srgbClr val="C09066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3" name="Freihandform: Form 252">
              <a:extLst>
                <a:ext uri="{FF2B5EF4-FFF2-40B4-BE49-F238E27FC236}">
                  <a16:creationId xmlns:a16="http://schemas.microsoft.com/office/drawing/2014/main" id="{EE33AFD6-B254-8697-685E-A53E60798C3C}"/>
                </a:ext>
              </a:extLst>
            </p:cNvPr>
            <p:cNvSpPr/>
            <p:nvPr/>
          </p:nvSpPr>
          <p:spPr>
            <a:xfrm rot="18018600">
              <a:off x="1166955" y="2873445"/>
              <a:ext cx="133273" cy="92919"/>
            </a:xfrm>
            <a:custGeom>
              <a:avLst/>
              <a:gdLst>
                <a:gd name="connsiteX0" fmla="*/ 133273 w 133273"/>
                <a:gd name="connsiteY0" fmla="*/ 46460 h 92919"/>
                <a:gd name="connsiteX1" fmla="*/ 66637 w 133273"/>
                <a:gd name="connsiteY1" fmla="*/ 92919 h 92919"/>
                <a:gd name="connsiteX2" fmla="*/ 0 w 133273"/>
                <a:gd name="connsiteY2" fmla="*/ 46460 h 92919"/>
                <a:gd name="connsiteX3" fmla="*/ 66637 w 133273"/>
                <a:gd name="connsiteY3" fmla="*/ 0 h 92919"/>
                <a:gd name="connsiteX4" fmla="*/ 133273 w 133273"/>
                <a:gd name="connsiteY4" fmla="*/ 46460 h 92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273" h="92919">
                  <a:moveTo>
                    <a:pt x="133273" y="46460"/>
                  </a:moveTo>
                  <a:cubicBezTo>
                    <a:pt x="133273" y="72119"/>
                    <a:pt x="103439" y="92919"/>
                    <a:pt x="66637" y="92919"/>
                  </a:cubicBezTo>
                  <a:cubicBezTo>
                    <a:pt x="29834" y="92919"/>
                    <a:pt x="0" y="72119"/>
                    <a:pt x="0" y="46460"/>
                  </a:cubicBezTo>
                  <a:cubicBezTo>
                    <a:pt x="0" y="20801"/>
                    <a:pt x="29834" y="0"/>
                    <a:pt x="66637" y="0"/>
                  </a:cubicBezTo>
                  <a:cubicBezTo>
                    <a:pt x="103439" y="0"/>
                    <a:pt x="133273" y="20801"/>
                    <a:pt x="133273" y="46460"/>
                  </a:cubicBezTo>
                  <a:close/>
                </a:path>
              </a:pathLst>
            </a:custGeom>
            <a:solidFill>
              <a:srgbClr val="C09066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4" name="Freihandform: Form 253">
              <a:extLst>
                <a:ext uri="{FF2B5EF4-FFF2-40B4-BE49-F238E27FC236}">
                  <a16:creationId xmlns:a16="http://schemas.microsoft.com/office/drawing/2014/main" id="{6270FCBE-D8DD-C09F-AED6-2C38792AD964}"/>
                </a:ext>
              </a:extLst>
            </p:cNvPr>
            <p:cNvSpPr/>
            <p:nvPr/>
          </p:nvSpPr>
          <p:spPr>
            <a:xfrm rot="20184000">
              <a:off x="905970" y="2853935"/>
              <a:ext cx="93715" cy="131945"/>
            </a:xfrm>
            <a:custGeom>
              <a:avLst/>
              <a:gdLst>
                <a:gd name="connsiteX0" fmla="*/ 93716 w 93715"/>
                <a:gd name="connsiteY0" fmla="*/ 65973 h 131945"/>
                <a:gd name="connsiteX1" fmla="*/ 46858 w 93715"/>
                <a:gd name="connsiteY1" fmla="*/ 131946 h 131945"/>
                <a:gd name="connsiteX2" fmla="*/ 0 w 93715"/>
                <a:gd name="connsiteY2" fmla="*/ 65973 h 131945"/>
                <a:gd name="connsiteX3" fmla="*/ 46858 w 93715"/>
                <a:gd name="connsiteY3" fmla="*/ 0 h 131945"/>
                <a:gd name="connsiteX4" fmla="*/ 93716 w 93715"/>
                <a:gd name="connsiteY4" fmla="*/ 65973 h 131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715" h="131945">
                  <a:moveTo>
                    <a:pt x="93716" y="65973"/>
                  </a:moveTo>
                  <a:cubicBezTo>
                    <a:pt x="93716" y="102409"/>
                    <a:pt x="72737" y="131946"/>
                    <a:pt x="46858" y="131946"/>
                  </a:cubicBezTo>
                  <a:cubicBezTo>
                    <a:pt x="20979" y="131946"/>
                    <a:pt x="0" y="102409"/>
                    <a:pt x="0" y="65973"/>
                  </a:cubicBezTo>
                  <a:cubicBezTo>
                    <a:pt x="0" y="29537"/>
                    <a:pt x="20979" y="0"/>
                    <a:pt x="46858" y="0"/>
                  </a:cubicBezTo>
                  <a:cubicBezTo>
                    <a:pt x="72737" y="0"/>
                    <a:pt x="93716" y="29537"/>
                    <a:pt x="93716" y="65973"/>
                  </a:cubicBezTo>
                  <a:close/>
                </a:path>
              </a:pathLst>
            </a:custGeom>
            <a:solidFill>
              <a:srgbClr val="C09066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5" name="Freihandform: Form 254">
              <a:extLst>
                <a:ext uri="{FF2B5EF4-FFF2-40B4-BE49-F238E27FC236}">
                  <a16:creationId xmlns:a16="http://schemas.microsoft.com/office/drawing/2014/main" id="{D65C299D-2731-4304-B867-458966C65535}"/>
                </a:ext>
              </a:extLst>
            </p:cNvPr>
            <p:cNvSpPr/>
            <p:nvPr/>
          </p:nvSpPr>
          <p:spPr>
            <a:xfrm>
              <a:off x="929418" y="2942336"/>
              <a:ext cx="24822" cy="24822"/>
            </a:xfrm>
            <a:custGeom>
              <a:avLst/>
              <a:gdLst>
                <a:gd name="connsiteX0" fmla="*/ 24823 w 24822"/>
                <a:gd name="connsiteY0" fmla="*/ 12411 h 24822"/>
                <a:gd name="connsiteX1" fmla="*/ 12411 w 24822"/>
                <a:gd name="connsiteY1" fmla="*/ 24823 h 24822"/>
                <a:gd name="connsiteX2" fmla="*/ 0 w 24822"/>
                <a:gd name="connsiteY2" fmla="*/ 12411 h 24822"/>
                <a:gd name="connsiteX3" fmla="*/ 12411 w 24822"/>
                <a:gd name="connsiteY3" fmla="*/ 0 h 24822"/>
                <a:gd name="connsiteX4" fmla="*/ 24823 w 24822"/>
                <a:gd name="connsiteY4" fmla="*/ 12411 h 24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822" h="24822">
                  <a:moveTo>
                    <a:pt x="24823" y="12411"/>
                  </a:moveTo>
                  <a:cubicBezTo>
                    <a:pt x="24823" y="19266"/>
                    <a:pt x="19266" y="24823"/>
                    <a:pt x="12411" y="24823"/>
                  </a:cubicBezTo>
                  <a:cubicBezTo>
                    <a:pt x="5557" y="24823"/>
                    <a:pt x="0" y="19266"/>
                    <a:pt x="0" y="12411"/>
                  </a:cubicBezTo>
                  <a:cubicBezTo>
                    <a:pt x="0" y="5557"/>
                    <a:pt x="5557" y="0"/>
                    <a:pt x="12411" y="0"/>
                  </a:cubicBezTo>
                  <a:cubicBezTo>
                    <a:pt x="19266" y="0"/>
                    <a:pt x="24823" y="5557"/>
                    <a:pt x="24823" y="12411"/>
                  </a:cubicBezTo>
                  <a:close/>
                </a:path>
              </a:pathLst>
            </a:custGeom>
            <a:solidFill>
              <a:srgbClr val="FFFFFF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6" name="Freihandform: Form 255">
              <a:extLst>
                <a:ext uri="{FF2B5EF4-FFF2-40B4-BE49-F238E27FC236}">
                  <a16:creationId xmlns:a16="http://schemas.microsoft.com/office/drawing/2014/main" id="{0A938666-11D5-366D-7FED-43ACDCFFEAEC}"/>
                </a:ext>
              </a:extLst>
            </p:cNvPr>
            <p:cNvSpPr/>
            <p:nvPr/>
          </p:nvSpPr>
          <p:spPr>
            <a:xfrm>
              <a:off x="1231274" y="2942336"/>
              <a:ext cx="24822" cy="24822"/>
            </a:xfrm>
            <a:custGeom>
              <a:avLst/>
              <a:gdLst>
                <a:gd name="connsiteX0" fmla="*/ 24823 w 24822"/>
                <a:gd name="connsiteY0" fmla="*/ 12411 h 24822"/>
                <a:gd name="connsiteX1" fmla="*/ 12411 w 24822"/>
                <a:gd name="connsiteY1" fmla="*/ 24823 h 24822"/>
                <a:gd name="connsiteX2" fmla="*/ 0 w 24822"/>
                <a:gd name="connsiteY2" fmla="*/ 12411 h 24822"/>
                <a:gd name="connsiteX3" fmla="*/ 12411 w 24822"/>
                <a:gd name="connsiteY3" fmla="*/ 0 h 24822"/>
                <a:gd name="connsiteX4" fmla="*/ 24823 w 24822"/>
                <a:gd name="connsiteY4" fmla="*/ 12411 h 24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822" h="24822">
                  <a:moveTo>
                    <a:pt x="24823" y="12411"/>
                  </a:moveTo>
                  <a:cubicBezTo>
                    <a:pt x="24823" y="19266"/>
                    <a:pt x="19266" y="24823"/>
                    <a:pt x="12411" y="24823"/>
                  </a:cubicBezTo>
                  <a:cubicBezTo>
                    <a:pt x="5557" y="24823"/>
                    <a:pt x="0" y="19266"/>
                    <a:pt x="0" y="12411"/>
                  </a:cubicBezTo>
                  <a:cubicBezTo>
                    <a:pt x="0" y="5557"/>
                    <a:pt x="5557" y="0"/>
                    <a:pt x="12411" y="0"/>
                  </a:cubicBezTo>
                  <a:cubicBezTo>
                    <a:pt x="19266" y="0"/>
                    <a:pt x="24823" y="5557"/>
                    <a:pt x="24823" y="12411"/>
                  </a:cubicBezTo>
                  <a:close/>
                </a:path>
              </a:pathLst>
            </a:custGeom>
            <a:solidFill>
              <a:srgbClr val="FFFFFF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7" name="Freihandform: Form 256">
              <a:extLst>
                <a:ext uri="{FF2B5EF4-FFF2-40B4-BE49-F238E27FC236}">
                  <a16:creationId xmlns:a16="http://schemas.microsoft.com/office/drawing/2014/main" id="{858BF00A-D11A-9433-DCF8-4E598EC1385B}"/>
                </a:ext>
              </a:extLst>
            </p:cNvPr>
            <p:cNvSpPr/>
            <p:nvPr/>
          </p:nvSpPr>
          <p:spPr>
            <a:xfrm>
              <a:off x="912826" y="2625946"/>
              <a:ext cx="365173" cy="381766"/>
            </a:xfrm>
            <a:custGeom>
              <a:avLst/>
              <a:gdLst>
                <a:gd name="connsiteX0" fmla="*/ 365174 w 365173"/>
                <a:gd name="connsiteY0" fmla="*/ 190883 h 381766"/>
                <a:gd name="connsiteX1" fmla="*/ 182587 w 365173"/>
                <a:gd name="connsiteY1" fmla="*/ 381766 h 381766"/>
                <a:gd name="connsiteX2" fmla="*/ 0 w 365173"/>
                <a:gd name="connsiteY2" fmla="*/ 190883 h 381766"/>
                <a:gd name="connsiteX3" fmla="*/ 182587 w 365173"/>
                <a:gd name="connsiteY3" fmla="*/ 0 h 381766"/>
                <a:gd name="connsiteX4" fmla="*/ 365174 w 365173"/>
                <a:gd name="connsiteY4" fmla="*/ 190883 h 38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173" h="381766">
                  <a:moveTo>
                    <a:pt x="365174" y="190883"/>
                  </a:moveTo>
                  <a:cubicBezTo>
                    <a:pt x="365174" y="296305"/>
                    <a:pt x="283427" y="381766"/>
                    <a:pt x="182587" y="381766"/>
                  </a:cubicBezTo>
                  <a:cubicBezTo>
                    <a:pt x="81747" y="381766"/>
                    <a:pt x="0" y="296305"/>
                    <a:pt x="0" y="190883"/>
                  </a:cubicBezTo>
                  <a:cubicBezTo>
                    <a:pt x="0" y="85461"/>
                    <a:pt x="81747" y="0"/>
                    <a:pt x="182587" y="0"/>
                  </a:cubicBezTo>
                  <a:cubicBezTo>
                    <a:pt x="283427" y="0"/>
                    <a:pt x="365174" y="85461"/>
                    <a:pt x="365174" y="190883"/>
                  </a:cubicBezTo>
                  <a:close/>
                </a:path>
              </a:pathLst>
            </a:custGeom>
            <a:solidFill>
              <a:srgbClr val="C09066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8" name="Freihandform: Form 257">
              <a:extLst>
                <a:ext uri="{FF2B5EF4-FFF2-40B4-BE49-F238E27FC236}">
                  <a16:creationId xmlns:a16="http://schemas.microsoft.com/office/drawing/2014/main" id="{B954A884-306D-3A27-6458-AAC78A775959}"/>
                </a:ext>
              </a:extLst>
            </p:cNvPr>
            <p:cNvSpPr/>
            <p:nvPr/>
          </p:nvSpPr>
          <p:spPr>
            <a:xfrm>
              <a:off x="906919" y="2629198"/>
              <a:ext cx="358071" cy="274576"/>
            </a:xfrm>
            <a:custGeom>
              <a:avLst/>
              <a:gdLst>
                <a:gd name="connsiteX0" fmla="*/ 179599 w 358071"/>
                <a:gd name="connsiteY0" fmla="*/ 86548 h 274576"/>
                <a:gd name="connsiteX1" fmla="*/ 331655 w 358071"/>
                <a:gd name="connsiteY1" fmla="*/ 274577 h 274576"/>
                <a:gd name="connsiteX2" fmla="*/ 358071 w 358071"/>
                <a:gd name="connsiteY2" fmla="*/ 190883 h 274576"/>
                <a:gd name="connsiteX3" fmla="*/ 178736 w 358071"/>
                <a:gd name="connsiteY3" fmla="*/ 0 h 274576"/>
                <a:gd name="connsiteX4" fmla="*/ 66503 w 358071"/>
                <a:gd name="connsiteY4" fmla="*/ 45597 h 274576"/>
                <a:gd name="connsiteX5" fmla="*/ 20176 w 358071"/>
                <a:gd name="connsiteY5" fmla="*/ 259577 h 274576"/>
                <a:gd name="connsiteX6" fmla="*/ 179666 w 358071"/>
                <a:gd name="connsiteY6" fmla="*/ 86548 h 274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8071" h="274576">
                  <a:moveTo>
                    <a:pt x="179599" y="86548"/>
                  </a:moveTo>
                  <a:cubicBezTo>
                    <a:pt x="309554" y="94778"/>
                    <a:pt x="293625" y="201635"/>
                    <a:pt x="331655" y="274577"/>
                  </a:cubicBezTo>
                  <a:cubicBezTo>
                    <a:pt x="338823" y="253936"/>
                    <a:pt x="358071" y="214179"/>
                    <a:pt x="358071" y="190883"/>
                  </a:cubicBezTo>
                  <a:cubicBezTo>
                    <a:pt x="358071" y="85420"/>
                    <a:pt x="277762" y="0"/>
                    <a:pt x="178736" y="0"/>
                  </a:cubicBezTo>
                  <a:cubicBezTo>
                    <a:pt x="132011" y="0"/>
                    <a:pt x="98427" y="14403"/>
                    <a:pt x="66503" y="45597"/>
                  </a:cubicBezTo>
                  <a:cubicBezTo>
                    <a:pt x="18782" y="68827"/>
                    <a:pt x="-27810" y="174091"/>
                    <a:pt x="20176" y="259577"/>
                  </a:cubicBezTo>
                  <a:cubicBezTo>
                    <a:pt x="66901" y="213980"/>
                    <a:pt x="62653" y="79181"/>
                    <a:pt x="179666" y="86548"/>
                  </a:cubicBezTo>
                  <a:close/>
                </a:path>
              </a:pathLst>
            </a:custGeom>
            <a:solidFill>
              <a:srgbClr val="281507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9" name="Freihandform: Form 258">
              <a:extLst>
                <a:ext uri="{FF2B5EF4-FFF2-40B4-BE49-F238E27FC236}">
                  <a16:creationId xmlns:a16="http://schemas.microsoft.com/office/drawing/2014/main" id="{D5DCF9BC-EF33-7EDF-57AC-340805B964D8}"/>
                </a:ext>
              </a:extLst>
            </p:cNvPr>
            <p:cNvSpPr/>
            <p:nvPr/>
          </p:nvSpPr>
          <p:spPr>
            <a:xfrm>
              <a:off x="1059985" y="2967159"/>
              <a:ext cx="62049" cy="21769"/>
            </a:xfrm>
            <a:custGeom>
              <a:avLst/>
              <a:gdLst>
                <a:gd name="connsiteX0" fmla="*/ 914 w 62049"/>
                <a:gd name="connsiteY0" fmla="*/ 0 h 21769"/>
                <a:gd name="connsiteX1" fmla="*/ 31047 w 62049"/>
                <a:gd name="connsiteY1" fmla="*/ 10885 h 21769"/>
                <a:gd name="connsiteX2" fmla="*/ 61312 w 62049"/>
                <a:gd name="connsiteY2" fmla="*/ 0 h 21769"/>
                <a:gd name="connsiteX3" fmla="*/ 61312 w 62049"/>
                <a:gd name="connsiteY3" fmla="*/ 6239 h 21769"/>
                <a:gd name="connsiteX4" fmla="*/ 29255 w 62049"/>
                <a:gd name="connsiteY4" fmla="*/ 21770 h 21769"/>
                <a:gd name="connsiteX5" fmla="*/ 914 w 62049"/>
                <a:gd name="connsiteY5" fmla="*/ 6903 h 21769"/>
                <a:gd name="connsiteX6" fmla="*/ 914 w 62049"/>
                <a:gd name="connsiteY6" fmla="*/ 0 h 21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049" h="21769">
                  <a:moveTo>
                    <a:pt x="914" y="0"/>
                  </a:moveTo>
                  <a:cubicBezTo>
                    <a:pt x="914" y="0"/>
                    <a:pt x="11534" y="10885"/>
                    <a:pt x="31047" y="10885"/>
                  </a:cubicBezTo>
                  <a:cubicBezTo>
                    <a:pt x="55737" y="10885"/>
                    <a:pt x="61312" y="0"/>
                    <a:pt x="61312" y="0"/>
                  </a:cubicBezTo>
                  <a:cubicBezTo>
                    <a:pt x="61312" y="0"/>
                    <a:pt x="62971" y="2124"/>
                    <a:pt x="61312" y="6239"/>
                  </a:cubicBezTo>
                  <a:cubicBezTo>
                    <a:pt x="60117" y="9159"/>
                    <a:pt x="49365" y="21770"/>
                    <a:pt x="29255" y="21770"/>
                  </a:cubicBezTo>
                  <a:cubicBezTo>
                    <a:pt x="13525" y="21770"/>
                    <a:pt x="2972" y="11150"/>
                    <a:pt x="914" y="6903"/>
                  </a:cubicBezTo>
                  <a:cubicBezTo>
                    <a:pt x="-1143" y="2655"/>
                    <a:pt x="914" y="0"/>
                    <a:pt x="914" y="0"/>
                  </a:cubicBezTo>
                  <a:close/>
                </a:path>
              </a:pathLst>
            </a:custGeom>
            <a:solidFill>
              <a:srgbClr val="8A5942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0" name="Freihandform: Form 259">
              <a:extLst>
                <a:ext uri="{FF2B5EF4-FFF2-40B4-BE49-F238E27FC236}">
                  <a16:creationId xmlns:a16="http://schemas.microsoft.com/office/drawing/2014/main" id="{383A129B-F12D-AB15-0639-4D0444F5D559}"/>
                </a:ext>
              </a:extLst>
            </p:cNvPr>
            <p:cNvSpPr/>
            <p:nvPr/>
          </p:nvSpPr>
          <p:spPr>
            <a:xfrm>
              <a:off x="1108707" y="2830852"/>
              <a:ext cx="95155" cy="31972"/>
            </a:xfrm>
            <a:custGeom>
              <a:avLst/>
              <a:gdLst>
                <a:gd name="connsiteX0" fmla="*/ 74315 w 95155"/>
                <a:gd name="connsiteY0" fmla="*/ 11995 h 31972"/>
                <a:gd name="connsiteX1" fmla="*/ 37877 w 95155"/>
                <a:gd name="connsiteY1" fmla="*/ 512 h 31972"/>
                <a:gd name="connsiteX2" fmla="*/ 37877 w 95155"/>
                <a:gd name="connsiteY2" fmla="*/ 512 h 31972"/>
                <a:gd name="connsiteX3" fmla="*/ 5223 w 95155"/>
                <a:gd name="connsiteY3" fmla="*/ 4229 h 31972"/>
                <a:gd name="connsiteX4" fmla="*/ 2900 w 95155"/>
                <a:gd name="connsiteY4" fmla="*/ 6021 h 31972"/>
                <a:gd name="connsiteX5" fmla="*/ 9471 w 95155"/>
                <a:gd name="connsiteY5" fmla="*/ 22614 h 31972"/>
                <a:gd name="connsiteX6" fmla="*/ 28054 w 95155"/>
                <a:gd name="connsiteY6" fmla="*/ 20888 h 31972"/>
                <a:gd name="connsiteX7" fmla="*/ 71660 w 95155"/>
                <a:gd name="connsiteY7" fmla="*/ 23410 h 31972"/>
                <a:gd name="connsiteX8" fmla="*/ 95156 w 95155"/>
                <a:gd name="connsiteY8" fmla="*/ 31972 h 31972"/>
                <a:gd name="connsiteX9" fmla="*/ 74249 w 95155"/>
                <a:gd name="connsiteY9" fmla="*/ 12061 h 31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155" h="31972">
                  <a:moveTo>
                    <a:pt x="74315" y="11995"/>
                  </a:moveTo>
                  <a:cubicBezTo>
                    <a:pt x="61705" y="3964"/>
                    <a:pt x="48032" y="911"/>
                    <a:pt x="37877" y="512"/>
                  </a:cubicBezTo>
                  <a:lnTo>
                    <a:pt x="37877" y="512"/>
                  </a:lnTo>
                  <a:cubicBezTo>
                    <a:pt x="20488" y="-1213"/>
                    <a:pt x="9006" y="1773"/>
                    <a:pt x="5223" y="4229"/>
                  </a:cubicBezTo>
                  <a:cubicBezTo>
                    <a:pt x="4360" y="4826"/>
                    <a:pt x="3563" y="5424"/>
                    <a:pt x="2900" y="6021"/>
                  </a:cubicBezTo>
                  <a:cubicBezTo>
                    <a:pt x="-3273" y="11928"/>
                    <a:pt x="1108" y="22813"/>
                    <a:pt x="9471" y="22614"/>
                  </a:cubicBezTo>
                  <a:cubicBezTo>
                    <a:pt x="13320" y="22548"/>
                    <a:pt x="22678" y="21486"/>
                    <a:pt x="28054" y="20888"/>
                  </a:cubicBezTo>
                  <a:cubicBezTo>
                    <a:pt x="37413" y="19893"/>
                    <a:pt x="64028" y="21287"/>
                    <a:pt x="71660" y="23410"/>
                  </a:cubicBezTo>
                  <a:cubicBezTo>
                    <a:pt x="86594" y="27459"/>
                    <a:pt x="95156" y="31972"/>
                    <a:pt x="95156" y="31972"/>
                  </a:cubicBezTo>
                  <a:cubicBezTo>
                    <a:pt x="95156" y="31972"/>
                    <a:pt x="91107" y="22813"/>
                    <a:pt x="74249" y="12061"/>
                  </a:cubicBezTo>
                  <a:close/>
                </a:path>
              </a:pathLst>
            </a:custGeom>
            <a:solidFill>
              <a:srgbClr val="4B2E1A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1" name="Freihandform: Form 260">
              <a:extLst>
                <a:ext uri="{FF2B5EF4-FFF2-40B4-BE49-F238E27FC236}">
                  <a16:creationId xmlns:a16="http://schemas.microsoft.com/office/drawing/2014/main" id="{155D76F2-FBD9-F0B8-E362-9643C63A5E9E}"/>
                </a:ext>
              </a:extLst>
            </p:cNvPr>
            <p:cNvSpPr/>
            <p:nvPr/>
          </p:nvSpPr>
          <p:spPr>
            <a:xfrm rot="16434000">
              <a:off x="1003070" y="2880873"/>
              <a:ext cx="27344" cy="25751"/>
            </a:xfrm>
            <a:custGeom>
              <a:avLst/>
              <a:gdLst>
                <a:gd name="connsiteX0" fmla="*/ 27345 w 27344"/>
                <a:gd name="connsiteY0" fmla="*/ 12876 h 25751"/>
                <a:gd name="connsiteX1" fmla="*/ 13672 w 27344"/>
                <a:gd name="connsiteY1" fmla="*/ 25752 h 25751"/>
                <a:gd name="connsiteX2" fmla="*/ 0 w 27344"/>
                <a:gd name="connsiteY2" fmla="*/ 12876 h 25751"/>
                <a:gd name="connsiteX3" fmla="*/ 13672 w 27344"/>
                <a:gd name="connsiteY3" fmla="*/ 0 h 25751"/>
                <a:gd name="connsiteX4" fmla="*/ 27345 w 27344"/>
                <a:gd name="connsiteY4" fmla="*/ 12876 h 2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44" h="25751">
                  <a:moveTo>
                    <a:pt x="27345" y="12876"/>
                  </a:moveTo>
                  <a:cubicBezTo>
                    <a:pt x="27345" y="19987"/>
                    <a:pt x="21224" y="25752"/>
                    <a:pt x="13672" y="25752"/>
                  </a:cubicBezTo>
                  <a:cubicBezTo>
                    <a:pt x="6121" y="25752"/>
                    <a:pt x="0" y="19987"/>
                    <a:pt x="0" y="12876"/>
                  </a:cubicBezTo>
                  <a:cubicBezTo>
                    <a:pt x="0" y="5765"/>
                    <a:pt x="6121" y="0"/>
                    <a:pt x="13672" y="0"/>
                  </a:cubicBezTo>
                  <a:cubicBezTo>
                    <a:pt x="21224" y="0"/>
                    <a:pt x="27345" y="5765"/>
                    <a:pt x="27345" y="12876"/>
                  </a:cubicBezTo>
                  <a:close/>
                </a:path>
              </a:pathLst>
            </a:custGeom>
            <a:solidFill>
              <a:srgbClr val="141414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2" name="Freihandform: Form 261">
              <a:extLst>
                <a:ext uri="{FF2B5EF4-FFF2-40B4-BE49-F238E27FC236}">
                  <a16:creationId xmlns:a16="http://schemas.microsoft.com/office/drawing/2014/main" id="{23E56323-98BE-1A87-54C9-D07F7E16D123}"/>
                </a:ext>
              </a:extLst>
            </p:cNvPr>
            <p:cNvSpPr/>
            <p:nvPr/>
          </p:nvSpPr>
          <p:spPr>
            <a:xfrm>
              <a:off x="969241" y="2831980"/>
              <a:ext cx="95089" cy="31972"/>
            </a:xfrm>
            <a:custGeom>
              <a:avLst/>
              <a:gdLst>
                <a:gd name="connsiteX0" fmla="*/ 20907 w 95089"/>
                <a:gd name="connsiteY0" fmla="*/ 11995 h 31972"/>
                <a:gd name="connsiteX1" fmla="*/ 57278 w 95089"/>
                <a:gd name="connsiteY1" fmla="*/ 512 h 31972"/>
                <a:gd name="connsiteX2" fmla="*/ 57278 w 95089"/>
                <a:gd name="connsiteY2" fmla="*/ 512 h 31972"/>
                <a:gd name="connsiteX3" fmla="*/ 89866 w 95089"/>
                <a:gd name="connsiteY3" fmla="*/ 4229 h 31972"/>
                <a:gd name="connsiteX4" fmla="*/ 92189 w 95089"/>
                <a:gd name="connsiteY4" fmla="*/ 6021 h 31972"/>
                <a:gd name="connsiteX5" fmla="*/ 85619 w 95089"/>
                <a:gd name="connsiteY5" fmla="*/ 22614 h 31972"/>
                <a:gd name="connsiteX6" fmla="*/ 67101 w 95089"/>
                <a:gd name="connsiteY6" fmla="*/ 20888 h 31972"/>
                <a:gd name="connsiteX7" fmla="*/ 23495 w 95089"/>
                <a:gd name="connsiteY7" fmla="*/ 23410 h 31972"/>
                <a:gd name="connsiteX8" fmla="*/ 0 w 95089"/>
                <a:gd name="connsiteY8" fmla="*/ 31972 h 31972"/>
                <a:gd name="connsiteX9" fmla="*/ 20841 w 95089"/>
                <a:gd name="connsiteY9" fmla="*/ 12061 h 31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089" h="31972">
                  <a:moveTo>
                    <a:pt x="20907" y="11995"/>
                  </a:moveTo>
                  <a:cubicBezTo>
                    <a:pt x="33517" y="3964"/>
                    <a:pt x="47190" y="911"/>
                    <a:pt x="57278" y="512"/>
                  </a:cubicBezTo>
                  <a:lnTo>
                    <a:pt x="57278" y="512"/>
                  </a:lnTo>
                  <a:cubicBezTo>
                    <a:pt x="74601" y="-1213"/>
                    <a:pt x="86150" y="1773"/>
                    <a:pt x="89866" y="4229"/>
                  </a:cubicBezTo>
                  <a:cubicBezTo>
                    <a:pt x="90729" y="4827"/>
                    <a:pt x="91526" y="5424"/>
                    <a:pt x="92189" y="6021"/>
                  </a:cubicBezTo>
                  <a:cubicBezTo>
                    <a:pt x="98362" y="11928"/>
                    <a:pt x="93981" y="22813"/>
                    <a:pt x="85619" y="22614"/>
                  </a:cubicBezTo>
                  <a:cubicBezTo>
                    <a:pt x="81769" y="22548"/>
                    <a:pt x="72411" y="21486"/>
                    <a:pt x="67101" y="20888"/>
                  </a:cubicBezTo>
                  <a:cubicBezTo>
                    <a:pt x="57743" y="19893"/>
                    <a:pt x="31128" y="21287"/>
                    <a:pt x="23495" y="23410"/>
                  </a:cubicBezTo>
                  <a:cubicBezTo>
                    <a:pt x="8562" y="27459"/>
                    <a:pt x="0" y="31972"/>
                    <a:pt x="0" y="31972"/>
                  </a:cubicBezTo>
                  <a:cubicBezTo>
                    <a:pt x="0" y="31972"/>
                    <a:pt x="4049" y="22813"/>
                    <a:pt x="20841" y="12061"/>
                  </a:cubicBezTo>
                  <a:close/>
                </a:path>
              </a:pathLst>
            </a:custGeom>
            <a:solidFill>
              <a:srgbClr val="4B2E1A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3" name="Freihandform: Form 262">
              <a:extLst>
                <a:ext uri="{FF2B5EF4-FFF2-40B4-BE49-F238E27FC236}">
                  <a16:creationId xmlns:a16="http://schemas.microsoft.com/office/drawing/2014/main" id="{F6A44825-9538-44A7-518E-0F9CDC846DA0}"/>
                </a:ext>
              </a:extLst>
            </p:cNvPr>
            <p:cNvSpPr/>
            <p:nvPr/>
          </p:nvSpPr>
          <p:spPr>
            <a:xfrm>
              <a:off x="980759" y="2873730"/>
              <a:ext cx="70337" cy="18600"/>
            </a:xfrm>
            <a:custGeom>
              <a:avLst/>
              <a:gdLst>
                <a:gd name="connsiteX0" fmla="*/ 2287 w 70337"/>
                <a:gd name="connsiteY0" fmla="*/ 12058 h 18600"/>
                <a:gd name="connsiteX1" fmla="*/ 31424 w 70337"/>
                <a:gd name="connsiteY1" fmla="*/ 111 h 18600"/>
                <a:gd name="connsiteX2" fmla="*/ 68725 w 70337"/>
                <a:gd name="connsiteY2" fmla="*/ 11859 h 18600"/>
                <a:gd name="connsiteX3" fmla="*/ 66468 w 70337"/>
                <a:gd name="connsiteY3" fmla="*/ 18231 h 18600"/>
                <a:gd name="connsiteX4" fmla="*/ 36867 w 70337"/>
                <a:gd name="connsiteY4" fmla="*/ 7877 h 18600"/>
                <a:gd name="connsiteX5" fmla="*/ 7398 w 70337"/>
                <a:gd name="connsiteY5" fmla="*/ 14447 h 18600"/>
                <a:gd name="connsiteX6" fmla="*/ 894 w 70337"/>
                <a:gd name="connsiteY6" fmla="*/ 17301 h 18600"/>
                <a:gd name="connsiteX7" fmla="*/ 2287 w 70337"/>
                <a:gd name="connsiteY7" fmla="*/ 11992 h 1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337" h="18600">
                  <a:moveTo>
                    <a:pt x="2287" y="12058"/>
                  </a:moveTo>
                  <a:cubicBezTo>
                    <a:pt x="5540" y="8740"/>
                    <a:pt x="16292" y="974"/>
                    <a:pt x="31424" y="111"/>
                  </a:cubicBezTo>
                  <a:cubicBezTo>
                    <a:pt x="52066" y="-1017"/>
                    <a:pt x="63880" y="6682"/>
                    <a:pt x="68725" y="11859"/>
                  </a:cubicBezTo>
                  <a:cubicBezTo>
                    <a:pt x="72243" y="15642"/>
                    <a:pt x="69322" y="19890"/>
                    <a:pt x="66468" y="18231"/>
                  </a:cubicBezTo>
                  <a:cubicBezTo>
                    <a:pt x="59035" y="13983"/>
                    <a:pt x="55052" y="10067"/>
                    <a:pt x="36867" y="7877"/>
                  </a:cubicBezTo>
                  <a:cubicBezTo>
                    <a:pt x="24124" y="6350"/>
                    <a:pt x="12044" y="11859"/>
                    <a:pt x="7398" y="14447"/>
                  </a:cubicBezTo>
                  <a:cubicBezTo>
                    <a:pt x="3814" y="16439"/>
                    <a:pt x="2022" y="18098"/>
                    <a:pt x="894" y="17301"/>
                  </a:cubicBezTo>
                  <a:cubicBezTo>
                    <a:pt x="-1097" y="15841"/>
                    <a:pt x="628" y="13717"/>
                    <a:pt x="2287" y="11992"/>
                  </a:cubicBezTo>
                  <a:close/>
                </a:path>
              </a:pathLst>
            </a:custGeom>
            <a:solidFill>
              <a:srgbClr val="141414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4" name="Freihandform: Form 263">
              <a:extLst>
                <a:ext uri="{FF2B5EF4-FFF2-40B4-BE49-F238E27FC236}">
                  <a16:creationId xmlns:a16="http://schemas.microsoft.com/office/drawing/2014/main" id="{800709F0-48CF-3727-72F4-F9322F9CC82B}"/>
                </a:ext>
              </a:extLst>
            </p:cNvPr>
            <p:cNvSpPr/>
            <p:nvPr/>
          </p:nvSpPr>
          <p:spPr>
            <a:xfrm rot="21366000">
              <a:off x="1140063" y="2880077"/>
              <a:ext cx="25751" cy="27344"/>
            </a:xfrm>
            <a:custGeom>
              <a:avLst/>
              <a:gdLst>
                <a:gd name="connsiteX0" fmla="*/ 25752 w 25751"/>
                <a:gd name="connsiteY0" fmla="*/ 13672 h 27344"/>
                <a:gd name="connsiteX1" fmla="*/ 12876 w 25751"/>
                <a:gd name="connsiteY1" fmla="*/ 27345 h 27344"/>
                <a:gd name="connsiteX2" fmla="*/ 0 w 25751"/>
                <a:gd name="connsiteY2" fmla="*/ 13672 h 27344"/>
                <a:gd name="connsiteX3" fmla="*/ 12876 w 25751"/>
                <a:gd name="connsiteY3" fmla="*/ 0 h 27344"/>
                <a:gd name="connsiteX4" fmla="*/ 25752 w 25751"/>
                <a:gd name="connsiteY4" fmla="*/ 13672 h 27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51" h="27344">
                  <a:moveTo>
                    <a:pt x="25752" y="13672"/>
                  </a:moveTo>
                  <a:cubicBezTo>
                    <a:pt x="25752" y="21224"/>
                    <a:pt x="19987" y="27345"/>
                    <a:pt x="12876" y="27345"/>
                  </a:cubicBezTo>
                  <a:cubicBezTo>
                    <a:pt x="5765" y="27345"/>
                    <a:pt x="0" y="21224"/>
                    <a:pt x="0" y="13672"/>
                  </a:cubicBezTo>
                  <a:cubicBezTo>
                    <a:pt x="0" y="6121"/>
                    <a:pt x="5765" y="0"/>
                    <a:pt x="12876" y="0"/>
                  </a:cubicBezTo>
                  <a:cubicBezTo>
                    <a:pt x="19987" y="0"/>
                    <a:pt x="25752" y="6121"/>
                    <a:pt x="25752" y="13672"/>
                  </a:cubicBezTo>
                  <a:close/>
                </a:path>
              </a:pathLst>
            </a:custGeom>
            <a:solidFill>
              <a:srgbClr val="141414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5" name="Freihandform: Form 264">
              <a:extLst>
                <a:ext uri="{FF2B5EF4-FFF2-40B4-BE49-F238E27FC236}">
                  <a16:creationId xmlns:a16="http://schemas.microsoft.com/office/drawing/2014/main" id="{BC15C7E7-7872-2B71-D89E-215F9F27F787}"/>
                </a:ext>
              </a:extLst>
            </p:cNvPr>
            <p:cNvSpPr/>
            <p:nvPr/>
          </p:nvSpPr>
          <p:spPr>
            <a:xfrm>
              <a:off x="1118622" y="2873730"/>
              <a:ext cx="70337" cy="18600"/>
            </a:xfrm>
            <a:custGeom>
              <a:avLst/>
              <a:gdLst>
                <a:gd name="connsiteX0" fmla="*/ 68050 w 70337"/>
                <a:gd name="connsiteY0" fmla="*/ 12058 h 18600"/>
                <a:gd name="connsiteX1" fmla="*/ 38914 w 70337"/>
                <a:gd name="connsiteY1" fmla="*/ 111 h 18600"/>
                <a:gd name="connsiteX2" fmla="*/ 1613 w 70337"/>
                <a:gd name="connsiteY2" fmla="*/ 11859 h 18600"/>
                <a:gd name="connsiteX3" fmla="*/ 3870 w 70337"/>
                <a:gd name="connsiteY3" fmla="*/ 18231 h 18600"/>
                <a:gd name="connsiteX4" fmla="*/ 33471 w 70337"/>
                <a:gd name="connsiteY4" fmla="*/ 7877 h 18600"/>
                <a:gd name="connsiteX5" fmla="*/ 62940 w 70337"/>
                <a:gd name="connsiteY5" fmla="*/ 14447 h 18600"/>
                <a:gd name="connsiteX6" fmla="*/ 69444 w 70337"/>
                <a:gd name="connsiteY6" fmla="*/ 17301 h 18600"/>
                <a:gd name="connsiteX7" fmla="*/ 68050 w 70337"/>
                <a:gd name="connsiteY7" fmla="*/ 11992 h 1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337" h="18600">
                  <a:moveTo>
                    <a:pt x="68050" y="12058"/>
                  </a:moveTo>
                  <a:cubicBezTo>
                    <a:pt x="64798" y="8740"/>
                    <a:pt x="54046" y="974"/>
                    <a:pt x="38914" y="111"/>
                  </a:cubicBezTo>
                  <a:cubicBezTo>
                    <a:pt x="18272" y="-1017"/>
                    <a:pt x="6458" y="6682"/>
                    <a:pt x="1613" y="11859"/>
                  </a:cubicBezTo>
                  <a:cubicBezTo>
                    <a:pt x="-1905" y="15642"/>
                    <a:pt x="1016" y="19890"/>
                    <a:pt x="3870" y="18231"/>
                  </a:cubicBezTo>
                  <a:cubicBezTo>
                    <a:pt x="11303" y="13983"/>
                    <a:pt x="15286" y="10067"/>
                    <a:pt x="33471" y="7877"/>
                  </a:cubicBezTo>
                  <a:cubicBezTo>
                    <a:pt x="46214" y="6350"/>
                    <a:pt x="58294" y="11859"/>
                    <a:pt x="62940" y="14447"/>
                  </a:cubicBezTo>
                  <a:cubicBezTo>
                    <a:pt x="66524" y="16439"/>
                    <a:pt x="68316" y="18098"/>
                    <a:pt x="69444" y="17301"/>
                  </a:cubicBezTo>
                  <a:cubicBezTo>
                    <a:pt x="71435" y="15841"/>
                    <a:pt x="69710" y="13717"/>
                    <a:pt x="68050" y="11992"/>
                  </a:cubicBezTo>
                  <a:close/>
                </a:path>
              </a:pathLst>
            </a:custGeom>
            <a:solidFill>
              <a:srgbClr val="141414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6" name="Freihandform: Form 265">
              <a:extLst>
                <a:ext uri="{FF2B5EF4-FFF2-40B4-BE49-F238E27FC236}">
                  <a16:creationId xmlns:a16="http://schemas.microsoft.com/office/drawing/2014/main" id="{CB700C7B-DA85-74B5-44C5-9CBD32435912}"/>
                </a:ext>
              </a:extLst>
            </p:cNvPr>
            <p:cNvSpPr/>
            <p:nvPr/>
          </p:nvSpPr>
          <p:spPr>
            <a:xfrm>
              <a:off x="972164" y="2609109"/>
              <a:ext cx="330723" cy="258199"/>
            </a:xfrm>
            <a:custGeom>
              <a:avLst/>
              <a:gdLst>
                <a:gd name="connsiteX0" fmla="*/ 63 w 330723"/>
                <a:gd name="connsiteY0" fmla="*/ 66814 h 258199"/>
                <a:gd name="connsiteX1" fmla="*/ 216831 w 330723"/>
                <a:gd name="connsiteY1" fmla="*/ 241702 h 258199"/>
                <a:gd name="connsiteX2" fmla="*/ 330724 w 330723"/>
                <a:gd name="connsiteY2" fmla="*/ 253981 h 258199"/>
                <a:gd name="connsiteX3" fmla="*/ 303114 w 330723"/>
                <a:gd name="connsiteY3" fmla="*/ 149314 h 258199"/>
                <a:gd name="connsiteX4" fmla="*/ 63 w 330723"/>
                <a:gd name="connsiteY4" fmla="*/ 66814 h 258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0723" h="258199">
                  <a:moveTo>
                    <a:pt x="63" y="66814"/>
                  </a:moveTo>
                  <a:cubicBezTo>
                    <a:pt x="-3123" y="141415"/>
                    <a:pt x="114553" y="214092"/>
                    <a:pt x="216831" y="241702"/>
                  </a:cubicBezTo>
                  <a:cubicBezTo>
                    <a:pt x="319109" y="269246"/>
                    <a:pt x="330724" y="253981"/>
                    <a:pt x="330724" y="253981"/>
                  </a:cubicBezTo>
                  <a:cubicBezTo>
                    <a:pt x="330724" y="253981"/>
                    <a:pt x="306100" y="244291"/>
                    <a:pt x="303114" y="149314"/>
                  </a:cubicBezTo>
                  <a:cubicBezTo>
                    <a:pt x="299729" y="41925"/>
                    <a:pt x="129620" y="-77941"/>
                    <a:pt x="63" y="66814"/>
                  </a:cubicBezTo>
                  <a:close/>
                </a:path>
              </a:pathLst>
            </a:custGeom>
            <a:solidFill>
              <a:srgbClr val="4B2E1A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7" name="Freihandform: Form 266">
              <a:extLst>
                <a:ext uri="{FF2B5EF4-FFF2-40B4-BE49-F238E27FC236}">
                  <a16:creationId xmlns:a16="http://schemas.microsoft.com/office/drawing/2014/main" id="{5B64F2B2-E0F4-026A-DFC4-7A54A3970567}"/>
                </a:ext>
              </a:extLst>
            </p:cNvPr>
            <p:cNvSpPr/>
            <p:nvPr/>
          </p:nvSpPr>
          <p:spPr>
            <a:xfrm>
              <a:off x="536634" y="3950844"/>
              <a:ext cx="172564" cy="490880"/>
            </a:xfrm>
            <a:custGeom>
              <a:avLst/>
              <a:gdLst>
                <a:gd name="connsiteX0" fmla="*/ 9889 w 172564"/>
                <a:gd name="connsiteY0" fmla="*/ 490615 h 490880"/>
                <a:gd name="connsiteX1" fmla="*/ 103074 w 172564"/>
                <a:gd name="connsiteY1" fmla="*/ 490880 h 490880"/>
                <a:gd name="connsiteX2" fmla="*/ 117278 w 172564"/>
                <a:gd name="connsiteY2" fmla="*/ 282077 h 490880"/>
                <a:gd name="connsiteX3" fmla="*/ 172565 w 172564"/>
                <a:gd name="connsiteY3" fmla="*/ 14270 h 490880"/>
                <a:gd name="connsiteX4" fmla="*/ 0 w 172564"/>
                <a:gd name="connsiteY4" fmla="*/ 0 h 490880"/>
                <a:gd name="connsiteX5" fmla="*/ 9889 w 172564"/>
                <a:gd name="connsiteY5" fmla="*/ 490615 h 490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2564" h="490880">
                  <a:moveTo>
                    <a:pt x="9889" y="490615"/>
                  </a:moveTo>
                  <a:lnTo>
                    <a:pt x="103074" y="490880"/>
                  </a:lnTo>
                  <a:cubicBezTo>
                    <a:pt x="103074" y="490880"/>
                    <a:pt x="90397" y="389532"/>
                    <a:pt x="117278" y="282077"/>
                  </a:cubicBezTo>
                  <a:cubicBezTo>
                    <a:pt x="144954" y="171503"/>
                    <a:pt x="165596" y="52898"/>
                    <a:pt x="172565" y="14270"/>
                  </a:cubicBezTo>
                  <a:lnTo>
                    <a:pt x="0" y="0"/>
                  </a:lnTo>
                  <a:cubicBezTo>
                    <a:pt x="1062" y="232962"/>
                    <a:pt x="-1195" y="366036"/>
                    <a:pt x="9889" y="490615"/>
                  </a:cubicBezTo>
                  <a:close/>
                </a:path>
              </a:pathLst>
            </a:custGeom>
            <a:solidFill>
              <a:srgbClr val="C09066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8" name="Freihandform: Form 267">
              <a:extLst>
                <a:ext uri="{FF2B5EF4-FFF2-40B4-BE49-F238E27FC236}">
                  <a16:creationId xmlns:a16="http://schemas.microsoft.com/office/drawing/2014/main" id="{BEAF30EF-BB25-F995-139C-BB1091D21061}"/>
                </a:ext>
              </a:extLst>
            </p:cNvPr>
            <p:cNvSpPr/>
            <p:nvPr/>
          </p:nvSpPr>
          <p:spPr>
            <a:xfrm>
              <a:off x="536634" y="3866221"/>
              <a:ext cx="173361" cy="173361"/>
            </a:xfrm>
            <a:custGeom>
              <a:avLst/>
              <a:gdLst>
                <a:gd name="connsiteX0" fmla="*/ 173361 w 173361"/>
                <a:gd name="connsiteY0" fmla="*/ 86681 h 173361"/>
                <a:gd name="connsiteX1" fmla="*/ 86681 w 173361"/>
                <a:gd name="connsiteY1" fmla="*/ 173361 h 173361"/>
                <a:gd name="connsiteX2" fmla="*/ 0 w 173361"/>
                <a:gd name="connsiteY2" fmla="*/ 86681 h 173361"/>
                <a:gd name="connsiteX3" fmla="*/ 86681 w 173361"/>
                <a:gd name="connsiteY3" fmla="*/ 0 h 173361"/>
                <a:gd name="connsiteX4" fmla="*/ 173361 w 173361"/>
                <a:gd name="connsiteY4" fmla="*/ 86681 h 173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361" h="173361">
                  <a:moveTo>
                    <a:pt x="173361" y="86681"/>
                  </a:moveTo>
                  <a:cubicBezTo>
                    <a:pt x="173361" y="134553"/>
                    <a:pt x="134553" y="173361"/>
                    <a:pt x="86681" y="173361"/>
                  </a:cubicBezTo>
                  <a:cubicBezTo>
                    <a:pt x="38808" y="173361"/>
                    <a:pt x="0" y="134553"/>
                    <a:pt x="0" y="86681"/>
                  </a:cubicBezTo>
                  <a:cubicBezTo>
                    <a:pt x="0" y="38808"/>
                    <a:pt x="38808" y="0"/>
                    <a:pt x="86681" y="0"/>
                  </a:cubicBezTo>
                  <a:cubicBezTo>
                    <a:pt x="134553" y="0"/>
                    <a:pt x="173361" y="38808"/>
                    <a:pt x="173361" y="86681"/>
                  </a:cubicBezTo>
                  <a:close/>
                </a:path>
              </a:pathLst>
            </a:custGeom>
            <a:solidFill>
              <a:srgbClr val="C09066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9" name="Freihandform: Form 268">
              <a:extLst>
                <a:ext uri="{FF2B5EF4-FFF2-40B4-BE49-F238E27FC236}">
                  <a16:creationId xmlns:a16="http://schemas.microsoft.com/office/drawing/2014/main" id="{481DCAC6-7B51-53E0-E2DA-3A138B015227}"/>
                </a:ext>
              </a:extLst>
            </p:cNvPr>
            <p:cNvSpPr/>
            <p:nvPr/>
          </p:nvSpPr>
          <p:spPr>
            <a:xfrm>
              <a:off x="646678" y="3275585"/>
              <a:ext cx="213582" cy="213582"/>
            </a:xfrm>
            <a:custGeom>
              <a:avLst/>
              <a:gdLst>
                <a:gd name="connsiteX0" fmla="*/ 213582 w 213582"/>
                <a:gd name="connsiteY0" fmla="*/ 106791 h 213582"/>
                <a:gd name="connsiteX1" fmla="*/ 106791 w 213582"/>
                <a:gd name="connsiteY1" fmla="*/ 213582 h 213582"/>
                <a:gd name="connsiteX2" fmla="*/ 0 w 213582"/>
                <a:gd name="connsiteY2" fmla="*/ 106791 h 213582"/>
                <a:gd name="connsiteX3" fmla="*/ 106791 w 213582"/>
                <a:gd name="connsiteY3" fmla="*/ 0 h 213582"/>
                <a:gd name="connsiteX4" fmla="*/ 213582 w 213582"/>
                <a:gd name="connsiteY4" fmla="*/ 106791 h 213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582" h="213582">
                  <a:moveTo>
                    <a:pt x="213582" y="106791"/>
                  </a:moveTo>
                  <a:cubicBezTo>
                    <a:pt x="213582" y="165770"/>
                    <a:pt x="165770" y="213582"/>
                    <a:pt x="106791" y="213582"/>
                  </a:cubicBezTo>
                  <a:cubicBezTo>
                    <a:pt x="47812" y="213582"/>
                    <a:pt x="0" y="165770"/>
                    <a:pt x="0" y="106791"/>
                  </a:cubicBezTo>
                  <a:cubicBezTo>
                    <a:pt x="0" y="47812"/>
                    <a:pt x="47812" y="0"/>
                    <a:pt x="106791" y="0"/>
                  </a:cubicBezTo>
                  <a:cubicBezTo>
                    <a:pt x="165770" y="0"/>
                    <a:pt x="213582" y="47812"/>
                    <a:pt x="213582" y="106791"/>
                  </a:cubicBezTo>
                  <a:close/>
                </a:path>
              </a:pathLst>
            </a:custGeom>
            <a:solidFill>
              <a:srgbClr val="404040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0" name="Freihandform: Form 269">
              <a:extLst>
                <a:ext uri="{FF2B5EF4-FFF2-40B4-BE49-F238E27FC236}">
                  <a16:creationId xmlns:a16="http://schemas.microsoft.com/office/drawing/2014/main" id="{6A8F901D-2034-8680-3390-F008D8F17E5E}"/>
                </a:ext>
              </a:extLst>
            </p:cNvPr>
            <p:cNvSpPr/>
            <p:nvPr/>
          </p:nvSpPr>
          <p:spPr>
            <a:xfrm>
              <a:off x="546524" y="3350917"/>
              <a:ext cx="307629" cy="511986"/>
            </a:xfrm>
            <a:custGeom>
              <a:avLst/>
              <a:gdLst>
                <a:gd name="connsiteX0" fmla="*/ 0 w 307629"/>
                <a:gd name="connsiteY0" fmla="*/ 482982 h 511986"/>
                <a:gd name="connsiteX1" fmla="*/ 197786 w 307629"/>
                <a:gd name="connsiteY1" fmla="*/ 511986 h 511986"/>
                <a:gd name="connsiteX2" fmla="*/ 258117 w 307629"/>
                <a:gd name="connsiteY2" fmla="*/ 262099 h 511986"/>
                <a:gd name="connsiteX3" fmla="*/ 307630 w 307629"/>
                <a:gd name="connsiteY3" fmla="*/ 67300 h 511986"/>
                <a:gd name="connsiteX4" fmla="*/ 104999 w 307629"/>
                <a:gd name="connsiteY4" fmla="*/ 0 h 511986"/>
                <a:gd name="connsiteX5" fmla="*/ 45995 w 307629"/>
                <a:gd name="connsiteY5" fmla="*/ 233095 h 511986"/>
                <a:gd name="connsiteX6" fmla="*/ 133 w 307629"/>
                <a:gd name="connsiteY6" fmla="*/ 482982 h 511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7629" h="511986">
                  <a:moveTo>
                    <a:pt x="0" y="482982"/>
                  </a:moveTo>
                  <a:lnTo>
                    <a:pt x="197786" y="511986"/>
                  </a:lnTo>
                  <a:lnTo>
                    <a:pt x="258117" y="262099"/>
                  </a:lnTo>
                  <a:lnTo>
                    <a:pt x="307630" y="67300"/>
                  </a:lnTo>
                  <a:lnTo>
                    <a:pt x="104999" y="0"/>
                  </a:lnTo>
                  <a:cubicBezTo>
                    <a:pt x="88274" y="55353"/>
                    <a:pt x="68163" y="139246"/>
                    <a:pt x="45995" y="233095"/>
                  </a:cubicBezTo>
                  <a:cubicBezTo>
                    <a:pt x="10818" y="381899"/>
                    <a:pt x="133" y="482982"/>
                    <a:pt x="133" y="482982"/>
                  </a:cubicBezTo>
                  <a:close/>
                </a:path>
              </a:pathLst>
            </a:custGeom>
            <a:solidFill>
              <a:srgbClr val="404040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1" name="Freihandform: Form 270">
              <a:extLst>
                <a:ext uri="{FF2B5EF4-FFF2-40B4-BE49-F238E27FC236}">
                  <a16:creationId xmlns:a16="http://schemas.microsoft.com/office/drawing/2014/main" id="{6E30AEC2-E5D2-5C53-CD44-53CC9643E3A3}"/>
                </a:ext>
              </a:extLst>
            </p:cNvPr>
            <p:cNvSpPr/>
            <p:nvPr/>
          </p:nvSpPr>
          <p:spPr>
            <a:xfrm>
              <a:off x="677206" y="3111594"/>
              <a:ext cx="822344" cy="881595"/>
            </a:xfrm>
            <a:custGeom>
              <a:avLst/>
              <a:gdLst>
                <a:gd name="connsiteX0" fmla="*/ 815836 w 822344"/>
                <a:gd name="connsiteY0" fmla="*/ 196845 h 881595"/>
                <a:gd name="connsiteX1" fmla="*/ 568006 w 822344"/>
                <a:gd name="connsiteY1" fmla="*/ 77378 h 881595"/>
                <a:gd name="connsiteX2" fmla="*/ 545838 w 822344"/>
                <a:gd name="connsiteY2" fmla="*/ 52621 h 881595"/>
                <a:gd name="connsiteX3" fmla="*/ 540661 w 822344"/>
                <a:gd name="connsiteY3" fmla="*/ 42135 h 881595"/>
                <a:gd name="connsiteX4" fmla="*/ 528781 w 822344"/>
                <a:gd name="connsiteY4" fmla="*/ 10144 h 881595"/>
                <a:gd name="connsiteX5" fmla="*/ 516170 w 822344"/>
                <a:gd name="connsiteY5" fmla="*/ 4635 h 881595"/>
                <a:gd name="connsiteX6" fmla="*/ 316991 w 822344"/>
                <a:gd name="connsiteY6" fmla="*/ 785 h 881595"/>
                <a:gd name="connsiteX7" fmla="*/ 306371 w 822344"/>
                <a:gd name="connsiteY7" fmla="*/ 6095 h 881595"/>
                <a:gd name="connsiteX8" fmla="*/ 293894 w 822344"/>
                <a:gd name="connsiteY8" fmla="*/ 52887 h 881595"/>
                <a:gd name="connsiteX9" fmla="*/ 275774 w 822344"/>
                <a:gd name="connsiteY9" fmla="*/ 65829 h 881595"/>
                <a:gd name="connsiteX10" fmla="*/ 12812 w 822344"/>
                <a:gd name="connsiteY10" fmla="*/ 186492 h 881595"/>
                <a:gd name="connsiteX11" fmla="*/ 86418 w 822344"/>
                <a:gd name="connsiteY11" fmla="*/ 481444 h 881595"/>
                <a:gd name="connsiteX12" fmla="*/ 135201 w 822344"/>
                <a:gd name="connsiteY12" fmla="*/ 881595 h 881595"/>
                <a:gd name="connsiteX13" fmla="*/ 693182 w 822344"/>
                <a:gd name="connsiteY13" fmla="*/ 878211 h 881595"/>
                <a:gd name="connsiteX14" fmla="*/ 728425 w 822344"/>
                <a:gd name="connsiteY14" fmla="*/ 472816 h 881595"/>
                <a:gd name="connsiteX15" fmla="*/ 815968 w 822344"/>
                <a:gd name="connsiteY15" fmla="*/ 196978 h 88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22344" h="881595">
                  <a:moveTo>
                    <a:pt x="815836" y="196845"/>
                  </a:moveTo>
                  <a:cubicBezTo>
                    <a:pt x="782186" y="138505"/>
                    <a:pt x="666302" y="139501"/>
                    <a:pt x="568006" y="77378"/>
                  </a:cubicBezTo>
                  <a:cubicBezTo>
                    <a:pt x="564621" y="75254"/>
                    <a:pt x="550219" y="61847"/>
                    <a:pt x="545838" y="52621"/>
                  </a:cubicBezTo>
                  <a:cubicBezTo>
                    <a:pt x="542852" y="46382"/>
                    <a:pt x="540661" y="42135"/>
                    <a:pt x="540661" y="42135"/>
                  </a:cubicBezTo>
                  <a:cubicBezTo>
                    <a:pt x="540661" y="42135"/>
                    <a:pt x="530507" y="18374"/>
                    <a:pt x="528781" y="10144"/>
                  </a:cubicBezTo>
                  <a:cubicBezTo>
                    <a:pt x="527520" y="4436"/>
                    <a:pt x="521148" y="1648"/>
                    <a:pt x="516170" y="4635"/>
                  </a:cubicBezTo>
                  <a:cubicBezTo>
                    <a:pt x="453583" y="41272"/>
                    <a:pt x="384490" y="33838"/>
                    <a:pt x="316991" y="785"/>
                  </a:cubicBezTo>
                  <a:cubicBezTo>
                    <a:pt x="312544" y="-1405"/>
                    <a:pt x="307234" y="1184"/>
                    <a:pt x="306371" y="6095"/>
                  </a:cubicBezTo>
                  <a:cubicBezTo>
                    <a:pt x="304513" y="16582"/>
                    <a:pt x="300730" y="34236"/>
                    <a:pt x="293894" y="52887"/>
                  </a:cubicBezTo>
                  <a:cubicBezTo>
                    <a:pt x="290376" y="57201"/>
                    <a:pt x="284735" y="62179"/>
                    <a:pt x="275774" y="65829"/>
                  </a:cubicBezTo>
                  <a:cubicBezTo>
                    <a:pt x="163275" y="111360"/>
                    <a:pt x="76860" y="129081"/>
                    <a:pt x="12812" y="186492"/>
                  </a:cubicBezTo>
                  <a:cubicBezTo>
                    <a:pt x="-39754" y="233681"/>
                    <a:pt x="86418" y="481444"/>
                    <a:pt x="86418" y="481444"/>
                  </a:cubicBezTo>
                  <a:cubicBezTo>
                    <a:pt x="86418" y="481444"/>
                    <a:pt x="89670" y="701265"/>
                    <a:pt x="135201" y="881595"/>
                  </a:cubicBezTo>
                  <a:lnTo>
                    <a:pt x="693182" y="878211"/>
                  </a:lnTo>
                  <a:cubicBezTo>
                    <a:pt x="748204" y="653478"/>
                    <a:pt x="728425" y="472816"/>
                    <a:pt x="728425" y="472816"/>
                  </a:cubicBezTo>
                  <a:cubicBezTo>
                    <a:pt x="728425" y="472816"/>
                    <a:pt x="851278" y="258172"/>
                    <a:pt x="815968" y="196978"/>
                  </a:cubicBezTo>
                  <a:close/>
                </a:path>
              </a:pathLst>
            </a:custGeom>
            <a:solidFill>
              <a:srgbClr val="404040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2" name="Freihandform: Form 271">
              <a:extLst>
                <a:ext uri="{FF2B5EF4-FFF2-40B4-BE49-F238E27FC236}">
                  <a16:creationId xmlns:a16="http://schemas.microsoft.com/office/drawing/2014/main" id="{E8805431-BA80-DD65-DFFB-7C82699ECEA7}"/>
                </a:ext>
              </a:extLst>
            </p:cNvPr>
            <p:cNvSpPr/>
            <p:nvPr/>
          </p:nvSpPr>
          <p:spPr>
            <a:xfrm>
              <a:off x="688359" y="4078343"/>
              <a:ext cx="97056" cy="265218"/>
            </a:xfrm>
            <a:custGeom>
              <a:avLst/>
              <a:gdLst>
                <a:gd name="connsiteX0" fmla="*/ 0 w 97056"/>
                <a:gd name="connsiteY0" fmla="*/ 265219 h 265218"/>
                <a:gd name="connsiteX1" fmla="*/ 88274 w 97056"/>
                <a:gd name="connsiteY1" fmla="*/ 177941 h 265218"/>
                <a:gd name="connsiteX2" fmla="*/ 65774 w 97056"/>
                <a:gd name="connsiteY2" fmla="*/ 0 h 265218"/>
                <a:gd name="connsiteX3" fmla="*/ 0 w 97056"/>
                <a:gd name="connsiteY3" fmla="*/ 265219 h 265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56" h="265218">
                  <a:moveTo>
                    <a:pt x="0" y="265219"/>
                  </a:moveTo>
                  <a:cubicBezTo>
                    <a:pt x="21836" y="261502"/>
                    <a:pt x="78982" y="216104"/>
                    <a:pt x="88274" y="177941"/>
                  </a:cubicBezTo>
                  <a:cubicBezTo>
                    <a:pt x="106260" y="103937"/>
                    <a:pt x="95574" y="11748"/>
                    <a:pt x="65774" y="0"/>
                  </a:cubicBezTo>
                  <a:cubicBezTo>
                    <a:pt x="16062" y="74867"/>
                    <a:pt x="4049" y="203560"/>
                    <a:pt x="0" y="265219"/>
                  </a:cubicBezTo>
                  <a:close/>
                </a:path>
              </a:pathLst>
            </a:custGeom>
            <a:solidFill>
              <a:srgbClr val="CF4B00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3" name="Freihandform: Form 272">
              <a:extLst>
                <a:ext uri="{FF2B5EF4-FFF2-40B4-BE49-F238E27FC236}">
                  <a16:creationId xmlns:a16="http://schemas.microsoft.com/office/drawing/2014/main" id="{D1D6A2F6-2105-91F6-25C1-EED723A20FBD}"/>
                </a:ext>
              </a:extLst>
            </p:cNvPr>
            <p:cNvSpPr/>
            <p:nvPr/>
          </p:nvSpPr>
          <p:spPr>
            <a:xfrm>
              <a:off x="1397429" y="4076883"/>
              <a:ext cx="98068" cy="266678"/>
            </a:xfrm>
            <a:custGeom>
              <a:avLst/>
              <a:gdLst>
                <a:gd name="connsiteX0" fmla="*/ 98068 w 98068"/>
                <a:gd name="connsiteY0" fmla="*/ 266679 h 266678"/>
                <a:gd name="connsiteX1" fmla="*/ 9264 w 98068"/>
                <a:gd name="connsiteY1" fmla="*/ 179401 h 266678"/>
                <a:gd name="connsiteX2" fmla="*/ 29972 w 98068"/>
                <a:gd name="connsiteY2" fmla="*/ 0 h 266678"/>
                <a:gd name="connsiteX3" fmla="*/ 98068 w 98068"/>
                <a:gd name="connsiteY3" fmla="*/ 266679 h 266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068" h="266678">
                  <a:moveTo>
                    <a:pt x="98068" y="266679"/>
                  </a:moveTo>
                  <a:cubicBezTo>
                    <a:pt x="76232" y="262962"/>
                    <a:pt x="18556" y="217564"/>
                    <a:pt x="9264" y="179401"/>
                  </a:cubicBezTo>
                  <a:cubicBezTo>
                    <a:pt x="-8723" y="105397"/>
                    <a:pt x="171" y="11681"/>
                    <a:pt x="29972" y="0"/>
                  </a:cubicBezTo>
                  <a:cubicBezTo>
                    <a:pt x="79683" y="74867"/>
                    <a:pt x="95347" y="218892"/>
                    <a:pt x="98068" y="266679"/>
                  </a:cubicBezTo>
                  <a:close/>
                </a:path>
              </a:pathLst>
            </a:custGeom>
            <a:solidFill>
              <a:srgbClr val="CF4B00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4" name="Freihandform: Form 273">
              <a:extLst>
                <a:ext uri="{FF2B5EF4-FFF2-40B4-BE49-F238E27FC236}">
                  <a16:creationId xmlns:a16="http://schemas.microsoft.com/office/drawing/2014/main" id="{4D220074-F53D-9FD4-F230-860073CB16F8}"/>
                </a:ext>
              </a:extLst>
            </p:cNvPr>
            <p:cNvSpPr/>
            <p:nvPr/>
          </p:nvSpPr>
          <p:spPr>
            <a:xfrm flipV="1">
              <a:off x="1044771" y="3021248"/>
              <a:ext cx="95906" cy="14273"/>
            </a:xfrm>
            <a:custGeom>
              <a:avLst/>
              <a:gdLst>
                <a:gd name="connsiteX0" fmla="*/ 0 w 95906"/>
                <a:gd name="connsiteY0" fmla="*/ 3851 h 35244"/>
                <a:gd name="connsiteX1" fmla="*/ 36305 w 95906"/>
                <a:gd name="connsiteY1" fmla="*/ 399 h 35244"/>
                <a:gd name="connsiteX2" fmla="*/ 45796 w 95906"/>
                <a:gd name="connsiteY2" fmla="*/ 2855 h 35244"/>
                <a:gd name="connsiteX3" fmla="*/ 54690 w 95906"/>
                <a:gd name="connsiteY3" fmla="*/ 1 h 35244"/>
                <a:gd name="connsiteX4" fmla="*/ 95906 w 95906"/>
                <a:gd name="connsiteY4" fmla="*/ 4116 h 35244"/>
                <a:gd name="connsiteX5" fmla="*/ 44535 w 95906"/>
                <a:gd name="connsiteY5" fmla="*/ 35244 h 35244"/>
                <a:gd name="connsiteX6" fmla="*/ 0 w 95906"/>
                <a:gd name="connsiteY6" fmla="*/ 3784 h 35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906" h="35244">
                  <a:moveTo>
                    <a:pt x="0" y="3851"/>
                  </a:moveTo>
                  <a:cubicBezTo>
                    <a:pt x="0" y="3851"/>
                    <a:pt x="12411" y="1992"/>
                    <a:pt x="36305" y="399"/>
                  </a:cubicBezTo>
                  <a:cubicBezTo>
                    <a:pt x="38163" y="267"/>
                    <a:pt x="40287" y="2988"/>
                    <a:pt x="45796" y="2855"/>
                  </a:cubicBezTo>
                  <a:cubicBezTo>
                    <a:pt x="52300" y="2722"/>
                    <a:pt x="52566" y="-65"/>
                    <a:pt x="54690" y="1"/>
                  </a:cubicBezTo>
                  <a:cubicBezTo>
                    <a:pt x="80442" y="731"/>
                    <a:pt x="95906" y="4116"/>
                    <a:pt x="95906" y="4116"/>
                  </a:cubicBezTo>
                  <a:cubicBezTo>
                    <a:pt x="95906" y="4116"/>
                    <a:pt x="83163" y="35244"/>
                    <a:pt x="44535" y="35244"/>
                  </a:cubicBezTo>
                  <a:cubicBezTo>
                    <a:pt x="9823" y="35244"/>
                    <a:pt x="0" y="3784"/>
                    <a:pt x="0" y="3784"/>
                  </a:cubicBezTo>
                  <a:close/>
                </a:path>
              </a:pathLst>
            </a:custGeom>
            <a:solidFill>
              <a:srgbClr val="8A5942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75" name="Grafik 14">
              <a:extLst>
                <a:ext uri="{FF2B5EF4-FFF2-40B4-BE49-F238E27FC236}">
                  <a16:creationId xmlns:a16="http://schemas.microsoft.com/office/drawing/2014/main" id="{27E16D86-9D13-E5D8-5E57-50950C41146C}"/>
                </a:ext>
              </a:extLst>
            </p:cNvPr>
            <p:cNvGrpSpPr/>
            <p:nvPr/>
          </p:nvGrpSpPr>
          <p:grpSpPr>
            <a:xfrm>
              <a:off x="545370" y="4630716"/>
              <a:ext cx="74261" cy="74966"/>
              <a:chOff x="545370" y="4630716"/>
              <a:chExt cx="74261" cy="74966"/>
            </a:xfrm>
          </p:grpSpPr>
          <p:sp>
            <p:nvSpPr>
              <p:cNvPr id="322" name="Freihandform: Form 321">
                <a:extLst>
                  <a:ext uri="{FF2B5EF4-FFF2-40B4-BE49-F238E27FC236}">
                    <a16:creationId xmlns:a16="http://schemas.microsoft.com/office/drawing/2014/main" id="{3C71065C-554A-6C72-440F-5B618CD07356}"/>
                  </a:ext>
                </a:extLst>
              </p:cNvPr>
              <p:cNvSpPr/>
              <p:nvPr/>
            </p:nvSpPr>
            <p:spPr>
              <a:xfrm>
                <a:off x="579503" y="4652019"/>
                <a:ext cx="40128" cy="53663"/>
              </a:xfrm>
              <a:custGeom>
                <a:avLst/>
                <a:gdLst>
                  <a:gd name="connsiteX0" fmla="*/ 36776 w 40128"/>
                  <a:gd name="connsiteY0" fmla="*/ 53597 h 53663"/>
                  <a:gd name="connsiteX1" fmla="*/ 11688 w 40128"/>
                  <a:gd name="connsiteY1" fmla="*/ 37535 h 53663"/>
                  <a:gd name="connsiteX2" fmla="*/ 936 w 40128"/>
                  <a:gd name="connsiteY2" fmla="*/ 6872 h 53663"/>
                  <a:gd name="connsiteX3" fmla="*/ 3591 w 40128"/>
                  <a:gd name="connsiteY3" fmla="*/ 36 h 53663"/>
                  <a:gd name="connsiteX4" fmla="*/ 30936 w 40128"/>
                  <a:gd name="connsiteY4" fmla="*/ 24394 h 53663"/>
                  <a:gd name="connsiteX5" fmla="*/ 36776 w 40128"/>
                  <a:gd name="connsiteY5" fmla="*/ 53663 h 53663"/>
                  <a:gd name="connsiteX6" fmla="*/ 36776 w 40128"/>
                  <a:gd name="connsiteY6" fmla="*/ 53663 h 53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28" h="53663">
                    <a:moveTo>
                      <a:pt x="36776" y="53597"/>
                    </a:moveTo>
                    <a:lnTo>
                      <a:pt x="11688" y="37535"/>
                    </a:lnTo>
                    <a:cubicBezTo>
                      <a:pt x="2263" y="31296"/>
                      <a:pt x="-2051" y="20080"/>
                      <a:pt x="936" y="6872"/>
                    </a:cubicBezTo>
                    <a:cubicBezTo>
                      <a:pt x="1865" y="2624"/>
                      <a:pt x="2861" y="-363"/>
                      <a:pt x="3591" y="36"/>
                    </a:cubicBezTo>
                    <a:cubicBezTo>
                      <a:pt x="5051" y="832"/>
                      <a:pt x="16732" y="11186"/>
                      <a:pt x="30936" y="24394"/>
                    </a:cubicBezTo>
                    <a:cubicBezTo>
                      <a:pt x="39896" y="32756"/>
                      <a:pt x="43214" y="40323"/>
                      <a:pt x="36776" y="53663"/>
                    </a:cubicBezTo>
                    <a:lnTo>
                      <a:pt x="36776" y="53663"/>
                    </a:lnTo>
                    <a:close/>
                  </a:path>
                </a:pathLst>
              </a:custGeom>
              <a:solidFill>
                <a:srgbClr val="8A5942"/>
              </a:solidFill>
              <a:ln w="66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23" name="Freihandform: Form 322">
                <a:extLst>
                  <a:ext uri="{FF2B5EF4-FFF2-40B4-BE49-F238E27FC236}">
                    <a16:creationId xmlns:a16="http://schemas.microsoft.com/office/drawing/2014/main" id="{2B2C3185-3A1A-9E67-544F-B1F32196D8A4}"/>
                  </a:ext>
                </a:extLst>
              </p:cNvPr>
              <p:cNvSpPr/>
              <p:nvPr/>
            </p:nvSpPr>
            <p:spPr>
              <a:xfrm>
                <a:off x="545370" y="4630716"/>
                <a:ext cx="52291" cy="58838"/>
              </a:xfrm>
              <a:custGeom>
                <a:avLst/>
                <a:gdLst>
                  <a:gd name="connsiteX0" fmla="*/ 45754 w 52291"/>
                  <a:gd name="connsiteY0" fmla="*/ 58838 h 58838"/>
                  <a:gd name="connsiteX1" fmla="*/ 7458 w 52291"/>
                  <a:gd name="connsiteY1" fmla="*/ 32290 h 58838"/>
                  <a:gd name="connsiteX2" fmla="*/ 25 w 52291"/>
                  <a:gd name="connsiteY2" fmla="*/ 24192 h 58838"/>
                  <a:gd name="connsiteX3" fmla="*/ 25179 w 52291"/>
                  <a:gd name="connsiteY3" fmla="*/ 100 h 58838"/>
                  <a:gd name="connsiteX4" fmla="*/ 46418 w 52291"/>
                  <a:gd name="connsiteY4" fmla="*/ 28307 h 58838"/>
                  <a:gd name="connsiteX5" fmla="*/ 45754 w 52291"/>
                  <a:gd name="connsiteY5" fmla="*/ 58838 h 58838"/>
                  <a:gd name="connsiteX6" fmla="*/ 45754 w 52291"/>
                  <a:gd name="connsiteY6" fmla="*/ 58838 h 58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291" h="58838">
                    <a:moveTo>
                      <a:pt x="45754" y="58838"/>
                    </a:moveTo>
                    <a:lnTo>
                      <a:pt x="7458" y="32290"/>
                    </a:lnTo>
                    <a:cubicBezTo>
                      <a:pt x="2812" y="28772"/>
                      <a:pt x="1220" y="26051"/>
                      <a:pt x="25" y="24192"/>
                    </a:cubicBezTo>
                    <a:cubicBezTo>
                      <a:pt x="-705" y="10918"/>
                      <a:pt x="14826" y="-1228"/>
                      <a:pt x="25179" y="100"/>
                    </a:cubicBezTo>
                    <a:lnTo>
                      <a:pt x="46418" y="28307"/>
                    </a:lnTo>
                    <a:cubicBezTo>
                      <a:pt x="55179" y="36006"/>
                      <a:pt x="53454" y="46427"/>
                      <a:pt x="45754" y="58838"/>
                    </a:cubicBezTo>
                    <a:lnTo>
                      <a:pt x="45754" y="58838"/>
                    </a:lnTo>
                    <a:close/>
                  </a:path>
                </a:pathLst>
              </a:custGeom>
              <a:solidFill>
                <a:srgbClr val="C09066"/>
              </a:solidFill>
              <a:ln w="66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76" name="Grafik 14">
              <a:extLst>
                <a:ext uri="{FF2B5EF4-FFF2-40B4-BE49-F238E27FC236}">
                  <a16:creationId xmlns:a16="http://schemas.microsoft.com/office/drawing/2014/main" id="{90D79DE0-4DB6-02DF-6D5F-1DEF59773CA9}"/>
                </a:ext>
              </a:extLst>
            </p:cNvPr>
            <p:cNvGrpSpPr/>
            <p:nvPr/>
          </p:nvGrpSpPr>
          <p:grpSpPr>
            <a:xfrm>
              <a:off x="523825" y="4600011"/>
              <a:ext cx="99287" cy="145360"/>
              <a:chOff x="523825" y="4600011"/>
              <a:chExt cx="99287" cy="145360"/>
            </a:xfrm>
          </p:grpSpPr>
          <p:sp>
            <p:nvSpPr>
              <p:cNvPr id="319" name="Freihandform: Form 318">
                <a:extLst>
                  <a:ext uri="{FF2B5EF4-FFF2-40B4-BE49-F238E27FC236}">
                    <a16:creationId xmlns:a16="http://schemas.microsoft.com/office/drawing/2014/main" id="{BE030097-8B1D-5646-C43F-5ECEDE8DCACC}"/>
                  </a:ext>
                </a:extLst>
              </p:cNvPr>
              <p:cNvSpPr/>
              <p:nvPr/>
            </p:nvSpPr>
            <p:spPr>
              <a:xfrm>
                <a:off x="575291" y="4676941"/>
                <a:ext cx="47820" cy="68431"/>
              </a:xfrm>
              <a:custGeom>
                <a:avLst/>
                <a:gdLst>
                  <a:gd name="connsiteX0" fmla="*/ 43776 w 47820"/>
                  <a:gd name="connsiteY0" fmla="*/ 68432 h 68431"/>
                  <a:gd name="connsiteX1" fmla="*/ 13843 w 47820"/>
                  <a:gd name="connsiteY1" fmla="*/ 45202 h 68431"/>
                  <a:gd name="connsiteX2" fmla="*/ 1166 w 47820"/>
                  <a:gd name="connsiteY2" fmla="*/ 7569 h 68431"/>
                  <a:gd name="connsiteX3" fmla="*/ 4352 w 47820"/>
                  <a:gd name="connsiteY3" fmla="*/ 69 h 68431"/>
                  <a:gd name="connsiteX4" fmla="*/ 36940 w 47820"/>
                  <a:gd name="connsiteY4" fmla="*/ 33321 h 68431"/>
                  <a:gd name="connsiteX5" fmla="*/ 43776 w 47820"/>
                  <a:gd name="connsiteY5" fmla="*/ 68432 h 68431"/>
                  <a:gd name="connsiteX6" fmla="*/ 43776 w 47820"/>
                  <a:gd name="connsiteY6" fmla="*/ 68432 h 68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820" h="68431">
                    <a:moveTo>
                      <a:pt x="43776" y="68432"/>
                    </a:moveTo>
                    <a:lnTo>
                      <a:pt x="13843" y="45202"/>
                    </a:lnTo>
                    <a:cubicBezTo>
                      <a:pt x="2626" y="36175"/>
                      <a:pt x="-2484" y="22436"/>
                      <a:pt x="1166" y="7569"/>
                    </a:cubicBezTo>
                    <a:cubicBezTo>
                      <a:pt x="2361" y="2791"/>
                      <a:pt x="3489" y="-528"/>
                      <a:pt x="4352" y="69"/>
                    </a:cubicBezTo>
                    <a:cubicBezTo>
                      <a:pt x="6077" y="1264"/>
                      <a:pt x="20015" y="15401"/>
                      <a:pt x="36940" y="33321"/>
                    </a:cubicBezTo>
                    <a:cubicBezTo>
                      <a:pt x="47626" y="44671"/>
                      <a:pt x="51475" y="54029"/>
                      <a:pt x="43776" y="68432"/>
                    </a:cubicBezTo>
                    <a:lnTo>
                      <a:pt x="43776" y="68432"/>
                    </a:lnTo>
                    <a:close/>
                  </a:path>
                </a:pathLst>
              </a:custGeom>
              <a:solidFill>
                <a:srgbClr val="8A5942"/>
              </a:solidFill>
              <a:ln w="66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20" name="Freihandform: Form 319">
                <a:extLst>
                  <a:ext uri="{FF2B5EF4-FFF2-40B4-BE49-F238E27FC236}">
                    <a16:creationId xmlns:a16="http://schemas.microsoft.com/office/drawing/2014/main" id="{E1D44CED-5065-06C4-EA52-EF6F95A63A5E}"/>
                  </a:ext>
                </a:extLst>
              </p:cNvPr>
              <p:cNvSpPr/>
              <p:nvPr/>
            </p:nvSpPr>
            <p:spPr>
              <a:xfrm>
                <a:off x="533506" y="4636524"/>
                <a:ext cx="64233" cy="86016"/>
              </a:xfrm>
              <a:custGeom>
                <a:avLst/>
                <a:gdLst>
                  <a:gd name="connsiteX0" fmla="*/ 56358 w 64233"/>
                  <a:gd name="connsiteY0" fmla="*/ 86017 h 86016"/>
                  <a:gd name="connsiteX1" fmla="*/ 10761 w 64233"/>
                  <a:gd name="connsiteY1" fmla="*/ 49845 h 86016"/>
                  <a:gd name="connsiteX2" fmla="*/ 9234 w 64233"/>
                  <a:gd name="connsiteY2" fmla="*/ 3385 h 86016"/>
                  <a:gd name="connsiteX3" fmla="*/ 14876 w 64233"/>
                  <a:gd name="connsiteY3" fmla="*/ 0 h 86016"/>
                  <a:gd name="connsiteX4" fmla="*/ 57287 w 64233"/>
                  <a:gd name="connsiteY4" fmla="*/ 50508 h 86016"/>
                  <a:gd name="connsiteX5" fmla="*/ 56358 w 64233"/>
                  <a:gd name="connsiteY5" fmla="*/ 85951 h 86016"/>
                  <a:gd name="connsiteX6" fmla="*/ 56358 w 64233"/>
                  <a:gd name="connsiteY6" fmla="*/ 85951 h 86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4233" h="86016">
                    <a:moveTo>
                      <a:pt x="56358" y="86017"/>
                    </a:moveTo>
                    <a:lnTo>
                      <a:pt x="10761" y="49845"/>
                    </a:lnTo>
                    <a:cubicBezTo>
                      <a:pt x="-2978" y="38761"/>
                      <a:pt x="-3642" y="17522"/>
                      <a:pt x="9234" y="3385"/>
                    </a:cubicBezTo>
                    <a:lnTo>
                      <a:pt x="14876" y="0"/>
                    </a:lnTo>
                    <a:lnTo>
                      <a:pt x="57287" y="50508"/>
                    </a:lnTo>
                    <a:cubicBezTo>
                      <a:pt x="67707" y="60995"/>
                      <a:pt x="65583" y="72875"/>
                      <a:pt x="56358" y="85951"/>
                    </a:cubicBezTo>
                    <a:lnTo>
                      <a:pt x="56358" y="85951"/>
                    </a:lnTo>
                    <a:close/>
                  </a:path>
                </a:pathLst>
              </a:custGeom>
              <a:solidFill>
                <a:srgbClr val="C09066"/>
              </a:solidFill>
              <a:ln w="66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21" name="Freihandform: Form 320">
                <a:extLst>
                  <a:ext uri="{FF2B5EF4-FFF2-40B4-BE49-F238E27FC236}">
                    <a16:creationId xmlns:a16="http://schemas.microsoft.com/office/drawing/2014/main" id="{05C6B8A3-83FA-F8AA-A335-FD2442EF24AD}"/>
                  </a:ext>
                </a:extLst>
              </p:cNvPr>
              <p:cNvSpPr/>
              <p:nvPr/>
            </p:nvSpPr>
            <p:spPr>
              <a:xfrm>
                <a:off x="523825" y="4600011"/>
                <a:ext cx="43539" cy="77397"/>
              </a:xfrm>
              <a:custGeom>
                <a:avLst/>
                <a:gdLst>
                  <a:gd name="connsiteX0" fmla="*/ 0 w 43539"/>
                  <a:gd name="connsiteY0" fmla="*/ 8238 h 77397"/>
                  <a:gd name="connsiteX1" fmla="*/ 9690 w 43539"/>
                  <a:gd name="connsiteY1" fmla="*/ 70096 h 77397"/>
                  <a:gd name="connsiteX2" fmla="*/ 13274 w 43539"/>
                  <a:gd name="connsiteY2" fmla="*/ 77397 h 77397"/>
                  <a:gd name="connsiteX3" fmla="*/ 43208 w 43539"/>
                  <a:gd name="connsiteY3" fmla="*/ 43282 h 77397"/>
                  <a:gd name="connsiteX4" fmla="*/ 43539 w 43539"/>
                  <a:gd name="connsiteY4" fmla="*/ 9566 h 77397"/>
                  <a:gd name="connsiteX5" fmla="*/ 0 w 43539"/>
                  <a:gd name="connsiteY5" fmla="*/ 8172 h 7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3539" h="77397">
                    <a:moveTo>
                      <a:pt x="0" y="8238"/>
                    </a:moveTo>
                    <a:cubicBezTo>
                      <a:pt x="1726" y="20982"/>
                      <a:pt x="9690" y="70096"/>
                      <a:pt x="9690" y="70096"/>
                    </a:cubicBezTo>
                    <a:lnTo>
                      <a:pt x="13274" y="77397"/>
                    </a:lnTo>
                    <a:cubicBezTo>
                      <a:pt x="31394" y="75074"/>
                      <a:pt x="43407" y="60141"/>
                      <a:pt x="43208" y="43282"/>
                    </a:cubicBezTo>
                    <a:lnTo>
                      <a:pt x="43539" y="9566"/>
                    </a:lnTo>
                    <a:cubicBezTo>
                      <a:pt x="37168" y="-1253"/>
                      <a:pt x="4248" y="-4439"/>
                      <a:pt x="0" y="8172"/>
                    </a:cubicBezTo>
                    <a:close/>
                  </a:path>
                </a:pathLst>
              </a:custGeom>
              <a:solidFill>
                <a:srgbClr val="C09066"/>
              </a:solidFill>
              <a:ln w="66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77" name="Grafik 14">
              <a:extLst>
                <a:ext uri="{FF2B5EF4-FFF2-40B4-BE49-F238E27FC236}">
                  <a16:creationId xmlns:a16="http://schemas.microsoft.com/office/drawing/2014/main" id="{27848076-9669-01FD-A603-5C836E4E5772}"/>
                </a:ext>
              </a:extLst>
            </p:cNvPr>
            <p:cNvGrpSpPr/>
            <p:nvPr/>
          </p:nvGrpSpPr>
          <p:grpSpPr>
            <a:xfrm>
              <a:off x="536502" y="4589843"/>
              <a:ext cx="79164" cy="179355"/>
              <a:chOff x="536502" y="4589843"/>
              <a:chExt cx="79164" cy="179355"/>
            </a:xfrm>
            <a:solidFill>
              <a:srgbClr val="C09066"/>
            </a:solidFill>
          </p:grpSpPr>
          <p:sp>
            <p:nvSpPr>
              <p:cNvPr id="316" name="Freihandform: Form 315">
                <a:extLst>
                  <a:ext uri="{FF2B5EF4-FFF2-40B4-BE49-F238E27FC236}">
                    <a16:creationId xmlns:a16="http://schemas.microsoft.com/office/drawing/2014/main" id="{0BB1C1C7-487C-E755-1428-6F83F29C9202}"/>
                  </a:ext>
                </a:extLst>
              </p:cNvPr>
              <p:cNvSpPr/>
              <p:nvPr/>
            </p:nvSpPr>
            <p:spPr>
              <a:xfrm>
                <a:off x="577591" y="4682990"/>
                <a:ext cx="38074" cy="86208"/>
              </a:xfrm>
              <a:custGeom>
                <a:avLst/>
                <a:gdLst>
                  <a:gd name="connsiteX0" fmla="*/ 26675 w 38074"/>
                  <a:gd name="connsiteY0" fmla="*/ 86143 h 86208"/>
                  <a:gd name="connsiteX1" fmla="*/ 5503 w 38074"/>
                  <a:gd name="connsiteY1" fmla="*/ 50236 h 86208"/>
                  <a:gd name="connsiteX2" fmla="*/ 7760 w 38074"/>
                  <a:gd name="connsiteY2" fmla="*/ 6564 h 86208"/>
                  <a:gd name="connsiteX3" fmla="*/ 14065 w 38074"/>
                  <a:gd name="connsiteY3" fmla="*/ 192 h 86208"/>
                  <a:gd name="connsiteX4" fmla="*/ 33910 w 38074"/>
                  <a:gd name="connsiteY4" fmla="*/ 47448 h 86208"/>
                  <a:gd name="connsiteX5" fmla="*/ 26675 w 38074"/>
                  <a:gd name="connsiteY5" fmla="*/ 86209 h 86208"/>
                  <a:gd name="connsiteX6" fmla="*/ 26675 w 38074"/>
                  <a:gd name="connsiteY6" fmla="*/ 86209 h 86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074" h="86208">
                    <a:moveTo>
                      <a:pt x="26675" y="86143"/>
                    </a:moveTo>
                    <a:lnTo>
                      <a:pt x="5503" y="50236"/>
                    </a:lnTo>
                    <a:cubicBezTo>
                      <a:pt x="-2329" y="36497"/>
                      <a:pt x="-1997" y="20302"/>
                      <a:pt x="7760" y="6564"/>
                    </a:cubicBezTo>
                    <a:cubicBezTo>
                      <a:pt x="10879" y="2183"/>
                      <a:pt x="13401" y="-803"/>
                      <a:pt x="14065" y="192"/>
                    </a:cubicBezTo>
                    <a:cubicBezTo>
                      <a:pt x="15326" y="2117"/>
                      <a:pt x="23888" y="22227"/>
                      <a:pt x="33910" y="47448"/>
                    </a:cubicBezTo>
                    <a:cubicBezTo>
                      <a:pt x="40282" y="63377"/>
                      <a:pt x="40414" y="74528"/>
                      <a:pt x="26675" y="86209"/>
                    </a:cubicBezTo>
                    <a:lnTo>
                      <a:pt x="26675" y="86209"/>
                    </a:lnTo>
                    <a:close/>
                  </a:path>
                </a:pathLst>
              </a:custGeom>
              <a:solidFill>
                <a:srgbClr val="C09066"/>
              </a:solidFill>
              <a:ln w="66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7" name="Freihandform: Form 316">
                <a:extLst>
                  <a:ext uri="{FF2B5EF4-FFF2-40B4-BE49-F238E27FC236}">
                    <a16:creationId xmlns:a16="http://schemas.microsoft.com/office/drawing/2014/main" id="{BF4500BD-EC13-C98B-D86E-21359C50E4DE}"/>
                  </a:ext>
                </a:extLst>
              </p:cNvPr>
              <p:cNvSpPr/>
              <p:nvPr/>
            </p:nvSpPr>
            <p:spPr>
              <a:xfrm>
                <a:off x="549351" y="4650594"/>
                <a:ext cx="53273" cy="85087"/>
              </a:xfrm>
              <a:custGeom>
                <a:avLst/>
                <a:gdLst>
                  <a:gd name="connsiteX0" fmla="*/ 35203 w 53273"/>
                  <a:gd name="connsiteY0" fmla="*/ 85088 h 85087"/>
                  <a:gd name="connsiteX1" fmla="*/ 3477 w 53273"/>
                  <a:gd name="connsiteY1" fmla="*/ 29203 h 85087"/>
                  <a:gd name="connsiteX2" fmla="*/ 26442 w 53273"/>
                  <a:gd name="connsiteY2" fmla="*/ 1726 h 85087"/>
                  <a:gd name="connsiteX3" fmla="*/ 29163 w 53273"/>
                  <a:gd name="connsiteY3" fmla="*/ 0 h 85087"/>
                  <a:gd name="connsiteX4" fmla="*/ 50800 w 53273"/>
                  <a:gd name="connsiteY4" fmla="*/ 48783 h 85087"/>
                  <a:gd name="connsiteX5" fmla="*/ 36132 w 53273"/>
                  <a:gd name="connsiteY5" fmla="*/ 84424 h 85087"/>
                  <a:gd name="connsiteX6" fmla="*/ 35136 w 53273"/>
                  <a:gd name="connsiteY6" fmla="*/ 85088 h 85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273" h="85087">
                    <a:moveTo>
                      <a:pt x="35203" y="85088"/>
                    </a:moveTo>
                    <a:lnTo>
                      <a:pt x="3477" y="29203"/>
                    </a:lnTo>
                    <a:cubicBezTo>
                      <a:pt x="-6080" y="12279"/>
                      <a:pt x="4871" y="4911"/>
                      <a:pt x="26442" y="1726"/>
                    </a:cubicBezTo>
                    <a:lnTo>
                      <a:pt x="29163" y="0"/>
                    </a:lnTo>
                    <a:lnTo>
                      <a:pt x="50800" y="48783"/>
                    </a:lnTo>
                    <a:cubicBezTo>
                      <a:pt x="57172" y="63783"/>
                      <a:pt x="50866" y="74734"/>
                      <a:pt x="36132" y="84424"/>
                    </a:cubicBezTo>
                    <a:lnTo>
                      <a:pt x="35136" y="85088"/>
                    </a:lnTo>
                    <a:close/>
                  </a:path>
                </a:pathLst>
              </a:custGeom>
              <a:solidFill>
                <a:srgbClr val="C09066"/>
              </a:solidFill>
              <a:ln w="66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8" name="Freihandform: Form 317">
                <a:extLst>
                  <a:ext uri="{FF2B5EF4-FFF2-40B4-BE49-F238E27FC236}">
                    <a16:creationId xmlns:a16="http://schemas.microsoft.com/office/drawing/2014/main" id="{E8AA96F2-DC9D-7C59-E026-B3D59FE888B1}"/>
                  </a:ext>
                </a:extLst>
              </p:cNvPr>
              <p:cNvSpPr/>
              <p:nvPr/>
            </p:nvSpPr>
            <p:spPr>
              <a:xfrm>
                <a:off x="536502" y="4589843"/>
                <a:ext cx="43539" cy="83914"/>
              </a:xfrm>
              <a:custGeom>
                <a:avLst/>
                <a:gdLst>
                  <a:gd name="connsiteX0" fmla="*/ 0 w 43539"/>
                  <a:gd name="connsiteY0" fmla="*/ 10972 h 83914"/>
                  <a:gd name="connsiteX1" fmla="*/ 13872 w 43539"/>
                  <a:gd name="connsiteY1" fmla="*/ 83914 h 83914"/>
                  <a:gd name="connsiteX2" fmla="*/ 43208 w 43539"/>
                  <a:gd name="connsiteY2" fmla="*/ 61348 h 83914"/>
                  <a:gd name="connsiteX3" fmla="*/ 43539 w 43539"/>
                  <a:gd name="connsiteY3" fmla="*/ 8517 h 83914"/>
                  <a:gd name="connsiteX4" fmla="*/ 0 w 43539"/>
                  <a:gd name="connsiteY4" fmla="*/ 10906 h 83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539" h="83914">
                    <a:moveTo>
                      <a:pt x="0" y="10972"/>
                    </a:moveTo>
                    <a:cubicBezTo>
                      <a:pt x="0" y="12300"/>
                      <a:pt x="13872" y="83914"/>
                      <a:pt x="13872" y="83914"/>
                    </a:cubicBezTo>
                    <a:cubicBezTo>
                      <a:pt x="33849" y="81459"/>
                      <a:pt x="43208" y="79932"/>
                      <a:pt x="43208" y="61348"/>
                    </a:cubicBezTo>
                    <a:lnTo>
                      <a:pt x="43539" y="8517"/>
                    </a:lnTo>
                    <a:cubicBezTo>
                      <a:pt x="36637" y="-3430"/>
                      <a:pt x="4779" y="-2965"/>
                      <a:pt x="0" y="10906"/>
                    </a:cubicBezTo>
                    <a:close/>
                  </a:path>
                </a:pathLst>
              </a:custGeom>
              <a:solidFill>
                <a:srgbClr val="C09066"/>
              </a:solidFill>
              <a:ln w="66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78" name="Grafik 14">
              <a:extLst>
                <a:ext uri="{FF2B5EF4-FFF2-40B4-BE49-F238E27FC236}">
                  <a16:creationId xmlns:a16="http://schemas.microsoft.com/office/drawing/2014/main" id="{159AEF38-1D2E-F747-9B50-970DF49EEED3}"/>
                </a:ext>
              </a:extLst>
            </p:cNvPr>
            <p:cNvGrpSpPr/>
            <p:nvPr/>
          </p:nvGrpSpPr>
          <p:grpSpPr>
            <a:xfrm>
              <a:off x="550970" y="4597154"/>
              <a:ext cx="67440" cy="171514"/>
              <a:chOff x="550970" y="4597154"/>
              <a:chExt cx="67440" cy="171514"/>
            </a:xfrm>
            <a:solidFill>
              <a:srgbClr val="C09066"/>
            </a:solidFill>
          </p:grpSpPr>
          <p:sp>
            <p:nvSpPr>
              <p:cNvPr id="313" name="Freihandform: Form 312">
                <a:extLst>
                  <a:ext uri="{FF2B5EF4-FFF2-40B4-BE49-F238E27FC236}">
                    <a16:creationId xmlns:a16="http://schemas.microsoft.com/office/drawing/2014/main" id="{5C3C9A8C-BE72-891D-55C6-45DA9D61C106}"/>
                  </a:ext>
                </a:extLst>
              </p:cNvPr>
              <p:cNvSpPr/>
              <p:nvPr/>
            </p:nvSpPr>
            <p:spPr>
              <a:xfrm>
                <a:off x="583509" y="4690655"/>
                <a:ext cx="34902" cy="78013"/>
              </a:xfrm>
              <a:custGeom>
                <a:avLst/>
                <a:gdLst>
                  <a:gd name="connsiteX0" fmla="*/ 20758 w 34902"/>
                  <a:gd name="connsiteY0" fmla="*/ 78014 h 78013"/>
                  <a:gd name="connsiteX1" fmla="*/ 3899 w 34902"/>
                  <a:gd name="connsiteY1" fmla="*/ 43302 h 78013"/>
                  <a:gd name="connsiteX2" fmla="*/ 9740 w 34902"/>
                  <a:gd name="connsiteY2" fmla="*/ 5271 h 78013"/>
                  <a:gd name="connsiteX3" fmla="*/ 16775 w 34902"/>
                  <a:gd name="connsiteY3" fmla="*/ 227 h 78013"/>
                  <a:gd name="connsiteX4" fmla="*/ 32638 w 34902"/>
                  <a:gd name="connsiteY4" fmla="*/ 43833 h 78013"/>
                  <a:gd name="connsiteX5" fmla="*/ 20758 w 34902"/>
                  <a:gd name="connsiteY5" fmla="*/ 78014 h 78013"/>
                  <a:gd name="connsiteX6" fmla="*/ 20758 w 34902"/>
                  <a:gd name="connsiteY6" fmla="*/ 78014 h 78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4902" h="78013">
                    <a:moveTo>
                      <a:pt x="20758" y="78014"/>
                    </a:moveTo>
                    <a:lnTo>
                      <a:pt x="3899" y="43302"/>
                    </a:lnTo>
                    <a:cubicBezTo>
                      <a:pt x="-2273" y="30027"/>
                      <a:pt x="-1676" y="16621"/>
                      <a:pt x="9740" y="5271"/>
                    </a:cubicBezTo>
                    <a:cubicBezTo>
                      <a:pt x="13390" y="1621"/>
                      <a:pt x="16244" y="-769"/>
                      <a:pt x="16775" y="227"/>
                    </a:cubicBezTo>
                    <a:cubicBezTo>
                      <a:pt x="17771" y="2085"/>
                      <a:pt x="25603" y="20006"/>
                      <a:pt x="32638" y="43833"/>
                    </a:cubicBezTo>
                    <a:cubicBezTo>
                      <a:pt x="37085" y="58899"/>
                      <a:pt x="35890" y="68987"/>
                      <a:pt x="20758" y="78014"/>
                    </a:cubicBezTo>
                    <a:lnTo>
                      <a:pt x="20758" y="78014"/>
                    </a:lnTo>
                    <a:close/>
                  </a:path>
                </a:pathLst>
              </a:custGeom>
              <a:solidFill>
                <a:srgbClr val="C09066"/>
              </a:solidFill>
              <a:ln w="66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4" name="Freihandform: Form 313">
                <a:extLst>
                  <a:ext uri="{FF2B5EF4-FFF2-40B4-BE49-F238E27FC236}">
                    <a16:creationId xmlns:a16="http://schemas.microsoft.com/office/drawing/2014/main" id="{C52C2C99-D712-FE15-6188-9318959249D2}"/>
                  </a:ext>
                </a:extLst>
              </p:cNvPr>
              <p:cNvSpPr/>
              <p:nvPr/>
            </p:nvSpPr>
            <p:spPr>
              <a:xfrm>
                <a:off x="559433" y="4651059"/>
                <a:ext cx="47315" cy="82963"/>
              </a:xfrm>
              <a:custGeom>
                <a:avLst/>
                <a:gdLst>
                  <a:gd name="connsiteX0" fmla="*/ 27976 w 47315"/>
                  <a:gd name="connsiteY0" fmla="*/ 82964 h 82963"/>
                  <a:gd name="connsiteX1" fmla="*/ 2622 w 47315"/>
                  <a:gd name="connsiteY1" fmla="*/ 29469 h 82963"/>
                  <a:gd name="connsiteX2" fmla="*/ 24126 w 47315"/>
                  <a:gd name="connsiteY2" fmla="*/ 0 h 82963"/>
                  <a:gd name="connsiteX3" fmla="*/ 28639 w 47315"/>
                  <a:gd name="connsiteY3" fmla="*/ 5973 h 82963"/>
                  <a:gd name="connsiteX4" fmla="*/ 45896 w 47315"/>
                  <a:gd name="connsiteY4" fmla="*/ 53362 h 82963"/>
                  <a:gd name="connsiteX5" fmla="*/ 27976 w 47315"/>
                  <a:gd name="connsiteY5" fmla="*/ 82964 h 82963"/>
                  <a:gd name="connsiteX6" fmla="*/ 27976 w 47315"/>
                  <a:gd name="connsiteY6" fmla="*/ 82964 h 82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315" h="82963">
                    <a:moveTo>
                      <a:pt x="27976" y="82964"/>
                    </a:moveTo>
                    <a:lnTo>
                      <a:pt x="2622" y="29469"/>
                    </a:lnTo>
                    <a:cubicBezTo>
                      <a:pt x="-4878" y="13208"/>
                      <a:pt x="4148" y="6305"/>
                      <a:pt x="24126" y="0"/>
                    </a:cubicBezTo>
                    <a:lnTo>
                      <a:pt x="28639" y="5973"/>
                    </a:lnTo>
                    <a:lnTo>
                      <a:pt x="45896" y="53362"/>
                    </a:lnTo>
                    <a:cubicBezTo>
                      <a:pt x="50475" y="67566"/>
                      <a:pt x="43838" y="75796"/>
                      <a:pt x="27976" y="82964"/>
                    </a:cubicBezTo>
                    <a:lnTo>
                      <a:pt x="27976" y="82964"/>
                    </a:lnTo>
                    <a:close/>
                  </a:path>
                </a:pathLst>
              </a:custGeom>
              <a:solidFill>
                <a:srgbClr val="C09066"/>
              </a:solidFill>
              <a:ln w="66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5" name="Freihandform: Form 314">
                <a:extLst>
                  <a:ext uri="{FF2B5EF4-FFF2-40B4-BE49-F238E27FC236}">
                    <a16:creationId xmlns:a16="http://schemas.microsoft.com/office/drawing/2014/main" id="{6E9E1743-CC24-4DF8-5CD5-FB5B485B764C}"/>
                  </a:ext>
                </a:extLst>
              </p:cNvPr>
              <p:cNvSpPr/>
              <p:nvPr/>
            </p:nvSpPr>
            <p:spPr>
              <a:xfrm>
                <a:off x="550970" y="4597154"/>
                <a:ext cx="37831" cy="76006"/>
              </a:xfrm>
              <a:custGeom>
                <a:avLst/>
                <a:gdLst>
                  <a:gd name="connsiteX0" fmla="*/ 0 w 37831"/>
                  <a:gd name="connsiteY0" fmla="*/ 6118 h 76006"/>
                  <a:gd name="connsiteX1" fmla="*/ 8695 w 37831"/>
                  <a:gd name="connsiteY1" fmla="*/ 76006 h 76006"/>
                  <a:gd name="connsiteX2" fmla="*/ 37168 w 37831"/>
                  <a:gd name="connsiteY2" fmla="*/ 62400 h 76006"/>
                  <a:gd name="connsiteX3" fmla="*/ 37832 w 37831"/>
                  <a:gd name="connsiteY3" fmla="*/ 13352 h 76006"/>
                  <a:gd name="connsiteX4" fmla="*/ 0 w 37831"/>
                  <a:gd name="connsiteY4" fmla="*/ 6118 h 76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831" h="76006">
                    <a:moveTo>
                      <a:pt x="0" y="6118"/>
                    </a:moveTo>
                    <a:cubicBezTo>
                      <a:pt x="0" y="7379"/>
                      <a:pt x="8695" y="76006"/>
                      <a:pt x="8695" y="76006"/>
                    </a:cubicBezTo>
                    <a:cubicBezTo>
                      <a:pt x="28871" y="75077"/>
                      <a:pt x="35907" y="79192"/>
                      <a:pt x="37168" y="62400"/>
                    </a:cubicBezTo>
                    <a:lnTo>
                      <a:pt x="37832" y="13352"/>
                    </a:lnTo>
                    <a:cubicBezTo>
                      <a:pt x="31725" y="2135"/>
                      <a:pt x="5774" y="-6227"/>
                      <a:pt x="0" y="6118"/>
                    </a:cubicBezTo>
                    <a:close/>
                  </a:path>
                </a:pathLst>
              </a:custGeom>
              <a:solidFill>
                <a:srgbClr val="C09066"/>
              </a:solidFill>
              <a:ln w="66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79" name="Grafik 14">
              <a:extLst>
                <a:ext uri="{FF2B5EF4-FFF2-40B4-BE49-F238E27FC236}">
                  <a16:creationId xmlns:a16="http://schemas.microsoft.com/office/drawing/2014/main" id="{012F8F65-79E4-4187-96BD-6E9E1D4081C6}"/>
                </a:ext>
              </a:extLst>
            </p:cNvPr>
            <p:cNvGrpSpPr/>
            <p:nvPr/>
          </p:nvGrpSpPr>
          <p:grpSpPr>
            <a:xfrm>
              <a:off x="573164" y="4459025"/>
              <a:ext cx="108424" cy="237100"/>
              <a:chOff x="573164" y="4459025"/>
              <a:chExt cx="108424" cy="237100"/>
            </a:xfrm>
            <a:solidFill>
              <a:srgbClr val="C09066"/>
            </a:solidFill>
          </p:grpSpPr>
          <p:sp>
            <p:nvSpPr>
              <p:cNvPr id="310" name="Freihandform: Form 309">
                <a:extLst>
                  <a:ext uri="{FF2B5EF4-FFF2-40B4-BE49-F238E27FC236}">
                    <a16:creationId xmlns:a16="http://schemas.microsoft.com/office/drawing/2014/main" id="{EFE3EB98-2AEA-D639-D66F-648DF8C81BB8}"/>
                  </a:ext>
                </a:extLst>
              </p:cNvPr>
              <p:cNvSpPr/>
              <p:nvPr/>
            </p:nvSpPr>
            <p:spPr>
              <a:xfrm>
                <a:off x="622649" y="4600774"/>
                <a:ext cx="37634" cy="95351"/>
              </a:xfrm>
              <a:custGeom>
                <a:avLst/>
                <a:gdLst>
                  <a:gd name="connsiteX0" fmla="*/ 19449 w 37634"/>
                  <a:gd name="connsiteY0" fmla="*/ 95351 h 95351"/>
                  <a:gd name="connsiteX1" fmla="*/ 37634 w 37634"/>
                  <a:gd name="connsiteY1" fmla="*/ 50219 h 95351"/>
                  <a:gd name="connsiteX2" fmla="*/ 29537 w 37634"/>
                  <a:gd name="connsiteY2" fmla="*/ 3228 h 95351"/>
                  <a:gd name="connsiteX3" fmla="*/ 20378 w 37634"/>
                  <a:gd name="connsiteY3" fmla="*/ 905 h 95351"/>
                  <a:gd name="connsiteX4" fmla="*/ 1794 w 37634"/>
                  <a:gd name="connsiteY4" fmla="*/ 55927 h 95351"/>
                  <a:gd name="connsiteX5" fmla="*/ 19449 w 37634"/>
                  <a:gd name="connsiteY5" fmla="*/ 95351 h 95351"/>
                  <a:gd name="connsiteX6" fmla="*/ 19449 w 37634"/>
                  <a:gd name="connsiteY6" fmla="*/ 95351 h 9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634" h="95351">
                    <a:moveTo>
                      <a:pt x="19449" y="95351"/>
                    </a:moveTo>
                    <a:lnTo>
                      <a:pt x="37634" y="50219"/>
                    </a:lnTo>
                    <a:cubicBezTo>
                      <a:pt x="37501" y="34887"/>
                      <a:pt x="38032" y="11126"/>
                      <a:pt x="29537" y="3228"/>
                    </a:cubicBezTo>
                    <a:cubicBezTo>
                      <a:pt x="24692" y="-1219"/>
                      <a:pt x="20975" y="-90"/>
                      <a:pt x="20378" y="905"/>
                    </a:cubicBezTo>
                    <a:cubicBezTo>
                      <a:pt x="16196" y="8339"/>
                      <a:pt x="7900" y="32498"/>
                      <a:pt x="1794" y="55927"/>
                    </a:cubicBezTo>
                    <a:cubicBezTo>
                      <a:pt x="-2454" y="72187"/>
                      <a:pt x="-131" y="83603"/>
                      <a:pt x="19449" y="95351"/>
                    </a:cubicBezTo>
                    <a:lnTo>
                      <a:pt x="19449" y="95351"/>
                    </a:lnTo>
                    <a:close/>
                  </a:path>
                </a:pathLst>
              </a:custGeom>
              <a:solidFill>
                <a:srgbClr val="C09066"/>
              </a:solidFill>
              <a:ln w="66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1" name="Freihandform: Form 310">
                <a:extLst>
                  <a:ext uri="{FF2B5EF4-FFF2-40B4-BE49-F238E27FC236}">
                    <a16:creationId xmlns:a16="http://schemas.microsoft.com/office/drawing/2014/main" id="{9A948310-2086-A7B8-F227-41EF3683A5DA}"/>
                  </a:ext>
                </a:extLst>
              </p:cNvPr>
              <p:cNvSpPr/>
              <p:nvPr/>
            </p:nvSpPr>
            <p:spPr>
              <a:xfrm>
                <a:off x="626235" y="4571186"/>
                <a:ext cx="55287" cy="81557"/>
              </a:xfrm>
              <a:custGeom>
                <a:avLst/>
                <a:gdLst>
                  <a:gd name="connsiteX0" fmla="*/ 55287 w 55287"/>
                  <a:gd name="connsiteY0" fmla="*/ 9453 h 81557"/>
                  <a:gd name="connsiteX1" fmla="*/ 0 w 55287"/>
                  <a:gd name="connsiteY1" fmla="*/ 11179 h 81557"/>
                  <a:gd name="connsiteX2" fmla="*/ 8429 w 55287"/>
                  <a:gd name="connsiteY2" fmla="*/ 51334 h 81557"/>
                  <a:gd name="connsiteX3" fmla="*/ 34048 w 55287"/>
                  <a:gd name="connsiteY3" fmla="*/ 79741 h 81557"/>
                  <a:gd name="connsiteX4" fmla="*/ 55287 w 55287"/>
                  <a:gd name="connsiteY4" fmla="*/ 9453 h 81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87" h="81557">
                    <a:moveTo>
                      <a:pt x="55287" y="9453"/>
                    </a:moveTo>
                    <a:cubicBezTo>
                      <a:pt x="39889" y="-12781"/>
                      <a:pt x="0" y="11179"/>
                      <a:pt x="0" y="11179"/>
                    </a:cubicBezTo>
                    <a:lnTo>
                      <a:pt x="8429" y="51334"/>
                    </a:lnTo>
                    <a:cubicBezTo>
                      <a:pt x="8695" y="68590"/>
                      <a:pt x="19314" y="87572"/>
                      <a:pt x="34048" y="79741"/>
                    </a:cubicBezTo>
                    <a:cubicBezTo>
                      <a:pt x="34048" y="79741"/>
                      <a:pt x="55287" y="8657"/>
                      <a:pt x="55287" y="9453"/>
                    </a:cubicBezTo>
                    <a:close/>
                  </a:path>
                </a:pathLst>
              </a:custGeom>
              <a:solidFill>
                <a:srgbClr val="C09066"/>
              </a:solidFill>
              <a:ln w="66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2" name="Freihandform: Form 311">
                <a:extLst>
                  <a:ext uri="{FF2B5EF4-FFF2-40B4-BE49-F238E27FC236}">
                    <a16:creationId xmlns:a16="http://schemas.microsoft.com/office/drawing/2014/main" id="{A17FAF48-32F1-6E67-1A16-802875FDFE94}"/>
                  </a:ext>
                </a:extLst>
              </p:cNvPr>
              <p:cNvSpPr/>
              <p:nvPr/>
            </p:nvSpPr>
            <p:spPr>
              <a:xfrm>
                <a:off x="573164" y="4459025"/>
                <a:ext cx="108424" cy="137927"/>
              </a:xfrm>
              <a:custGeom>
                <a:avLst/>
                <a:gdLst>
                  <a:gd name="connsiteX0" fmla="*/ 100062 w 108424"/>
                  <a:gd name="connsiteY0" fmla="*/ 62743 h 137927"/>
                  <a:gd name="connsiteX1" fmla="*/ 108425 w 108424"/>
                  <a:gd name="connsiteY1" fmla="*/ 121614 h 137927"/>
                  <a:gd name="connsiteX2" fmla="*/ 108425 w 108424"/>
                  <a:gd name="connsiteY2" fmla="*/ 121614 h 137927"/>
                  <a:gd name="connsiteX3" fmla="*/ 53469 w 108424"/>
                  <a:gd name="connsiteY3" fmla="*/ 124336 h 137927"/>
                  <a:gd name="connsiteX4" fmla="*/ 8470 w 108424"/>
                  <a:gd name="connsiteY4" fmla="*/ 58164 h 137927"/>
                  <a:gd name="connsiteX5" fmla="*/ 68071 w 108424"/>
                  <a:gd name="connsiteY5" fmla="*/ 5399 h 137927"/>
                  <a:gd name="connsiteX6" fmla="*/ 100128 w 108424"/>
                  <a:gd name="connsiteY6" fmla="*/ 62677 h 137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8424" h="137927">
                    <a:moveTo>
                      <a:pt x="100062" y="62743"/>
                    </a:moveTo>
                    <a:cubicBezTo>
                      <a:pt x="104376" y="79270"/>
                      <a:pt x="108425" y="121614"/>
                      <a:pt x="108425" y="121614"/>
                    </a:cubicBezTo>
                    <a:lnTo>
                      <a:pt x="108425" y="121614"/>
                    </a:lnTo>
                    <a:cubicBezTo>
                      <a:pt x="96013" y="140995"/>
                      <a:pt x="86057" y="144579"/>
                      <a:pt x="53469" y="124336"/>
                    </a:cubicBezTo>
                    <a:cubicBezTo>
                      <a:pt x="53469" y="124336"/>
                      <a:pt x="40925" y="80000"/>
                      <a:pt x="8470" y="58164"/>
                    </a:cubicBezTo>
                    <a:cubicBezTo>
                      <a:pt x="-19539" y="39314"/>
                      <a:pt x="27518" y="-17632"/>
                      <a:pt x="68071" y="5399"/>
                    </a:cubicBezTo>
                    <a:cubicBezTo>
                      <a:pt x="87319" y="29359"/>
                      <a:pt x="100128" y="62677"/>
                      <a:pt x="100128" y="62677"/>
                    </a:cubicBezTo>
                    <a:close/>
                  </a:path>
                </a:pathLst>
              </a:custGeom>
              <a:solidFill>
                <a:srgbClr val="C09066"/>
              </a:solidFill>
              <a:ln w="66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80" name="Freihandform: Form 279">
              <a:extLst>
                <a:ext uri="{FF2B5EF4-FFF2-40B4-BE49-F238E27FC236}">
                  <a16:creationId xmlns:a16="http://schemas.microsoft.com/office/drawing/2014/main" id="{BC7BAD87-4787-66B5-332C-7420E7372E1C}"/>
                </a:ext>
              </a:extLst>
            </p:cNvPr>
            <p:cNvSpPr/>
            <p:nvPr/>
          </p:nvSpPr>
          <p:spPr>
            <a:xfrm>
              <a:off x="523419" y="4441459"/>
              <a:ext cx="154348" cy="208078"/>
            </a:xfrm>
            <a:custGeom>
              <a:avLst/>
              <a:gdLst>
                <a:gd name="connsiteX0" fmla="*/ 140 w 154348"/>
                <a:gd name="connsiteY0" fmla="*/ 139578 h 208078"/>
                <a:gd name="connsiteX1" fmla="*/ 23105 w 154348"/>
                <a:gd name="connsiteY1" fmla="*/ 0 h 208078"/>
                <a:gd name="connsiteX2" fmla="*/ 116290 w 154348"/>
                <a:gd name="connsiteY2" fmla="*/ 0 h 208078"/>
                <a:gd name="connsiteX3" fmla="*/ 122927 w 154348"/>
                <a:gd name="connsiteY3" fmla="*/ 24226 h 208078"/>
                <a:gd name="connsiteX4" fmla="*/ 154254 w 154348"/>
                <a:gd name="connsiteY4" fmla="*/ 110574 h 208078"/>
                <a:gd name="connsiteX5" fmla="*/ 101953 w 154348"/>
                <a:gd name="connsiteY5" fmla="*/ 134932 h 208078"/>
                <a:gd name="connsiteX6" fmla="*/ 64056 w 154348"/>
                <a:gd name="connsiteY6" fmla="*/ 192874 h 208078"/>
                <a:gd name="connsiteX7" fmla="*/ 74 w 154348"/>
                <a:gd name="connsiteY7" fmla="*/ 166790 h 208078"/>
                <a:gd name="connsiteX8" fmla="*/ 74 w 154348"/>
                <a:gd name="connsiteY8" fmla="*/ 139645 h 208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4348" h="208078">
                  <a:moveTo>
                    <a:pt x="140" y="139578"/>
                  </a:moveTo>
                  <a:cubicBezTo>
                    <a:pt x="8038" y="104402"/>
                    <a:pt x="17065" y="60663"/>
                    <a:pt x="23105" y="0"/>
                  </a:cubicBezTo>
                  <a:lnTo>
                    <a:pt x="116290" y="0"/>
                  </a:lnTo>
                  <a:cubicBezTo>
                    <a:pt x="117750" y="14071"/>
                    <a:pt x="120604" y="21969"/>
                    <a:pt x="122927" y="24226"/>
                  </a:cubicBezTo>
                  <a:cubicBezTo>
                    <a:pt x="157705" y="57676"/>
                    <a:pt x="154254" y="110574"/>
                    <a:pt x="154254" y="110574"/>
                  </a:cubicBezTo>
                  <a:cubicBezTo>
                    <a:pt x="153656" y="115552"/>
                    <a:pt x="130493" y="132809"/>
                    <a:pt x="101953" y="134932"/>
                  </a:cubicBezTo>
                  <a:cubicBezTo>
                    <a:pt x="92861" y="135596"/>
                    <a:pt x="68901" y="150928"/>
                    <a:pt x="64056" y="192874"/>
                  </a:cubicBezTo>
                  <a:cubicBezTo>
                    <a:pt x="59675" y="227985"/>
                    <a:pt x="4720" y="195065"/>
                    <a:pt x="74" y="166790"/>
                  </a:cubicBezTo>
                  <a:cubicBezTo>
                    <a:pt x="671" y="156105"/>
                    <a:pt x="-258" y="146879"/>
                    <a:pt x="74" y="139645"/>
                  </a:cubicBezTo>
                  <a:close/>
                </a:path>
              </a:pathLst>
            </a:custGeom>
            <a:solidFill>
              <a:srgbClr val="C09066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1" name="Freihandform: Form 280">
              <a:extLst>
                <a:ext uri="{FF2B5EF4-FFF2-40B4-BE49-F238E27FC236}">
                  <a16:creationId xmlns:a16="http://schemas.microsoft.com/office/drawing/2014/main" id="{421E8F3E-0299-36FC-A269-379EE1252A6E}"/>
                </a:ext>
              </a:extLst>
            </p:cNvPr>
            <p:cNvSpPr/>
            <p:nvPr/>
          </p:nvSpPr>
          <p:spPr>
            <a:xfrm>
              <a:off x="546391" y="4398583"/>
              <a:ext cx="93450" cy="93450"/>
            </a:xfrm>
            <a:custGeom>
              <a:avLst/>
              <a:gdLst>
                <a:gd name="connsiteX0" fmla="*/ 93450 w 93450"/>
                <a:gd name="connsiteY0" fmla="*/ 46725 h 93450"/>
                <a:gd name="connsiteX1" fmla="*/ 46725 w 93450"/>
                <a:gd name="connsiteY1" fmla="*/ 93451 h 93450"/>
                <a:gd name="connsiteX2" fmla="*/ 0 w 93450"/>
                <a:gd name="connsiteY2" fmla="*/ 46725 h 93450"/>
                <a:gd name="connsiteX3" fmla="*/ 46725 w 93450"/>
                <a:gd name="connsiteY3" fmla="*/ 0 h 93450"/>
                <a:gd name="connsiteX4" fmla="*/ 93450 w 93450"/>
                <a:gd name="connsiteY4" fmla="*/ 46725 h 93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450" h="93450">
                  <a:moveTo>
                    <a:pt x="93450" y="46725"/>
                  </a:moveTo>
                  <a:cubicBezTo>
                    <a:pt x="93450" y="72531"/>
                    <a:pt x="72531" y="93451"/>
                    <a:pt x="46725" y="93451"/>
                  </a:cubicBezTo>
                  <a:cubicBezTo>
                    <a:pt x="20920" y="93451"/>
                    <a:pt x="0" y="72531"/>
                    <a:pt x="0" y="46725"/>
                  </a:cubicBezTo>
                  <a:cubicBezTo>
                    <a:pt x="0" y="20920"/>
                    <a:pt x="20920" y="0"/>
                    <a:pt x="46725" y="0"/>
                  </a:cubicBezTo>
                  <a:cubicBezTo>
                    <a:pt x="72531" y="0"/>
                    <a:pt x="93450" y="20920"/>
                    <a:pt x="93450" y="46725"/>
                  </a:cubicBezTo>
                  <a:close/>
                </a:path>
              </a:pathLst>
            </a:custGeom>
            <a:solidFill>
              <a:srgbClr val="C09066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2" name="Freihandform: Form 281">
              <a:extLst>
                <a:ext uri="{FF2B5EF4-FFF2-40B4-BE49-F238E27FC236}">
                  <a16:creationId xmlns:a16="http://schemas.microsoft.com/office/drawing/2014/main" id="{20FB976D-32D5-08C6-4122-BDBCF6BB33E0}"/>
                </a:ext>
              </a:extLst>
            </p:cNvPr>
            <p:cNvSpPr/>
            <p:nvPr/>
          </p:nvSpPr>
          <p:spPr>
            <a:xfrm>
              <a:off x="538028" y="4389889"/>
              <a:ext cx="110906" cy="51570"/>
            </a:xfrm>
            <a:custGeom>
              <a:avLst/>
              <a:gdLst>
                <a:gd name="connsiteX0" fmla="*/ 0 w 110906"/>
                <a:gd name="connsiteY0" fmla="*/ 0 h 51570"/>
                <a:gd name="connsiteX1" fmla="*/ 110906 w 110906"/>
                <a:gd name="connsiteY1" fmla="*/ 0 h 51570"/>
                <a:gd name="connsiteX2" fmla="*/ 110906 w 110906"/>
                <a:gd name="connsiteY2" fmla="*/ 51570 h 51570"/>
                <a:gd name="connsiteX3" fmla="*/ 0 w 110906"/>
                <a:gd name="connsiteY3" fmla="*/ 51570 h 51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906" h="51570">
                  <a:moveTo>
                    <a:pt x="0" y="0"/>
                  </a:moveTo>
                  <a:lnTo>
                    <a:pt x="110906" y="0"/>
                  </a:lnTo>
                  <a:lnTo>
                    <a:pt x="110906" y="51570"/>
                  </a:lnTo>
                  <a:lnTo>
                    <a:pt x="0" y="51570"/>
                  </a:lnTo>
                  <a:close/>
                </a:path>
              </a:pathLst>
            </a:custGeom>
            <a:solidFill>
              <a:srgbClr val="1E1E1E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3" name="Freihandform: Form 282">
              <a:extLst>
                <a:ext uri="{FF2B5EF4-FFF2-40B4-BE49-F238E27FC236}">
                  <a16:creationId xmlns:a16="http://schemas.microsoft.com/office/drawing/2014/main" id="{A8276E1F-D172-3F1B-1A1A-D24352D3C457}"/>
                </a:ext>
              </a:extLst>
            </p:cNvPr>
            <p:cNvSpPr/>
            <p:nvPr/>
          </p:nvSpPr>
          <p:spPr>
            <a:xfrm>
              <a:off x="1464834" y="3946265"/>
              <a:ext cx="171768" cy="488557"/>
            </a:xfrm>
            <a:custGeom>
              <a:avLst/>
              <a:gdLst>
                <a:gd name="connsiteX0" fmla="*/ 161945 w 171768"/>
                <a:gd name="connsiteY0" fmla="*/ 488557 h 488557"/>
                <a:gd name="connsiteX1" fmla="*/ 68561 w 171768"/>
                <a:gd name="connsiteY1" fmla="*/ 488557 h 488557"/>
                <a:gd name="connsiteX2" fmla="*/ 48119 w 171768"/>
                <a:gd name="connsiteY2" fmla="*/ 320373 h 488557"/>
                <a:gd name="connsiteX3" fmla="*/ 0 w 171768"/>
                <a:gd name="connsiteY3" fmla="*/ 16593 h 488557"/>
                <a:gd name="connsiteX4" fmla="*/ 171768 w 171768"/>
                <a:gd name="connsiteY4" fmla="*/ 0 h 488557"/>
                <a:gd name="connsiteX5" fmla="*/ 161879 w 171768"/>
                <a:gd name="connsiteY5" fmla="*/ 488557 h 48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768" h="488557">
                  <a:moveTo>
                    <a:pt x="161945" y="488557"/>
                  </a:moveTo>
                  <a:lnTo>
                    <a:pt x="68561" y="488557"/>
                  </a:lnTo>
                  <a:cubicBezTo>
                    <a:pt x="68561" y="488557"/>
                    <a:pt x="67698" y="411700"/>
                    <a:pt x="48119" y="320373"/>
                  </a:cubicBezTo>
                  <a:cubicBezTo>
                    <a:pt x="20044" y="189357"/>
                    <a:pt x="7765" y="59933"/>
                    <a:pt x="0" y="16593"/>
                  </a:cubicBezTo>
                  <a:lnTo>
                    <a:pt x="171768" y="0"/>
                  </a:lnTo>
                  <a:cubicBezTo>
                    <a:pt x="170706" y="232962"/>
                    <a:pt x="172963" y="363979"/>
                    <a:pt x="161879" y="488557"/>
                  </a:cubicBezTo>
                  <a:close/>
                </a:path>
              </a:pathLst>
            </a:custGeom>
            <a:solidFill>
              <a:srgbClr val="C09066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4" name="Freihandform: Form 283">
              <a:extLst>
                <a:ext uri="{FF2B5EF4-FFF2-40B4-BE49-F238E27FC236}">
                  <a16:creationId xmlns:a16="http://schemas.microsoft.com/office/drawing/2014/main" id="{690373E4-219F-5B1E-2165-50966EA05692}"/>
                </a:ext>
              </a:extLst>
            </p:cNvPr>
            <p:cNvSpPr/>
            <p:nvPr/>
          </p:nvSpPr>
          <p:spPr>
            <a:xfrm>
              <a:off x="1463241" y="3859584"/>
              <a:ext cx="173361" cy="173361"/>
            </a:xfrm>
            <a:custGeom>
              <a:avLst/>
              <a:gdLst>
                <a:gd name="connsiteX0" fmla="*/ 173361 w 173361"/>
                <a:gd name="connsiteY0" fmla="*/ 86681 h 173361"/>
                <a:gd name="connsiteX1" fmla="*/ 86681 w 173361"/>
                <a:gd name="connsiteY1" fmla="*/ 173361 h 173361"/>
                <a:gd name="connsiteX2" fmla="*/ 0 w 173361"/>
                <a:gd name="connsiteY2" fmla="*/ 86681 h 173361"/>
                <a:gd name="connsiteX3" fmla="*/ 86681 w 173361"/>
                <a:gd name="connsiteY3" fmla="*/ 0 h 173361"/>
                <a:gd name="connsiteX4" fmla="*/ 173361 w 173361"/>
                <a:gd name="connsiteY4" fmla="*/ 86681 h 173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361" h="173361">
                  <a:moveTo>
                    <a:pt x="173361" y="86681"/>
                  </a:moveTo>
                  <a:cubicBezTo>
                    <a:pt x="173361" y="134553"/>
                    <a:pt x="134553" y="173361"/>
                    <a:pt x="86681" y="173361"/>
                  </a:cubicBezTo>
                  <a:cubicBezTo>
                    <a:pt x="38808" y="173361"/>
                    <a:pt x="0" y="134553"/>
                    <a:pt x="0" y="86681"/>
                  </a:cubicBezTo>
                  <a:cubicBezTo>
                    <a:pt x="0" y="38808"/>
                    <a:pt x="38808" y="0"/>
                    <a:pt x="86681" y="0"/>
                  </a:cubicBezTo>
                  <a:cubicBezTo>
                    <a:pt x="134553" y="0"/>
                    <a:pt x="173361" y="38808"/>
                    <a:pt x="173361" y="86681"/>
                  </a:cubicBezTo>
                  <a:close/>
                </a:path>
              </a:pathLst>
            </a:custGeom>
            <a:solidFill>
              <a:srgbClr val="C09066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5" name="Freihandform: Form 284">
              <a:extLst>
                <a:ext uri="{FF2B5EF4-FFF2-40B4-BE49-F238E27FC236}">
                  <a16:creationId xmlns:a16="http://schemas.microsoft.com/office/drawing/2014/main" id="{C4356945-2805-080E-E2D1-4A0FA85D1FD7}"/>
                </a:ext>
              </a:extLst>
            </p:cNvPr>
            <p:cNvSpPr/>
            <p:nvPr/>
          </p:nvSpPr>
          <p:spPr>
            <a:xfrm>
              <a:off x="1312977" y="3268948"/>
              <a:ext cx="213582" cy="213582"/>
            </a:xfrm>
            <a:custGeom>
              <a:avLst/>
              <a:gdLst>
                <a:gd name="connsiteX0" fmla="*/ 213582 w 213582"/>
                <a:gd name="connsiteY0" fmla="*/ 106791 h 213582"/>
                <a:gd name="connsiteX1" fmla="*/ 106791 w 213582"/>
                <a:gd name="connsiteY1" fmla="*/ 213582 h 213582"/>
                <a:gd name="connsiteX2" fmla="*/ 0 w 213582"/>
                <a:gd name="connsiteY2" fmla="*/ 106791 h 213582"/>
                <a:gd name="connsiteX3" fmla="*/ 106791 w 213582"/>
                <a:gd name="connsiteY3" fmla="*/ 0 h 213582"/>
                <a:gd name="connsiteX4" fmla="*/ 213582 w 213582"/>
                <a:gd name="connsiteY4" fmla="*/ 106791 h 213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582" h="213582">
                  <a:moveTo>
                    <a:pt x="213582" y="106791"/>
                  </a:moveTo>
                  <a:cubicBezTo>
                    <a:pt x="213582" y="165770"/>
                    <a:pt x="165770" y="213582"/>
                    <a:pt x="106791" y="213582"/>
                  </a:cubicBezTo>
                  <a:cubicBezTo>
                    <a:pt x="47812" y="213582"/>
                    <a:pt x="0" y="165770"/>
                    <a:pt x="0" y="106791"/>
                  </a:cubicBezTo>
                  <a:cubicBezTo>
                    <a:pt x="0" y="47812"/>
                    <a:pt x="47812" y="0"/>
                    <a:pt x="106791" y="0"/>
                  </a:cubicBezTo>
                  <a:cubicBezTo>
                    <a:pt x="165770" y="0"/>
                    <a:pt x="213582" y="47812"/>
                    <a:pt x="213582" y="106791"/>
                  </a:cubicBezTo>
                  <a:close/>
                </a:path>
              </a:pathLst>
            </a:custGeom>
            <a:solidFill>
              <a:srgbClr val="404040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6" name="Freihandform: Form 285">
              <a:extLst>
                <a:ext uri="{FF2B5EF4-FFF2-40B4-BE49-F238E27FC236}">
                  <a16:creationId xmlns:a16="http://schemas.microsoft.com/office/drawing/2014/main" id="{20FDD435-A8B9-50D0-B4AF-02751F88AD9A}"/>
                </a:ext>
              </a:extLst>
            </p:cNvPr>
            <p:cNvSpPr/>
            <p:nvPr/>
          </p:nvSpPr>
          <p:spPr>
            <a:xfrm>
              <a:off x="1319083" y="3344279"/>
              <a:ext cx="307629" cy="511986"/>
            </a:xfrm>
            <a:custGeom>
              <a:avLst/>
              <a:gdLst>
                <a:gd name="connsiteX0" fmla="*/ 307630 w 307629"/>
                <a:gd name="connsiteY0" fmla="*/ 482982 h 511986"/>
                <a:gd name="connsiteX1" fmla="*/ 109844 w 307629"/>
                <a:gd name="connsiteY1" fmla="*/ 511986 h 511986"/>
                <a:gd name="connsiteX2" fmla="*/ 49513 w 307629"/>
                <a:gd name="connsiteY2" fmla="*/ 262099 h 511986"/>
                <a:gd name="connsiteX3" fmla="*/ 0 w 307629"/>
                <a:gd name="connsiteY3" fmla="*/ 67300 h 511986"/>
                <a:gd name="connsiteX4" fmla="*/ 202631 w 307629"/>
                <a:gd name="connsiteY4" fmla="*/ 0 h 511986"/>
                <a:gd name="connsiteX5" fmla="*/ 261635 w 307629"/>
                <a:gd name="connsiteY5" fmla="*/ 233095 h 511986"/>
                <a:gd name="connsiteX6" fmla="*/ 307497 w 307629"/>
                <a:gd name="connsiteY6" fmla="*/ 482982 h 511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7629" h="511986">
                  <a:moveTo>
                    <a:pt x="307630" y="482982"/>
                  </a:moveTo>
                  <a:lnTo>
                    <a:pt x="109844" y="511986"/>
                  </a:lnTo>
                  <a:lnTo>
                    <a:pt x="49513" y="262099"/>
                  </a:lnTo>
                  <a:lnTo>
                    <a:pt x="0" y="67300"/>
                  </a:lnTo>
                  <a:lnTo>
                    <a:pt x="202631" y="0"/>
                  </a:lnTo>
                  <a:cubicBezTo>
                    <a:pt x="219356" y="55353"/>
                    <a:pt x="239467" y="139246"/>
                    <a:pt x="261635" y="233095"/>
                  </a:cubicBezTo>
                  <a:cubicBezTo>
                    <a:pt x="296811" y="381899"/>
                    <a:pt x="307497" y="482982"/>
                    <a:pt x="307497" y="482982"/>
                  </a:cubicBezTo>
                  <a:close/>
                </a:path>
              </a:pathLst>
            </a:custGeom>
            <a:solidFill>
              <a:srgbClr val="404040"/>
            </a:solidFill>
            <a:ln w="661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87" name="Gruppieren 286">
              <a:extLst>
                <a:ext uri="{FF2B5EF4-FFF2-40B4-BE49-F238E27FC236}">
                  <a16:creationId xmlns:a16="http://schemas.microsoft.com/office/drawing/2014/main" id="{92B0CEA7-FD3E-15D4-9A37-ECE2F4052ACB}"/>
                </a:ext>
              </a:extLst>
            </p:cNvPr>
            <p:cNvGrpSpPr/>
            <p:nvPr/>
          </p:nvGrpSpPr>
          <p:grpSpPr>
            <a:xfrm>
              <a:off x="1491714" y="4391946"/>
              <a:ext cx="158169" cy="370615"/>
              <a:chOff x="1491714" y="4391946"/>
              <a:chExt cx="158169" cy="370615"/>
            </a:xfrm>
          </p:grpSpPr>
          <p:grpSp>
            <p:nvGrpSpPr>
              <p:cNvPr id="289" name="Grafik 14">
                <a:extLst>
                  <a:ext uri="{FF2B5EF4-FFF2-40B4-BE49-F238E27FC236}">
                    <a16:creationId xmlns:a16="http://schemas.microsoft.com/office/drawing/2014/main" id="{CD06EFDD-2270-3F2C-A878-6216A426B28A}"/>
                  </a:ext>
                </a:extLst>
              </p:cNvPr>
              <p:cNvGrpSpPr/>
              <p:nvPr/>
            </p:nvGrpSpPr>
            <p:grpSpPr>
              <a:xfrm>
                <a:off x="1553671" y="4624079"/>
                <a:ext cx="74194" cy="74966"/>
                <a:chOff x="1553671" y="4624079"/>
                <a:chExt cx="74194" cy="74966"/>
              </a:xfrm>
            </p:grpSpPr>
            <p:sp>
              <p:nvSpPr>
                <p:cNvPr id="308" name="Freihandform: Form 307">
                  <a:extLst>
                    <a:ext uri="{FF2B5EF4-FFF2-40B4-BE49-F238E27FC236}">
                      <a16:creationId xmlns:a16="http://schemas.microsoft.com/office/drawing/2014/main" id="{9ED8B6DC-7C50-5A77-E696-6F18CFAD0C6B}"/>
                    </a:ext>
                  </a:extLst>
                </p:cNvPr>
                <p:cNvSpPr/>
                <p:nvPr/>
              </p:nvSpPr>
              <p:spPr>
                <a:xfrm>
                  <a:off x="1553671" y="4645382"/>
                  <a:ext cx="40128" cy="53663"/>
                </a:xfrm>
                <a:custGeom>
                  <a:avLst/>
                  <a:gdLst>
                    <a:gd name="connsiteX0" fmla="*/ 3352 w 40128"/>
                    <a:gd name="connsiteY0" fmla="*/ 53597 h 53663"/>
                    <a:gd name="connsiteX1" fmla="*/ 28440 w 40128"/>
                    <a:gd name="connsiteY1" fmla="*/ 37535 h 53663"/>
                    <a:gd name="connsiteX2" fmla="*/ 39192 w 40128"/>
                    <a:gd name="connsiteY2" fmla="*/ 6872 h 53663"/>
                    <a:gd name="connsiteX3" fmla="*/ 36537 w 40128"/>
                    <a:gd name="connsiteY3" fmla="*/ 36 h 53663"/>
                    <a:gd name="connsiteX4" fmla="*/ 9193 w 40128"/>
                    <a:gd name="connsiteY4" fmla="*/ 24394 h 53663"/>
                    <a:gd name="connsiteX5" fmla="*/ 3352 w 40128"/>
                    <a:gd name="connsiteY5" fmla="*/ 53663 h 53663"/>
                    <a:gd name="connsiteX6" fmla="*/ 3352 w 40128"/>
                    <a:gd name="connsiteY6" fmla="*/ 53663 h 536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0128" h="53663">
                      <a:moveTo>
                        <a:pt x="3352" y="53597"/>
                      </a:moveTo>
                      <a:lnTo>
                        <a:pt x="28440" y="37535"/>
                      </a:lnTo>
                      <a:cubicBezTo>
                        <a:pt x="37865" y="31296"/>
                        <a:pt x="42179" y="20080"/>
                        <a:pt x="39192" y="6872"/>
                      </a:cubicBezTo>
                      <a:cubicBezTo>
                        <a:pt x="38263" y="2624"/>
                        <a:pt x="37268" y="-363"/>
                        <a:pt x="36537" y="36"/>
                      </a:cubicBezTo>
                      <a:cubicBezTo>
                        <a:pt x="35077" y="832"/>
                        <a:pt x="23396" y="11186"/>
                        <a:pt x="9193" y="24394"/>
                      </a:cubicBezTo>
                      <a:cubicBezTo>
                        <a:pt x="232" y="32756"/>
                        <a:pt x="-3086" y="40323"/>
                        <a:pt x="3352" y="53663"/>
                      </a:cubicBezTo>
                      <a:lnTo>
                        <a:pt x="3352" y="53663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66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09" name="Freihandform: Form 308">
                  <a:extLst>
                    <a:ext uri="{FF2B5EF4-FFF2-40B4-BE49-F238E27FC236}">
                      <a16:creationId xmlns:a16="http://schemas.microsoft.com/office/drawing/2014/main" id="{AFDC9B61-01C8-984B-E68B-FC2649EEC17A}"/>
                    </a:ext>
                  </a:extLst>
                </p:cNvPr>
                <p:cNvSpPr/>
                <p:nvPr/>
              </p:nvSpPr>
              <p:spPr>
                <a:xfrm>
                  <a:off x="1575575" y="4624079"/>
                  <a:ext cx="52291" cy="58838"/>
                </a:xfrm>
                <a:custGeom>
                  <a:avLst/>
                  <a:gdLst>
                    <a:gd name="connsiteX0" fmla="*/ 6537 w 52291"/>
                    <a:gd name="connsiteY0" fmla="*/ 58838 h 58838"/>
                    <a:gd name="connsiteX1" fmla="*/ 44833 w 52291"/>
                    <a:gd name="connsiteY1" fmla="*/ 32290 h 58838"/>
                    <a:gd name="connsiteX2" fmla="*/ 52266 w 52291"/>
                    <a:gd name="connsiteY2" fmla="*/ 24192 h 58838"/>
                    <a:gd name="connsiteX3" fmla="*/ 27112 w 52291"/>
                    <a:gd name="connsiteY3" fmla="*/ 100 h 58838"/>
                    <a:gd name="connsiteX4" fmla="*/ 5873 w 52291"/>
                    <a:gd name="connsiteY4" fmla="*/ 28307 h 58838"/>
                    <a:gd name="connsiteX5" fmla="*/ 6537 w 52291"/>
                    <a:gd name="connsiteY5" fmla="*/ 58838 h 58838"/>
                    <a:gd name="connsiteX6" fmla="*/ 6537 w 52291"/>
                    <a:gd name="connsiteY6" fmla="*/ 58838 h 588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2291" h="58838">
                      <a:moveTo>
                        <a:pt x="6537" y="58838"/>
                      </a:moveTo>
                      <a:lnTo>
                        <a:pt x="44833" y="32290"/>
                      </a:lnTo>
                      <a:cubicBezTo>
                        <a:pt x="49479" y="28772"/>
                        <a:pt x="51072" y="26051"/>
                        <a:pt x="52266" y="24192"/>
                      </a:cubicBezTo>
                      <a:cubicBezTo>
                        <a:pt x="52996" y="10918"/>
                        <a:pt x="37466" y="-1228"/>
                        <a:pt x="27112" y="100"/>
                      </a:cubicBezTo>
                      <a:lnTo>
                        <a:pt x="5873" y="28307"/>
                      </a:lnTo>
                      <a:cubicBezTo>
                        <a:pt x="-2888" y="36006"/>
                        <a:pt x="-1162" y="46427"/>
                        <a:pt x="6537" y="58838"/>
                      </a:cubicBezTo>
                      <a:lnTo>
                        <a:pt x="6537" y="58838"/>
                      </a:lnTo>
                      <a:close/>
                    </a:path>
                  </a:pathLst>
                </a:custGeom>
                <a:solidFill>
                  <a:srgbClr val="C09066"/>
                </a:solidFill>
                <a:ln w="66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90" name="Grafik 14">
                <a:extLst>
                  <a:ext uri="{FF2B5EF4-FFF2-40B4-BE49-F238E27FC236}">
                    <a16:creationId xmlns:a16="http://schemas.microsoft.com/office/drawing/2014/main" id="{60CA8EA1-B630-948E-5F0D-2C5B800560FD}"/>
                  </a:ext>
                </a:extLst>
              </p:cNvPr>
              <p:cNvGrpSpPr/>
              <p:nvPr/>
            </p:nvGrpSpPr>
            <p:grpSpPr>
              <a:xfrm>
                <a:off x="1550191" y="4593374"/>
                <a:ext cx="99287" cy="145360"/>
                <a:chOff x="1550191" y="4593374"/>
                <a:chExt cx="99287" cy="145360"/>
              </a:xfrm>
            </p:grpSpPr>
            <p:sp>
              <p:nvSpPr>
                <p:cNvPr id="305" name="Freihandform: Form 304">
                  <a:extLst>
                    <a:ext uri="{FF2B5EF4-FFF2-40B4-BE49-F238E27FC236}">
                      <a16:creationId xmlns:a16="http://schemas.microsoft.com/office/drawing/2014/main" id="{0F413336-37FE-A4DF-2A8C-37A94B2F174F}"/>
                    </a:ext>
                  </a:extLst>
                </p:cNvPr>
                <p:cNvSpPr/>
                <p:nvPr/>
              </p:nvSpPr>
              <p:spPr>
                <a:xfrm>
                  <a:off x="1550191" y="4670303"/>
                  <a:ext cx="47820" cy="68431"/>
                </a:xfrm>
                <a:custGeom>
                  <a:avLst/>
                  <a:gdLst>
                    <a:gd name="connsiteX0" fmla="*/ 4045 w 47820"/>
                    <a:gd name="connsiteY0" fmla="*/ 68432 h 68431"/>
                    <a:gd name="connsiteX1" fmla="*/ 33978 w 47820"/>
                    <a:gd name="connsiteY1" fmla="*/ 45202 h 68431"/>
                    <a:gd name="connsiteX2" fmla="*/ 46655 w 47820"/>
                    <a:gd name="connsiteY2" fmla="*/ 7569 h 68431"/>
                    <a:gd name="connsiteX3" fmla="*/ 43469 w 47820"/>
                    <a:gd name="connsiteY3" fmla="*/ 69 h 68431"/>
                    <a:gd name="connsiteX4" fmla="*/ 10881 w 47820"/>
                    <a:gd name="connsiteY4" fmla="*/ 33321 h 68431"/>
                    <a:gd name="connsiteX5" fmla="*/ 4045 w 47820"/>
                    <a:gd name="connsiteY5" fmla="*/ 68432 h 68431"/>
                    <a:gd name="connsiteX6" fmla="*/ 4045 w 47820"/>
                    <a:gd name="connsiteY6" fmla="*/ 68432 h 68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7820" h="68431">
                      <a:moveTo>
                        <a:pt x="4045" y="68432"/>
                      </a:moveTo>
                      <a:lnTo>
                        <a:pt x="33978" y="45202"/>
                      </a:lnTo>
                      <a:cubicBezTo>
                        <a:pt x="45195" y="36175"/>
                        <a:pt x="50305" y="22436"/>
                        <a:pt x="46655" y="7569"/>
                      </a:cubicBezTo>
                      <a:cubicBezTo>
                        <a:pt x="45460" y="2791"/>
                        <a:pt x="44332" y="-528"/>
                        <a:pt x="43469" y="69"/>
                      </a:cubicBezTo>
                      <a:cubicBezTo>
                        <a:pt x="41744" y="1264"/>
                        <a:pt x="27806" y="15401"/>
                        <a:pt x="10881" y="33321"/>
                      </a:cubicBezTo>
                      <a:cubicBezTo>
                        <a:pt x="195" y="44671"/>
                        <a:pt x="-3654" y="54029"/>
                        <a:pt x="4045" y="68432"/>
                      </a:cubicBezTo>
                      <a:lnTo>
                        <a:pt x="4045" y="68432"/>
                      </a:lnTo>
                      <a:close/>
                    </a:path>
                  </a:pathLst>
                </a:custGeom>
                <a:solidFill>
                  <a:srgbClr val="8A5942"/>
                </a:solidFill>
                <a:ln w="66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06" name="Freihandform: Form 305">
                  <a:extLst>
                    <a:ext uri="{FF2B5EF4-FFF2-40B4-BE49-F238E27FC236}">
                      <a16:creationId xmlns:a16="http://schemas.microsoft.com/office/drawing/2014/main" id="{5DE4AF03-03BC-62B6-3586-267D0418F2A6}"/>
                    </a:ext>
                  </a:extLst>
                </p:cNvPr>
                <p:cNvSpPr/>
                <p:nvPr/>
              </p:nvSpPr>
              <p:spPr>
                <a:xfrm>
                  <a:off x="1575563" y="4629887"/>
                  <a:ext cx="64233" cy="86016"/>
                </a:xfrm>
                <a:custGeom>
                  <a:avLst/>
                  <a:gdLst>
                    <a:gd name="connsiteX0" fmla="*/ 7876 w 64233"/>
                    <a:gd name="connsiteY0" fmla="*/ 86017 h 86016"/>
                    <a:gd name="connsiteX1" fmla="*/ 53473 w 64233"/>
                    <a:gd name="connsiteY1" fmla="*/ 49845 h 86016"/>
                    <a:gd name="connsiteX2" fmla="*/ 54999 w 64233"/>
                    <a:gd name="connsiteY2" fmla="*/ 3385 h 86016"/>
                    <a:gd name="connsiteX3" fmla="*/ 49358 w 64233"/>
                    <a:gd name="connsiteY3" fmla="*/ 0 h 86016"/>
                    <a:gd name="connsiteX4" fmla="*/ 6947 w 64233"/>
                    <a:gd name="connsiteY4" fmla="*/ 50508 h 86016"/>
                    <a:gd name="connsiteX5" fmla="*/ 7876 w 64233"/>
                    <a:gd name="connsiteY5" fmla="*/ 85951 h 86016"/>
                    <a:gd name="connsiteX6" fmla="*/ 7876 w 64233"/>
                    <a:gd name="connsiteY6" fmla="*/ 85951 h 86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4233" h="86016">
                      <a:moveTo>
                        <a:pt x="7876" y="86017"/>
                      </a:moveTo>
                      <a:lnTo>
                        <a:pt x="53473" y="49845"/>
                      </a:lnTo>
                      <a:cubicBezTo>
                        <a:pt x="67212" y="38761"/>
                        <a:pt x="67875" y="17522"/>
                        <a:pt x="54999" y="3385"/>
                      </a:cubicBezTo>
                      <a:lnTo>
                        <a:pt x="49358" y="0"/>
                      </a:lnTo>
                      <a:lnTo>
                        <a:pt x="6947" y="50508"/>
                      </a:lnTo>
                      <a:cubicBezTo>
                        <a:pt x="-3474" y="60995"/>
                        <a:pt x="-1350" y="72875"/>
                        <a:pt x="7876" y="85951"/>
                      </a:cubicBezTo>
                      <a:lnTo>
                        <a:pt x="7876" y="85951"/>
                      </a:lnTo>
                      <a:close/>
                    </a:path>
                  </a:pathLst>
                </a:custGeom>
                <a:solidFill>
                  <a:srgbClr val="C09066"/>
                </a:solidFill>
                <a:ln w="66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07" name="Freihandform: Form 306">
                  <a:extLst>
                    <a:ext uri="{FF2B5EF4-FFF2-40B4-BE49-F238E27FC236}">
                      <a16:creationId xmlns:a16="http://schemas.microsoft.com/office/drawing/2014/main" id="{FE659297-1912-D9BE-0E8D-77C895809A9C}"/>
                    </a:ext>
                  </a:extLst>
                </p:cNvPr>
                <p:cNvSpPr/>
                <p:nvPr/>
              </p:nvSpPr>
              <p:spPr>
                <a:xfrm>
                  <a:off x="1605939" y="4593374"/>
                  <a:ext cx="43539" cy="77397"/>
                </a:xfrm>
                <a:custGeom>
                  <a:avLst/>
                  <a:gdLst>
                    <a:gd name="connsiteX0" fmla="*/ 43539 w 43539"/>
                    <a:gd name="connsiteY0" fmla="*/ 8238 h 77397"/>
                    <a:gd name="connsiteX1" fmla="*/ 33849 w 43539"/>
                    <a:gd name="connsiteY1" fmla="*/ 70096 h 77397"/>
                    <a:gd name="connsiteX2" fmla="*/ 30265 w 43539"/>
                    <a:gd name="connsiteY2" fmla="*/ 77397 h 77397"/>
                    <a:gd name="connsiteX3" fmla="*/ 332 w 43539"/>
                    <a:gd name="connsiteY3" fmla="*/ 43282 h 77397"/>
                    <a:gd name="connsiteX4" fmla="*/ 0 w 43539"/>
                    <a:gd name="connsiteY4" fmla="*/ 9566 h 77397"/>
                    <a:gd name="connsiteX5" fmla="*/ 43539 w 43539"/>
                    <a:gd name="connsiteY5" fmla="*/ 8172 h 77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3539" h="77397">
                      <a:moveTo>
                        <a:pt x="43539" y="8238"/>
                      </a:moveTo>
                      <a:cubicBezTo>
                        <a:pt x="41814" y="20982"/>
                        <a:pt x="33849" y="70096"/>
                        <a:pt x="33849" y="70096"/>
                      </a:cubicBezTo>
                      <a:lnTo>
                        <a:pt x="30265" y="77397"/>
                      </a:lnTo>
                      <a:cubicBezTo>
                        <a:pt x="12146" y="75074"/>
                        <a:pt x="133" y="60141"/>
                        <a:pt x="332" y="43282"/>
                      </a:cubicBezTo>
                      <a:lnTo>
                        <a:pt x="0" y="9566"/>
                      </a:lnTo>
                      <a:cubicBezTo>
                        <a:pt x="6372" y="-1253"/>
                        <a:pt x="39292" y="-4439"/>
                        <a:pt x="43539" y="8172"/>
                      </a:cubicBezTo>
                      <a:close/>
                    </a:path>
                  </a:pathLst>
                </a:custGeom>
                <a:solidFill>
                  <a:srgbClr val="C09066"/>
                </a:solidFill>
                <a:ln w="66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91" name="Grafik 14">
                <a:extLst>
                  <a:ext uri="{FF2B5EF4-FFF2-40B4-BE49-F238E27FC236}">
                    <a16:creationId xmlns:a16="http://schemas.microsoft.com/office/drawing/2014/main" id="{33863762-51A0-F6CD-C4AE-84CFD07F1012}"/>
                  </a:ext>
                </a:extLst>
              </p:cNvPr>
              <p:cNvGrpSpPr/>
              <p:nvPr/>
            </p:nvGrpSpPr>
            <p:grpSpPr>
              <a:xfrm>
                <a:off x="1557637" y="4583206"/>
                <a:ext cx="79097" cy="179355"/>
                <a:chOff x="1557637" y="4583206"/>
                <a:chExt cx="79097" cy="179355"/>
              </a:xfrm>
              <a:solidFill>
                <a:srgbClr val="C09066"/>
              </a:solidFill>
            </p:grpSpPr>
            <p:sp>
              <p:nvSpPr>
                <p:cNvPr id="302" name="Freihandform: Form 301">
                  <a:extLst>
                    <a:ext uri="{FF2B5EF4-FFF2-40B4-BE49-F238E27FC236}">
                      <a16:creationId xmlns:a16="http://schemas.microsoft.com/office/drawing/2014/main" id="{C699D77B-44C8-C247-DDDC-3DE48321CDE4}"/>
                    </a:ext>
                  </a:extLst>
                </p:cNvPr>
                <p:cNvSpPr/>
                <p:nvPr/>
              </p:nvSpPr>
              <p:spPr>
                <a:xfrm>
                  <a:off x="1557637" y="4676353"/>
                  <a:ext cx="38074" cy="86208"/>
                </a:xfrm>
                <a:custGeom>
                  <a:avLst/>
                  <a:gdLst>
                    <a:gd name="connsiteX0" fmla="*/ 11399 w 38074"/>
                    <a:gd name="connsiteY0" fmla="*/ 86143 h 86208"/>
                    <a:gd name="connsiteX1" fmla="*/ 32572 w 38074"/>
                    <a:gd name="connsiteY1" fmla="*/ 50236 h 86208"/>
                    <a:gd name="connsiteX2" fmla="*/ 30315 w 38074"/>
                    <a:gd name="connsiteY2" fmla="*/ 6564 h 86208"/>
                    <a:gd name="connsiteX3" fmla="*/ 24010 w 38074"/>
                    <a:gd name="connsiteY3" fmla="*/ 192 h 86208"/>
                    <a:gd name="connsiteX4" fmla="*/ 4165 w 38074"/>
                    <a:gd name="connsiteY4" fmla="*/ 47448 h 86208"/>
                    <a:gd name="connsiteX5" fmla="*/ 11399 w 38074"/>
                    <a:gd name="connsiteY5" fmla="*/ 86209 h 86208"/>
                    <a:gd name="connsiteX6" fmla="*/ 11399 w 38074"/>
                    <a:gd name="connsiteY6" fmla="*/ 86209 h 862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074" h="86208">
                      <a:moveTo>
                        <a:pt x="11399" y="86143"/>
                      </a:moveTo>
                      <a:lnTo>
                        <a:pt x="32572" y="50236"/>
                      </a:lnTo>
                      <a:cubicBezTo>
                        <a:pt x="40403" y="36497"/>
                        <a:pt x="40072" y="20302"/>
                        <a:pt x="30315" y="6564"/>
                      </a:cubicBezTo>
                      <a:cubicBezTo>
                        <a:pt x="27196" y="2183"/>
                        <a:pt x="24673" y="-803"/>
                        <a:pt x="24010" y="192"/>
                      </a:cubicBezTo>
                      <a:cubicBezTo>
                        <a:pt x="22749" y="2117"/>
                        <a:pt x="14187" y="22227"/>
                        <a:pt x="4165" y="47448"/>
                      </a:cubicBezTo>
                      <a:cubicBezTo>
                        <a:pt x="-2207" y="63377"/>
                        <a:pt x="-2340" y="74528"/>
                        <a:pt x="11399" y="86209"/>
                      </a:cubicBezTo>
                      <a:lnTo>
                        <a:pt x="11399" y="86209"/>
                      </a:lnTo>
                      <a:close/>
                    </a:path>
                  </a:pathLst>
                </a:custGeom>
                <a:solidFill>
                  <a:srgbClr val="C09066"/>
                </a:solidFill>
                <a:ln w="66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03" name="Freihandform: Form 302">
                  <a:extLst>
                    <a:ext uri="{FF2B5EF4-FFF2-40B4-BE49-F238E27FC236}">
                      <a16:creationId xmlns:a16="http://schemas.microsoft.com/office/drawing/2014/main" id="{686DC6B8-5C1B-694F-FE07-FAB07E1879D1}"/>
                    </a:ext>
                  </a:extLst>
                </p:cNvPr>
                <p:cNvSpPr/>
                <p:nvPr/>
              </p:nvSpPr>
              <p:spPr>
                <a:xfrm>
                  <a:off x="1570677" y="4643957"/>
                  <a:ext cx="53273" cy="85087"/>
                </a:xfrm>
                <a:custGeom>
                  <a:avLst/>
                  <a:gdLst>
                    <a:gd name="connsiteX0" fmla="*/ 18071 w 53273"/>
                    <a:gd name="connsiteY0" fmla="*/ 85088 h 85087"/>
                    <a:gd name="connsiteX1" fmla="*/ 49796 w 53273"/>
                    <a:gd name="connsiteY1" fmla="*/ 29203 h 85087"/>
                    <a:gd name="connsiteX2" fmla="*/ 26832 w 53273"/>
                    <a:gd name="connsiteY2" fmla="*/ 1726 h 85087"/>
                    <a:gd name="connsiteX3" fmla="*/ 24111 w 53273"/>
                    <a:gd name="connsiteY3" fmla="*/ 0 h 85087"/>
                    <a:gd name="connsiteX4" fmla="*/ 2474 w 53273"/>
                    <a:gd name="connsiteY4" fmla="*/ 48783 h 85087"/>
                    <a:gd name="connsiteX5" fmla="*/ 17142 w 53273"/>
                    <a:gd name="connsiteY5" fmla="*/ 84424 h 85087"/>
                    <a:gd name="connsiteX6" fmla="*/ 18138 w 53273"/>
                    <a:gd name="connsiteY6" fmla="*/ 85088 h 850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273" h="85087">
                      <a:moveTo>
                        <a:pt x="18071" y="85088"/>
                      </a:moveTo>
                      <a:lnTo>
                        <a:pt x="49796" y="29203"/>
                      </a:lnTo>
                      <a:cubicBezTo>
                        <a:pt x="59354" y="12279"/>
                        <a:pt x="48403" y="4911"/>
                        <a:pt x="26832" y="1726"/>
                      </a:cubicBezTo>
                      <a:lnTo>
                        <a:pt x="24111" y="0"/>
                      </a:lnTo>
                      <a:lnTo>
                        <a:pt x="2474" y="48783"/>
                      </a:lnTo>
                      <a:cubicBezTo>
                        <a:pt x="-3898" y="63783"/>
                        <a:pt x="2408" y="74734"/>
                        <a:pt x="17142" y="84424"/>
                      </a:cubicBezTo>
                      <a:lnTo>
                        <a:pt x="18138" y="85088"/>
                      </a:lnTo>
                      <a:close/>
                    </a:path>
                  </a:pathLst>
                </a:custGeom>
                <a:solidFill>
                  <a:srgbClr val="C09066"/>
                </a:solidFill>
                <a:ln w="66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04" name="Freihandform: Form 303">
                  <a:extLst>
                    <a:ext uri="{FF2B5EF4-FFF2-40B4-BE49-F238E27FC236}">
                      <a16:creationId xmlns:a16="http://schemas.microsoft.com/office/drawing/2014/main" id="{511DE859-90AF-D18F-7FC0-488481B0BD7D}"/>
                    </a:ext>
                  </a:extLst>
                </p:cNvPr>
                <p:cNvSpPr/>
                <p:nvPr/>
              </p:nvSpPr>
              <p:spPr>
                <a:xfrm>
                  <a:off x="1593195" y="4583206"/>
                  <a:ext cx="43539" cy="83914"/>
                </a:xfrm>
                <a:custGeom>
                  <a:avLst/>
                  <a:gdLst>
                    <a:gd name="connsiteX0" fmla="*/ 43540 w 43539"/>
                    <a:gd name="connsiteY0" fmla="*/ 10972 h 83914"/>
                    <a:gd name="connsiteX1" fmla="*/ 29668 w 43539"/>
                    <a:gd name="connsiteY1" fmla="*/ 83914 h 83914"/>
                    <a:gd name="connsiteX2" fmla="*/ 332 w 43539"/>
                    <a:gd name="connsiteY2" fmla="*/ 61348 h 83914"/>
                    <a:gd name="connsiteX3" fmla="*/ 0 w 43539"/>
                    <a:gd name="connsiteY3" fmla="*/ 8517 h 83914"/>
                    <a:gd name="connsiteX4" fmla="*/ 43540 w 43539"/>
                    <a:gd name="connsiteY4" fmla="*/ 10906 h 83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3539" h="83914">
                      <a:moveTo>
                        <a:pt x="43540" y="10972"/>
                      </a:moveTo>
                      <a:cubicBezTo>
                        <a:pt x="43540" y="12300"/>
                        <a:pt x="29668" y="83914"/>
                        <a:pt x="29668" y="83914"/>
                      </a:cubicBezTo>
                      <a:cubicBezTo>
                        <a:pt x="9690" y="81459"/>
                        <a:pt x="332" y="79932"/>
                        <a:pt x="332" y="61348"/>
                      </a:cubicBezTo>
                      <a:lnTo>
                        <a:pt x="0" y="8517"/>
                      </a:lnTo>
                      <a:cubicBezTo>
                        <a:pt x="6903" y="-3430"/>
                        <a:pt x="38761" y="-2965"/>
                        <a:pt x="43540" y="10906"/>
                      </a:cubicBezTo>
                      <a:close/>
                    </a:path>
                  </a:pathLst>
                </a:custGeom>
                <a:solidFill>
                  <a:srgbClr val="C09066"/>
                </a:solidFill>
                <a:ln w="66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92" name="Grafik 14">
                <a:extLst>
                  <a:ext uri="{FF2B5EF4-FFF2-40B4-BE49-F238E27FC236}">
                    <a16:creationId xmlns:a16="http://schemas.microsoft.com/office/drawing/2014/main" id="{5AE07176-DE77-5FD6-D13E-17300CF3B900}"/>
                  </a:ext>
                </a:extLst>
              </p:cNvPr>
              <p:cNvGrpSpPr/>
              <p:nvPr/>
            </p:nvGrpSpPr>
            <p:grpSpPr>
              <a:xfrm>
                <a:off x="1554825" y="4590517"/>
                <a:ext cx="67440" cy="171514"/>
                <a:chOff x="1554825" y="4590517"/>
                <a:chExt cx="67440" cy="171514"/>
              </a:xfrm>
              <a:solidFill>
                <a:srgbClr val="C09066"/>
              </a:solidFill>
            </p:grpSpPr>
            <p:sp>
              <p:nvSpPr>
                <p:cNvPr id="299" name="Freihandform: Form 298">
                  <a:extLst>
                    <a:ext uri="{FF2B5EF4-FFF2-40B4-BE49-F238E27FC236}">
                      <a16:creationId xmlns:a16="http://schemas.microsoft.com/office/drawing/2014/main" id="{78043A9A-37B6-5A2D-ECD8-88067EEE33B3}"/>
                    </a:ext>
                  </a:extLst>
                </p:cNvPr>
                <p:cNvSpPr/>
                <p:nvPr/>
              </p:nvSpPr>
              <p:spPr>
                <a:xfrm>
                  <a:off x="1554825" y="4684018"/>
                  <a:ext cx="34902" cy="78013"/>
                </a:xfrm>
                <a:custGeom>
                  <a:avLst/>
                  <a:gdLst>
                    <a:gd name="connsiteX0" fmla="*/ 14144 w 34902"/>
                    <a:gd name="connsiteY0" fmla="*/ 78014 h 78013"/>
                    <a:gd name="connsiteX1" fmla="*/ 31003 w 34902"/>
                    <a:gd name="connsiteY1" fmla="*/ 43302 h 78013"/>
                    <a:gd name="connsiteX2" fmla="*/ 25162 w 34902"/>
                    <a:gd name="connsiteY2" fmla="*/ 5271 h 78013"/>
                    <a:gd name="connsiteX3" fmla="*/ 18127 w 34902"/>
                    <a:gd name="connsiteY3" fmla="*/ 227 h 78013"/>
                    <a:gd name="connsiteX4" fmla="*/ 2264 w 34902"/>
                    <a:gd name="connsiteY4" fmla="*/ 43833 h 78013"/>
                    <a:gd name="connsiteX5" fmla="*/ 14144 w 34902"/>
                    <a:gd name="connsiteY5" fmla="*/ 78014 h 78013"/>
                    <a:gd name="connsiteX6" fmla="*/ 14144 w 34902"/>
                    <a:gd name="connsiteY6" fmla="*/ 78014 h 78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4902" h="78013">
                      <a:moveTo>
                        <a:pt x="14144" y="78014"/>
                      </a:moveTo>
                      <a:lnTo>
                        <a:pt x="31003" y="43302"/>
                      </a:lnTo>
                      <a:cubicBezTo>
                        <a:pt x="37175" y="30027"/>
                        <a:pt x="36578" y="16621"/>
                        <a:pt x="25162" y="5271"/>
                      </a:cubicBezTo>
                      <a:cubicBezTo>
                        <a:pt x="21512" y="1621"/>
                        <a:pt x="18658" y="-769"/>
                        <a:pt x="18127" y="227"/>
                      </a:cubicBezTo>
                      <a:cubicBezTo>
                        <a:pt x="17131" y="2085"/>
                        <a:pt x="9299" y="20006"/>
                        <a:pt x="2264" y="43833"/>
                      </a:cubicBezTo>
                      <a:cubicBezTo>
                        <a:pt x="-2183" y="58899"/>
                        <a:pt x="-988" y="68987"/>
                        <a:pt x="14144" y="78014"/>
                      </a:cubicBezTo>
                      <a:lnTo>
                        <a:pt x="14144" y="78014"/>
                      </a:lnTo>
                      <a:close/>
                    </a:path>
                  </a:pathLst>
                </a:custGeom>
                <a:solidFill>
                  <a:srgbClr val="C09066"/>
                </a:solidFill>
                <a:ln w="66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00" name="Freihandform: Form 299">
                  <a:extLst>
                    <a:ext uri="{FF2B5EF4-FFF2-40B4-BE49-F238E27FC236}">
                      <a16:creationId xmlns:a16="http://schemas.microsoft.com/office/drawing/2014/main" id="{EACEA0E5-651F-63B0-F6DA-CE0FF72676CC}"/>
                    </a:ext>
                  </a:extLst>
                </p:cNvPr>
                <p:cNvSpPr/>
                <p:nvPr/>
              </p:nvSpPr>
              <p:spPr>
                <a:xfrm>
                  <a:off x="1566488" y="4644422"/>
                  <a:ext cx="47315" cy="82963"/>
                </a:xfrm>
                <a:custGeom>
                  <a:avLst/>
                  <a:gdLst>
                    <a:gd name="connsiteX0" fmla="*/ 19340 w 47315"/>
                    <a:gd name="connsiteY0" fmla="*/ 82964 h 82963"/>
                    <a:gd name="connsiteX1" fmla="*/ 44694 w 47315"/>
                    <a:gd name="connsiteY1" fmla="*/ 29469 h 82963"/>
                    <a:gd name="connsiteX2" fmla="*/ 23189 w 47315"/>
                    <a:gd name="connsiteY2" fmla="*/ 0 h 82963"/>
                    <a:gd name="connsiteX3" fmla="*/ 18676 w 47315"/>
                    <a:gd name="connsiteY3" fmla="*/ 5973 h 82963"/>
                    <a:gd name="connsiteX4" fmla="*/ 1420 w 47315"/>
                    <a:gd name="connsiteY4" fmla="*/ 53362 h 82963"/>
                    <a:gd name="connsiteX5" fmla="*/ 19340 w 47315"/>
                    <a:gd name="connsiteY5" fmla="*/ 82964 h 82963"/>
                    <a:gd name="connsiteX6" fmla="*/ 19340 w 47315"/>
                    <a:gd name="connsiteY6" fmla="*/ 82964 h 82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7315" h="82963">
                      <a:moveTo>
                        <a:pt x="19340" y="82964"/>
                      </a:moveTo>
                      <a:lnTo>
                        <a:pt x="44694" y="29469"/>
                      </a:lnTo>
                      <a:cubicBezTo>
                        <a:pt x="52194" y="13208"/>
                        <a:pt x="43167" y="6305"/>
                        <a:pt x="23189" y="0"/>
                      </a:cubicBezTo>
                      <a:lnTo>
                        <a:pt x="18676" y="5973"/>
                      </a:lnTo>
                      <a:lnTo>
                        <a:pt x="1420" y="53362"/>
                      </a:lnTo>
                      <a:cubicBezTo>
                        <a:pt x="-3160" y="67566"/>
                        <a:pt x="3477" y="75796"/>
                        <a:pt x="19340" y="82964"/>
                      </a:cubicBezTo>
                      <a:lnTo>
                        <a:pt x="19340" y="82964"/>
                      </a:lnTo>
                      <a:close/>
                    </a:path>
                  </a:pathLst>
                </a:custGeom>
                <a:solidFill>
                  <a:srgbClr val="C09066"/>
                </a:solidFill>
                <a:ln w="66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01" name="Freihandform: Form 300">
                  <a:extLst>
                    <a:ext uri="{FF2B5EF4-FFF2-40B4-BE49-F238E27FC236}">
                      <a16:creationId xmlns:a16="http://schemas.microsoft.com/office/drawing/2014/main" id="{83D962E1-3FB5-6AA8-BBFF-02A073E34A06}"/>
                    </a:ext>
                  </a:extLst>
                </p:cNvPr>
                <p:cNvSpPr/>
                <p:nvPr/>
              </p:nvSpPr>
              <p:spPr>
                <a:xfrm>
                  <a:off x="1584434" y="4590517"/>
                  <a:ext cx="37831" cy="76006"/>
                </a:xfrm>
                <a:custGeom>
                  <a:avLst/>
                  <a:gdLst>
                    <a:gd name="connsiteX0" fmla="*/ 37831 w 37831"/>
                    <a:gd name="connsiteY0" fmla="*/ 6118 h 76006"/>
                    <a:gd name="connsiteX1" fmla="*/ 29137 w 37831"/>
                    <a:gd name="connsiteY1" fmla="*/ 76006 h 76006"/>
                    <a:gd name="connsiteX2" fmla="*/ 664 w 37831"/>
                    <a:gd name="connsiteY2" fmla="*/ 62400 h 76006"/>
                    <a:gd name="connsiteX3" fmla="*/ 0 w 37831"/>
                    <a:gd name="connsiteY3" fmla="*/ 13352 h 76006"/>
                    <a:gd name="connsiteX4" fmla="*/ 37831 w 37831"/>
                    <a:gd name="connsiteY4" fmla="*/ 6118 h 76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7831" h="76006">
                      <a:moveTo>
                        <a:pt x="37831" y="6118"/>
                      </a:moveTo>
                      <a:cubicBezTo>
                        <a:pt x="37831" y="7379"/>
                        <a:pt x="29137" y="76006"/>
                        <a:pt x="29137" y="76006"/>
                      </a:cubicBezTo>
                      <a:cubicBezTo>
                        <a:pt x="8960" y="75077"/>
                        <a:pt x="1925" y="79192"/>
                        <a:pt x="664" y="62400"/>
                      </a:cubicBezTo>
                      <a:lnTo>
                        <a:pt x="0" y="13352"/>
                      </a:lnTo>
                      <a:cubicBezTo>
                        <a:pt x="6106" y="2135"/>
                        <a:pt x="32057" y="-6227"/>
                        <a:pt x="37831" y="6118"/>
                      </a:cubicBezTo>
                      <a:close/>
                    </a:path>
                  </a:pathLst>
                </a:custGeom>
                <a:solidFill>
                  <a:srgbClr val="C09066"/>
                </a:solidFill>
                <a:ln w="66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93" name="Grafik 14">
                <a:extLst>
                  <a:ext uri="{FF2B5EF4-FFF2-40B4-BE49-F238E27FC236}">
                    <a16:creationId xmlns:a16="http://schemas.microsoft.com/office/drawing/2014/main" id="{BDC8137E-ED04-BE04-A36E-69B5A1366CAA}"/>
                  </a:ext>
                </a:extLst>
              </p:cNvPr>
              <p:cNvGrpSpPr/>
              <p:nvPr/>
            </p:nvGrpSpPr>
            <p:grpSpPr>
              <a:xfrm>
                <a:off x="1491714" y="4452388"/>
                <a:ext cx="108424" cy="237100"/>
                <a:chOff x="1491714" y="4452388"/>
                <a:chExt cx="108424" cy="237100"/>
              </a:xfrm>
              <a:solidFill>
                <a:srgbClr val="C09066"/>
              </a:solidFill>
            </p:grpSpPr>
            <p:sp>
              <p:nvSpPr>
                <p:cNvPr id="296" name="Freihandform: Form 295">
                  <a:extLst>
                    <a:ext uri="{FF2B5EF4-FFF2-40B4-BE49-F238E27FC236}">
                      <a16:creationId xmlns:a16="http://schemas.microsoft.com/office/drawing/2014/main" id="{291771AB-61E4-BC82-4603-3E744A9146FF}"/>
                    </a:ext>
                  </a:extLst>
                </p:cNvPr>
                <p:cNvSpPr/>
                <p:nvPr/>
              </p:nvSpPr>
              <p:spPr>
                <a:xfrm>
                  <a:off x="1513019" y="4594137"/>
                  <a:ext cx="37634" cy="95351"/>
                </a:xfrm>
                <a:custGeom>
                  <a:avLst/>
                  <a:gdLst>
                    <a:gd name="connsiteX0" fmla="*/ 18186 w 37634"/>
                    <a:gd name="connsiteY0" fmla="*/ 95351 h 95351"/>
                    <a:gd name="connsiteX1" fmla="*/ 0 w 37634"/>
                    <a:gd name="connsiteY1" fmla="*/ 50219 h 95351"/>
                    <a:gd name="connsiteX2" fmla="*/ 8097 w 37634"/>
                    <a:gd name="connsiteY2" fmla="*/ 3228 h 95351"/>
                    <a:gd name="connsiteX3" fmla="*/ 17256 w 37634"/>
                    <a:gd name="connsiteY3" fmla="*/ 905 h 95351"/>
                    <a:gd name="connsiteX4" fmla="*/ 35840 w 37634"/>
                    <a:gd name="connsiteY4" fmla="*/ 55927 h 95351"/>
                    <a:gd name="connsiteX5" fmla="*/ 18186 w 37634"/>
                    <a:gd name="connsiteY5" fmla="*/ 95351 h 95351"/>
                    <a:gd name="connsiteX6" fmla="*/ 18186 w 37634"/>
                    <a:gd name="connsiteY6" fmla="*/ 95351 h 953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7634" h="95351">
                      <a:moveTo>
                        <a:pt x="18186" y="95351"/>
                      </a:moveTo>
                      <a:lnTo>
                        <a:pt x="0" y="50219"/>
                      </a:lnTo>
                      <a:cubicBezTo>
                        <a:pt x="133" y="34887"/>
                        <a:pt x="-398" y="11126"/>
                        <a:pt x="8097" y="3228"/>
                      </a:cubicBezTo>
                      <a:cubicBezTo>
                        <a:pt x="12942" y="-1219"/>
                        <a:pt x="16659" y="-90"/>
                        <a:pt x="17256" y="905"/>
                      </a:cubicBezTo>
                      <a:cubicBezTo>
                        <a:pt x="21438" y="8339"/>
                        <a:pt x="29734" y="32498"/>
                        <a:pt x="35840" y="55927"/>
                      </a:cubicBezTo>
                      <a:cubicBezTo>
                        <a:pt x="40088" y="72187"/>
                        <a:pt x="37765" y="83603"/>
                        <a:pt x="18186" y="95351"/>
                      </a:cubicBezTo>
                      <a:lnTo>
                        <a:pt x="18186" y="95351"/>
                      </a:lnTo>
                      <a:close/>
                    </a:path>
                  </a:pathLst>
                </a:custGeom>
                <a:solidFill>
                  <a:srgbClr val="C09066"/>
                </a:solidFill>
                <a:ln w="66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97" name="Freihandform: Form 296">
                  <a:extLst>
                    <a:ext uri="{FF2B5EF4-FFF2-40B4-BE49-F238E27FC236}">
                      <a16:creationId xmlns:a16="http://schemas.microsoft.com/office/drawing/2014/main" id="{8BA8261E-94D6-A4EE-93CE-B476CE94A267}"/>
                    </a:ext>
                  </a:extLst>
                </p:cNvPr>
                <p:cNvSpPr/>
                <p:nvPr/>
              </p:nvSpPr>
              <p:spPr>
                <a:xfrm>
                  <a:off x="1491714" y="4564549"/>
                  <a:ext cx="55287" cy="81557"/>
                </a:xfrm>
                <a:custGeom>
                  <a:avLst/>
                  <a:gdLst>
                    <a:gd name="connsiteX0" fmla="*/ 0 w 55287"/>
                    <a:gd name="connsiteY0" fmla="*/ 9453 h 81557"/>
                    <a:gd name="connsiteX1" fmla="*/ 55287 w 55287"/>
                    <a:gd name="connsiteY1" fmla="*/ 11179 h 81557"/>
                    <a:gd name="connsiteX2" fmla="*/ 46858 w 55287"/>
                    <a:gd name="connsiteY2" fmla="*/ 51334 h 81557"/>
                    <a:gd name="connsiteX3" fmla="*/ 21239 w 55287"/>
                    <a:gd name="connsiteY3" fmla="*/ 79741 h 81557"/>
                    <a:gd name="connsiteX4" fmla="*/ 0 w 55287"/>
                    <a:gd name="connsiteY4" fmla="*/ 9453 h 815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87" h="81557">
                      <a:moveTo>
                        <a:pt x="0" y="9453"/>
                      </a:moveTo>
                      <a:cubicBezTo>
                        <a:pt x="15398" y="-12781"/>
                        <a:pt x="55287" y="11179"/>
                        <a:pt x="55287" y="11179"/>
                      </a:cubicBezTo>
                      <a:lnTo>
                        <a:pt x="46858" y="51334"/>
                      </a:lnTo>
                      <a:cubicBezTo>
                        <a:pt x="46593" y="68590"/>
                        <a:pt x="35973" y="87572"/>
                        <a:pt x="21239" y="79741"/>
                      </a:cubicBezTo>
                      <a:cubicBezTo>
                        <a:pt x="21239" y="79741"/>
                        <a:pt x="0" y="8657"/>
                        <a:pt x="0" y="9453"/>
                      </a:cubicBezTo>
                      <a:close/>
                    </a:path>
                  </a:pathLst>
                </a:custGeom>
                <a:solidFill>
                  <a:srgbClr val="C09066"/>
                </a:solidFill>
                <a:ln w="66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98" name="Freihandform: Form 297">
                  <a:extLst>
                    <a:ext uri="{FF2B5EF4-FFF2-40B4-BE49-F238E27FC236}">
                      <a16:creationId xmlns:a16="http://schemas.microsoft.com/office/drawing/2014/main" id="{0FE3D2E8-BA7F-1922-03E4-CB9CE6C107C8}"/>
                    </a:ext>
                  </a:extLst>
                </p:cNvPr>
                <p:cNvSpPr/>
                <p:nvPr/>
              </p:nvSpPr>
              <p:spPr>
                <a:xfrm>
                  <a:off x="1491714" y="4452388"/>
                  <a:ext cx="108424" cy="139037"/>
                </a:xfrm>
                <a:custGeom>
                  <a:avLst/>
                  <a:gdLst>
                    <a:gd name="connsiteX0" fmla="*/ 8363 w 108424"/>
                    <a:gd name="connsiteY0" fmla="*/ 62743 h 139037"/>
                    <a:gd name="connsiteX1" fmla="*/ 0 w 108424"/>
                    <a:gd name="connsiteY1" fmla="*/ 121614 h 139037"/>
                    <a:gd name="connsiteX2" fmla="*/ 0 w 108424"/>
                    <a:gd name="connsiteY2" fmla="*/ 121614 h 139037"/>
                    <a:gd name="connsiteX3" fmla="*/ 54955 w 108424"/>
                    <a:gd name="connsiteY3" fmla="*/ 124336 h 139037"/>
                    <a:gd name="connsiteX4" fmla="*/ 99955 w 108424"/>
                    <a:gd name="connsiteY4" fmla="*/ 58164 h 139037"/>
                    <a:gd name="connsiteX5" fmla="*/ 40354 w 108424"/>
                    <a:gd name="connsiteY5" fmla="*/ 5399 h 139037"/>
                    <a:gd name="connsiteX6" fmla="*/ 8296 w 108424"/>
                    <a:gd name="connsiteY6" fmla="*/ 62677 h 1390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424" h="139037">
                      <a:moveTo>
                        <a:pt x="8363" y="62743"/>
                      </a:moveTo>
                      <a:cubicBezTo>
                        <a:pt x="4049" y="79270"/>
                        <a:pt x="0" y="121614"/>
                        <a:pt x="0" y="121614"/>
                      </a:cubicBezTo>
                      <a:lnTo>
                        <a:pt x="0" y="121614"/>
                      </a:lnTo>
                      <a:cubicBezTo>
                        <a:pt x="5509" y="136747"/>
                        <a:pt x="40088" y="150486"/>
                        <a:pt x="54955" y="124336"/>
                      </a:cubicBezTo>
                      <a:cubicBezTo>
                        <a:pt x="54955" y="124336"/>
                        <a:pt x="67499" y="80000"/>
                        <a:pt x="99955" y="58164"/>
                      </a:cubicBezTo>
                      <a:cubicBezTo>
                        <a:pt x="127963" y="39314"/>
                        <a:pt x="80906" y="-17632"/>
                        <a:pt x="40354" y="5399"/>
                      </a:cubicBezTo>
                      <a:cubicBezTo>
                        <a:pt x="21106" y="29359"/>
                        <a:pt x="8296" y="62677"/>
                        <a:pt x="8296" y="62677"/>
                      </a:cubicBezTo>
                      <a:close/>
                    </a:path>
                  </a:pathLst>
                </a:custGeom>
                <a:solidFill>
                  <a:srgbClr val="C09066"/>
                </a:solidFill>
                <a:ln w="661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94" name="Freihandform: Form 293">
                <a:extLst>
                  <a:ext uri="{FF2B5EF4-FFF2-40B4-BE49-F238E27FC236}">
                    <a16:creationId xmlns:a16="http://schemas.microsoft.com/office/drawing/2014/main" id="{54BF624A-1371-1235-0803-FB75844C75B8}"/>
                  </a:ext>
                </a:extLst>
              </p:cNvPr>
              <p:cNvSpPr/>
              <p:nvPr/>
            </p:nvSpPr>
            <p:spPr>
              <a:xfrm>
                <a:off x="1495535" y="4434822"/>
                <a:ext cx="154348" cy="198645"/>
              </a:xfrm>
              <a:custGeom>
                <a:avLst/>
                <a:gdLst>
                  <a:gd name="connsiteX0" fmla="*/ 154208 w 154348"/>
                  <a:gd name="connsiteY0" fmla="*/ 139578 h 198645"/>
                  <a:gd name="connsiteX1" fmla="*/ 131310 w 154348"/>
                  <a:gd name="connsiteY1" fmla="*/ 2257 h 198645"/>
                  <a:gd name="connsiteX2" fmla="*/ 38059 w 154348"/>
                  <a:gd name="connsiteY2" fmla="*/ 0 h 198645"/>
                  <a:gd name="connsiteX3" fmla="*/ 31422 w 154348"/>
                  <a:gd name="connsiteY3" fmla="*/ 24226 h 198645"/>
                  <a:gd name="connsiteX4" fmla="*/ 95 w 154348"/>
                  <a:gd name="connsiteY4" fmla="*/ 110574 h 198645"/>
                  <a:gd name="connsiteX5" fmla="*/ 52395 w 154348"/>
                  <a:gd name="connsiteY5" fmla="*/ 134932 h 198645"/>
                  <a:gd name="connsiteX6" fmla="*/ 90293 w 154348"/>
                  <a:gd name="connsiteY6" fmla="*/ 192874 h 198645"/>
                  <a:gd name="connsiteX7" fmla="*/ 154275 w 154348"/>
                  <a:gd name="connsiteY7" fmla="*/ 166790 h 198645"/>
                  <a:gd name="connsiteX8" fmla="*/ 154275 w 154348"/>
                  <a:gd name="connsiteY8" fmla="*/ 139645 h 198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4348" h="198645">
                    <a:moveTo>
                      <a:pt x="154208" y="139578"/>
                    </a:moveTo>
                    <a:cubicBezTo>
                      <a:pt x="146310" y="104402"/>
                      <a:pt x="137350" y="62920"/>
                      <a:pt x="131310" y="2257"/>
                    </a:cubicBezTo>
                    <a:lnTo>
                      <a:pt x="38059" y="0"/>
                    </a:lnTo>
                    <a:cubicBezTo>
                      <a:pt x="36599" y="14071"/>
                      <a:pt x="33745" y="21969"/>
                      <a:pt x="31422" y="24226"/>
                    </a:cubicBezTo>
                    <a:cubicBezTo>
                      <a:pt x="-3357" y="57676"/>
                      <a:pt x="95" y="110574"/>
                      <a:pt x="95" y="110574"/>
                    </a:cubicBezTo>
                    <a:cubicBezTo>
                      <a:pt x="692" y="115552"/>
                      <a:pt x="8325" y="139910"/>
                      <a:pt x="52395" y="134932"/>
                    </a:cubicBezTo>
                    <a:cubicBezTo>
                      <a:pt x="61488" y="133870"/>
                      <a:pt x="85448" y="150928"/>
                      <a:pt x="90293" y="192874"/>
                    </a:cubicBezTo>
                    <a:cubicBezTo>
                      <a:pt x="91886" y="209135"/>
                      <a:pt x="150757" y="188029"/>
                      <a:pt x="154275" y="166790"/>
                    </a:cubicBezTo>
                    <a:cubicBezTo>
                      <a:pt x="153677" y="156105"/>
                      <a:pt x="154606" y="146879"/>
                      <a:pt x="154275" y="139645"/>
                    </a:cubicBezTo>
                    <a:close/>
                  </a:path>
                </a:pathLst>
              </a:custGeom>
              <a:solidFill>
                <a:srgbClr val="C09066"/>
              </a:solidFill>
              <a:ln w="66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95" name="Freihandform: Form 294">
                <a:extLst>
                  <a:ext uri="{FF2B5EF4-FFF2-40B4-BE49-F238E27FC236}">
                    <a16:creationId xmlns:a16="http://schemas.microsoft.com/office/drawing/2014/main" id="{061DB370-5CC3-2767-784B-38745BFE8745}"/>
                  </a:ext>
                </a:extLst>
              </p:cNvPr>
              <p:cNvSpPr/>
              <p:nvPr/>
            </p:nvSpPr>
            <p:spPr>
              <a:xfrm>
                <a:off x="1533461" y="4391946"/>
                <a:ext cx="93450" cy="93450"/>
              </a:xfrm>
              <a:custGeom>
                <a:avLst/>
                <a:gdLst>
                  <a:gd name="connsiteX0" fmla="*/ 93450 w 93450"/>
                  <a:gd name="connsiteY0" fmla="*/ 46725 h 93450"/>
                  <a:gd name="connsiteX1" fmla="*/ 46725 w 93450"/>
                  <a:gd name="connsiteY1" fmla="*/ 93451 h 93450"/>
                  <a:gd name="connsiteX2" fmla="*/ 0 w 93450"/>
                  <a:gd name="connsiteY2" fmla="*/ 46725 h 93450"/>
                  <a:gd name="connsiteX3" fmla="*/ 46725 w 93450"/>
                  <a:gd name="connsiteY3" fmla="*/ 0 h 93450"/>
                  <a:gd name="connsiteX4" fmla="*/ 93450 w 93450"/>
                  <a:gd name="connsiteY4" fmla="*/ 46725 h 93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3450" h="93450">
                    <a:moveTo>
                      <a:pt x="93450" y="46725"/>
                    </a:moveTo>
                    <a:cubicBezTo>
                      <a:pt x="93450" y="72531"/>
                      <a:pt x="72531" y="93451"/>
                      <a:pt x="46725" y="93451"/>
                    </a:cubicBezTo>
                    <a:cubicBezTo>
                      <a:pt x="20920" y="93451"/>
                      <a:pt x="0" y="72531"/>
                      <a:pt x="0" y="46725"/>
                    </a:cubicBezTo>
                    <a:cubicBezTo>
                      <a:pt x="0" y="20920"/>
                      <a:pt x="20920" y="0"/>
                      <a:pt x="46725" y="0"/>
                    </a:cubicBezTo>
                    <a:cubicBezTo>
                      <a:pt x="72531" y="0"/>
                      <a:pt x="93450" y="20920"/>
                      <a:pt x="93450" y="46725"/>
                    </a:cubicBezTo>
                    <a:close/>
                  </a:path>
                </a:pathLst>
              </a:custGeom>
              <a:solidFill>
                <a:srgbClr val="C09066"/>
              </a:solidFill>
              <a:ln w="66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331" name="Grafik 330">
            <a:extLst>
              <a:ext uri="{FF2B5EF4-FFF2-40B4-BE49-F238E27FC236}">
                <a16:creationId xmlns:a16="http://schemas.microsoft.com/office/drawing/2014/main" id="{C11AA665-7443-FD69-0CCD-1964E059F5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42529" y="3251609"/>
            <a:ext cx="318516" cy="536168"/>
          </a:xfrm>
          <a:prstGeom prst="rect">
            <a:avLst/>
          </a:prstGeom>
        </p:spPr>
      </p:pic>
      <p:grpSp>
        <p:nvGrpSpPr>
          <p:cNvPr id="389" name="Gruppieren 388">
            <a:extLst>
              <a:ext uri="{FF2B5EF4-FFF2-40B4-BE49-F238E27FC236}">
                <a16:creationId xmlns:a16="http://schemas.microsoft.com/office/drawing/2014/main" id="{F8F99224-D590-F665-2BBD-430335B0D5D3}"/>
              </a:ext>
            </a:extLst>
          </p:cNvPr>
          <p:cNvGrpSpPr>
            <a:grpSpLocks/>
          </p:cNvGrpSpPr>
          <p:nvPr/>
        </p:nvGrpSpPr>
        <p:grpSpPr>
          <a:xfrm>
            <a:off x="1701293" y="3251609"/>
            <a:ext cx="318516" cy="536168"/>
            <a:chOff x="2253997" y="3544050"/>
            <a:chExt cx="318516" cy="536168"/>
          </a:xfrm>
        </p:grpSpPr>
        <p:pic>
          <p:nvPicPr>
            <p:cNvPr id="325" name="Grafik 324">
              <a:extLst>
                <a:ext uri="{FF2B5EF4-FFF2-40B4-BE49-F238E27FC236}">
                  <a16:creationId xmlns:a16="http://schemas.microsoft.com/office/drawing/2014/main" id="{9432CD68-96C2-C1AB-E321-FCFBF11E151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253997" y="3544050"/>
              <a:ext cx="318516" cy="536168"/>
            </a:xfrm>
            <a:prstGeom prst="rect">
              <a:avLst/>
            </a:prstGeom>
          </p:spPr>
        </p:pic>
        <p:sp>
          <p:nvSpPr>
            <p:cNvPr id="338" name="Freeform 43">
              <a:extLst>
                <a:ext uri="{FF2B5EF4-FFF2-40B4-BE49-F238E27FC236}">
                  <a16:creationId xmlns:a16="http://schemas.microsoft.com/office/drawing/2014/main" id="{4A1449D1-C5A3-8B52-4029-322D5C6681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37079" y="3689735"/>
              <a:ext cx="156090" cy="182544"/>
            </a:xfrm>
            <a:custGeom>
              <a:avLst/>
              <a:gdLst>
                <a:gd name="T0" fmla="*/ 40 w 236"/>
                <a:gd name="T1" fmla="*/ 39 h 276"/>
                <a:gd name="T2" fmla="*/ 59 w 236"/>
                <a:gd name="T3" fmla="*/ 0 h 276"/>
                <a:gd name="T4" fmla="*/ 217 w 236"/>
                <a:gd name="T5" fmla="*/ 29 h 276"/>
                <a:gd name="T6" fmla="*/ 158 w 236"/>
                <a:gd name="T7" fmla="*/ 59 h 276"/>
                <a:gd name="T8" fmla="*/ 79 w 236"/>
                <a:gd name="T9" fmla="*/ 29 h 276"/>
                <a:gd name="T10" fmla="*/ 20 w 236"/>
                <a:gd name="T11" fmla="*/ 59 h 276"/>
                <a:gd name="T12" fmla="*/ 0 w 236"/>
                <a:gd name="T13" fmla="*/ 29 h 276"/>
                <a:gd name="T14" fmla="*/ 236 w 236"/>
                <a:gd name="T15" fmla="*/ 79 h 276"/>
                <a:gd name="T16" fmla="*/ 217 w 236"/>
                <a:gd name="T17" fmla="*/ 29 h 276"/>
                <a:gd name="T18" fmla="*/ 177 w 236"/>
                <a:gd name="T19" fmla="*/ 0 h 276"/>
                <a:gd name="T20" fmla="*/ 197 w 236"/>
                <a:gd name="T21" fmla="*/ 39 h 276"/>
                <a:gd name="T22" fmla="*/ 0 w 236"/>
                <a:gd name="T23" fmla="*/ 98 h 276"/>
                <a:gd name="T24" fmla="*/ 236 w 236"/>
                <a:gd name="T25" fmla="*/ 276 h 276"/>
                <a:gd name="T26" fmla="*/ 0 w 236"/>
                <a:gd name="T27" fmla="*/ 98 h 276"/>
                <a:gd name="T28" fmla="*/ 217 w 236"/>
                <a:gd name="T29" fmla="*/ 256 h 276"/>
                <a:gd name="T30" fmla="*/ 20 w 236"/>
                <a:gd name="T31" fmla="*/ 118 h 276"/>
                <a:gd name="T32" fmla="*/ 49 w 236"/>
                <a:gd name="T33" fmla="*/ 157 h 276"/>
                <a:gd name="T34" fmla="*/ 69 w 236"/>
                <a:gd name="T35" fmla="*/ 138 h 276"/>
                <a:gd name="T36" fmla="*/ 49 w 236"/>
                <a:gd name="T37" fmla="*/ 157 h 276"/>
                <a:gd name="T38" fmla="*/ 69 w 236"/>
                <a:gd name="T39" fmla="*/ 197 h 276"/>
                <a:gd name="T40" fmla="*/ 49 w 236"/>
                <a:gd name="T41" fmla="*/ 177 h 276"/>
                <a:gd name="T42" fmla="*/ 89 w 236"/>
                <a:gd name="T43" fmla="*/ 157 h 276"/>
                <a:gd name="T44" fmla="*/ 108 w 236"/>
                <a:gd name="T45" fmla="*/ 138 h 276"/>
                <a:gd name="T46" fmla="*/ 89 w 236"/>
                <a:gd name="T47" fmla="*/ 157 h 276"/>
                <a:gd name="T48" fmla="*/ 108 w 236"/>
                <a:gd name="T49" fmla="*/ 197 h 276"/>
                <a:gd name="T50" fmla="*/ 89 w 236"/>
                <a:gd name="T51" fmla="*/ 177 h 276"/>
                <a:gd name="T52" fmla="*/ 128 w 236"/>
                <a:gd name="T53" fmla="*/ 157 h 276"/>
                <a:gd name="T54" fmla="*/ 148 w 236"/>
                <a:gd name="T55" fmla="*/ 138 h 276"/>
                <a:gd name="T56" fmla="*/ 128 w 236"/>
                <a:gd name="T57" fmla="*/ 157 h 276"/>
                <a:gd name="T58" fmla="*/ 148 w 236"/>
                <a:gd name="T59" fmla="*/ 197 h 276"/>
                <a:gd name="T60" fmla="*/ 128 w 236"/>
                <a:gd name="T61" fmla="*/ 177 h 276"/>
                <a:gd name="T62" fmla="*/ 167 w 236"/>
                <a:gd name="T63" fmla="*/ 157 h 276"/>
                <a:gd name="T64" fmla="*/ 187 w 236"/>
                <a:gd name="T65" fmla="*/ 138 h 276"/>
                <a:gd name="T66" fmla="*/ 167 w 236"/>
                <a:gd name="T67" fmla="*/ 157 h 276"/>
                <a:gd name="T68" fmla="*/ 187 w 236"/>
                <a:gd name="T69" fmla="*/ 197 h 276"/>
                <a:gd name="T70" fmla="*/ 167 w 236"/>
                <a:gd name="T71" fmla="*/ 177 h 276"/>
                <a:gd name="T72" fmla="*/ 49 w 236"/>
                <a:gd name="T73" fmla="*/ 236 h 276"/>
                <a:gd name="T74" fmla="*/ 69 w 236"/>
                <a:gd name="T75" fmla="*/ 217 h 276"/>
                <a:gd name="T76" fmla="*/ 49 w 236"/>
                <a:gd name="T77" fmla="*/ 236 h 276"/>
                <a:gd name="T78" fmla="*/ 108 w 236"/>
                <a:gd name="T79" fmla="*/ 236 h 276"/>
                <a:gd name="T80" fmla="*/ 89 w 236"/>
                <a:gd name="T81" fmla="*/ 21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36" h="276">
                  <a:moveTo>
                    <a:pt x="59" y="39"/>
                  </a:moveTo>
                  <a:lnTo>
                    <a:pt x="40" y="39"/>
                  </a:lnTo>
                  <a:lnTo>
                    <a:pt x="40" y="0"/>
                  </a:lnTo>
                  <a:lnTo>
                    <a:pt x="59" y="0"/>
                  </a:lnTo>
                  <a:lnTo>
                    <a:pt x="59" y="39"/>
                  </a:lnTo>
                  <a:close/>
                  <a:moveTo>
                    <a:pt x="217" y="29"/>
                  </a:moveTo>
                  <a:lnTo>
                    <a:pt x="217" y="59"/>
                  </a:lnTo>
                  <a:lnTo>
                    <a:pt x="158" y="59"/>
                  </a:lnTo>
                  <a:lnTo>
                    <a:pt x="158" y="29"/>
                  </a:lnTo>
                  <a:lnTo>
                    <a:pt x="79" y="29"/>
                  </a:lnTo>
                  <a:lnTo>
                    <a:pt x="79" y="59"/>
                  </a:lnTo>
                  <a:lnTo>
                    <a:pt x="20" y="59"/>
                  </a:lnTo>
                  <a:lnTo>
                    <a:pt x="20" y="29"/>
                  </a:lnTo>
                  <a:lnTo>
                    <a:pt x="0" y="29"/>
                  </a:lnTo>
                  <a:lnTo>
                    <a:pt x="0" y="79"/>
                  </a:lnTo>
                  <a:lnTo>
                    <a:pt x="236" y="79"/>
                  </a:lnTo>
                  <a:lnTo>
                    <a:pt x="236" y="29"/>
                  </a:lnTo>
                  <a:lnTo>
                    <a:pt x="217" y="29"/>
                  </a:lnTo>
                  <a:close/>
                  <a:moveTo>
                    <a:pt x="197" y="0"/>
                  </a:moveTo>
                  <a:lnTo>
                    <a:pt x="177" y="0"/>
                  </a:lnTo>
                  <a:lnTo>
                    <a:pt x="177" y="39"/>
                  </a:lnTo>
                  <a:lnTo>
                    <a:pt x="197" y="39"/>
                  </a:lnTo>
                  <a:lnTo>
                    <a:pt x="197" y="0"/>
                  </a:lnTo>
                  <a:close/>
                  <a:moveTo>
                    <a:pt x="0" y="98"/>
                  </a:moveTo>
                  <a:lnTo>
                    <a:pt x="236" y="98"/>
                  </a:lnTo>
                  <a:lnTo>
                    <a:pt x="236" y="276"/>
                  </a:lnTo>
                  <a:lnTo>
                    <a:pt x="0" y="276"/>
                  </a:lnTo>
                  <a:lnTo>
                    <a:pt x="0" y="98"/>
                  </a:lnTo>
                  <a:close/>
                  <a:moveTo>
                    <a:pt x="20" y="256"/>
                  </a:moveTo>
                  <a:lnTo>
                    <a:pt x="217" y="256"/>
                  </a:lnTo>
                  <a:lnTo>
                    <a:pt x="217" y="118"/>
                  </a:lnTo>
                  <a:lnTo>
                    <a:pt x="20" y="118"/>
                  </a:lnTo>
                  <a:lnTo>
                    <a:pt x="20" y="256"/>
                  </a:lnTo>
                  <a:close/>
                  <a:moveTo>
                    <a:pt x="49" y="157"/>
                  </a:moveTo>
                  <a:lnTo>
                    <a:pt x="69" y="157"/>
                  </a:lnTo>
                  <a:lnTo>
                    <a:pt x="69" y="138"/>
                  </a:lnTo>
                  <a:lnTo>
                    <a:pt x="49" y="138"/>
                  </a:lnTo>
                  <a:lnTo>
                    <a:pt x="49" y="157"/>
                  </a:lnTo>
                  <a:close/>
                  <a:moveTo>
                    <a:pt x="49" y="197"/>
                  </a:moveTo>
                  <a:lnTo>
                    <a:pt x="69" y="197"/>
                  </a:lnTo>
                  <a:lnTo>
                    <a:pt x="69" y="177"/>
                  </a:lnTo>
                  <a:lnTo>
                    <a:pt x="49" y="177"/>
                  </a:lnTo>
                  <a:lnTo>
                    <a:pt x="49" y="197"/>
                  </a:lnTo>
                  <a:close/>
                  <a:moveTo>
                    <a:pt x="89" y="157"/>
                  </a:moveTo>
                  <a:lnTo>
                    <a:pt x="108" y="157"/>
                  </a:lnTo>
                  <a:lnTo>
                    <a:pt x="108" y="138"/>
                  </a:lnTo>
                  <a:lnTo>
                    <a:pt x="89" y="138"/>
                  </a:lnTo>
                  <a:lnTo>
                    <a:pt x="89" y="157"/>
                  </a:lnTo>
                  <a:close/>
                  <a:moveTo>
                    <a:pt x="89" y="197"/>
                  </a:moveTo>
                  <a:lnTo>
                    <a:pt x="108" y="197"/>
                  </a:lnTo>
                  <a:lnTo>
                    <a:pt x="108" y="177"/>
                  </a:lnTo>
                  <a:lnTo>
                    <a:pt x="89" y="177"/>
                  </a:lnTo>
                  <a:lnTo>
                    <a:pt x="89" y="197"/>
                  </a:lnTo>
                  <a:close/>
                  <a:moveTo>
                    <a:pt x="128" y="157"/>
                  </a:moveTo>
                  <a:lnTo>
                    <a:pt x="148" y="157"/>
                  </a:lnTo>
                  <a:lnTo>
                    <a:pt x="148" y="138"/>
                  </a:lnTo>
                  <a:lnTo>
                    <a:pt x="128" y="138"/>
                  </a:lnTo>
                  <a:lnTo>
                    <a:pt x="128" y="157"/>
                  </a:lnTo>
                  <a:close/>
                  <a:moveTo>
                    <a:pt x="128" y="197"/>
                  </a:moveTo>
                  <a:lnTo>
                    <a:pt x="148" y="197"/>
                  </a:lnTo>
                  <a:lnTo>
                    <a:pt x="148" y="177"/>
                  </a:lnTo>
                  <a:lnTo>
                    <a:pt x="128" y="177"/>
                  </a:lnTo>
                  <a:lnTo>
                    <a:pt x="128" y="197"/>
                  </a:lnTo>
                  <a:close/>
                  <a:moveTo>
                    <a:pt x="167" y="157"/>
                  </a:moveTo>
                  <a:lnTo>
                    <a:pt x="187" y="157"/>
                  </a:lnTo>
                  <a:lnTo>
                    <a:pt x="187" y="138"/>
                  </a:lnTo>
                  <a:lnTo>
                    <a:pt x="167" y="138"/>
                  </a:lnTo>
                  <a:lnTo>
                    <a:pt x="167" y="157"/>
                  </a:lnTo>
                  <a:close/>
                  <a:moveTo>
                    <a:pt x="167" y="197"/>
                  </a:moveTo>
                  <a:lnTo>
                    <a:pt x="187" y="197"/>
                  </a:lnTo>
                  <a:lnTo>
                    <a:pt x="187" y="177"/>
                  </a:lnTo>
                  <a:lnTo>
                    <a:pt x="167" y="177"/>
                  </a:lnTo>
                  <a:lnTo>
                    <a:pt x="167" y="197"/>
                  </a:lnTo>
                  <a:close/>
                  <a:moveTo>
                    <a:pt x="49" y="236"/>
                  </a:moveTo>
                  <a:lnTo>
                    <a:pt x="69" y="236"/>
                  </a:lnTo>
                  <a:lnTo>
                    <a:pt x="69" y="217"/>
                  </a:lnTo>
                  <a:lnTo>
                    <a:pt x="49" y="217"/>
                  </a:lnTo>
                  <a:lnTo>
                    <a:pt x="49" y="236"/>
                  </a:lnTo>
                  <a:close/>
                  <a:moveTo>
                    <a:pt x="89" y="236"/>
                  </a:moveTo>
                  <a:lnTo>
                    <a:pt x="108" y="236"/>
                  </a:lnTo>
                  <a:lnTo>
                    <a:pt x="108" y="217"/>
                  </a:lnTo>
                  <a:lnTo>
                    <a:pt x="89" y="217"/>
                  </a:lnTo>
                  <a:lnTo>
                    <a:pt x="89" y="23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91" name="Gruppieren 390">
            <a:extLst>
              <a:ext uri="{FF2B5EF4-FFF2-40B4-BE49-F238E27FC236}">
                <a16:creationId xmlns:a16="http://schemas.microsoft.com/office/drawing/2014/main" id="{37B215DB-A9F1-FE44-863D-F4C05BF531ED}"/>
              </a:ext>
            </a:extLst>
          </p:cNvPr>
          <p:cNvGrpSpPr/>
          <p:nvPr/>
        </p:nvGrpSpPr>
        <p:grpSpPr>
          <a:xfrm>
            <a:off x="2362201" y="3251609"/>
            <a:ext cx="318516" cy="536168"/>
            <a:chOff x="3009901" y="3544050"/>
            <a:chExt cx="318516" cy="536168"/>
          </a:xfrm>
        </p:grpSpPr>
        <p:pic>
          <p:nvPicPr>
            <p:cNvPr id="326" name="Grafik 325">
              <a:extLst>
                <a:ext uri="{FF2B5EF4-FFF2-40B4-BE49-F238E27FC236}">
                  <a16:creationId xmlns:a16="http://schemas.microsoft.com/office/drawing/2014/main" id="{21325BD0-0AA4-DFF2-22B4-21640D21E8E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009901" y="3544050"/>
              <a:ext cx="318516" cy="536168"/>
            </a:xfrm>
            <a:prstGeom prst="rect">
              <a:avLst/>
            </a:prstGeom>
          </p:spPr>
        </p:pic>
        <p:sp>
          <p:nvSpPr>
            <p:cNvPr id="339" name="Freeform 131">
              <a:extLst>
                <a:ext uri="{FF2B5EF4-FFF2-40B4-BE49-F238E27FC236}">
                  <a16:creationId xmlns:a16="http://schemas.microsoft.com/office/drawing/2014/main" id="{D4EA6388-AABB-9C58-ECDB-2106394DC8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78988" y="3722858"/>
              <a:ext cx="173800" cy="130508"/>
            </a:xfrm>
            <a:custGeom>
              <a:avLst/>
              <a:gdLst>
                <a:gd name="T0" fmla="*/ 384 w 467"/>
                <a:gd name="T1" fmla="*/ 33 h 350"/>
                <a:gd name="T2" fmla="*/ 84 w 467"/>
                <a:gd name="T3" fmla="*/ 33 h 350"/>
                <a:gd name="T4" fmla="*/ 84 w 467"/>
                <a:gd name="T5" fmla="*/ 217 h 350"/>
                <a:gd name="T6" fmla="*/ 384 w 467"/>
                <a:gd name="T7" fmla="*/ 217 h 350"/>
                <a:gd name="T8" fmla="*/ 384 w 467"/>
                <a:gd name="T9" fmla="*/ 33 h 350"/>
                <a:gd name="T10" fmla="*/ 467 w 467"/>
                <a:gd name="T11" fmla="*/ 317 h 350"/>
                <a:gd name="T12" fmla="*/ 467 w 467"/>
                <a:gd name="T13" fmla="*/ 283 h 350"/>
                <a:gd name="T14" fmla="*/ 0 w 467"/>
                <a:gd name="T15" fmla="*/ 283 h 350"/>
                <a:gd name="T16" fmla="*/ 0 w 467"/>
                <a:gd name="T17" fmla="*/ 317 h 350"/>
                <a:gd name="T18" fmla="*/ 34 w 467"/>
                <a:gd name="T19" fmla="*/ 350 h 350"/>
                <a:gd name="T20" fmla="*/ 434 w 467"/>
                <a:gd name="T21" fmla="*/ 350 h 350"/>
                <a:gd name="T22" fmla="*/ 467 w 467"/>
                <a:gd name="T23" fmla="*/ 317 h 350"/>
                <a:gd name="T24" fmla="*/ 417 w 467"/>
                <a:gd name="T25" fmla="*/ 250 h 350"/>
                <a:gd name="T26" fmla="*/ 50 w 467"/>
                <a:gd name="T27" fmla="*/ 250 h 350"/>
                <a:gd name="T28" fmla="*/ 50 w 467"/>
                <a:gd name="T29" fmla="*/ 33 h 350"/>
                <a:gd name="T30" fmla="*/ 84 w 467"/>
                <a:gd name="T31" fmla="*/ 0 h 350"/>
                <a:gd name="T32" fmla="*/ 384 w 467"/>
                <a:gd name="T33" fmla="*/ 0 h 350"/>
                <a:gd name="T34" fmla="*/ 417 w 467"/>
                <a:gd name="T35" fmla="*/ 33 h 350"/>
                <a:gd name="T36" fmla="*/ 417 w 467"/>
                <a:gd name="T37" fmla="*/ 25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7" h="350">
                  <a:moveTo>
                    <a:pt x="384" y="33"/>
                  </a:moveTo>
                  <a:lnTo>
                    <a:pt x="84" y="33"/>
                  </a:lnTo>
                  <a:lnTo>
                    <a:pt x="84" y="217"/>
                  </a:lnTo>
                  <a:lnTo>
                    <a:pt x="384" y="217"/>
                  </a:lnTo>
                  <a:lnTo>
                    <a:pt x="384" y="33"/>
                  </a:lnTo>
                  <a:close/>
                  <a:moveTo>
                    <a:pt x="467" y="317"/>
                  </a:moveTo>
                  <a:lnTo>
                    <a:pt x="467" y="283"/>
                  </a:lnTo>
                  <a:lnTo>
                    <a:pt x="0" y="283"/>
                  </a:lnTo>
                  <a:lnTo>
                    <a:pt x="0" y="317"/>
                  </a:lnTo>
                  <a:cubicBezTo>
                    <a:pt x="0" y="335"/>
                    <a:pt x="15" y="350"/>
                    <a:pt x="34" y="350"/>
                  </a:cubicBezTo>
                  <a:lnTo>
                    <a:pt x="434" y="350"/>
                  </a:lnTo>
                  <a:cubicBezTo>
                    <a:pt x="452" y="350"/>
                    <a:pt x="467" y="335"/>
                    <a:pt x="467" y="317"/>
                  </a:cubicBezTo>
                  <a:close/>
                  <a:moveTo>
                    <a:pt x="417" y="250"/>
                  </a:moveTo>
                  <a:lnTo>
                    <a:pt x="50" y="250"/>
                  </a:lnTo>
                  <a:lnTo>
                    <a:pt x="50" y="33"/>
                  </a:lnTo>
                  <a:cubicBezTo>
                    <a:pt x="50" y="15"/>
                    <a:pt x="65" y="0"/>
                    <a:pt x="84" y="0"/>
                  </a:cubicBezTo>
                  <a:lnTo>
                    <a:pt x="384" y="0"/>
                  </a:lnTo>
                  <a:cubicBezTo>
                    <a:pt x="402" y="0"/>
                    <a:pt x="417" y="15"/>
                    <a:pt x="417" y="33"/>
                  </a:cubicBezTo>
                  <a:lnTo>
                    <a:pt x="417" y="25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762" name="Gruppieren 761">
            <a:extLst>
              <a:ext uri="{FF2B5EF4-FFF2-40B4-BE49-F238E27FC236}">
                <a16:creationId xmlns:a16="http://schemas.microsoft.com/office/drawing/2014/main" id="{5685704F-3F6B-E21F-B608-A0B5EBDA5AE4}"/>
              </a:ext>
            </a:extLst>
          </p:cNvPr>
          <p:cNvGrpSpPr>
            <a:grpSpLocks/>
          </p:cNvGrpSpPr>
          <p:nvPr/>
        </p:nvGrpSpPr>
        <p:grpSpPr>
          <a:xfrm>
            <a:off x="7989825" y="3251609"/>
            <a:ext cx="318516" cy="536168"/>
            <a:chOff x="9145525" y="3544050"/>
            <a:chExt cx="318516" cy="536168"/>
          </a:xfrm>
        </p:grpSpPr>
        <p:pic>
          <p:nvPicPr>
            <p:cNvPr id="330" name="Grafik 329">
              <a:extLst>
                <a:ext uri="{FF2B5EF4-FFF2-40B4-BE49-F238E27FC236}">
                  <a16:creationId xmlns:a16="http://schemas.microsoft.com/office/drawing/2014/main" id="{4EF51F90-F24E-F289-BD1F-A0532B48607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145525" y="3544050"/>
              <a:ext cx="318516" cy="536168"/>
            </a:xfrm>
            <a:prstGeom prst="rect">
              <a:avLst/>
            </a:prstGeom>
          </p:spPr>
        </p:pic>
        <p:grpSp>
          <p:nvGrpSpPr>
            <p:cNvPr id="345" name="Gruppieren 344">
              <a:extLst>
                <a:ext uri="{FF2B5EF4-FFF2-40B4-BE49-F238E27FC236}">
                  <a16:creationId xmlns:a16="http://schemas.microsoft.com/office/drawing/2014/main" id="{E512E6C1-F1A9-266A-EBEC-E533EDDC3DB7}"/>
                </a:ext>
              </a:extLst>
            </p:cNvPr>
            <p:cNvGrpSpPr/>
            <p:nvPr/>
          </p:nvGrpSpPr>
          <p:grpSpPr>
            <a:xfrm>
              <a:off x="9241864" y="3700791"/>
              <a:ext cx="122561" cy="183157"/>
              <a:chOff x="4454202" y="3527380"/>
              <a:chExt cx="285750" cy="427037"/>
            </a:xfrm>
            <a:solidFill>
              <a:schemeClr val="bg2"/>
            </a:solidFill>
          </p:grpSpPr>
          <p:sp>
            <p:nvSpPr>
              <p:cNvPr id="346" name="Rectangle 118">
                <a:extLst>
                  <a:ext uri="{FF2B5EF4-FFF2-40B4-BE49-F238E27FC236}">
                    <a16:creationId xmlns:a16="http://schemas.microsoft.com/office/drawing/2014/main" id="{DC8748B6-680C-752F-D1AD-33AB363354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16114" y="3527380"/>
                <a:ext cx="161925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7" name="Freeform 119">
                <a:extLst>
                  <a:ext uri="{FF2B5EF4-FFF2-40B4-BE49-F238E27FC236}">
                    <a16:creationId xmlns:a16="http://schemas.microsoft.com/office/drawing/2014/main" id="{9CDC45D4-EC2A-E606-2248-BFA06A5B98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54202" y="3557542"/>
                <a:ext cx="285750" cy="396875"/>
              </a:xfrm>
              <a:custGeom>
                <a:avLst/>
                <a:gdLst>
                  <a:gd name="T0" fmla="*/ 208 w 233"/>
                  <a:gd name="T1" fmla="*/ 100 h 325"/>
                  <a:gd name="T2" fmla="*/ 133 w 233"/>
                  <a:gd name="T3" fmla="*/ 100 h 325"/>
                  <a:gd name="T4" fmla="*/ 133 w 233"/>
                  <a:gd name="T5" fmla="*/ 75 h 325"/>
                  <a:gd name="T6" fmla="*/ 208 w 233"/>
                  <a:gd name="T7" fmla="*/ 75 h 325"/>
                  <a:gd name="T8" fmla="*/ 208 w 233"/>
                  <a:gd name="T9" fmla="*/ 100 h 325"/>
                  <a:gd name="T10" fmla="*/ 208 w 233"/>
                  <a:gd name="T11" fmla="*/ 188 h 325"/>
                  <a:gd name="T12" fmla="*/ 133 w 233"/>
                  <a:gd name="T13" fmla="*/ 188 h 325"/>
                  <a:gd name="T14" fmla="*/ 133 w 233"/>
                  <a:gd name="T15" fmla="*/ 163 h 325"/>
                  <a:gd name="T16" fmla="*/ 208 w 233"/>
                  <a:gd name="T17" fmla="*/ 163 h 325"/>
                  <a:gd name="T18" fmla="*/ 208 w 233"/>
                  <a:gd name="T19" fmla="*/ 188 h 325"/>
                  <a:gd name="T20" fmla="*/ 208 w 233"/>
                  <a:gd name="T21" fmla="*/ 275 h 325"/>
                  <a:gd name="T22" fmla="*/ 133 w 233"/>
                  <a:gd name="T23" fmla="*/ 275 h 325"/>
                  <a:gd name="T24" fmla="*/ 133 w 233"/>
                  <a:gd name="T25" fmla="*/ 250 h 325"/>
                  <a:gd name="T26" fmla="*/ 208 w 233"/>
                  <a:gd name="T27" fmla="*/ 250 h 325"/>
                  <a:gd name="T28" fmla="*/ 208 w 233"/>
                  <a:gd name="T29" fmla="*/ 275 h 325"/>
                  <a:gd name="T30" fmla="*/ 60 w 233"/>
                  <a:gd name="T31" fmla="*/ 125 h 325"/>
                  <a:gd name="T32" fmla="*/ 23 w 233"/>
                  <a:gd name="T33" fmla="*/ 88 h 325"/>
                  <a:gd name="T34" fmla="*/ 42 w 233"/>
                  <a:gd name="T35" fmla="*/ 69 h 325"/>
                  <a:gd name="T36" fmla="*/ 60 w 233"/>
                  <a:gd name="T37" fmla="*/ 88 h 325"/>
                  <a:gd name="T38" fmla="*/ 92 w 233"/>
                  <a:gd name="T39" fmla="*/ 56 h 325"/>
                  <a:gd name="T40" fmla="*/ 110 w 233"/>
                  <a:gd name="T41" fmla="*/ 75 h 325"/>
                  <a:gd name="T42" fmla="*/ 60 w 233"/>
                  <a:gd name="T43" fmla="*/ 125 h 325"/>
                  <a:gd name="T44" fmla="*/ 60 w 233"/>
                  <a:gd name="T45" fmla="*/ 213 h 325"/>
                  <a:gd name="T46" fmla="*/ 23 w 233"/>
                  <a:gd name="T47" fmla="*/ 175 h 325"/>
                  <a:gd name="T48" fmla="*/ 42 w 233"/>
                  <a:gd name="T49" fmla="*/ 156 h 325"/>
                  <a:gd name="T50" fmla="*/ 60 w 233"/>
                  <a:gd name="T51" fmla="*/ 175 h 325"/>
                  <a:gd name="T52" fmla="*/ 92 w 233"/>
                  <a:gd name="T53" fmla="*/ 144 h 325"/>
                  <a:gd name="T54" fmla="*/ 110 w 233"/>
                  <a:gd name="T55" fmla="*/ 163 h 325"/>
                  <a:gd name="T56" fmla="*/ 60 w 233"/>
                  <a:gd name="T57" fmla="*/ 213 h 325"/>
                  <a:gd name="T58" fmla="*/ 60 w 233"/>
                  <a:gd name="T59" fmla="*/ 300 h 325"/>
                  <a:gd name="T60" fmla="*/ 23 w 233"/>
                  <a:gd name="T61" fmla="*/ 263 h 325"/>
                  <a:gd name="T62" fmla="*/ 42 w 233"/>
                  <a:gd name="T63" fmla="*/ 244 h 325"/>
                  <a:gd name="T64" fmla="*/ 60 w 233"/>
                  <a:gd name="T65" fmla="*/ 263 h 325"/>
                  <a:gd name="T66" fmla="*/ 92 w 233"/>
                  <a:gd name="T67" fmla="*/ 231 h 325"/>
                  <a:gd name="T68" fmla="*/ 110 w 233"/>
                  <a:gd name="T69" fmla="*/ 250 h 325"/>
                  <a:gd name="T70" fmla="*/ 60 w 233"/>
                  <a:gd name="T71" fmla="*/ 300 h 325"/>
                  <a:gd name="T72" fmla="*/ 208 w 233"/>
                  <a:gd name="T73" fmla="*/ 0 h 325"/>
                  <a:gd name="T74" fmla="*/ 208 w 233"/>
                  <a:gd name="T75" fmla="*/ 25 h 325"/>
                  <a:gd name="T76" fmla="*/ 25 w 233"/>
                  <a:gd name="T77" fmla="*/ 25 h 325"/>
                  <a:gd name="T78" fmla="*/ 25 w 233"/>
                  <a:gd name="T79" fmla="*/ 0 h 325"/>
                  <a:gd name="T80" fmla="*/ 0 w 233"/>
                  <a:gd name="T81" fmla="*/ 0 h 325"/>
                  <a:gd name="T82" fmla="*/ 0 w 233"/>
                  <a:gd name="T83" fmla="*/ 325 h 325"/>
                  <a:gd name="T84" fmla="*/ 233 w 233"/>
                  <a:gd name="T85" fmla="*/ 325 h 325"/>
                  <a:gd name="T86" fmla="*/ 233 w 233"/>
                  <a:gd name="T87" fmla="*/ 0 h 325"/>
                  <a:gd name="T88" fmla="*/ 208 w 233"/>
                  <a:gd name="T89" fmla="*/ 0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33" h="325">
                    <a:moveTo>
                      <a:pt x="208" y="100"/>
                    </a:moveTo>
                    <a:lnTo>
                      <a:pt x="133" y="100"/>
                    </a:lnTo>
                    <a:lnTo>
                      <a:pt x="133" y="75"/>
                    </a:lnTo>
                    <a:lnTo>
                      <a:pt x="208" y="75"/>
                    </a:lnTo>
                    <a:lnTo>
                      <a:pt x="208" y="100"/>
                    </a:lnTo>
                    <a:close/>
                    <a:moveTo>
                      <a:pt x="208" y="188"/>
                    </a:moveTo>
                    <a:lnTo>
                      <a:pt x="133" y="188"/>
                    </a:lnTo>
                    <a:lnTo>
                      <a:pt x="133" y="163"/>
                    </a:lnTo>
                    <a:lnTo>
                      <a:pt x="208" y="163"/>
                    </a:lnTo>
                    <a:lnTo>
                      <a:pt x="208" y="188"/>
                    </a:lnTo>
                    <a:close/>
                    <a:moveTo>
                      <a:pt x="208" y="275"/>
                    </a:moveTo>
                    <a:lnTo>
                      <a:pt x="133" y="275"/>
                    </a:lnTo>
                    <a:lnTo>
                      <a:pt x="133" y="250"/>
                    </a:lnTo>
                    <a:lnTo>
                      <a:pt x="208" y="250"/>
                    </a:lnTo>
                    <a:lnTo>
                      <a:pt x="208" y="275"/>
                    </a:lnTo>
                    <a:close/>
                    <a:moveTo>
                      <a:pt x="60" y="125"/>
                    </a:moveTo>
                    <a:lnTo>
                      <a:pt x="23" y="88"/>
                    </a:lnTo>
                    <a:lnTo>
                      <a:pt x="42" y="69"/>
                    </a:lnTo>
                    <a:lnTo>
                      <a:pt x="60" y="88"/>
                    </a:lnTo>
                    <a:lnTo>
                      <a:pt x="92" y="56"/>
                    </a:lnTo>
                    <a:lnTo>
                      <a:pt x="110" y="75"/>
                    </a:lnTo>
                    <a:lnTo>
                      <a:pt x="60" y="125"/>
                    </a:lnTo>
                    <a:close/>
                    <a:moveTo>
                      <a:pt x="60" y="213"/>
                    </a:moveTo>
                    <a:lnTo>
                      <a:pt x="23" y="175"/>
                    </a:lnTo>
                    <a:lnTo>
                      <a:pt x="42" y="156"/>
                    </a:lnTo>
                    <a:lnTo>
                      <a:pt x="60" y="175"/>
                    </a:lnTo>
                    <a:lnTo>
                      <a:pt x="92" y="144"/>
                    </a:lnTo>
                    <a:lnTo>
                      <a:pt x="110" y="163"/>
                    </a:lnTo>
                    <a:lnTo>
                      <a:pt x="60" y="213"/>
                    </a:lnTo>
                    <a:close/>
                    <a:moveTo>
                      <a:pt x="60" y="300"/>
                    </a:moveTo>
                    <a:lnTo>
                      <a:pt x="23" y="263"/>
                    </a:lnTo>
                    <a:lnTo>
                      <a:pt x="42" y="244"/>
                    </a:lnTo>
                    <a:lnTo>
                      <a:pt x="60" y="263"/>
                    </a:lnTo>
                    <a:lnTo>
                      <a:pt x="92" y="231"/>
                    </a:lnTo>
                    <a:lnTo>
                      <a:pt x="110" y="250"/>
                    </a:lnTo>
                    <a:lnTo>
                      <a:pt x="60" y="300"/>
                    </a:lnTo>
                    <a:close/>
                    <a:moveTo>
                      <a:pt x="208" y="0"/>
                    </a:moveTo>
                    <a:lnTo>
                      <a:pt x="208" y="25"/>
                    </a:lnTo>
                    <a:lnTo>
                      <a:pt x="25" y="25"/>
                    </a:lnTo>
                    <a:lnTo>
                      <a:pt x="25" y="0"/>
                    </a:lnTo>
                    <a:lnTo>
                      <a:pt x="0" y="0"/>
                    </a:lnTo>
                    <a:lnTo>
                      <a:pt x="0" y="325"/>
                    </a:lnTo>
                    <a:lnTo>
                      <a:pt x="233" y="325"/>
                    </a:lnTo>
                    <a:lnTo>
                      <a:pt x="233" y="0"/>
                    </a:lnTo>
                    <a:lnTo>
                      <a:pt x="20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361" name="Gerader Verbinder 360">
            <a:extLst>
              <a:ext uri="{FF2B5EF4-FFF2-40B4-BE49-F238E27FC236}">
                <a16:creationId xmlns:a16="http://schemas.microsoft.com/office/drawing/2014/main" id="{687DFBA2-0581-B59E-0CAD-C25A5D4B79AA}"/>
              </a:ext>
            </a:extLst>
          </p:cNvPr>
          <p:cNvCxnSpPr>
            <a:cxnSpLocks/>
          </p:cNvCxnSpPr>
          <p:nvPr/>
        </p:nvCxnSpPr>
        <p:spPr>
          <a:xfrm>
            <a:off x="1853657" y="1630837"/>
            <a:ext cx="0" cy="1499890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2" name="Rectangle 18">
            <a:extLst>
              <a:ext uri="{FF2B5EF4-FFF2-40B4-BE49-F238E27FC236}">
                <a16:creationId xmlns:a16="http://schemas.microsoft.com/office/drawing/2014/main" id="{3499C214-6CC9-24B8-352E-5A0A1BBE2D6C}"/>
              </a:ext>
            </a:extLst>
          </p:cNvPr>
          <p:cNvSpPr>
            <a:spLocks/>
          </p:cNvSpPr>
          <p:nvPr/>
        </p:nvSpPr>
        <p:spPr>
          <a:xfrm>
            <a:off x="1853658" y="1633551"/>
            <a:ext cx="1243722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b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</a:rPr>
              <a:t>Online Termin-vereinbarung</a:t>
            </a:r>
          </a:p>
          <a:p>
            <a:pPr>
              <a:defRPr/>
            </a:pPr>
            <a:r>
              <a:rPr lang="de-DE" sz="1000">
                <a:solidFill>
                  <a:srgbClr val="000000"/>
                </a:solidFill>
                <a:latin typeface="Calibri"/>
              </a:rPr>
              <a:t>tdhp Patientenportal</a:t>
            </a:r>
          </a:p>
        </p:txBody>
      </p:sp>
      <p:cxnSp>
        <p:nvCxnSpPr>
          <p:cNvPr id="365" name="Gerader Verbinder 364">
            <a:extLst>
              <a:ext uri="{FF2B5EF4-FFF2-40B4-BE49-F238E27FC236}">
                <a16:creationId xmlns:a16="http://schemas.microsoft.com/office/drawing/2014/main" id="{9B917F75-F9C0-B5A7-C8EE-9DE01F79D6DD}"/>
              </a:ext>
            </a:extLst>
          </p:cNvPr>
          <p:cNvCxnSpPr>
            <a:cxnSpLocks/>
          </p:cNvCxnSpPr>
          <p:nvPr/>
        </p:nvCxnSpPr>
        <p:spPr>
          <a:xfrm>
            <a:off x="2520407" y="3879263"/>
            <a:ext cx="0" cy="1741934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6" name="Rectangle 18">
            <a:extLst>
              <a:ext uri="{FF2B5EF4-FFF2-40B4-BE49-F238E27FC236}">
                <a16:creationId xmlns:a16="http://schemas.microsoft.com/office/drawing/2014/main" id="{2A37EC13-B038-FF5E-0A1E-0DB881848864}"/>
              </a:ext>
            </a:extLst>
          </p:cNvPr>
          <p:cNvSpPr>
            <a:spLocks/>
          </p:cNvSpPr>
          <p:nvPr/>
        </p:nvSpPr>
        <p:spPr>
          <a:xfrm>
            <a:off x="2520407" y="5311771"/>
            <a:ext cx="1626953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b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</a:rPr>
              <a:t>Videosprechstunde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>
                <a:solidFill>
                  <a:srgbClr val="000000"/>
                </a:solidFill>
                <a:latin typeface="Calibri"/>
              </a:rPr>
              <a:t>tdhp Virtual Visit</a:t>
            </a:r>
          </a:p>
        </p:txBody>
      </p:sp>
      <p:cxnSp>
        <p:nvCxnSpPr>
          <p:cNvPr id="368" name="Gerader Verbinder 367">
            <a:extLst>
              <a:ext uri="{FF2B5EF4-FFF2-40B4-BE49-F238E27FC236}">
                <a16:creationId xmlns:a16="http://schemas.microsoft.com/office/drawing/2014/main" id="{AAC73FE3-D521-F4AF-B7BC-A6259F91FE72}"/>
              </a:ext>
            </a:extLst>
          </p:cNvPr>
          <p:cNvCxnSpPr>
            <a:cxnSpLocks/>
          </p:cNvCxnSpPr>
          <p:nvPr/>
        </p:nvCxnSpPr>
        <p:spPr>
          <a:xfrm>
            <a:off x="3552282" y="1630837"/>
            <a:ext cx="0" cy="1499890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9" name="Rectangle 18">
            <a:extLst>
              <a:ext uri="{FF2B5EF4-FFF2-40B4-BE49-F238E27FC236}">
                <a16:creationId xmlns:a16="http://schemas.microsoft.com/office/drawing/2014/main" id="{3EA08DC5-477E-6DDF-1934-0AC98640E28A}"/>
              </a:ext>
            </a:extLst>
          </p:cNvPr>
          <p:cNvSpPr>
            <a:spLocks/>
          </p:cNvSpPr>
          <p:nvPr/>
        </p:nvSpPr>
        <p:spPr>
          <a:xfrm>
            <a:off x="3552282" y="1633551"/>
            <a:ext cx="1216568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t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</a:rPr>
              <a:t>Self-Check-In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>
                <a:solidFill>
                  <a:srgbClr val="000000"/>
                </a:solidFill>
                <a:latin typeface="Calibri"/>
              </a:rPr>
              <a:t>OPASCA</a:t>
            </a:r>
          </a:p>
        </p:txBody>
      </p:sp>
      <p:cxnSp>
        <p:nvCxnSpPr>
          <p:cNvPr id="372" name="Gerader Verbinder 371">
            <a:extLst>
              <a:ext uri="{FF2B5EF4-FFF2-40B4-BE49-F238E27FC236}">
                <a16:creationId xmlns:a16="http://schemas.microsoft.com/office/drawing/2014/main" id="{159124F6-605B-7F27-623F-9C19505C2074}"/>
              </a:ext>
            </a:extLst>
          </p:cNvPr>
          <p:cNvCxnSpPr>
            <a:cxnSpLocks/>
          </p:cNvCxnSpPr>
          <p:nvPr/>
        </p:nvCxnSpPr>
        <p:spPr>
          <a:xfrm>
            <a:off x="4340317" y="3879263"/>
            <a:ext cx="0" cy="1741934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3" name="Rectangle 18">
            <a:extLst>
              <a:ext uri="{FF2B5EF4-FFF2-40B4-BE49-F238E27FC236}">
                <a16:creationId xmlns:a16="http://schemas.microsoft.com/office/drawing/2014/main" id="{F5E29037-0BE3-CF94-03B1-B646A1EAE93F}"/>
              </a:ext>
            </a:extLst>
          </p:cNvPr>
          <p:cNvSpPr>
            <a:spLocks/>
          </p:cNvSpPr>
          <p:nvPr/>
        </p:nvSpPr>
        <p:spPr>
          <a:xfrm>
            <a:off x="4340317" y="5157883"/>
            <a:ext cx="1120683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t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</a:rPr>
              <a:t>Gesundheitsdaten </a:t>
            </a:r>
            <a:b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</a:rPr>
            </a:br>
            <a: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</a:rPr>
              <a:t>und Dokumente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>
                <a:solidFill>
                  <a:srgbClr val="000000"/>
                </a:solidFill>
                <a:latin typeface="Calibri"/>
              </a:rPr>
              <a:t>tdhp Ärzteportal</a:t>
            </a:r>
          </a:p>
        </p:txBody>
      </p:sp>
      <p:cxnSp>
        <p:nvCxnSpPr>
          <p:cNvPr id="375" name="Gerader Verbinder 374">
            <a:extLst>
              <a:ext uri="{FF2B5EF4-FFF2-40B4-BE49-F238E27FC236}">
                <a16:creationId xmlns:a16="http://schemas.microsoft.com/office/drawing/2014/main" id="{123C2B93-15D9-3BA7-3D7E-493E933FFB97}"/>
              </a:ext>
            </a:extLst>
          </p:cNvPr>
          <p:cNvCxnSpPr>
            <a:cxnSpLocks/>
          </p:cNvCxnSpPr>
          <p:nvPr/>
        </p:nvCxnSpPr>
        <p:spPr>
          <a:xfrm>
            <a:off x="8146507" y="1630837"/>
            <a:ext cx="0" cy="1499890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tangle 18">
            <a:extLst>
              <a:ext uri="{FF2B5EF4-FFF2-40B4-BE49-F238E27FC236}">
                <a16:creationId xmlns:a16="http://schemas.microsoft.com/office/drawing/2014/main" id="{6EF4AA9E-7682-C620-5650-11B20ADC285C}"/>
              </a:ext>
            </a:extLst>
          </p:cNvPr>
          <p:cNvSpPr>
            <a:spLocks/>
          </p:cNvSpPr>
          <p:nvPr/>
        </p:nvSpPr>
        <p:spPr>
          <a:xfrm>
            <a:off x="8146508" y="1633551"/>
            <a:ext cx="1499142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b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</a:rPr>
              <a:t>Checkliste für </a:t>
            </a:r>
            <a:b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</a:rPr>
            </a:br>
            <a: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</a:rPr>
              <a:t>klinische Teams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err="1">
                <a:solidFill>
                  <a:srgbClr val="000000"/>
                </a:solidFill>
                <a:latin typeface="Calibri"/>
              </a:rPr>
              <a:t>kumi</a:t>
            </a:r>
            <a:endParaRPr lang="de-DE" sz="1000">
              <a:solidFill>
                <a:srgbClr val="000000"/>
              </a:solidFill>
              <a:latin typeface="Calibri"/>
            </a:endParaRPr>
          </a:p>
        </p:txBody>
      </p:sp>
      <p:cxnSp>
        <p:nvCxnSpPr>
          <p:cNvPr id="377" name="Gerader Verbinder 376">
            <a:extLst>
              <a:ext uri="{FF2B5EF4-FFF2-40B4-BE49-F238E27FC236}">
                <a16:creationId xmlns:a16="http://schemas.microsoft.com/office/drawing/2014/main" id="{66789D32-1424-86F7-0890-729D178635C2}"/>
              </a:ext>
            </a:extLst>
          </p:cNvPr>
          <p:cNvCxnSpPr>
            <a:cxnSpLocks/>
          </p:cNvCxnSpPr>
          <p:nvPr/>
        </p:nvCxnSpPr>
        <p:spPr>
          <a:xfrm>
            <a:off x="8705307" y="2280227"/>
            <a:ext cx="0" cy="850500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8" name="Rectangle 18">
            <a:extLst>
              <a:ext uri="{FF2B5EF4-FFF2-40B4-BE49-F238E27FC236}">
                <a16:creationId xmlns:a16="http://schemas.microsoft.com/office/drawing/2014/main" id="{961D7BEA-E064-9A5F-191A-5120906C1926}"/>
              </a:ext>
            </a:extLst>
          </p:cNvPr>
          <p:cNvSpPr>
            <a:spLocks/>
          </p:cNvSpPr>
          <p:nvPr/>
        </p:nvSpPr>
        <p:spPr>
          <a:xfrm>
            <a:off x="8705307" y="2306733"/>
            <a:ext cx="972093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b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</a:rPr>
              <a:t>Digitales Wund-</a:t>
            </a:r>
            <a:b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</a:rPr>
            </a:br>
            <a:r>
              <a:rPr kumimoji="0" lang="de-DE" sz="1000" b="1" i="0" u="none" strike="noStrike" kern="1200" cap="none" spc="0" normalizeH="0" baseline="0" err="1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</a:rPr>
              <a:t>management</a:t>
            </a:r>
            <a:endParaRPr kumimoji="0" lang="de-DE" sz="1000" b="1" i="0" u="none" strike="noStrike" kern="1200" cap="none" spc="0" normalizeH="0" baseline="0">
              <a:ln>
                <a:noFill/>
              </a:ln>
              <a:solidFill>
                <a:srgbClr val="EC6602"/>
              </a:solidFill>
              <a:effectLst/>
              <a:uLnTx/>
              <a:uFillTx/>
              <a:latin typeface="Calibri"/>
            </a:endParaRP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err="1">
                <a:solidFill>
                  <a:srgbClr val="000000"/>
                </a:solidFill>
                <a:latin typeface="Calibri"/>
              </a:rPr>
              <a:t>imito</a:t>
            </a:r>
            <a:endParaRPr lang="de-DE" sz="1000">
              <a:solidFill>
                <a:srgbClr val="000000"/>
              </a:solidFill>
              <a:latin typeface="Calibri"/>
            </a:endParaRPr>
          </a:p>
        </p:txBody>
      </p:sp>
      <p:cxnSp>
        <p:nvCxnSpPr>
          <p:cNvPr id="380" name="Gerader Verbinder 379">
            <a:extLst>
              <a:ext uri="{FF2B5EF4-FFF2-40B4-BE49-F238E27FC236}">
                <a16:creationId xmlns:a16="http://schemas.microsoft.com/office/drawing/2014/main" id="{317A9693-7EFB-E495-A446-A0075B3EAFF4}"/>
              </a:ext>
            </a:extLst>
          </p:cNvPr>
          <p:cNvCxnSpPr>
            <a:cxnSpLocks/>
          </p:cNvCxnSpPr>
          <p:nvPr/>
        </p:nvCxnSpPr>
        <p:spPr>
          <a:xfrm>
            <a:off x="10026742" y="4043339"/>
            <a:ext cx="0" cy="1577858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1" name="Rectangle 18">
            <a:extLst>
              <a:ext uri="{FF2B5EF4-FFF2-40B4-BE49-F238E27FC236}">
                <a16:creationId xmlns:a16="http://schemas.microsoft.com/office/drawing/2014/main" id="{8979E653-02B0-597E-D7DE-B61355580195}"/>
              </a:ext>
            </a:extLst>
          </p:cNvPr>
          <p:cNvSpPr>
            <a:spLocks/>
          </p:cNvSpPr>
          <p:nvPr/>
        </p:nvSpPr>
        <p:spPr>
          <a:xfrm>
            <a:off x="10026742" y="4850107"/>
            <a:ext cx="1515018" cy="7694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t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</a:rPr>
              <a:t>Digitales Entlass- und Überleitungsmanagement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err="1">
                <a:solidFill>
                  <a:srgbClr val="000000"/>
                </a:solidFill>
                <a:latin typeface="Calibri"/>
              </a:rPr>
              <a:t>Nubedian</a:t>
            </a:r>
            <a:endParaRPr lang="de-DE" sz="1000">
              <a:solidFill>
                <a:srgbClr val="000000"/>
              </a:solidFill>
              <a:latin typeface="Calibri"/>
            </a:endParaRP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>
                <a:solidFill>
                  <a:srgbClr val="000000"/>
                </a:solidFill>
                <a:latin typeface="Calibri"/>
              </a:rPr>
              <a:t>Pflegeplatzmanager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err="1">
                <a:solidFill>
                  <a:srgbClr val="000000"/>
                </a:solidFill>
                <a:latin typeface="Calibri"/>
              </a:rPr>
              <a:t>Recare</a:t>
            </a:r>
            <a:r>
              <a:rPr lang="de-DE" sz="1000">
                <a:solidFill>
                  <a:srgbClr val="000000"/>
                </a:solidFill>
                <a:latin typeface="Calibri"/>
              </a:rPr>
              <a:t> </a:t>
            </a:r>
          </a:p>
        </p:txBody>
      </p:sp>
      <p:grpSp>
        <p:nvGrpSpPr>
          <p:cNvPr id="398" name="Gruppieren 397">
            <a:extLst>
              <a:ext uri="{FF2B5EF4-FFF2-40B4-BE49-F238E27FC236}">
                <a16:creationId xmlns:a16="http://schemas.microsoft.com/office/drawing/2014/main" id="{823F98C4-C515-E7AD-23F3-E2FF4949350A}"/>
              </a:ext>
            </a:extLst>
          </p:cNvPr>
          <p:cNvGrpSpPr>
            <a:grpSpLocks/>
          </p:cNvGrpSpPr>
          <p:nvPr/>
        </p:nvGrpSpPr>
        <p:grpSpPr>
          <a:xfrm>
            <a:off x="3261133" y="3245703"/>
            <a:ext cx="587247" cy="542074"/>
            <a:chOff x="6188998" y="3538144"/>
            <a:chExt cx="587247" cy="542074"/>
          </a:xfrm>
        </p:grpSpPr>
        <p:sp>
          <p:nvSpPr>
            <p:cNvPr id="396" name="Rechteck 395">
              <a:extLst>
                <a:ext uri="{FF2B5EF4-FFF2-40B4-BE49-F238E27FC236}">
                  <a16:creationId xmlns:a16="http://schemas.microsoft.com/office/drawing/2014/main" id="{4812E87C-C986-5F03-0AF1-2983A78CA404}"/>
                </a:ext>
              </a:extLst>
            </p:cNvPr>
            <p:cNvSpPr>
              <a:spLocks/>
            </p:cNvSpPr>
            <p:nvPr/>
          </p:nvSpPr>
          <p:spPr>
            <a:xfrm>
              <a:off x="6202492" y="3549290"/>
              <a:ext cx="560258" cy="39406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95" name="Grafik 393">
              <a:extLst>
                <a:ext uri="{FF2B5EF4-FFF2-40B4-BE49-F238E27FC236}">
                  <a16:creationId xmlns:a16="http://schemas.microsoft.com/office/drawing/2014/main" id="{2866F3CC-E75A-B21C-4976-2ADE121DF407}"/>
                </a:ext>
              </a:extLst>
            </p:cNvPr>
            <p:cNvSpPr>
              <a:spLocks/>
            </p:cNvSpPr>
            <p:nvPr/>
          </p:nvSpPr>
          <p:spPr>
            <a:xfrm>
              <a:off x="6188998" y="3538144"/>
              <a:ext cx="587247" cy="542074"/>
            </a:xfrm>
            <a:custGeom>
              <a:avLst/>
              <a:gdLst>
                <a:gd name="connsiteX0" fmla="*/ 416720 w 451446"/>
                <a:gd name="connsiteY0" fmla="*/ 0 h 416719"/>
                <a:gd name="connsiteX1" fmla="*/ 0 w 451446"/>
                <a:gd name="connsiteY1" fmla="*/ 0 h 416719"/>
                <a:gd name="connsiteX2" fmla="*/ 0 w 451446"/>
                <a:gd name="connsiteY2" fmla="*/ 329903 h 416719"/>
                <a:gd name="connsiteX3" fmla="*/ 34727 w 451446"/>
                <a:gd name="connsiteY3" fmla="*/ 329903 h 416719"/>
                <a:gd name="connsiteX4" fmla="*/ 156270 w 451446"/>
                <a:gd name="connsiteY4" fmla="*/ 329903 h 416719"/>
                <a:gd name="connsiteX5" fmla="*/ 156270 w 451446"/>
                <a:gd name="connsiteY5" fmla="*/ 381993 h 416719"/>
                <a:gd name="connsiteX6" fmla="*/ 104180 w 451446"/>
                <a:gd name="connsiteY6" fmla="*/ 381993 h 416719"/>
                <a:gd name="connsiteX7" fmla="*/ 104180 w 451446"/>
                <a:gd name="connsiteY7" fmla="*/ 416720 h 416719"/>
                <a:gd name="connsiteX8" fmla="*/ 347266 w 451446"/>
                <a:gd name="connsiteY8" fmla="*/ 416720 h 416719"/>
                <a:gd name="connsiteX9" fmla="*/ 347266 w 451446"/>
                <a:gd name="connsiteY9" fmla="*/ 381993 h 416719"/>
                <a:gd name="connsiteX10" fmla="*/ 295176 w 451446"/>
                <a:gd name="connsiteY10" fmla="*/ 381993 h 416719"/>
                <a:gd name="connsiteX11" fmla="*/ 295176 w 451446"/>
                <a:gd name="connsiteY11" fmla="*/ 329903 h 416719"/>
                <a:gd name="connsiteX12" fmla="*/ 451446 w 451446"/>
                <a:gd name="connsiteY12" fmla="*/ 329903 h 416719"/>
                <a:gd name="connsiteX13" fmla="*/ 451446 w 451446"/>
                <a:gd name="connsiteY13" fmla="*/ 0 h 416719"/>
                <a:gd name="connsiteX14" fmla="*/ 416720 w 451446"/>
                <a:gd name="connsiteY14" fmla="*/ 0 h 416719"/>
                <a:gd name="connsiteX15" fmla="*/ 416720 w 451446"/>
                <a:gd name="connsiteY15" fmla="*/ 295176 h 416719"/>
                <a:gd name="connsiteX16" fmla="*/ 34727 w 451446"/>
                <a:gd name="connsiteY16" fmla="*/ 295176 h 416719"/>
                <a:gd name="connsiteX17" fmla="*/ 34727 w 451446"/>
                <a:gd name="connsiteY17" fmla="*/ 34727 h 416719"/>
                <a:gd name="connsiteX18" fmla="*/ 416720 w 451446"/>
                <a:gd name="connsiteY18" fmla="*/ 34727 h 416719"/>
                <a:gd name="connsiteX19" fmla="*/ 416720 w 451446"/>
                <a:gd name="connsiteY19" fmla="*/ 295176 h 41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1446" h="416719">
                  <a:moveTo>
                    <a:pt x="416720" y="0"/>
                  </a:moveTo>
                  <a:lnTo>
                    <a:pt x="0" y="0"/>
                  </a:lnTo>
                  <a:lnTo>
                    <a:pt x="0" y="329903"/>
                  </a:lnTo>
                  <a:lnTo>
                    <a:pt x="34727" y="329903"/>
                  </a:lnTo>
                  <a:cubicBezTo>
                    <a:pt x="34727" y="329903"/>
                    <a:pt x="156270" y="329903"/>
                    <a:pt x="156270" y="329903"/>
                  </a:cubicBezTo>
                  <a:lnTo>
                    <a:pt x="156270" y="381993"/>
                  </a:lnTo>
                  <a:lnTo>
                    <a:pt x="104180" y="381993"/>
                  </a:lnTo>
                  <a:lnTo>
                    <a:pt x="104180" y="416720"/>
                  </a:lnTo>
                  <a:lnTo>
                    <a:pt x="347266" y="416720"/>
                  </a:lnTo>
                  <a:lnTo>
                    <a:pt x="347266" y="381993"/>
                  </a:lnTo>
                  <a:lnTo>
                    <a:pt x="295176" y="381993"/>
                  </a:lnTo>
                  <a:lnTo>
                    <a:pt x="295176" y="329903"/>
                  </a:lnTo>
                  <a:lnTo>
                    <a:pt x="451446" y="329903"/>
                  </a:lnTo>
                  <a:lnTo>
                    <a:pt x="451446" y="0"/>
                  </a:lnTo>
                  <a:lnTo>
                    <a:pt x="416720" y="0"/>
                  </a:lnTo>
                  <a:close/>
                  <a:moveTo>
                    <a:pt x="416720" y="295176"/>
                  </a:moveTo>
                  <a:lnTo>
                    <a:pt x="34727" y="295176"/>
                  </a:lnTo>
                  <a:lnTo>
                    <a:pt x="34727" y="34727"/>
                  </a:lnTo>
                  <a:lnTo>
                    <a:pt x="416720" y="34727"/>
                  </a:lnTo>
                  <a:lnTo>
                    <a:pt x="416720" y="295176"/>
                  </a:lnTo>
                  <a:close/>
                </a:path>
              </a:pathLst>
            </a:custGeom>
            <a:solidFill>
              <a:schemeClr val="tx2"/>
            </a:solidFill>
            <a:ln w="172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40" name="Gruppieren 339">
            <a:extLst>
              <a:ext uri="{FF2B5EF4-FFF2-40B4-BE49-F238E27FC236}">
                <a16:creationId xmlns:a16="http://schemas.microsoft.com/office/drawing/2014/main" id="{518FBB25-29A5-E18F-602A-0D37420FC8D2}"/>
              </a:ext>
            </a:extLst>
          </p:cNvPr>
          <p:cNvGrpSpPr>
            <a:grpSpLocks/>
          </p:cNvGrpSpPr>
          <p:nvPr/>
        </p:nvGrpSpPr>
        <p:grpSpPr>
          <a:xfrm>
            <a:off x="3493476" y="3367894"/>
            <a:ext cx="122561" cy="183160"/>
            <a:chOff x="4454202" y="3527380"/>
            <a:chExt cx="285750" cy="427037"/>
          </a:xfrm>
          <a:solidFill>
            <a:schemeClr val="bg2"/>
          </a:solidFill>
        </p:grpSpPr>
        <p:sp>
          <p:nvSpPr>
            <p:cNvPr id="341" name="Rectangle 118">
              <a:extLst>
                <a:ext uri="{FF2B5EF4-FFF2-40B4-BE49-F238E27FC236}">
                  <a16:creationId xmlns:a16="http://schemas.microsoft.com/office/drawing/2014/main" id="{127EC9A1-4CB5-0B91-53CC-54F644EF33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6114" y="3527380"/>
              <a:ext cx="161925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2" name="Freeform 119">
              <a:extLst>
                <a:ext uri="{FF2B5EF4-FFF2-40B4-BE49-F238E27FC236}">
                  <a16:creationId xmlns:a16="http://schemas.microsoft.com/office/drawing/2014/main" id="{0127BF41-499E-A159-9EF9-FFE4CB8B5E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202" y="3557542"/>
              <a:ext cx="285750" cy="396875"/>
            </a:xfrm>
            <a:custGeom>
              <a:avLst/>
              <a:gdLst>
                <a:gd name="T0" fmla="*/ 208 w 233"/>
                <a:gd name="T1" fmla="*/ 100 h 325"/>
                <a:gd name="T2" fmla="*/ 133 w 233"/>
                <a:gd name="T3" fmla="*/ 100 h 325"/>
                <a:gd name="T4" fmla="*/ 133 w 233"/>
                <a:gd name="T5" fmla="*/ 75 h 325"/>
                <a:gd name="T6" fmla="*/ 208 w 233"/>
                <a:gd name="T7" fmla="*/ 75 h 325"/>
                <a:gd name="T8" fmla="*/ 208 w 233"/>
                <a:gd name="T9" fmla="*/ 100 h 325"/>
                <a:gd name="T10" fmla="*/ 208 w 233"/>
                <a:gd name="T11" fmla="*/ 188 h 325"/>
                <a:gd name="T12" fmla="*/ 133 w 233"/>
                <a:gd name="T13" fmla="*/ 188 h 325"/>
                <a:gd name="T14" fmla="*/ 133 w 233"/>
                <a:gd name="T15" fmla="*/ 163 h 325"/>
                <a:gd name="T16" fmla="*/ 208 w 233"/>
                <a:gd name="T17" fmla="*/ 163 h 325"/>
                <a:gd name="T18" fmla="*/ 208 w 233"/>
                <a:gd name="T19" fmla="*/ 188 h 325"/>
                <a:gd name="T20" fmla="*/ 208 w 233"/>
                <a:gd name="T21" fmla="*/ 275 h 325"/>
                <a:gd name="T22" fmla="*/ 133 w 233"/>
                <a:gd name="T23" fmla="*/ 275 h 325"/>
                <a:gd name="T24" fmla="*/ 133 w 233"/>
                <a:gd name="T25" fmla="*/ 250 h 325"/>
                <a:gd name="T26" fmla="*/ 208 w 233"/>
                <a:gd name="T27" fmla="*/ 250 h 325"/>
                <a:gd name="T28" fmla="*/ 208 w 233"/>
                <a:gd name="T29" fmla="*/ 275 h 325"/>
                <a:gd name="T30" fmla="*/ 60 w 233"/>
                <a:gd name="T31" fmla="*/ 125 h 325"/>
                <a:gd name="T32" fmla="*/ 23 w 233"/>
                <a:gd name="T33" fmla="*/ 88 h 325"/>
                <a:gd name="T34" fmla="*/ 42 w 233"/>
                <a:gd name="T35" fmla="*/ 69 h 325"/>
                <a:gd name="T36" fmla="*/ 60 w 233"/>
                <a:gd name="T37" fmla="*/ 88 h 325"/>
                <a:gd name="T38" fmla="*/ 92 w 233"/>
                <a:gd name="T39" fmla="*/ 56 h 325"/>
                <a:gd name="T40" fmla="*/ 110 w 233"/>
                <a:gd name="T41" fmla="*/ 75 h 325"/>
                <a:gd name="T42" fmla="*/ 60 w 233"/>
                <a:gd name="T43" fmla="*/ 125 h 325"/>
                <a:gd name="T44" fmla="*/ 60 w 233"/>
                <a:gd name="T45" fmla="*/ 213 h 325"/>
                <a:gd name="T46" fmla="*/ 23 w 233"/>
                <a:gd name="T47" fmla="*/ 175 h 325"/>
                <a:gd name="T48" fmla="*/ 42 w 233"/>
                <a:gd name="T49" fmla="*/ 156 h 325"/>
                <a:gd name="T50" fmla="*/ 60 w 233"/>
                <a:gd name="T51" fmla="*/ 175 h 325"/>
                <a:gd name="T52" fmla="*/ 92 w 233"/>
                <a:gd name="T53" fmla="*/ 144 h 325"/>
                <a:gd name="T54" fmla="*/ 110 w 233"/>
                <a:gd name="T55" fmla="*/ 163 h 325"/>
                <a:gd name="T56" fmla="*/ 60 w 233"/>
                <a:gd name="T57" fmla="*/ 213 h 325"/>
                <a:gd name="T58" fmla="*/ 60 w 233"/>
                <a:gd name="T59" fmla="*/ 300 h 325"/>
                <a:gd name="T60" fmla="*/ 23 w 233"/>
                <a:gd name="T61" fmla="*/ 263 h 325"/>
                <a:gd name="T62" fmla="*/ 42 w 233"/>
                <a:gd name="T63" fmla="*/ 244 h 325"/>
                <a:gd name="T64" fmla="*/ 60 w 233"/>
                <a:gd name="T65" fmla="*/ 263 h 325"/>
                <a:gd name="T66" fmla="*/ 92 w 233"/>
                <a:gd name="T67" fmla="*/ 231 h 325"/>
                <a:gd name="T68" fmla="*/ 110 w 233"/>
                <a:gd name="T69" fmla="*/ 250 h 325"/>
                <a:gd name="T70" fmla="*/ 60 w 233"/>
                <a:gd name="T71" fmla="*/ 300 h 325"/>
                <a:gd name="T72" fmla="*/ 208 w 233"/>
                <a:gd name="T73" fmla="*/ 0 h 325"/>
                <a:gd name="T74" fmla="*/ 208 w 233"/>
                <a:gd name="T75" fmla="*/ 25 h 325"/>
                <a:gd name="T76" fmla="*/ 25 w 233"/>
                <a:gd name="T77" fmla="*/ 25 h 325"/>
                <a:gd name="T78" fmla="*/ 25 w 233"/>
                <a:gd name="T79" fmla="*/ 0 h 325"/>
                <a:gd name="T80" fmla="*/ 0 w 233"/>
                <a:gd name="T81" fmla="*/ 0 h 325"/>
                <a:gd name="T82" fmla="*/ 0 w 233"/>
                <a:gd name="T83" fmla="*/ 325 h 325"/>
                <a:gd name="T84" fmla="*/ 233 w 233"/>
                <a:gd name="T85" fmla="*/ 325 h 325"/>
                <a:gd name="T86" fmla="*/ 233 w 233"/>
                <a:gd name="T87" fmla="*/ 0 h 325"/>
                <a:gd name="T88" fmla="*/ 208 w 233"/>
                <a:gd name="T89" fmla="*/ 0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33" h="325">
                  <a:moveTo>
                    <a:pt x="208" y="100"/>
                  </a:moveTo>
                  <a:lnTo>
                    <a:pt x="133" y="100"/>
                  </a:lnTo>
                  <a:lnTo>
                    <a:pt x="133" y="75"/>
                  </a:lnTo>
                  <a:lnTo>
                    <a:pt x="208" y="75"/>
                  </a:lnTo>
                  <a:lnTo>
                    <a:pt x="208" y="100"/>
                  </a:lnTo>
                  <a:close/>
                  <a:moveTo>
                    <a:pt x="208" y="188"/>
                  </a:moveTo>
                  <a:lnTo>
                    <a:pt x="133" y="188"/>
                  </a:lnTo>
                  <a:lnTo>
                    <a:pt x="133" y="163"/>
                  </a:lnTo>
                  <a:lnTo>
                    <a:pt x="208" y="163"/>
                  </a:lnTo>
                  <a:lnTo>
                    <a:pt x="208" y="188"/>
                  </a:lnTo>
                  <a:close/>
                  <a:moveTo>
                    <a:pt x="208" y="275"/>
                  </a:moveTo>
                  <a:lnTo>
                    <a:pt x="133" y="275"/>
                  </a:lnTo>
                  <a:lnTo>
                    <a:pt x="133" y="250"/>
                  </a:lnTo>
                  <a:lnTo>
                    <a:pt x="208" y="250"/>
                  </a:lnTo>
                  <a:lnTo>
                    <a:pt x="208" y="275"/>
                  </a:lnTo>
                  <a:close/>
                  <a:moveTo>
                    <a:pt x="60" y="125"/>
                  </a:moveTo>
                  <a:lnTo>
                    <a:pt x="23" y="88"/>
                  </a:lnTo>
                  <a:lnTo>
                    <a:pt x="42" y="69"/>
                  </a:lnTo>
                  <a:lnTo>
                    <a:pt x="60" y="88"/>
                  </a:lnTo>
                  <a:lnTo>
                    <a:pt x="92" y="56"/>
                  </a:lnTo>
                  <a:lnTo>
                    <a:pt x="110" y="75"/>
                  </a:lnTo>
                  <a:lnTo>
                    <a:pt x="60" y="125"/>
                  </a:lnTo>
                  <a:close/>
                  <a:moveTo>
                    <a:pt x="60" y="213"/>
                  </a:moveTo>
                  <a:lnTo>
                    <a:pt x="23" y="175"/>
                  </a:lnTo>
                  <a:lnTo>
                    <a:pt x="42" y="156"/>
                  </a:lnTo>
                  <a:lnTo>
                    <a:pt x="60" y="175"/>
                  </a:lnTo>
                  <a:lnTo>
                    <a:pt x="92" y="144"/>
                  </a:lnTo>
                  <a:lnTo>
                    <a:pt x="110" y="163"/>
                  </a:lnTo>
                  <a:lnTo>
                    <a:pt x="60" y="213"/>
                  </a:lnTo>
                  <a:close/>
                  <a:moveTo>
                    <a:pt x="60" y="300"/>
                  </a:moveTo>
                  <a:lnTo>
                    <a:pt x="23" y="263"/>
                  </a:lnTo>
                  <a:lnTo>
                    <a:pt x="42" y="244"/>
                  </a:lnTo>
                  <a:lnTo>
                    <a:pt x="60" y="263"/>
                  </a:lnTo>
                  <a:lnTo>
                    <a:pt x="92" y="231"/>
                  </a:lnTo>
                  <a:lnTo>
                    <a:pt x="110" y="250"/>
                  </a:lnTo>
                  <a:lnTo>
                    <a:pt x="60" y="300"/>
                  </a:lnTo>
                  <a:close/>
                  <a:moveTo>
                    <a:pt x="208" y="0"/>
                  </a:moveTo>
                  <a:lnTo>
                    <a:pt x="208" y="25"/>
                  </a:lnTo>
                  <a:lnTo>
                    <a:pt x="25" y="25"/>
                  </a:lnTo>
                  <a:lnTo>
                    <a:pt x="25" y="0"/>
                  </a:lnTo>
                  <a:lnTo>
                    <a:pt x="0" y="0"/>
                  </a:lnTo>
                  <a:lnTo>
                    <a:pt x="0" y="325"/>
                  </a:lnTo>
                  <a:lnTo>
                    <a:pt x="233" y="325"/>
                  </a:lnTo>
                  <a:lnTo>
                    <a:pt x="233" y="0"/>
                  </a:lnTo>
                  <a:lnTo>
                    <a:pt x="2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02" name="Gruppieren 401">
            <a:extLst>
              <a:ext uri="{FF2B5EF4-FFF2-40B4-BE49-F238E27FC236}">
                <a16:creationId xmlns:a16="http://schemas.microsoft.com/office/drawing/2014/main" id="{6B0E9244-EEBF-6A4E-52CC-CE8BBCF628F2}"/>
              </a:ext>
            </a:extLst>
          </p:cNvPr>
          <p:cNvGrpSpPr>
            <a:grpSpLocks/>
          </p:cNvGrpSpPr>
          <p:nvPr/>
        </p:nvGrpSpPr>
        <p:grpSpPr>
          <a:xfrm>
            <a:off x="4051073" y="3245703"/>
            <a:ext cx="587247" cy="542074"/>
            <a:chOff x="6188998" y="3538144"/>
            <a:chExt cx="587247" cy="542074"/>
          </a:xfrm>
        </p:grpSpPr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BC1210BF-AAB2-110C-B162-A7D740F6FDF8}"/>
                </a:ext>
              </a:extLst>
            </p:cNvPr>
            <p:cNvSpPr>
              <a:spLocks/>
            </p:cNvSpPr>
            <p:nvPr/>
          </p:nvSpPr>
          <p:spPr>
            <a:xfrm>
              <a:off x="6202492" y="3549290"/>
              <a:ext cx="560258" cy="39406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08" name="Grafik 393">
              <a:extLst>
                <a:ext uri="{FF2B5EF4-FFF2-40B4-BE49-F238E27FC236}">
                  <a16:creationId xmlns:a16="http://schemas.microsoft.com/office/drawing/2014/main" id="{233BF5EB-4C6D-DCDB-BFFC-26C0249AE161}"/>
                </a:ext>
              </a:extLst>
            </p:cNvPr>
            <p:cNvSpPr>
              <a:spLocks/>
            </p:cNvSpPr>
            <p:nvPr/>
          </p:nvSpPr>
          <p:spPr>
            <a:xfrm>
              <a:off x="6188998" y="3538144"/>
              <a:ext cx="587247" cy="542074"/>
            </a:xfrm>
            <a:custGeom>
              <a:avLst/>
              <a:gdLst>
                <a:gd name="connsiteX0" fmla="*/ 416720 w 451446"/>
                <a:gd name="connsiteY0" fmla="*/ 0 h 416719"/>
                <a:gd name="connsiteX1" fmla="*/ 0 w 451446"/>
                <a:gd name="connsiteY1" fmla="*/ 0 h 416719"/>
                <a:gd name="connsiteX2" fmla="*/ 0 w 451446"/>
                <a:gd name="connsiteY2" fmla="*/ 329903 h 416719"/>
                <a:gd name="connsiteX3" fmla="*/ 34727 w 451446"/>
                <a:gd name="connsiteY3" fmla="*/ 329903 h 416719"/>
                <a:gd name="connsiteX4" fmla="*/ 156270 w 451446"/>
                <a:gd name="connsiteY4" fmla="*/ 329903 h 416719"/>
                <a:gd name="connsiteX5" fmla="*/ 156270 w 451446"/>
                <a:gd name="connsiteY5" fmla="*/ 381993 h 416719"/>
                <a:gd name="connsiteX6" fmla="*/ 104180 w 451446"/>
                <a:gd name="connsiteY6" fmla="*/ 381993 h 416719"/>
                <a:gd name="connsiteX7" fmla="*/ 104180 w 451446"/>
                <a:gd name="connsiteY7" fmla="*/ 416720 h 416719"/>
                <a:gd name="connsiteX8" fmla="*/ 347266 w 451446"/>
                <a:gd name="connsiteY8" fmla="*/ 416720 h 416719"/>
                <a:gd name="connsiteX9" fmla="*/ 347266 w 451446"/>
                <a:gd name="connsiteY9" fmla="*/ 381993 h 416719"/>
                <a:gd name="connsiteX10" fmla="*/ 295176 w 451446"/>
                <a:gd name="connsiteY10" fmla="*/ 381993 h 416719"/>
                <a:gd name="connsiteX11" fmla="*/ 295176 w 451446"/>
                <a:gd name="connsiteY11" fmla="*/ 329903 h 416719"/>
                <a:gd name="connsiteX12" fmla="*/ 451446 w 451446"/>
                <a:gd name="connsiteY12" fmla="*/ 329903 h 416719"/>
                <a:gd name="connsiteX13" fmla="*/ 451446 w 451446"/>
                <a:gd name="connsiteY13" fmla="*/ 0 h 416719"/>
                <a:gd name="connsiteX14" fmla="*/ 416720 w 451446"/>
                <a:gd name="connsiteY14" fmla="*/ 0 h 416719"/>
                <a:gd name="connsiteX15" fmla="*/ 416720 w 451446"/>
                <a:gd name="connsiteY15" fmla="*/ 295176 h 416719"/>
                <a:gd name="connsiteX16" fmla="*/ 34727 w 451446"/>
                <a:gd name="connsiteY16" fmla="*/ 295176 h 416719"/>
                <a:gd name="connsiteX17" fmla="*/ 34727 w 451446"/>
                <a:gd name="connsiteY17" fmla="*/ 34727 h 416719"/>
                <a:gd name="connsiteX18" fmla="*/ 416720 w 451446"/>
                <a:gd name="connsiteY18" fmla="*/ 34727 h 416719"/>
                <a:gd name="connsiteX19" fmla="*/ 416720 w 451446"/>
                <a:gd name="connsiteY19" fmla="*/ 295176 h 41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1446" h="416719">
                  <a:moveTo>
                    <a:pt x="416720" y="0"/>
                  </a:moveTo>
                  <a:lnTo>
                    <a:pt x="0" y="0"/>
                  </a:lnTo>
                  <a:lnTo>
                    <a:pt x="0" y="329903"/>
                  </a:lnTo>
                  <a:lnTo>
                    <a:pt x="34727" y="329903"/>
                  </a:lnTo>
                  <a:cubicBezTo>
                    <a:pt x="34727" y="329903"/>
                    <a:pt x="156270" y="329903"/>
                    <a:pt x="156270" y="329903"/>
                  </a:cubicBezTo>
                  <a:lnTo>
                    <a:pt x="156270" y="381993"/>
                  </a:lnTo>
                  <a:lnTo>
                    <a:pt x="104180" y="381993"/>
                  </a:lnTo>
                  <a:lnTo>
                    <a:pt x="104180" y="416720"/>
                  </a:lnTo>
                  <a:lnTo>
                    <a:pt x="347266" y="416720"/>
                  </a:lnTo>
                  <a:lnTo>
                    <a:pt x="347266" y="381993"/>
                  </a:lnTo>
                  <a:lnTo>
                    <a:pt x="295176" y="381993"/>
                  </a:lnTo>
                  <a:lnTo>
                    <a:pt x="295176" y="329903"/>
                  </a:lnTo>
                  <a:lnTo>
                    <a:pt x="451446" y="329903"/>
                  </a:lnTo>
                  <a:lnTo>
                    <a:pt x="451446" y="0"/>
                  </a:lnTo>
                  <a:lnTo>
                    <a:pt x="416720" y="0"/>
                  </a:lnTo>
                  <a:close/>
                  <a:moveTo>
                    <a:pt x="416720" y="295176"/>
                  </a:moveTo>
                  <a:lnTo>
                    <a:pt x="34727" y="295176"/>
                  </a:lnTo>
                  <a:lnTo>
                    <a:pt x="34727" y="34727"/>
                  </a:lnTo>
                  <a:lnTo>
                    <a:pt x="416720" y="34727"/>
                  </a:lnTo>
                  <a:lnTo>
                    <a:pt x="416720" y="295176"/>
                  </a:lnTo>
                  <a:close/>
                </a:path>
              </a:pathLst>
            </a:custGeom>
            <a:solidFill>
              <a:schemeClr val="tx2"/>
            </a:solidFill>
            <a:ln w="172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44" name="Freeform 107">
            <a:extLst>
              <a:ext uri="{FF2B5EF4-FFF2-40B4-BE49-F238E27FC236}">
                <a16:creationId xmlns:a16="http://schemas.microsoft.com/office/drawing/2014/main" id="{FF803DBE-3058-0863-C60C-16F8E7AD1203}"/>
              </a:ext>
            </a:extLst>
          </p:cNvPr>
          <p:cNvSpPr>
            <a:spLocks noEditPoints="1"/>
          </p:cNvSpPr>
          <p:nvPr/>
        </p:nvSpPr>
        <p:spPr bwMode="auto">
          <a:xfrm>
            <a:off x="4268479" y="3363741"/>
            <a:ext cx="152434" cy="193176"/>
          </a:xfrm>
          <a:custGeom>
            <a:avLst/>
            <a:gdLst>
              <a:gd name="T0" fmla="*/ 40 w 217"/>
              <a:gd name="T1" fmla="*/ 0 h 275"/>
              <a:gd name="T2" fmla="*/ 40 w 217"/>
              <a:gd name="T3" fmla="*/ 236 h 275"/>
              <a:gd name="T4" fmla="*/ 217 w 217"/>
              <a:gd name="T5" fmla="*/ 236 h 275"/>
              <a:gd name="T6" fmla="*/ 217 w 217"/>
              <a:gd name="T7" fmla="*/ 78 h 275"/>
              <a:gd name="T8" fmla="*/ 138 w 217"/>
              <a:gd name="T9" fmla="*/ 78 h 275"/>
              <a:gd name="T10" fmla="*/ 138 w 217"/>
              <a:gd name="T11" fmla="*/ 0 h 275"/>
              <a:gd name="T12" fmla="*/ 40 w 217"/>
              <a:gd name="T13" fmla="*/ 0 h 275"/>
              <a:gd name="T14" fmla="*/ 217 w 217"/>
              <a:gd name="T15" fmla="*/ 59 h 275"/>
              <a:gd name="T16" fmla="*/ 158 w 217"/>
              <a:gd name="T17" fmla="*/ 0 h 275"/>
              <a:gd name="T18" fmla="*/ 158 w 217"/>
              <a:gd name="T19" fmla="*/ 59 h 275"/>
              <a:gd name="T20" fmla="*/ 217 w 217"/>
              <a:gd name="T21" fmla="*/ 59 h 275"/>
              <a:gd name="T22" fmla="*/ 0 w 217"/>
              <a:gd name="T23" fmla="*/ 39 h 275"/>
              <a:gd name="T24" fmla="*/ 0 w 217"/>
              <a:gd name="T25" fmla="*/ 275 h 275"/>
              <a:gd name="T26" fmla="*/ 178 w 217"/>
              <a:gd name="T27" fmla="*/ 275 h 275"/>
              <a:gd name="T28" fmla="*/ 178 w 217"/>
              <a:gd name="T29" fmla="*/ 255 h 275"/>
              <a:gd name="T30" fmla="*/ 20 w 217"/>
              <a:gd name="T31" fmla="*/ 255 h 275"/>
              <a:gd name="T32" fmla="*/ 20 w 217"/>
              <a:gd name="T33" fmla="*/ 39 h 275"/>
              <a:gd name="T34" fmla="*/ 0 w 217"/>
              <a:gd name="T35" fmla="*/ 39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17" h="275">
                <a:moveTo>
                  <a:pt x="40" y="0"/>
                </a:moveTo>
                <a:lnTo>
                  <a:pt x="40" y="236"/>
                </a:lnTo>
                <a:lnTo>
                  <a:pt x="217" y="236"/>
                </a:lnTo>
                <a:lnTo>
                  <a:pt x="217" y="78"/>
                </a:lnTo>
                <a:lnTo>
                  <a:pt x="138" y="78"/>
                </a:lnTo>
                <a:lnTo>
                  <a:pt x="138" y="0"/>
                </a:lnTo>
                <a:lnTo>
                  <a:pt x="40" y="0"/>
                </a:lnTo>
                <a:close/>
                <a:moveTo>
                  <a:pt x="217" y="59"/>
                </a:moveTo>
                <a:lnTo>
                  <a:pt x="158" y="0"/>
                </a:lnTo>
                <a:lnTo>
                  <a:pt x="158" y="59"/>
                </a:lnTo>
                <a:lnTo>
                  <a:pt x="217" y="59"/>
                </a:lnTo>
                <a:close/>
                <a:moveTo>
                  <a:pt x="0" y="39"/>
                </a:moveTo>
                <a:lnTo>
                  <a:pt x="0" y="275"/>
                </a:lnTo>
                <a:lnTo>
                  <a:pt x="178" y="275"/>
                </a:lnTo>
                <a:lnTo>
                  <a:pt x="178" y="255"/>
                </a:lnTo>
                <a:lnTo>
                  <a:pt x="20" y="255"/>
                </a:lnTo>
                <a:lnTo>
                  <a:pt x="20" y="39"/>
                </a:lnTo>
                <a:lnTo>
                  <a:pt x="0" y="3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F914BB9C-07D1-27FA-87BC-736EF3272B5B}"/>
              </a:ext>
            </a:extLst>
          </p:cNvPr>
          <p:cNvGrpSpPr>
            <a:grpSpLocks/>
          </p:cNvGrpSpPr>
          <p:nvPr/>
        </p:nvGrpSpPr>
        <p:grpSpPr>
          <a:xfrm>
            <a:off x="4846093" y="3245703"/>
            <a:ext cx="587247" cy="542074"/>
            <a:chOff x="6188998" y="3538144"/>
            <a:chExt cx="587247" cy="542074"/>
          </a:xfrm>
        </p:grpSpPr>
        <p:sp>
          <p:nvSpPr>
            <p:cNvPr id="410" name="Rechteck 409">
              <a:extLst>
                <a:ext uri="{FF2B5EF4-FFF2-40B4-BE49-F238E27FC236}">
                  <a16:creationId xmlns:a16="http://schemas.microsoft.com/office/drawing/2014/main" id="{9FA30374-EA25-8099-C323-CCBB705A8827}"/>
                </a:ext>
              </a:extLst>
            </p:cNvPr>
            <p:cNvSpPr>
              <a:spLocks/>
            </p:cNvSpPr>
            <p:nvPr/>
          </p:nvSpPr>
          <p:spPr>
            <a:xfrm>
              <a:off x="6202492" y="3549290"/>
              <a:ext cx="560258" cy="39406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11" name="Grafik 393">
              <a:extLst>
                <a:ext uri="{FF2B5EF4-FFF2-40B4-BE49-F238E27FC236}">
                  <a16:creationId xmlns:a16="http://schemas.microsoft.com/office/drawing/2014/main" id="{04232949-E479-11A9-957D-EB0B9A1B7C47}"/>
                </a:ext>
              </a:extLst>
            </p:cNvPr>
            <p:cNvSpPr>
              <a:spLocks/>
            </p:cNvSpPr>
            <p:nvPr/>
          </p:nvSpPr>
          <p:spPr>
            <a:xfrm>
              <a:off x="6188998" y="3538144"/>
              <a:ext cx="587247" cy="542074"/>
            </a:xfrm>
            <a:custGeom>
              <a:avLst/>
              <a:gdLst>
                <a:gd name="connsiteX0" fmla="*/ 416720 w 451446"/>
                <a:gd name="connsiteY0" fmla="*/ 0 h 416719"/>
                <a:gd name="connsiteX1" fmla="*/ 0 w 451446"/>
                <a:gd name="connsiteY1" fmla="*/ 0 h 416719"/>
                <a:gd name="connsiteX2" fmla="*/ 0 w 451446"/>
                <a:gd name="connsiteY2" fmla="*/ 329903 h 416719"/>
                <a:gd name="connsiteX3" fmla="*/ 34727 w 451446"/>
                <a:gd name="connsiteY3" fmla="*/ 329903 h 416719"/>
                <a:gd name="connsiteX4" fmla="*/ 156270 w 451446"/>
                <a:gd name="connsiteY4" fmla="*/ 329903 h 416719"/>
                <a:gd name="connsiteX5" fmla="*/ 156270 w 451446"/>
                <a:gd name="connsiteY5" fmla="*/ 381993 h 416719"/>
                <a:gd name="connsiteX6" fmla="*/ 104180 w 451446"/>
                <a:gd name="connsiteY6" fmla="*/ 381993 h 416719"/>
                <a:gd name="connsiteX7" fmla="*/ 104180 w 451446"/>
                <a:gd name="connsiteY7" fmla="*/ 416720 h 416719"/>
                <a:gd name="connsiteX8" fmla="*/ 347266 w 451446"/>
                <a:gd name="connsiteY8" fmla="*/ 416720 h 416719"/>
                <a:gd name="connsiteX9" fmla="*/ 347266 w 451446"/>
                <a:gd name="connsiteY9" fmla="*/ 381993 h 416719"/>
                <a:gd name="connsiteX10" fmla="*/ 295176 w 451446"/>
                <a:gd name="connsiteY10" fmla="*/ 381993 h 416719"/>
                <a:gd name="connsiteX11" fmla="*/ 295176 w 451446"/>
                <a:gd name="connsiteY11" fmla="*/ 329903 h 416719"/>
                <a:gd name="connsiteX12" fmla="*/ 451446 w 451446"/>
                <a:gd name="connsiteY12" fmla="*/ 329903 h 416719"/>
                <a:gd name="connsiteX13" fmla="*/ 451446 w 451446"/>
                <a:gd name="connsiteY13" fmla="*/ 0 h 416719"/>
                <a:gd name="connsiteX14" fmla="*/ 416720 w 451446"/>
                <a:gd name="connsiteY14" fmla="*/ 0 h 416719"/>
                <a:gd name="connsiteX15" fmla="*/ 416720 w 451446"/>
                <a:gd name="connsiteY15" fmla="*/ 295176 h 416719"/>
                <a:gd name="connsiteX16" fmla="*/ 34727 w 451446"/>
                <a:gd name="connsiteY16" fmla="*/ 295176 h 416719"/>
                <a:gd name="connsiteX17" fmla="*/ 34727 w 451446"/>
                <a:gd name="connsiteY17" fmla="*/ 34727 h 416719"/>
                <a:gd name="connsiteX18" fmla="*/ 416720 w 451446"/>
                <a:gd name="connsiteY18" fmla="*/ 34727 h 416719"/>
                <a:gd name="connsiteX19" fmla="*/ 416720 w 451446"/>
                <a:gd name="connsiteY19" fmla="*/ 295176 h 41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1446" h="416719">
                  <a:moveTo>
                    <a:pt x="416720" y="0"/>
                  </a:moveTo>
                  <a:lnTo>
                    <a:pt x="0" y="0"/>
                  </a:lnTo>
                  <a:lnTo>
                    <a:pt x="0" y="329903"/>
                  </a:lnTo>
                  <a:lnTo>
                    <a:pt x="34727" y="329903"/>
                  </a:lnTo>
                  <a:cubicBezTo>
                    <a:pt x="34727" y="329903"/>
                    <a:pt x="156270" y="329903"/>
                    <a:pt x="156270" y="329903"/>
                  </a:cubicBezTo>
                  <a:lnTo>
                    <a:pt x="156270" y="381993"/>
                  </a:lnTo>
                  <a:lnTo>
                    <a:pt x="104180" y="381993"/>
                  </a:lnTo>
                  <a:lnTo>
                    <a:pt x="104180" y="416720"/>
                  </a:lnTo>
                  <a:lnTo>
                    <a:pt x="347266" y="416720"/>
                  </a:lnTo>
                  <a:lnTo>
                    <a:pt x="347266" y="381993"/>
                  </a:lnTo>
                  <a:lnTo>
                    <a:pt x="295176" y="381993"/>
                  </a:lnTo>
                  <a:lnTo>
                    <a:pt x="295176" y="329903"/>
                  </a:lnTo>
                  <a:lnTo>
                    <a:pt x="451446" y="329903"/>
                  </a:lnTo>
                  <a:lnTo>
                    <a:pt x="451446" y="0"/>
                  </a:lnTo>
                  <a:lnTo>
                    <a:pt x="416720" y="0"/>
                  </a:lnTo>
                  <a:close/>
                  <a:moveTo>
                    <a:pt x="416720" y="295176"/>
                  </a:moveTo>
                  <a:lnTo>
                    <a:pt x="34727" y="295176"/>
                  </a:lnTo>
                  <a:lnTo>
                    <a:pt x="34727" y="34727"/>
                  </a:lnTo>
                  <a:lnTo>
                    <a:pt x="416720" y="34727"/>
                  </a:lnTo>
                  <a:lnTo>
                    <a:pt x="416720" y="295176"/>
                  </a:lnTo>
                  <a:close/>
                </a:path>
              </a:pathLst>
            </a:custGeom>
            <a:solidFill>
              <a:schemeClr val="tx2"/>
            </a:solidFill>
            <a:ln w="172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414" name="Freeform 41">
            <a:extLst>
              <a:ext uri="{FF2B5EF4-FFF2-40B4-BE49-F238E27FC236}">
                <a16:creationId xmlns:a16="http://schemas.microsoft.com/office/drawing/2014/main" id="{F7CB9831-A66A-E2C1-4FBF-00FDA2E4E218}"/>
              </a:ext>
            </a:extLst>
          </p:cNvPr>
          <p:cNvSpPr>
            <a:spLocks noEditPoints="1"/>
          </p:cNvSpPr>
          <p:nvPr/>
        </p:nvSpPr>
        <p:spPr bwMode="auto">
          <a:xfrm>
            <a:off x="5027984" y="3369786"/>
            <a:ext cx="223466" cy="184262"/>
          </a:xfrm>
          <a:custGeom>
            <a:avLst/>
            <a:gdLst>
              <a:gd name="T0" fmla="*/ 376 w 444"/>
              <a:gd name="T1" fmla="*/ 161 h 367"/>
              <a:gd name="T2" fmla="*/ 340 w 444"/>
              <a:gd name="T3" fmla="*/ 61 h 367"/>
              <a:gd name="T4" fmla="*/ 277 w 444"/>
              <a:gd name="T5" fmla="*/ 17 h 367"/>
              <a:gd name="T6" fmla="*/ 254 w 444"/>
              <a:gd name="T7" fmla="*/ 21 h 367"/>
              <a:gd name="T8" fmla="*/ 217 w 444"/>
              <a:gd name="T9" fmla="*/ 56 h 367"/>
              <a:gd name="T10" fmla="*/ 215 w 444"/>
              <a:gd name="T11" fmla="*/ 106 h 367"/>
              <a:gd name="T12" fmla="*/ 251 w 444"/>
              <a:gd name="T13" fmla="*/ 206 h 367"/>
              <a:gd name="T14" fmla="*/ 376 w 444"/>
              <a:gd name="T15" fmla="*/ 161 h 367"/>
              <a:gd name="T16" fmla="*/ 378 w 444"/>
              <a:gd name="T17" fmla="*/ 362 h 367"/>
              <a:gd name="T18" fmla="*/ 350 w 444"/>
              <a:gd name="T19" fmla="*/ 367 h 367"/>
              <a:gd name="T20" fmla="*/ 272 w 444"/>
              <a:gd name="T21" fmla="*/ 312 h 367"/>
              <a:gd name="T22" fmla="*/ 199 w 444"/>
              <a:gd name="T23" fmla="*/ 112 h 367"/>
              <a:gd name="T24" fmla="*/ 249 w 444"/>
              <a:gd name="T25" fmla="*/ 5 h 367"/>
              <a:gd name="T26" fmla="*/ 277 w 444"/>
              <a:gd name="T27" fmla="*/ 0 h 367"/>
              <a:gd name="T28" fmla="*/ 356 w 444"/>
              <a:gd name="T29" fmla="*/ 55 h 367"/>
              <a:gd name="T30" fmla="*/ 428 w 444"/>
              <a:gd name="T31" fmla="*/ 255 h 367"/>
              <a:gd name="T32" fmla="*/ 378 w 444"/>
              <a:gd name="T33" fmla="*/ 362 h 367"/>
              <a:gd name="T34" fmla="*/ 92 w 444"/>
              <a:gd name="T35" fmla="*/ 117 h 367"/>
              <a:gd name="T36" fmla="*/ 0 w 444"/>
              <a:gd name="T37" fmla="*/ 200 h 367"/>
              <a:gd name="T38" fmla="*/ 183 w 444"/>
              <a:gd name="T39" fmla="*/ 200 h 367"/>
              <a:gd name="T40" fmla="*/ 92 w 444"/>
              <a:gd name="T41" fmla="*/ 117 h 367"/>
              <a:gd name="T42" fmla="*/ 0 w 444"/>
              <a:gd name="T43" fmla="*/ 217 h 367"/>
              <a:gd name="T44" fmla="*/ 183 w 444"/>
              <a:gd name="T45" fmla="*/ 217 h 367"/>
              <a:gd name="T46" fmla="*/ 92 w 444"/>
              <a:gd name="T47" fmla="*/ 300 h 367"/>
              <a:gd name="T48" fmla="*/ 0 w 444"/>
              <a:gd name="T49" fmla="*/ 217 h 3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44" h="367">
                <a:moveTo>
                  <a:pt x="376" y="161"/>
                </a:moveTo>
                <a:lnTo>
                  <a:pt x="340" y="61"/>
                </a:lnTo>
                <a:cubicBezTo>
                  <a:pt x="330" y="35"/>
                  <a:pt x="305" y="17"/>
                  <a:pt x="277" y="17"/>
                </a:cubicBezTo>
                <a:cubicBezTo>
                  <a:pt x="269" y="17"/>
                  <a:pt x="262" y="18"/>
                  <a:pt x="254" y="21"/>
                </a:cubicBezTo>
                <a:cubicBezTo>
                  <a:pt x="238" y="27"/>
                  <a:pt x="224" y="39"/>
                  <a:pt x="217" y="56"/>
                </a:cubicBezTo>
                <a:cubicBezTo>
                  <a:pt x="209" y="72"/>
                  <a:pt x="208" y="90"/>
                  <a:pt x="215" y="106"/>
                </a:cubicBezTo>
                <a:lnTo>
                  <a:pt x="251" y="206"/>
                </a:lnTo>
                <a:lnTo>
                  <a:pt x="376" y="161"/>
                </a:lnTo>
                <a:close/>
                <a:moveTo>
                  <a:pt x="378" y="362"/>
                </a:moveTo>
                <a:cubicBezTo>
                  <a:pt x="369" y="365"/>
                  <a:pt x="359" y="367"/>
                  <a:pt x="350" y="367"/>
                </a:cubicBezTo>
                <a:cubicBezTo>
                  <a:pt x="316" y="367"/>
                  <a:pt x="284" y="346"/>
                  <a:pt x="272" y="312"/>
                </a:cubicBezTo>
                <a:lnTo>
                  <a:pt x="199" y="112"/>
                </a:lnTo>
                <a:cubicBezTo>
                  <a:pt x="183" y="69"/>
                  <a:pt x="205" y="21"/>
                  <a:pt x="249" y="5"/>
                </a:cubicBezTo>
                <a:cubicBezTo>
                  <a:pt x="258" y="2"/>
                  <a:pt x="268" y="0"/>
                  <a:pt x="277" y="0"/>
                </a:cubicBezTo>
                <a:cubicBezTo>
                  <a:pt x="311" y="0"/>
                  <a:pt x="343" y="21"/>
                  <a:pt x="356" y="55"/>
                </a:cubicBezTo>
                <a:lnTo>
                  <a:pt x="428" y="255"/>
                </a:lnTo>
                <a:cubicBezTo>
                  <a:pt x="444" y="298"/>
                  <a:pt x="422" y="346"/>
                  <a:pt x="378" y="362"/>
                </a:cubicBezTo>
                <a:close/>
                <a:moveTo>
                  <a:pt x="92" y="117"/>
                </a:moveTo>
                <a:cubicBezTo>
                  <a:pt x="44" y="117"/>
                  <a:pt x="5" y="154"/>
                  <a:pt x="0" y="200"/>
                </a:cubicBezTo>
                <a:lnTo>
                  <a:pt x="183" y="200"/>
                </a:lnTo>
                <a:cubicBezTo>
                  <a:pt x="179" y="154"/>
                  <a:pt x="139" y="117"/>
                  <a:pt x="92" y="117"/>
                </a:cubicBezTo>
                <a:close/>
                <a:moveTo>
                  <a:pt x="0" y="217"/>
                </a:moveTo>
                <a:lnTo>
                  <a:pt x="183" y="217"/>
                </a:lnTo>
                <a:cubicBezTo>
                  <a:pt x="179" y="264"/>
                  <a:pt x="139" y="300"/>
                  <a:pt x="92" y="300"/>
                </a:cubicBezTo>
                <a:cubicBezTo>
                  <a:pt x="44" y="300"/>
                  <a:pt x="5" y="264"/>
                  <a:pt x="0" y="217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417" name="Gerader Verbinder 416">
            <a:extLst>
              <a:ext uri="{FF2B5EF4-FFF2-40B4-BE49-F238E27FC236}">
                <a16:creationId xmlns:a16="http://schemas.microsoft.com/office/drawing/2014/main" id="{FFC0FD72-F790-290D-7B6A-327CAE88B1FB}"/>
              </a:ext>
            </a:extLst>
          </p:cNvPr>
          <p:cNvCxnSpPr>
            <a:cxnSpLocks/>
          </p:cNvCxnSpPr>
          <p:nvPr/>
        </p:nvCxnSpPr>
        <p:spPr>
          <a:xfrm>
            <a:off x="5146132" y="1630837"/>
            <a:ext cx="0" cy="1499890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8" name="Rectangle 18">
            <a:extLst>
              <a:ext uri="{FF2B5EF4-FFF2-40B4-BE49-F238E27FC236}">
                <a16:creationId xmlns:a16="http://schemas.microsoft.com/office/drawing/2014/main" id="{14B894B5-2990-232B-55FC-CD9864341D4F}"/>
              </a:ext>
            </a:extLst>
          </p:cNvPr>
          <p:cNvSpPr>
            <a:spLocks/>
          </p:cNvSpPr>
          <p:nvPr/>
        </p:nvSpPr>
        <p:spPr>
          <a:xfrm>
            <a:off x="5146133" y="1633551"/>
            <a:ext cx="987968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0" rIns="0" bIns="0" rtlCol="0" anchor="b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</a:rPr>
              <a:t>Clinical </a:t>
            </a:r>
            <a:r>
              <a:rPr kumimoji="0" lang="de-DE" sz="1000" b="1" i="0" u="none" strike="noStrike" kern="1200" cap="none" spc="0" normalizeH="0" baseline="0" err="1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</a:rPr>
              <a:t>Decision</a:t>
            </a:r>
            <a: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</a:rPr>
              <a:t> </a:t>
            </a:r>
            <a:b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</a:rPr>
            </a:br>
            <a: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</a:rPr>
              <a:t>Support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err="1">
                <a:solidFill>
                  <a:srgbClr val="000000"/>
                </a:solidFill>
                <a:latin typeface="Calibri"/>
              </a:rPr>
              <a:t>RAMPmedical</a:t>
            </a:r>
            <a:endParaRPr lang="de-DE" sz="1000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420" name="Gruppieren 419">
            <a:extLst>
              <a:ext uri="{FF2B5EF4-FFF2-40B4-BE49-F238E27FC236}">
                <a16:creationId xmlns:a16="http://schemas.microsoft.com/office/drawing/2014/main" id="{7257178E-199A-7260-7665-AABA31C2B640}"/>
              </a:ext>
            </a:extLst>
          </p:cNvPr>
          <p:cNvGrpSpPr/>
          <p:nvPr/>
        </p:nvGrpSpPr>
        <p:grpSpPr>
          <a:xfrm>
            <a:off x="5529984" y="2824073"/>
            <a:ext cx="1045442" cy="730541"/>
            <a:chOff x="3436509" y="820217"/>
            <a:chExt cx="2518695" cy="1760029"/>
          </a:xfrm>
        </p:grpSpPr>
        <p:grpSp>
          <p:nvGrpSpPr>
            <p:cNvPr id="421" name="Grafik 427">
              <a:extLst>
                <a:ext uri="{FF2B5EF4-FFF2-40B4-BE49-F238E27FC236}">
                  <a16:creationId xmlns:a16="http://schemas.microsoft.com/office/drawing/2014/main" id="{7D5BF55E-58A7-325C-F39D-510C1AB5DD81}"/>
                </a:ext>
              </a:extLst>
            </p:cNvPr>
            <p:cNvGrpSpPr/>
            <p:nvPr/>
          </p:nvGrpSpPr>
          <p:grpSpPr>
            <a:xfrm>
              <a:off x="3436509" y="858126"/>
              <a:ext cx="2073973" cy="1722119"/>
              <a:chOff x="3436509" y="858126"/>
              <a:chExt cx="2073973" cy="1722119"/>
            </a:xfrm>
          </p:grpSpPr>
          <p:grpSp>
            <p:nvGrpSpPr>
              <p:cNvPr id="476" name="Grafik 427">
                <a:extLst>
                  <a:ext uri="{FF2B5EF4-FFF2-40B4-BE49-F238E27FC236}">
                    <a16:creationId xmlns:a16="http://schemas.microsoft.com/office/drawing/2014/main" id="{BC966296-65AC-2793-063B-CC3BED14C36B}"/>
                  </a:ext>
                </a:extLst>
              </p:cNvPr>
              <p:cNvGrpSpPr/>
              <p:nvPr/>
            </p:nvGrpSpPr>
            <p:grpSpPr>
              <a:xfrm>
                <a:off x="3436509" y="858126"/>
                <a:ext cx="2073973" cy="1722119"/>
                <a:chOff x="3436509" y="858126"/>
                <a:chExt cx="2073973" cy="1722119"/>
              </a:xfrm>
            </p:grpSpPr>
            <p:sp>
              <p:nvSpPr>
                <p:cNvPr id="478" name="Freihandform: Form 477">
                  <a:extLst>
                    <a:ext uri="{FF2B5EF4-FFF2-40B4-BE49-F238E27FC236}">
                      <a16:creationId xmlns:a16="http://schemas.microsoft.com/office/drawing/2014/main" id="{55C5E483-CDAC-09C1-7CFA-E0E50E94B5CE}"/>
                    </a:ext>
                  </a:extLst>
                </p:cNvPr>
                <p:cNvSpPr/>
                <p:nvPr/>
              </p:nvSpPr>
              <p:spPr>
                <a:xfrm>
                  <a:off x="3436509" y="858126"/>
                  <a:ext cx="2073973" cy="1289685"/>
                </a:xfrm>
                <a:custGeom>
                  <a:avLst/>
                  <a:gdLst>
                    <a:gd name="connsiteX0" fmla="*/ 0 w 2073973"/>
                    <a:gd name="connsiteY0" fmla="*/ 0 h 1289685"/>
                    <a:gd name="connsiteX1" fmla="*/ 0 w 2073973"/>
                    <a:gd name="connsiteY1" fmla="*/ 1289685 h 1289685"/>
                    <a:gd name="connsiteX2" fmla="*/ 2073974 w 2073973"/>
                    <a:gd name="connsiteY2" fmla="*/ 1289685 h 1289685"/>
                    <a:gd name="connsiteX3" fmla="*/ 2073974 w 2073973"/>
                    <a:gd name="connsiteY3" fmla="*/ 0 h 1289685"/>
                    <a:gd name="connsiteX4" fmla="*/ 0 w 2073973"/>
                    <a:gd name="connsiteY4" fmla="*/ 0 h 1289685"/>
                    <a:gd name="connsiteX5" fmla="*/ 2034540 w 2073973"/>
                    <a:gd name="connsiteY5" fmla="*/ 1250252 h 1289685"/>
                    <a:gd name="connsiteX6" fmla="*/ 39338 w 2073973"/>
                    <a:gd name="connsiteY6" fmla="*/ 1250252 h 1289685"/>
                    <a:gd name="connsiteX7" fmla="*/ 39338 w 2073973"/>
                    <a:gd name="connsiteY7" fmla="*/ 39434 h 1289685"/>
                    <a:gd name="connsiteX8" fmla="*/ 2034540 w 2073973"/>
                    <a:gd name="connsiteY8" fmla="*/ 39434 h 1289685"/>
                    <a:gd name="connsiteX9" fmla="*/ 2034540 w 2073973"/>
                    <a:gd name="connsiteY9" fmla="*/ 1250252 h 12896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073973" h="1289685">
                      <a:moveTo>
                        <a:pt x="0" y="0"/>
                      </a:moveTo>
                      <a:lnTo>
                        <a:pt x="0" y="1289685"/>
                      </a:lnTo>
                      <a:lnTo>
                        <a:pt x="2073974" y="1289685"/>
                      </a:lnTo>
                      <a:lnTo>
                        <a:pt x="2073974" y="0"/>
                      </a:lnTo>
                      <a:lnTo>
                        <a:pt x="0" y="0"/>
                      </a:lnTo>
                      <a:close/>
                      <a:moveTo>
                        <a:pt x="2034540" y="1250252"/>
                      </a:moveTo>
                      <a:lnTo>
                        <a:pt x="39338" y="1250252"/>
                      </a:lnTo>
                      <a:lnTo>
                        <a:pt x="39338" y="39434"/>
                      </a:lnTo>
                      <a:lnTo>
                        <a:pt x="2034540" y="39434"/>
                      </a:lnTo>
                      <a:lnTo>
                        <a:pt x="2034540" y="1250252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79" name="Freihandform: Form 478">
                  <a:extLst>
                    <a:ext uri="{FF2B5EF4-FFF2-40B4-BE49-F238E27FC236}">
                      <a16:creationId xmlns:a16="http://schemas.microsoft.com/office/drawing/2014/main" id="{DDE9E55F-3BC4-9FC8-B158-F035981F146F}"/>
                    </a:ext>
                  </a:extLst>
                </p:cNvPr>
                <p:cNvSpPr/>
                <p:nvPr/>
              </p:nvSpPr>
              <p:spPr>
                <a:xfrm>
                  <a:off x="4269851" y="2132095"/>
                  <a:ext cx="407289" cy="448151"/>
                </a:xfrm>
                <a:custGeom>
                  <a:avLst/>
                  <a:gdLst>
                    <a:gd name="connsiteX0" fmla="*/ 268510 w 407289"/>
                    <a:gd name="connsiteY0" fmla="*/ 448151 h 448151"/>
                    <a:gd name="connsiteX1" fmla="*/ 0 w 407289"/>
                    <a:gd name="connsiteY1" fmla="*/ 448151 h 448151"/>
                    <a:gd name="connsiteX2" fmla="*/ 0 w 407289"/>
                    <a:gd name="connsiteY2" fmla="*/ 0 h 448151"/>
                    <a:gd name="connsiteX3" fmla="*/ 407289 w 407289"/>
                    <a:gd name="connsiteY3" fmla="*/ 0 h 448151"/>
                    <a:gd name="connsiteX4" fmla="*/ 407289 w 407289"/>
                    <a:gd name="connsiteY4" fmla="*/ 448151 h 448151"/>
                    <a:gd name="connsiteX5" fmla="*/ 306610 w 407289"/>
                    <a:gd name="connsiteY5" fmla="*/ 448151 h 4481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07289" h="448151">
                      <a:moveTo>
                        <a:pt x="268510" y="448151"/>
                      </a:moveTo>
                      <a:lnTo>
                        <a:pt x="0" y="448151"/>
                      </a:lnTo>
                      <a:lnTo>
                        <a:pt x="0" y="0"/>
                      </a:lnTo>
                      <a:lnTo>
                        <a:pt x="407289" y="0"/>
                      </a:lnTo>
                      <a:lnTo>
                        <a:pt x="407289" y="448151"/>
                      </a:lnTo>
                      <a:lnTo>
                        <a:pt x="306610" y="448151"/>
                      </a:lnTo>
                    </a:path>
                  </a:pathLst>
                </a:custGeom>
                <a:solidFill>
                  <a:srgbClr val="40404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80" name="Freihandform: Form 479">
                  <a:extLst>
                    <a:ext uri="{FF2B5EF4-FFF2-40B4-BE49-F238E27FC236}">
                      <a16:creationId xmlns:a16="http://schemas.microsoft.com/office/drawing/2014/main" id="{B281B73C-67D1-740B-2057-88B3B91C0F58}"/>
                    </a:ext>
                  </a:extLst>
                </p:cNvPr>
                <p:cNvSpPr/>
                <p:nvPr/>
              </p:nvSpPr>
              <p:spPr>
                <a:xfrm>
                  <a:off x="4269851" y="2147811"/>
                  <a:ext cx="407289" cy="74961"/>
                </a:xfrm>
                <a:custGeom>
                  <a:avLst/>
                  <a:gdLst>
                    <a:gd name="connsiteX0" fmla="*/ 0 w 407289"/>
                    <a:gd name="connsiteY0" fmla="*/ 0 h 74961"/>
                    <a:gd name="connsiteX1" fmla="*/ 407289 w 407289"/>
                    <a:gd name="connsiteY1" fmla="*/ 0 h 74961"/>
                    <a:gd name="connsiteX2" fmla="*/ 407289 w 407289"/>
                    <a:gd name="connsiteY2" fmla="*/ 74962 h 74961"/>
                    <a:gd name="connsiteX3" fmla="*/ 0 w 407289"/>
                    <a:gd name="connsiteY3" fmla="*/ 74962 h 74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7289" h="74961">
                      <a:moveTo>
                        <a:pt x="0" y="0"/>
                      </a:moveTo>
                      <a:lnTo>
                        <a:pt x="407289" y="0"/>
                      </a:lnTo>
                      <a:lnTo>
                        <a:pt x="407289" y="74962"/>
                      </a:lnTo>
                      <a:lnTo>
                        <a:pt x="0" y="74962"/>
                      </a:lnTo>
                      <a:close/>
                    </a:path>
                  </a:pathLst>
                </a:custGeom>
                <a:solidFill>
                  <a:srgbClr val="1E1E1E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477" name="Freihandform: Form 476">
                <a:extLst>
                  <a:ext uri="{FF2B5EF4-FFF2-40B4-BE49-F238E27FC236}">
                    <a16:creationId xmlns:a16="http://schemas.microsoft.com/office/drawing/2014/main" id="{CD5EEFDE-243E-AB68-36DE-4EAAF39B0E76}"/>
                  </a:ext>
                </a:extLst>
              </p:cNvPr>
              <p:cNvSpPr/>
              <p:nvPr/>
            </p:nvSpPr>
            <p:spPr>
              <a:xfrm>
                <a:off x="3475942" y="896321"/>
                <a:ext cx="1995106" cy="1211294"/>
              </a:xfrm>
              <a:custGeom>
                <a:avLst/>
                <a:gdLst>
                  <a:gd name="connsiteX0" fmla="*/ 0 w 1995106"/>
                  <a:gd name="connsiteY0" fmla="*/ 0 h 1211294"/>
                  <a:gd name="connsiteX1" fmla="*/ 1995107 w 1995106"/>
                  <a:gd name="connsiteY1" fmla="*/ 0 h 1211294"/>
                  <a:gd name="connsiteX2" fmla="*/ 1995107 w 1995106"/>
                  <a:gd name="connsiteY2" fmla="*/ 1211294 h 1211294"/>
                  <a:gd name="connsiteX3" fmla="*/ 0 w 1995106"/>
                  <a:gd name="connsiteY3" fmla="*/ 1211294 h 1211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95106" h="1211294">
                    <a:moveTo>
                      <a:pt x="0" y="0"/>
                    </a:moveTo>
                    <a:lnTo>
                      <a:pt x="1995107" y="0"/>
                    </a:lnTo>
                    <a:lnTo>
                      <a:pt x="1995107" y="1211294"/>
                    </a:lnTo>
                    <a:lnTo>
                      <a:pt x="0" y="1211294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422" name="Freihandform: Form 421">
              <a:extLst>
                <a:ext uri="{FF2B5EF4-FFF2-40B4-BE49-F238E27FC236}">
                  <a16:creationId xmlns:a16="http://schemas.microsoft.com/office/drawing/2014/main" id="{C0DEDC2A-67DA-FDD0-31E0-445D018EB5A2}"/>
                </a:ext>
              </a:extLst>
            </p:cNvPr>
            <p:cNvSpPr/>
            <p:nvPr/>
          </p:nvSpPr>
          <p:spPr>
            <a:xfrm>
              <a:off x="3635581" y="1035386"/>
              <a:ext cx="1153477" cy="890873"/>
            </a:xfrm>
            <a:custGeom>
              <a:avLst/>
              <a:gdLst>
                <a:gd name="connsiteX0" fmla="*/ 0 w 1153477"/>
                <a:gd name="connsiteY0" fmla="*/ 0 h 890873"/>
                <a:gd name="connsiteX1" fmla="*/ 1153478 w 1153477"/>
                <a:gd name="connsiteY1" fmla="*/ 0 h 890873"/>
                <a:gd name="connsiteX2" fmla="*/ 1153478 w 1153477"/>
                <a:gd name="connsiteY2" fmla="*/ 890873 h 890873"/>
                <a:gd name="connsiteX3" fmla="*/ 0 w 1153477"/>
                <a:gd name="connsiteY3" fmla="*/ 890873 h 89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3477" h="890873">
                  <a:moveTo>
                    <a:pt x="0" y="0"/>
                  </a:moveTo>
                  <a:lnTo>
                    <a:pt x="1153478" y="0"/>
                  </a:lnTo>
                  <a:lnTo>
                    <a:pt x="1153478" y="890873"/>
                  </a:lnTo>
                  <a:lnTo>
                    <a:pt x="0" y="890873"/>
                  </a:lnTo>
                  <a:close/>
                </a:path>
              </a:pathLst>
            </a:custGeom>
            <a:solidFill>
              <a:srgbClr val="FFFFFF"/>
            </a:solidFill>
            <a:ln w="38100" cap="flat">
              <a:solidFill>
                <a:srgbClr val="40404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423" name="Grafik 427">
              <a:extLst>
                <a:ext uri="{FF2B5EF4-FFF2-40B4-BE49-F238E27FC236}">
                  <a16:creationId xmlns:a16="http://schemas.microsoft.com/office/drawing/2014/main" id="{53A5568F-4F42-7FAF-8CD8-63BE7FBC9F74}"/>
                </a:ext>
              </a:extLst>
            </p:cNvPr>
            <p:cNvGrpSpPr/>
            <p:nvPr/>
          </p:nvGrpSpPr>
          <p:grpSpPr>
            <a:xfrm>
              <a:off x="3897804" y="1096260"/>
              <a:ext cx="662082" cy="750942"/>
              <a:chOff x="3897804" y="1096260"/>
              <a:chExt cx="662082" cy="750942"/>
            </a:xfrm>
          </p:grpSpPr>
          <p:sp>
            <p:nvSpPr>
              <p:cNvPr id="451" name="Freihandform: Form 450">
                <a:extLst>
                  <a:ext uri="{FF2B5EF4-FFF2-40B4-BE49-F238E27FC236}">
                    <a16:creationId xmlns:a16="http://schemas.microsoft.com/office/drawing/2014/main" id="{AF93FF33-4DF5-609B-0EE1-75C5DF8AFAB5}"/>
                  </a:ext>
                </a:extLst>
              </p:cNvPr>
              <p:cNvSpPr/>
              <p:nvPr/>
            </p:nvSpPr>
            <p:spPr>
              <a:xfrm>
                <a:off x="4022443" y="1104040"/>
                <a:ext cx="436646" cy="406485"/>
              </a:xfrm>
              <a:custGeom>
                <a:avLst/>
                <a:gdLst>
                  <a:gd name="connsiteX0" fmla="*/ 187591 w 436646"/>
                  <a:gd name="connsiteY0" fmla="*/ 688 h 406485"/>
                  <a:gd name="connsiteX1" fmla="*/ 103580 w 436646"/>
                  <a:gd name="connsiteY1" fmla="*/ 40217 h 406485"/>
                  <a:gd name="connsiteX2" fmla="*/ 7759 w 436646"/>
                  <a:gd name="connsiteY2" fmla="*/ 160041 h 406485"/>
                  <a:gd name="connsiteX3" fmla="*/ 35667 w 436646"/>
                  <a:gd name="connsiteY3" fmla="*/ 386355 h 406485"/>
                  <a:gd name="connsiteX4" fmla="*/ 426478 w 436646"/>
                  <a:gd name="connsiteY4" fmla="*/ 360066 h 406485"/>
                  <a:gd name="connsiteX5" fmla="*/ 386663 w 436646"/>
                  <a:gd name="connsiteY5" fmla="*/ 211953 h 406485"/>
                  <a:gd name="connsiteX6" fmla="*/ 187591 w 436646"/>
                  <a:gd name="connsiteY6" fmla="*/ 783 h 406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6646" h="406485">
                    <a:moveTo>
                      <a:pt x="187591" y="688"/>
                    </a:moveTo>
                    <a:cubicBezTo>
                      <a:pt x="153491" y="5355"/>
                      <a:pt x="125393" y="18500"/>
                      <a:pt x="103580" y="40217"/>
                    </a:cubicBezTo>
                    <a:cubicBezTo>
                      <a:pt x="103580" y="40217"/>
                      <a:pt x="25380" y="40788"/>
                      <a:pt x="7759" y="160041"/>
                    </a:cubicBezTo>
                    <a:cubicBezTo>
                      <a:pt x="-8148" y="268150"/>
                      <a:pt x="44" y="316537"/>
                      <a:pt x="35667" y="386355"/>
                    </a:cubicBezTo>
                    <a:cubicBezTo>
                      <a:pt x="254742" y="443791"/>
                      <a:pt x="426478" y="360066"/>
                      <a:pt x="426478" y="360066"/>
                    </a:cubicBezTo>
                    <a:cubicBezTo>
                      <a:pt x="426478" y="360066"/>
                      <a:pt x="466864" y="288819"/>
                      <a:pt x="386663" y="211953"/>
                    </a:cubicBezTo>
                    <a:cubicBezTo>
                      <a:pt x="329609" y="157279"/>
                      <a:pt x="305891" y="-12933"/>
                      <a:pt x="187591" y="783"/>
                    </a:cubicBezTo>
                    <a:close/>
                  </a:path>
                </a:pathLst>
              </a:custGeom>
              <a:solidFill>
                <a:srgbClr val="4B2E1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452" name="Grafik 427">
                <a:extLst>
                  <a:ext uri="{FF2B5EF4-FFF2-40B4-BE49-F238E27FC236}">
                    <a16:creationId xmlns:a16="http://schemas.microsoft.com/office/drawing/2014/main" id="{5A77FD5C-1457-846A-EE8C-F886A509DD57}"/>
                  </a:ext>
                </a:extLst>
              </p:cNvPr>
              <p:cNvGrpSpPr/>
              <p:nvPr/>
            </p:nvGrpSpPr>
            <p:grpSpPr>
              <a:xfrm>
                <a:off x="4137834" y="1352188"/>
                <a:ext cx="181070" cy="337851"/>
                <a:chOff x="4137834" y="1352188"/>
                <a:chExt cx="181070" cy="337851"/>
              </a:xfrm>
            </p:grpSpPr>
            <p:sp>
              <p:nvSpPr>
                <p:cNvPr id="474" name="Freihandform: Form 473">
                  <a:extLst>
                    <a:ext uri="{FF2B5EF4-FFF2-40B4-BE49-F238E27FC236}">
                      <a16:creationId xmlns:a16="http://schemas.microsoft.com/office/drawing/2014/main" id="{A0946F4D-EA82-B847-87CB-D76EF5785446}"/>
                    </a:ext>
                  </a:extLst>
                </p:cNvPr>
                <p:cNvSpPr/>
                <p:nvPr/>
              </p:nvSpPr>
              <p:spPr>
                <a:xfrm>
                  <a:off x="4137834" y="1352188"/>
                  <a:ext cx="181070" cy="337851"/>
                </a:xfrm>
                <a:custGeom>
                  <a:avLst/>
                  <a:gdLst>
                    <a:gd name="connsiteX0" fmla="*/ 0 w 181070"/>
                    <a:gd name="connsiteY0" fmla="*/ 289846 h 337851"/>
                    <a:gd name="connsiteX1" fmla="*/ 181070 w 181070"/>
                    <a:gd name="connsiteY1" fmla="*/ 289846 h 337851"/>
                    <a:gd name="connsiteX2" fmla="*/ 181070 w 181070"/>
                    <a:gd name="connsiteY2" fmla="*/ 56293 h 337851"/>
                    <a:gd name="connsiteX3" fmla="*/ 0 w 181070"/>
                    <a:gd name="connsiteY3" fmla="*/ 56293 h 337851"/>
                    <a:gd name="connsiteX4" fmla="*/ 0 w 181070"/>
                    <a:gd name="connsiteY4" fmla="*/ 289846 h 337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1070" h="337851">
                      <a:moveTo>
                        <a:pt x="0" y="289846"/>
                      </a:moveTo>
                      <a:cubicBezTo>
                        <a:pt x="31433" y="353568"/>
                        <a:pt x="144018" y="354140"/>
                        <a:pt x="181070" y="289846"/>
                      </a:cubicBezTo>
                      <a:lnTo>
                        <a:pt x="181070" y="56293"/>
                      </a:lnTo>
                      <a:cubicBezTo>
                        <a:pt x="181070" y="-18764"/>
                        <a:pt x="0" y="-18764"/>
                        <a:pt x="0" y="56293"/>
                      </a:cubicBezTo>
                      <a:lnTo>
                        <a:pt x="0" y="289846"/>
                      </a:lnTo>
                      <a:close/>
                    </a:path>
                  </a:pathLst>
                </a:custGeom>
                <a:solidFill>
                  <a:srgbClr val="C0906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75" name="Freihandform: Form 474">
                  <a:extLst>
                    <a:ext uri="{FF2B5EF4-FFF2-40B4-BE49-F238E27FC236}">
                      <a16:creationId xmlns:a16="http://schemas.microsoft.com/office/drawing/2014/main" id="{A1DFE96D-C460-D0B6-AD54-877296CC55AA}"/>
                    </a:ext>
                  </a:extLst>
                </p:cNvPr>
                <p:cNvSpPr/>
                <p:nvPr/>
              </p:nvSpPr>
              <p:spPr>
                <a:xfrm>
                  <a:off x="4137834" y="1352331"/>
                  <a:ext cx="181070" cy="337613"/>
                </a:xfrm>
                <a:custGeom>
                  <a:avLst/>
                  <a:gdLst>
                    <a:gd name="connsiteX0" fmla="*/ 181070 w 181070"/>
                    <a:gd name="connsiteY0" fmla="*/ 55959 h 337613"/>
                    <a:gd name="connsiteX1" fmla="*/ 157163 w 181070"/>
                    <a:gd name="connsiteY1" fmla="*/ 133207 h 337613"/>
                    <a:gd name="connsiteX2" fmla="*/ 82868 w 181070"/>
                    <a:gd name="connsiteY2" fmla="*/ 213217 h 337613"/>
                    <a:gd name="connsiteX3" fmla="*/ 33623 w 181070"/>
                    <a:gd name="connsiteY3" fmla="*/ 247602 h 337613"/>
                    <a:gd name="connsiteX4" fmla="*/ 87440 w 181070"/>
                    <a:gd name="connsiteY4" fmla="*/ 337614 h 337613"/>
                    <a:gd name="connsiteX5" fmla="*/ 0 w 181070"/>
                    <a:gd name="connsiteY5" fmla="*/ 289322 h 337613"/>
                    <a:gd name="connsiteX6" fmla="*/ 0 w 181070"/>
                    <a:gd name="connsiteY6" fmla="*/ 55864 h 337613"/>
                    <a:gd name="connsiteX7" fmla="*/ 181070 w 181070"/>
                    <a:gd name="connsiteY7" fmla="*/ 55864 h 3376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81070" h="337613">
                      <a:moveTo>
                        <a:pt x="181070" y="55959"/>
                      </a:moveTo>
                      <a:lnTo>
                        <a:pt x="157163" y="133207"/>
                      </a:lnTo>
                      <a:cubicBezTo>
                        <a:pt x="157163" y="133207"/>
                        <a:pt x="141827" y="210169"/>
                        <a:pt x="82868" y="213217"/>
                      </a:cubicBezTo>
                      <a:cubicBezTo>
                        <a:pt x="47625" y="215027"/>
                        <a:pt x="33719" y="228552"/>
                        <a:pt x="33623" y="247602"/>
                      </a:cubicBezTo>
                      <a:cubicBezTo>
                        <a:pt x="33052" y="322755"/>
                        <a:pt x="99346" y="317992"/>
                        <a:pt x="87440" y="337614"/>
                      </a:cubicBezTo>
                      <a:cubicBezTo>
                        <a:pt x="27337" y="335994"/>
                        <a:pt x="5906" y="301419"/>
                        <a:pt x="0" y="289322"/>
                      </a:cubicBezTo>
                      <a:lnTo>
                        <a:pt x="0" y="55864"/>
                      </a:lnTo>
                      <a:cubicBezTo>
                        <a:pt x="0" y="-18621"/>
                        <a:pt x="181070" y="-18621"/>
                        <a:pt x="181070" y="55864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453" name="Freihandform: Form 452">
                <a:extLst>
                  <a:ext uri="{FF2B5EF4-FFF2-40B4-BE49-F238E27FC236}">
                    <a16:creationId xmlns:a16="http://schemas.microsoft.com/office/drawing/2014/main" id="{BE088A39-6A9E-B60B-DA86-E667932CC791}"/>
                  </a:ext>
                </a:extLst>
              </p:cNvPr>
              <p:cNvSpPr/>
              <p:nvPr/>
            </p:nvSpPr>
            <p:spPr>
              <a:xfrm>
                <a:off x="3897804" y="1543250"/>
                <a:ext cx="662082" cy="303952"/>
              </a:xfrm>
              <a:custGeom>
                <a:avLst/>
                <a:gdLst>
                  <a:gd name="connsiteX0" fmla="*/ 662083 w 662082"/>
                  <a:gd name="connsiteY0" fmla="*/ 141075 h 303952"/>
                  <a:gd name="connsiteX1" fmla="*/ 464153 w 662082"/>
                  <a:gd name="connsiteY1" fmla="*/ 64208 h 303952"/>
                  <a:gd name="connsiteX2" fmla="*/ 443198 w 662082"/>
                  <a:gd name="connsiteY2" fmla="*/ 44587 h 303952"/>
                  <a:gd name="connsiteX3" fmla="*/ 429482 w 662082"/>
                  <a:gd name="connsiteY3" fmla="*/ 9058 h 303952"/>
                  <a:gd name="connsiteX4" fmla="*/ 418148 w 662082"/>
                  <a:gd name="connsiteY4" fmla="*/ 4105 h 303952"/>
                  <a:gd name="connsiteX5" fmla="*/ 240030 w 662082"/>
                  <a:gd name="connsiteY5" fmla="*/ 676 h 303952"/>
                  <a:gd name="connsiteX6" fmla="*/ 230505 w 662082"/>
                  <a:gd name="connsiteY6" fmla="*/ 5439 h 303952"/>
                  <a:gd name="connsiteX7" fmla="*/ 222028 w 662082"/>
                  <a:gd name="connsiteY7" fmla="*/ 39443 h 303952"/>
                  <a:gd name="connsiteX8" fmla="*/ 195644 w 662082"/>
                  <a:gd name="connsiteY8" fmla="*/ 64303 h 303952"/>
                  <a:gd name="connsiteX9" fmla="*/ 0 w 662082"/>
                  <a:gd name="connsiteY9" fmla="*/ 144980 h 303952"/>
                  <a:gd name="connsiteX10" fmla="*/ 329470 w 662082"/>
                  <a:gd name="connsiteY10" fmla="*/ 303952 h 303952"/>
                  <a:gd name="connsiteX11" fmla="*/ 661892 w 662082"/>
                  <a:gd name="connsiteY11" fmla="*/ 141170 h 303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62082" h="303952">
                    <a:moveTo>
                      <a:pt x="662083" y="141075"/>
                    </a:moveTo>
                    <a:cubicBezTo>
                      <a:pt x="610553" y="110690"/>
                      <a:pt x="539496" y="111833"/>
                      <a:pt x="464153" y="64208"/>
                    </a:cubicBezTo>
                    <a:cubicBezTo>
                      <a:pt x="454723" y="58303"/>
                      <a:pt x="447580" y="50302"/>
                      <a:pt x="443198" y="44587"/>
                    </a:cubicBezTo>
                    <a:cubicBezTo>
                      <a:pt x="435292" y="31061"/>
                      <a:pt x="431387" y="17917"/>
                      <a:pt x="429482" y="9058"/>
                    </a:cubicBezTo>
                    <a:cubicBezTo>
                      <a:pt x="428339" y="4010"/>
                      <a:pt x="422719" y="1534"/>
                      <a:pt x="418148" y="4105"/>
                    </a:cubicBezTo>
                    <a:cubicBezTo>
                      <a:pt x="362236" y="36871"/>
                      <a:pt x="300419" y="30204"/>
                      <a:pt x="240030" y="676"/>
                    </a:cubicBezTo>
                    <a:cubicBezTo>
                      <a:pt x="236029" y="-1229"/>
                      <a:pt x="231267" y="1057"/>
                      <a:pt x="230505" y="5439"/>
                    </a:cubicBezTo>
                    <a:cubicBezTo>
                      <a:pt x="229076" y="13345"/>
                      <a:pt x="226504" y="25727"/>
                      <a:pt x="222028" y="39443"/>
                    </a:cubicBezTo>
                    <a:cubicBezTo>
                      <a:pt x="220313" y="42586"/>
                      <a:pt x="211550" y="57826"/>
                      <a:pt x="195644" y="64303"/>
                    </a:cubicBezTo>
                    <a:cubicBezTo>
                      <a:pt x="108680" y="99546"/>
                      <a:pt x="56198" y="117643"/>
                      <a:pt x="0" y="144980"/>
                    </a:cubicBezTo>
                    <a:cubicBezTo>
                      <a:pt x="77152" y="241849"/>
                      <a:pt x="196025" y="303952"/>
                      <a:pt x="329470" y="303952"/>
                    </a:cubicBezTo>
                    <a:cubicBezTo>
                      <a:pt x="462915" y="303952"/>
                      <a:pt x="584930" y="240230"/>
                      <a:pt x="661892" y="141170"/>
                    </a:cubicBezTo>
                    <a:close/>
                  </a:path>
                </a:pathLst>
              </a:custGeom>
              <a:solidFill>
                <a:srgbClr val="40404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454" name="Grafik 427">
                <a:extLst>
                  <a:ext uri="{FF2B5EF4-FFF2-40B4-BE49-F238E27FC236}">
                    <a16:creationId xmlns:a16="http://schemas.microsoft.com/office/drawing/2014/main" id="{5C4F3381-5CA8-0CB1-BFB8-A3CD89EB3BCE}"/>
                  </a:ext>
                </a:extLst>
              </p:cNvPr>
              <p:cNvGrpSpPr/>
              <p:nvPr/>
            </p:nvGrpSpPr>
            <p:grpSpPr>
              <a:xfrm>
                <a:off x="4039048" y="1109015"/>
                <a:ext cx="378840" cy="426529"/>
                <a:chOff x="4039048" y="1109015"/>
                <a:chExt cx="378840" cy="426529"/>
              </a:xfrm>
              <a:solidFill>
                <a:srgbClr val="C09066"/>
              </a:solidFill>
            </p:grpSpPr>
            <p:sp>
              <p:nvSpPr>
                <p:cNvPr id="470" name="Freihandform: Form 469">
                  <a:extLst>
                    <a:ext uri="{FF2B5EF4-FFF2-40B4-BE49-F238E27FC236}">
                      <a16:creationId xmlns:a16="http://schemas.microsoft.com/office/drawing/2014/main" id="{40D53AC5-07B1-2013-A3B5-60736FF786AC}"/>
                    </a:ext>
                  </a:extLst>
                </p:cNvPr>
                <p:cNvSpPr/>
                <p:nvPr/>
              </p:nvSpPr>
              <p:spPr>
                <a:xfrm>
                  <a:off x="4104972" y="1209491"/>
                  <a:ext cx="247080" cy="326052"/>
                </a:xfrm>
                <a:custGeom>
                  <a:avLst/>
                  <a:gdLst>
                    <a:gd name="connsiteX0" fmla="*/ 246318 w 247080"/>
                    <a:gd name="connsiteY0" fmla="*/ 110121 h 326052"/>
                    <a:gd name="connsiteX1" fmla="*/ 214028 w 247080"/>
                    <a:gd name="connsiteY1" fmla="*/ 28682 h 326052"/>
                    <a:gd name="connsiteX2" fmla="*/ 123540 w 247080"/>
                    <a:gd name="connsiteY2" fmla="*/ 12 h 326052"/>
                    <a:gd name="connsiteX3" fmla="*/ 33053 w 247080"/>
                    <a:gd name="connsiteY3" fmla="*/ 28682 h 326052"/>
                    <a:gd name="connsiteX4" fmla="*/ 763 w 247080"/>
                    <a:gd name="connsiteY4" fmla="*/ 110121 h 326052"/>
                    <a:gd name="connsiteX5" fmla="*/ 1239 w 247080"/>
                    <a:gd name="connsiteY5" fmla="*/ 187940 h 326052"/>
                    <a:gd name="connsiteX6" fmla="*/ 38006 w 247080"/>
                    <a:gd name="connsiteY6" fmla="*/ 274713 h 326052"/>
                    <a:gd name="connsiteX7" fmla="*/ 123540 w 247080"/>
                    <a:gd name="connsiteY7" fmla="*/ 326053 h 326052"/>
                    <a:gd name="connsiteX8" fmla="*/ 209075 w 247080"/>
                    <a:gd name="connsiteY8" fmla="*/ 274713 h 326052"/>
                    <a:gd name="connsiteX9" fmla="*/ 245841 w 247080"/>
                    <a:gd name="connsiteY9" fmla="*/ 187940 h 326052"/>
                    <a:gd name="connsiteX10" fmla="*/ 246318 w 247080"/>
                    <a:gd name="connsiteY10" fmla="*/ 110121 h 3260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47080" h="326052">
                      <a:moveTo>
                        <a:pt x="246318" y="110121"/>
                      </a:moveTo>
                      <a:cubicBezTo>
                        <a:pt x="246318" y="110121"/>
                        <a:pt x="243365" y="61543"/>
                        <a:pt x="214028" y="28682"/>
                      </a:cubicBezTo>
                      <a:cubicBezTo>
                        <a:pt x="189834" y="1631"/>
                        <a:pt x="140209" y="-179"/>
                        <a:pt x="123540" y="12"/>
                      </a:cubicBezTo>
                      <a:cubicBezTo>
                        <a:pt x="106776" y="-179"/>
                        <a:pt x="57246" y="1631"/>
                        <a:pt x="33053" y="28682"/>
                      </a:cubicBezTo>
                      <a:cubicBezTo>
                        <a:pt x="3716" y="61543"/>
                        <a:pt x="763" y="110121"/>
                        <a:pt x="763" y="110121"/>
                      </a:cubicBezTo>
                      <a:cubicBezTo>
                        <a:pt x="763" y="110121"/>
                        <a:pt x="-1237" y="166223"/>
                        <a:pt x="1239" y="187940"/>
                      </a:cubicBezTo>
                      <a:cubicBezTo>
                        <a:pt x="3716" y="209657"/>
                        <a:pt x="1144" y="239375"/>
                        <a:pt x="38006" y="274713"/>
                      </a:cubicBezTo>
                      <a:cubicBezTo>
                        <a:pt x="73915" y="309193"/>
                        <a:pt x="98585" y="325291"/>
                        <a:pt x="123540" y="326053"/>
                      </a:cubicBezTo>
                      <a:cubicBezTo>
                        <a:pt x="148496" y="325291"/>
                        <a:pt x="173070" y="309193"/>
                        <a:pt x="209075" y="274713"/>
                      </a:cubicBezTo>
                      <a:cubicBezTo>
                        <a:pt x="245937" y="239375"/>
                        <a:pt x="243270" y="209657"/>
                        <a:pt x="245841" y="187940"/>
                      </a:cubicBezTo>
                      <a:cubicBezTo>
                        <a:pt x="248318" y="166223"/>
                        <a:pt x="246318" y="110121"/>
                        <a:pt x="246318" y="110121"/>
                      </a:cubicBezTo>
                      <a:close/>
                    </a:path>
                  </a:pathLst>
                </a:custGeom>
                <a:solidFill>
                  <a:srgbClr val="C0906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71" name="Freihandform: Form 470">
                  <a:extLst>
                    <a:ext uri="{FF2B5EF4-FFF2-40B4-BE49-F238E27FC236}">
                      <a16:creationId xmlns:a16="http://schemas.microsoft.com/office/drawing/2014/main" id="{10173C2F-F196-602C-3853-55F7F88744B8}"/>
                    </a:ext>
                  </a:extLst>
                </p:cNvPr>
                <p:cNvSpPr/>
                <p:nvPr/>
              </p:nvSpPr>
              <p:spPr>
                <a:xfrm rot="-3581400">
                  <a:off x="4292461" y="1330231"/>
                  <a:ext cx="119062" cy="83057"/>
                </a:xfrm>
                <a:custGeom>
                  <a:avLst/>
                  <a:gdLst>
                    <a:gd name="connsiteX0" fmla="*/ 119062 w 119062"/>
                    <a:gd name="connsiteY0" fmla="*/ 41529 h 83057"/>
                    <a:gd name="connsiteX1" fmla="*/ 59531 w 119062"/>
                    <a:gd name="connsiteY1" fmla="*/ 83058 h 83057"/>
                    <a:gd name="connsiteX2" fmla="*/ 0 w 119062"/>
                    <a:gd name="connsiteY2" fmla="*/ 41529 h 83057"/>
                    <a:gd name="connsiteX3" fmla="*/ 59531 w 119062"/>
                    <a:gd name="connsiteY3" fmla="*/ 0 h 83057"/>
                    <a:gd name="connsiteX4" fmla="*/ 119062 w 119062"/>
                    <a:gd name="connsiteY4" fmla="*/ 41529 h 83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9062" h="83057">
                      <a:moveTo>
                        <a:pt x="119062" y="41529"/>
                      </a:moveTo>
                      <a:cubicBezTo>
                        <a:pt x="119062" y="64465"/>
                        <a:pt x="92409" y="83058"/>
                        <a:pt x="59531" y="83058"/>
                      </a:cubicBezTo>
                      <a:cubicBezTo>
                        <a:pt x="26653" y="83058"/>
                        <a:pt x="0" y="64465"/>
                        <a:pt x="0" y="41529"/>
                      </a:cubicBezTo>
                      <a:cubicBezTo>
                        <a:pt x="0" y="18593"/>
                        <a:pt x="26653" y="0"/>
                        <a:pt x="59531" y="0"/>
                      </a:cubicBezTo>
                      <a:cubicBezTo>
                        <a:pt x="92409" y="0"/>
                        <a:pt x="119062" y="18593"/>
                        <a:pt x="119062" y="41529"/>
                      </a:cubicBezTo>
                      <a:close/>
                    </a:path>
                  </a:pathLst>
                </a:custGeom>
                <a:solidFill>
                  <a:srgbClr val="C0906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72" name="Freihandform: Form 471">
                  <a:extLst>
                    <a:ext uri="{FF2B5EF4-FFF2-40B4-BE49-F238E27FC236}">
                      <a16:creationId xmlns:a16="http://schemas.microsoft.com/office/drawing/2014/main" id="{8790C382-4CD5-38F2-FEE0-DDA4F1BDACA6}"/>
                    </a:ext>
                  </a:extLst>
                </p:cNvPr>
                <p:cNvSpPr/>
                <p:nvPr/>
              </p:nvSpPr>
              <p:spPr>
                <a:xfrm rot="-1416000">
                  <a:off x="4059147" y="1312890"/>
                  <a:ext cx="83820" cy="117919"/>
                </a:xfrm>
                <a:custGeom>
                  <a:avLst/>
                  <a:gdLst>
                    <a:gd name="connsiteX0" fmla="*/ 83820 w 83820"/>
                    <a:gd name="connsiteY0" fmla="*/ 58960 h 117919"/>
                    <a:gd name="connsiteX1" fmla="*/ 41910 w 83820"/>
                    <a:gd name="connsiteY1" fmla="*/ 117920 h 117919"/>
                    <a:gd name="connsiteX2" fmla="*/ 0 w 83820"/>
                    <a:gd name="connsiteY2" fmla="*/ 58960 h 117919"/>
                    <a:gd name="connsiteX3" fmla="*/ 41910 w 83820"/>
                    <a:gd name="connsiteY3" fmla="*/ 0 h 117919"/>
                    <a:gd name="connsiteX4" fmla="*/ 83820 w 83820"/>
                    <a:gd name="connsiteY4" fmla="*/ 58960 h 1179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3820" h="117919">
                      <a:moveTo>
                        <a:pt x="83820" y="58960"/>
                      </a:moveTo>
                      <a:cubicBezTo>
                        <a:pt x="83820" y="91522"/>
                        <a:pt x="65056" y="117920"/>
                        <a:pt x="41910" y="117920"/>
                      </a:cubicBezTo>
                      <a:cubicBezTo>
                        <a:pt x="18764" y="117920"/>
                        <a:pt x="0" y="91522"/>
                        <a:pt x="0" y="58960"/>
                      </a:cubicBezTo>
                      <a:cubicBezTo>
                        <a:pt x="0" y="26397"/>
                        <a:pt x="18764" y="0"/>
                        <a:pt x="41910" y="0"/>
                      </a:cubicBezTo>
                      <a:cubicBezTo>
                        <a:pt x="65056" y="0"/>
                        <a:pt x="83820" y="26397"/>
                        <a:pt x="83820" y="58960"/>
                      </a:cubicBezTo>
                      <a:close/>
                    </a:path>
                  </a:pathLst>
                </a:custGeom>
                <a:solidFill>
                  <a:srgbClr val="C0906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73" name="Freihandform: Form 472">
                  <a:extLst>
                    <a:ext uri="{FF2B5EF4-FFF2-40B4-BE49-F238E27FC236}">
                      <a16:creationId xmlns:a16="http://schemas.microsoft.com/office/drawing/2014/main" id="{0B233516-2190-6D7B-27AE-29FAE99C9826}"/>
                    </a:ext>
                  </a:extLst>
                </p:cNvPr>
                <p:cNvSpPr/>
                <p:nvPr/>
              </p:nvSpPr>
              <p:spPr>
                <a:xfrm>
                  <a:off x="4065254" y="1109015"/>
                  <a:ext cx="326517" cy="341375"/>
                </a:xfrm>
                <a:custGeom>
                  <a:avLst/>
                  <a:gdLst>
                    <a:gd name="connsiteX0" fmla="*/ 326517 w 326517"/>
                    <a:gd name="connsiteY0" fmla="*/ 170688 h 341375"/>
                    <a:gd name="connsiteX1" fmla="*/ 163259 w 326517"/>
                    <a:gd name="connsiteY1" fmla="*/ 341376 h 341375"/>
                    <a:gd name="connsiteX2" fmla="*/ 0 w 326517"/>
                    <a:gd name="connsiteY2" fmla="*/ 170688 h 341375"/>
                    <a:gd name="connsiteX3" fmla="*/ 163259 w 326517"/>
                    <a:gd name="connsiteY3" fmla="*/ 0 h 341375"/>
                    <a:gd name="connsiteX4" fmla="*/ 326517 w 326517"/>
                    <a:gd name="connsiteY4" fmla="*/ 170688 h 341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6517" h="341375">
                      <a:moveTo>
                        <a:pt x="326517" y="170688"/>
                      </a:moveTo>
                      <a:cubicBezTo>
                        <a:pt x="326517" y="264956"/>
                        <a:pt x="253424" y="341376"/>
                        <a:pt x="163259" y="341376"/>
                      </a:cubicBezTo>
                      <a:cubicBezTo>
                        <a:pt x="73093" y="341376"/>
                        <a:pt x="0" y="264956"/>
                        <a:pt x="0" y="170688"/>
                      </a:cubicBezTo>
                      <a:cubicBezTo>
                        <a:pt x="0" y="76420"/>
                        <a:pt x="73093" y="0"/>
                        <a:pt x="163259" y="0"/>
                      </a:cubicBezTo>
                      <a:cubicBezTo>
                        <a:pt x="253424" y="0"/>
                        <a:pt x="326517" y="76420"/>
                        <a:pt x="326517" y="170688"/>
                      </a:cubicBezTo>
                      <a:close/>
                    </a:path>
                  </a:pathLst>
                </a:custGeom>
                <a:solidFill>
                  <a:srgbClr val="C0906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455" name="Grafik 427">
                <a:extLst>
                  <a:ext uri="{FF2B5EF4-FFF2-40B4-BE49-F238E27FC236}">
                    <a16:creationId xmlns:a16="http://schemas.microsoft.com/office/drawing/2014/main" id="{41D65A5C-325F-8675-DF8D-CF2CD520CD16}"/>
                  </a:ext>
                </a:extLst>
              </p:cNvPr>
              <p:cNvGrpSpPr/>
              <p:nvPr/>
            </p:nvGrpSpPr>
            <p:grpSpPr>
              <a:xfrm>
                <a:off x="4115831" y="1292207"/>
                <a:ext cx="209740" cy="180757"/>
                <a:chOff x="4115831" y="1292207"/>
                <a:chExt cx="209740" cy="180757"/>
              </a:xfrm>
            </p:grpSpPr>
            <p:sp>
              <p:nvSpPr>
                <p:cNvPr id="462" name="Freihandform: Form 461">
                  <a:extLst>
                    <a:ext uri="{FF2B5EF4-FFF2-40B4-BE49-F238E27FC236}">
                      <a16:creationId xmlns:a16="http://schemas.microsoft.com/office/drawing/2014/main" id="{1E1C7D00-569D-4E72-4CFF-56AA2E78A6C7}"/>
                    </a:ext>
                  </a:extLst>
                </p:cNvPr>
                <p:cNvSpPr/>
                <p:nvPr/>
              </p:nvSpPr>
              <p:spPr>
                <a:xfrm>
                  <a:off x="4197450" y="1404289"/>
                  <a:ext cx="47751" cy="19526"/>
                </a:xfrm>
                <a:custGeom>
                  <a:avLst/>
                  <a:gdLst>
                    <a:gd name="connsiteX0" fmla="*/ 582 w 47751"/>
                    <a:gd name="connsiteY0" fmla="*/ 0 h 19526"/>
                    <a:gd name="connsiteX1" fmla="*/ 21632 w 47751"/>
                    <a:gd name="connsiteY1" fmla="*/ 6382 h 19526"/>
                    <a:gd name="connsiteX2" fmla="*/ 47159 w 47751"/>
                    <a:gd name="connsiteY2" fmla="*/ 0 h 19526"/>
                    <a:gd name="connsiteX3" fmla="*/ 47159 w 47751"/>
                    <a:gd name="connsiteY3" fmla="*/ 5620 h 19526"/>
                    <a:gd name="connsiteX4" fmla="*/ 22490 w 47751"/>
                    <a:gd name="connsiteY4" fmla="*/ 19526 h 19526"/>
                    <a:gd name="connsiteX5" fmla="*/ 677 w 47751"/>
                    <a:gd name="connsiteY5" fmla="*/ 6191 h 19526"/>
                    <a:gd name="connsiteX6" fmla="*/ 677 w 47751"/>
                    <a:gd name="connsiteY6" fmla="*/ 0 h 19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7751" h="19526">
                      <a:moveTo>
                        <a:pt x="582" y="0"/>
                      </a:moveTo>
                      <a:cubicBezTo>
                        <a:pt x="582" y="0"/>
                        <a:pt x="6583" y="6382"/>
                        <a:pt x="21632" y="6382"/>
                      </a:cubicBezTo>
                      <a:cubicBezTo>
                        <a:pt x="40682" y="6382"/>
                        <a:pt x="47159" y="0"/>
                        <a:pt x="47159" y="0"/>
                      </a:cubicBezTo>
                      <a:cubicBezTo>
                        <a:pt x="47159" y="0"/>
                        <a:pt x="48493" y="1905"/>
                        <a:pt x="47159" y="5620"/>
                      </a:cubicBezTo>
                      <a:cubicBezTo>
                        <a:pt x="46207" y="8287"/>
                        <a:pt x="37920" y="19526"/>
                        <a:pt x="22490" y="19526"/>
                      </a:cubicBezTo>
                      <a:cubicBezTo>
                        <a:pt x="10393" y="19526"/>
                        <a:pt x="2201" y="10001"/>
                        <a:pt x="677" y="6191"/>
                      </a:cubicBezTo>
                      <a:cubicBezTo>
                        <a:pt x="-847" y="2381"/>
                        <a:pt x="677" y="0"/>
                        <a:pt x="677" y="0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63" name="Freihandform: Form 462">
                  <a:extLst>
                    <a:ext uri="{FF2B5EF4-FFF2-40B4-BE49-F238E27FC236}">
                      <a16:creationId xmlns:a16="http://schemas.microsoft.com/office/drawing/2014/main" id="{044023C3-C07D-96C6-800F-8F89CBCBFA7A}"/>
                    </a:ext>
                  </a:extLst>
                </p:cNvPr>
                <p:cNvSpPr/>
                <p:nvPr/>
              </p:nvSpPr>
              <p:spPr>
                <a:xfrm>
                  <a:off x="4240392" y="1292207"/>
                  <a:ext cx="85179" cy="28547"/>
                </a:xfrm>
                <a:custGeom>
                  <a:avLst/>
                  <a:gdLst>
                    <a:gd name="connsiteX0" fmla="*/ 66415 w 85179"/>
                    <a:gd name="connsiteY0" fmla="*/ 10736 h 28547"/>
                    <a:gd name="connsiteX1" fmla="*/ 33840 w 85179"/>
                    <a:gd name="connsiteY1" fmla="*/ 449 h 28547"/>
                    <a:gd name="connsiteX2" fmla="*/ 33840 w 85179"/>
                    <a:gd name="connsiteY2" fmla="*/ 449 h 28547"/>
                    <a:gd name="connsiteX3" fmla="*/ 4693 w 85179"/>
                    <a:gd name="connsiteY3" fmla="*/ 3783 h 28547"/>
                    <a:gd name="connsiteX4" fmla="*/ 2598 w 85179"/>
                    <a:gd name="connsiteY4" fmla="*/ 5402 h 28547"/>
                    <a:gd name="connsiteX5" fmla="*/ 8503 w 85179"/>
                    <a:gd name="connsiteY5" fmla="*/ 20261 h 28547"/>
                    <a:gd name="connsiteX6" fmla="*/ 25077 w 85179"/>
                    <a:gd name="connsiteY6" fmla="*/ 18737 h 28547"/>
                    <a:gd name="connsiteX7" fmla="*/ 64129 w 85179"/>
                    <a:gd name="connsiteY7" fmla="*/ 20928 h 28547"/>
                    <a:gd name="connsiteX8" fmla="*/ 85180 w 85179"/>
                    <a:gd name="connsiteY8" fmla="*/ 28548 h 28547"/>
                    <a:gd name="connsiteX9" fmla="*/ 66511 w 85179"/>
                    <a:gd name="connsiteY9" fmla="*/ 10736 h 285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5179" h="28547">
                      <a:moveTo>
                        <a:pt x="66415" y="10736"/>
                      </a:moveTo>
                      <a:cubicBezTo>
                        <a:pt x="55176" y="3592"/>
                        <a:pt x="42889" y="830"/>
                        <a:pt x="33840" y="449"/>
                      </a:cubicBezTo>
                      <a:lnTo>
                        <a:pt x="33840" y="449"/>
                      </a:lnTo>
                      <a:cubicBezTo>
                        <a:pt x="18314" y="-1075"/>
                        <a:pt x="8027" y="1592"/>
                        <a:pt x="4693" y="3783"/>
                      </a:cubicBezTo>
                      <a:cubicBezTo>
                        <a:pt x="3931" y="4259"/>
                        <a:pt x="3265" y="4831"/>
                        <a:pt x="2598" y="5402"/>
                      </a:cubicBezTo>
                      <a:cubicBezTo>
                        <a:pt x="-2927" y="10641"/>
                        <a:pt x="979" y="20356"/>
                        <a:pt x="8503" y="20261"/>
                      </a:cubicBezTo>
                      <a:cubicBezTo>
                        <a:pt x="11932" y="20261"/>
                        <a:pt x="20314" y="19213"/>
                        <a:pt x="25077" y="18737"/>
                      </a:cubicBezTo>
                      <a:cubicBezTo>
                        <a:pt x="33459" y="17880"/>
                        <a:pt x="57271" y="19118"/>
                        <a:pt x="64129" y="20928"/>
                      </a:cubicBezTo>
                      <a:cubicBezTo>
                        <a:pt x="77464" y="24547"/>
                        <a:pt x="85180" y="28548"/>
                        <a:pt x="85180" y="28548"/>
                      </a:cubicBezTo>
                      <a:cubicBezTo>
                        <a:pt x="85180" y="28548"/>
                        <a:pt x="81560" y="20356"/>
                        <a:pt x="66511" y="10736"/>
                      </a:cubicBezTo>
                      <a:close/>
                    </a:path>
                  </a:pathLst>
                </a:custGeom>
                <a:solidFill>
                  <a:srgbClr val="4B2E1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64" name="Freihandform: Form 463">
                  <a:extLst>
                    <a:ext uri="{FF2B5EF4-FFF2-40B4-BE49-F238E27FC236}">
                      <a16:creationId xmlns:a16="http://schemas.microsoft.com/office/drawing/2014/main" id="{C0C3FA78-2545-0A72-D039-61215C4C8BE4}"/>
                    </a:ext>
                  </a:extLst>
                </p:cNvPr>
                <p:cNvSpPr/>
                <p:nvPr/>
              </p:nvSpPr>
              <p:spPr>
                <a:xfrm>
                  <a:off x="4178125" y="1441911"/>
                  <a:ext cx="89725" cy="31054"/>
                </a:xfrm>
                <a:custGeom>
                  <a:avLst/>
                  <a:gdLst>
                    <a:gd name="connsiteX0" fmla="*/ 0 w 89725"/>
                    <a:gd name="connsiteY0" fmla="*/ 6194 h 31054"/>
                    <a:gd name="connsiteX1" fmla="*/ 33909 w 89725"/>
                    <a:gd name="connsiteY1" fmla="*/ 384 h 31054"/>
                    <a:gd name="connsiteX2" fmla="*/ 42767 w 89725"/>
                    <a:gd name="connsiteY2" fmla="*/ 2479 h 31054"/>
                    <a:gd name="connsiteX3" fmla="*/ 51149 w 89725"/>
                    <a:gd name="connsiteY3" fmla="*/ 3 h 31054"/>
                    <a:gd name="connsiteX4" fmla="*/ 89725 w 89725"/>
                    <a:gd name="connsiteY4" fmla="*/ 6384 h 31054"/>
                    <a:gd name="connsiteX5" fmla="*/ 41719 w 89725"/>
                    <a:gd name="connsiteY5" fmla="*/ 31054 h 31054"/>
                    <a:gd name="connsiteX6" fmla="*/ 95 w 89725"/>
                    <a:gd name="connsiteY6" fmla="*/ 6099 h 310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9725" h="31054">
                      <a:moveTo>
                        <a:pt x="0" y="6194"/>
                      </a:moveTo>
                      <a:cubicBezTo>
                        <a:pt x="0" y="6194"/>
                        <a:pt x="11621" y="1812"/>
                        <a:pt x="33909" y="384"/>
                      </a:cubicBezTo>
                      <a:cubicBezTo>
                        <a:pt x="35719" y="288"/>
                        <a:pt x="37624" y="2670"/>
                        <a:pt x="42767" y="2479"/>
                      </a:cubicBezTo>
                      <a:cubicBezTo>
                        <a:pt x="48863" y="2384"/>
                        <a:pt x="49149" y="-93"/>
                        <a:pt x="51149" y="3"/>
                      </a:cubicBezTo>
                      <a:cubicBezTo>
                        <a:pt x="75248" y="669"/>
                        <a:pt x="89725" y="6384"/>
                        <a:pt x="89725" y="6384"/>
                      </a:cubicBezTo>
                      <a:cubicBezTo>
                        <a:pt x="89725" y="6384"/>
                        <a:pt x="77819" y="31054"/>
                        <a:pt x="41719" y="31054"/>
                      </a:cubicBezTo>
                      <a:cubicBezTo>
                        <a:pt x="9239" y="31054"/>
                        <a:pt x="95" y="6099"/>
                        <a:pt x="95" y="6099"/>
                      </a:cubicBezTo>
                      <a:close/>
                    </a:path>
                  </a:pathLst>
                </a:custGeom>
                <a:solidFill>
                  <a:srgbClr val="8A594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65" name="Freihandform: Form 464">
                  <a:extLst>
                    <a:ext uri="{FF2B5EF4-FFF2-40B4-BE49-F238E27FC236}">
                      <a16:creationId xmlns:a16="http://schemas.microsoft.com/office/drawing/2014/main" id="{87DCE4A7-49DD-DCB8-AF61-D0FF30FDC0CD}"/>
                    </a:ext>
                  </a:extLst>
                </p:cNvPr>
                <p:cNvSpPr/>
                <p:nvPr/>
              </p:nvSpPr>
              <p:spPr>
                <a:xfrm rot="-5166000">
                  <a:off x="4145884" y="1336925"/>
                  <a:ext cx="24574" cy="23050"/>
                </a:xfrm>
                <a:custGeom>
                  <a:avLst/>
                  <a:gdLst>
                    <a:gd name="connsiteX0" fmla="*/ 24574 w 24574"/>
                    <a:gd name="connsiteY0" fmla="*/ 11525 h 23050"/>
                    <a:gd name="connsiteX1" fmla="*/ 12287 w 24574"/>
                    <a:gd name="connsiteY1" fmla="*/ 23050 h 23050"/>
                    <a:gd name="connsiteX2" fmla="*/ 0 w 24574"/>
                    <a:gd name="connsiteY2" fmla="*/ 11525 h 23050"/>
                    <a:gd name="connsiteX3" fmla="*/ 12287 w 24574"/>
                    <a:gd name="connsiteY3" fmla="*/ 0 h 23050"/>
                    <a:gd name="connsiteX4" fmla="*/ 24574 w 24574"/>
                    <a:gd name="connsiteY4" fmla="*/ 11525 h 23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574" h="23050">
                      <a:moveTo>
                        <a:pt x="24574" y="11525"/>
                      </a:moveTo>
                      <a:cubicBezTo>
                        <a:pt x="24574" y="17890"/>
                        <a:pt x="19073" y="23050"/>
                        <a:pt x="12287" y="23050"/>
                      </a:cubicBezTo>
                      <a:cubicBezTo>
                        <a:pt x="5501" y="23050"/>
                        <a:pt x="0" y="17890"/>
                        <a:pt x="0" y="11525"/>
                      </a:cubicBezTo>
                      <a:cubicBezTo>
                        <a:pt x="0" y="5160"/>
                        <a:pt x="5501" y="0"/>
                        <a:pt x="12287" y="0"/>
                      </a:cubicBezTo>
                      <a:cubicBezTo>
                        <a:pt x="19073" y="0"/>
                        <a:pt x="24574" y="5160"/>
                        <a:pt x="24574" y="11525"/>
                      </a:cubicBezTo>
                      <a:close/>
                    </a:path>
                  </a:pathLst>
                </a:custGeom>
                <a:solidFill>
                  <a:srgbClr val="14141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66" name="Freihandform: Form 465">
                  <a:extLst>
                    <a:ext uri="{FF2B5EF4-FFF2-40B4-BE49-F238E27FC236}">
                      <a16:creationId xmlns:a16="http://schemas.microsoft.com/office/drawing/2014/main" id="{B59A55D4-82BC-71C1-F73B-6C5EBE6EE238}"/>
                    </a:ext>
                  </a:extLst>
                </p:cNvPr>
                <p:cNvSpPr/>
                <p:nvPr/>
              </p:nvSpPr>
              <p:spPr>
                <a:xfrm>
                  <a:off x="4115831" y="1293255"/>
                  <a:ext cx="84897" cy="28547"/>
                </a:xfrm>
                <a:custGeom>
                  <a:avLst/>
                  <a:gdLst>
                    <a:gd name="connsiteX0" fmla="*/ 18574 w 84897"/>
                    <a:gd name="connsiteY0" fmla="*/ 10736 h 28547"/>
                    <a:gd name="connsiteX1" fmla="*/ 51054 w 84897"/>
                    <a:gd name="connsiteY1" fmla="*/ 449 h 28547"/>
                    <a:gd name="connsiteX2" fmla="*/ 51054 w 84897"/>
                    <a:gd name="connsiteY2" fmla="*/ 449 h 28547"/>
                    <a:gd name="connsiteX3" fmla="*/ 80200 w 84897"/>
                    <a:gd name="connsiteY3" fmla="*/ 3783 h 28547"/>
                    <a:gd name="connsiteX4" fmla="*/ 82296 w 84897"/>
                    <a:gd name="connsiteY4" fmla="*/ 5402 h 28547"/>
                    <a:gd name="connsiteX5" fmla="*/ 76486 w 84897"/>
                    <a:gd name="connsiteY5" fmla="*/ 20261 h 28547"/>
                    <a:gd name="connsiteX6" fmla="*/ 59912 w 84897"/>
                    <a:gd name="connsiteY6" fmla="*/ 18737 h 28547"/>
                    <a:gd name="connsiteX7" fmla="*/ 20955 w 84897"/>
                    <a:gd name="connsiteY7" fmla="*/ 20928 h 28547"/>
                    <a:gd name="connsiteX8" fmla="*/ 0 w 84897"/>
                    <a:gd name="connsiteY8" fmla="*/ 28548 h 28547"/>
                    <a:gd name="connsiteX9" fmla="*/ 18669 w 84897"/>
                    <a:gd name="connsiteY9" fmla="*/ 10736 h 285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4897" h="28547">
                      <a:moveTo>
                        <a:pt x="18574" y="10736"/>
                      </a:moveTo>
                      <a:cubicBezTo>
                        <a:pt x="29813" y="3592"/>
                        <a:pt x="42005" y="830"/>
                        <a:pt x="51054" y="449"/>
                      </a:cubicBezTo>
                      <a:lnTo>
                        <a:pt x="51054" y="449"/>
                      </a:lnTo>
                      <a:cubicBezTo>
                        <a:pt x="66580" y="-1075"/>
                        <a:pt x="76867" y="1592"/>
                        <a:pt x="80200" y="3783"/>
                      </a:cubicBezTo>
                      <a:cubicBezTo>
                        <a:pt x="80963" y="4259"/>
                        <a:pt x="81629" y="4831"/>
                        <a:pt x="82296" y="5402"/>
                      </a:cubicBezTo>
                      <a:cubicBezTo>
                        <a:pt x="87821" y="10641"/>
                        <a:pt x="83915" y="20356"/>
                        <a:pt x="76486" y="20261"/>
                      </a:cubicBezTo>
                      <a:cubicBezTo>
                        <a:pt x="73057" y="20261"/>
                        <a:pt x="64675" y="19213"/>
                        <a:pt x="59912" y="18737"/>
                      </a:cubicBezTo>
                      <a:cubicBezTo>
                        <a:pt x="51530" y="17880"/>
                        <a:pt x="27813" y="19118"/>
                        <a:pt x="20955" y="20928"/>
                      </a:cubicBezTo>
                      <a:cubicBezTo>
                        <a:pt x="7620" y="24547"/>
                        <a:pt x="0" y="28548"/>
                        <a:pt x="0" y="28548"/>
                      </a:cubicBezTo>
                      <a:cubicBezTo>
                        <a:pt x="0" y="28548"/>
                        <a:pt x="3619" y="20356"/>
                        <a:pt x="18669" y="10736"/>
                      </a:cubicBezTo>
                      <a:close/>
                    </a:path>
                  </a:pathLst>
                </a:custGeom>
                <a:solidFill>
                  <a:srgbClr val="4B2E1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67" name="Freihandform: Form 466">
                  <a:extLst>
                    <a:ext uri="{FF2B5EF4-FFF2-40B4-BE49-F238E27FC236}">
                      <a16:creationId xmlns:a16="http://schemas.microsoft.com/office/drawing/2014/main" id="{69706890-FF94-D3D9-862F-CFC77B5636A6}"/>
                    </a:ext>
                  </a:extLst>
                </p:cNvPr>
                <p:cNvSpPr/>
                <p:nvPr/>
              </p:nvSpPr>
              <p:spPr>
                <a:xfrm>
                  <a:off x="4125983" y="1330554"/>
                  <a:ext cx="62926" cy="16703"/>
                </a:xfrm>
                <a:custGeom>
                  <a:avLst/>
                  <a:gdLst>
                    <a:gd name="connsiteX0" fmla="*/ 2041 w 62926"/>
                    <a:gd name="connsiteY0" fmla="*/ 10775 h 16703"/>
                    <a:gd name="connsiteX1" fmla="*/ 28139 w 62926"/>
                    <a:gd name="connsiteY1" fmla="*/ 107 h 16703"/>
                    <a:gd name="connsiteX2" fmla="*/ 61477 w 62926"/>
                    <a:gd name="connsiteY2" fmla="*/ 10680 h 16703"/>
                    <a:gd name="connsiteX3" fmla="*/ 59477 w 62926"/>
                    <a:gd name="connsiteY3" fmla="*/ 16395 h 16703"/>
                    <a:gd name="connsiteX4" fmla="*/ 32997 w 62926"/>
                    <a:gd name="connsiteY4" fmla="*/ 7156 h 16703"/>
                    <a:gd name="connsiteX5" fmla="*/ 6613 w 62926"/>
                    <a:gd name="connsiteY5" fmla="*/ 13061 h 16703"/>
                    <a:gd name="connsiteX6" fmla="*/ 803 w 62926"/>
                    <a:gd name="connsiteY6" fmla="*/ 15633 h 16703"/>
                    <a:gd name="connsiteX7" fmla="*/ 2041 w 62926"/>
                    <a:gd name="connsiteY7" fmla="*/ 10871 h 167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926" h="16703">
                      <a:moveTo>
                        <a:pt x="2041" y="10775"/>
                      </a:moveTo>
                      <a:cubicBezTo>
                        <a:pt x="4898" y="7823"/>
                        <a:pt x="14614" y="869"/>
                        <a:pt x="28139" y="107"/>
                      </a:cubicBezTo>
                      <a:cubicBezTo>
                        <a:pt x="46618" y="-941"/>
                        <a:pt x="57095" y="5918"/>
                        <a:pt x="61477" y="10680"/>
                      </a:cubicBezTo>
                      <a:cubicBezTo>
                        <a:pt x="64620" y="14014"/>
                        <a:pt x="62048" y="17824"/>
                        <a:pt x="59477" y="16395"/>
                      </a:cubicBezTo>
                      <a:cubicBezTo>
                        <a:pt x="52809" y="12585"/>
                        <a:pt x="49285" y="9061"/>
                        <a:pt x="32997" y="7156"/>
                      </a:cubicBezTo>
                      <a:cubicBezTo>
                        <a:pt x="21567" y="5822"/>
                        <a:pt x="10804" y="10680"/>
                        <a:pt x="6613" y="13061"/>
                      </a:cubicBezTo>
                      <a:cubicBezTo>
                        <a:pt x="3374" y="14871"/>
                        <a:pt x="1850" y="16300"/>
                        <a:pt x="803" y="15633"/>
                      </a:cubicBezTo>
                      <a:cubicBezTo>
                        <a:pt x="-1007" y="14300"/>
                        <a:pt x="612" y="12395"/>
                        <a:pt x="2041" y="10871"/>
                      </a:cubicBezTo>
                      <a:close/>
                    </a:path>
                  </a:pathLst>
                </a:custGeom>
                <a:solidFill>
                  <a:srgbClr val="14141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68" name="Freihandform: Form 467">
                  <a:extLst>
                    <a:ext uri="{FF2B5EF4-FFF2-40B4-BE49-F238E27FC236}">
                      <a16:creationId xmlns:a16="http://schemas.microsoft.com/office/drawing/2014/main" id="{E4836B92-326F-4329-45E4-8B818D3CDD61}"/>
                    </a:ext>
                  </a:extLst>
                </p:cNvPr>
                <p:cNvSpPr/>
                <p:nvPr/>
              </p:nvSpPr>
              <p:spPr>
                <a:xfrm rot="-234000">
                  <a:off x="4268394" y="1336174"/>
                  <a:ext cx="23050" cy="24574"/>
                </a:xfrm>
                <a:custGeom>
                  <a:avLst/>
                  <a:gdLst>
                    <a:gd name="connsiteX0" fmla="*/ 23051 w 23050"/>
                    <a:gd name="connsiteY0" fmla="*/ 12287 h 24574"/>
                    <a:gd name="connsiteX1" fmla="*/ 11525 w 23050"/>
                    <a:gd name="connsiteY1" fmla="*/ 24574 h 24574"/>
                    <a:gd name="connsiteX2" fmla="*/ 0 w 23050"/>
                    <a:gd name="connsiteY2" fmla="*/ 12287 h 24574"/>
                    <a:gd name="connsiteX3" fmla="*/ 11525 w 23050"/>
                    <a:gd name="connsiteY3" fmla="*/ 0 h 24574"/>
                    <a:gd name="connsiteX4" fmla="*/ 23051 w 23050"/>
                    <a:gd name="connsiteY4" fmla="*/ 12287 h 245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050" h="24574">
                      <a:moveTo>
                        <a:pt x="23051" y="12287"/>
                      </a:moveTo>
                      <a:cubicBezTo>
                        <a:pt x="23051" y="19073"/>
                        <a:pt x="17891" y="24574"/>
                        <a:pt x="11525" y="24574"/>
                      </a:cubicBezTo>
                      <a:cubicBezTo>
                        <a:pt x="5160" y="24574"/>
                        <a:pt x="0" y="19073"/>
                        <a:pt x="0" y="12287"/>
                      </a:cubicBezTo>
                      <a:cubicBezTo>
                        <a:pt x="0" y="5501"/>
                        <a:pt x="5160" y="0"/>
                        <a:pt x="11525" y="0"/>
                      </a:cubicBezTo>
                      <a:cubicBezTo>
                        <a:pt x="17891" y="0"/>
                        <a:pt x="23051" y="5501"/>
                        <a:pt x="23051" y="12287"/>
                      </a:cubicBezTo>
                      <a:close/>
                    </a:path>
                  </a:pathLst>
                </a:custGeom>
                <a:solidFill>
                  <a:srgbClr val="14141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69" name="Freihandform: Form 468">
                  <a:extLst>
                    <a:ext uri="{FF2B5EF4-FFF2-40B4-BE49-F238E27FC236}">
                      <a16:creationId xmlns:a16="http://schemas.microsoft.com/office/drawing/2014/main" id="{12EC141B-A21B-5525-41F5-55DE67C83ACC}"/>
                    </a:ext>
                  </a:extLst>
                </p:cNvPr>
                <p:cNvSpPr/>
                <p:nvPr/>
              </p:nvSpPr>
              <p:spPr>
                <a:xfrm>
                  <a:off x="4249255" y="1330554"/>
                  <a:ext cx="62926" cy="16703"/>
                </a:xfrm>
                <a:custGeom>
                  <a:avLst/>
                  <a:gdLst>
                    <a:gd name="connsiteX0" fmla="*/ 60886 w 62926"/>
                    <a:gd name="connsiteY0" fmla="*/ 10775 h 16703"/>
                    <a:gd name="connsiteX1" fmla="*/ 34788 w 62926"/>
                    <a:gd name="connsiteY1" fmla="*/ 107 h 16703"/>
                    <a:gd name="connsiteX2" fmla="*/ 1450 w 62926"/>
                    <a:gd name="connsiteY2" fmla="*/ 10680 h 16703"/>
                    <a:gd name="connsiteX3" fmla="*/ 3450 w 62926"/>
                    <a:gd name="connsiteY3" fmla="*/ 16395 h 16703"/>
                    <a:gd name="connsiteX4" fmla="*/ 29930 w 62926"/>
                    <a:gd name="connsiteY4" fmla="*/ 7156 h 16703"/>
                    <a:gd name="connsiteX5" fmla="*/ 56314 w 62926"/>
                    <a:gd name="connsiteY5" fmla="*/ 13061 h 16703"/>
                    <a:gd name="connsiteX6" fmla="*/ 62124 w 62926"/>
                    <a:gd name="connsiteY6" fmla="*/ 15633 h 16703"/>
                    <a:gd name="connsiteX7" fmla="*/ 60886 w 62926"/>
                    <a:gd name="connsiteY7" fmla="*/ 10871 h 167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926" h="16703">
                      <a:moveTo>
                        <a:pt x="60886" y="10775"/>
                      </a:moveTo>
                      <a:cubicBezTo>
                        <a:pt x="58029" y="7823"/>
                        <a:pt x="48313" y="869"/>
                        <a:pt x="34788" y="107"/>
                      </a:cubicBezTo>
                      <a:cubicBezTo>
                        <a:pt x="16309" y="-941"/>
                        <a:pt x="5832" y="5918"/>
                        <a:pt x="1450" y="10680"/>
                      </a:cubicBezTo>
                      <a:cubicBezTo>
                        <a:pt x="-1693" y="14014"/>
                        <a:pt x="879" y="17824"/>
                        <a:pt x="3450" y="16395"/>
                      </a:cubicBezTo>
                      <a:cubicBezTo>
                        <a:pt x="10118" y="12585"/>
                        <a:pt x="13642" y="9061"/>
                        <a:pt x="29930" y="7156"/>
                      </a:cubicBezTo>
                      <a:cubicBezTo>
                        <a:pt x="41360" y="5822"/>
                        <a:pt x="52123" y="10680"/>
                        <a:pt x="56314" y="13061"/>
                      </a:cubicBezTo>
                      <a:cubicBezTo>
                        <a:pt x="59553" y="14871"/>
                        <a:pt x="61077" y="16300"/>
                        <a:pt x="62124" y="15633"/>
                      </a:cubicBezTo>
                      <a:cubicBezTo>
                        <a:pt x="63934" y="14300"/>
                        <a:pt x="62315" y="12395"/>
                        <a:pt x="60886" y="10871"/>
                      </a:cubicBezTo>
                      <a:close/>
                    </a:path>
                  </a:pathLst>
                </a:custGeom>
                <a:solidFill>
                  <a:srgbClr val="14141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456" name="Grafik 427">
                <a:extLst>
                  <a:ext uri="{FF2B5EF4-FFF2-40B4-BE49-F238E27FC236}">
                    <a16:creationId xmlns:a16="http://schemas.microsoft.com/office/drawing/2014/main" id="{FC6DD49D-6762-70CE-0592-A62C7383FE90}"/>
                  </a:ext>
                </a:extLst>
              </p:cNvPr>
              <p:cNvGrpSpPr/>
              <p:nvPr/>
            </p:nvGrpSpPr>
            <p:grpSpPr>
              <a:xfrm>
                <a:off x="4058051" y="1096260"/>
                <a:ext cx="356579" cy="261166"/>
                <a:chOff x="4058051" y="1096260"/>
                <a:chExt cx="356579" cy="261166"/>
              </a:xfrm>
            </p:grpSpPr>
            <p:sp>
              <p:nvSpPr>
                <p:cNvPr id="460" name="Freihandform: Form 459">
                  <a:extLst>
                    <a:ext uri="{FF2B5EF4-FFF2-40B4-BE49-F238E27FC236}">
                      <a16:creationId xmlns:a16="http://schemas.microsoft.com/office/drawing/2014/main" id="{C5D7B021-ED41-34F0-42CF-5E0A87131F2D}"/>
                    </a:ext>
                  </a:extLst>
                </p:cNvPr>
                <p:cNvSpPr/>
                <p:nvPr/>
              </p:nvSpPr>
              <p:spPr>
                <a:xfrm>
                  <a:off x="4058051" y="1111167"/>
                  <a:ext cx="322003" cy="246259"/>
                </a:xfrm>
                <a:custGeom>
                  <a:avLst/>
                  <a:gdLst>
                    <a:gd name="connsiteX0" fmla="*/ 162460 w 322003"/>
                    <a:gd name="connsiteY0" fmla="*/ 78143 h 246259"/>
                    <a:gd name="connsiteX1" fmla="*/ 298382 w 322003"/>
                    <a:gd name="connsiteY1" fmla="*/ 246259 h 246259"/>
                    <a:gd name="connsiteX2" fmla="*/ 322003 w 322003"/>
                    <a:gd name="connsiteY2" fmla="*/ 171393 h 246259"/>
                    <a:gd name="connsiteX3" fmla="*/ 161698 w 322003"/>
                    <a:gd name="connsiteY3" fmla="*/ 705 h 246259"/>
                    <a:gd name="connsiteX4" fmla="*/ 53303 w 322003"/>
                    <a:gd name="connsiteY4" fmla="*/ 45568 h 246259"/>
                    <a:gd name="connsiteX5" fmla="*/ 19870 w 322003"/>
                    <a:gd name="connsiteY5" fmla="*/ 232734 h 246259"/>
                    <a:gd name="connsiteX6" fmla="*/ 162460 w 322003"/>
                    <a:gd name="connsiteY6" fmla="*/ 78048 h 246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003" h="246259">
                      <a:moveTo>
                        <a:pt x="162460" y="78143"/>
                      </a:moveTo>
                      <a:cubicBezTo>
                        <a:pt x="278665" y="85477"/>
                        <a:pt x="264377" y="181013"/>
                        <a:pt x="298382" y="246259"/>
                      </a:cubicBezTo>
                      <a:cubicBezTo>
                        <a:pt x="304859" y="227781"/>
                        <a:pt x="322003" y="192253"/>
                        <a:pt x="322003" y="171393"/>
                      </a:cubicBezTo>
                      <a:cubicBezTo>
                        <a:pt x="322003" y="77191"/>
                        <a:pt x="249899" y="7944"/>
                        <a:pt x="161698" y="705"/>
                      </a:cubicBezTo>
                      <a:cubicBezTo>
                        <a:pt x="125693" y="-2248"/>
                        <a:pt x="111787" y="2515"/>
                        <a:pt x="53303" y="45568"/>
                      </a:cubicBezTo>
                      <a:cubicBezTo>
                        <a:pt x="10631" y="66332"/>
                        <a:pt x="-22992" y="156343"/>
                        <a:pt x="19870" y="232734"/>
                      </a:cubicBezTo>
                      <a:cubicBezTo>
                        <a:pt x="61685" y="191967"/>
                        <a:pt x="57780" y="71476"/>
                        <a:pt x="162460" y="78048"/>
                      </a:cubicBezTo>
                      <a:close/>
                    </a:path>
                  </a:pathLst>
                </a:custGeom>
                <a:solidFill>
                  <a:srgbClr val="28150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61" name="Freihandform: Form 460">
                  <a:extLst>
                    <a:ext uri="{FF2B5EF4-FFF2-40B4-BE49-F238E27FC236}">
                      <a16:creationId xmlns:a16="http://schemas.microsoft.com/office/drawing/2014/main" id="{68878F16-E22A-9F3C-F36B-9384848113C3}"/>
                    </a:ext>
                  </a:extLst>
                </p:cNvPr>
                <p:cNvSpPr/>
                <p:nvPr/>
              </p:nvSpPr>
              <p:spPr>
                <a:xfrm>
                  <a:off x="4111397" y="1096260"/>
                  <a:ext cx="303234" cy="228272"/>
                </a:xfrm>
                <a:custGeom>
                  <a:avLst/>
                  <a:gdLst>
                    <a:gd name="connsiteX0" fmla="*/ 53 w 303234"/>
                    <a:gd name="connsiteY0" fmla="*/ 60570 h 228272"/>
                    <a:gd name="connsiteX1" fmla="*/ 200841 w 303234"/>
                    <a:gd name="connsiteY1" fmla="*/ 213732 h 228272"/>
                    <a:gd name="connsiteX2" fmla="*/ 303234 w 303234"/>
                    <a:gd name="connsiteY2" fmla="*/ 224210 h 228272"/>
                    <a:gd name="connsiteX3" fmla="*/ 277993 w 303234"/>
                    <a:gd name="connsiteY3" fmla="*/ 131151 h 228272"/>
                    <a:gd name="connsiteX4" fmla="*/ 53 w 303234"/>
                    <a:gd name="connsiteY4" fmla="*/ 60570 h 2282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3234" h="228272">
                      <a:moveTo>
                        <a:pt x="53" y="60570"/>
                      </a:moveTo>
                      <a:cubicBezTo>
                        <a:pt x="-2804" y="127245"/>
                        <a:pt x="109400" y="189063"/>
                        <a:pt x="200841" y="213732"/>
                      </a:cubicBezTo>
                      <a:cubicBezTo>
                        <a:pt x="292281" y="238402"/>
                        <a:pt x="303234" y="224210"/>
                        <a:pt x="303234" y="224210"/>
                      </a:cubicBezTo>
                      <a:cubicBezTo>
                        <a:pt x="303234" y="224210"/>
                        <a:pt x="280660" y="216018"/>
                        <a:pt x="277993" y="131151"/>
                      </a:cubicBezTo>
                      <a:cubicBezTo>
                        <a:pt x="274945" y="35139"/>
                        <a:pt x="115973" y="-68874"/>
                        <a:pt x="53" y="60570"/>
                      </a:cubicBezTo>
                      <a:close/>
                    </a:path>
                  </a:pathLst>
                </a:custGeom>
                <a:solidFill>
                  <a:srgbClr val="4B2E1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457" name="Grafik 427">
                <a:extLst>
                  <a:ext uri="{FF2B5EF4-FFF2-40B4-BE49-F238E27FC236}">
                    <a16:creationId xmlns:a16="http://schemas.microsoft.com/office/drawing/2014/main" id="{9A848ED1-FDFB-A358-C785-4D406F89CEAD}"/>
                  </a:ext>
                </a:extLst>
              </p:cNvPr>
              <p:cNvGrpSpPr/>
              <p:nvPr/>
            </p:nvGrpSpPr>
            <p:grpSpPr>
              <a:xfrm>
                <a:off x="4084399" y="1393526"/>
                <a:ext cx="284321" cy="21526"/>
                <a:chOff x="4084399" y="1393526"/>
                <a:chExt cx="284321" cy="21526"/>
              </a:xfrm>
              <a:solidFill>
                <a:srgbClr val="FFFFFF"/>
              </a:solidFill>
            </p:grpSpPr>
            <p:sp>
              <p:nvSpPr>
                <p:cNvPr id="458" name="Freihandform: Form 457">
                  <a:extLst>
                    <a:ext uri="{FF2B5EF4-FFF2-40B4-BE49-F238E27FC236}">
                      <a16:creationId xmlns:a16="http://schemas.microsoft.com/office/drawing/2014/main" id="{2D954816-BA4C-1403-F34B-CD02C550DB83}"/>
                    </a:ext>
                  </a:extLst>
                </p:cNvPr>
                <p:cNvSpPr/>
                <p:nvPr/>
              </p:nvSpPr>
              <p:spPr>
                <a:xfrm>
                  <a:off x="4084399" y="1393526"/>
                  <a:ext cx="21526" cy="21526"/>
                </a:xfrm>
                <a:custGeom>
                  <a:avLst/>
                  <a:gdLst>
                    <a:gd name="connsiteX0" fmla="*/ 21526 w 21526"/>
                    <a:gd name="connsiteY0" fmla="*/ 10763 h 21526"/>
                    <a:gd name="connsiteX1" fmla="*/ 10763 w 21526"/>
                    <a:gd name="connsiteY1" fmla="*/ 21527 h 21526"/>
                    <a:gd name="connsiteX2" fmla="*/ 0 w 21526"/>
                    <a:gd name="connsiteY2" fmla="*/ 10763 h 21526"/>
                    <a:gd name="connsiteX3" fmla="*/ 10763 w 21526"/>
                    <a:gd name="connsiteY3" fmla="*/ 0 h 21526"/>
                    <a:gd name="connsiteX4" fmla="*/ 21526 w 21526"/>
                    <a:gd name="connsiteY4" fmla="*/ 10763 h 21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526" h="21526">
                      <a:moveTo>
                        <a:pt x="21526" y="10763"/>
                      </a:moveTo>
                      <a:cubicBezTo>
                        <a:pt x="21526" y="16708"/>
                        <a:pt x="16708" y="21527"/>
                        <a:pt x="10763" y="21527"/>
                      </a:cubicBezTo>
                      <a:cubicBezTo>
                        <a:pt x="4819" y="21527"/>
                        <a:pt x="0" y="16708"/>
                        <a:pt x="0" y="10763"/>
                      </a:cubicBezTo>
                      <a:cubicBezTo>
                        <a:pt x="0" y="4819"/>
                        <a:pt x="4819" y="0"/>
                        <a:pt x="10763" y="0"/>
                      </a:cubicBezTo>
                      <a:cubicBezTo>
                        <a:pt x="16708" y="0"/>
                        <a:pt x="21526" y="4819"/>
                        <a:pt x="21526" y="1076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59" name="Freihandform: Form 458">
                  <a:extLst>
                    <a:ext uri="{FF2B5EF4-FFF2-40B4-BE49-F238E27FC236}">
                      <a16:creationId xmlns:a16="http://schemas.microsoft.com/office/drawing/2014/main" id="{0C0CB11E-7655-CD02-7E92-5614B39A0F1F}"/>
                    </a:ext>
                  </a:extLst>
                </p:cNvPr>
                <p:cNvSpPr/>
                <p:nvPr/>
              </p:nvSpPr>
              <p:spPr>
                <a:xfrm>
                  <a:off x="4347194" y="1393526"/>
                  <a:ext cx="21526" cy="21526"/>
                </a:xfrm>
                <a:custGeom>
                  <a:avLst/>
                  <a:gdLst>
                    <a:gd name="connsiteX0" fmla="*/ 21527 w 21526"/>
                    <a:gd name="connsiteY0" fmla="*/ 10763 h 21526"/>
                    <a:gd name="connsiteX1" fmla="*/ 10763 w 21526"/>
                    <a:gd name="connsiteY1" fmla="*/ 21527 h 21526"/>
                    <a:gd name="connsiteX2" fmla="*/ 0 w 21526"/>
                    <a:gd name="connsiteY2" fmla="*/ 10763 h 21526"/>
                    <a:gd name="connsiteX3" fmla="*/ 10763 w 21526"/>
                    <a:gd name="connsiteY3" fmla="*/ 0 h 21526"/>
                    <a:gd name="connsiteX4" fmla="*/ 21527 w 21526"/>
                    <a:gd name="connsiteY4" fmla="*/ 10763 h 21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526" h="21526">
                      <a:moveTo>
                        <a:pt x="21527" y="10763"/>
                      </a:moveTo>
                      <a:cubicBezTo>
                        <a:pt x="21527" y="16708"/>
                        <a:pt x="16708" y="21527"/>
                        <a:pt x="10763" y="21527"/>
                      </a:cubicBezTo>
                      <a:cubicBezTo>
                        <a:pt x="4819" y="21527"/>
                        <a:pt x="0" y="16708"/>
                        <a:pt x="0" y="10763"/>
                      </a:cubicBezTo>
                      <a:cubicBezTo>
                        <a:pt x="0" y="4819"/>
                        <a:pt x="4819" y="0"/>
                        <a:pt x="10763" y="0"/>
                      </a:cubicBezTo>
                      <a:cubicBezTo>
                        <a:pt x="16708" y="0"/>
                        <a:pt x="21527" y="4819"/>
                        <a:pt x="21527" y="1076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424" name="Freihandform: Form 423">
              <a:extLst>
                <a:ext uri="{FF2B5EF4-FFF2-40B4-BE49-F238E27FC236}">
                  <a16:creationId xmlns:a16="http://schemas.microsoft.com/office/drawing/2014/main" id="{4CAC2AC6-BCEF-956B-A2BD-DB3A7C712793}"/>
                </a:ext>
              </a:extLst>
            </p:cNvPr>
            <p:cNvSpPr/>
            <p:nvPr/>
          </p:nvSpPr>
          <p:spPr>
            <a:xfrm>
              <a:off x="4846018" y="2571674"/>
              <a:ext cx="191643" cy="8572"/>
            </a:xfrm>
            <a:custGeom>
              <a:avLst/>
              <a:gdLst>
                <a:gd name="connsiteX0" fmla="*/ 191643 w 191643"/>
                <a:gd name="connsiteY0" fmla="*/ 8572 h 8572"/>
                <a:gd name="connsiteX1" fmla="*/ 0 w 191643"/>
                <a:gd name="connsiteY1" fmla="*/ 8572 h 8572"/>
                <a:gd name="connsiteX2" fmla="*/ 95821 w 191643"/>
                <a:gd name="connsiteY2" fmla="*/ 0 h 8572"/>
                <a:gd name="connsiteX3" fmla="*/ 191643 w 191643"/>
                <a:gd name="connsiteY3" fmla="*/ 8572 h 8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1643" h="8572">
                  <a:moveTo>
                    <a:pt x="191643" y="8572"/>
                  </a:moveTo>
                  <a:lnTo>
                    <a:pt x="0" y="8572"/>
                  </a:lnTo>
                  <a:cubicBezTo>
                    <a:pt x="31052" y="2953"/>
                    <a:pt x="63151" y="0"/>
                    <a:pt x="95821" y="0"/>
                  </a:cubicBezTo>
                  <a:cubicBezTo>
                    <a:pt x="128492" y="0"/>
                    <a:pt x="160592" y="2953"/>
                    <a:pt x="191643" y="8572"/>
                  </a:cubicBezTo>
                  <a:close/>
                </a:path>
              </a:pathLst>
            </a:custGeom>
            <a:solidFill>
              <a:srgbClr val="00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5" name="Freihandform: Form 424">
              <a:extLst>
                <a:ext uri="{FF2B5EF4-FFF2-40B4-BE49-F238E27FC236}">
                  <a16:creationId xmlns:a16="http://schemas.microsoft.com/office/drawing/2014/main" id="{D9675DE1-34C0-21E9-FB2F-450D6B1FDA12}"/>
                </a:ext>
              </a:extLst>
            </p:cNvPr>
            <p:cNvSpPr/>
            <p:nvPr/>
          </p:nvSpPr>
          <p:spPr>
            <a:xfrm>
              <a:off x="4070683" y="1783385"/>
              <a:ext cx="529018" cy="796861"/>
            </a:xfrm>
            <a:custGeom>
              <a:avLst/>
              <a:gdLst>
                <a:gd name="connsiteX0" fmla="*/ 0 w 529018"/>
                <a:gd name="connsiteY0" fmla="*/ 796861 h 796861"/>
                <a:gd name="connsiteX1" fmla="*/ 19526 w 529018"/>
                <a:gd name="connsiteY1" fmla="*/ 704755 h 796861"/>
                <a:gd name="connsiteX2" fmla="*/ 75438 w 529018"/>
                <a:gd name="connsiteY2" fmla="*/ 439388 h 796861"/>
                <a:gd name="connsiteX3" fmla="*/ 91059 w 529018"/>
                <a:gd name="connsiteY3" fmla="*/ 364427 h 796861"/>
                <a:gd name="connsiteX4" fmla="*/ 94393 w 529018"/>
                <a:gd name="connsiteY4" fmla="*/ 348710 h 796861"/>
                <a:gd name="connsiteX5" fmla="*/ 99250 w 529018"/>
                <a:gd name="connsiteY5" fmla="*/ 324993 h 796861"/>
                <a:gd name="connsiteX6" fmla="*/ 99441 w 529018"/>
                <a:gd name="connsiteY6" fmla="*/ 324231 h 796861"/>
                <a:gd name="connsiteX7" fmla="*/ 116300 w 529018"/>
                <a:gd name="connsiteY7" fmla="*/ 241744 h 796861"/>
                <a:gd name="connsiteX8" fmla="*/ 225742 w 529018"/>
                <a:gd name="connsiteY8" fmla="*/ 1143 h 796861"/>
                <a:gd name="connsiteX9" fmla="*/ 226981 w 529018"/>
                <a:gd name="connsiteY9" fmla="*/ 0 h 796861"/>
                <a:gd name="connsiteX10" fmla="*/ 529019 w 529018"/>
                <a:gd name="connsiteY10" fmla="*/ 177165 h 796861"/>
                <a:gd name="connsiteX11" fmla="*/ 496253 w 529018"/>
                <a:gd name="connsiteY11" fmla="*/ 324231 h 796861"/>
                <a:gd name="connsiteX12" fmla="*/ 496253 w 529018"/>
                <a:gd name="connsiteY12" fmla="*/ 324993 h 796861"/>
                <a:gd name="connsiteX13" fmla="*/ 487299 w 529018"/>
                <a:gd name="connsiteY13" fmla="*/ 364427 h 796861"/>
                <a:gd name="connsiteX14" fmla="*/ 456914 w 529018"/>
                <a:gd name="connsiteY14" fmla="*/ 501206 h 796861"/>
                <a:gd name="connsiteX15" fmla="*/ 391096 w 529018"/>
                <a:gd name="connsiteY15" fmla="*/ 796861 h 796861"/>
                <a:gd name="connsiteX16" fmla="*/ 20383 w 529018"/>
                <a:gd name="connsiteY16" fmla="*/ 796861 h 79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29018" h="796861">
                  <a:moveTo>
                    <a:pt x="0" y="796861"/>
                  </a:moveTo>
                  <a:cubicBezTo>
                    <a:pt x="5525" y="770858"/>
                    <a:pt x="12192" y="739521"/>
                    <a:pt x="19526" y="704755"/>
                  </a:cubicBezTo>
                  <a:cubicBezTo>
                    <a:pt x="36100" y="626840"/>
                    <a:pt x="56198" y="531400"/>
                    <a:pt x="75438" y="439388"/>
                  </a:cubicBezTo>
                  <a:cubicBezTo>
                    <a:pt x="80772" y="413957"/>
                    <a:pt x="86011" y="388906"/>
                    <a:pt x="91059" y="364427"/>
                  </a:cubicBezTo>
                  <a:cubicBezTo>
                    <a:pt x="92202" y="359188"/>
                    <a:pt x="93250" y="353949"/>
                    <a:pt x="94393" y="348710"/>
                  </a:cubicBezTo>
                  <a:cubicBezTo>
                    <a:pt x="96012" y="340709"/>
                    <a:pt x="97631" y="332803"/>
                    <a:pt x="99250" y="324993"/>
                  </a:cubicBezTo>
                  <a:cubicBezTo>
                    <a:pt x="99250" y="324707"/>
                    <a:pt x="99250" y="324421"/>
                    <a:pt x="99441" y="324231"/>
                  </a:cubicBezTo>
                  <a:cubicBezTo>
                    <a:pt x="105442" y="294989"/>
                    <a:pt x="111157" y="267271"/>
                    <a:pt x="116300" y="241744"/>
                  </a:cubicBezTo>
                  <a:cubicBezTo>
                    <a:pt x="150019" y="75628"/>
                    <a:pt x="215932" y="10096"/>
                    <a:pt x="225742" y="1143"/>
                  </a:cubicBezTo>
                  <a:cubicBezTo>
                    <a:pt x="226219" y="762"/>
                    <a:pt x="226600" y="286"/>
                    <a:pt x="226981" y="0"/>
                  </a:cubicBezTo>
                  <a:cubicBezTo>
                    <a:pt x="226981" y="0"/>
                    <a:pt x="391573" y="68104"/>
                    <a:pt x="529019" y="177165"/>
                  </a:cubicBezTo>
                  <a:lnTo>
                    <a:pt x="496253" y="324231"/>
                  </a:lnTo>
                  <a:lnTo>
                    <a:pt x="496253" y="324993"/>
                  </a:lnTo>
                  <a:lnTo>
                    <a:pt x="487299" y="364427"/>
                  </a:lnTo>
                  <a:lnTo>
                    <a:pt x="456914" y="501206"/>
                  </a:lnTo>
                  <a:lnTo>
                    <a:pt x="391096" y="796861"/>
                  </a:lnTo>
                  <a:lnTo>
                    <a:pt x="20383" y="796861"/>
                  </a:lnTo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6" name="Freihandform: Form 425">
              <a:extLst>
                <a:ext uri="{FF2B5EF4-FFF2-40B4-BE49-F238E27FC236}">
                  <a16:creationId xmlns:a16="http://schemas.microsoft.com/office/drawing/2014/main" id="{36C190C9-D689-6164-897F-ABE695FC29C2}"/>
                </a:ext>
              </a:extLst>
            </p:cNvPr>
            <p:cNvSpPr/>
            <p:nvPr/>
          </p:nvSpPr>
          <p:spPr>
            <a:xfrm>
              <a:off x="4759341" y="1217640"/>
              <a:ext cx="339089" cy="551732"/>
            </a:xfrm>
            <a:custGeom>
              <a:avLst/>
              <a:gdLst>
                <a:gd name="connsiteX0" fmla="*/ 0 w 339089"/>
                <a:gd name="connsiteY0" fmla="*/ 478400 h 551732"/>
                <a:gd name="connsiteX1" fmla="*/ 339090 w 339089"/>
                <a:gd name="connsiteY1" fmla="*/ 478400 h 551732"/>
                <a:gd name="connsiteX2" fmla="*/ 339090 w 339089"/>
                <a:gd name="connsiteY2" fmla="*/ 119403 h 551732"/>
                <a:gd name="connsiteX3" fmla="*/ 0 w 339089"/>
                <a:gd name="connsiteY3" fmla="*/ 119403 h 551732"/>
                <a:gd name="connsiteX4" fmla="*/ 0 w 339089"/>
                <a:gd name="connsiteY4" fmla="*/ 478400 h 551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089" h="551732">
                  <a:moveTo>
                    <a:pt x="0" y="478400"/>
                  </a:moveTo>
                  <a:cubicBezTo>
                    <a:pt x="58960" y="575460"/>
                    <a:pt x="269653" y="576889"/>
                    <a:pt x="339090" y="478400"/>
                  </a:cubicBezTo>
                  <a:lnTo>
                    <a:pt x="339090" y="119403"/>
                  </a:lnTo>
                  <a:cubicBezTo>
                    <a:pt x="339090" y="-34616"/>
                    <a:pt x="0" y="-44903"/>
                    <a:pt x="0" y="119403"/>
                  </a:cubicBezTo>
                  <a:lnTo>
                    <a:pt x="0" y="478400"/>
                  </a:lnTo>
                  <a:close/>
                </a:path>
              </a:pathLst>
            </a:custGeom>
            <a:solidFill>
              <a:srgbClr val="F9D9D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7" name="Freihandform: Form 426">
              <a:extLst>
                <a:ext uri="{FF2B5EF4-FFF2-40B4-BE49-F238E27FC236}">
                  <a16:creationId xmlns:a16="http://schemas.microsoft.com/office/drawing/2014/main" id="{8A3558A5-9DF7-52C6-E9F6-A646D68D591D}"/>
                </a:ext>
              </a:extLst>
            </p:cNvPr>
            <p:cNvSpPr/>
            <p:nvPr/>
          </p:nvSpPr>
          <p:spPr>
            <a:xfrm>
              <a:off x="4759341" y="1217452"/>
              <a:ext cx="339089" cy="478835"/>
            </a:xfrm>
            <a:custGeom>
              <a:avLst/>
              <a:gdLst>
                <a:gd name="connsiteX0" fmla="*/ 339090 w 339089"/>
                <a:gd name="connsiteY0" fmla="*/ 478588 h 478835"/>
                <a:gd name="connsiteX1" fmla="*/ 339090 w 339089"/>
                <a:gd name="connsiteY1" fmla="*/ 119591 h 478835"/>
                <a:gd name="connsiteX2" fmla="*/ 0 w 339089"/>
                <a:gd name="connsiteY2" fmla="*/ 119591 h 478835"/>
                <a:gd name="connsiteX3" fmla="*/ 0 w 339089"/>
                <a:gd name="connsiteY3" fmla="*/ 218080 h 478835"/>
                <a:gd name="connsiteX4" fmla="*/ 226695 w 339089"/>
                <a:gd name="connsiteY4" fmla="*/ 279040 h 478835"/>
                <a:gd name="connsiteX5" fmla="*/ 301561 w 339089"/>
                <a:gd name="connsiteY5" fmla="*/ 340000 h 478835"/>
                <a:gd name="connsiteX6" fmla="*/ 339090 w 339089"/>
                <a:gd name="connsiteY6" fmla="*/ 478588 h 478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9089" h="478835">
                  <a:moveTo>
                    <a:pt x="339090" y="478588"/>
                  </a:moveTo>
                  <a:lnTo>
                    <a:pt x="339090" y="119591"/>
                  </a:lnTo>
                  <a:cubicBezTo>
                    <a:pt x="335471" y="-37857"/>
                    <a:pt x="0" y="-41858"/>
                    <a:pt x="0" y="119591"/>
                  </a:cubicBezTo>
                  <a:lnTo>
                    <a:pt x="0" y="218080"/>
                  </a:lnTo>
                  <a:cubicBezTo>
                    <a:pt x="36195" y="259323"/>
                    <a:pt x="121444" y="311425"/>
                    <a:pt x="226695" y="279040"/>
                  </a:cubicBezTo>
                  <a:cubicBezTo>
                    <a:pt x="258794" y="269134"/>
                    <a:pt x="319468" y="290851"/>
                    <a:pt x="301561" y="340000"/>
                  </a:cubicBezTo>
                  <a:cubicBezTo>
                    <a:pt x="271939" y="421248"/>
                    <a:pt x="335851" y="483256"/>
                    <a:pt x="339090" y="478588"/>
                  </a:cubicBezTo>
                  <a:close/>
                </a:path>
              </a:pathLst>
            </a:custGeom>
            <a:solidFill>
              <a:srgbClr val="F2BB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8" name="Freihandform: Form 427">
              <a:extLst>
                <a:ext uri="{FF2B5EF4-FFF2-40B4-BE49-F238E27FC236}">
                  <a16:creationId xmlns:a16="http://schemas.microsoft.com/office/drawing/2014/main" id="{5A74B631-51C7-2725-CDF8-2845D7F38706}"/>
                </a:ext>
              </a:extLst>
            </p:cNvPr>
            <p:cNvSpPr/>
            <p:nvPr/>
          </p:nvSpPr>
          <p:spPr>
            <a:xfrm>
              <a:off x="5126815" y="2451278"/>
              <a:ext cx="649033" cy="128968"/>
            </a:xfrm>
            <a:custGeom>
              <a:avLst/>
              <a:gdLst>
                <a:gd name="connsiteX0" fmla="*/ 0 w 649033"/>
                <a:gd name="connsiteY0" fmla="*/ 128968 h 128968"/>
                <a:gd name="connsiteX1" fmla="*/ 2857 w 649033"/>
                <a:gd name="connsiteY1" fmla="*/ 65151 h 128968"/>
                <a:gd name="connsiteX2" fmla="*/ 324707 w 649033"/>
                <a:gd name="connsiteY2" fmla="*/ 32575 h 128968"/>
                <a:gd name="connsiteX3" fmla="*/ 390430 w 649033"/>
                <a:gd name="connsiteY3" fmla="*/ 25908 h 128968"/>
                <a:gd name="connsiteX4" fmla="*/ 430720 w 649033"/>
                <a:gd name="connsiteY4" fmla="*/ 21812 h 128968"/>
                <a:gd name="connsiteX5" fmla="*/ 631031 w 649033"/>
                <a:gd name="connsiteY5" fmla="*/ 1619 h 128968"/>
                <a:gd name="connsiteX6" fmla="*/ 633508 w 649033"/>
                <a:gd name="connsiteY6" fmla="*/ 1333 h 128968"/>
                <a:gd name="connsiteX7" fmla="*/ 644938 w 649033"/>
                <a:gd name="connsiteY7" fmla="*/ 190 h 128968"/>
                <a:gd name="connsiteX8" fmla="*/ 646557 w 649033"/>
                <a:gd name="connsiteY8" fmla="*/ 0 h 128968"/>
                <a:gd name="connsiteX9" fmla="*/ 649034 w 649033"/>
                <a:gd name="connsiteY9" fmla="*/ 128968 h 128968"/>
                <a:gd name="connsiteX10" fmla="*/ 0 w 649033"/>
                <a:gd name="connsiteY10" fmla="*/ 128968 h 12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49033" h="128968">
                  <a:moveTo>
                    <a:pt x="0" y="128968"/>
                  </a:moveTo>
                  <a:lnTo>
                    <a:pt x="2857" y="65151"/>
                  </a:lnTo>
                  <a:lnTo>
                    <a:pt x="324707" y="32575"/>
                  </a:lnTo>
                  <a:lnTo>
                    <a:pt x="390430" y="25908"/>
                  </a:lnTo>
                  <a:lnTo>
                    <a:pt x="430720" y="21812"/>
                  </a:lnTo>
                  <a:lnTo>
                    <a:pt x="631031" y="1619"/>
                  </a:lnTo>
                  <a:cubicBezTo>
                    <a:pt x="631793" y="1619"/>
                    <a:pt x="632651" y="1429"/>
                    <a:pt x="633508" y="1333"/>
                  </a:cubicBezTo>
                  <a:lnTo>
                    <a:pt x="644938" y="190"/>
                  </a:lnTo>
                  <a:cubicBezTo>
                    <a:pt x="645509" y="95"/>
                    <a:pt x="646081" y="95"/>
                    <a:pt x="646557" y="0"/>
                  </a:cubicBezTo>
                  <a:cubicBezTo>
                    <a:pt x="646557" y="0"/>
                    <a:pt x="646557" y="50863"/>
                    <a:pt x="649034" y="128968"/>
                  </a:cubicBezTo>
                  <a:lnTo>
                    <a:pt x="0" y="128968"/>
                  </a:lnTo>
                  <a:close/>
                </a:path>
              </a:pathLst>
            </a:custGeom>
            <a:solidFill>
              <a:srgbClr val="00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9" name="Freihandform: Form 428">
              <a:extLst>
                <a:ext uri="{FF2B5EF4-FFF2-40B4-BE49-F238E27FC236}">
                  <a16:creationId xmlns:a16="http://schemas.microsoft.com/office/drawing/2014/main" id="{665B6758-18FB-B69A-CA44-258F58490574}"/>
                </a:ext>
              </a:extLst>
            </p:cNvPr>
            <p:cNvSpPr/>
            <p:nvPr/>
          </p:nvSpPr>
          <p:spPr>
            <a:xfrm>
              <a:off x="5297408" y="1858537"/>
              <a:ext cx="652272" cy="721709"/>
            </a:xfrm>
            <a:custGeom>
              <a:avLst/>
              <a:gdLst>
                <a:gd name="connsiteX0" fmla="*/ 652272 w 652272"/>
                <a:gd name="connsiteY0" fmla="*/ 705517 h 721709"/>
                <a:gd name="connsiteX1" fmla="*/ 614744 w 652272"/>
                <a:gd name="connsiteY1" fmla="*/ 721709 h 721709"/>
                <a:gd name="connsiteX2" fmla="*/ 267367 w 652272"/>
                <a:gd name="connsiteY2" fmla="*/ 721709 h 721709"/>
                <a:gd name="connsiteX3" fmla="*/ 260128 w 652272"/>
                <a:gd name="connsiteY3" fmla="*/ 705898 h 721709"/>
                <a:gd name="connsiteX4" fmla="*/ 219837 w 652272"/>
                <a:gd name="connsiteY4" fmla="*/ 618649 h 721709"/>
                <a:gd name="connsiteX5" fmla="*/ 166973 w 652272"/>
                <a:gd name="connsiteY5" fmla="*/ 504158 h 721709"/>
                <a:gd name="connsiteX6" fmla="*/ 130969 w 652272"/>
                <a:gd name="connsiteY6" fmla="*/ 426053 h 721709"/>
                <a:gd name="connsiteX7" fmla="*/ 2191 w 652272"/>
                <a:gd name="connsiteY7" fmla="*/ 147161 h 721709"/>
                <a:gd name="connsiteX8" fmla="*/ 0 w 652272"/>
                <a:gd name="connsiteY8" fmla="*/ 142399 h 721709"/>
                <a:gd name="connsiteX9" fmla="*/ 225743 w 652272"/>
                <a:gd name="connsiteY9" fmla="*/ 45625 h 721709"/>
                <a:gd name="connsiteX10" fmla="*/ 333470 w 652272"/>
                <a:gd name="connsiteY10" fmla="*/ 0 h 721709"/>
                <a:gd name="connsiteX11" fmla="*/ 333566 w 652272"/>
                <a:gd name="connsiteY11" fmla="*/ 0 h 721709"/>
                <a:gd name="connsiteX12" fmla="*/ 641795 w 652272"/>
                <a:gd name="connsiteY12" fmla="*/ 683419 h 721709"/>
                <a:gd name="connsiteX13" fmla="*/ 642080 w 652272"/>
                <a:gd name="connsiteY13" fmla="*/ 683990 h 721709"/>
                <a:gd name="connsiteX14" fmla="*/ 652081 w 652272"/>
                <a:gd name="connsiteY14" fmla="*/ 705136 h 721709"/>
                <a:gd name="connsiteX15" fmla="*/ 652272 w 652272"/>
                <a:gd name="connsiteY15" fmla="*/ 705517 h 721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52272" h="721709">
                  <a:moveTo>
                    <a:pt x="652272" y="705517"/>
                  </a:moveTo>
                  <a:lnTo>
                    <a:pt x="614744" y="721709"/>
                  </a:lnTo>
                  <a:lnTo>
                    <a:pt x="267367" y="721709"/>
                  </a:lnTo>
                  <a:lnTo>
                    <a:pt x="260128" y="705898"/>
                  </a:lnTo>
                  <a:lnTo>
                    <a:pt x="219837" y="618649"/>
                  </a:lnTo>
                  <a:lnTo>
                    <a:pt x="166973" y="504158"/>
                  </a:lnTo>
                  <a:lnTo>
                    <a:pt x="130969" y="426053"/>
                  </a:lnTo>
                  <a:lnTo>
                    <a:pt x="2191" y="147161"/>
                  </a:lnTo>
                  <a:cubicBezTo>
                    <a:pt x="1429" y="145542"/>
                    <a:pt x="667" y="144018"/>
                    <a:pt x="0" y="142399"/>
                  </a:cubicBezTo>
                  <a:cubicBezTo>
                    <a:pt x="0" y="142399"/>
                    <a:pt x="95155" y="101155"/>
                    <a:pt x="225743" y="45625"/>
                  </a:cubicBezTo>
                  <a:cubicBezTo>
                    <a:pt x="259652" y="31242"/>
                    <a:pt x="295846" y="15907"/>
                    <a:pt x="333470" y="0"/>
                  </a:cubicBezTo>
                  <a:lnTo>
                    <a:pt x="333566" y="0"/>
                  </a:lnTo>
                  <a:cubicBezTo>
                    <a:pt x="408337" y="187643"/>
                    <a:pt x="595598" y="585692"/>
                    <a:pt x="641795" y="683419"/>
                  </a:cubicBezTo>
                  <a:cubicBezTo>
                    <a:pt x="641795" y="683609"/>
                    <a:pt x="642080" y="683800"/>
                    <a:pt x="642080" y="683990"/>
                  </a:cubicBezTo>
                  <a:cubicBezTo>
                    <a:pt x="647795" y="696087"/>
                    <a:pt x="651320" y="703516"/>
                    <a:pt x="652081" y="705136"/>
                  </a:cubicBezTo>
                  <a:cubicBezTo>
                    <a:pt x="652081" y="705231"/>
                    <a:pt x="652272" y="705422"/>
                    <a:pt x="652272" y="705517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0" name="Freihandform: Form 429">
              <a:extLst>
                <a:ext uri="{FF2B5EF4-FFF2-40B4-BE49-F238E27FC236}">
                  <a16:creationId xmlns:a16="http://schemas.microsoft.com/office/drawing/2014/main" id="{7F302EDE-253C-36CA-34D3-77B017D2A088}"/>
                </a:ext>
              </a:extLst>
            </p:cNvPr>
            <p:cNvSpPr/>
            <p:nvPr/>
          </p:nvSpPr>
          <p:spPr>
            <a:xfrm>
              <a:off x="5612400" y="2450976"/>
              <a:ext cx="342804" cy="129269"/>
            </a:xfrm>
            <a:custGeom>
              <a:avLst/>
              <a:gdLst>
                <a:gd name="connsiteX0" fmla="*/ 342805 w 342804"/>
                <a:gd name="connsiteY0" fmla="*/ 129270 h 129269"/>
                <a:gd name="connsiteX1" fmla="*/ 0 w 342804"/>
                <a:gd name="connsiteY1" fmla="*/ 129270 h 129269"/>
                <a:gd name="connsiteX2" fmla="*/ 102489 w 342804"/>
                <a:gd name="connsiteY2" fmla="*/ 13922 h 129269"/>
                <a:gd name="connsiteX3" fmla="*/ 145447 w 342804"/>
                <a:gd name="connsiteY3" fmla="*/ 1920 h 129269"/>
                <a:gd name="connsiteX4" fmla="*/ 147923 w 342804"/>
                <a:gd name="connsiteY4" fmla="*/ 1635 h 129269"/>
                <a:gd name="connsiteX5" fmla="*/ 159353 w 342804"/>
                <a:gd name="connsiteY5" fmla="*/ 492 h 129269"/>
                <a:gd name="connsiteX6" fmla="*/ 160972 w 342804"/>
                <a:gd name="connsiteY6" fmla="*/ 301 h 129269"/>
                <a:gd name="connsiteX7" fmla="*/ 326803 w 342804"/>
                <a:gd name="connsiteY7" fmla="*/ 90979 h 129269"/>
                <a:gd name="connsiteX8" fmla="*/ 327088 w 342804"/>
                <a:gd name="connsiteY8" fmla="*/ 91551 h 129269"/>
                <a:gd name="connsiteX9" fmla="*/ 335852 w 342804"/>
                <a:gd name="connsiteY9" fmla="*/ 109458 h 129269"/>
                <a:gd name="connsiteX10" fmla="*/ 337090 w 342804"/>
                <a:gd name="connsiteY10" fmla="*/ 112696 h 129269"/>
                <a:gd name="connsiteX11" fmla="*/ 337280 w 342804"/>
                <a:gd name="connsiteY11" fmla="*/ 113077 h 129269"/>
                <a:gd name="connsiteX12" fmla="*/ 342805 w 342804"/>
                <a:gd name="connsiteY12" fmla="*/ 129270 h 129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2804" h="129269">
                  <a:moveTo>
                    <a:pt x="342805" y="129270"/>
                  </a:moveTo>
                  <a:lnTo>
                    <a:pt x="0" y="129270"/>
                  </a:lnTo>
                  <a:cubicBezTo>
                    <a:pt x="14383" y="79073"/>
                    <a:pt x="50578" y="35639"/>
                    <a:pt x="102489" y="13922"/>
                  </a:cubicBezTo>
                  <a:cubicBezTo>
                    <a:pt x="116586" y="8016"/>
                    <a:pt x="130969" y="4111"/>
                    <a:pt x="145447" y="1920"/>
                  </a:cubicBezTo>
                  <a:cubicBezTo>
                    <a:pt x="146209" y="1920"/>
                    <a:pt x="147066" y="1730"/>
                    <a:pt x="147923" y="1635"/>
                  </a:cubicBezTo>
                  <a:lnTo>
                    <a:pt x="159353" y="492"/>
                  </a:lnTo>
                  <a:cubicBezTo>
                    <a:pt x="159925" y="396"/>
                    <a:pt x="160496" y="396"/>
                    <a:pt x="160972" y="301"/>
                  </a:cubicBezTo>
                  <a:cubicBezTo>
                    <a:pt x="227838" y="-3604"/>
                    <a:pt x="292989" y="30686"/>
                    <a:pt x="326803" y="90979"/>
                  </a:cubicBezTo>
                  <a:cubicBezTo>
                    <a:pt x="326803" y="91170"/>
                    <a:pt x="327088" y="91360"/>
                    <a:pt x="327088" y="91551"/>
                  </a:cubicBezTo>
                  <a:cubicBezTo>
                    <a:pt x="330327" y="97266"/>
                    <a:pt x="333280" y="103266"/>
                    <a:pt x="335852" y="109458"/>
                  </a:cubicBezTo>
                  <a:cubicBezTo>
                    <a:pt x="336328" y="110505"/>
                    <a:pt x="336709" y="111648"/>
                    <a:pt x="337090" y="112696"/>
                  </a:cubicBezTo>
                  <a:cubicBezTo>
                    <a:pt x="337090" y="112791"/>
                    <a:pt x="337280" y="112982"/>
                    <a:pt x="337280" y="113077"/>
                  </a:cubicBezTo>
                  <a:cubicBezTo>
                    <a:pt x="339471" y="118411"/>
                    <a:pt x="341281" y="123840"/>
                    <a:pt x="342805" y="129270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1" name="Freihandform: Form 430">
              <a:extLst>
                <a:ext uri="{FF2B5EF4-FFF2-40B4-BE49-F238E27FC236}">
                  <a16:creationId xmlns:a16="http://schemas.microsoft.com/office/drawing/2014/main" id="{D129560E-E382-B33A-8400-B3D4DB13F69A}"/>
                </a:ext>
              </a:extLst>
            </p:cNvPr>
            <p:cNvSpPr/>
            <p:nvPr/>
          </p:nvSpPr>
          <p:spPr>
            <a:xfrm>
              <a:off x="4297664" y="1600695"/>
              <a:ext cx="1245298" cy="979550"/>
            </a:xfrm>
            <a:custGeom>
              <a:avLst/>
              <a:gdLst>
                <a:gd name="connsiteX0" fmla="*/ 1245298 w 1245298"/>
                <a:gd name="connsiteY0" fmla="*/ 162973 h 979550"/>
                <a:gd name="connsiteX1" fmla="*/ 1225487 w 1245298"/>
                <a:gd name="connsiteY1" fmla="*/ 303467 h 979550"/>
                <a:gd name="connsiteX2" fmla="*/ 1198531 w 1245298"/>
                <a:gd name="connsiteY2" fmla="*/ 503777 h 979550"/>
                <a:gd name="connsiteX3" fmla="*/ 1175385 w 1245298"/>
                <a:gd name="connsiteY3" fmla="*/ 688181 h 979550"/>
                <a:gd name="connsiteX4" fmla="*/ 1166717 w 1245298"/>
                <a:gd name="connsiteY4" fmla="*/ 762000 h 979550"/>
                <a:gd name="connsiteX5" fmla="*/ 1153859 w 1245298"/>
                <a:gd name="connsiteY5" fmla="*/ 883158 h 979550"/>
                <a:gd name="connsiteX6" fmla="*/ 1145953 w 1245298"/>
                <a:gd name="connsiteY6" fmla="*/ 979551 h 979550"/>
                <a:gd name="connsiteX7" fmla="*/ 128873 w 1245298"/>
                <a:gd name="connsiteY7" fmla="*/ 979551 h 979550"/>
                <a:gd name="connsiteX8" fmla="*/ 95821 w 1245298"/>
                <a:gd name="connsiteY8" fmla="*/ 775621 h 979550"/>
                <a:gd name="connsiteX9" fmla="*/ 58960 w 1245298"/>
                <a:gd name="connsiteY9" fmla="*/ 547116 h 979550"/>
                <a:gd name="connsiteX10" fmla="*/ 52578 w 1245298"/>
                <a:gd name="connsiteY10" fmla="*/ 507683 h 979550"/>
                <a:gd name="connsiteX11" fmla="*/ 52388 w 1245298"/>
                <a:gd name="connsiteY11" fmla="*/ 506921 h 979550"/>
                <a:gd name="connsiteX12" fmla="*/ 47244 w 1245298"/>
                <a:gd name="connsiteY12" fmla="*/ 474917 h 979550"/>
                <a:gd name="connsiteX13" fmla="*/ 0 w 1245298"/>
                <a:gd name="connsiteY13" fmla="*/ 182690 h 979550"/>
                <a:gd name="connsiteX14" fmla="*/ 25146 w 1245298"/>
                <a:gd name="connsiteY14" fmla="*/ 162020 h 979550"/>
                <a:gd name="connsiteX15" fmla="*/ 25717 w 1245298"/>
                <a:gd name="connsiteY15" fmla="*/ 161544 h 979550"/>
                <a:gd name="connsiteX16" fmla="*/ 442246 w 1245298"/>
                <a:gd name="connsiteY16" fmla="*/ 5620 h 979550"/>
                <a:gd name="connsiteX17" fmla="*/ 461677 w 1245298"/>
                <a:gd name="connsiteY17" fmla="*/ 0 h 979550"/>
                <a:gd name="connsiteX18" fmla="*/ 687991 w 1245298"/>
                <a:gd name="connsiteY18" fmla="*/ 35242 h 979550"/>
                <a:gd name="connsiteX19" fmla="*/ 727424 w 1245298"/>
                <a:gd name="connsiteY19" fmla="*/ 28384 h 979550"/>
                <a:gd name="connsiteX20" fmla="*/ 757238 w 1245298"/>
                <a:gd name="connsiteY20" fmla="*/ 20765 h 979550"/>
                <a:gd name="connsiteX21" fmla="*/ 800767 w 1245298"/>
                <a:gd name="connsiteY21" fmla="*/ 0 h 979550"/>
                <a:gd name="connsiteX22" fmla="*/ 817340 w 1245298"/>
                <a:gd name="connsiteY22" fmla="*/ 5048 h 979550"/>
                <a:gd name="connsiteX23" fmla="*/ 1240536 w 1245298"/>
                <a:gd name="connsiteY23" fmla="*/ 160687 h 979550"/>
                <a:gd name="connsiteX24" fmla="*/ 1245298 w 1245298"/>
                <a:gd name="connsiteY24" fmla="*/ 162973 h 97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45298" h="979550">
                  <a:moveTo>
                    <a:pt x="1245298" y="162973"/>
                  </a:moveTo>
                  <a:cubicBezTo>
                    <a:pt x="1245298" y="162973"/>
                    <a:pt x="1237202" y="219075"/>
                    <a:pt x="1225487" y="303467"/>
                  </a:cubicBezTo>
                  <a:cubicBezTo>
                    <a:pt x="1217676" y="360236"/>
                    <a:pt x="1208151" y="429863"/>
                    <a:pt x="1198531" y="503777"/>
                  </a:cubicBezTo>
                  <a:cubicBezTo>
                    <a:pt x="1190720" y="563880"/>
                    <a:pt x="1182719" y="626840"/>
                    <a:pt x="1175385" y="688181"/>
                  </a:cubicBezTo>
                  <a:cubicBezTo>
                    <a:pt x="1172337" y="713137"/>
                    <a:pt x="1169480" y="737902"/>
                    <a:pt x="1166717" y="762000"/>
                  </a:cubicBezTo>
                  <a:cubicBezTo>
                    <a:pt x="1161860" y="804863"/>
                    <a:pt x="1157478" y="845820"/>
                    <a:pt x="1153859" y="883158"/>
                  </a:cubicBezTo>
                  <a:cubicBezTo>
                    <a:pt x="1150430" y="919258"/>
                    <a:pt x="1147667" y="951929"/>
                    <a:pt x="1145953" y="979551"/>
                  </a:cubicBezTo>
                  <a:lnTo>
                    <a:pt x="128873" y="979551"/>
                  </a:lnTo>
                  <a:lnTo>
                    <a:pt x="95821" y="775621"/>
                  </a:lnTo>
                  <a:lnTo>
                    <a:pt x="58960" y="547116"/>
                  </a:lnTo>
                  <a:lnTo>
                    <a:pt x="52578" y="507683"/>
                  </a:lnTo>
                  <a:lnTo>
                    <a:pt x="52388" y="506921"/>
                  </a:lnTo>
                  <a:lnTo>
                    <a:pt x="47244" y="474917"/>
                  </a:lnTo>
                  <a:lnTo>
                    <a:pt x="0" y="182690"/>
                  </a:lnTo>
                  <a:cubicBezTo>
                    <a:pt x="7620" y="175546"/>
                    <a:pt x="16097" y="168592"/>
                    <a:pt x="25146" y="162020"/>
                  </a:cubicBezTo>
                  <a:cubicBezTo>
                    <a:pt x="25336" y="161830"/>
                    <a:pt x="25527" y="161734"/>
                    <a:pt x="25717" y="161544"/>
                  </a:cubicBezTo>
                  <a:cubicBezTo>
                    <a:pt x="130111" y="85344"/>
                    <a:pt x="321564" y="39910"/>
                    <a:pt x="442246" y="5620"/>
                  </a:cubicBezTo>
                  <a:cubicBezTo>
                    <a:pt x="448913" y="3715"/>
                    <a:pt x="455390" y="1810"/>
                    <a:pt x="461677" y="0"/>
                  </a:cubicBezTo>
                  <a:cubicBezTo>
                    <a:pt x="518446" y="42767"/>
                    <a:pt x="613029" y="45529"/>
                    <a:pt x="687991" y="35242"/>
                  </a:cubicBezTo>
                  <a:cubicBezTo>
                    <a:pt x="701993" y="33338"/>
                    <a:pt x="715232" y="31051"/>
                    <a:pt x="727424" y="28384"/>
                  </a:cubicBezTo>
                  <a:cubicBezTo>
                    <a:pt x="738283" y="26003"/>
                    <a:pt x="748284" y="23431"/>
                    <a:pt x="757238" y="20765"/>
                  </a:cubicBezTo>
                  <a:cubicBezTo>
                    <a:pt x="780574" y="13811"/>
                    <a:pt x="796576" y="6191"/>
                    <a:pt x="800767" y="0"/>
                  </a:cubicBezTo>
                  <a:cubicBezTo>
                    <a:pt x="806387" y="1715"/>
                    <a:pt x="811911" y="3334"/>
                    <a:pt x="817340" y="5048"/>
                  </a:cubicBezTo>
                  <a:cubicBezTo>
                    <a:pt x="973455" y="52197"/>
                    <a:pt x="1082802" y="84868"/>
                    <a:pt x="1240536" y="160687"/>
                  </a:cubicBezTo>
                  <a:cubicBezTo>
                    <a:pt x="1242060" y="161449"/>
                    <a:pt x="1243679" y="162211"/>
                    <a:pt x="1245298" y="162973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432" name="Grafik 427">
              <a:extLst>
                <a:ext uri="{FF2B5EF4-FFF2-40B4-BE49-F238E27FC236}">
                  <a16:creationId xmlns:a16="http://schemas.microsoft.com/office/drawing/2014/main" id="{41FEA6B3-1699-8D56-0CA9-93EA214D6A8C}"/>
                </a:ext>
              </a:extLst>
            </p:cNvPr>
            <p:cNvGrpSpPr/>
            <p:nvPr/>
          </p:nvGrpSpPr>
          <p:grpSpPr>
            <a:xfrm>
              <a:off x="3587385" y="2433942"/>
              <a:ext cx="800290" cy="146304"/>
              <a:chOff x="3587385" y="2433942"/>
              <a:chExt cx="800290" cy="146304"/>
            </a:xfrm>
          </p:grpSpPr>
          <p:sp>
            <p:nvSpPr>
              <p:cNvPr id="447" name="Freihandform: Form 446">
                <a:extLst>
                  <a:ext uri="{FF2B5EF4-FFF2-40B4-BE49-F238E27FC236}">
                    <a16:creationId xmlns:a16="http://schemas.microsoft.com/office/drawing/2014/main" id="{A218E11C-DFCF-20A9-7C9C-1A501E825779}"/>
                  </a:ext>
                </a:extLst>
              </p:cNvPr>
              <p:cNvSpPr/>
              <p:nvPr/>
            </p:nvSpPr>
            <p:spPr>
              <a:xfrm>
                <a:off x="3587385" y="2433942"/>
                <a:ext cx="449588" cy="146304"/>
              </a:xfrm>
              <a:custGeom>
                <a:avLst/>
                <a:gdLst>
                  <a:gd name="connsiteX0" fmla="*/ 446342 w 449588"/>
                  <a:gd name="connsiteY0" fmla="*/ 146304 h 146304"/>
                  <a:gd name="connsiteX1" fmla="*/ 6286 w 449588"/>
                  <a:gd name="connsiteY1" fmla="*/ 146304 h 146304"/>
                  <a:gd name="connsiteX2" fmla="*/ 0 w 449588"/>
                  <a:gd name="connsiteY2" fmla="*/ 52292 h 146304"/>
                  <a:gd name="connsiteX3" fmla="*/ 51721 w 449588"/>
                  <a:gd name="connsiteY3" fmla="*/ 0 h 146304"/>
                  <a:gd name="connsiteX4" fmla="*/ 179165 w 449588"/>
                  <a:gd name="connsiteY4" fmla="*/ 0 h 146304"/>
                  <a:gd name="connsiteX5" fmla="*/ 197072 w 449588"/>
                  <a:gd name="connsiteY5" fmla="*/ 7144 h 146304"/>
                  <a:gd name="connsiteX6" fmla="*/ 246126 w 449588"/>
                  <a:gd name="connsiteY6" fmla="*/ 46577 h 146304"/>
                  <a:gd name="connsiteX7" fmla="*/ 248888 w 449588"/>
                  <a:gd name="connsiteY7" fmla="*/ 52292 h 146304"/>
                  <a:gd name="connsiteX8" fmla="*/ 324612 w 449588"/>
                  <a:gd name="connsiteY8" fmla="*/ 90011 h 146304"/>
                  <a:gd name="connsiteX9" fmla="*/ 447294 w 449588"/>
                  <a:gd name="connsiteY9" fmla="*/ 109347 h 146304"/>
                  <a:gd name="connsiteX10" fmla="*/ 446342 w 449588"/>
                  <a:gd name="connsiteY10" fmla="*/ 146304 h 146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9588" h="146304">
                    <a:moveTo>
                      <a:pt x="446342" y="146304"/>
                    </a:moveTo>
                    <a:lnTo>
                      <a:pt x="6286" y="146304"/>
                    </a:lnTo>
                    <a:lnTo>
                      <a:pt x="0" y="52292"/>
                    </a:lnTo>
                    <a:lnTo>
                      <a:pt x="51721" y="0"/>
                    </a:lnTo>
                    <a:lnTo>
                      <a:pt x="179165" y="0"/>
                    </a:lnTo>
                    <a:cubicBezTo>
                      <a:pt x="179165" y="0"/>
                      <a:pt x="186785" y="2381"/>
                      <a:pt x="197072" y="7144"/>
                    </a:cubicBezTo>
                    <a:cubicBezTo>
                      <a:pt x="213074" y="14478"/>
                      <a:pt x="235553" y="27623"/>
                      <a:pt x="246126" y="46577"/>
                    </a:cubicBezTo>
                    <a:cubicBezTo>
                      <a:pt x="247174" y="48387"/>
                      <a:pt x="248126" y="50292"/>
                      <a:pt x="248888" y="52292"/>
                    </a:cubicBezTo>
                    <a:cubicBezTo>
                      <a:pt x="254794" y="66770"/>
                      <a:pt x="287369" y="79915"/>
                      <a:pt x="324612" y="90011"/>
                    </a:cubicBezTo>
                    <a:cubicBezTo>
                      <a:pt x="377666" y="104299"/>
                      <a:pt x="440055" y="112490"/>
                      <a:pt x="447294" y="109347"/>
                    </a:cubicBezTo>
                    <a:cubicBezTo>
                      <a:pt x="451009" y="107728"/>
                      <a:pt x="449866" y="123539"/>
                      <a:pt x="446342" y="146304"/>
                    </a:cubicBezTo>
                    <a:close/>
                  </a:path>
                </a:pathLst>
              </a:custGeom>
              <a:solidFill>
                <a:srgbClr val="F9D9D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8" name="Freihandform: Form 447">
                <a:extLst>
                  <a:ext uri="{FF2B5EF4-FFF2-40B4-BE49-F238E27FC236}">
                    <a16:creationId xmlns:a16="http://schemas.microsoft.com/office/drawing/2014/main" id="{1D20F242-F901-8492-3268-3370741AC3D7}"/>
                  </a:ext>
                </a:extLst>
              </p:cNvPr>
              <p:cNvSpPr/>
              <p:nvPr/>
            </p:nvSpPr>
            <p:spPr>
              <a:xfrm>
                <a:off x="3897423" y="2466708"/>
                <a:ext cx="372237" cy="113537"/>
              </a:xfrm>
              <a:custGeom>
                <a:avLst/>
                <a:gdLst>
                  <a:gd name="connsiteX0" fmla="*/ 155543 w 372237"/>
                  <a:gd name="connsiteY0" fmla="*/ 113538 h 113537"/>
                  <a:gd name="connsiteX1" fmla="*/ 0 w 372237"/>
                  <a:gd name="connsiteY1" fmla="*/ 113538 h 113537"/>
                  <a:gd name="connsiteX2" fmla="*/ 14573 w 372237"/>
                  <a:gd name="connsiteY2" fmla="*/ 57245 h 113537"/>
                  <a:gd name="connsiteX3" fmla="*/ 29337 w 372237"/>
                  <a:gd name="connsiteY3" fmla="*/ 0 h 113537"/>
                  <a:gd name="connsiteX4" fmla="*/ 29337 w 372237"/>
                  <a:gd name="connsiteY4" fmla="*/ 0 h 113537"/>
                  <a:gd name="connsiteX5" fmla="*/ 192786 w 372237"/>
                  <a:gd name="connsiteY5" fmla="*/ 21431 h 113537"/>
                  <a:gd name="connsiteX6" fmla="*/ 294323 w 372237"/>
                  <a:gd name="connsiteY6" fmla="*/ 34862 h 113537"/>
                  <a:gd name="connsiteX7" fmla="*/ 361950 w 372237"/>
                  <a:gd name="connsiteY7" fmla="*/ 43815 h 113537"/>
                  <a:gd name="connsiteX8" fmla="*/ 368713 w 372237"/>
                  <a:gd name="connsiteY8" fmla="*/ 44672 h 113537"/>
                  <a:gd name="connsiteX9" fmla="*/ 369094 w 372237"/>
                  <a:gd name="connsiteY9" fmla="*/ 44672 h 113537"/>
                  <a:gd name="connsiteX10" fmla="*/ 372237 w 372237"/>
                  <a:gd name="connsiteY10" fmla="*/ 45053 h 113537"/>
                  <a:gd name="connsiteX11" fmla="*/ 372237 w 372237"/>
                  <a:gd name="connsiteY11" fmla="*/ 45053 h 113537"/>
                  <a:gd name="connsiteX12" fmla="*/ 355092 w 372237"/>
                  <a:gd name="connsiteY12" fmla="*/ 113443 h 113537"/>
                  <a:gd name="connsiteX13" fmla="*/ 193643 w 372237"/>
                  <a:gd name="connsiteY13" fmla="*/ 113443 h 113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2237" h="113537">
                    <a:moveTo>
                      <a:pt x="155543" y="113538"/>
                    </a:moveTo>
                    <a:lnTo>
                      <a:pt x="0" y="113538"/>
                    </a:lnTo>
                    <a:lnTo>
                      <a:pt x="14573" y="57245"/>
                    </a:lnTo>
                    <a:lnTo>
                      <a:pt x="29337" y="0"/>
                    </a:lnTo>
                    <a:lnTo>
                      <a:pt x="29337" y="0"/>
                    </a:lnTo>
                    <a:lnTo>
                      <a:pt x="192786" y="21431"/>
                    </a:lnTo>
                    <a:lnTo>
                      <a:pt x="294323" y="34862"/>
                    </a:lnTo>
                    <a:lnTo>
                      <a:pt x="361950" y="43815"/>
                    </a:lnTo>
                    <a:cubicBezTo>
                      <a:pt x="364141" y="44101"/>
                      <a:pt x="366427" y="44387"/>
                      <a:pt x="368713" y="44672"/>
                    </a:cubicBezTo>
                    <a:cubicBezTo>
                      <a:pt x="368713" y="44672"/>
                      <a:pt x="368998" y="44672"/>
                      <a:pt x="369094" y="44672"/>
                    </a:cubicBezTo>
                    <a:lnTo>
                      <a:pt x="372237" y="45053"/>
                    </a:lnTo>
                    <a:lnTo>
                      <a:pt x="372237" y="45053"/>
                    </a:lnTo>
                    <a:lnTo>
                      <a:pt x="355092" y="113443"/>
                    </a:lnTo>
                    <a:lnTo>
                      <a:pt x="193643" y="113443"/>
                    </a:lnTo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9" name="Freihandform: Form 448">
                <a:extLst>
                  <a:ext uri="{FF2B5EF4-FFF2-40B4-BE49-F238E27FC236}">
                    <a16:creationId xmlns:a16="http://schemas.microsoft.com/office/drawing/2014/main" id="{C1E3D261-CAB2-127E-123C-3153F1CC57ED}"/>
                  </a:ext>
                </a:extLst>
              </p:cNvPr>
              <p:cNvSpPr/>
              <p:nvPr/>
            </p:nvSpPr>
            <p:spPr>
              <a:xfrm>
                <a:off x="3750929" y="2464736"/>
                <a:ext cx="302037" cy="115509"/>
              </a:xfrm>
              <a:custGeom>
                <a:avLst/>
                <a:gdLst>
                  <a:gd name="connsiteX0" fmla="*/ 302038 w 302037"/>
                  <a:gd name="connsiteY0" fmla="*/ 115510 h 115509"/>
                  <a:gd name="connsiteX1" fmla="*/ 0 w 302037"/>
                  <a:gd name="connsiteY1" fmla="*/ 115510 h 115509"/>
                  <a:gd name="connsiteX2" fmla="*/ 33528 w 302037"/>
                  <a:gd name="connsiteY2" fmla="*/ 53216 h 115509"/>
                  <a:gd name="connsiteX3" fmla="*/ 82582 w 302037"/>
                  <a:gd name="connsiteY3" fmla="*/ 15783 h 115509"/>
                  <a:gd name="connsiteX4" fmla="*/ 121158 w 302037"/>
                  <a:gd name="connsiteY4" fmla="*/ 2924 h 115509"/>
                  <a:gd name="connsiteX5" fmla="*/ 175832 w 302037"/>
                  <a:gd name="connsiteY5" fmla="*/ 1972 h 115509"/>
                  <a:gd name="connsiteX6" fmla="*/ 302038 w 302037"/>
                  <a:gd name="connsiteY6" fmla="*/ 115510 h 115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2037" h="115509">
                    <a:moveTo>
                      <a:pt x="302038" y="115510"/>
                    </a:moveTo>
                    <a:lnTo>
                      <a:pt x="0" y="115510"/>
                    </a:lnTo>
                    <a:cubicBezTo>
                      <a:pt x="6286" y="92364"/>
                      <a:pt x="17812" y="71028"/>
                      <a:pt x="33528" y="53216"/>
                    </a:cubicBezTo>
                    <a:cubicBezTo>
                      <a:pt x="47054" y="37786"/>
                      <a:pt x="63627" y="24927"/>
                      <a:pt x="82582" y="15783"/>
                    </a:cubicBezTo>
                    <a:cubicBezTo>
                      <a:pt x="94583" y="9973"/>
                      <a:pt x="107442" y="5591"/>
                      <a:pt x="121158" y="2924"/>
                    </a:cubicBezTo>
                    <a:cubicBezTo>
                      <a:pt x="139732" y="-695"/>
                      <a:pt x="158115" y="-886"/>
                      <a:pt x="175832" y="1972"/>
                    </a:cubicBezTo>
                    <a:cubicBezTo>
                      <a:pt x="235268" y="11401"/>
                      <a:pt x="285750" y="54931"/>
                      <a:pt x="302038" y="115510"/>
                    </a:cubicBez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50" name="Freihandform: Form 449">
                <a:extLst>
                  <a:ext uri="{FF2B5EF4-FFF2-40B4-BE49-F238E27FC236}">
                    <a16:creationId xmlns:a16="http://schemas.microsoft.com/office/drawing/2014/main" id="{209ACAE0-E230-EF25-93D9-A3B42B1417BB}"/>
                  </a:ext>
                </a:extLst>
              </p:cNvPr>
              <p:cNvSpPr/>
              <p:nvPr/>
            </p:nvSpPr>
            <p:spPr>
              <a:xfrm>
                <a:off x="4091067" y="2509455"/>
                <a:ext cx="296608" cy="70790"/>
              </a:xfrm>
              <a:custGeom>
                <a:avLst/>
                <a:gdLst>
                  <a:gd name="connsiteX0" fmla="*/ 296609 w 296608"/>
                  <a:gd name="connsiteY0" fmla="*/ 70791 h 70790"/>
                  <a:gd name="connsiteX1" fmla="*/ 0 w 296608"/>
                  <a:gd name="connsiteY1" fmla="*/ 70791 h 70790"/>
                  <a:gd name="connsiteX2" fmla="*/ 100679 w 296608"/>
                  <a:gd name="connsiteY2" fmla="*/ 6021 h 70790"/>
                  <a:gd name="connsiteX3" fmla="*/ 168307 w 296608"/>
                  <a:gd name="connsiteY3" fmla="*/ 1068 h 70790"/>
                  <a:gd name="connsiteX4" fmla="*/ 175069 w 296608"/>
                  <a:gd name="connsiteY4" fmla="*/ 1925 h 70790"/>
                  <a:gd name="connsiteX5" fmla="*/ 175450 w 296608"/>
                  <a:gd name="connsiteY5" fmla="*/ 1925 h 70790"/>
                  <a:gd name="connsiteX6" fmla="*/ 178594 w 296608"/>
                  <a:gd name="connsiteY6" fmla="*/ 2401 h 70790"/>
                  <a:gd name="connsiteX7" fmla="*/ 296609 w 296608"/>
                  <a:gd name="connsiteY7" fmla="*/ 70695 h 70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6608" h="70790">
                    <a:moveTo>
                      <a:pt x="296609" y="70791"/>
                    </a:moveTo>
                    <a:lnTo>
                      <a:pt x="0" y="70791"/>
                    </a:lnTo>
                    <a:cubicBezTo>
                      <a:pt x="25622" y="39168"/>
                      <a:pt x="60865" y="16308"/>
                      <a:pt x="100679" y="6021"/>
                    </a:cubicBezTo>
                    <a:cubicBezTo>
                      <a:pt x="122206" y="496"/>
                      <a:pt x="144971" y="-1409"/>
                      <a:pt x="168307" y="1068"/>
                    </a:cubicBezTo>
                    <a:cubicBezTo>
                      <a:pt x="170498" y="1353"/>
                      <a:pt x="172784" y="1639"/>
                      <a:pt x="175069" y="1925"/>
                    </a:cubicBezTo>
                    <a:cubicBezTo>
                      <a:pt x="175069" y="1925"/>
                      <a:pt x="175355" y="1925"/>
                      <a:pt x="175450" y="1925"/>
                    </a:cubicBezTo>
                    <a:cubicBezTo>
                      <a:pt x="176498" y="2020"/>
                      <a:pt x="177546" y="2211"/>
                      <a:pt x="178594" y="2401"/>
                    </a:cubicBezTo>
                    <a:cubicBezTo>
                      <a:pt x="226886" y="10116"/>
                      <a:pt x="268034" y="35358"/>
                      <a:pt x="296609" y="70695"/>
                    </a:cubicBez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433" name="Freihandform: Form 432">
              <a:extLst>
                <a:ext uri="{FF2B5EF4-FFF2-40B4-BE49-F238E27FC236}">
                  <a16:creationId xmlns:a16="http://schemas.microsoft.com/office/drawing/2014/main" id="{6962496F-2540-D2EB-D38F-8CB11A2901C3}"/>
                </a:ext>
              </a:extLst>
            </p:cNvPr>
            <p:cNvSpPr/>
            <p:nvPr/>
          </p:nvSpPr>
          <p:spPr>
            <a:xfrm>
              <a:off x="4739909" y="1564691"/>
              <a:ext cx="375856" cy="100204"/>
            </a:xfrm>
            <a:custGeom>
              <a:avLst/>
              <a:gdLst>
                <a:gd name="connsiteX0" fmla="*/ 0 w 375856"/>
                <a:gd name="connsiteY0" fmla="*/ 41529 h 100204"/>
                <a:gd name="connsiteX1" fmla="*/ 18860 w 375856"/>
                <a:gd name="connsiteY1" fmla="*/ 0 h 100204"/>
                <a:gd name="connsiteX2" fmla="*/ 359092 w 375856"/>
                <a:gd name="connsiteY2" fmla="*/ 0 h 100204"/>
                <a:gd name="connsiteX3" fmla="*/ 375857 w 375856"/>
                <a:gd name="connsiteY3" fmla="*/ 42767 h 100204"/>
                <a:gd name="connsiteX4" fmla="*/ 196120 w 375856"/>
                <a:gd name="connsiteY4" fmla="*/ 100203 h 100204"/>
                <a:gd name="connsiteX5" fmla="*/ 0 w 375856"/>
                <a:gd name="connsiteY5" fmla="*/ 41529 h 100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5856" h="100204">
                  <a:moveTo>
                    <a:pt x="0" y="41529"/>
                  </a:moveTo>
                  <a:lnTo>
                    <a:pt x="18860" y="0"/>
                  </a:lnTo>
                  <a:cubicBezTo>
                    <a:pt x="127159" y="17716"/>
                    <a:pt x="240316" y="18669"/>
                    <a:pt x="359092" y="0"/>
                  </a:cubicBezTo>
                  <a:lnTo>
                    <a:pt x="375857" y="42767"/>
                  </a:lnTo>
                  <a:cubicBezTo>
                    <a:pt x="375857" y="42767"/>
                    <a:pt x="301276" y="100489"/>
                    <a:pt x="196120" y="100203"/>
                  </a:cubicBezTo>
                  <a:cubicBezTo>
                    <a:pt x="36767" y="99727"/>
                    <a:pt x="0" y="41529"/>
                    <a:pt x="0" y="41529"/>
                  </a:cubicBezTo>
                  <a:close/>
                </a:path>
              </a:pathLst>
            </a:custGeom>
            <a:solidFill>
              <a:srgbClr val="00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4" name="Freihandform: Form 433">
              <a:extLst>
                <a:ext uri="{FF2B5EF4-FFF2-40B4-BE49-F238E27FC236}">
                  <a16:creationId xmlns:a16="http://schemas.microsoft.com/office/drawing/2014/main" id="{98E5AD06-9E06-25F1-8804-0181A9CE4132}"/>
                </a:ext>
              </a:extLst>
            </p:cNvPr>
            <p:cNvSpPr/>
            <p:nvPr/>
          </p:nvSpPr>
          <p:spPr>
            <a:xfrm>
              <a:off x="3679967" y="2433085"/>
              <a:ext cx="55721" cy="26193"/>
            </a:xfrm>
            <a:custGeom>
              <a:avLst/>
              <a:gdLst>
                <a:gd name="connsiteX0" fmla="*/ 0 w 55721"/>
                <a:gd name="connsiteY0" fmla="*/ 0 h 26193"/>
                <a:gd name="connsiteX1" fmla="*/ 55721 w 55721"/>
                <a:gd name="connsiteY1" fmla="*/ 26194 h 26193"/>
                <a:gd name="connsiteX2" fmla="*/ 51721 w 55721"/>
                <a:gd name="connsiteY2" fmla="*/ 0 h 26193"/>
                <a:gd name="connsiteX3" fmla="*/ 95 w 55721"/>
                <a:gd name="connsiteY3" fmla="*/ 0 h 26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721" h="26193">
                  <a:moveTo>
                    <a:pt x="0" y="0"/>
                  </a:moveTo>
                  <a:cubicBezTo>
                    <a:pt x="0" y="13049"/>
                    <a:pt x="55721" y="26194"/>
                    <a:pt x="55721" y="26194"/>
                  </a:cubicBezTo>
                  <a:lnTo>
                    <a:pt x="51721" y="0"/>
                  </a:lnTo>
                  <a:lnTo>
                    <a:pt x="95" y="0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435" name="Grafik 427">
              <a:extLst>
                <a:ext uri="{FF2B5EF4-FFF2-40B4-BE49-F238E27FC236}">
                  <a16:creationId xmlns:a16="http://schemas.microsoft.com/office/drawing/2014/main" id="{925A7D7B-5CAF-256C-E4DB-DF5DA58189DD}"/>
                </a:ext>
              </a:extLst>
            </p:cNvPr>
            <p:cNvGrpSpPr/>
            <p:nvPr/>
          </p:nvGrpSpPr>
          <p:grpSpPr>
            <a:xfrm>
              <a:off x="3593255" y="2556356"/>
              <a:ext cx="42397" cy="23770"/>
              <a:chOff x="3593255" y="2556356"/>
              <a:chExt cx="42397" cy="23770"/>
            </a:xfrm>
            <a:solidFill>
              <a:srgbClr val="F2BBB3"/>
            </a:solidFill>
          </p:grpSpPr>
          <p:sp>
            <p:nvSpPr>
              <p:cNvPr id="445" name="Freihandform: Form 444">
                <a:extLst>
                  <a:ext uri="{FF2B5EF4-FFF2-40B4-BE49-F238E27FC236}">
                    <a16:creationId xmlns:a16="http://schemas.microsoft.com/office/drawing/2014/main" id="{540EA590-61BD-5852-97CB-42F0CC2A66E6}"/>
                  </a:ext>
                </a:extLst>
              </p:cNvPr>
              <p:cNvSpPr/>
              <p:nvPr/>
            </p:nvSpPr>
            <p:spPr>
              <a:xfrm>
                <a:off x="3595005" y="2562911"/>
                <a:ext cx="38766" cy="10858"/>
              </a:xfrm>
              <a:custGeom>
                <a:avLst/>
                <a:gdLst>
                  <a:gd name="connsiteX0" fmla="*/ 0 w 38766"/>
                  <a:gd name="connsiteY0" fmla="*/ 0 h 10858"/>
                  <a:gd name="connsiteX1" fmla="*/ 38767 w 38766"/>
                  <a:gd name="connsiteY1" fmla="*/ 10859 h 10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766" h="10858">
                    <a:moveTo>
                      <a:pt x="0" y="0"/>
                    </a:moveTo>
                    <a:lnTo>
                      <a:pt x="38767" y="10859"/>
                    </a:lnTo>
                  </a:path>
                </a:pathLst>
              </a:custGeom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6" name="Freihandform: Form 445">
                <a:extLst>
                  <a:ext uri="{FF2B5EF4-FFF2-40B4-BE49-F238E27FC236}">
                    <a16:creationId xmlns:a16="http://schemas.microsoft.com/office/drawing/2014/main" id="{760357D6-5216-E355-1411-C1C15637F33D}"/>
                  </a:ext>
                </a:extLst>
              </p:cNvPr>
              <p:cNvSpPr/>
              <p:nvPr/>
            </p:nvSpPr>
            <p:spPr>
              <a:xfrm rot="-4455001">
                <a:off x="3607787" y="2548096"/>
                <a:ext cx="13334" cy="40290"/>
              </a:xfrm>
              <a:custGeom>
                <a:avLst/>
                <a:gdLst>
                  <a:gd name="connsiteX0" fmla="*/ 0 w 13334"/>
                  <a:gd name="connsiteY0" fmla="*/ 0 h 40290"/>
                  <a:gd name="connsiteX1" fmla="*/ 13335 w 13334"/>
                  <a:gd name="connsiteY1" fmla="*/ 0 h 40290"/>
                  <a:gd name="connsiteX2" fmla="*/ 13335 w 13334"/>
                  <a:gd name="connsiteY2" fmla="*/ 40291 h 40290"/>
                  <a:gd name="connsiteX3" fmla="*/ 0 w 13334"/>
                  <a:gd name="connsiteY3" fmla="*/ 40291 h 40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34" h="40290">
                    <a:moveTo>
                      <a:pt x="0" y="0"/>
                    </a:moveTo>
                    <a:lnTo>
                      <a:pt x="13335" y="0"/>
                    </a:lnTo>
                    <a:lnTo>
                      <a:pt x="13335" y="40291"/>
                    </a:lnTo>
                    <a:lnTo>
                      <a:pt x="0" y="40291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436" name="Freihandform: Form 435">
              <a:extLst>
                <a:ext uri="{FF2B5EF4-FFF2-40B4-BE49-F238E27FC236}">
                  <a16:creationId xmlns:a16="http://schemas.microsoft.com/office/drawing/2014/main" id="{8490552E-6613-8BE1-5072-FD53D4A3EE24}"/>
                </a:ext>
              </a:extLst>
            </p:cNvPr>
            <p:cNvSpPr/>
            <p:nvPr/>
          </p:nvSpPr>
          <p:spPr>
            <a:xfrm>
              <a:off x="5281311" y="1744904"/>
              <a:ext cx="362711" cy="362711"/>
            </a:xfrm>
            <a:custGeom>
              <a:avLst/>
              <a:gdLst>
                <a:gd name="connsiteX0" fmla="*/ 362712 w 362711"/>
                <a:gd name="connsiteY0" fmla="*/ 181356 h 362711"/>
                <a:gd name="connsiteX1" fmla="*/ 181356 w 362711"/>
                <a:gd name="connsiteY1" fmla="*/ 362712 h 362711"/>
                <a:gd name="connsiteX2" fmla="*/ 0 w 362711"/>
                <a:gd name="connsiteY2" fmla="*/ 181356 h 362711"/>
                <a:gd name="connsiteX3" fmla="*/ 181356 w 362711"/>
                <a:gd name="connsiteY3" fmla="*/ 0 h 362711"/>
                <a:gd name="connsiteX4" fmla="*/ 362712 w 362711"/>
                <a:gd name="connsiteY4" fmla="*/ 181356 h 362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2711" h="362711">
                  <a:moveTo>
                    <a:pt x="362712" y="181356"/>
                  </a:moveTo>
                  <a:cubicBezTo>
                    <a:pt x="362712" y="281516"/>
                    <a:pt x="281516" y="362712"/>
                    <a:pt x="181356" y="362712"/>
                  </a:cubicBezTo>
                  <a:cubicBezTo>
                    <a:pt x="81196" y="362712"/>
                    <a:pt x="0" y="281516"/>
                    <a:pt x="0" y="181356"/>
                  </a:cubicBezTo>
                  <a:cubicBezTo>
                    <a:pt x="0" y="81196"/>
                    <a:pt x="81196" y="0"/>
                    <a:pt x="181356" y="0"/>
                  </a:cubicBezTo>
                  <a:cubicBezTo>
                    <a:pt x="281516" y="0"/>
                    <a:pt x="362712" y="81196"/>
                    <a:pt x="362712" y="181356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7" name="Freihandform: Form 436">
              <a:extLst>
                <a:ext uri="{FF2B5EF4-FFF2-40B4-BE49-F238E27FC236}">
                  <a16:creationId xmlns:a16="http://schemas.microsoft.com/office/drawing/2014/main" id="{F061C7FB-0380-1AC9-0A18-C9CED70C6397}"/>
                </a:ext>
              </a:extLst>
            </p:cNvPr>
            <p:cNvSpPr/>
            <p:nvPr/>
          </p:nvSpPr>
          <p:spPr>
            <a:xfrm>
              <a:off x="4243276" y="1731378"/>
              <a:ext cx="362712" cy="362712"/>
            </a:xfrm>
            <a:custGeom>
              <a:avLst/>
              <a:gdLst>
                <a:gd name="connsiteX0" fmla="*/ 362712 w 362712"/>
                <a:gd name="connsiteY0" fmla="*/ 181356 h 362712"/>
                <a:gd name="connsiteX1" fmla="*/ 181356 w 362712"/>
                <a:gd name="connsiteY1" fmla="*/ 362712 h 362712"/>
                <a:gd name="connsiteX2" fmla="*/ 0 w 362712"/>
                <a:gd name="connsiteY2" fmla="*/ 181356 h 362712"/>
                <a:gd name="connsiteX3" fmla="*/ 181356 w 362712"/>
                <a:gd name="connsiteY3" fmla="*/ 0 h 362712"/>
                <a:gd name="connsiteX4" fmla="*/ 362712 w 362712"/>
                <a:gd name="connsiteY4" fmla="*/ 181356 h 36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2712" h="362712">
                  <a:moveTo>
                    <a:pt x="362712" y="181356"/>
                  </a:moveTo>
                  <a:cubicBezTo>
                    <a:pt x="362712" y="281516"/>
                    <a:pt x="281516" y="362712"/>
                    <a:pt x="181356" y="362712"/>
                  </a:cubicBezTo>
                  <a:cubicBezTo>
                    <a:pt x="81196" y="362712"/>
                    <a:pt x="0" y="281516"/>
                    <a:pt x="0" y="181356"/>
                  </a:cubicBezTo>
                  <a:cubicBezTo>
                    <a:pt x="0" y="81196"/>
                    <a:pt x="81196" y="0"/>
                    <a:pt x="181356" y="0"/>
                  </a:cubicBezTo>
                  <a:cubicBezTo>
                    <a:pt x="281516" y="0"/>
                    <a:pt x="362712" y="81196"/>
                    <a:pt x="362712" y="181356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8" name="Freihandform: Form 437">
              <a:extLst>
                <a:ext uri="{FF2B5EF4-FFF2-40B4-BE49-F238E27FC236}">
                  <a16:creationId xmlns:a16="http://schemas.microsoft.com/office/drawing/2014/main" id="{BE69952D-4F14-816D-7E11-428D484C1C77}"/>
                </a:ext>
              </a:extLst>
            </p:cNvPr>
            <p:cNvSpPr/>
            <p:nvPr/>
          </p:nvSpPr>
          <p:spPr>
            <a:xfrm rot="17558400">
              <a:off x="5029159" y="1197388"/>
              <a:ext cx="189166" cy="121920"/>
            </a:xfrm>
            <a:custGeom>
              <a:avLst/>
              <a:gdLst>
                <a:gd name="connsiteX0" fmla="*/ 189167 w 189166"/>
                <a:gd name="connsiteY0" fmla="*/ 60960 h 121920"/>
                <a:gd name="connsiteX1" fmla="*/ 94583 w 189166"/>
                <a:gd name="connsiteY1" fmla="*/ 121920 h 121920"/>
                <a:gd name="connsiteX2" fmla="*/ 0 w 189166"/>
                <a:gd name="connsiteY2" fmla="*/ 60960 h 121920"/>
                <a:gd name="connsiteX3" fmla="*/ 94583 w 189166"/>
                <a:gd name="connsiteY3" fmla="*/ 0 h 121920"/>
                <a:gd name="connsiteX4" fmla="*/ 189167 w 189166"/>
                <a:gd name="connsiteY4" fmla="*/ 60960 h 12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166" h="121920">
                  <a:moveTo>
                    <a:pt x="189167" y="60960"/>
                  </a:moveTo>
                  <a:cubicBezTo>
                    <a:pt x="189167" y="94627"/>
                    <a:pt x="146820" y="121920"/>
                    <a:pt x="94583" y="121920"/>
                  </a:cubicBezTo>
                  <a:cubicBezTo>
                    <a:pt x="42346" y="121920"/>
                    <a:pt x="0" y="94627"/>
                    <a:pt x="0" y="60960"/>
                  </a:cubicBezTo>
                  <a:cubicBezTo>
                    <a:pt x="0" y="27293"/>
                    <a:pt x="42347" y="0"/>
                    <a:pt x="94583" y="0"/>
                  </a:cubicBezTo>
                  <a:cubicBezTo>
                    <a:pt x="146820" y="0"/>
                    <a:pt x="189167" y="27293"/>
                    <a:pt x="189167" y="60960"/>
                  </a:cubicBezTo>
                  <a:close/>
                </a:path>
              </a:pathLst>
            </a:custGeom>
            <a:solidFill>
              <a:srgbClr val="F9D9D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9" name="Freihandform: Form 438">
              <a:extLst>
                <a:ext uri="{FF2B5EF4-FFF2-40B4-BE49-F238E27FC236}">
                  <a16:creationId xmlns:a16="http://schemas.microsoft.com/office/drawing/2014/main" id="{ED799746-BD53-757E-ED90-5F48EDC57FCE}"/>
                </a:ext>
              </a:extLst>
            </p:cNvPr>
            <p:cNvSpPr/>
            <p:nvPr/>
          </p:nvSpPr>
          <p:spPr>
            <a:xfrm rot="20568601">
              <a:off x="4675778" y="1163792"/>
              <a:ext cx="121919" cy="189166"/>
            </a:xfrm>
            <a:custGeom>
              <a:avLst/>
              <a:gdLst>
                <a:gd name="connsiteX0" fmla="*/ 121920 w 121919"/>
                <a:gd name="connsiteY0" fmla="*/ 94583 h 189166"/>
                <a:gd name="connsiteX1" fmla="*/ 60960 w 121919"/>
                <a:gd name="connsiteY1" fmla="*/ 189167 h 189166"/>
                <a:gd name="connsiteX2" fmla="*/ 0 w 121919"/>
                <a:gd name="connsiteY2" fmla="*/ 94583 h 189166"/>
                <a:gd name="connsiteX3" fmla="*/ 60960 w 121919"/>
                <a:gd name="connsiteY3" fmla="*/ 0 h 189166"/>
                <a:gd name="connsiteX4" fmla="*/ 121920 w 121919"/>
                <a:gd name="connsiteY4" fmla="*/ 94583 h 189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919" h="189166">
                  <a:moveTo>
                    <a:pt x="121920" y="94583"/>
                  </a:moveTo>
                  <a:cubicBezTo>
                    <a:pt x="121920" y="146820"/>
                    <a:pt x="94627" y="189167"/>
                    <a:pt x="60960" y="189167"/>
                  </a:cubicBezTo>
                  <a:cubicBezTo>
                    <a:pt x="27293" y="189167"/>
                    <a:pt x="0" y="146820"/>
                    <a:pt x="0" y="94583"/>
                  </a:cubicBezTo>
                  <a:cubicBezTo>
                    <a:pt x="0" y="42346"/>
                    <a:pt x="27293" y="0"/>
                    <a:pt x="60960" y="0"/>
                  </a:cubicBezTo>
                  <a:cubicBezTo>
                    <a:pt x="94627" y="0"/>
                    <a:pt x="121920" y="42346"/>
                    <a:pt x="121920" y="94583"/>
                  </a:cubicBezTo>
                  <a:close/>
                </a:path>
              </a:pathLst>
            </a:custGeom>
            <a:solidFill>
              <a:srgbClr val="F9D9D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0" name="Freihandform: Form 439">
              <a:extLst>
                <a:ext uri="{FF2B5EF4-FFF2-40B4-BE49-F238E27FC236}">
                  <a16:creationId xmlns:a16="http://schemas.microsoft.com/office/drawing/2014/main" id="{8D6D570C-8BED-5796-3101-2978A6B05D66}"/>
                </a:ext>
              </a:extLst>
            </p:cNvPr>
            <p:cNvSpPr/>
            <p:nvPr/>
          </p:nvSpPr>
          <p:spPr>
            <a:xfrm>
              <a:off x="4694856" y="873461"/>
              <a:ext cx="468058" cy="489394"/>
            </a:xfrm>
            <a:custGeom>
              <a:avLst/>
              <a:gdLst>
                <a:gd name="connsiteX0" fmla="*/ 468059 w 468058"/>
                <a:gd name="connsiteY0" fmla="*/ 244697 h 489394"/>
                <a:gd name="connsiteX1" fmla="*/ 234029 w 468058"/>
                <a:gd name="connsiteY1" fmla="*/ 489395 h 489394"/>
                <a:gd name="connsiteX2" fmla="*/ 0 w 468058"/>
                <a:gd name="connsiteY2" fmla="*/ 244697 h 489394"/>
                <a:gd name="connsiteX3" fmla="*/ 234029 w 468058"/>
                <a:gd name="connsiteY3" fmla="*/ 0 h 489394"/>
                <a:gd name="connsiteX4" fmla="*/ 468059 w 468058"/>
                <a:gd name="connsiteY4" fmla="*/ 244697 h 48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8058" h="489394">
                  <a:moveTo>
                    <a:pt x="468059" y="244697"/>
                  </a:moveTo>
                  <a:cubicBezTo>
                    <a:pt x="468059" y="379840"/>
                    <a:pt x="363280" y="489395"/>
                    <a:pt x="234029" y="489395"/>
                  </a:cubicBezTo>
                  <a:cubicBezTo>
                    <a:pt x="104778" y="489395"/>
                    <a:pt x="0" y="379840"/>
                    <a:pt x="0" y="244697"/>
                  </a:cubicBezTo>
                  <a:cubicBezTo>
                    <a:pt x="0" y="109555"/>
                    <a:pt x="104778" y="0"/>
                    <a:pt x="234029" y="0"/>
                  </a:cubicBezTo>
                  <a:cubicBezTo>
                    <a:pt x="363280" y="0"/>
                    <a:pt x="468059" y="109555"/>
                    <a:pt x="468059" y="244697"/>
                  </a:cubicBezTo>
                  <a:close/>
                </a:path>
              </a:pathLst>
            </a:custGeom>
            <a:solidFill>
              <a:srgbClr val="C0906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1" name="Freihandform: Form 440">
              <a:extLst>
                <a:ext uri="{FF2B5EF4-FFF2-40B4-BE49-F238E27FC236}">
                  <a16:creationId xmlns:a16="http://schemas.microsoft.com/office/drawing/2014/main" id="{21B92307-B5C9-121F-1CD3-F1008C33853D}"/>
                </a:ext>
              </a:extLst>
            </p:cNvPr>
            <p:cNvSpPr/>
            <p:nvPr/>
          </p:nvSpPr>
          <p:spPr>
            <a:xfrm>
              <a:off x="4698637" y="1036720"/>
              <a:ext cx="462404" cy="435113"/>
            </a:xfrm>
            <a:custGeom>
              <a:avLst/>
              <a:gdLst>
                <a:gd name="connsiteX0" fmla="*/ 460563 w 462404"/>
                <a:gd name="connsiteY0" fmla="*/ 134874 h 435113"/>
                <a:gd name="connsiteX1" fmla="*/ 230248 w 462404"/>
                <a:gd name="connsiteY1" fmla="*/ 0 h 435113"/>
                <a:gd name="connsiteX2" fmla="*/ 2125 w 462404"/>
                <a:gd name="connsiteY2" fmla="*/ 145066 h 435113"/>
                <a:gd name="connsiteX3" fmla="*/ 31271 w 462404"/>
                <a:gd name="connsiteY3" fmla="*/ 308039 h 435113"/>
                <a:gd name="connsiteX4" fmla="*/ 61846 w 462404"/>
                <a:gd name="connsiteY4" fmla="*/ 376904 h 435113"/>
                <a:gd name="connsiteX5" fmla="*/ 400936 w 462404"/>
                <a:gd name="connsiteY5" fmla="*/ 381286 h 435113"/>
                <a:gd name="connsiteX6" fmla="*/ 430083 w 462404"/>
                <a:gd name="connsiteY6" fmla="*/ 278892 h 435113"/>
                <a:gd name="connsiteX7" fmla="*/ 460658 w 462404"/>
                <a:gd name="connsiteY7" fmla="*/ 135065 h 435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2404" h="435113">
                  <a:moveTo>
                    <a:pt x="460563" y="134874"/>
                  </a:moveTo>
                  <a:cubicBezTo>
                    <a:pt x="460563" y="134874"/>
                    <a:pt x="498472" y="0"/>
                    <a:pt x="230248" y="0"/>
                  </a:cubicBezTo>
                  <a:cubicBezTo>
                    <a:pt x="-37976" y="0"/>
                    <a:pt x="2125" y="145066"/>
                    <a:pt x="2125" y="145066"/>
                  </a:cubicBezTo>
                  <a:cubicBezTo>
                    <a:pt x="2125" y="145066"/>
                    <a:pt x="24889" y="274034"/>
                    <a:pt x="31271" y="308039"/>
                  </a:cubicBezTo>
                  <a:cubicBezTo>
                    <a:pt x="37272" y="339947"/>
                    <a:pt x="50893" y="356426"/>
                    <a:pt x="61846" y="376904"/>
                  </a:cubicBezTo>
                  <a:cubicBezTo>
                    <a:pt x="113281" y="460248"/>
                    <a:pt x="360074" y="447199"/>
                    <a:pt x="400936" y="381286"/>
                  </a:cubicBezTo>
                  <a:cubicBezTo>
                    <a:pt x="427511" y="323088"/>
                    <a:pt x="423892" y="310801"/>
                    <a:pt x="430083" y="278892"/>
                  </a:cubicBezTo>
                  <a:cubicBezTo>
                    <a:pt x="438370" y="236125"/>
                    <a:pt x="460658" y="135065"/>
                    <a:pt x="460658" y="135065"/>
                  </a:cubicBezTo>
                  <a:close/>
                </a:path>
              </a:pathLst>
            </a:custGeom>
            <a:solidFill>
              <a:srgbClr val="4040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2" name="Freihandform: Form 441">
              <a:extLst>
                <a:ext uri="{FF2B5EF4-FFF2-40B4-BE49-F238E27FC236}">
                  <a16:creationId xmlns:a16="http://schemas.microsoft.com/office/drawing/2014/main" id="{AEBEFF01-4C8C-E6BB-C747-49A40FA6DA55}"/>
                </a:ext>
              </a:extLst>
            </p:cNvPr>
            <p:cNvSpPr/>
            <p:nvPr/>
          </p:nvSpPr>
          <p:spPr>
            <a:xfrm>
              <a:off x="4680638" y="820217"/>
              <a:ext cx="496325" cy="617294"/>
            </a:xfrm>
            <a:custGeom>
              <a:avLst/>
              <a:gdLst>
                <a:gd name="connsiteX0" fmla="*/ 489802 w 496325"/>
                <a:gd name="connsiteY0" fmla="*/ 339566 h 617294"/>
                <a:gd name="connsiteX1" fmla="*/ 248248 w 496325"/>
                <a:gd name="connsiteY1" fmla="*/ 0 h 617294"/>
                <a:gd name="connsiteX2" fmla="*/ 8027 w 496325"/>
                <a:gd name="connsiteY2" fmla="*/ 341281 h 617294"/>
                <a:gd name="connsiteX3" fmla="*/ 44889 w 496325"/>
                <a:gd name="connsiteY3" fmla="*/ 500825 h 617294"/>
                <a:gd name="connsiteX4" fmla="*/ 443224 w 496325"/>
                <a:gd name="connsiteY4" fmla="*/ 502634 h 617294"/>
                <a:gd name="connsiteX5" fmla="*/ 489802 w 496325"/>
                <a:gd name="connsiteY5" fmla="*/ 339566 h 617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6325" h="617294">
                  <a:moveTo>
                    <a:pt x="489802" y="339566"/>
                  </a:moveTo>
                  <a:cubicBezTo>
                    <a:pt x="515329" y="140970"/>
                    <a:pt x="472180" y="0"/>
                    <a:pt x="248248" y="0"/>
                  </a:cubicBezTo>
                  <a:cubicBezTo>
                    <a:pt x="51080" y="0"/>
                    <a:pt x="-26739" y="67723"/>
                    <a:pt x="8027" y="341281"/>
                  </a:cubicBezTo>
                  <a:cubicBezTo>
                    <a:pt x="8980" y="351377"/>
                    <a:pt x="41841" y="491776"/>
                    <a:pt x="44889" y="500825"/>
                  </a:cubicBezTo>
                  <a:cubicBezTo>
                    <a:pt x="99372" y="660178"/>
                    <a:pt x="418364" y="651415"/>
                    <a:pt x="443224" y="502634"/>
                  </a:cubicBezTo>
                  <a:cubicBezTo>
                    <a:pt x="446558" y="482822"/>
                    <a:pt x="476467" y="424053"/>
                    <a:pt x="489802" y="339566"/>
                  </a:cubicBezTo>
                  <a:close/>
                </a:path>
              </a:pathLst>
            </a:custGeom>
            <a:solidFill>
              <a:srgbClr val="4040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4" name="Freihandform: Form 443">
              <a:extLst>
                <a:ext uri="{FF2B5EF4-FFF2-40B4-BE49-F238E27FC236}">
                  <a16:creationId xmlns:a16="http://schemas.microsoft.com/office/drawing/2014/main" id="{21728324-64CD-DBAF-35D4-8BECB7837B94}"/>
                </a:ext>
              </a:extLst>
            </p:cNvPr>
            <p:cNvSpPr/>
            <p:nvPr/>
          </p:nvSpPr>
          <p:spPr>
            <a:xfrm>
              <a:off x="4391009" y="2284590"/>
              <a:ext cx="1166526" cy="295655"/>
            </a:xfrm>
            <a:custGeom>
              <a:avLst/>
              <a:gdLst>
                <a:gd name="connsiteX0" fmla="*/ 1166527 w 1166526"/>
                <a:gd name="connsiteY0" fmla="*/ 115729 h 295655"/>
                <a:gd name="connsiteX1" fmla="*/ 1166527 w 1166526"/>
                <a:gd name="connsiteY1" fmla="*/ 295656 h 295655"/>
                <a:gd name="connsiteX2" fmla="*/ 0 w 1166526"/>
                <a:gd name="connsiteY2" fmla="*/ 295656 h 295655"/>
                <a:gd name="connsiteX3" fmla="*/ 0 w 1166526"/>
                <a:gd name="connsiteY3" fmla="*/ 115729 h 295655"/>
                <a:gd name="connsiteX4" fmla="*/ 2477 w 1166526"/>
                <a:gd name="connsiteY4" fmla="*/ 91726 h 295655"/>
                <a:gd name="connsiteX5" fmla="*/ 115633 w 1166526"/>
                <a:gd name="connsiteY5" fmla="*/ 0 h 295655"/>
                <a:gd name="connsiteX6" fmla="*/ 1050798 w 1166526"/>
                <a:gd name="connsiteY6" fmla="*/ 0 h 295655"/>
                <a:gd name="connsiteX7" fmla="*/ 1082040 w 1166526"/>
                <a:gd name="connsiteY7" fmla="*/ 4286 h 295655"/>
                <a:gd name="connsiteX8" fmla="*/ 1166527 w 1166526"/>
                <a:gd name="connsiteY8" fmla="*/ 115729 h 295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66526" h="295655">
                  <a:moveTo>
                    <a:pt x="1166527" y="115729"/>
                  </a:moveTo>
                  <a:lnTo>
                    <a:pt x="1166527" y="295656"/>
                  </a:lnTo>
                  <a:lnTo>
                    <a:pt x="0" y="295656"/>
                  </a:lnTo>
                  <a:lnTo>
                    <a:pt x="0" y="115729"/>
                  </a:lnTo>
                  <a:cubicBezTo>
                    <a:pt x="0" y="107537"/>
                    <a:pt x="857" y="99441"/>
                    <a:pt x="2477" y="91726"/>
                  </a:cubicBezTo>
                  <a:cubicBezTo>
                    <a:pt x="13525" y="39338"/>
                    <a:pt x="59912" y="0"/>
                    <a:pt x="115633" y="0"/>
                  </a:cubicBezTo>
                  <a:lnTo>
                    <a:pt x="1050798" y="0"/>
                  </a:lnTo>
                  <a:cubicBezTo>
                    <a:pt x="1061657" y="0"/>
                    <a:pt x="1072134" y="1524"/>
                    <a:pt x="1082040" y="4286"/>
                  </a:cubicBezTo>
                  <a:cubicBezTo>
                    <a:pt x="1130808" y="17907"/>
                    <a:pt x="1166527" y="62675"/>
                    <a:pt x="1166527" y="115729"/>
                  </a:cubicBezTo>
                  <a:close/>
                </a:path>
              </a:pathLst>
            </a:custGeom>
            <a:solidFill>
              <a:srgbClr val="4040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81" name="Gruppieren 480">
            <a:extLst>
              <a:ext uri="{FF2B5EF4-FFF2-40B4-BE49-F238E27FC236}">
                <a16:creationId xmlns:a16="http://schemas.microsoft.com/office/drawing/2014/main" id="{58F84776-FEA9-0BBC-20CA-36CE138F6309}"/>
              </a:ext>
            </a:extLst>
          </p:cNvPr>
          <p:cNvGrpSpPr/>
          <p:nvPr/>
        </p:nvGrpSpPr>
        <p:grpSpPr>
          <a:xfrm>
            <a:off x="5765801" y="3251609"/>
            <a:ext cx="318516" cy="536168"/>
            <a:chOff x="3009901" y="3544050"/>
            <a:chExt cx="318516" cy="536168"/>
          </a:xfrm>
        </p:grpSpPr>
        <p:pic>
          <p:nvPicPr>
            <p:cNvPr id="482" name="Grafik 481">
              <a:extLst>
                <a:ext uri="{FF2B5EF4-FFF2-40B4-BE49-F238E27FC236}">
                  <a16:creationId xmlns:a16="http://schemas.microsoft.com/office/drawing/2014/main" id="{329EC8FE-3EBD-DFF4-AC09-4D523030545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009901" y="3544050"/>
              <a:ext cx="318516" cy="536168"/>
            </a:xfrm>
            <a:prstGeom prst="rect">
              <a:avLst/>
            </a:prstGeom>
          </p:spPr>
        </p:pic>
        <p:sp>
          <p:nvSpPr>
            <p:cNvPr id="483" name="Freeform 131">
              <a:extLst>
                <a:ext uri="{FF2B5EF4-FFF2-40B4-BE49-F238E27FC236}">
                  <a16:creationId xmlns:a16="http://schemas.microsoft.com/office/drawing/2014/main" id="{356A355F-B760-A060-6D47-3332C1BDA2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78988" y="3722858"/>
              <a:ext cx="173800" cy="130508"/>
            </a:xfrm>
            <a:custGeom>
              <a:avLst/>
              <a:gdLst>
                <a:gd name="T0" fmla="*/ 384 w 467"/>
                <a:gd name="T1" fmla="*/ 33 h 350"/>
                <a:gd name="T2" fmla="*/ 84 w 467"/>
                <a:gd name="T3" fmla="*/ 33 h 350"/>
                <a:gd name="T4" fmla="*/ 84 w 467"/>
                <a:gd name="T5" fmla="*/ 217 h 350"/>
                <a:gd name="T6" fmla="*/ 384 w 467"/>
                <a:gd name="T7" fmla="*/ 217 h 350"/>
                <a:gd name="T8" fmla="*/ 384 w 467"/>
                <a:gd name="T9" fmla="*/ 33 h 350"/>
                <a:gd name="T10" fmla="*/ 467 w 467"/>
                <a:gd name="T11" fmla="*/ 317 h 350"/>
                <a:gd name="T12" fmla="*/ 467 w 467"/>
                <a:gd name="T13" fmla="*/ 283 h 350"/>
                <a:gd name="T14" fmla="*/ 0 w 467"/>
                <a:gd name="T15" fmla="*/ 283 h 350"/>
                <a:gd name="T16" fmla="*/ 0 w 467"/>
                <a:gd name="T17" fmla="*/ 317 h 350"/>
                <a:gd name="T18" fmla="*/ 34 w 467"/>
                <a:gd name="T19" fmla="*/ 350 h 350"/>
                <a:gd name="T20" fmla="*/ 434 w 467"/>
                <a:gd name="T21" fmla="*/ 350 h 350"/>
                <a:gd name="T22" fmla="*/ 467 w 467"/>
                <a:gd name="T23" fmla="*/ 317 h 350"/>
                <a:gd name="T24" fmla="*/ 417 w 467"/>
                <a:gd name="T25" fmla="*/ 250 h 350"/>
                <a:gd name="T26" fmla="*/ 50 w 467"/>
                <a:gd name="T27" fmla="*/ 250 h 350"/>
                <a:gd name="T28" fmla="*/ 50 w 467"/>
                <a:gd name="T29" fmla="*/ 33 h 350"/>
                <a:gd name="T30" fmla="*/ 84 w 467"/>
                <a:gd name="T31" fmla="*/ 0 h 350"/>
                <a:gd name="T32" fmla="*/ 384 w 467"/>
                <a:gd name="T33" fmla="*/ 0 h 350"/>
                <a:gd name="T34" fmla="*/ 417 w 467"/>
                <a:gd name="T35" fmla="*/ 33 h 350"/>
                <a:gd name="T36" fmla="*/ 417 w 467"/>
                <a:gd name="T37" fmla="*/ 25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7" h="350">
                  <a:moveTo>
                    <a:pt x="384" y="33"/>
                  </a:moveTo>
                  <a:lnTo>
                    <a:pt x="84" y="33"/>
                  </a:lnTo>
                  <a:lnTo>
                    <a:pt x="84" y="217"/>
                  </a:lnTo>
                  <a:lnTo>
                    <a:pt x="384" y="217"/>
                  </a:lnTo>
                  <a:lnTo>
                    <a:pt x="384" y="33"/>
                  </a:lnTo>
                  <a:close/>
                  <a:moveTo>
                    <a:pt x="467" y="317"/>
                  </a:moveTo>
                  <a:lnTo>
                    <a:pt x="467" y="283"/>
                  </a:lnTo>
                  <a:lnTo>
                    <a:pt x="0" y="283"/>
                  </a:lnTo>
                  <a:lnTo>
                    <a:pt x="0" y="317"/>
                  </a:lnTo>
                  <a:cubicBezTo>
                    <a:pt x="0" y="335"/>
                    <a:pt x="15" y="350"/>
                    <a:pt x="34" y="350"/>
                  </a:cubicBezTo>
                  <a:lnTo>
                    <a:pt x="434" y="350"/>
                  </a:lnTo>
                  <a:cubicBezTo>
                    <a:pt x="452" y="350"/>
                    <a:pt x="467" y="335"/>
                    <a:pt x="467" y="317"/>
                  </a:cubicBezTo>
                  <a:close/>
                  <a:moveTo>
                    <a:pt x="417" y="250"/>
                  </a:moveTo>
                  <a:lnTo>
                    <a:pt x="50" y="250"/>
                  </a:lnTo>
                  <a:lnTo>
                    <a:pt x="50" y="33"/>
                  </a:lnTo>
                  <a:cubicBezTo>
                    <a:pt x="50" y="15"/>
                    <a:pt x="65" y="0"/>
                    <a:pt x="84" y="0"/>
                  </a:cubicBezTo>
                  <a:lnTo>
                    <a:pt x="384" y="0"/>
                  </a:lnTo>
                  <a:cubicBezTo>
                    <a:pt x="402" y="0"/>
                    <a:pt x="417" y="15"/>
                    <a:pt x="417" y="33"/>
                  </a:cubicBezTo>
                  <a:lnTo>
                    <a:pt x="417" y="25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486" name="Gerader Verbinder 485">
            <a:extLst>
              <a:ext uri="{FF2B5EF4-FFF2-40B4-BE49-F238E27FC236}">
                <a16:creationId xmlns:a16="http://schemas.microsoft.com/office/drawing/2014/main" id="{F7222B93-A38A-4EC7-58FC-6DF5BE717107}"/>
              </a:ext>
            </a:extLst>
          </p:cNvPr>
          <p:cNvCxnSpPr>
            <a:cxnSpLocks/>
          </p:cNvCxnSpPr>
          <p:nvPr/>
        </p:nvCxnSpPr>
        <p:spPr>
          <a:xfrm>
            <a:off x="5857967" y="3879263"/>
            <a:ext cx="0" cy="1741934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7" name="Rectangle 18">
            <a:extLst>
              <a:ext uri="{FF2B5EF4-FFF2-40B4-BE49-F238E27FC236}">
                <a16:creationId xmlns:a16="http://schemas.microsoft.com/office/drawing/2014/main" id="{0C1711BA-C303-4B29-2DFA-B87A18DDE8A2}"/>
              </a:ext>
            </a:extLst>
          </p:cNvPr>
          <p:cNvSpPr>
            <a:spLocks/>
          </p:cNvSpPr>
          <p:nvPr/>
        </p:nvSpPr>
        <p:spPr>
          <a:xfrm>
            <a:off x="5857967" y="5311771"/>
            <a:ext cx="1323656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0" rIns="0" bIns="0" rtlCol="0" anchor="t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</a:rPr>
              <a:t>Zweitmeinung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>
                <a:solidFill>
                  <a:srgbClr val="000000"/>
                </a:solidFill>
                <a:latin typeface="Calibri"/>
              </a:rPr>
              <a:t>tdhp Telekonsultation</a:t>
            </a:r>
          </a:p>
        </p:txBody>
      </p:sp>
      <p:pic>
        <p:nvPicPr>
          <p:cNvPr id="728" name="Grafik 727">
            <a:extLst>
              <a:ext uri="{FF2B5EF4-FFF2-40B4-BE49-F238E27FC236}">
                <a16:creationId xmlns:a16="http://schemas.microsoft.com/office/drawing/2014/main" id="{DCA18EFA-322C-D367-FAD5-ED3E6B39EA4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489407" y="3213159"/>
            <a:ext cx="613068" cy="613068"/>
          </a:xfrm>
          <a:prstGeom prst="rect">
            <a:avLst/>
          </a:prstGeom>
        </p:spPr>
      </p:pic>
      <p:cxnSp>
        <p:nvCxnSpPr>
          <p:cNvPr id="729" name="Gerader Verbinder 728">
            <a:extLst>
              <a:ext uri="{FF2B5EF4-FFF2-40B4-BE49-F238E27FC236}">
                <a16:creationId xmlns:a16="http://schemas.microsoft.com/office/drawing/2014/main" id="{5D5A3D6F-4943-FC1E-EAD3-22509746F620}"/>
              </a:ext>
            </a:extLst>
          </p:cNvPr>
          <p:cNvCxnSpPr>
            <a:cxnSpLocks/>
          </p:cNvCxnSpPr>
          <p:nvPr/>
        </p:nvCxnSpPr>
        <p:spPr>
          <a:xfrm>
            <a:off x="6793957" y="1630837"/>
            <a:ext cx="0" cy="1499890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0" name="Rectangle 18">
            <a:extLst>
              <a:ext uri="{FF2B5EF4-FFF2-40B4-BE49-F238E27FC236}">
                <a16:creationId xmlns:a16="http://schemas.microsoft.com/office/drawing/2014/main" id="{62E35A26-6365-0194-1AE7-EB21363D9D14}"/>
              </a:ext>
            </a:extLst>
          </p:cNvPr>
          <p:cNvSpPr>
            <a:spLocks/>
          </p:cNvSpPr>
          <p:nvPr/>
        </p:nvSpPr>
        <p:spPr>
          <a:xfrm>
            <a:off x="6793958" y="1633551"/>
            <a:ext cx="1051468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b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</a:rPr>
              <a:t>KI Unterstützung </a:t>
            </a:r>
            <a:b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</a:rPr>
            </a:br>
            <a: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</a:rPr>
              <a:t>Diagnostik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err="1">
                <a:solidFill>
                  <a:srgbClr val="000000"/>
                </a:solidFill>
                <a:latin typeface="Calibri"/>
              </a:rPr>
              <a:t>medicalvalues</a:t>
            </a:r>
            <a:endParaRPr lang="de-DE" sz="100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731" name="Picture 6" descr="Home - medicalvalues">
            <a:extLst>
              <a:ext uri="{FF2B5EF4-FFF2-40B4-BE49-F238E27FC236}">
                <a16:creationId xmlns:a16="http://schemas.microsoft.com/office/drawing/2014/main" id="{B678ACAD-B749-9F4B-23E8-422E07820E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7215" y="3807199"/>
            <a:ext cx="761610" cy="149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32" name="Gerader Verbinder 731">
            <a:extLst>
              <a:ext uri="{FF2B5EF4-FFF2-40B4-BE49-F238E27FC236}">
                <a16:creationId xmlns:a16="http://schemas.microsoft.com/office/drawing/2014/main" id="{1B53BD35-EDA3-362B-28E1-50E9C12520CD}"/>
              </a:ext>
            </a:extLst>
          </p:cNvPr>
          <p:cNvCxnSpPr>
            <a:cxnSpLocks/>
          </p:cNvCxnSpPr>
          <p:nvPr/>
        </p:nvCxnSpPr>
        <p:spPr>
          <a:xfrm>
            <a:off x="7470867" y="3879263"/>
            <a:ext cx="0" cy="1741934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3" name="Rectangle 18">
            <a:extLst>
              <a:ext uri="{FF2B5EF4-FFF2-40B4-BE49-F238E27FC236}">
                <a16:creationId xmlns:a16="http://schemas.microsoft.com/office/drawing/2014/main" id="{3F6E2905-7AF6-08CF-5D07-590F25A80FED}"/>
              </a:ext>
            </a:extLst>
          </p:cNvPr>
          <p:cNvSpPr>
            <a:spLocks/>
          </p:cNvSpPr>
          <p:nvPr/>
        </p:nvSpPr>
        <p:spPr>
          <a:xfrm>
            <a:off x="7470867" y="5311771"/>
            <a:ext cx="2093379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0" rIns="0" bIns="0" rtlCol="0" anchor="t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</a:rPr>
              <a:t>Multidisziplinäre Zusammenarbeit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>
                <a:solidFill>
                  <a:srgbClr val="000000"/>
                </a:solidFill>
                <a:latin typeface="Calibri"/>
              </a:rPr>
              <a:t>tdhp Klinische Konferenzen</a:t>
            </a:r>
          </a:p>
        </p:txBody>
      </p:sp>
      <p:grpSp>
        <p:nvGrpSpPr>
          <p:cNvPr id="734" name="Gruppieren 733">
            <a:extLst>
              <a:ext uri="{FF2B5EF4-FFF2-40B4-BE49-F238E27FC236}">
                <a16:creationId xmlns:a16="http://schemas.microsoft.com/office/drawing/2014/main" id="{E18C611C-143A-116D-6A48-18576E61AD33}"/>
              </a:ext>
            </a:extLst>
          </p:cNvPr>
          <p:cNvGrpSpPr>
            <a:grpSpLocks/>
          </p:cNvGrpSpPr>
          <p:nvPr/>
        </p:nvGrpSpPr>
        <p:grpSpPr>
          <a:xfrm>
            <a:off x="7181623" y="3245703"/>
            <a:ext cx="587247" cy="542074"/>
            <a:chOff x="6188998" y="3538144"/>
            <a:chExt cx="587247" cy="542074"/>
          </a:xfrm>
        </p:grpSpPr>
        <p:sp>
          <p:nvSpPr>
            <p:cNvPr id="735" name="Rechteck 734">
              <a:extLst>
                <a:ext uri="{FF2B5EF4-FFF2-40B4-BE49-F238E27FC236}">
                  <a16:creationId xmlns:a16="http://schemas.microsoft.com/office/drawing/2014/main" id="{B8D5CB61-34B1-495B-45E8-AE9D4B497E1E}"/>
                </a:ext>
              </a:extLst>
            </p:cNvPr>
            <p:cNvSpPr>
              <a:spLocks/>
            </p:cNvSpPr>
            <p:nvPr/>
          </p:nvSpPr>
          <p:spPr>
            <a:xfrm>
              <a:off x="6202492" y="3549290"/>
              <a:ext cx="560258" cy="39406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36" name="Grafik 393">
              <a:extLst>
                <a:ext uri="{FF2B5EF4-FFF2-40B4-BE49-F238E27FC236}">
                  <a16:creationId xmlns:a16="http://schemas.microsoft.com/office/drawing/2014/main" id="{CC76C6FE-D708-60BE-5BC8-D486513E5257}"/>
                </a:ext>
              </a:extLst>
            </p:cNvPr>
            <p:cNvSpPr>
              <a:spLocks/>
            </p:cNvSpPr>
            <p:nvPr/>
          </p:nvSpPr>
          <p:spPr>
            <a:xfrm>
              <a:off x="6188998" y="3538144"/>
              <a:ext cx="587247" cy="542074"/>
            </a:xfrm>
            <a:custGeom>
              <a:avLst/>
              <a:gdLst>
                <a:gd name="connsiteX0" fmla="*/ 416720 w 451446"/>
                <a:gd name="connsiteY0" fmla="*/ 0 h 416719"/>
                <a:gd name="connsiteX1" fmla="*/ 0 w 451446"/>
                <a:gd name="connsiteY1" fmla="*/ 0 h 416719"/>
                <a:gd name="connsiteX2" fmla="*/ 0 w 451446"/>
                <a:gd name="connsiteY2" fmla="*/ 329903 h 416719"/>
                <a:gd name="connsiteX3" fmla="*/ 34727 w 451446"/>
                <a:gd name="connsiteY3" fmla="*/ 329903 h 416719"/>
                <a:gd name="connsiteX4" fmla="*/ 156270 w 451446"/>
                <a:gd name="connsiteY4" fmla="*/ 329903 h 416719"/>
                <a:gd name="connsiteX5" fmla="*/ 156270 w 451446"/>
                <a:gd name="connsiteY5" fmla="*/ 381993 h 416719"/>
                <a:gd name="connsiteX6" fmla="*/ 104180 w 451446"/>
                <a:gd name="connsiteY6" fmla="*/ 381993 h 416719"/>
                <a:gd name="connsiteX7" fmla="*/ 104180 w 451446"/>
                <a:gd name="connsiteY7" fmla="*/ 416720 h 416719"/>
                <a:gd name="connsiteX8" fmla="*/ 347266 w 451446"/>
                <a:gd name="connsiteY8" fmla="*/ 416720 h 416719"/>
                <a:gd name="connsiteX9" fmla="*/ 347266 w 451446"/>
                <a:gd name="connsiteY9" fmla="*/ 381993 h 416719"/>
                <a:gd name="connsiteX10" fmla="*/ 295176 w 451446"/>
                <a:gd name="connsiteY10" fmla="*/ 381993 h 416719"/>
                <a:gd name="connsiteX11" fmla="*/ 295176 w 451446"/>
                <a:gd name="connsiteY11" fmla="*/ 329903 h 416719"/>
                <a:gd name="connsiteX12" fmla="*/ 451446 w 451446"/>
                <a:gd name="connsiteY12" fmla="*/ 329903 h 416719"/>
                <a:gd name="connsiteX13" fmla="*/ 451446 w 451446"/>
                <a:gd name="connsiteY13" fmla="*/ 0 h 416719"/>
                <a:gd name="connsiteX14" fmla="*/ 416720 w 451446"/>
                <a:gd name="connsiteY14" fmla="*/ 0 h 416719"/>
                <a:gd name="connsiteX15" fmla="*/ 416720 w 451446"/>
                <a:gd name="connsiteY15" fmla="*/ 295176 h 416719"/>
                <a:gd name="connsiteX16" fmla="*/ 34727 w 451446"/>
                <a:gd name="connsiteY16" fmla="*/ 295176 h 416719"/>
                <a:gd name="connsiteX17" fmla="*/ 34727 w 451446"/>
                <a:gd name="connsiteY17" fmla="*/ 34727 h 416719"/>
                <a:gd name="connsiteX18" fmla="*/ 416720 w 451446"/>
                <a:gd name="connsiteY18" fmla="*/ 34727 h 416719"/>
                <a:gd name="connsiteX19" fmla="*/ 416720 w 451446"/>
                <a:gd name="connsiteY19" fmla="*/ 295176 h 41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1446" h="416719">
                  <a:moveTo>
                    <a:pt x="416720" y="0"/>
                  </a:moveTo>
                  <a:lnTo>
                    <a:pt x="0" y="0"/>
                  </a:lnTo>
                  <a:lnTo>
                    <a:pt x="0" y="329903"/>
                  </a:lnTo>
                  <a:lnTo>
                    <a:pt x="34727" y="329903"/>
                  </a:lnTo>
                  <a:cubicBezTo>
                    <a:pt x="34727" y="329903"/>
                    <a:pt x="156270" y="329903"/>
                    <a:pt x="156270" y="329903"/>
                  </a:cubicBezTo>
                  <a:lnTo>
                    <a:pt x="156270" y="381993"/>
                  </a:lnTo>
                  <a:lnTo>
                    <a:pt x="104180" y="381993"/>
                  </a:lnTo>
                  <a:lnTo>
                    <a:pt x="104180" y="416720"/>
                  </a:lnTo>
                  <a:lnTo>
                    <a:pt x="347266" y="416720"/>
                  </a:lnTo>
                  <a:lnTo>
                    <a:pt x="347266" y="381993"/>
                  </a:lnTo>
                  <a:lnTo>
                    <a:pt x="295176" y="381993"/>
                  </a:lnTo>
                  <a:lnTo>
                    <a:pt x="295176" y="329903"/>
                  </a:lnTo>
                  <a:lnTo>
                    <a:pt x="451446" y="329903"/>
                  </a:lnTo>
                  <a:lnTo>
                    <a:pt x="451446" y="0"/>
                  </a:lnTo>
                  <a:lnTo>
                    <a:pt x="416720" y="0"/>
                  </a:lnTo>
                  <a:close/>
                  <a:moveTo>
                    <a:pt x="416720" y="295176"/>
                  </a:moveTo>
                  <a:lnTo>
                    <a:pt x="34727" y="295176"/>
                  </a:lnTo>
                  <a:lnTo>
                    <a:pt x="34727" y="34727"/>
                  </a:lnTo>
                  <a:lnTo>
                    <a:pt x="416720" y="34727"/>
                  </a:lnTo>
                  <a:lnTo>
                    <a:pt x="416720" y="295176"/>
                  </a:lnTo>
                  <a:close/>
                </a:path>
              </a:pathLst>
            </a:custGeom>
            <a:solidFill>
              <a:schemeClr val="tx2"/>
            </a:solidFill>
            <a:ln w="172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739" name="Freeform 21">
            <a:extLst>
              <a:ext uri="{FF2B5EF4-FFF2-40B4-BE49-F238E27FC236}">
                <a16:creationId xmlns:a16="http://schemas.microsoft.com/office/drawing/2014/main" id="{0F5D1A0F-2515-5F04-22C1-1801B7A3EA12}"/>
              </a:ext>
            </a:extLst>
          </p:cNvPr>
          <p:cNvSpPr>
            <a:spLocks noEditPoints="1"/>
          </p:cNvSpPr>
          <p:nvPr/>
        </p:nvSpPr>
        <p:spPr bwMode="auto">
          <a:xfrm>
            <a:off x="7375866" y="3371541"/>
            <a:ext cx="200004" cy="176122"/>
          </a:xfrm>
          <a:custGeom>
            <a:avLst/>
            <a:gdLst>
              <a:gd name="T0" fmla="*/ 127 w 435"/>
              <a:gd name="T1" fmla="*/ 213 h 384"/>
              <a:gd name="T2" fmla="*/ 174 w 435"/>
              <a:gd name="T3" fmla="*/ 195 h 384"/>
              <a:gd name="T4" fmla="*/ 155 w 435"/>
              <a:gd name="T5" fmla="*/ 142 h 384"/>
              <a:gd name="T6" fmla="*/ 156 w 435"/>
              <a:gd name="T7" fmla="*/ 134 h 384"/>
              <a:gd name="T8" fmla="*/ 132 w 435"/>
              <a:gd name="T9" fmla="*/ 125 h 384"/>
              <a:gd name="T10" fmla="*/ 101 w 435"/>
              <a:gd name="T11" fmla="*/ 157 h 384"/>
              <a:gd name="T12" fmla="*/ 70 w 435"/>
              <a:gd name="T13" fmla="*/ 125 h 384"/>
              <a:gd name="T14" fmla="*/ 16 w 435"/>
              <a:gd name="T15" fmla="*/ 145 h 384"/>
              <a:gd name="T16" fmla="*/ 1 w 435"/>
              <a:gd name="T17" fmla="*/ 168 h 384"/>
              <a:gd name="T18" fmla="*/ 13 w 435"/>
              <a:gd name="T19" fmla="*/ 300 h 384"/>
              <a:gd name="T20" fmla="*/ 105 w 435"/>
              <a:gd name="T21" fmla="*/ 300 h 384"/>
              <a:gd name="T22" fmla="*/ 101 w 435"/>
              <a:gd name="T23" fmla="*/ 253 h 384"/>
              <a:gd name="T24" fmla="*/ 127 w 435"/>
              <a:gd name="T25" fmla="*/ 213 h 384"/>
              <a:gd name="T26" fmla="*/ 303 w 435"/>
              <a:gd name="T27" fmla="*/ 228 h 384"/>
              <a:gd name="T28" fmla="*/ 249 w 435"/>
              <a:gd name="T29" fmla="*/ 209 h 384"/>
              <a:gd name="T30" fmla="*/ 218 w 435"/>
              <a:gd name="T31" fmla="*/ 240 h 384"/>
              <a:gd name="T32" fmla="*/ 186 w 435"/>
              <a:gd name="T33" fmla="*/ 209 h 384"/>
              <a:gd name="T34" fmla="*/ 132 w 435"/>
              <a:gd name="T35" fmla="*/ 228 h 384"/>
              <a:gd name="T36" fmla="*/ 118 w 435"/>
              <a:gd name="T37" fmla="*/ 251 h 384"/>
              <a:gd name="T38" fmla="*/ 129 w 435"/>
              <a:gd name="T39" fmla="*/ 384 h 384"/>
              <a:gd name="T40" fmla="*/ 306 w 435"/>
              <a:gd name="T41" fmla="*/ 384 h 384"/>
              <a:gd name="T42" fmla="*/ 318 w 435"/>
              <a:gd name="T43" fmla="*/ 251 h 384"/>
              <a:gd name="T44" fmla="*/ 303 w 435"/>
              <a:gd name="T45" fmla="*/ 228 h 384"/>
              <a:gd name="T46" fmla="*/ 420 w 435"/>
              <a:gd name="T47" fmla="*/ 145 h 384"/>
              <a:gd name="T48" fmla="*/ 366 w 435"/>
              <a:gd name="T49" fmla="*/ 125 h 384"/>
              <a:gd name="T50" fmla="*/ 334 w 435"/>
              <a:gd name="T51" fmla="*/ 157 h 384"/>
              <a:gd name="T52" fmla="*/ 303 w 435"/>
              <a:gd name="T53" fmla="*/ 125 h 384"/>
              <a:gd name="T54" fmla="*/ 279 w 435"/>
              <a:gd name="T55" fmla="*/ 134 h 384"/>
              <a:gd name="T56" fmla="*/ 280 w 435"/>
              <a:gd name="T57" fmla="*/ 142 h 384"/>
              <a:gd name="T58" fmla="*/ 261 w 435"/>
              <a:gd name="T59" fmla="*/ 195 h 384"/>
              <a:gd name="T60" fmla="*/ 309 w 435"/>
              <a:gd name="T61" fmla="*/ 213 h 384"/>
              <a:gd name="T62" fmla="*/ 334 w 435"/>
              <a:gd name="T63" fmla="*/ 253 h 384"/>
              <a:gd name="T64" fmla="*/ 330 w 435"/>
              <a:gd name="T65" fmla="*/ 300 h 384"/>
              <a:gd name="T66" fmla="*/ 423 w 435"/>
              <a:gd name="T67" fmla="*/ 300 h 384"/>
              <a:gd name="T68" fmla="*/ 434 w 435"/>
              <a:gd name="T69" fmla="*/ 168 h 384"/>
              <a:gd name="T70" fmla="*/ 420 w 435"/>
              <a:gd name="T71" fmla="*/ 145 h 384"/>
              <a:gd name="T72" fmla="*/ 334 w 435"/>
              <a:gd name="T73" fmla="*/ 117 h 384"/>
              <a:gd name="T74" fmla="*/ 380 w 435"/>
              <a:gd name="T75" fmla="*/ 59 h 384"/>
              <a:gd name="T76" fmla="*/ 334 w 435"/>
              <a:gd name="T77" fmla="*/ 0 h 384"/>
              <a:gd name="T78" fmla="*/ 289 w 435"/>
              <a:gd name="T79" fmla="*/ 59 h 384"/>
              <a:gd name="T80" fmla="*/ 334 w 435"/>
              <a:gd name="T81" fmla="*/ 117 h 384"/>
              <a:gd name="T82" fmla="*/ 218 w 435"/>
              <a:gd name="T83" fmla="*/ 200 h 384"/>
              <a:gd name="T84" fmla="*/ 264 w 435"/>
              <a:gd name="T85" fmla="*/ 142 h 384"/>
              <a:gd name="T86" fmla="*/ 218 w 435"/>
              <a:gd name="T87" fmla="*/ 84 h 384"/>
              <a:gd name="T88" fmla="*/ 172 w 435"/>
              <a:gd name="T89" fmla="*/ 142 h 384"/>
              <a:gd name="T90" fmla="*/ 218 w 435"/>
              <a:gd name="T91" fmla="*/ 200 h 384"/>
              <a:gd name="T92" fmla="*/ 55 w 435"/>
              <a:gd name="T93" fmla="*/ 59 h 384"/>
              <a:gd name="T94" fmla="*/ 101 w 435"/>
              <a:gd name="T95" fmla="*/ 0 h 384"/>
              <a:gd name="T96" fmla="*/ 147 w 435"/>
              <a:gd name="T97" fmla="*/ 59 h 384"/>
              <a:gd name="T98" fmla="*/ 101 w 435"/>
              <a:gd name="T99" fmla="*/ 117 h 384"/>
              <a:gd name="T100" fmla="*/ 55 w 435"/>
              <a:gd name="T101" fmla="*/ 59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35" h="384">
                <a:moveTo>
                  <a:pt x="127" y="213"/>
                </a:moveTo>
                <a:lnTo>
                  <a:pt x="174" y="195"/>
                </a:lnTo>
                <a:cubicBezTo>
                  <a:pt x="162" y="182"/>
                  <a:pt x="155" y="163"/>
                  <a:pt x="155" y="142"/>
                </a:cubicBezTo>
                <a:cubicBezTo>
                  <a:pt x="155" y="139"/>
                  <a:pt x="156" y="137"/>
                  <a:pt x="156" y="134"/>
                </a:cubicBezTo>
                <a:lnTo>
                  <a:pt x="132" y="125"/>
                </a:lnTo>
                <a:lnTo>
                  <a:pt x="101" y="157"/>
                </a:lnTo>
                <a:lnTo>
                  <a:pt x="70" y="125"/>
                </a:lnTo>
                <a:lnTo>
                  <a:pt x="16" y="145"/>
                </a:lnTo>
                <a:cubicBezTo>
                  <a:pt x="6" y="148"/>
                  <a:pt x="0" y="158"/>
                  <a:pt x="1" y="168"/>
                </a:cubicBezTo>
                <a:lnTo>
                  <a:pt x="13" y="300"/>
                </a:lnTo>
                <a:lnTo>
                  <a:pt x="105" y="300"/>
                </a:lnTo>
                <a:lnTo>
                  <a:pt x="101" y="253"/>
                </a:lnTo>
                <a:cubicBezTo>
                  <a:pt x="100" y="235"/>
                  <a:pt x="110" y="219"/>
                  <a:pt x="127" y="213"/>
                </a:cubicBezTo>
                <a:close/>
                <a:moveTo>
                  <a:pt x="303" y="228"/>
                </a:moveTo>
                <a:lnTo>
                  <a:pt x="249" y="209"/>
                </a:lnTo>
                <a:lnTo>
                  <a:pt x="218" y="240"/>
                </a:lnTo>
                <a:lnTo>
                  <a:pt x="186" y="209"/>
                </a:lnTo>
                <a:lnTo>
                  <a:pt x="132" y="228"/>
                </a:lnTo>
                <a:cubicBezTo>
                  <a:pt x="123" y="232"/>
                  <a:pt x="117" y="241"/>
                  <a:pt x="118" y="251"/>
                </a:cubicBezTo>
                <a:lnTo>
                  <a:pt x="129" y="384"/>
                </a:lnTo>
                <a:lnTo>
                  <a:pt x="306" y="384"/>
                </a:lnTo>
                <a:lnTo>
                  <a:pt x="318" y="251"/>
                </a:lnTo>
                <a:cubicBezTo>
                  <a:pt x="318" y="241"/>
                  <a:pt x="312" y="232"/>
                  <a:pt x="303" y="228"/>
                </a:cubicBezTo>
                <a:close/>
                <a:moveTo>
                  <a:pt x="420" y="145"/>
                </a:moveTo>
                <a:lnTo>
                  <a:pt x="366" y="125"/>
                </a:lnTo>
                <a:lnTo>
                  <a:pt x="334" y="157"/>
                </a:lnTo>
                <a:lnTo>
                  <a:pt x="303" y="125"/>
                </a:lnTo>
                <a:lnTo>
                  <a:pt x="279" y="134"/>
                </a:lnTo>
                <a:cubicBezTo>
                  <a:pt x="280" y="137"/>
                  <a:pt x="280" y="139"/>
                  <a:pt x="280" y="142"/>
                </a:cubicBezTo>
                <a:cubicBezTo>
                  <a:pt x="280" y="163"/>
                  <a:pt x="273" y="182"/>
                  <a:pt x="261" y="195"/>
                </a:cubicBezTo>
                <a:lnTo>
                  <a:pt x="309" y="213"/>
                </a:lnTo>
                <a:cubicBezTo>
                  <a:pt x="325" y="219"/>
                  <a:pt x="336" y="235"/>
                  <a:pt x="334" y="253"/>
                </a:cubicBezTo>
                <a:lnTo>
                  <a:pt x="330" y="300"/>
                </a:lnTo>
                <a:lnTo>
                  <a:pt x="423" y="300"/>
                </a:lnTo>
                <a:lnTo>
                  <a:pt x="434" y="168"/>
                </a:lnTo>
                <a:cubicBezTo>
                  <a:pt x="435" y="158"/>
                  <a:pt x="429" y="148"/>
                  <a:pt x="420" y="145"/>
                </a:cubicBezTo>
                <a:close/>
                <a:moveTo>
                  <a:pt x="334" y="117"/>
                </a:moveTo>
                <a:cubicBezTo>
                  <a:pt x="360" y="117"/>
                  <a:pt x="380" y="91"/>
                  <a:pt x="380" y="59"/>
                </a:cubicBezTo>
                <a:cubicBezTo>
                  <a:pt x="380" y="26"/>
                  <a:pt x="360" y="0"/>
                  <a:pt x="334" y="0"/>
                </a:cubicBezTo>
                <a:cubicBezTo>
                  <a:pt x="309" y="0"/>
                  <a:pt x="289" y="26"/>
                  <a:pt x="289" y="59"/>
                </a:cubicBezTo>
                <a:cubicBezTo>
                  <a:pt x="289" y="91"/>
                  <a:pt x="309" y="117"/>
                  <a:pt x="334" y="117"/>
                </a:cubicBezTo>
                <a:close/>
                <a:moveTo>
                  <a:pt x="218" y="200"/>
                </a:moveTo>
                <a:cubicBezTo>
                  <a:pt x="243" y="200"/>
                  <a:pt x="264" y="174"/>
                  <a:pt x="264" y="142"/>
                </a:cubicBezTo>
                <a:cubicBezTo>
                  <a:pt x="264" y="110"/>
                  <a:pt x="243" y="84"/>
                  <a:pt x="218" y="84"/>
                </a:cubicBezTo>
                <a:cubicBezTo>
                  <a:pt x="192" y="84"/>
                  <a:pt x="172" y="110"/>
                  <a:pt x="172" y="142"/>
                </a:cubicBezTo>
                <a:cubicBezTo>
                  <a:pt x="172" y="174"/>
                  <a:pt x="192" y="200"/>
                  <a:pt x="218" y="200"/>
                </a:cubicBezTo>
                <a:close/>
                <a:moveTo>
                  <a:pt x="55" y="59"/>
                </a:moveTo>
                <a:cubicBezTo>
                  <a:pt x="55" y="26"/>
                  <a:pt x="76" y="0"/>
                  <a:pt x="101" y="0"/>
                </a:cubicBezTo>
                <a:cubicBezTo>
                  <a:pt x="126" y="0"/>
                  <a:pt x="147" y="26"/>
                  <a:pt x="147" y="59"/>
                </a:cubicBezTo>
                <a:cubicBezTo>
                  <a:pt x="147" y="91"/>
                  <a:pt x="126" y="117"/>
                  <a:pt x="101" y="117"/>
                </a:cubicBezTo>
                <a:cubicBezTo>
                  <a:pt x="76" y="117"/>
                  <a:pt x="55" y="91"/>
                  <a:pt x="55" y="5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776" name="Gruppieren 775">
            <a:extLst>
              <a:ext uri="{FF2B5EF4-FFF2-40B4-BE49-F238E27FC236}">
                <a16:creationId xmlns:a16="http://schemas.microsoft.com/office/drawing/2014/main" id="{E4035238-8639-FA8F-B80D-69043C175AA9}"/>
              </a:ext>
            </a:extLst>
          </p:cNvPr>
          <p:cNvGrpSpPr>
            <a:grpSpLocks/>
          </p:cNvGrpSpPr>
          <p:nvPr/>
        </p:nvGrpSpPr>
        <p:grpSpPr>
          <a:xfrm>
            <a:off x="10657871" y="3251609"/>
            <a:ext cx="318516" cy="536168"/>
            <a:chOff x="11717529" y="3544050"/>
            <a:chExt cx="318516" cy="536168"/>
          </a:xfrm>
        </p:grpSpPr>
        <p:pic>
          <p:nvPicPr>
            <p:cNvPr id="748" name="Grafik 747">
              <a:extLst>
                <a:ext uri="{FF2B5EF4-FFF2-40B4-BE49-F238E27FC236}">
                  <a16:creationId xmlns:a16="http://schemas.microsoft.com/office/drawing/2014/main" id="{CB46D061-4B83-A749-EE5B-104B707ABC5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717529" y="3544050"/>
              <a:ext cx="318516" cy="536168"/>
            </a:xfrm>
            <a:prstGeom prst="rect">
              <a:avLst/>
            </a:prstGeom>
          </p:spPr>
        </p:pic>
        <p:sp>
          <p:nvSpPr>
            <p:cNvPr id="751" name="Freeform 148">
              <a:extLst>
                <a:ext uri="{FF2B5EF4-FFF2-40B4-BE49-F238E27FC236}">
                  <a16:creationId xmlns:a16="http://schemas.microsoft.com/office/drawing/2014/main" id="{3619958C-26AF-A8DB-0703-01ED77A1DC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91058" y="3734492"/>
              <a:ext cx="172342" cy="164398"/>
            </a:xfrm>
            <a:custGeom>
              <a:avLst/>
              <a:gdLst>
                <a:gd name="T0" fmla="*/ 250 w 367"/>
                <a:gd name="T1" fmla="*/ 200 h 350"/>
                <a:gd name="T2" fmla="*/ 234 w 367"/>
                <a:gd name="T3" fmla="*/ 167 h 350"/>
                <a:gd name="T4" fmla="*/ 178 w 367"/>
                <a:gd name="T5" fmla="*/ 258 h 350"/>
                <a:gd name="T6" fmla="*/ 134 w 367"/>
                <a:gd name="T7" fmla="*/ 133 h 350"/>
                <a:gd name="T8" fmla="*/ 109 w 367"/>
                <a:gd name="T9" fmla="*/ 200 h 350"/>
                <a:gd name="T10" fmla="*/ 51 w 367"/>
                <a:gd name="T11" fmla="*/ 200 h 350"/>
                <a:gd name="T12" fmla="*/ 184 w 367"/>
                <a:gd name="T13" fmla="*/ 350 h 350"/>
                <a:gd name="T14" fmla="*/ 316 w 367"/>
                <a:gd name="T15" fmla="*/ 200 h 350"/>
                <a:gd name="T16" fmla="*/ 250 w 367"/>
                <a:gd name="T17" fmla="*/ 200 h 350"/>
                <a:gd name="T18" fmla="*/ 367 w 367"/>
                <a:gd name="T19" fmla="*/ 100 h 350"/>
                <a:gd name="T20" fmla="*/ 351 w 367"/>
                <a:gd name="T21" fmla="*/ 155 h 350"/>
                <a:gd name="T22" fmla="*/ 339 w 367"/>
                <a:gd name="T23" fmla="*/ 171 h 350"/>
                <a:gd name="T24" fmla="*/ 267 w 367"/>
                <a:gd name="T25" fmla="*/ 171 h 350"/>
                <a:gd name="T26" fmla="*/ 234 w 367"/>
                <a:gd name="T27" fmla="*/ 108 h 350"/>
                <a:gd name="T28" fmla="*/ 184 w 367"/>
                <a:gd name="T29" fmla="*/ 195 h 350"/>
                <a:gd name="T30" fmla="*/ 134 w 367"/>
                <a:gd name="T31" fmla="*/ 50 h 350"/>
                <a:gd name="T32" fmla="*/ 88 w 367"/>
                <a:gd name="T33" fmla="*/ 171 h 350"/>
                <a:gd name="T34" fmla="*/ 28 w 367"/>
                <a:gd name="T35" fmla="*/ 171 h 350"/>
                <a:gd name="T36" fmla="*/ 17 w 367"/>
                <a:gd name="T37" fmla="*/ 155 h 350"/>
                <a:gd name="T38" fmla="*/ 0 w 367"/>
                <a:gd name="T39" fmla="*/ 100 h 350"/>
                <a:gd name="T40" fmla="*/ 100 w 367"/>
                <a:gd name="T41" fmla="*/ 0 h 350"/>
                <a:gd name="T42" fmla="*/ 184 w 367"/>
                <a:gd name="T43" fmla="*/ 45 h 350"/>
                <a:gd name="T44" fmla="*/ 267 w 367"/>
                <a:gd name="T45" fmla="*/ 0 h 350"/>
                <a:gd name="T46" fmla="*/ 367 w 367"/>
                <a:gd name="T47" fmla="*/ 10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7" h="350">
                  <a:moveTo>
                    <a:pt x="250" y="200"/>
                  </a:moveTo>
                  <a:lnTo>
                    <a:pt x="234" y="167"/>
                  </a:lnTo>
                  <a:lnTo>
                    <a:pt x="178" y="258"/>
                  </a:lnTo>
                  <a:lnTo>
                    <a:pt x="134" y="133"/>
                  </a:lnTo>
                  <a:lnTo>
                    <a:pt x="109" y="200"/>
                  </a:lnTo>
                  <a:lnTo>
                    <a:pt x="51" y="200"/>
                  </a:lnTo>
                  <a:cubicBezTo>
                    <a:pt x="102" y="262"/>
                    <a:pt x="184" y="350"/>
                    <a:pt x="184" y="350"/>
                  </a:cubicBezTo>
                  <a:cubicBezTo>
                    <a:pt x="184" y="350"/>
                    <a:pt x="265" y="262"/>
                    <a:pt x="316" y="200"/>
                  </a:cubicBezTo>
                  <a:lnTo>
                    <a:pt x="250" y="200"/>
                  </a:lnTo>
                  <a:close/>
                  <a:moveTo>
                    <a:pt x="367" y="100"/>
                  </a:moveTo>
                  <a:cubicBezTo>
                    <a:pt x="367" y="122"/>
                    <a:pt x="361" y="139"/>
                    <a:pt x="351" y="155"/>
                  </a:cubicBezTo>
                  <a:cubicBezTo>
                    <a:pt x="348" y="159"/>
                    <a:pt x="344" y="165"/>
                    <a:pt x="339" y="171"/>
                  </a:cubicBezTo>
                  <a:lnTo>
                    <a:pt x="267" y="171"/>
                  </a:lnTo>
                  <a:lnTo>
                    <a:pt x="234" y="108"/>
                  </a:lnTo>
                  <a:lnTo>
                    <a:pt x="184" y="195"/>
                  </a:lnTo>
                  <a:lnTo>
                    <a:pt x="134" y="50"/>
                  </a:lnTo>
                  <a:lnTo>
                    <a:pt x="88" y="171"/>
                  </a:lnTo>
                  <a:lnTo>
                    <a:pt x="28" y="171"/>
                  </a:lnTo>
                  <a:cubicBezTo>
                    <a:pt x="23" y="165"/>
                    <a:pt x="19" y="159"/>
                    <a:pt x="17" y="155"/>
                  </a:cubicBezTo>
                  <a:cubicBezTo>
                    <a:pt x="7" y="139"/>
                    <a:pt x="0" y="122"/>
                    <a:pt x="0" y="100"/>
                  </a:cubicBezTo>
                  <a:cubicBezTo>
                    <a:pt x="0" y="45"/>
                    <a:pt x="45" y="0"/>
                    <a:pt x="100" y="0"/>
                  </a:cubicBezTo>
                  <a:cubicBezTo>
                    <a:pt x="135" y="0"/>
                    <a:pt x="166" y="18"/>
                    <a:pt x="184" y="45"/>
                  </a:cubicBezTo>
                  <a:cubicBezTo>
                    <a:pt x="202" y="18"/>
                    <a:pt x="232" y="0"/>
                    <a:pt x="267" y="0"/>
                  </a:cubicBezTo>
                  <a:cubicBezTo>
                    <a:pt x="322" y="0"/>
                    <a:pt x="367" y="45"/>
                    <a:pt x="367" y="10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752" name="Picture 14" descr="Recare - Die Plattform für digitales Entlassmanagement">
            <a:extLst>
              <a:ext uri="{FF2B5EF4-FFF2-40B4-BE49-F238E27FC236}">
                <a16:creationId xmlns:a16="http://schemas.microsoft.com/office/drawing/2014/main" id="{B98F4D84-7CC3-C4C3-43BC-32B4AB5908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6157" y="4016655"/>
            <a:ext cx="392973" cy="110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3" name="Picture 16" descr="nubedian GmbH | CyberForum e.V.">
            <a:extLst>
              <a:ext uri="{FF2B5EF4-FFF2-40B4-BE49-F238E27FC236}">
                <a16:creationId xmlns:a16="http://schemas.microsoft.com/office/drawing/2014/main" id="{8F105749-EB95-7F2C-F721-E897A4A9EE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4246" y="3838096"/>
            <a:ext cx="420482" cy="110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4" name="Picture 18" descr="Digitales Aufnahme- und Entlassmanagement - Pflegeplatzmanager GmbH">
            <a:extLst>
              <a:ext uri="{FF2B5EF4-FFF2-40B4-BE49-F238E27FC236}">
                <a16:creationId xmlns:a16="http://schemas.microsoft.com/office/drawing/2014/main" id="{939AE19D-B8A5-0525-5C0E-B0DFF94552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9518" y="3828646"/>
            <a:ext cx="487108" cy="1395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55" name="Gerader Verbinder 754">
            <a:extLst>
              <a:ext uri="{FF2B5EF4-FFF2-40B4-BE49-F238E27FC236}">
                <a16:creationId xmlns:a16="http://schemas.microsoft.com/office/drawing/2014/main" id="{8ADFEDF0-0D63-03F2-A222-7C9DE5B3701D}"/>
              </a:ext>
            </a:extLst>
          </p:cNvPr>
          <p:cNvCxnSpPr>
            <a:cxnSpLocks/>
          </p:cNvCxnSpPr>
          <p:nvPr/>
        </p:nvCxnSpPr>
        <p:spPr>
          <a:xfrm>
            <a:off x="10815381" y="1630836"/>
            <a:ext cx="0" cy="1499890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6" name="Rectangle 18">
            <a:extLst>
              <a:ext uri="{FF2B5EF4-FFF2-40B4-BE49-F238E27FC236}">
                <a16:creationId xmlns:a16="http://schemas.microsoft.com/office/drawing/2014/main" id="{15B5646D-3B4F-DB8A-C721-1C4C5219FB5B}"/>
              </a:ext>
            </a:extLst>
          </p:cNvPr>
          <p:cNvSpPr>
            <a:spLocks/>
          </p:cNvSpPr>
          <p:nvPr/>
        </p:nvSpPr>
        <p:spPr>
          <a:xfrm>
            <a:off x="10815381" y="1633551"/>
            <a:ext cx="836869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b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</a:rPr>
              <a:t>Remote-</a:t>
            </a:r>
            <a:b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</a:rPr>
            </a:br>
            <a:r>
              <a:rPr kumimoji="0" lang="de-DE" sz="1000" b="1" i="0" u="none" strike="noStrike" kern="1200" cap="none" spc="0" normalizeH="0" baseline="0" err="1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</a:rPr>
              <a:t>betreuung</a:t>
            </a:r>
            <a: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</a:rPr>
              <a:t> 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err="1">
                <a:solidFill>
                  <a:srgbClr val="000000"/>
                </a:solidFill>
                <a:latin typeface="Calibri"/>
              </a:rPr>
              <a:t>ProCarement</a:t>
            </a:r>
            <a:endParaRPr lang="de-DE" sz="100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757" name="Picture 20" descr="ProHerz: App von ProCarement | ProCarement">
            <a:extLst>
              <a:ext uri="{FF2B5EF4-FFF2-40B4-BE49-F238E27FC236}">
                <a16:creationId xmlns:a16="http://schemas.microsoft.com/office/drawing/2014/main" id="{5564C09E-565A-4722-B82F-C5CF0E7274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8150" y="3841332"/>
            <a:ext cx="527507" cy="13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9" name="Grafik 758" descr="Ein Bild, das Text, Geschirr, Teller, ClipArt enthält.&#10;&#10;Automatisch generierte Beschreibung">
            <a:extLst>
              <a:ext uri="{FF2B5EF4-FFF2-40B4-BE49-F238E27FC236}">
                <a16:creationId xmlns:a16="http://schemas.microsoft.com/office/drawing/2014/main" id="{CA1B9F16-BF71-F1B5-3C86-A863BC5A342A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7762" y="3858931"/>
            <a:ext cx="573988" cy="141096"/>
          </a:xfrm>
          <a:prstGeom prst="rect">
            <a:avLst/>
          </a:prstGeom>
        </p:spPr>
      </p:pic>
      <p:pic>
        <p:nvPicPr>
          <p:cNvPr id="761" name="Grafik 760">
            <a:extLst>
              <a:ext uri="{FF2B5EF4-FFF2-40B4-BE49-F238E27FC236}">
                <a16:creationId xmlns:a16="http://schemas.microsoft.com/office/drawing/2014/main" id="{C0B22BF6-2D48-5961-0C23-85CB52B5E311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5404" y="3866339"/>
            <a:ext cx="428624" cy="126280"/>
          </a:xfrm>
          <a:prstGeom prst="rect">
            <a:avLst/>
          </a:prstGeom>
        </p:spPr>
      </p:pic>
      <p:pic>
        <p:nvPicPr>
          <p:cNvPr id="766" name="Grafik 765">
            <a:extLst>
              <a:ext uri="{FF2B5EF4-FFF2-40B4-BE49-F238E27FC236}">
                <a16:creationId xmlns:a16="http://schemas.microsoft.com/office/drawing/2014/main" id="{AAECF786-3A78-32A1-DC34-64907222F583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1474" y="3760446"/>
            <a:ext cx="307976" cy="307976"/>
          </a:xfrm>
          <a:prstGeom prst="rect">
            <a:avLst/>
          </a:prstGeom>
        </p:spPr>
      </p:pic>
      <p:pic>
        <p:nvPicPr>
          <p:cNvPr id="774" name="Grafik 773">
            <a:extLst>
              <a:ext uri="{FF2B5EF4-FFF2-40B4-BE49-F238E27FC236}">
                <a16:creationId xmlns:a16="http://schemas.microsoft.com/office/drawing/2014/main" id="{A342B11C-9BA9-12A1-79AE-C1E7D49BE1E3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700" y="3744887"/>
            <a:ext cx="600075" cy="360045"/>
          </a:xfrm>
          <a:prstGeom prst="rect">
            <a:avLst/>
          </a:prstGeom>
        </p:spPr>
      </p:pic>
      <p:grpSp>
        <p:nvGrpSpPr>
          <p:cNvPr id="778" name="Gruppieren 777">
            <a:extLst>
              <a:ext uri="{FF2B5EF4-FFF2-40B4-BE49-F238E27FC236}">
                <a16:creationId xmlns:a16="http://schemas.microsoft.com/office/drawing/2014/main" id="{DA61F66B-D673-FA5E-2C33-C2DBE086AC5B}"/>
              </a:ext>
            </a:extLst>
          </p:cNvPr>
          <p:cNvGrpSpPr/>
          <p:nvPr/>
        </p:nvGrpSpPr>
        <p:grpSpPr>
          <a:xfrm>
            <a:off x="10168192" y="3485597"/>
            <a:ext cx="224553" cy="244440"/>
            <a:chOff x="10168192" y="3778038"/>
            <a:chExt cx="224553" cy="244440"/>
          </a:xfrm>
        </p:grpSpPr>
        <p:sp>
          <p:nvSpPr>
            <p:cNvPr id="777" name="Rechteck 776">
              <a:extLst>
                <a:ext uri="{FF2B5EF4-FFF2-40B4-BE49-F238E27FC236}">
                  <a16:creationId xmlns:a16="http://schemas.microsoft.com/office/drawing/2014/main" id="{74715268-B19E-3525-72BA-AF970617C8B4}"/>
                </a:ext>
              </a:extLst>
            </p:cNvPr>
            <p:cNvSpPr/>
            <p:nvPr/>
          </p:nvSpPr>
          <p:spPr>
            <a:xfrm>
              <a:off x="10185400" y="3837138"/>
              <a:ext cx="193675" cy="1538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47" name="Freeform 127">
              <a:extLst>
                <a:ext uri="{FF2B5EF4-FFF2-40B4-BE49-F238E27FC236}">
                  <a16:creationId xmlns:a16="http://schemas.microsoft.com/office/drawing/2014/main" id="{B5C250AA-5F61-997E-A4B5-1BE25E17DA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68192" y="3778038"/>
              <a:ext cx="224553" cy="244440"/>
            </a:xfrm>
            <a:custGeom>
              <a:avLst/>
              <a:gdLst>
                <a:gd name="T0" fmla="*/ 175 w 351"/>
                <a:gd name="T1" fmla="*/ 240 h 384"/>
                <a:gd name="T2" fmla="*/ 25 w 351"/>
                <a:gd name="T3" fmla="*/ 234 h 384"/>
                <a:gd name="T4" fmla="*/ 35 w 351"/>
                <a:gd name="T5" fmla="*/ 117 h 384"/>
                <a:gd name="T6" fmla="*/ 314 w 351"/>
                <a:gd name="T7" fmla="*/ 117 h 384"/>
                <a:gd name="T8" fmla="*/ 325 w 351"/>
                <a:gd name="T9" fmla="*/ 234 h 384"/>
                <a:gd name="T10" fmla="*/ 175 w 351"/>
                <a:gd name="T11" fmla="*/ 240 h 384"/>
                <a:gd name="T12" fmla="*/ 270 w 351"/>
                <a:gd name="T13" fmla="*/ 317 h 384"/>
                <a:gd name="T14" fmla="*/ 250 w 351"/>
                <a:gd name="T15" fmla="*/ 296 h 384"/>
                <a:gd name="T16" fmla="*/ 270 w 351"/>
                <a:gd name="T17" fmla="*/ 275 h 384"/>
                <a:gd name="T18" fmla="*/ 291 w 351"/>
                <a:gd name="T19" fmla="*/ 296 h 384"/>
                <a:gd name="T20" fmla="*/ 270 w 351"/>
                <a:gd name="T21" fmla="*/ 317 h 384"/>
                <a:gd name="T22" fmla="*/ 79 w 351"/>
                <a:gd name="T23" fmla="*/ 317 h 384"/>
                <a:gd name="T24" fmla="*/ 58 w 351"/>
                <a:gd name="T25" fmla="*/ 296 h 384"/>
                <a:gd name="T26" fmla="*/ 79 w 351"/>
                <a:gd name="T27" fmla="*/ 275 h 384"/>
                <a:gd name="T28" fmla="*/ 100 w 351"/>
                <a:gd name="T29" fmla="*/ 296 h 384"/>
                <a:gd name="T30" fmla="*/ 79 w 351"/>
                <a:gd name="T31" fmla="*/ 317 h 384"/>
                <a:gd name="T32" fmla="*/ 341 w 351"/>
                <a:gd name="T33" fmla="*/ 234 h 384"/>
                <a:gd name="T34" fmla="*/ 341 w 351"/>
                <a:gd name="T35" fmla="*/ 34 h 384"/>
                <a:gd name="T36" fmla="*/ 308 w 351"/>
                <a:gd name="T37" fmla="*/ 0 h 384"/>
                <a:gd name="T38" fmla="*/ 41 w 351"/>
                <a:gd name="T39" fmla="*/ 0 h 384"/>
                <a:gd name="T40" fmla="*/ 8 w 351"/>
                <a:gd name="T41" fmla="*/ 34 h 384"/>
                <a:gd name="T42" fmla="*/ 8 w 351"/>
                <a:gd name="T43" fmla="*/ 250 h 384"/>
                <a:gd name="T44" fmla="*/ 1 w 351"/>
                <a:gd name="T45" fmla="*/ 286 h 384"/>
                <a:gd name="T46" fmla="*/ 8 w 351"/>
                <a:gd name="T47" fmla="*/ 367 h 384"/>
                <a:gd name="T48" fmla="*/ 25 w 351"/>
                <a:gd name="T49" fmla="*/ 384 h 384"/>
                <a:gd name="T50" fmla="*/ 41 w 351"/>
                <a:gd name="T51" fmla="*/ 384 h 384"/>
                <a:gd name="T52" fmla="*/ 58 w 351"/>
                <a:gd name="T53" fmla="*/ 367 h 384"/>
                <a:gd name="T54" fmla="*/ 58 w 351"/>
                <a:gd name="T55" fmla="*/ 350 h 384"/>
                <a:gd name="T56" fmla="*/ 291 w 351"/>
                <a:gd name="T57" fmla="*/ 350 h 384"/>
                <a:gd name="T58" fmla="*/ 291 w 351"/>
                <a:gd name="T59" fmla="*/ 367 h 384"/>
                <a:gd name="T60" fmla="*/ 308 w 351"/>
                <a:gd name="T61" fmla="*/ 384 h 384"/>
                <a:gd name="T62" fmla="*/ 325 w 351"/>
                <a:gd name="T63" fmla="*/ 384 h 384"/>
                <a:gd name="T64" fmla="*/ 341 w 351"/>
                <a:gd name="T65" fmla="*/ 367 h 384"/>
                <a:gd name="T66" fmla="*/ 349 w 351"/>
                <a:gd name="T67" fmla="*/ 269 h 384"/>
                <a:gd name="T68" fmla="*/ 341 w 351"/>
                <a:gd name="T69" fmla="*/ 234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51" h="384">
                  <a:moveTo>
                    <a:pt x="175" y="240"/>
                  </a:moveTo>
                  <a:cubicBezTo>
                    <a:pt x="116" y="240"/>
                    <a:pt x="49" y="236"/>
                    <a:pt x="25" y="234"/>
                  </a:cubicBezTo>
                  <a:lnTo>
                    <a:pt x="35" y="117"/>
                  </a:lnTo>
                  <a:lnTo>
                    <a:pt x="314" y="117"/>
                  </a:lnTo>
                  <a:lnTo>
                    <a:pt x="325" y="234"/>
                  </a:lnTo>
                  <a:cubicBezTo>
                    <a:pt x="300" y="236"/>
                    <a:pt x="233" y="240"/>
                    <a:pt x="175" y="240"/>
                  </a:cubicBezTo>
                  <a:close/>
                  <a:moveTo>
                    <a:pt x="270" y="317"/>
                  </a:moveTo>
                  <a:cubicBezTo>
                    <a:pt x="259" y="317"/>
                    <a:pt x="250" y="308"/>
                    <a:pt x="250" y="296"/>
                  </a:cubicBezTo>
                  <a:cubicBezTo>
                    <a:pt x="250" y="285"/>
                    <a:pt x="259" y="275"/>
                    <a:pt x="270" y="275"/>
                  </a:cubicBezTo>
                  <a:cubicBezTo>
                    <a:pt x="282" y="275"/>
                    <a:pt x="291" y="285"/>
                    <a:pt x="291" y="296"/>
                  </a:cubicBezTo>
                  <a:cubicBezTo>
                    <a:pt x="291" y="308"/>
                    <a:pt x="282" y="317"/>
                    <a:pt x="270" y="317"/>
                  </a:cubicBezTo>
                  <a:close/>
                  <a:moveTo>
                    <a:pt x="79" y="317"/>
                  </a:moveTo>
                  <a:cubicBezTo>
                    <a:pt x="67" y="317"/>
                    <a:pt x="58" y="308"/>
                    <a:pt x="58" y="296"/>
                  </a:cubicBezTo>
                  <a:cubicBezTo>
                    <a:pt x="58" y="285"/>
                    <a:pt x="67" y="275"/>
                    <a:pt x="79" y="275"/>
                  </a:cubicBezTo>
                  <a:cubicBezTo>
                    <a:pt x="90" y="275"/>
                    <a:pt x="100" y="285"/>
                    <a:pt x="100" y="296"/>
                  </a:cubicBezTo>
                  <a:cubicBezTo>
                    <a:pt x="100" y="308"/>
                    <a:pt x="90" y="317"/>
                    <a:pt x="79" y="317"/>
                  </a:cubicBezTo>
                  <a:close/>
                  <a:moveTo>
                    <a:pt x="341" y="234"/>
                  </a:moveTo>
                  <a:lnTo>
                    <a:pt x="341" y="34"/>
                  </a:lnTo>
                  <a:cubicBezTo>
                    <a:pt x="341" y="15"/>
                    <a:pt x="326" y="0"/>
                    <a:pt x="308" y="0"/>
                  </a:cubicBezTo>
                  <a:lnTo>
                    <a:pt x="41" y="0"/>
                  </a:lnTo>
                  <a:cubicBezTo>
                    <a:pt x="23" y="0"/>
                    <a:pt x="8" y="15"/>
                    <a:pt x="8" y="34"/>
                  </a:cubicBezTo>
                  <a:lnTo>
                    <a:pt x="8" y="250"/>
                  </a:lnTo>
                  <a:cubicBezTo>
                    <a:pt x="3" y="261"/>
                    <a:pt x="0" y="273"/>
                    <a:pt x="1" y="286"/>
                  </a:cubicBezTo>
                  <a:lnTo>
                    <a:pt x="8" y="367"/>
                  </a:lnTo>
                  <a:cubicBezTo>
                    <a:pt x="8" y="376"/>
                    <a:pt x="15" y="384"/>
                    <a:pt x="25" y="384"/>
                  </a:cubicBezTo>
                  <a:lnTo>
                    <a:pt x="41" y="384"/>
                  </a:lnTo>
                  <a:cubicBezTo>
                    <a:pt x="51" y="384"/>
                    <a:pt x="58" y="376"/>
                    <a:pt x="58" y="367"/>
                  </a:cubicBezTo>
                  <a:lnTo>
                    <a:pt x="58" y="350"/>
                  </a:lnTo>
                  <a:lnTo>
                    <a:pt x="291" y="350"/>
                  </a:lnTo>
                  <a:lnTo>
                    <a:pt x="291" y="367"/>
                  </a:lnTo>
                  <a:cubicBezTo>
                    <a:pt x="291" y="376"/>
                    <a:pt x="299" y="384"/>
                    <a:pt x="308" y="384"/>
                  </a:cubicBezTo>
                  <a:lnTo>
                    <a:pt x="325" y="384"/>
                  </a:lnTo>
                  <a:cubicBezTo>
                    <a:pt x="334" y="384"/>
                    <a:pt x="341" y="376"/>
                    <a:pt x="341" y="367"/>
                  </a:cubicBezTo>
                  <a:lnTo>
                    <a:pt x="349" y="269"/>
                  </a:lnTo>
                  <a:cubicBezTo>
                    <a:pt x="351" y="247"/>
                    <a:pt x="347" y="243"/>
                    <a:pt x="341" y="234"/>
                  </a:cubicBezTo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780" name="Gruppieren 779">
            <a:extLst>
              <a:ext uri="{FF2B5EF4-FFF2-40B4-BE49-F238E27FC236}">
                <a16:creationId xmlns:a16="http://schemas.microsoft.com/office/drawing/2014/main" id="{5E4157B6-5906-601D-001F-8C7CDD4AEF45}"/>
              </a:ext>
            </a:extLst>
          </p:cNvPr>
          <p:cNvGrpSpPr/>
          <p:nvPr/>
        </p:nvGrpSpPr>
        <p:grpSpPr>
          <a:xfrm>
            <a:off x="9622086" y="3309350"/>
            <a:ext cx="406400" cy="420687"/>
            <a:chOff x="9622086" y="3601791"/>
            <a:chExt cx="406400" cy="420687"/>
          </a:xfrm>
        </p:grpSpPr>
        <p:sp>
          <p:nvSpPr>
            <p:cNvPr id="779" name="Rechteck 778">
              <a:extLst>
                <a:ext uri="{FF2B5EF4-FFF2-40B4-BE49-F238E27FC236}">
                  <a16:creationId xmlns:a16="http://schemas.microsoft.com/office/drawing/2014/main" id="{D8C37B63-8C3D-7F97-0623-D1A00ABA4BCD}"/>
                </a:ext>
              </a:extLst>
            </p:cNvPr>
            <p:cNvSpPr/>
            <p:nvPr/>
          </p:nvSpPr>
          <p:spPr>
            <a:xfrm>
              <a:off x="9661803" y="3835400"/>
              <a:ext cx="339447" cy="1587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44" name="Freeform 143">
              <a:extLst>
                <a:ext uri="{FF2B5EF4-FFF2-40B4-BE49-F238E27FC236}">
                  <a16:creationId xmlns:a16="http://schemas.microsoft.com/office/drawing/2014/main" id="{CA4FEF92-590A-EC80-D677-91A39EF65C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22086" y="3601791"/>
              <a:ext cx="406400" cy="420687"/>
            </a:xfrm>
            <a:custGeom>
              <a:avLst/>
              <a:gdLst>
                <a:gd name="T0" fmla="*/ 84 w 104"/>
                <a:gd name="T1" fmla="*/ 44 h 108"/>
                <a:gd name="T2" fmla="*/ 76 w 104"/>
                <a:gd name="T3" fmla="*/ 0 h 108"/>
                <a:gd name="T4" fmla="*/ 24 w 104"/>
                <a:gd name="T5" fmla="*/ 8 h 108"/>
                <a:gd name="T6" fmla="*/ 8 w 104"/>
                <a:gd name="T7" fmla="*/ 24 h 108"/>
                <a:gd name="T8" fmla="*/ 0 w 104"/>
                <a:gd name="T9" fmla="*/ 108 h 108"/>
                <a:gd name="T10" fmla="*/ 104 w 104"/>
                <a:gd name="T11" fmla="*/ 52 h 108"/>
                <a:gd name="T12" fmla="*/ 28 w 104"/>
                <a:gd name="T13" fmla="*/ 96 h 108"/>
                <a:gd name="T14" fmla="*/ 16 w 104"/>
                <a:gd name="T15" fmla="*/ 84 h 108"/>
                <a:gd name="T16" fmla="*/ 28 w 104"/>
                <a:gd name="T17" fmla="*/ 96 h 108"/>
                <a:gd name="T18" fmla="*/ 16 w 104"/>
                <a:gd name="T19" fmla="*/ 76 h 108"/>
                <a:gd name="T20" fmla="*/ 28 w 104"/>
                <a:gd name="T21" fmla="*/ 64 h 108"/>
                <a:gd name="T22" fmla="*/ 28 w 104"/>
                <a:gd name="T23" fmla="*/ 56 h 108"/>
                <a:gd name="T24" fmla="*/ 16 w 104"/>
                <a:gd name="T25" fmla="*/ 44 h 108"/>
                <a:gd name="T26" fmla="*/ 28 w 104"/>
                <a:gd name="T27" fmla="*/ 56 h 108"/>
                <a:gd name="T28" fmla="*/ 36 w 104"/>
                <a:gd name="T29" fmla="*/ 96 h 108"/>
                <a:gd name="T30" fmla="*/ 48 w 104"/>
                <a:gd name="T31" fmla="*/ 84 h 108"/>
                <a:gd name="T32" fmla="*/ 48 w 104"/>
                <a:gd name="T33" fmla="*/ 76 h 108"/>
                <a:gd name="T34" fmla="*/ 36 w 104"/>
                <a:gd name="T35" fmla="*/ 64 h 108"/>
                <a:gd name="T36" fmla="*/ 48 w 104"/>
                <a:gd name="T37" fmla="*/ 76 h 108"/>
                <a:gd name="T38" fmla="*/ 56 w 104"/>
                <a:gd name="T39" fmla="*/ 96 h 108"/>
                <a:gd name="T40" fmla="*/ 68 w 104"/>
                <a:gd name="T41" fmla="*/ 84 h 108"/>
                <a:gd name="T42" fmla="*/ 68 w 104"/>
                <a:gd name="T43" fmla="*/ 76 h 108"/>
                <a:gd name="T44" fmla="*/ 56 w 104"/>
                <a:gd name="T45" fmla="*/ 64 h 108"/>
                <a:gd name="T46" fmla="*/ 68 w 104"/>
                <a:gd name="T47" fmla="*/ 76 h 108"/>
                <a:gd name="T48" fmla="*/ 60 w 104"/>
                <a:gd name="T49" fmla="*/ 44 h 108"/>
                <a:gd name="T50" fmla="*/ 48 w 104"/>
                <a:gd name="T51" fmla="*/ 32 h 108"/>
                <a:gd name="T52" fmla="*/ 40 w 104"/>
                <a:gd name="T53" fmla="*/ 44 h 108"/>
                <a:gd name="T54" fmla="*/ 48 w 104"/>
                <a:gd name="T55" fmla="*/ 12 h 108"/>
                <a:gd name="T56" fmla="*/ 60 w 104"/>
                <a:gd name="T57" fmla="*/ 24 h 108"/>
                <a:gd name="T58" fmla="*/ 68 w 104"/>
                <a:gd name="T59" fmla="*/ 12 h 108"/>
                <a:gd name="T60" fmla="*/ 88 w 104"/>
                <a:gd name="T61" fmla="*/ 96 h 108"/>
                <a:gd name="T62" fmla="*/ 76 w 104"/>
                <a:gd name="T63" fmla="*/ 84 h 108"/>
                <a:gd name="T64" fmla="*/ 88 w 104"/>
                <a:gd name="T65" fmla="*/ 96 h 108"/>
                <a:gd name="T66" fmla="*/ 76 w 104"/>
                <a:gd name="T67" fmla="*/ 76 h 108"/>
                <a:gd name="T68" fmla="*/ 88 w 104"/>
                <a:gd name="T69" fmla="*/ 6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4" h="108">
                  <a:moveTo>
                    <a:pt x="96" y="44"/>
                  </a:moveTo>
                  <a:cubicBezTo>
                    <a:pt x="84" y="44"/>
                    <a:pt x="84" y="44"/>
                    <a:pt x="84" y="44"/>
                  </a:cubicBezTo>
                  <a:cubicBezTo>
                    <a:pt x="84" y="8"/>
                    <a:pt x="84" y="8"/>
                    <a:pt x="84" y="8"/>
                  </a:cubicBezTo>
                  <a:cubicBezTo>
                    <a:pt x="84" y="4"/>
                    <a:pt x="80" y="0"/>
                    <a:pt x="76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28" y="0"/>
                    <a:pt x="24" y="4"/>
                    <a:pt x="24" y="8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4" y="24"/>
                    <a:pt x="0" y="28"/>
                    <a:pt x="0" y="32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104" y="108"/>
                    <a:pt x="104" y="108"/>
                    <a:pt x="104" y="108"/>
                  </a:cubicBezTo>
                  <a:cubicBezTo>
                    <a:pt x="104" y="52"/>
                    <a:pt x="104" y="52"/>
                    <a:pt x="104" y="52"/>
                  </a:cubicBezTo>
                  <a:cubicBezTo>
                    <a:pt x="104" y="48"/>
                    <a:pt x="100" y="44"/>
                    <a:pt x="96" y="44"/>
                  </a:cubicBezTo>
                  <a:close/>
                  <a:moveTo>
                    <a:pt x="28" y="96"/>
                  </a:moveTo>
                  <a:cubicBezTo>
                    <a:pt x="16" y="96"/>
                    <a:pt x="16" y="96"/>
                    <a:pt x="16" y="96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28" y="84"/>
                    <a:pt x="28" y="84"/>
                    <a:pt x="28" y="84"/>
                  </a:cubicBezTo>
                  <a:lnTo>
                    <a:pt x="28" y="96"/>
                  </a:lnTo>
                  <a:close/>
                  <a:moveTo>
                    <a:pt x="28" y="76"/>
                  </a:moveTo>
                  <a:cubicBezTo>
                    <a:pt x="16" y="76"/>
                    <a:pt x="16" y="76"/>
                    <a:pt x="16" y="76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28" y="64"/>
                    <a:pt x="28" y="64"/>
                    <a:pt x="28" y="64"/>
                  </a:cubicBezTo>
                  <a:lnTo>
                    <a:pt x="28" y="76"/>
                  </a:lnTo>
                  <a:close/>
                  <a:moveTo>
                    <a:pt x="28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28" y="44"/>
                    <a:pt x="28" y="44"/>
                    <a:pt x="28" y="44"/>
                  </a:cubicBezTo>
                  <a:lnTo>
                    <a:pt x="28" y="56"/>
                  </a:lnTo>
                  <a:close/>
                  <a:moveTo>
                    <a:pt x="48" y="96"/>
                  </a:moveTo>
                  <a:cubicBezTo>
                    <a:pt x="36" y="96"/>
                    <a:pt x="36" y="96"/>
                    <a:pt x="36" y="96"/>
                  </a:cubicBezTo>
                  <a:cubicBezTo>
                    <a:pt x="36" y="84"/>
                    <a:pt x="36" y="84"/>
                    <a:pt x="36" y="84"/>
                  </a:cubicBezTo>
                  <a:cubicBezTo>
                    <a:pt x="48" y="84"/>
                    <a:pt x="48" y="84"/>
                    <a:pt x="48" y="84"/>
                  </a:cubicBezTo>
                  <a:lnTo>
                    <a:pt x="48" y="96"/>
                  </a:lnTo>
                  <a:close/>
                  <a:moveTo>
                    <a:pt x="48" y="76"/>
                  </a:moveTo>
                  <a:cubicBezTo>
                    <a:pt x="36" y="76"/>
                    <a:pt x="36" y="76"/>
                    <a:pt x="36" y="76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48" y="64"/>
                    <a:pt x="48" y="64"/>
                    <a:pt x="48" y="64"/>
                  </a:cubicBezTo>
                  <a:lnTo>
                    <a:pt x="48" y="76"/>
                  </a:lnTo>
                  <a:close/>
                  <a:moveTo>
                    <a:pt x="68" y="96"/>
                  </a:moveTo>
                  <a:cubicBezTo>
                    <a:pt x="56" y="96"/>
                    <a:pt x="56" y="96"/>
                    <a:pt x="56" y="96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68" y="84"/>
                    <a:pt x="68" y="84"/>
                    <a:pt x="68" y="84"/>
                  </a:cubicBezTo>
                  <a:lnTo>
                    <a:pt x="68" y="96"/>
                  </a:lnTo>
                  <a:close/>
                  <a:moveTo>
                    <a:pt x="68" y="76"/>
                  </a:moveTo>
                  <a:cubicBezTo>
                    <a:pt x="56" y="76"/>
                    <a:pt x="56" y="76"/>
                    <a:pt x="56" y="76"/>
                  </a:cubicBezTo>
                  <a:cubicBezTo>
                    <a:pt x="56" y="64"/>
                    <a:pt x="56" y="64"/>
                    <a:pt x="56" y="64"/>
                  </a:cubicBezTo>
                  <a:cubicBezTo>
                    <a:pt x="68" y="64"/>
                    <a:pt x="68" y="64"/>
                    <a:pt x="68" y="64"/>
                  </a:cubicBezTo>
                  <a:lnTo>
                    <a:pt x="68" y="76"/>
                  </a:lnTo>
                  <a:close/>
                  <a:moveTo>
                    <a:pt x="68" y="44"/>
                  </a:moveTo>
                  <a:cubicBezTo>
                    <a:pt x="60" y="44"/>
                    <a:pt x="60" y="44"/>
                    <a:pt x="60" y="44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44"/>
                    <a:pt x="48" y="44"/>
                    <a:pt x="48" y="4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24"/>
                    <a:pt x="48" y="24"/>
                    <a:pt x="48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68" y="12"/>
                    <a:pt x="68" y="12"/>
                    <a:pt x="68" y="12"/>
                  </a:cubicBezTo>
                  <a:lnTo>
                    <a:pt x="68" y="44"/>
                  </a:lnTo>
                  <a:close/>
                  <a:moveTo>
                    <a:pt x="88" y="96"/>
                  </a:moveTo>
                  <a:cubicBezTo>
                    <a:pt x="76" y="96"/>
                    <a:pt x="76" y="96"/>
                    <a:pt x="76" y="96"/>
                  </a:cubicBezTo>
                  <a:cubicBezTo>
                    <a:pt x="76" y="84"/>
                    <a:pt x="76" y="84"/>
                    <a:pt x="76" y="84"/>
                  </a:cubicBezTo>
                  <a:cubicBezTo>
                    <a:pt x="88" y="84"/>
                    <a:pt x="88" y="84"/>
                    <a:pt x="88" y="84"/>
                  </a:cubicBezTo>
                  <a:lnTo>
                    <a:pt x="88" y="96"/>
                  </a:lnTo>
                  <a:close/>
                  <a:moveTo>
                    <a:pt x="88" y="76"/>
                  </a:moveTo>
                  <a:cubicBezTo>
                    <a:pt x="76" y="76"/>
                    <a:pt x="76" y="76"/>
                    <a:pt x="76" y="76"/>
                  </a:cubicBezTo>
                  <a:cubicBezTo>
                    <a:pt x="76" y="64"/>
                    <a:pt x="76" y="64"/>
                    <a:pt x="76" y="64"/>
                  </a:cubicBezTo>
                  <a:cubicBezTo>
                    <a:pt x="88" y="64"/>
                    <a:pt x="88" y="64"/>
                    <a:pt x="88" y="64"/>
                  </a:cubicBezTo>
                  <a:lnTo>
                    <a:pt x="88" y="7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781" name="Rectangle 18">
            <a:extLst>
              <a:ext uri="{FF2B5EF4-FFF2-40B4-BE49-F238E27FC236}">
                <a16:creationId xmlns:a16="http://schemas.microsoft.com/office/drawing/2014/main" id="{3E5727F0-A3D9-A951-D4A2-C3C4C775A266}"/>
              </a:ext>
            </a:extLst>
          </p:cNvPr>
          <p:cNvSpPr>
            <a:spLocks/>
          </p:cNvSpPr>
          <p:nvPr/>
        </p:nvSpPr>
        <p:spPr>
          <a:xfrm>
            <a:off x="1569749" y="4296876"/>
            <a:ext cx="820810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tienten Erstvorstellung</a:t>
            </a:r>
          </a:p>
        </p:txBody>
      </p:sp>
      <p:sp>
        <p:nvSpPr>
          <p:cNvPr id="782" name="Rectangle 18">
            <a:extLst>
              <a:ext uri="{FF2B5EF4-FFF2-40B4-BE49-F238E27FC236}">
                <a16:creationId xmlns:a16="http://schemas.microsoft.com/office/drawing/2014/main" id="{7C23915C-C917-25A6-E5EC-E0351FB6CF03}"/>
              </a:ext>
            </a:extLst>
          </p:cNvPr>
          <p:cNvSpPr>
            <a:spLocks/>
          </p:cNvSpPr>
          <p:nvPr/>
        </p:nvSpPr>
        <p:spPr>
          <a:xfrm>
            <a:off x="4641698" y="4296876"/>
            <a:ext cx="820810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itiale Diagnostik</a:t>
            </a:r>
          </a:p>
        </p:txBody>
      </p:sp>
      <p:sp>
        <p:nvSpPr>
          <p:cNvPr id="783" name="Rectangle 18">
            <a:extLst>
              <a:ext uri="{FF2B5EF4-FFF2-40B4-BE49-F238E27FC236}">
                <a16:creationId xmlns:a16="http://schemas.microsoft.com/office/drawing/2014/main" id="{53463150-3EB7-8BAA-0540-B8F60F0CA3D6}"/>
              </a:ext>
            </a:extLst>
          </p:cNvPr>
          <p:cNvSpPr>
            <a:spLocks/>
          </p:cNvSpPr>
          <p:nvPr/>
        </p:nvSpPr>
        <p:spPr>
          <a:xfrm>
            <a:off x="7720178" y="4296876"/>
            <a:ext cx="820810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Therapie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="1">
                <a:solidFill>
                  <a:srgbClr val="000000"/>
                </a:solidFill>
                <a:latin typeface="Calibri"/>
              </a:rPr>
              <a:t>P</a:t>
            </a:r>
            <a: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lanung</a:t>
            </a:r>
          </a:p>
        </p:txBody>
      </p:sp>
      <p:sp>
        <p:nvSpPr>
          <p:cNvPr id="784" name="Rectangle 18">
            <a:extLst>
              <a:ext uri="{FF2B5EF4-FFF2-40B4-BE49-F238E27FC236}">
                <a16:creationId xmlns:a16="http://schemas.microsoft.com/office/drawing/2014/main" id="{538ABD19-BD15-1417-E02E-93BCA1F8A1D1}"/>
              </a:ext>
            </a:extLst>
          </p:cNvPr>
          <p:cNvSpPr>
            <a:spLocks/>
          </p:cNvSpPr>
          <p:nvPr/>
        </p:nvSpPr>
        <p:spPr>
          <a:xfrm>
            <a:off x="9267038" y="4296876"/>
            <a:ext cx="820810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rapie Begleitung</a:t>
            </a:r>
          </a:p>
        </p:txBody>
      </p:sp>
    </p:spTree>
    <p:extLst>
      <p:ext uri="{BB962C8B-B14F-4D97-AF65-F5344CB8AC3E}">
        <p14:creationId xmlns:p14="http://schemas.microsoft.com/office/powerpoint/2010/main" val="35450763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BE87B9E-9EC8-9C87-7AE3-BAF411FC59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6507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BE87B9E-9EC8-9C87-7AE3-BAF411FC59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9F253047-A6CB-CC93-AE93-31572E2C5C52}"/>
              </a:ext>
            </a:extLst>
          </p:cNvPr>
          <p:cNvSpPr>
            <a:spLocks/>
          </p:cNvSpPr>
          <p:nvPr/>
        </p:nvSpPr>
        <p:spPr>
          <a:xfrm>
            <a:off x="-5893" y="3794988"/>
            <a:ext cx="12177756" cy="3063012"/>
          </a:xfrm>
          <a:custGeom>
            <a:avLst/>
            <a:gdLst>
              <a:gd name="connsiteX0" fmla="*/ 11802433 w 12177756"/>
              <a:gd name="connsiteY0" fmla="*/ 0 h 3063012"/>
              <a:gd name="connsiteX1" fmla="*/ 12177756 w 12177756"/>
              <a:gd name="connsiteY1" fmla="*/ 338855 h 3063012"/>
              <a:gd name="connsiteX2" fmla="*/ 12177756 w 12177756"/>
              <a:gd name="connsiteY2" fmla="*/ 3063011 h 3063012"/>
              <a:gd name="connsiteX3" fmla="*/ 11802433 w 12177756"/>
              <a:gd name="connsiteY3" fmla="*/ 3063011 h 3063012"/>
              <a:gd name="connsiteX4" fmla="*/ 11802433 w 12177756"/>
              <a:gd name="connsiteY4" fmla="*/ 3063012 h 3063012"/>
              <a:gd name="connsiteX5" fmla="*/ 2602088 w 12177756"/>
              <a:gd name="connsiteY5" fmla="*/ 3063012 h 3063012"/>
              <a:gd name="connsiteX6" fmla="*/ 0 w 12177756"/>
              <a:gd name="connsiteY6" fmla="*/ 713758 h 3063012"/>
              <a:gd name="connsiteX7" fmla="*/ 3391858 w 12177756"/>
              <a:gd name="connsiteY7" fmla="*/ 713758 h 3063012"/>
              <a:gd name="connsiteX8" fmla="*/ 3392660 w 12177756"/>
              <a:gd name="connsiteY8" fmla="*/ 713758 h 3063012"/>
              <a:gd name="connsiteX9" fmla="*/ 11802433 w 12177756"/>
              <a:gd name="connsiteY9" fmla="*/ 713758 h 3063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77756" h="3063012">
                <a:moveTo>
                  <a:pt x="11802433" y="0"/>
                </a:moveTo>
                <a:lnTo>
                  <a:pt x="12177756" y="338855"/>
                </a:lnTo>
                <a:lnTo>
                  <a:pt x="12177756" y="3063011"/>
                </a:lnTo>
                <a:lnTo>
                  <a:pt x="11802433" y="3063011"/>
                </a:lnTo>
                <a:lnTo>
                  <a:pt x="11802433" y="3063012"/>
                </a:lnTo>
                <a:lnTo>
                  <a:pt x="2602088" y="3063012"/>
                </a:lnTo>
                <a:lnTo>
                  <a:pt x="0" y="713758"/>
                </a:lnTo>
                <a:lnTo>
                  <a:pt x="3391858" y="713758"/>
                </a:lnTo>
                <a:lnTo>
                  <a:pt x="3392660" y="713758"/>
                </a:lnTo>
                <a:lnTo>
                  <a:pt x="11802433" y="713758"/>
                </a:lnTo>
                <a:close/>
              </a:path>
            </a:pathLst>
          </a:custGeom>
          <a:pattFill prst="wdDnDiag">
            <a:fgClr>
              <a:srgbClr val="ECECEC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Pfeil: Fünfeck 34">
            <a:extLst>
              <a:ext uri="{FF2B5EF4-FFF2-40B4-BE49-F238E27FC236}">
                <a16:creationId xmlns:a16="http://schemas.microsoft.com/office/drawing/2014/main" id="{CEFAA7FC-EE82-1577-997B-F48201253BBB}"/>
              </a:ext>
            </a:extLst>
          </p:cNvPr>
          <p:cNvSpPr>
            <a:spLocks/>
          </p:cNvSpPr>
          <p:nvPr/>
        </p:nvSpPr>
        <p:spPr>
          <a:xfrm>
            <a:off x="0" y="3793572"/>
            <a:ext cx="12014200" cy="707136"/>
          </a:xfrm>
          <a:prstGeom prst="homePlate">
            <a:avLst>
              <a:gd name="adj" fmla="val 31034"/>
            </a:avLst>
          </a:prstGeom>
          <a:solidFill>
            <a:schemeClr val="bg2"/>
          </a:solidFill>
          <a:ln>
            <a:noFill/>
          </a:ln>
          <a:effectLst>
            <a:outerShdw blurRad="101600" dist="38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Pfeil: Fünfeck 48">
            <a:extLst>
              <a:ext uri="{FF2B5EF4-FFF2-40B4-BE49-F238E27FC236}">
                <a16:creationId xmlns:a16="http://schemas.microsoft.com/office/drawing/2014/main" id="{5144BE15-A491-14AD-076A-F7DAEA8785B8}"/>
              </a:ext>
            </a:extLst>
          </p:cNvPr>
          <p:cNvSpPr>
            <a:spLocks/>
          </p:cNvSpPr>
          <p:nvPr/>
        </p:nvSpPr>
        <p:spPr>
          <a:xfrm>
            <a:off x="-76200" y="3742772"/>
            <a:ext cx="12014200" cy="707136"/>
          </a:xfrm>
          <a:prstGeom prst="homePlate">
            <a:avLst>
              <a:gd name="adj" fmla="val 31034"/>
            </a:avLst>
          </a:prstGeom>
          <a:noFill/>
          <a:ln w="12700">
            <a:solidFill>
              <a:srgbClr val="F9B591"/>
            </a:solidFill>
          </a:ln>
          <a:effectLst>
            <a:outerShdw blurRad="101600" dist="38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D09689BF-70FB-93F7-A152-AB783F8C86F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584" t="21625" r="58928" b="31851"/>
          <a:stretch/>
        </p:blipFill>
        <p:spPr>
          <a:xfrm>
            <a:off x="3758243" y="3337698"/>
            <a:ext cx="1430250" cy="703907"/>
          </a:xfrm>
          <a:prstGeom prst="rect">
            <a:avLst/>
          </a:prstGeom>
          <a:ln w="6350">
            <a:solidFill>
              <a:schemeClr val="accent5"/>
            </a:solidFill>
          </a:ln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F46D135-D381-D98C-0223-8CB78D243B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Zusatzapplikationen und Mehrwertdienste der </a:t>
            </a:r>
            <a:br>
              <a:rPr lang="de-DE"/>
            </a:br>
            <a:r>
              <a:rPr lang="de-DE"/>
              <a:t>Siemens Healthineers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0251B8D-D49C-2C5D-AD6F-4DB0489EDA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61DE7F-8325-3C86-2914-9F848C30877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pt-BR"/>
              <a:t>A91GER-H-001672-E4</a:t>
            </a:r>
            <a:endParaRPr lang="de-DE"/>
          </a:p>
        </p:txBody>
      </p:sp>
      <p:sp>
        <p:nvSpPr>
          <p:cNvPr id="14" name="Inhaltsplatzhalter 14">
            <a:extLst>
              <a:ext uri="{FF2B5EF4-FFF2-40B4-BE49-F238E27FC236}">
                <a16:creationId xmlns:a16="http://schemas.microsoft.com/office/drawing/2014/main" id="{31C20415-0088-EDC7-1B81-AE5874A628D1}"/>
              </a:ext>
            </a:extLst>
          </p:cNvPr>
          <p:cNvSpPr txBox="1">
            <a:spLocks/>
          </p:cNvSpPr>
          <p:nvPr/>
        </p:nvSpPr>
        <p:spPr>
          <a:xfrm>
            <a:off x="539999" y="2038350"/>
            <a:ext cx="2660401" cy="923330"/>
          </a:xfrm>
          <a:prstGeom prst="rect">
            <a:avLst/>
          </a:prstGeom>
        </p:spPr>
        <p:txBody>
          <a:bodyPr vert="horz" lIns="10800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1111">
              <a:defRPr/>
            </a:pPr>
            <a:r>
              <a:rPr lang="de-DE" sz="1200">
                <a:solidFill>
                  <a:srgbClr val="000000"/>
                </a:solidFill>
                <a:latin typeface="Calibri"/>
              </a:rPr>
              <a:t>Ärzteportal </a:t>
            </a:r>
            <a:r>
              <a:rPr lang="de-DE" sz="1200" b="0">
                <a:solidFill>
                  <a:srgbClr val="000000"/>
                </a:solidFill>
                <a:latin typeface="Calibri"/>
              </a:rPr>
              <a:t>mit Zugriff auf diskrete medizinische Daten, kumulative Laborwerte und Dokumentationen und Befunde. Integration in Primärsysteme und Anbindung externer Partner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6451B3F7-93E8-1F2A-E007-67DAFF46646E}"/>
              </a:ext>
            </a:extLst>
          </p:cNvPr>
          <p:cNvSpPr txBox="1">
            <a:spLocks/>
          </p:cNvSpPr>
          <p:nvPr/>
        </p:nvSpPr>
        <p:spPr>
          <a:xfrm>
            <a:off x="3759553" y="2038350"/>
            <a:ext cx="2415264" cy="738664"/>
          </a:xfrm>
          <a:prstGeom prst="rect">
            <a:avLst/>
          </a:prstGeom>
        </p:spPr>
        <p:txBody>
          <a:bodyPr vert="horz" lIns="10800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1111">
              <a:defRPr/>
            </a:pPr>
            <a:r>
              <a:rPr lang="de-DE" sz="1200">
                <a:solidFill>
                  <a:srgbClr val="000000"/>
                </a:solidFill>
                <a:latin typeface="Calibri"/>
              </a:rPr>
              <a:t>Virtual </a:t>
            </a:r>
            <a:r>
              <a:rPr lang="de-DE" sz="1200" err="1">
                <a:solidFill>
                  <a:srgbClr val="000000"/>
                </a:solidFill>
                <a:latin typeface="Calibri"/>
              </a:rPr>
              <a:t>Visit</a:t>
            </a:r>
            <a:r>
              <a:rPr lang="de-DE" sz="1200">
                <a:solidFill>
                  <a:srgbClr val="000000"/>
                </a:solidFill>
                <a:latin typeface="Calibri"/>
              </a:rPr>
              <a:t>, </a:t>
            </a:r>
            <a:r>
              <a:rPr lang="de-DE" sz="1200" b="0">
                <a:solidFill>
                  <a:srgbClr val="000000"/>
                </a:solidFill>
                <a:latin typeface="Calibri"/>
              </a:rPr>
              <a:t>die digital Sprechstunde zur stationären Vor- und Nachbereitung und für die Transformation der Ambulanzen</a:t>
            </a:r>
          </a:p>
        </p:txBody>
      </p:sp>
      <p:sp>
        <p:nvSpPr>
          <p:cNvPr id="16" name="Inhaltsplatzhalter 14">
            <a:extLst>
              <a:ext uri="{FF2B5EF4-FFF2-40B4-BE49-F238E27FC236}">
                <a16:creationId xmlns:a16="http://schemas.microsoft.com/office/drawing/2014/main" id="{7E3C2B04-62AE-1D13-7B8D-49B0032A3377}"/>
              </a:ext>
            </a:extLst>
          </p:cNvPr>
          <p:cNvSpPr txBox="1">
            <a:spLocks/>
          </p:cNvSpPr>
          <p:nvPr/>
        </p:nvSpPr>
        <p:spPr>
          <a:xfrm>
            <a:off x="5369329" y="5209591"/>
            <a:ext cx="2599013" cy="553998"/>
          </a:xfrm>
          <a:prstGeom prst="rect">
            <a:avLst/>
          </a:prstGeom>
        </p:spPr>
        <p:txBody>
          <a:bodyPr vert="horz" lIns="10800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1111">
              <a:defRPr/>
            </a:pPr>
            <a:r>
              <a:rPr lang="de-DE" sz="1200">
                <a:solidFill>
                  <a:srgbClr val="000000"/>
                </a:solidFill>
                <a:latin typeface="Calibri"/>
              </a:rPr>
              <a:t>Klinische Konferenzen </a:t>
            </a:r>
            <a:r>
              <a:rPr lang="de-DE" sz="1200" b="0">
                <a:solidFill>
                  <a:srgbClr val="000000"/>
                </a:solidFill>
                <a:latin typeface="Calibri"/>
              </a:rPr>
              <a:t>als Basis </a:t>
            </a:r>
            <a:br>
              <a:rPr lang="de-DE" sz="1200" b="0">
                <a:solidFill>
                  <a:srgbClr val="000000"/>
                </a:solidFill>
                <a:latin typeface="Calibri"/>
              </a:rPr>
            </a:br>
            <a:r>
              <a:rPr lang="de-DE" sz="1200" b="0">
                <a:solidFill>
                  <a:srgbClr val="000000"/>
                </a:solidFill>
                <a:latin typeface="Calibri"/>
              </a:rPr>
              <a:t>für Tumorboards, regelmäßige Falldurchsprachen oder Fortbildungen</a:t>
            </a:r>
          </a:p>
        </p:txBody>
      </p:sp>
      <p:sp>
        <p:nvSpPr>
          <p:cNvPr id="17" name="Inhaltsplatzhalter 14">
            <a:extLst>
              <a:ext uri="{FF2B5EF4-FFF2-40B4-BE49-F238E27FC236}">
                <a16:creationId xmlns:a16="http://schemas.microsoft.com/office/drawing/2014/main" id="{0A8A7429-9B59-1EBF-AEFF-623E2C23B05C}"/>
              </a:ext>
            </a:extLst>
          </p:cNvPr>
          <p:cNvSpPr txBox="1">
            <a:spLocks/>
          </p:cNvSpPr>
          <p:nvPr/>
        </p:nvSpPr>
        <p:spPr>
          <a:xfrm>
            <a:off x="8588883" y="5209591"/>
            <a:ext cx="2695676" cy="923330"/>
          </a:xfrm>
          <a:prstGeom prst="rect">
            <a:avLst/>
          </a:prstGeom>
        </p:spPr>
        <p:txBody>
          <a:bodyPr vert="horz" lIns="10800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1111">
              <a:defRPr/>
            </a:pPr>
            <a:r>
              <a:rPr lang="de-DE" sz="1200">
                <a:solidFill>
                  <a:srgbClr val="000000"/>
                </a:solidFill>
                <a:latin typeface="Calibri"/>
              </a:rPr>
              <a:t>Patientenportal </a:t>
            </a:r>
            <a:r>
              <a:rPr lang="de-DE" sz="1200" b="0">
                <a:solidFill>
                  <a:srgbClr val="000000"/>
                </a:solidFill>
                <a:latin typeface="Calibri"/>
              </a:rPr>
              <a:t>zur Einbindung von Patientinnen &amp; Patienten in die Versorgungsprozesse, eigene Uploads und Rechtewahrnehmung</a:t>
            </a:r>
          </a:p>
        </p:txBody>
      </p:sp>
      <p:sp>
        <p:nvSpPr>
          <p:cNvPr id="18" name="Inhaltsplatzhalter 14">
            <a:extLst>
              <a:ext uri="{FF2B5EF4-FFF2-40B4-BE49-F238E27FC236}">
                <a16:creationId xmlns:a16="http://schemas.microsoft.com/office/drawing/2014/main" id="{10A0FA29-B180-C65C-C5BB-720AB2D114A9}"/>
              </a:ext>
            </a:extLst>
          </p:cNvPr>
          <p:cNvSpPr txBox="1">
            <a:spLocks/>
          </p:cNvSpPr>
          <p:nvPr/>
        </p:nvSpPr>
        <p:spPr>
          <a:xfrm>
            <a:off x="6979107" y="2038350"/>
            <a:ext cx="2596394" cy="553998"/>
          </a:xfrm>
          <a:prstGeom prst="rect">
            <a:avLst/>
          </a:prstGeom>
        </p:spPr>
        <p:txBody>
          <a:bodyPr vert="horz" lIns="10800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1111">
              <a:defRPr/>
            </a:pPr>
            <a:r>
              <a:rPr lang="de-DE" sz="1200">
                <a:solidFill>
                  <a:srgbClr val="000000"/>
                </a:solidFill>
                <a:latin typeface="Calibri"/>
              </a:rPr>
              <a:t>Telekonsultation </a:t>
            </a:r>
            <a:r>
              <a:rPr lang="de-DE" sz="1200" b="0">
                <a:solidFill>
                  <a:srgbClr val="000000"/>
                </a:solidFill>
                <a:latin typeface="Calibri"/>
              </a:rPr>
              <a:t>zur workflowbasierten Unterstützung bei Zweitmeinung und konsiliarischen Leistungen</a:t>
            </a:r>
          </a:p>
        </p:txBody>
      </p:sp>
      <p:sp>
        <p:nvSpPr>
          <p:cNvPr id="20" name="Inhaltsplatzhalter 14">
            <a:extLst>
              <a:ext uri="{FF2B5EF4-FFF2-40B4-BE49-F238E27FC236}">
                <a16:creationId xmlns:a16="http://schemas.microsoft.com/office/drawing/2014/main" id="{A1224196-7038-6D71-769E-96FF1A15C03A}"/>
              </a:ext>
            </a:extLst>
          </p:cNvPr>
          <p:cNvSpPr txBox="1">
            <a:spLocks/>
          </p:cNvSpPr>
          <p:nvPr/>
        </p:nvSpPr>
        <p:spPr>
          <a:xfrm>
            <a:off x="10198661" y="2038350"/>
            <a:ext cx="1429778" cy="369332"/>
          </a:xfrm>
          <a:prstGeom prst="rect">
            <a:avLst/>
          </a:prstGeom>
        </p:spPr>
        <p:txBody>
          <a:bodyPr vert="horz" lIns="10800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1111">
              <a:defRPr/>
            </a:pPr>
            <a:r>
              <a:rPr lang="de-DE" sz="1200">
                <a:solidFill>
                  <a:srgbClr val="000000"/>
                </a:solidFill>
                <a:latin typeface="Calibri"/>
              </a:rPr>
              <a:t>Terminmanagement</a:t>
            </a:r>
            <a:br>
              <a:rPr lang="de-DE" sz="1200">
                <a:solidFill>
                  <a:srgbClr val="000000"/>
                </a:solidFill>
                <a:latin typeface="Calibri"/>
              </a:rPr>
            </a:br>
            <a:r>
              <a:rPr lang="de-DE" sz="1200" b="0">
                <a:solidFill>
                  <a:srgbClr val="000000"/>
                </a:solidFill>
                <a:latin typeface="Calibri"/>
              </a:rPr>
              <a:t>ISiK konforme Terminverwaltung</a:t>
            </a:r>
          </a:p>
        </p:txBody>
      </p:sp>
      <p:sp>
        <p:nvSpPr>
          <p:cNvPr id="21" name="Inhaltsplatzhalter 14">
            <a:extLst>
              <a:ext uri="{FF2B5EF4-FFF2-40B4-BE49-F238E27FC236}">
                <a16:creationId xmlns:a16="http://schemas.microsoft.com/office/drawing/2014/main" id="{437B1526-FE26-6B2C-DBDA-DD7538A8FC8A}"/>
              </a:ext>
            </a:extLst>
          </p:cNvPr>
          <p:cNvSpPr txBox="1">
            <a:spLocks/>
          </p:cNvSpPr>
          <p:nvPr/>
        </p:nvSpPr>
        <p:spPr>
          <a:xfrm>
            <a:off x="2149777" y="5209591"/>
            <a:ext cx="2679398" cy="369332"/>
          </a:xfrm>
          <a:prstGeom prst="rect">
            <a:avLst/>
          </a:prstGeom>
        </p:spPr>
        <p:txBody>
          <a:bodyPr vert="horz" lIns="10800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1111">
              <a:defRPr/>
            </a:pPr>
            <a:r>
              <a:rPr lang="de-DE" sz="1200">
                <a:solidFill>
                  <a:srgbClr val="000000"/>
                </a:solidFill>
                <a:latin typeface="Calibri"/>
              </a:rPr>
              <a:t>DICOM-Integration</a:t>
            </a:r>
            <a:br>
              <a:rPr lang="de-DE" sz="1200">
                <a:solidFill>
                  <a:srgbClr val="000000"/>
                </a:solidFill>
                <a:latin typeface="Calibri"/>
              </a:rPr>
            </a:br>
            <a:r>
              <a:rPr lang="de-DE" sz="1200" b="0">
                <a:solidFill>
                  <a:srgbClr val="000000"/>
                </a:solidFill>
                <a:latin typeface="Calibri"/>
              </a:rPr>
              <a:t>IHE XDS-I orientierte und institutsübergreifende Bilddaten Verarbeitung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DC54A948-8D42-0A29-5DFE-04BAE17547B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742" y="3337698"/>
            <a:ext cx="1430250" cy="703907"/>
          </a:xfrm>
          <a:prstGeom prst="rect">
            <a:avLst/>
          </a:prstGeom>
          <a:ln w="6350">
            <a:solidFill>
              <a:schemeClr val="accent5"/>
            </a:solidFill>
          </a:ln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8671AB41-51BE-91A1-80EA-0ED2928FD80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05" b="4246"/>
          <a:stretch/>
        </p:blipFill>
        <p:spPr>
          <a:xfrm>
            <a:off x="6978744" y="3337699"/>
            <a:ext cx="1430250" cy="703907"/>
          </a:xfrm>
          <a:prstGeom prst="rect">
            <a:avLst/>
          </a:prstGeom>
          <a:ln w="6350">
            <a:solidFill>
              <a:schemeClr val="accent5"/>
            </a:solidFill>
          </a:ln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93C58AB1-8813-9B65-C96E-7082E09D7E2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8494" y="3337698"/>
            <a:ext cx="1430250" cy="703907"/>
          </a:xfrm>
          <a:prstGeom prst="rect">
            <a:avLst/>
          </a:prstGeom>
          <a:ln w="6350">
            <a:solidFill>
              <a:schemeClr val="accent5"/>
            </a:solidFill>
          </a:ln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E1D62C87-9EAF-4952-CDAF-A71AAC810F0A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43" r="24506" b="30687"/>
          <a:stretch/>
        </p:blipFill>
        <p:spPr>
          <a:xfrm>
            <a:off x="8588994" y="3337698"/>
            <a:ext cx="1430250" cy="703907"/>
          </a:xfrm>
          <a:prstGeom prst="rect">
            <a:avLst/>
          </a:prstGeom>
          <a:ln w="6350">
            <a:solidFill>
              <a:schemeClr val="accent5"/>
            </a:solidFill>
          </a:ln>
        </p:spPr>
      </p:pic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E8944C04-4723-D912-2CCE-3CF688480C8C}"/>
              </a:ext>
            </a:extLst>
          </p:cNvPr>
          <p:cNvGrpSpPr>
            <a:grpSpLocks/>
          </p:cNvGrpSpPr>
          <p:nvPr/>
        </p:nvGrpSpPr>
        <p:grpSpPr>
          <a:xfrm>
            <a:off x="9438198" y="3711209"/>
            <a:ext cx="674081" cy="675422"/>
            <a:chOff x="5350213" y="2182495"/>
            <a:chExt cx="3410833" cy="3417618"/>
          </a:xfrm>
        </p:grpSpPr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91B6B922-27EB-FAF9-9A1E-5E87F52050C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350213" y="2182495"/>
              <a:ext cx="3410833" cy="341761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98954F18-C5EF-ABEC-4CE1-71AD7E2E2BC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423937" y="2685926"/>
              <a:ext cx="1280370" cy="2373757"/>
            </a:xfrm>
            <a:prstGeom prst="rect">
              <a:avLst/>
            </a:prstGeom>
          </p:spPr>
        </p:pic>
      </p:grpSp>
      <p:pic>
        <p:nvPicPr>
          <p:cNvPr id="34" name="Grafik 33">
            <a:extLst>
              <a:ext uri="{FF2B5EF4-FFF2-40B4-BE49-F238E27FC236}">
                <a16:creationId xmlns:a16="http://schemas.microsoft.com/office/drawing/2014/main" id="{0BB3C1B1-C180-344D-05AE-619946D7EDC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26428" y="3711209"/>
            <a:ext cx="674081" cy="6754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1006B162-0007-5793-8A8D-F28B53373CC0}"/>
              </a:ext>
            </a:extLst>
          </p:cNvPr>
          <p:cNvCxnSpPr>
            <a:cxnSpLocks/>
          </p:cNvCxnSpPr>
          <p:nvPr/>
        </p:nvCxnSpPr>
        <p:spPr>
          <a:xfrm>
            <a:off x="540000" y="2034713"/>
            <a:ext cx="0" cy="1173200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0FADFF57-F652-D6DE-5C28-9F9A790F49D0}"/>
              </a:ext>
            </a:extLst>
          </p:cNvPr>
          <p:cNvCxnSpPr>
            <a:cxnSpLocks/>
          </p:cNvCxnSpPr>
          <p:nvPr/>
        </p:nvCxnSpPr>
        <p:spPr>
          <a:xfrm>
            <a:off x="3755318" y="2034713"/>
            <a:ext cx="0" cy="1173200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4DD8C27E-E800-A546-BFC9-98BC02B6E8DE}"/>
              </a:ext>
            </a:extLst>
          </p:cNvPr>
          <p:cNvCxnSpPr>
            <a:cxnSpLocks/>
          </p:cNvCxnSpPr>
          <p:nvPr/>
        </p:nvCxnSpPr>
        <p:spPr>
          <a:xfrm>
            <a:off x="6970636" y="2034713"/>
            <a:ext cx="0" cy="1173200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483C8249-8EAB-23B4-90F8-E0A2A6CA9659}"/>
              </a:ext>
            </a:extLst>
          </p:cNvPr>
          <p:cNvCxnSpPr>
            <a:cxnSpLocks/>
          </p:cNvCxnSpPr>
          <p:nvPr/>
        </p:nvCxnSpPr>
        <p:spPr>
          <a:xfrm>
            <a:off x="10185954" y="2034713"/>
            <a:ext cx="0" cy="1173200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B99B7D9C-8859-350B-C6F2-F7DA40740CD4}"/>
              </a:ext>
            </a:extLst>
          </p:cNvPr>
          <p:cNvGrpSpPr/>
          <p:nvPr/>
        </p:nvGrpSpPr>
        <p:grpSpPr>
          <a:xfrm>
            <a:off x="2147993" y="4572000"/>
            <a:ext cx="6441001" cy="1187952"/>
            <a:chOff x="2147993" y="4171289"/>
            <a:chExt cx="6441001" cy="1588663"/>
          </a:xfrm>
        </p:grpSpPr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39255D7F-EC6E-F4C6-E75E-BCD093097762}"/>
                </a:ext>
              </a:extLst>
            </p:cNvPr>
            <p:cNvCxnSpPr>
              <a:cxnSpLocks/>
            </p:cNvCxnSpPr>
            <p:nvPr/>
          </p:nvCxnSpPr>
          <p:spPr>
            <a:xfrm>
              <a:off x="2147993" y="4171289"/>
              <a:ext cx="0" cy="1588663"/>
            </a:xfrm>
            <a:prstGeom prst="line">
              <a:avLst/>
            </a:prstGeom>
            <a:ln w="9525" cap="rnd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37670CAA-CB6B-5D9B-7042-5AC3FBBCCC0D}"/>
                </a:ext>
              </a:extLst>
            </p:cNvPr>
            <p:cNvCxnSpPr>
              <a:cxnSpLocks/>
            </p:cNvCxnSpPr>
            <p:nvPr/>
          </p:nvCxnSpPr>
          <p:spPr>
            <a:xfrm>
              <a:off x="5368494" y="4171289"/>
              <a:ext cx="0" cy="1588663"/>
            </a:xfrm>
            <a:prstGeom prst="line">
              <a:avLst/>
            </a:prstGeom>
            <a:ln w="9525" cap="rnd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4FC48B20-0207-C8DA-68E6-CCBA32F5C0FC}"/>
                </a:ext>
              </a:extLst>
            </p:cNvPr>
            <p:cNvCxnSpPr>
              <a:cxnSpLocks/>
            </p:cNvCxnSpPr>
            <p:nvPr/>
          </p:nvCxnSpPr>
          <p:spPr>
            <a:xfrm>
              <a:off x="8588994" y="4171289"/>
              <a:ext cx="0" cy="1588663"/>
            </a:xfrm>
            <a:prstGeom prst="line">
              <a:avLst/>
            </a:prstGeom>
            <a:ln w="9525" cap="rnd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Box 5">
            <a:extLst>
              <a:ext uri="{FF2B5EF4-FFF2-40B4-BE49-F238E27FC236}">
                <a16:creationId xmlns:a16="http://schemas.microsoft.com/office/drawing/2014/main" id="{CCC8AE6E-015F-66E7-8B1D-CFF6395EA560}"/>
              </a:ext>
            </a:extLst>
          </p:cNvPr>
          <p:cNvSpPr txBox="1"/>
          <p:nvPr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9</a:t>
            </a:fld>
            <a:endParaRPr lang="de-DE" sz="1000" b="1" i="0" u="none" kern="1200" spc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5" name="Restricted">
            <a:extLst>
              <a:ext uri="{FF2B5EF4-FFF2-40B4-BE49-F238E27FC236}">
                <a16:creationId xmlns:a16="http://schemas.microsoft.com/office/drawing/2014/main" id="{CFA5B895-A0BC-86FF-4861-C1AEF0338E01}"/>
              </a:ext>
            </a:extLst>
          </p:cNvPr>
          <p:cNvSpPr txBox="1"/>
          <p:nvPr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de-DE" sz="1000">
                <a:solidFill>
                  <a:schemeClr val="tx1"/>
                </a:solidFill>
              </a:rPr>
              <a:t>Frei verwendbar © Siemens Healthineers, 2023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F4005C9-3022-29CF-2A0B-8B0606FD1A1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147378" y="3149566"/>
            <a:ext cx="1578109" cy="643298"/>
          </a:xfrm>
          <a:prstGeom prst="rect">
            <a:avLst/>
          </a:prstGeom>
        </p:spPr>
      </p:pic>
      <p:pic>
        <p:nvPicPr>
          <p:cNvPr id="8" name="Picture 6">
            <a:extLst>
              <a:ext uri="{FF2B5EF4-FFF2-40B4-BE49-F238E27FC236}">
                <a16:creationId xmlns:a16="http://schemas.microsoft.com/office/drawing/2014/main" id="{79BF9977-95AA-F19C-A223-A3E568A5802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270419" y="3337699"/>
            <a:ext cx="1227605" cy="696905"/>
          </a:xfrm>
          <a:prstGeom prst="rect">
            <a:avLst/>
          </a:prstGeom>
          <a:ln w="6350">
            <a:solidFill>
              <a:schemeClr val="accent5"/>
            </a:solidFill>
          </a:ln>
        </p:spPr>
      </p:pic>
    </p:spTree>
    <p:extLst>
      <p:ext uri="{BB962C8B-B14F-4D97-AF65-F5344CB8AC3E}">
        <p14:creationId xmlns:p14="http://schemas.microsoft.com/office/powerpoint/2010/main" val="15700050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6ff8cae-daab-4e62-bf63-7b5f2e8ea71d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6ff8cae-daab-4e62-bf63-7b5f2e8ea71d"/>
  <p:tag name="EE4P_STYLE_NAME" val="Siemens Healthineers"/>
  <p:tag name="EE4P_SMART_ELEMENT" val="PercentBar"/>
  <p:tag name="EE4P_SMART_ELEMENT_XML" val="&lt;smartelement id=&quot;PercentBar&quot;&gt;&lt;position width=&quot;120&quot; height=&quot;12&quot; alignment=&quot;2&quot; /&gt;&lt;elements&gt;&lt;element name=&quot;background&quot;&gt;&lt;fill visible=&quot;1&quot; foreColor=&quot;#ffffff&quot; /&gt;&lt;line visible=&quot;0&quot; /&gt;&lt;font color=&quot;!&quot; /&gt;&lt;/element&gt;&lt;element name=&quot;foreground&quot;&gt;&lt;fill visible=&quot;0&quot; /&gt;&lt;line visible=&quot;1&quot; foreColor=&quot;&quot; weight=&quot;0.75&quot; /&gt;&lt;/element&gt;&lt;element name=&quot;bar&quot;&gt;&lt;fill visible=&quot;1&quot; foreColor=&quot;&quot; /&gt;&lt;line visible=&quot;0&quot; /&gt;&lt;font color=&quot;#ffffff&quot; /&gt;&lt;/element&gt;&lt;/elements&gt;&lt;colors&gt;&lt;color rgb=&quot;#ec6602&quot; name=&quot;Accent 1&quot; name_de=&quot;Akzent 1&quot; default=&quot;1&quot; /&gt;&lt;color rgb=&quot;#000000&quot; name=&quot;Accent 2&quot; name_de=&quot;Akzent 2&quot; /&gt;&lt;color rgb=&quot;#009999&quot; name=&quot;Accent 3&quot; name_de=&quot;Akzent 3&quot; /&gt;&lt;color rgb=&quot;#404040&quot; name=&quot;Accent 4&quot; name_de=&quot;Akzent 4&quot; /&gt;&lt;color rgb=&quot;#808080&quot; name=&quot;Accent 5&quot; name_de=&quot;Akzent 5&quot; /&gt;&lt;color rgb=&quot;#bfbfbf&quot; name=&quot;Accent 6&quot; name_de=&quot;Akzent 6&quot; /&gt;&lt;/colors&gt;&lt;/smartelement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6ff8cae-daab-4e62-bf63-7b5f2e8ea71d"/>
  <p:tag name="EE4P_STYLE_NAME" val="Siemens Healthineers"/>
  <p:tag name="EE4P_SMART_ELEMENT" val="NumberBall"/>
  <p:tag name="EE4P_SMART_ELEMENT_XML" val="&lt;smartelement id=&quot;NumberBall&quot; shape=&quot;Rectangle&quot;&gt;&lt;position width=&quot;20&quot; height=&quot;20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#ec6602!#ffffff&quot; name=&quot;Accent 1&quot; name_de=&quot;Akzent 1&quot; default=&quot;1&quot; /&gt;&lt;color value=&quot;#000000!#ffffff&quot; name=&quot;Accent 2&quot; name_de=&quot;Akzent 2&quot; /&gt;&lt;color value=&quot;#009999!#ffffff&quot; name=&quot;Accent 3&quot; name_de=&quot;Akzent 3&quot; /&gt;&lt;color value=&quot;#404040!#ffffff&quot; name=&quot;Accent 4&quot; name_de=&quot;Akzent 4&quot; /&gt;&lt;color value=&quot;#808080!#ffffff&quot; name=&quot;Accent 5&quot; name_de=&quot;Akzent 5&quot; /&gt;&lt;color value=&quot;#bfbfbf!#ffffff&quot; name=&quot;Accent 6&quot; name_de=&quot;Akzent 6&quot; /&gt;&lt;/colors&gt;&lt;shapes&gt;&lt;value id=&quot;Rectangle&quot; /&gt;&lt;value id=&quot;Oval&quot; /&gt;&lt;/shapes&gt;&lt;/smartelement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6ff8cae-daab-4e62-bf63-7b5f2e8ea71d"/>
  <p:tag name="EE4P_STYLE_NAME" val="Siemens Healthineers"/>
  <p:tag name="EE4P_SMART_ELEMENT" val="NumberBall"/>
  <p:tag name="EE4P_SMART_ELEMENT_XML" val="&lt;smartelement id=&quot;NumberBall&quot; shape=&quot;Rectangle&quot;&gt;&lt;position width=&quot;20&quot; height=&quot;20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#ec6602!#ffffff&quot; name=&quot;Accent 1&quot; name_de=&quot;Akzent 1&quot; default=&quot;1&quot; /&gt;&lt;color value=&quot;#000000!#ffffff&quot; name=&quot;Accent 2&quot; name_de=&quot;Akzent 2&quot; /&gt;&lt;color value=&quot;#009999!#ffffff&quot; name=&quot;Accent 3&quot; name_de=&quot;Akzent 3&quot; /&gt;&lt;color value=&quot;#404040!#ffffff&quot; name=&quot;Accent 4&quot; name_de=&quot;Akzent 4&quot; /&gt;&lt;color value=&quot;#808080!#ffffff&quot; name=&quot;Accent 5&quot; name_de=&quot;Akzent 5&quot; /&gt;&lt;color value=&quot;#bfbfbf!#ffffff&quot; name=&quot;Accent 6&quot; name_de=&quot;Akzent 6&quot; /&gt;&lt;/colors&gt;&lt;shapes&gt;&lt;value id=&quot;Rectangle&quot; /&gt;&lt;value id=&quot;Oval&quot; /&gt;&lt;/shapes&gt;&lt;/smartelement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6ff8cae-daab-4e62-bf63-7b5f2e8ea71d"/>
  <p:tag name="EE4P_STYLE_NAME" val="Siemens Healthineers"/>
  <p:tag name="EE4P_SMART_ELEMENT" val="NumberBall"/>
  <p:tag name="EE4P_SMART_ELEMENT_XML" val="&lt;smartelement id=&quot;NumberBall&quot; shape=&quot;Rectangle&quot;&gt;&lt;position width=&quot;20&quot; height=&quot;20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#ec6602!#ffffff&quot; name=&quot;Accent 1&quot; name_de=&quot;Akzent 1&quot; default=&quot;1&quot; /&gt;&lt;color value=&quot;#000000!#ffffff&quot; name=&quot;Accent 2&quot; name_de=&quot;Akzent 2&quot; /&gt;&lt;color value=&quot;#009999!#ffffff&quot; name=&quot;Accent 3&quot; name_de=&quot;Akzent 3&quot; /&gt;&lt;color value=&quot;#404040!#ffffff&quot; name=&quot;Accent 4&quot; name_de=&quot;Akzent 4&quot; /&gt;&lt;color value=&quot;#808080!#ffffff&quot; name=&quot;Accent 5&quot; name_de=&quot;Akzent 5&quot; /&gt;&lt;color value=&quot;#bfbfbf!#ffffff&quot; name=&quot;Accent 6&quot; name_de=&quot;Akzent 6&quot; /&gt;&lt;/colors&gt;&lt;shapes&gt;&lt;value id=&quot;Rectangle&quot; /&gt;&lt;value id=&quot;Oval&quot; /&gt;&lt;/shapes&gt;&lt;/smartelement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6ff8cae-daab-4e62-bf63-7b5f2e8ea71d"/>
  <p:tag name="EE4P_STYLE_NAME" val="Siemens Healthineers"/>
  <p:tag name="EE4P_SMART_ELEMENT" val="NumberBall"/>
  <p:tag name="EE4P_SMART_ELEMENT_XML" val="&lt;smartelement id=&quot;NumberBall&quot; shape=&quot;Rectangle&quot;&gt;&lt;position width=&quot;20&quot; height=&quot;20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#ec6602!#ffffff&quot; name=&quot;Accent 1&quot; name_de=&quot;Akzent 1&quot; default=&quot;1&quot; /&gt;&lt;color value=&quot;#000000!#ffffff&quot; name=&quot;Accent 2&quot; name_de=&quot;Akzent 2&quot; /&gt;&lt;color value=&quot;#009999!#ffffff&quot; name=&quot;Accent 3&quot; name_de=&quot;Akzent 3&quot; /&gt;&lt;color value=&quot;#404040!#ffffff&quot; name=&quot;Accent 4&quot; name_de=&quot;Akzent 4&quot; /&gt;&lt;color value=&quot;#808080!#ffffff&quot; name=&quot;Accent 5&quot; name_de=&quot;Akzent 5&quot; /&gt;&lt;color value=&quot;#bfbfbf!#ffffff&quot; name=&quot;Accent 6&quot; name_de=&quot;Akzent 6&quot; /&gt;&lt;/colors&gt;&lt;shapes&gt;&lt;value id=&quot;Rectangle&quot; /&gt;&lt;value id=&quot;Oval&quot; /&gt;&lt;/shapes&gt;&lt;/smartelement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B"/>
  <p:tag name="EE4P_MAPWIZARD_HEADINGS" val="Admin 1"/>
  <p:tag name="EE4P_MAPWIZARD" val="Triesenber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N"/>
  <p:tag name="EE4P_MAPWIZARD_HEADINGS" val="Admin 1"/>
  <p:tag name="EE4P_MAPWIZARD" val="Triese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A"/>
  <p:tag name="EE4P_MAPWIZARD_HEADINGS" val="Admin 1"/>
  <p:tag name="EE4P_MAPWIZARD" val="Balzers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A"/>
  <p:tag name="EE4P_MAPWIZARD_HEADINGS" val="Admin 1"/>
  <p:tag name="EE4P_MAPWIZARD" val="Vaduz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N"/>
  <p:tag name="EE4P_MAPWIZARD_HEADINGS" val="Admin 1"/>
  <p:tag name="EE4P_MAPWIZARD" val="Schaa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A"/>
  <p:tag name="EE4P_MAPWIZARD_HEADINGS" val="Admin 1"/>
  <p:tag name="EE4P_MAPWIZARD" val="Gampri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U"/>
  <p:tag name="EE4P_MAPWIZARD_HEADINGS" val="Admin 1"/>
  <p:tag name="EE4P_MAPWIZARD" val="Ruggell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B"/>
  <p:tag name="EE4P_MAPWIZARD_HEADINGS" val="Admin 1"/>
  <p:tag name="EE4P_MAPWIZARD" val="Schellenbe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A"/>
  <p:tag name="EE4P_MAPWIZARD_HEADINGS" val="Admin 1"/>
  <p:tag name="EE4P_MAPWIZARD" val="Maure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L"/>
  <p:tag name="EE4P_MAPWIZARD_HEADINGS" val="Admin 1"/>
  <p:tag name="EE4P_MAPWIZARD" val="Planke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S"/>
  <p:tag name="EE4P_MAPWIZARD_HEADINGS" val="Admin 1"/>
  <p:tag name="EE4P_MAPWIZARD" val="Eschen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W"/>
  <p:tag name="EE4P_MAPWIZARD_HEADINGS" val="Admin 1"/>
  <p:tag name="EE4P_MAPWIZARD" val="Nordrhein-Westfalen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W"/>
  <p:tag name="EE4P_MAPWIZARD_HEADINGS" val="Admin 1"/>
  <p:tag name="EE4P_MAPWIZARD" val="Baden-Württember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E"/>
  <p:tag name="EE4P_MAPWIZARD_HEADINGS" val="Admin 1"/>
  <p:tag name="EE4P_MAPWIZARD" val="Hessen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B"/>
  <p:tag name="EE4P_MAPWIZARD_HEADINGS" val="Admin 1"/>
  <p:tag name="EE4P_MAPWIZARD" val="Breme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I"/>
  <p:tag name="EE4P_MAPWIZARD_HEADINGS" val="Admin 1"/>
  <p:tag name="EE4P_MAPWIZARD" val="Niedersachsen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H"/>
  <p:tag name="EE4P_MAPWIZARD_HEADINGS" val="Admin 1"/>
  <p:tag name="EE4P_MAPWIZARD" val="Thüringe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H"/>
  <p:tag name="EE4P_MAPWIZARD_HEADINGS" val="Admin 1"/>
  <p:tag name="EE4P_MAPWIZARD" val="Hambur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H"/>
  <p:tag name="EE4P_MAPWIZARD_HEADINGS" val="Admin 1"/>
  <p:tag name="EE4P_MAPWIZARD" val="Schleswig-Holstei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P"/>
  <p:tag name="EE4P_MAPWIZARD_HEADINGS" val="Admin 1"/>
  <p:tag name="EE4P_MAPWIZARD" val="Rheinland-Pfalz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L"/>
  <p:tag name="EE4P_MAPWIZARD_HEADINGS" val="Admin 1"/>
  <p:tag name="EE4P_MAPWIZARD" val="Saarlan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Y"/>
  <p:tag name="EE4P_MAPWIZARD_HEADINGS" val="Admin 1"/>
  <p:tag name="EE4P_MAPWIZARD" val="Bayer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E"/>
  <p:tag name="EE4P_MAPWIZARD_HEADINGS" val="Admin 1"/>
  <p:tag name="EE4P_MAPWIZARD" val="Berli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T"/>
  <p:tag name="EE4P_MAPWIZARD_HEADINGS" val="Admin 1"/>
  <p:tag name="EE4P_MAPWIZARD" val="Sachsen-Anhalt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N"/>
  <p:tag name="EE4P_MAPWIZARD_HEADINGS" val="Admin 1"/>
  <p:tag name="EE4P_MAPWIZARD" val="Sachse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B"/>
  <p:tag name="EE4P_MAPWIZARD_HEADINGS" val="Admin 1"/>
  <p:tag name="EE4P_MAPWIZARD" val="Brandenbur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V"/>
  <p:tag name="EE4P_MAPWIZARD_HEADINGS" val="Admin 1"/>
  <p:tag name="EE4P_MAPWIZARD" val="Mecklenburg-Vorpommern"/>
</p:tagLst>
</file>

<file path=ppt/theme/theme1.xml><?xml version="1.0" encoding="utf-8"?>
<a:theme xmlns:a="http://schemas.openxmlformats.org/drawingml/2006/main" name="SH_PPT_template_16x9_V201808_Calibri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404040"/>
      </a:accent4>
      <a:accent5>
        <a:srgbClr val="808080"/>
      </a:accent5>
      <a:accent6>
        <a:srgbClr val="BFBFBF"/>
      </a:accent6>
      <a:hlink>
        <a:srgbClr val="000000"/>
      </a:hlink>
      <a:folHlink>
        <a:srgbClr val="808080"/>
      </a:folHlink>
    </a:clrScheme>
    <a:fontScheme name="Siemens Healthineer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Siemens Petrol 100%">
      <a:srgbClr val="009999"/>
    </a:custClr>
    <a:custClr name="Healthy Orange 100%">
      <a:srgbClr val="EC6602"/>
    </a:custClr>
    <a:custClr name="Blushing Berry 100%">
      <a:srgbClr val="7A162D"/>
    </a:custClr>
    <a:custClr name="SH Red 100%">
      <a:srgbClr val="E7001D"/>
    </a:custClr>
    <a:custClr name="SH Yellow 100%">
      <a:srgbClr val="FFD200"/>
    </a:custClr>
    <a:custClr name="SH Cyan 100%">
      <a:srgbClr val="3ABFED"/>
    </a:custClr>
    <a:custClr name="SH Blue 100%">
      <a:srgbClr val="2B2483"/>
    </a:custClr>
    <a:custClr name="SH Green 100%">
      <a:srgbClr val="009A38"/>
    </a:custClr>
    <a:custClr name="SH Black 100%">
      <a:srgbClr val="1B1B1B"/>
    </a:custClr>
    <a:custClr name="White">
      <a:srgbClr val="FFFFFF"/>
    </a:custClr>
    <a:custClr name="Siemens Petrol  50%">
      <a:srgbClr val="87D2D2"/>
    </a:custClr>
    <a:custClr name="Healthy Orange  50%">
      <a:srgbClr val="F9B591"/>
    </a:custClr>
    <a:custClr name="Blushing Berry  50%">
      <a:srgbClr val="C69B9E"/>
    </a:custClr>
    <a:custClr name="SH Red  50%">
      <a:srgbClr val="F3808E"/>
    </a:custClr>
    <a:custClr name="SH Yellow  50%">
      <a:srgbClr val="FFE980"/>
    </a:custClr>
    <a:custClr name="SH Cyan  50%">
      <a:srgbClr val="9DDFF6"/>
    </a:custClr>
    <a:custClr name="SH Blue  50%">
      <a:srgbClr val="9592C1"/>
    </a:custClr>
    <a:custClr name="SH Green  50%">
      <a:srgbClr val="80CC9C"/>
    </a:custClr>
    <a:custClr name="SH Black  75%">
      <a:srgbClr val="929292"/>
    </a:custClr>
    <a:custClr name="White">
      <a:srgbClr val="FFFFFF"/>
    </a:custClr>
    <a:custClr name="Siemens Petrol  25%">
      <a:srgbClr val="C8E6E6"/>
    </a:custClr>
    <a:custClr name="Healthy Orange  25%">
      <a:srgbClr val="FDDDCB"/>
    </a:custClr>
    <a:custClr name="Blushing Berry  25%">
      <a:srgbClr val="E9D1D4"/>
    </a:custClr>
    <a:custClr name="SH Red  25%">
      <a:srgbClr val="F9BFC7"/>
    </a:custClr>
    <a:custClr name="SH Yellow  25%">
      <a:srgbClr val="FFF3BF"/>
    </a:custClr>
    <a:custClr name="SH Cyan  25%">
      <a:srgbClr val="CEEFFB"/>
    </a:custClr>
    <a:custClr name="SH Blue  25%">
      <a:srgbClr val="CAC8E0"/>
    </a:custClr>
    <a:custClr name="SH Green  25%">
      <a:srgbClr val="BFE6CD"/>
    </a:custClr>
    <a:custClr name="SH Black  50%">
      <a:srgbClr val="B7B7B7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25%">
      <a:srgbClr val="D0D0D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10%">
      <a:srgbClr val="ECECEC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SHS_Template_16x9" id="{66805247-FAD3-48D1-97E7-A6BA71F56E46}" vid="{DBC90F7F-3E8E-4C62-B891-1360CFE45E14}"/>
    </a:ext>
  </a:extLst>
</a:theme>
</file>

<file path=ppt/theme/theme2.xml><?xml version="1.0" encoding="utf-8"?>
<a:theme xmlns:a="http://schemas.openxmlformats.org/drawingml/2006/main" name="1_SH_PPT_template_16x9_V201808_Calibri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404040"/>
      </a:accent4>
      <a:accent5>
        <a:srgbClr val="808080"/>
      </a:accent5>
      <a:accent6>
        <a:srgbClr val="BFBFBF"/>
      </a:accent6>
      <a:hlink>
        <a:srgbClr val="000000"/>
      </a:hlink>
      <a:folHlink>
        <a:srgbClr val="808080"/>
      </a:folHlink>
    </a:clrScheme>
    <a:fontScheme name="Siemens Healthineer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Siemens Petrol 100%">
      <a:srgbClr val="009999"/>
    </a:custClr>
    <a:custClr name="Healthy Orange 100%">
      <a:srgbClr val="EC6602"/>
    </a:custClr>
    <a:custClr name="Blushing Berry 100%">
      <a:srgbClr val="7A162D"/>
    </a:custClr>
    <a:custClr name="SH Red 100%">
      <a:srgbClr val="E7001D"/>
    </a:custClr>
    <a:custClr name="SH Yellow 100%">
      <a:srgbClr val="FFD200"/>
    </a:custClr>
    <a:custClr name="SH Cyan 100%">
      <a:srgbClr val="3ABFED"/>
    </a:custClr>
    <a:custClr name="SH Blue 100%">
      <a:srgbClr val="2B2483"/>
    </a:custClr>
    <a:custClr name="SH Green 100%">
      <a:srgbClr val="009A38"/>
    </a:custClr>
    <a:custClr name="SH Black 100%">
      <a:srgbClr val="1B1B1B"/>
    </a:custClr>
    <a:custClr name="White">
      <a:srgbClr val="FFFFFF"/>
    </a:custClr>
    <a:custClr name="Siemens Petrol  50%">
      <a:srgbClr val="87D2D2"/>
    </a:custClr>
    <a:custClr name="Healthy Orange  50%">
      <a:srgbClr val="F9B591"/>
    </a:custClr>
    <a:custClr name="Blushing Berry  50%">
      <a:srgbClr val="C69B9E"/>
    </a:custClr>
    <a:custClr name="SH Red  50%">
      <a:srgbClr val="F3808E"/>
    </a:custClr>
    <a:custClr name="SH Yellow  50%">
      <a:srgbClr val="FFE980"/>
    </a:custClr>
    <a:custClr name="SH Cyan  50%">
      <a:srgbClr val="9DDFF6"/>
    </a:custClr>
    <a:custClr name="SH Blue  50%">
      <a:srgbClr val="9592C1"/>
    </a:custClr>
    <a:custClr name="SH Green  50%">
      <a:srgbClr val="80CC9C"/>
    </a:custClr>
    <a:custClr name="SH Black  75%">
      <a:srgbClr val="929292"/>
    </a:custClr>
    <a:custClr name="White">
      <a:srgbClr val="FFFFFF"/>
    </a:custClr>
    <a:custClr name="Siemens Petrol  25%">
      <a:srgbClr val="C8E6E6"/>
    </a:custClr>
    <a:custClr name="Healthy Orange  25%">
      <a:srgbClr val="FDDDCB"/>
    </a:custClr>
    <a:custClr name="Blushing Berry  25%">
      <a:srgbClr val="E9D1D4"/>
    </a:custClr>
    <a:custClr name="SH Red  25%">
      <a:srgbClr val="F9BFC7"/>
    </a:custClr>
    <a:custClr name="SH Yellow  25%">
      <a:srgbClr val="FFF3BF"/>
    </a:custClr>
    <a:custClr name="SH Cyan  25%">
      <a:srgbClr val="CEEFFB"/>
    </a:custClr>
    <a:custClr name="SH Blue  25%">
      <a:srgbClr val="CAC8E0"/>
    </a:custClr>
    <a:custClr name="SH Green  25%">
      <a:srgbClr val="BFE6CD"/>
    </a:custClr>
    <a:custClr name="SH Black  50%">
      <a:srgbClr val="B7B7B7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25%">
      <a:srgbClr val="D0D0D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10%">
      <a:srgbClr val="ECECEC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SHS_Template_16x9" id="{66805247-FAD3-48D1-97E7-A6BA71F56E46}" vid="{DBC90F7F-3E8E-4C62-B891-1360CFE45E14}"/>
    </a:ext>
  </a:extLst>
</a:theme>
</file>

<file path=ppt/theme/theme3.xml><?xml version="1.0" encoding="utf-8"?>
<a:theme xmlns:a="http://schemas.openxmlformats.org/drawingml/2006/main" name="Larissa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404040"/>
      </a:accent4>
      <a:accent5>
        <a:srgbClr val="808080"/>
      </a:accent5>
      <a:accent6>
        <a:srgbClr val="BFBFBF"/>
      </a:accent6>
      <a:hlink>
        <a:srgbClr val="000000"/>
      </a:hlink>
      <a:folHlink>
        <a:srgbClr val="808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404040"/>
      </a:accent4>
      <a:accent5>
        <a:srgbClr val="808080"/>
      </a:accent5>
      <a:accent6>
        <a:srgbClr val="BFBFBF"/>
      </a:accent6>
      <a:hlink>
        <a:srgbClr val="000000"/>
      </a:hlink>
      <a:folHlink>
        <a:srgbClr val="808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e14fb85-3f3b-42cc-a153-f0ae8238dabe">
      <Terms xmlns="http://schemas.microsoft.com/office/infopath/2007/PartnerControls"/>
    </lcf76f155ced4ddcb4097134ff3c332f>
    <TaxCatchAll xmlns="4a11b897-0d37-4747-8b0b-e3625729d4db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D6E2878540A54E9729E532B828BFCF" ma:contentTypeVersion="17" ma:contentTypeDescription="Create a new document." ma:contentTypeScope="" ma:versionID="a23d0f6b3b4c09b4dd6a5ca72a85015c">
  <xsd:schema xmlns:xsd="http://www.w3.org/2001/XMLSchema" xmlns:xs="http://www.w3.org/2001/XMLSchema" xmlns:p="http://schemas.microsoft.com/office/2006/metadata/properties" xmlns:ns2="0e14fb85-3f3b-42cc-a153-f0ae8238dabe" xmlns:ns3="4a11b897-0d37-4747-8b0b-e3625729d4db" targetNamespace="http://schemas.microsoft.com/office/2006/metadata/properties" ma:root="true" ma:fieldsID="39d93eb76d3dba14f1161e1fdb65446c" ns2:_="" ns3:_="">
    <xsd:import namespace="0e14fb85-3f3b-42cc-a153-f0ae8238dabe"/>
    <xsd:import namespace="4a11b897-0d37-4747-8b0b-e3625729d4d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Loca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14fb85-3f3b-42cc-a153-f0ae8238dab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5a3e8f82-da09-4279-aed2-eee19e49ff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11b897-0d37-4747-8b0b-e3625729d4db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210b89cf-c837-4d4c-9e7a-772357bc3d2a}" ma:internalName="TaxCatchAll" ma:showField="CatchAllData" ma:web="4a11b897-0d37-4747-8b0b-e3625729d4d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DE96D77-0989-49C9-800E-2D2084DBB89C}">
  <ds:schemaRefs>
    <ds:schemaRef ds:uri="0e14fb85-3f3b-42cc-a153-f0ae8238dabe"/>
    <ds:schemaRef ds:uri="4a11b897-0d37-4747-8b0b-e3625729d4d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B02417F-04E4-4CA2-8AA0-0F49C30C6F58}">
  <ds:schemaRefs>
    <ds:schemaRef ds:uri="0e14fb85-3f3b-42cc-a153-f0ae8238dabe"/>
    <ds:schemaRef ds:uri="4a11b897-0d37-4747-8b0b-e3625729d4d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05F5D93-5C53-4FD0-B4CE-58E8A47CDF2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ntent</Template>
  <TotalTime>0</TotalTime>
  <Application>Microsoft Office PowerPoint</Application>
  <PresentationFormat>Custom</PresentationFormat>
  <Slides>27</Slides>
  <Notes>12</Notes>
  <HiddenSlides>13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7</vt:i4>
      </vt:variant>
    </vt:vector>
  </HeadingPairs>
  <TitlesOfParts>
    <vt:vector size="29" baseType="lpstr">
      <vt:lpstr>SH_PPT_template_16x9_V201808_Calibri</vt:lpstr>
      <vt:lpstr>1_SH_PPT_template_16x9_V201808_Calibri</vt:lpstr>
      <vt:lpstr>Midia-Hub Symposium München</vt:lpstr>
      <vt:lpstr>Unsere Lösung – Vernetzung der Akteure durch eine  offene und interoperable Gesundheitsplattform</vt:lpstr>
      <vt:lpstr>Herausforderungen für die Leistungserbringer*innen</vt:lpstr>
      <vt:lpstr>Zusammenarbeit in der Versorgung und Einbindung  der Patientinnen &amp; Patienten durch eHealth Solutions</vt:lpstr>
      <vt:lpstr>Die Architektur der  teamplay digital health platform connect</vt:lpstr>
      <vt:lpstr>Das Ökosystem der  teamplay digital health platform connect</vt:lpstr>
      <vt:lpstr>Zusatzapplikationen und Mehrwertdienste der  Partner der teamplay digital health platform connect</vt:lpstr>
      <vt:lpstr>Die Patient Journey mit der teamplay digital health platform connect</vt:lpstr>
      <vt:lpstr>Zusatzapplikationen und Mehrwertdienste der  Siemens Healthineers</vt:lpstr>
      <vt:lpstr>Ärzteportal – Sicherer und zentraler Zugriff auf alle relevanten Daten </vt:lpstr>
      <vt:lpstr>Patientenportal –  Aktive Einbindung von Patientinnen &amp; Patienten</vt:lpstr>
      <vt:lpstr>Virtuelle Visite –  Videosprechstunde für Patientinnen &amp; Patienten</vt:lpstr>
      <vt:lpstr>Klinische Konferenzen – Entscheidungsunterstützung  durch multidisziplinäre Zusammenarbeit</vt:lpstr>
      <vt:lpstr>Telekonsultation –  Institutionsübergreifende Fernkonsultation</vt:lpstr>
      <vt:lpstr>Terminmanagement</vt:lpstr>
      <vt:lpstr>DICOM-Integration in Patienten- und Ärzteportal</vt:lpstr>
      <vt:lpstr>DICOM-Integration in der  teamplay digital health platform connect </vt:lpstr>
      <vt:lpstr>teamplay images Integration – DICOM Studien eintragen</vt:lpstr>
      <vt:lpstr>teamplay images Integration – DICOM Studien abrufen</vt:lpstr>
      <vt:lpstr>Elektronische Gesundheitsakte Österreich</vt:lpstr>
      <vt:lpstr>EPD Schweiz und Business Plattform Cuore</vt:lpstr>
      <vt:lpstr>Elektronisches Gesundheitsdossier Liechtenstein</vt:lpstr>
      <vt:lpstr>INSPIRE Living Lab – Die digitale Krankenhausstation </vt:lpstr>
      <vt:lpstr>Mein Krankenhaus Bayern – Patientenportal und Interoperabilitätsplattform für &gt;100 Krankenhäuser</vt:lpstr>
      <vt:lpstr>Die Übersicht der Gesamtarchitektur zeigt wesentliche Bestandteile des Portals und die Schwerpunkte der Partner</vt:lpstr>
      <vt:lpstr>Einbindung in die Telematik Infrastruktur (TI)</vt:lpstr>
      <vt:lpstr>Danke für die Aufmerksamkeit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r Wegbereiter für die digitale Transformation im Gesundheitswesen</dc:title>
  <dc:subject>Siemens Healthineers PPT-Template Basic Version</dc:subject>
  <dc:creator>Brigitta Huber | i-pointing</dc:creator>
  <dc:description>June 2019</dc:description>
  <cp:revision>1</cp:revision>
  <dcterms:created xsi:type="dcterms:W3CDTF">2023-02-03T16:11:48Z</dcterms:created>
  <dcterms:modified xsi:type="dcterms:W3CDTF">2024-05-02T15:53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D6E2878540A54E9729E532B828BFCF</vt:lpwstr>
  </property>
  <property fmtid="{D5CDD505-2E9C-101B-9397-08002B2CF9AE}" pid="3" name="MSIP_Label_ff6dbec8-95a8-4638-9f5f-bd076536645c_Enabled">
    <vt:lpwstr>true</vt:lpwstr>
  </property>
  <property fmtid="{D5CDD505-2E9C-101B-9397-08002B2CF9AE}" pid="4" name="MSIP_Label_ff6dbec8-95a8-4638-9f5f-bd076536645c_SetDate">
    <vt:lpwstr>2023-03-07T13:27:11Z</vt:lpwstr>
  </property>
  <property fmtid="{D5CDD505-2E9C-101B-9397-08002B2CF9AE}" pid="5" name="MSIP_Label_ff6dbec8-95a8-4638-9f5f-bd076536645c_Method">
    <vt:lpwstr>Standard</vt:lpwstr>
  </property>
  <property fmtid="{D5CDD505-2E9C-101B-9397-08002B2CF9AE}" pid="6" name="MSIP_Label_ff6dbec8-95a8-4638-9f5f-bd076536645c_Name">
    <vt:lpwstr>Restricted - Default</vt:lpwstr>
  </property>
  <property fmtid="{D5CDD505-2E9C-101B-9397-08002B2CF9AE}" pid="7" name="MSIP_Label_ff6dbec8-95a8-4638-9f5f-bd076536645c_SiteId">
    <vt:lpwstr>5dbf1add-202a-4b8d-815b-bf0fb024e033</vt:lpwstr>
  </property>
  <property fmtid="{D5CDD505-2E9C-101B-9397-08002B2CF9AE}" pid="8" name="MSIP_Label_ff6dbec8-95a8-4638-9f5f-bd076536645c_ActionId">
    <vt:lpwstr>acb031ac-e64d-46a3-b35e-095ee34e1c04</vt:lpwstr>
  </property>
  <property fmtid="{D5CDD505-2E9C-101B-9397-08002B2CF9AE}" pid="9" name="MSIP_Label_ff6dbec8-95a8-4638-9f5f-bd076536645c_ContentBits">
    <vt:lpwstr>0</vt:lpwstr>
  </property>
  <property fmtid="{D5CDD505-2E9C-101B-9397-08002B2CF9AE}" pid="10" name="MediaServiceImageTags">
    <vt:lpwstr/>
  </property>
</Properties>
</file>